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4.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5.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notesSlides/notesSlide6.xml" ContentType="application/vnd.openxmlformats-officedocument.presentationml.notesSlide+xml"/>
  <Override PartName="/ppt/tags/tag324.xml" ContentType="application/vnd.openxmlformats-officedocument.presentationml.tags+xml"/>
  <Override PartName="/ppt/tags/tag325.xml" ContentType="application/vnd.openxmlformats-officedocument.presentationml.tags+xml"/>
  <Override PartName="/ppt/notesSlides/notesSlide7.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notesSlides/notesSlide8.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notesSlides/notesSlide9.xml" ContentType="application/vnd.openxmlformats-officedocument.presentationml.notesSlide+xml"/>
  <Override PartName="/ppt/tags/tag330.xml" ContentType="application/vnd.openxmlformats-officedocument.presentationml.tags+xml"/>
  <Override PartName="/ppt/tags/tag331.xml" ContentType="application/vnd.openxmlformats-officedocument.presentationml.tags+xml"/>
  <Override PartName="/ppt/notesSlides/notesSlide10.xml" ContentType="application/vnd.openxmlformats-officedocument.presentationml.notesSlide+xml"/>
  <Override PartName="/ppt/tags/tag332.xml" ContentType="application/vnd.openxmlformats-officedocument.presentationml.tags+xml"/>
  <Override PartName="/ppt/tags/tag333.xml" ContentType="application/vnd.openxmlformats-officedocument.presentationml.tags+xml"/>
  <Override PartName="/ppt/notesSlides/notesSlide11.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notesSlides/notesSlide12.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notesSlides/notesSlide13.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notesSlides/notesSlide14.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notesSlides/notesSlide15.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notesSlides/notesSlide16.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notesSlides/notesSlide17.xml" ContentType="application/vnd.openxmlformats-officedocument.presentationml.notesSlide+xml"/>
  <Override PartName="/ppt/tags/tag346.xml" ContentType="application/vnd.openxmlformats-officedocument.presentationml.tags+xml"/>
  <Override PartName="/ppt/notesSlides/notesSlide18.xml" ContentType="application/vnd.openxmlformats-officedocument.presentationml.notesSlide+xml"/>
  <Override PartName="/ppt/tags/tag347.xml" ContentType="application/vnd.openxmlformats-officedocument.presentationml.tags+xml"/>
  <Override PartName="/ppt/tags/tag348.xml" ContentType="application/vnd.openxmlformats-officedocument.presentationml.tags+xml"/>
  <Override PartName="/ppt/notesSlides/notesSlide19.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notesSlides/notesSlide20.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notesSlides/notesSlide21.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notesSlides/notesSlide22.xml" ContentType="application/vnd.openxmlformats-officedocument.presentationml.notesSlide+xml"/>
  <Override PartName="/ppt/tags/tag355.xml" ContentType="application/vnd.openxmlformats-officedocument.presentationml.tags+xml"/>
  <Override PartName="/ppt/notesSlides/notesSlide23.xml" ContentType="application/vnd.openxmlformats-officedocument.presentationml.notesSlide+xml"/>
  <Override PartName="/ppt/tags/tag356.xml" ContentType="application/vnd.openxmlformats-officedocument.presentationml.tags+xml"/>
  <Override PartName="/ppt/notesSlides/notesSlide24.xml" ContentType="application/vnd.openxmlformats-officedocument.presentationml.notesSlide+xml"/>
  <Override PartName="/ppt/tags/tag357.xml" ContentType="application/vnd.openxmlformats-officedocument.presentationml.tags+xml"/>
  <Override PartName="/ppt/notesSlides/notesSlide25.xml" ContentType="application/vnd.openxmlformats-officedocument.presentationml.notesSlide+xml"/>
  <Override PartName="/ppt/tags/tag358.xml" ContentType="application/vnd.openxmlformats-officedocument.presentationml.tags+xml"/>
  <Override PartName="/ppt/notesSlides/notesSlide26.xml" ContentType="application/vnd.openxmlformats-officedocument.presentationml.notesSlide+xml"/>
  <Override PartName="/ppt/tags/tag359.xml" ContentType="application/vnd.openxmlformats-officedocument.presentationml.tags+xml"/>
  <Override PartName="/ppt/notesSlides/notesSlide27.xml" ContentType="application/vnd.openxmlformats-officedocument.presentationml.notesSlide+xml"/>
  <Override PartName="/ppt/tags/tag360.xml" ContentType="application/vnd.openxmlformats-officedocument.presentationml.tags+xml"/>
  <Override PartName="/ppt/notesSlides/notesSlide28.xml" ContentType="application/vnd.openxmlformats-officedocument.presentationml.notesSlide+xml"/>
  <Override PartName="/ppt/tags/tag361.xml" ContentType="application/vnd.openxmlformats-officedocument.presentationml.tags+xml"/>
  <Override PartName="/ppt/notesSlides/notesSlide29.xml" ContentType="application/vnd.openxmlformats-officedocument.presentationml.notesSlide+xml"/>
  <Override PartName="/ppt/tags/tag362.xml" ContentType="application/vnd.openxmlformats-officedocument.presentationml.tags+xml"/>
  <Override PartName="/ppt/notesSlides/notesSlide30.xml" ContentType="application/vnd.openxmlformats-officedocument.presentationml.notesSlide+xml"/>
  <Override PartName="/ppt/tags/tag363.xml" ContentType="application/vnd.openxmlformats-officedocument.presentationml.tags+xml"/>
  <Override PartName="/ppt/notesSlides/notesSlide31.xml" ContentType="application/vnd.openxmlformats-officedocument.presentationml.notesSlide+xml"/>
  <Override PartName="/ppt/tags/tag364.xml" ContentType="application/vnd.openxmlformats-officedocument.presentationml.tags+xml"/>
  <Override PartName="/ppt/tags/tag365.xml" ContentType="application/vnd.openxmlformats-officedocument.presentationml.tags+xml"/>
  <Override PartName="/ppt/notesSlides/notesSlide32.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notesSlides/notesSlide33.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4" r:id="rId4"/>
    <p:sldMasterId id="2147484057" r:id="rId5"/>
  </p:sldMasterIdLst>
  <p:notesMasterIdLst>
    <p:notesMasterId r:id="rId94"/>
  </p:notesMasterIdLst>
  <p:handoutMasterIdLst>
    <p:handoutMasterId r:id="rId95"/>
  </p:handoutMasterIdLst>
  <p:sldIdLst>
    <p:sldId id="431" r:id="rId6"/>
    <p:sldId id="331" r:id="rId7"/>
    <p:sldId id="411" r:id="rId8"/>
    <p:sldId id="412" r:id="rId9"/>
    <p:sldId id="413" r:id="rId10"/>
    <p:sldId id="415" r:id="rId11"/>
    <p:sldId id="414" r:id="rId12"/>
    <p:sldId id="425" r:id="rId13"/>
    <p:sldId id="475" r:id="rId14"/>
    <p:sldId id="424" r:id="rId15"/>
    <p:sldId id="428" r:id="rId16"/>
    <p:sldId id="478" r:id="rId17"/>
    <p:sldId id="477" r:id="rId18"/>
    <p:sldId id="476" r:id="rId19"/>
    <p:sldId id="440" r:id="rId20"/>
    <p:sldId id="445" r:id="rId21"/>
    <p:sldId id="446" r:id="rId22"/>
    <p:sldId id="447" r:id="rId23"/>
    <p:sldId id="456" r:id="rId24"/>
    <p:sldId id="455" r:id="rId25"/>
    <p:sldId id="465" r:id="rId26"/>
    <p:sldId id="463" r:id="rId27"/>
    <p:sldId id="460" r:id="rId28"/>
    <p:sldId id="461" r:id="rId29"/>
    <p:sldId id="464" r:id="rId30"/>
    <p:sldId id="466" r:id="rId31"/>
    <p:sldId id="467" r:id="rId32"/>
    <p:sldId id="468" r:id="rId33"/>
    <p:sldId id="469" r:id="rId34"/>
    <p:sldId id="470" r:id="rId35"/>
    <p:sldId id="471" r:id="rId36"/>
    <p:sldId id="472" r:id="rId37"/>
    <p:sldId id="473" r:id="rId38"/>
    <p:sldId id="474" r:id="rId39"/>
    <p:sldId id="448" r:id="rId40"/>
    <p:sldId id="449" r:id="rId41"/>
    <p:sldId id="450" r:id="rId42"/>
    <p:sldId id="451" r:id="rId43"/>
    <p:sldId id="452" r:id="rId44"/>
    <p:sldId id="453" r:id="rId45"/>
    <p:sldId id="454" r:id="rId46"/>
    <p:sldId id="432" r:id="rId47"/>
    <p:sldId id="433" r:id="rId48"/>
    <p:sldId id="434" r:id="rId49"/>
    <p:sldId id="435" r:id="rId50"/>
    <p:sldId id="436" r:id="rId51"/>
    <p:sldId id="437" r:id="rId52"/>
    <p:sldId id="338" r:id="rId53"/>
    <p:sldId id="459" r:id="rId54"/>
    <p:sldId id="340" r:id="rId55"/>
    <p:sldId id="339" r:id="rId56"/>
    <p:sldId id="341" r:id="rId57"/>
    <p:sldId id="342" r:id="rId58"/>
    <p:sldId id="343" r:id="rId59"/>
    <p:sldId id="344" r:id="rId60"/>
    <p:sldId id="348" r:id="rId61"/>
    <p:sldId id="349" r:id="rId62"/>
    <p:sldId id="352" r:id="rId63"/>
    <p:sldId id="354" r:id="rId64"/>
    <p:sldId id="355" r:id="rId65"/>
    <p:sldId id="356" r:id="rId66"/>
    <p:sldId id="357" r:id="rId67"/>
    <p:sldId id="360" r:id="rId68"/>
    <p:sldId id="361" r:id="rId69"/>
    <p:sldId id="362" r:id="rId70"/>
    <p:sldId id="365" r:id="rId71"/>
    <p:sldId id="366" r:id="rId72"/>
    <p:sldId id="367" r:id="rId73"/>
    <p:sldId id="368" r:id="rId74"/>
    <p:sldId id="370" r:id="rId75"/>
    <p:sldId id="371" r:id="rId76"/>
    <p:sldId id="372" r:id="rId77"/>
    <p:sldId id="374" r:id="rId78"/>
    <p:sldId id="375" r:id="rId79"/>
    <p:sldId id="376" r:id="rId80"/>
    <p:sldId id="377" r:id="rId81"/>
    <p:sldId id="384" r:id="rId82"/>
    <p:sldId id="385" r:id="rId83"/>
    <p:sldId id="386" r:id="rId84"/>
    <p:sldId id="387" r:id="rId85"/>
    <p:sldId id="388" r:id="rId86"/>
    <p:sldId id="389" r:id="rId87"/>
    <p:sldId id="390" r:id="rId88"/>
    <p:sldId id="391" r:id="rId89"/>
    <p:sldId id="392" r:id="rId90"/>
    <p:sldId id="393" r:id="rId91"/>
    <p:sldId id="394" r:id="rId92"/>
    <p:sldId id="396" r:id="rId93"/>
  </p:sldIdLst>
  <p:sldSz cx="12192000" cy="6858000"/>
  <p:notesSz cx="7104063" cy="10234613"/>
  <p:custDataLst>
    <p:tags r:id="rId9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FFFFFF"/>
    <a:srgbClr val="C4262E"/>
    <a:srgbClr val="EBEBEB"/>
    <a:srgbClr val="EEEEEE"/>
    <a:srgbClr val="D13B3B"/>
    <a:srgbClr val="F6D8D8"/>
    <a:srgbClr val="EDB638"/>
    <a:srgbClr val="FF791E"/>
    <a:srgbClr val="545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D78423-76E0-4079-BA5F-F7B10A29CF98}" v="2" dt="2023-02-03T15:19:32.612"/>
    <p1510:client id="{3A96FCCA-80CA-4C41-B81D-28DC160AB2F8}" v="5" dt="2023-02-03T12:20:17.591"/>
    <p1510:client id="{F8705459-ADD6-7DE1-A997-B6880FDCBA0E}" v="6" dt="2023-02-14T10:38:57.985"/>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224"/>
        <p:guide pos="223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handoutMaster" Target="handoutMasters/handoutMaster1.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notesMaster" Target="notesMasters/notesMaster1.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06741573033709E-2"/>
          <c:y val="0.13990147783251231"/>
          <c:w val="0.97078651685393258"/>
          <c:h val="0.80886699507389159"/>
        </c:manualLayout>
      </c:layout>
      <c:barChart>
        <c:barDir val="col"/>
        <c:grouping val="stacked"/>
        <c:varyColors val="0"/>
        <c:ser>
          <c:idx val="0"/>
          <c:order val="0"/>
          <c:spPr>
            <a:noFill/>
            <a:ln>
              <a:noFill/>
            </a:ln>
          </c:spPr>
          <c:invertIfNegative val="0"/>
          <c:dPt>
            <c:idx val="0"/>
            <c:invertIfNegative val="0"/>
            <c:bubble3D val="0"/>
            <c:spPr>
              <a:solidFill>
                <a:srgbClr val="D6D7D9"/>
              </a:solidFill>
              <a:ln w="9525" algn="ctr">
                <a:solidFill>
                  <a:srgbClr val="808080"/>
                </a:solidFill>
                <a:prstDash val="solid"/>
              </a:ln>
            </c:spPr>
            <c:extLst>
              <c:ext xmlns:c16="http://schemas.microsoft.com/office/drawing/2014/chart" uri="{C3380CC4-5D6E-409C-BE32-E72D297353CC}">
                <c16:uniqueId val="{00000000-2F83-49B7-98D9-9CEBDD430A6D}"/>
              </c:ext>
            </c:extLst>
          </c:dPt>
          <c:dPt>
            <c:idx val="5"/>
            <c:invertIfNegative val="0"/>
            <c:bubble3D val="0"/>
            <c:spPr>
              <a:solidFill>
                <a:srgbClr val="D6D7D9"/>
              </a:solidFill>
              <a:ln w="9525" algn="ctr">
                <a:solidFill>
                  <a:srgbClr val="808080"/>
                </a:solidFill>
                <a:prstDash val="solid"/>
              </a:ln>
            </c:spPr>
            <c:extLst>
              <c:ext xmlns:c16="http://schemas.microsoft.com/office/drawing/2014/chart" uri="{C3380CC4-5D6E-409C-BE32-E72D297353CC}">
                <c16:uniqueId val="{00000001-2F83-49B7-98D9-9CEBDD430A6D}"/>
              </c:ext>
            </c:extLst>
          </c:dPt>
          <c:dLbls>
            <c:dLbl>
              <c:idx val="0"/>
              <c:layout>
                <c:manualLayout>
                  <c:x val="0"/>
                  <c:y val="-0.47487684729064039"/>
                </c:manualLayout>
              </c:layout>
              <c:numFmt formatCode="&quot;$&quot;#,##0&quot;M&quot;;&quot;-&quot;&quot;$&quot;#,##0&quot;M&quot;" sourceLinked="0"/>
              <c:spPr>
                <a:noFill/>
                <a:ln>
                  <a:noFill/>
                </a:ln>
              </c:spPr>
              <c:txPr>
                <a:bodyPr wrap="none"/>
                <a:lstStyle/>
                <a:p>
                  <a:pPr>
                    <a:defRPr sz="1200">
                      <a:solidFill>
                        <a:schemeClr val="tx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F83-49B7-98D9-9CEBDD430A6D}"/>
                </c:ext>
              </c:extLst>
            </c:dLbl>
            <c:dLbl>
              <c:idx val="5"/>
              <c:layout>
                <c:manualLayout>
                  <c:x val="0"/>
                  <c:y val="-0.37931034482758619"/>
                </c:manualLayout>
              </c:layout>
              <c:numFmt formatCode="&quot;$&quot;#,##0&quot;M&quot;;&quot;-&quot;&quot;$&quot;#,##0&quot;M&quot;" sourceLinked="0"/>
              <c:spPr>
                <a:noFill/>
                <a:ln>
                  <a:noFill/>
                </a:ln>
              </c:spPr>
              <c:txPr>
                <a:bodyPr wrap="none"/>
                <a:lstStyle/>
                <a:p>
                  <a:pPr>
                    <a:defRPr sz="1200">
                      <a:solidFill>
                        <a:schemeClr val="tx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F83-49B7-98D9-9CEBDD430A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2.422085515223216</c:v>
                </c:pt>
                <c:pt idx="1">
                  <c:v>4.5899719916930275</c:v>
                </c:pt>
                <c:pt idx="2">
                  <c:v>4.5899719916930275</c:v>
                </c:pt>
                <c:pt idx="3">
                  <c:v>4.9170906803121515</c:v>
                </c:pt>
                <c:pt idx="4">
                  <c:v>7.1170906803121516</c:v>
                </c:pt>
                <c:pt idx="5">
                  <c:v>9.5184209788404459</c:v>
                </c:pt>
              </c:numCache>
            </c:numRef>
          </c:val>
          <c:extLst>
            <c:ext xmlns:c16="http://schemas.microsoft.com/office/drawing/2014/chart" uri="{C3380CC4-5D6E-409C-BE32-E72D297353CC}">
              <c16:uniqueId val="{00000002-2F83-49B7-98D9-9CEBDD430A6D}"/>
            </c:ext>
          </c:extLst>
        </c:ser>
        <c:ser>
          <c:idx val="1"/>
          <c:order val="1"/>
          <c:spPr>
            <a:solidFill>
              <a:schemeClr val="accent3"/>
            </a:solidFill>
            <a:ln w="9525" algn="ctr">
              <a:solidFill>
                <a:srgbClr val="808080"/>
              </a:solidFill>
              <a:prstDash val="solid"/>
            </a:ln>
          </c:spPr>
          <c:invertIfNegative val="0"/>
          <c:dPt>
            <c:idx val="1"/>
            <c:invertIfNegative val="0"/>
            <c:bubble3D val="0"/>
            <c:spPr>
              <a:solidFill>
                <a:schemeClr val="bg2"/>
              </a:solidFill>
              <a:ln w="9525" algn="ctr">
                <a:solidFill>
                  <a:srgbClr val="808080"/>
                </a:solidFill>
                <a:prstDash val="solid"/>
              </a:ln>
            </c:spPr>
            <c:extLst>
              <c:ext xmlns:c16="http://schemas.microsoft.com/office/drawing/2014/chart" uri="{C3380CC4-5D6E-409C-BE32-E72D297353CC}">
                <c16:uniqueId val="{00000003-2F83-49B7-98D9-9CEBDD430A6D}"/>
              </c:ext>
            </c:extLst>
          </c:dPt>
          <c:dLbls>
            <c:dLbl>
              <c:idx val="2"/>
              <c:layout>
                <c:manualLayout>
                  <c:x val="0"/>
                  <c:y val="-8.0788177339901485E-2"/>
                </c:manualLayout>
              </c:layout>
              <c:numFmt formatCode="&quot;$&quot;#,##0&quot;M&quot;;&quot;-&quot;&quot;$&quot;#,##0&quot;M&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F83-49B7-98D9-9CEBDD430A6D}"/>
                </c:ext>
              </c:extLst>
            </c:dLbl>
            <c:dLbl>
              <c:idx val="3"/>
              <c:layout>
                <c:manualLayout>
                  <c:x val="0"/>
                  <c:y val="-0.14088669950738916"/>
                </c:manualLayout>
              </c:layout>
              <c:numFmt formatCode="&quot;$&quot;#,##0&quot;M&quot;;&quot;-&quot;&quot;$&quot;#,##0&quot;M&quot;" sourceLinked="0"/>
              <c:spPr>
                <a:noFill/>
                <a:ln>
                  <a:noFill/>
                </a:ln>
              </c:spPr>
              <c:txPr>
                <a:bodyPr wrap="none"/>
                <a:lstStyle/>
                <a:p>
                  <a:pPr>
                    <a:defRPr sz="1200">
                      <a:solidFill>
                        <a:srgbClr val="4C4D4E"/>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F83-49B7-98D9-9CEBDD430A6D}"/>
                </c:ext>
              </c:extLst>
            </c:dLbl>
            <c:dLbl>
              <c:idx val="4"/>
              <c:layout>
                <c:manualLayout>
                  <c:x val="0"/>
                  <c:y val="-0.14778325123152711"/>
                </c:manualLayout>
              </c:layout>
              <c:numFmt formatCode="&quot;$&quot;#,##0&quot;M&quot;;&quot;-&quot;&quot;$&quot;#,##0&quot;M&quot;" sourceLinked="0"/>
              <c:spPr>
                <a:noFill/>
                <a:ln>
                  <a:noFill/>
                </a:ln>
              </c:spPr>
              <c:txPr>
                <a:bodyPr wrap="none"/>
                <a:lstStyle/>
                <a:p>
                  <a:pPr>
                    <a:defRPr sz="1200">
                      <a:solidFill>
                        <a:schemeClr val="tx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F83-49B7-98D9-9CEBDD430A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7.8321135235301886</c:v>
                </c:pt>
                <c:pt idx="2">
                  <c:v>0.32711868861912397</c:v>
                </c:pt>
                <c:pt idx="3">
                  <c:v>2.2000000000000002</c:v>
                </c:pt>
                <c:pt idx="4">
                  <c:v>2.4013302985282943</c:v>
                </c:pt>
              </c:numCache>
            </c:numRef>
          </c:val>
          <c:extLst>
            <c:ext xmlns:c16="http://schemas.microsoft.com/office/drawing/2014/chart" uri="{C3380CC4-5D6E-409C-BE32-E72D297353CC}">
              <c16:uniqueId val="{00000007-2F83-49B7-98D9-9CEBDD430A6D}"/>
            </c:ext>
          </c:extLst>
        </c:ser>
        <c:dLbls>
          <c:showLegendKey val="0"/>
          <c:showVal val="0"/>
          <c:showCatName val="0"/>
          <c:showSerName val="0"/>
          <c:showPercent val="0"/>
          <c:showBubbleSize val="0"/>
        </c:dLbls>
        <c:gapWidth val="15"/>
        <c:overlap val="100"/>
        <c:axId val="113256903"/>
        <c:axId val="1"/>
      </c:barChart>
      <c:catAx>
        <c:axId val="113256903"/>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12.422085515223216"/>
          <c:min val="0"/>
        </c:scaling>
        <c:delete val="1"/>
        <c:axPos val="l"/>
        <c:numFmt formatCode="General" sourceLinked="1"/>
        <c:majorTickMark val="out"/>
        <c:minorTickMark val="none"/>
        <c:tickLblPos val="nextTo"/>
        <c:crossAx val="11325690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84679665738161E-2"/>
          <c:y val="5.6216216216216218E-2"/>
          <c:w val="0.97103064066852363"/>
          <c:h val="0.88756756756756761"/>
        </c:manualLayout>
      </c:layout>
      <c:barChart>
        <c:barDir val="col"/>
        <c:grouping val="stacked"/>
        <c:varyColors val="0"/>
        <c:ser>
          <c:idx val="0"/>
          <c:order val="0"/>
          <c:spPr>
            <a:noFill/>
            <a:ln>
              <a:noFill/>
            </a:ln>
          </c:spPr>
          <c:invertIfNegative val="0"/>
          <c:dPt>
            <c:idx val="0"/>
            <c:invertIfNegative val="0"/>
            <c:bubble3D val="0"/>
            <c:spPr>
              <a:solidFill>
                <a:srgbClr val="D6D7D9"/>
              </a:solidFill>
              <a:ln w="9525" algn="ctr">
                <a:solidFill>
                  <a:srgbClr val="808080"/>
                </a:solidFill>
                <a:prstDash val="solid"/>
              </a:ln>
            </c:spPr>
            <c:extLst>
              <c:ext xmlns:c16="http://schemas.microsoft.com/office/drawing/2014/chart" uri="{C3380CC4-5D6E-409C-BE32-E72D297353CC}">
                <c16:uniqueId val="{00000000-8060-4D00-8418-E41261A3BE39}"/>
              </c:ext>
            </c:extLst>
          </c:dPt>
          <c:dPt>
            <c:idx val="5"/>
            <c:invertIfNegative val="0"/>
            <c:bubble3D val="0"/>
            <c:spPr>
              <a:solidFill>
                <a:srgbClr val="D6D7D9"/>
              </a:solidFill>
              <a:ln w="9525" algn="ctr">
                <a:solidFill>
                  <a:srgbClr val="808080"/>
                </a:solidFill>
                <a:prstDash val="solid"/>
              </a:ln>
            </c:spPr>
            <c:extLst>
              <c:ext xmlns:c16="http://schemas.microsoft.com/office/drawing/2014/chart" uri="{C3380CC4-5D6E-409C-BE32-E72D297353CC}">
                <c16:uniqueId val="{00000001-8060-4D00-8418-E41261A3BE39}"/>
              </c:ext>
            </c:extLst>
          </c:dPt>
          <c:val>
            <c:numRef>
              <c:f>Sheet1!$A$1:$F$1</c:f>
              <c:numCache>
                <c:formatCode>General</c:formatCode>
                <c:ptCount val="6"/>
                <c:pt idx="0">
                  <c:v>75.965174683200587</c:v>
                </c:pt>
                <c:pt idx="1">
                  <c:v>57.564381366118589</c:v>
                </c:pt>
                <c:pt idx="2">
                  <c:v>56.164264351647709</c:v>
                </c:pt>
                <c:pt idx="3">
                  <c:v>56.164264351647702</c:v>
                </c:pt>
                <c:pt idx="4">
                  <c:v>56.164264351647702</c:v>
                </c:pt>
                <c:pt idx="5">
                  <c:v>57.287319462631629</c:v>
                </c:pt>
              </c:numCache>
            </c:numRef>
          </c:val>
          <c:extLst>
            <c:ext xmlns:c16="http://schemas.microsoft.com/office/drawing/2014/chart" uri="{C3380CC4-5D6E-409C-BE32-E72D297353CC}">
              <c16:uniqueId val="{00000002-8060-4D00-8418-E41261A3BE39}"/>
            </c:ext>
          </c:extLst>
        </c:ser>
        <c:ser>
          <c:idx val="1"/>
          <c:order val="1"/>
          <c:spPr>
            <a:solidFill>
              <a:schemeClr val="accent3"/>
            </a:solidFill>
            <a:ln w="9525" algn="ctr">
              <a:solidFill>
                <a:srgbClr val="808080"/>
              </a:solidFill>
              <a:prstDash val="solid"/>
            </a:ln>
          </c:spPr>
          <c:invertIfNegative val="0"/>
          <c:dPt>
            <c:idx val="1"/>
            <c:invertIfNegative val="0"/>
            <c:bubble3D val="0"/>
            <c:spPr>
              <a:solidFill>
                <a:schemeClr val="bg2"/>
              </a:solidFill>
              <a:ln w="9525" algn="ctr">
                <a:solidFill>
                  <a:srgbClr val="808080"/>
                </a:solidFill>
                <a:prstDash val="solid"/>
              </a:ln>
            </c:spPr>
            <c:extLst>
              <c:ext xmlns:c16="http://schemas.microsoft.com/office/drawing/2014/chart" uri="{C3380CC4-5D6E-409C-BE32-E72D297353CC}">
                <c16:uniqueId val="{00000003-8060-4D00-8418-E41261A3BE39}"/>
              </c:ext>
            </c:extLst>
          </c:dPt>
          <c:dPt>
            <c:idx val="2"/>
            <c:invertIfNegative val="0"/>
            <c:bubble3D val="0"/>
            <c:spPr>
              <a:solidFill>
                <a:schemeClr val="bg2"/>
              </a:solidFill>
              <a:ln w="9525" algn="ctr">
                <a:solidFill>
                  <a:srgbClr val="808080"/>
                </a:solidFill>
                <a:prstDash val="solid"/>
              </a:ln>
            </c:spPr>
            <c:extLst>
              <c:ext xmlns:c16="http://schemas.microsoft.com/office/drawing/2014/chart" uri="{C3380CC4-5D6E-409C-BE32-E72D297353CC}">
                <c16:uniqueId val="{00000004-8060-4D00-8418-E41261A3BE39}"/>
              </c:ext>
            </c:extLst>
          </c:dPt>
          <c:dLbls>
            <c:dLbl>
              <c:idx val="4"/>
              <c:layout>
                <c:manualLayout>
                  <c:x val="0"/>
                  <c:y val="-8.324324324324324E-2"/>
                </c:manualLayout>
              </c:layout>
              <c:numFmt formatCode="&quot;$&quot;#,##0&quot;M&quot;;&quot;-&quot;&quot;$&quot;#,##0&quot;M&quot;" sourceLinked="0"/>
              <c:spPr>
                <a:noFill/>
                <a:ln>
                  <a:noFill/>
                </a:ln>
              </c:spPr>
              <c:txPr>
                <a:bodyPr wrap="none"/>
                <a:lstStyle/>
                <a:p>
                  <a:pPr>
                    <a:defRPr sz="1200">
                      <a:solidFill>
                        <a:srgbClr val="4C4D4E"/>
                      </a:solidFill>
                      <a:latin typeface="+mj-lt"/>
                      <a:ea typeface="+mj-ea"/>
                      <a:cs typeface="+mj-cs"/>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060-4D00-8418-E41261A3BE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18.400793317081998</c:v>
                </c:pt>
                <c:pt idx="2">
                  <c:v>1.4001170144708794</c:v>
                </c:pt>
                <c:pt idx="3">
                  <c:v>0</c:v>
                </c:pt>
                <c:pt idx="4">
                  <c:v>1.1230551109839269</c:v>
                </c:pt>
              </c:numCache>
            </c:numRef>
          </c:val>
          <c:extLst>
            <c:ext xmlns:c16="http://schemas.microsoft.com/office/drawing/2014/chart" uri="{C3380CC4-5D6E-409C-BE32-E72D297353CC}">
              <c16:uniqueId val="{00000006-8060-4D00-8418-E41261A3BE39}"/>
            </c:ext>
          </c:extLst>
        </c:ser>
        <c:dLbls>
          <c:showLegendKey val="0"/>
          <c:showVal val="0"/>
          <c:showCatName val="0"/>
          <c:showSerName val="0"/>
          <c:showPercent val="0"/>
          <c:showBubbleSize val="0"/>
        </c:dLbls>
        <c:gapWidth val="15"/>
        <c:overlap val="100"/>
        <c:axId val="21946007"/>
        <c:axId val="1"/>
      </c:barChart>
      <c:catAx>
        <c:axId val="21946007"/>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75.965174683200587"/>
          <c:min val="0"/>
        </c:scaling>
        <c:delete val="1"/>
        <c:axPos val="l"/>
        <c:numFmt formatCode="General" sourceLinked="1"/>
        <c:majorTickMark val="out"/>
        <c:minorTickMark val="none"/>
        <c:tickLblPos val="nextTo"/>
        <c:crossAx val="21946007"/>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644628099173556E-3"/>
          <c:y val="3.7356321839080463E-2"/>
          <c:w val="0.98347107438016534"/>
          <c:h val="0.92528735632183912"/>
        </c:manualLayout>
      </c:layout>
      <c:barChart>
        <c:barDir val="col"/>
        <c:grouping val="stacked"/>
        <c:varyColors val="0"/>
        <c:ser>
          <c:idx val="0"/>
          <c:order val="0"/>
          <c:spPr>
            <a:noFill/>
            <a:ln>
              <a:noFill/>
            </a:ln>
          </c:spPr>
          <c:invertIfNegative val="0"/>
          <c:dPt>
            <c:idx val="0"/>
            <c:invertIfNegative val="0"/>
            <c:bubble3D val="0"/>
            <c:spPr>
              <a:solidFill>
                <a:srgbClr val="D6D7D9"/>
              </a:solidFill>
              <a:ln w="9525" algn="ctr">
                <a:solidFill>
                  <a:srgbClr val="808080"/>
                </a:solidFill>
                <a:prstDash val="solid"/>
              </a:ln>
            </c:spPr>
            <c:extLst>
              <c:ext xmlns:c16="http://schemas.microsoft.com/office/drawing/2014/chart" uri="{C3380CC4-5D6E-409C-BE32-E72D297353CC}">
                <c16:uniqueId val="{00000000-10E3-4F23-9A70-B66D650FB722}"/>
              </c:ext>
            </c:extLst>
          </c:dPt>
          <c:dPt>
            <c:idx val="5"/>
            <c:invertIfNegative val="0"/>
            <c:bubble3D val="0"/>
            <c:spPr>
              <a:solidFill>
                <a:srgbClr val="D6D7D9"/>
              </a:solidFill>
              <a:ln w="9525" algn="ctr">
                <a:solidFill>
                  <a:srgbClr val="808080"/>
                </a:solidFill>
                <a:prstDash val="solid"/>
              </a:ln>
            </c:spPr>
            <c:extLst>
              <c:ext xmlns:c16="http://schemas.microsoft.com/office/drawing/2014/chart" uri="{C3380CC4-5D6E-409C-BE32-E72D297353CC}">
                <c16:uniqueId val="{00000001-10E3-4F23-9A70-B66D650FB722}"/>
              </c:ext>
            </c:extLst>
          </c:dPt>
          <c:val>
            <c:numRef>
              <c:f>Sheet1!$A$1:$F$1</c:f>
              <c:numCache>
                <c:formatCode>General</c:formatCode>
                <c:ptCount val="6"/>
                <c:pt idx="0">
                  <c:v>76.130067185194363</c:v>
                </c:pt>
                <c:pt idx="1">
                  <c:v>57.729273868112372</c:v>
                </c:pt>
                <c:pt idx="2">
                  <c:v>56.329156853641493</c:v>
                </c:pt>
                <c:pt idx="3">
                  <c:v>56.329156853641493</c:v>
                </c:pt>
                <c:pt idx="4">
                  <c:v>56.329156853641493</c:v>
                </c:pt>
                <c:pt idx="5">
                  <c:v>57.45221196462542</c:v>
                </c:pt>
              </c:numCache>
            </c:numRef>
          </c:val>
          <c:extLst>
            <c:ext xmlns:c16="http://schemas.microsoft.com/office/drawing/2014/chart" uri="{C3380CC4-5D6E-409C-BE32-E72D297353CC}">
              <c16:uniqueId val="{00000002-10E3-4F23-9A70-B66D650FB722}"/>
            </c:ext>
          </c:extLst>
        </c:ser>
        <c:ser>
          <c:idx val="1"/>
          <c:order val="1"/>
          <c:spPr>
            <a:solidFill>
              <a:schemeClr val="accent3"/>
            </a:solidFill>
            <a:ln w="9525" algn="ctr">
              <a:solidFill>
                <a:srgbClr val="808080"/>
              </a:solidFill>
              <a:prstDash val="solid"/>
            </a:ln>
          </c:spPr>
          <c:invertIfNegative val="0"/>
          <c:dPt>
            <c:idx val="1"/>
            <c:invertIfNegative val="0"/>
            <c:bubble3D val="0"/>
            <c:spPr>
              <a:solidFill>
                <a:schemeClr val="bg2"/>
              </a:solidFill>
              <a:ln w="9525" algn="ctr">
                <a:solidFill>
                  <a:srgbClr val="808080"/>
                </a:solidFill>
                <a:prstDash val="solid"/>
              </a:ln>
            </c:spPr>
            <c:extLst>
              <c:ext xmlns:c16="http://schemas.microsoft.com/office/drawing/2014/chart" uri="{C3380CC4-5D6E-409C-BE32-E72D297353CC}">
                <c16:uniqueId val="{00000003-10E3-4F23-9A70-B66D650FB722}"/>
              </c:ext>
            </c:extLst>
          </c:dPt>
          <c:dPt>
            <c:idx val="2"/>
            <c:invertIfNegative val="0"/>
            <c:bubble3D val="0"/>
            <c:spPr>
              <a:solidFill>
                <a:schemeClr val="bg2"/>
              </a:solidFill>
              <a:ln w="9525" algn="ctr">
                <a:solidFill>
                  <a:srgbClr val="808080"/>
                </a:solidFill>
                <a:prstDash val="solid"/>
              </a:ln>
            </c:spPr>
            <c:extLst>
              <c:ext xmlns:c16="http://schemas.microsoft.com/office/drawing/2014/chart" uri="{C3380CC4-5D6E-409C-BE32-E72D297353CC}">
                <c16:uniqueId val="{00000004-10E3-4F23-9A70-B66D650FB722}"/>
              </c:ext>
            </c:extLst>
          </c:dPt>
          <c:dLbls>
            <c:dLbl>
              <c:idx val="4"/>
              <c:layout>
                <c:manualLayout>
                  <c:x val="0"/>
                  <c:y val="-5.7471264367816091E-2"/>
                </c:manualLayout>
              </c:layout>
              <c:numFmt formatCode="&quot;$&quot;#,##0&quot;M&quot;;&quot;-&quot;&quot;$&quot;#,##0&quot;M&quot;" sourceLinked="0"/>
              <c:spPr>
                <a:noFill/>
                <a:ln>
                  <a:noFill/>
                </a:ln>
              </c:spPr>
              <c:txPr>
                <a:bodyPr wrap="none"/>
                <a:lstStyle/>
                <a:p>
                  <a:pPr>
                    <a:defRPr sz="1200">
                      <a:solidFill>
                        <a:srgbClr val="4C4D4E"/>
                      </a:solidFill>
                      <a:latin typeface="+mj-lt"/>
                      <a:ea typeface="+mj-ea"/>
                      <a:cs typeface="+mj-cs"/>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E3-4F23-9A70-B66D650FB7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18.400793317081991</c:v>
                </c:pt>
                <c:pt idx="2">
                  <c:v>1.4001170144708794</c:v>
                </c:pt>
                <c:pt idx="3">
                  <c:v>0</c:v>
                </c:pt>
                <c:pt idx="4">
                  <c:v>1.1230551109839269</c:v>
                </c:pt>
              </c:numCache>
            </c:numRef>
          </c:val>
          <c:extLst>
            <c:ext xmlns:c16="http://schemas.microsoft.com/office/drawing/2014/chart" uri="{C3380CC4-5D6E-409C-BE32-E72D297353CC}">
              <c16:uniqueId val="{00000006-10E3-4F23-9A70-B66D650FB722}"/>
            </c:ext>
          </c:extLst>
        </c:ser>
        <c:dLbls>
          <c:showLegendKey val="0"/>
          <c:showVal val="0"/>
          <c:showCatName val="0"/>
          <c:showSerName val="0"/>
          <c:showPercent val="0"/>
          <c:showBubbleSize val="0"/>
        </c:dLbls>
        <c:gapWidth val="15"/>
        <c:overlap val="100"/>
        <c:axId val="320662751"/>
        <c:axId val="1"/>
      </c:barChart>
      <c:catAx>
        <c:axId val="320662751"/>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76.130067185194363"/>
          <c:min val="0"/>
        </c:scaling>
        <c:delete val="1"/>
        <c:axPos val="l"/>
        <c:numFmt formatCode="General" sourceLinked="1"/>
        <c:majorTickMark val="out"/>
        <c:minorTickMark val="none"/>
        <c:tickLblPos val="nextTo"/>
        <c:crossAx val="32066275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29032258064516E-2"/>
          <c:y val="6.1611374407582936E-2"/>
          <c:w val="0.967741935483871"/>
          <c:h val="0.87677725118483407"/>
        </c:manualLayout>
      </c:layout>
      <c:barChart>
        <c:barDir val="col"/>
        <c:grouping val="stacked"/>
        <c:varyColors val="0"/>
        <c:ser>
          <c:idx val="0"/>
          <c:order val="0"/>
          <c:spPr>
            <a:solidFill>
              <a:srgbClr val="D6D7D9"/>
            </a:solidFill>
            <a:ln w="9525" algn="ctr">
              <a:solidFill>
                <a:srgbClr val="808080"/>
              </a:solidFill>
              <a:prstDash val="solid"/>
            </a:ln>
          </c:spPr>
          <c:invertIfNegative val="0"/>
          <c:val>
            <c:numRef>
              <c:f>Sheet1!$A$1:$D$1</c:f>
              <c:numCache>
                <c:formatCode>General</c:formatCode>
                <c:ptCount val="4"/>
                <c:pt idx="0">
                  <c:v>1000</c:v>
                </c:pt>
                <c:pt idx="1">
                  <c:v>1000</c:v>
                </c:pt>
                <c:pt idx="2">
                  <c:v>1000</c:v>
                </c:pt>
                <c:pt idx="3">
                  <c:v>1000</c:v>
                </c:pt>
              </c:numCache>
            </c:numRef>
          </c:val>
          <c:extLst>
            <c:ext xmlns:c16="http://schemas.microsoft.com/office/drawing/2014/chart" uri="{C3380CC4-5D6E-409C-BE32-E72D297353CC}">
              <c16:uniqueId val="{00000000-20C5-4970-99A7-268C9D7AF6EC}"/>
            </c:ext>
          </c:extLst>
        </c:ser>
        <c:dLbls>
          <c:showLegendKey val="0"/>
          <c:showVal val="0"/>
          <c:showCatName val="0"/>
          <c:showSerName val="0"/>
          <c:showPercent val="0"/>
          <c:showBubbleSize val="0"/>
        </c:dLbls>
        <c:gapWidth val="80"/>
        <c:overlap val="100"/>
        <c:axId val="320857911"/>
        <c:axId val="1"/>
      </c:barChart>
      <c:catAx>
        <c:axId val="320857911"/>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32085791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67131594906003E-2"/>
          <c:y val="0.22390572390572391"/>
          <c:w val="0.96846573681018799"/>
          <c:h val="0.68855218855218858"/>
        </c:manualLayout>
      </c:layout>
      <c:barChart>
        <c:barDir val="col"/>
        <c:grouping val="stacked"/>
        <c:varyColors val="0"/>
        <c:ser>
          <c:idx val="0"/>
          <c:order val="0"/>
          <c:spPr>
            <a:solidFill>
              <a:srgbClr val="D6D7D9"/>
            </a:solidFill>
            <a:ln w="9525" algn="ctr">
              <a:solidFill>
                <a:srgbClr val="808080"/>
              </a:solidFill>
              <a:prstDash val="solid"/>
            </a:ln>
          </c:spPr>
          <c:invertIfNegative val="0"/>
          <c:dLbls>
            <c:dLbl>
              <c:idx val="0"/>
              <c:layout>
                <c:manualLayout>
                  <c:x val="0"/>
                  <c:y val="-0.45622895622895621"/>
                </c:manualLayout>
              </c:layout>
              <c:numFmt formatCode="&quot;$&quot;#,##0&quot;M&quot;;&quot;-&quot;&quot;$&quot;#,##0&quot;M&quot;" sourceLinked="0"/>
              <c:spPr>
                <a:noFill/>
                <a:ln>
                  <a:noFill/>
                </a:ln>
              </c:spPr>
              <c:txPr>
                <a:bodyPr wrap="none"/>
                <a:lstStyle/>
                <a:p>
                  <a:pPr>
                    <a:defRPr sz="1100" b="1">
                      <a:solidFill>
                        <a:srgbClr val="4C4D4E"/>
                      </a:solidFill>
                      <a:latin typeface="+mn-lt"/>
                      <a:ea typeface="+mn-ea"/>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43-4165-B3E5-F902063DB056}"/>
                </c:ext>
              </c:extLst>
            </c:dLbl>
            <c:dLbl>
              <c:idx val="1"/>
              <c:layout>
                <c:manualLayout>
                  <c:x val="0"/>
                  <c:y val="-0.45622895622895621"/>
                </c:manualLayout>
              </c:layout>
              <c:numFmt formatCode="&quot;$&quot;#,##0&quot;M&quot;;&quot;-&quot;&quot;$&quot;#,##0&quot;M&quot;" sourceLinked="0"/>
              <c:spPr>
                <a:noFill/>
                <a:ln>
                  <a:noFill/>
                </a:ln>
              </c:spPr>
              <c:txPr>
                <a:bodyPr wrap="none"/>
                <a:lstStyle/>
                <a:p>
                  <a:pPr>
                    <a:defRPr sz="1100" b="1">
                      <a:solidFill>
                        <a:srgbClr val="4C4D4E"/>
                      </a:solidFill>
                      <a:latin typeface="+mn-lt"/>
                      <a:ea typeface="+mn-ea"/>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43-4165-B3E5-F902063DB056}"/>
                </c:ext>
              </c:extLst>
            </c:dLbl>
            <c:dLbl>
              <c:idx val="2"/>
              <c:layout>
                <c:manualLayout>
                  <c:x val="0"/>
                  <c:y val="-0.45622895622895621"/>
                </c:manualLayout>
              </c:layout>
              <c:numFmt formatCode="&quot;$&quot;#,##0&quot;M&quot;;&quot;-&quot;&quot;$&quot;#,##0&quot;M&quot;" sourceLinked="0"/>
              <c:spPr>
                <a:noFill/>
                <a:ln>
                  <a:noFill/>
                </a:ln>
              </c:spPr>
              <c:txPr>
                <a:bodyPr wrap="none"/>
                <a:lstStyle/>
                <a:p>
                  <a:pPr>
                    <a:defRPr sz="1100" b="1">
                      <a:solidFill>
                        <a:srgbClr val="4C4D4E"/>
                      </a:solidFill>
                      <a:latin typeface="+mn-lt"/>
                      <a:ea typeface="+mn-ea"/>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43-4165-B3E5-F902063DB056}"/>
                </c:ext>
              </c:extLst>
            </c:dLbl>
            <c:dLbl>
              <c:idx val="3"/>
              <c:layout>
                <c:manualLayout>
                  <c:x val="0"/>
                  <c:y val="-0.45622895622895621"/>
                </c:manualLayout>
              </c:layout>
              <c:numFmt formatCode="&quot;$&quot;#,##0&quot;M&quot;;&quot;-&quot;&quot;$&quot;#,##0&quot;M&quot;" sourceLinked="0"/>
              <c:spPr>
                <a:noFill/>
                <a:ln>
                  <a:noFill/>
                </a:ln>
              </c:spPr>
              <c:txPr>
                <a:bodyPr wrap="none"/>
                <a:lstStyle/>
                <a:p>
                  <a:pPr>
                    <a:defRPr sz="1100" b="1">
                      <a:solidFill>
                        <a:srgbClr val="4C4D4E"/>
                      </a:solidFill>
                      <a:latin typeface="+mn-lt"/>
                      <a:ea typeface="+mn-ea"/>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43-4165-B3E5-F902063DB0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00</c:v>
                </c:pt>
                <c:pt idx="1">
                  <c:v>300</c:v>
                </c:pt>
                <c:pt idx="2">
                  <c:v>300</c:v>
                </c:pt>
                <c:pt idx="3">
                  <c:v>300</c:v>
                </c:pt>
              </c:numCache>
            </c:numRef>
          </c:val>
          <c:extLst>
            <c:ext xmlns:c16="http://schemas.microsoft.com/office/drawing/2014/chart" uri="{C3380CC4-5D6E-409C-BE32-E72D297353CC}">
              <c16:uniqueId val="{00000004-CE43-4165-B3E5-F902063DB056}"/>
            </c:ext>
          </c:extLst>
        </c:ser>
        <c:dLbls>
          <c:showLegendKey val="0"/>
          <c:showVal val="0"/>
          <c:showCatName val="0"/>
          <c:showSerName val="0"/>
          <c:showPercent val="0"/>
          <c:showBubbleSize val="0"/>
        </c:dLbls>
        <c:gapWidth val="80"/>
        <c:overlap val="100"/>
        <c:axId val="117068863"/>
        <c:axId val="1"/>
      </c:barChart>
      <c:catAx>
        <c:axId val="117068863"/>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300"/>
          <c:min val="0"/>
        </c:scaling>
        <c:delete val="1"/>
        <c:axPos val="l"/>
        <c:numFmt formatCode="General" sourceLinked="1"/>
        <c:majorTickMark val="out"/>
        <c:minorTickMark val="none"/>
        <c:tickLblPos val="nextTo"/>
        <c:crossAx val="11706886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29731417863835"/>
          <c:y val="6.0891938250428816E-2"/>
          <c:w val="0.85946283572767024"/>
          <c:h val="0.87735849056603776"/>
        </c:manualLayout>
      </c:layout>
      <c:barChart>
        <c:barDir val="col"/>
        <c:grouping val="stacked"/>
        <c:varyColors val="0"/>
        <c:ser>
          <c:idx val="0"/>
          <c:order val="0"/>
          <c:spPr>
            <a:solidFill>
              <a:srgbClr val="808080"/>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FB-45FC-B1F5-51D4BD4C520A}"/>
                </c:ext>
              </c:extLst>
            </c:dLbl>
            <c:dLbl>
              <c:idx val="1"/>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FB-45FC-B1F5-51D4BD4C520A}"/>
                </c:ext>
              </c:extLst>
            </c:dLbl>
            <c:dLbl>
              <c:idx val="2"/>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9FB-45FC-B1F5-51D4BD4C520A}"/>
                </c:ext>
              </c:extLst>
            </c:dLbl>
            <c:dLbl>
              <c:idx val="3"/>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9FB-45FC-B1F5-51D4BD4C520A}"/>
                </c:ext>
              </c:extLst>
            </c:dLbl>
            <c:dLbl>
              <c:idx val="4"/>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FB-45FC-B1F5-51D4BD4C52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5</c:v>
                </c:pt>
                <c:pt idx="1">
                  <c:v>35</c:v>
                </c:pt>
                <c:pt idx="2">
                  <c:v>25</c:v>
                </c:pt>
                <c:pt idx="3">
                  <c:v>35</c:v>
                </c:pt>
                <c:pt idx="4">
                  <c:v>25</c:v>
                </c:pt>
              </c:numCache>
            </c:numRef>
          </c:val>
          <c:extLst>
            <c:ext xmlns:c16="http://schemas.microsoft.com/office/drawing/2014/chart" uri="{C3380CC4-5D6E-409C-BE32-E72D297353CC}">
              <c16:uniqueId val="{00000005-99FB-45FC-B1F5-51D4BD4C520A}"/>
            </c:ext>
          </c:extLst>
        </c:ser>
        <c:ser>
          <c:idx val="1"/>
          <c:order val="1"/>
          <c:spPr>
            <a:solidFill>
              <a:srgbClr val="969696"/>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9FB-45FC-B1F5-51D4BD4C520A}"/>
                </c:ext>
              </c:extLst>
            </c:dLbl>
            <c:dLbl>
              <c:idx val="1"/>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9FB-45FC-B1F5-51D4BD4C520A}"/>
                </c:ext>
              </c:extLst>
            </c:dLbl>
            <c:dLbl>
              <c:idx val="2"/>
              <c:layout>
                <c:manualLayout>
                  <c:x val="0"/>
                  <c:y val="0"/>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9FB-45FC-B1F5-51D4BD4C520A}"/>
                </c:ext>
              </c:extLst>
            </c:dLbl>
            <c:dLbl>
              <c:idx val="3"/>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9FB-45FC-B1F5-51D4BD4C520A}"/>
                </c:ext>
              </c:extLst>
            </c:dLbl>
            <c:dLbl>
              <c:idx val="4"/>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9FB-45FC-B1F5-51D4BD4C52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5</c:v>
                </c:pt>
                <c:pt idx="1">
                  <c:v>35</c:v>
                </c:pt>
                <c:pt idx="2">
                  <c:v>25</c:v>
                </c:pt>
                <c:pt idx="3">
                  <c:v>35</c:v>
                </c:pt>
                <c:pt idx="4">
                  <c:v>25</c:v>
                </c:pt>
              </c:numCache>
            </c:numRef>
          </c:val>
          <c:extLst>
            <c:ext xmlns:c16="http://schemas.microsoft.com/office/drawing/2014/chart" uri="{C3380CC4-5D6E-409C-BE32-E72D297353CC}">
              <c16:uniqueId val="{0000000B-99FB-45FC-B1F5-51D4BD4C520A}"/>
            </c:ext>
          </c:extLst>
        </c:ser>
        <c:ser>
          <c:idx val="2"/>
          <c:order val="2"/>
          <c:spPr>
            <a:solidFill>
              <a:srgbClr val="C0C0C0"/>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9FB-45FC-B1F5-51D4BD4C520A}"/>
                </c:ext>
              </c:extLst>
            </c:dLbl>
            <c:dLbl>
              <c:idx val="1"/>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9FB-45FC-B1F5-51D4BD4C520A}"/>
                </c:ext>
              </c:extLst>
            </c:dLbl>
            <c:dLbl>
              <c:idx val="2"/>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9FB-45FC-B1F5-51D4BD4C520A}"/>
                </c:ext>
              </c:extLst>
            </c:dLbl>
            <c:dLbl>
              <c:idx val="3"/>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9FB-45FC-B1F5-51D4BD4C520A}"/>
                </c:ext>
              </c:extLst>
            </c:dLbl>
            <c:dLbl>
              <c:idx val="4"/>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9FB-45FC-B1F5-51D4BD4C52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9.9999999999999982</c:v>
                </c:pt>
                <c:pt idx="1">
                  <c:v>9.9999999999999982</c:v>
                </c:pt>
                <c:pt idx="2">
                  <c:v>9.9999999999999982</c:v>
                </c:pt>
                <c:pt idx="3">
                  <c:v>9.9999999999999982</c:v>
                </c:pt>
                <c:pt idx="4">
                  <c:v>9.9999999999999982</c:v>
                </c:pt>
              </c:numCache>
            </c:numRef>
          </c:val>
          <c:extLst>
            <c:ext xmlns:c16="http://schemas.microsoft.com/office/drawing/2014/chart" uri="{C3380CC4-5D6E-409C-BE32-E72D297353CC}">
              <c16:uniqueId val="{00000011-99FB-45FC-B1F5-51D4BD4C520A}"/>
            </c:ext>
          </c:extLst>
        </c:ser>
        <c:ser>
          <c:idx val="3"/>
          <c:order val="3"/>
          <c:spPr>
            <a:solidFill>
              <a:srgbClr val="6D1919"/>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9FB-45FC-B1F5-51D4BD4C520A}"/>
                </c:ext>
              </c:extLst>
            </c:dLbl>
            <c:dLbl>
              <c:idx val="1"/>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9FB-45FC-B1F5-51D4BD4C520A}"/>
                </c:ext>
              </c:extLst>
            </c:dLbl>
            <c:dLbl>
              <c:idx val="2"/>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9FB-45FC-B1F5-51D4BD4C520A}"/>
                </c:ext>
              </c:extLst>
            </c:dLbl>
            <c:dLbl>
              <c:idx val="3"/>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9FB-45FC-B1F5-51D4BD4C520A}"/>
                </c:ext>
              </c:extLst>
            </c:dLbl>
            <c:dLbl>
              <c:idx val="4"/>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9FB-45FC-B1F5-51D4BD4C52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20.000000000000007</c:v>
                </c:pt>
                <c:pt idx="1">
                  <c:v>9.9999999999999982</c:v>
                </c:pt>
                <c:pt idx="2">
                  <c:v>20.000000000000007</c:v>
                </c:pt>
                <c:pt idx="3">
                  <c:v>9.9999999999999982</c:v>
                </c:pt>
                <c:pt idx="4">
                  <c:v>20.000000000000007</c:v>
                </c:pt>
              </c:numCache>
            </c:numRef>
          </c:val>
          <c:extLst>
            <c:ext xmlns:c16="http://schemas.microsoft.com/office/drawing/2014/chart" uri="{C3380CC4-5D6E-409C-BE32-E72D297353CC}">
              <c16:uniqueId val="{00000017-99FB-45FC-B1F5-51D4BD4C520A}"/>
            </c:ext>
          </c:extLst>
        </c:ser>
        <c:ser>
          <c:idx val="4"/>
          <c:order val="4"/>
          <c:spPr>
            <a:solidFill>
              <a:srgbClr val="A32626"/>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9FB-45FC-B1F5-51D4BD4C520A}"/>
                </c:ext>
              </c:extLst>
            </c:dLbl>
            <c:dLbl>
              <c:idx val="1"/>
              <c:layout>
                <c:manualLayout>
                  <c:x val="7.2142410993129291E-2"/>
                  <c:y val="-8.576329331046312E-4"/>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9FB-45FC-B1F5-51D4BD4C520A}"/>
                </c:ext>
              </c:extLst>
            </c:dLbl>
            <c:dLbl>
              <c:idx val="2"/>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9FB-45FC-B1F5-51D4BD4C520A}"/>
                </c:ext>
              </c:extLst>
            </c:dLbl>
            <c:dLbl>
              <c:idx val="3"/>
              <c:layout>
                <c:manualLayout>
                  <c:x val="7.2142410993129291E-2"/>
                  <c:y val="-8.576329331046312E-4"/>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9FB-45FC-B1F5-51D4BD4C520A}"/>
                </c:ext>
              </c:extLst>
            </c:dLbl>
            <c:dLbl>
              <c:idx val="4"/>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9FB-45FC-B1F5-51D4BD4C52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9.9999999999999982</c:v>
                </c:pt>
                <c:pt idx="1">
                  <c:v>5.0000000000000044</c:v>
                </c:pt>
                <c:pt idx="2">
                  <c:v>9.9999999999999982</c:v>
                </c:pt>
                <c:pt idx="3">
                  <c:v>5.0000000000000044</c:v>
                </c:pt>
                <c:pt idx="4">
                  <c:v>9.9999999999999982</c:v>
                </c:pt>
              </c:numCache>
            </c:numRef>
          </c:val>
          <c:extLst>
            <c:ext xmlns:c16="http://schemas.microsoft.com/office/drawing/2014/chart" uri="{C3380CC4-5D6E-409C-BE32-E72D297353CC}">
              <c16:uniqueId val="{0000001D-99FB-45FC-B1F5-51D4BD4C520A}"/>
            </c:ext>
          </c:extLst>
        </c:ser>
        <c:ser>
          <c:idx val="5"/>
          <c:order val="5"/>
          <c:spPr>
            <a:solidFill>
              <a:srgbClr val="FFD45C"/>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9FB-45FC-B1F5-51D4BD4C520A}"/>
                </c:ext>
              </c:extLst>
            </c:dLbl>
            <c:dLbl>
              <c:idx val="2"/>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9FB-45FC-B1F5-51D4BD4C520A}"/>
                </c:ext>
              </c:extLst>
            </c:dLbl>
            <c:dLbl>
              <c:idx val="4"/>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9FB-45FC-B1F5-51D4BD4C52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E$6</c:f>
              <c:numCache>
                <c:formatCode>General</c:formatCode>
                <c:ptCount val="5"/>
                <c:pt idx="0">
                  <c:v>9.9999999999999982</c:v>
                </c:pt>
                <c:pt idx="1">
                  <c:v>5.0000000000000044</c:v>
                </c:pt>
                <c:pt idx="2">
                  <c:v>9.9999999999999982</c:v>
                </c:pt>
                <c:pt idx="3">
                  <c:v>5.0000000000000044</c:v>
                </c:pt>
                <c:pt idx="4">
                  <c:v>9.9999999999999982</c:v>
                </c:pt>
              </c:numCache>
            </c:numRef>
          </c:val>
          <c:extLst>
            <c:ext xmlns:c16="http://schemas.microsoft.com/office/drawing/2014/chart" uri="{C3380CC4-5D6E-409C-BE32-E72D297353CC}">
              <c16:uniqueId val="{00000021-99FB-45FC-B1F5-51D4BD4C520A}"/>
            </c:ext>
          </c:extLst>
        </c:ser>
        <c:dLbls>
          <c:showLegendKey val="0"/>
          <c:showVal val="0"/>
          <c:showCatName val="0"/>
          <c:showSerName val="0"/>
          <c:showPercent val="0"/>
          <c:showBubbleSize val="0"/>
        </c:dLbls>
        <c:gapWidth val="80"/>
        <c:overlap val="100"/>
        <c:axId val="946849952"/>
        <c:axId val="1"/>
      </c:barChart>
      <c:catAx>
        <c:axId val="946849952"/>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algn="ctr">
            <a:solidFill>
              <a:srgbClr val="808080"/>
            </a:solidFill>
            <a:prstDash val="solid"/>
          </a:ln>
        </c:spPr>
        <c:txPr>
          <a:bodyPr wrap="none"/>
          <a:lstStyle/>
          <a:p>
            <a:pPr>
              <a:defRPr sz="1200">
                <a:solidFill>
                  <a:schemeClr val="tx1"/>
                </a:solidFill>
                <a:latin typeface="+mn-lt"/>
                <a:ea typeface="+mn-ea"/>
                <a:cs typeface="Arial"/>
                <a:sym typeface="+mn-lt"/>
              </a:defRPr>
            </a:pPr>
            <a:endParaRPr lang="en-US"/>
          </a:p>
        </c:txPr>
        <c:crossAx val="946849952"/>
        <c:crosses val="min"/>
        <c:crossBetween val="between"/>
        <c:majorUnit val="2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29731417863835"/>
          <c:y val="6.0891938250428816E-2"/>
          <c:w val="0.85946283572767024"/>
          <c:h val="0.87735849056603776"/>
        </c:manualLayout>
      </c:layout>
      <c:barChart>
        <c:barDir val="col"/>
        <c:grouping val="stacked"/>
        <c:varyColors val="0"/>
        <c:ser>
          <c:idx val="0"/>
          <c:order val="0"/>
          <c:spPr>
            <a:solidFill>
              <a:srgbClr val="808080"/>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27-4DEE-BFED-1984050E7111}"/>
                </c:ext>
              </c:extLst>
            </c:dLbl>
            <c:dLbl>
              <c:idx val="1"/>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27-4DEE-BFED-1984050E7111}"/>
                </c:ext>
              </c:extLst>
            </c:dLbl>
            <c:dLbl>
              <c:idx val="2"/>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27-4DEE-BFED-1984050E7111}"/>
                </c:ext>
              </c:extLst>
            </c:dLbl>
            <c:dLbl>
              <c:idx val="3"/>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27-4DEE-BFED-1984050E7111}"/>
                </c:ext>
              </c:extLst>
            </c:dLbl>
            <c:dLbl>
              <c:idx val="4"/>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27-4DEE-BFED-1984050E71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5</c:v>
                </c:pt>
                <c:pt idx="1">
                  <c:v>35</c:v>
                </c:pt>
                <c:pt idx="2">
                  <c:v>25</c:v>
                </c:pt>
                <c:pt idx="3">
                  <c:v>35</c:v>
                </c:pt>
                <c:pt idx="4">
                  <c:v>25</c:v>
                </c:pt>
              </c:numCache>
            </c:numRef>
          </c:val>
          <c:extLst>
            <c:ext xmlns:c16="http://schemas.microsoft.com/office/drawing/2014/chart" uri="{C3380CC4-5D6E-409C-BE32-E72D297353CC}">
              <c16:uniqueId val="{00000005-1527-4DEE-BFED-1984050E7111}"/>
            </c:ext>
          </c:extLst>
        </c:ser>
        <c:ser>
          <c:idx val="1"/>
          <c:order val="1"/>
          <c:spPr>
            <a:solidFill>
              <a:srgbClr val="969696"/>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527-4DEE-BFED-1984050E7111}"/>
                </c:ext>
              </c:extLst>
            </c:dLbl>
            <c:dLbl>
              <c:idx val="1"/>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527-4DEE-BFED-1984050E7111}"/>
                </c:ext>
              </c:extLst>
            </c:dLbl>
            <c:dLbl>
              <c:idx val="2"/>
              <c:layout>
                <c:manualLayout>
                  <c:x val="0"/>
                  <c:y val="0"/>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527-4DEE-BFED-1984050E7111}"/>
                </c:ext>
              </c:extLst>
            </c:dLbl>
            <c:dLbl>
              <c:idx val="3"/>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527-4DEE-BFED-1984050E7111}"/>
                </c:ext>
              </c:extLst>
            </c:dLbl>
            <c:dLbl>
              <c:idx val="4"/>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527-4DEE-BFED-1984050E71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5</c:v>
                </c:pt>
                <c:pt idx="1">
                  <c:v>35</c:v>
                </c:pt>
                <c:pt idx="2">
                  <c:v>25</c:v>
                </c:pt>
                <c:pt idx="3">
                  <c:v>35</c:v>
                </c:pt>
                <c:pt idx="4">
                  <c:v>25</c:v>
                </c:pt>
              </c:numCache>
            </c:numRef>
          </c:val>
          <c:extLst>
            <c:ext xmlns:c16="http://schemas.microsoft.com/office/drawing/2014/chart" uri="{C3380CC4-5D6E-409C-BE32-E72D297353CC}">
              <c16:uniqueId val="{0000000B-1527-4DEE-BFED-1984050E7111}"/>
            </c:ext>
          </c:extLst>
        </c:ser>
        <c:ser>
          <c:idx val="2"/>
          <c:order val="2"/>
          <c:spPr>
            <a:solidFill>
              <a:srgbClr val="C0C0C0"/>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527-4DEE-BFED-1984050E7111}"/>
                </c:ext>
              </c:extLst>
            </c:dLbl>
            <c:dLbl>
              <c:idx val="1"/>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527-4DEE-BFED-1984050E7111}"/>
                </c:ext>
              </c:extLst>
            </c:dLbl>
            <c:dLbl>
              <c:idx val="2"/>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527-4DEE-BFED-1984050E7111}"/>
                </c:ext>
              </c:extLst>
            </c:dLbl>
            <c:dLbl>
              <c:idx val="3"/>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527-4DEE-BFED-1984050E7111}"/>
                </c:ext>
              </c:extLst>
            </c:dLbl>
            <c:dLbl>
              <c:idx val="4"/>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527-4DEE-BFED-1984050E71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9.9999999999999982</c:v>
                </c:pt>
                <c:pt idx="1">
                  <c:v>9.9999999999999982</c:v>
                </c:pt>
                <c:pt idx="2">
                  <c:v>9.9999999999999982</c:v>
                </c:pt>
                <c:pt idx="3">
                  <c:v>9.9999999999999982</c:v>
                </c:pt>
                <c:pt idx="4">
                  <c:v>9.9999999999999982</c:v>
                </c:pt>
              </c:numCache>
            </c:numRef>
          </c:val>
          <c:extLst>
            <c:ext xmlns:c16="http://schemas.microsoft.com/office/drawing/2014/chart" uri="{C3380CC4-5D6E-409C-BE32-E72D297353CC}">
              <c16:uniqueId val="{00000011-1527-4DEE-BFED-1984050E7111}"/>
            </c:ext>
          </c:extLst>
        </c:ser>
        <c:ser>
          <c:idx val="3"/>
          <c:order val="3"/>
          <c:spPr>
            <a:solidFill>
              <a:srgbClr val="6D1919"/>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527-4DEE-BFED-1984050E7111}"/>
                </c:ext>
              </c:extLst>
            </c:dLbl>
            <c:dLbl>
              <c:idx val="1"/>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527-4DEE-BFED-1984050E7111}"/>
                </c:ext>
              </c:extLst>
            </c:dLbl>
            <c:dLbl>
              <c:idx val="2"/>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527-4DEE-BFED-1984050E7111}"/>
                </c:ext>
              </c:extLst>
            </c:dLbl>
            <c:dLbl>
              <c:idx val="3"/>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527-4DEE-BFED-1984050E7111}"/>
                </c:ext>
              </c:extLst>
            </c:dLbl>
            <c:dLbl>
              <c:idx val="4"/>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527-4DEE-BFED-1984050E71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20.000000000000007</c:v>
                </c:pt>
                <c:pt idx="1">
                  <c:v>9.9999999999999982</c:v>
                </c:pt>
                <c:pt idx="2">
                  <c:v>20.000000000000007</c:v>
                </c:pt>
                <c:pt idx="3">
                  <c:v>9.9999999999999982</c:v>
                </c:pt>
                <c:pt idx="4">
                  <c:v>20.000000000000007</c:v>
                </c:pt>
              </c:numCache>
            </c:numRef>
          </c:val>
          <c:extLst>
            <c:ext xmlns:c16="http://schemas.microsoft.com/office/drawing/2014/chart" uri="{C3380CC4-5D6E-409C-BE32-E72D297353CC}">
              <c16:uniqueId val="{00000017-1527-4DEE-BFED-1984050E7111}"/>
            </c:ext>
          </c:extLst>
        </c:ser>
        <c:ser>
          <c:idx val="4"/>
          <c:order val="4"/>
          <c:spPr>
            <a:solidFill>
              <a:srgbClr val="A32626"/>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527-4DEE-BFED-1984050E7111}"/>
                </c:ext>
              </c:extLst>
            </c:dLbl>
            <c:dLbl>
              <c:idx val="1"/>
              <c:layout>
                <c:manualLayout>
                  <c:x val="7.2142410993129291E-2"/>
                  <c:y val="-8.576329331046312E-4"/>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527-4DEE-BFED-1984050E7111}"/>
                </c:ext>
              </c:extLst>
            </c:dLbl>
            <c:dLbl>
              <c:idx val="2"/>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527-4DEE-BFED-1984050E7111}"/>
                </c:ext>
              </c:extLst>
            </c:dLbl>
            <c:dLbl>
              <c:idx val="3"/>
              <c:layout>
                <c:manualLayout>
                  <c:x val="7.2142410993129291E-2"/>
                  <c:y val="-8.576329331046312E-4"/>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527-4DEE-BFED-1984050E7111}"/>
                </c:ext>
              </c:extLst>
            </c:dLbl>
            <c:dLbl>
              <c:idx val="4"/>
              <c:layout>
                <c:manualLayout>
                  <c:x val="0"/>
                  <c:y val="0"/>
                </c:manualLayout>
              </c:layout>
              <c:numFmt formatCode="#,##0&quot;%&quot;;&quot;-&quot;#,##0&quot;%&quot;" sourceLinked="0"/>
              <c:spPr>
                <a:noFill/>
                <a:ln>
                  <a:noFill/>
                </a:ln>
              </c:spPr>
              <c:txPr>
                <a:bodyPr wrap="none"/>
                <a:lstStyle/>
                <a:p>
                  <a:pPr>
                    <a:defRPr sz="1000">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527-4DEE-BFED-1984050E71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9.9999999999999982</c:v>
                </c:pt>
                <c:pt idx="1">
                  <c:v>5.0000000000000044</c:v>
                </c:pt>
                <c:pt idx="2">
                  <c:v>9.9999999999999982</c:v>
                </c:pt>
                <c:pt idx="3">
                  <c:v>5.0000000000000044</c:v>
                </c:pt>
                <c:pt idx="4">
                  <c:v>9.9999999999999982</c:v>
                </c:pt>
              </c:numCache>
            </c:numRef>
          </c:val>
          <c:extLst>
            <c:ext xmlns:c16="http://schemas.microsoft.com/office/drawing/2014/chart" uri="{C3380CC4-5D6E-409C-BE32-E72D297353CC}">
              <c16:uniqueId val="{0000001D-1527-4DEE-BFED-1984050E7111}"/>
            </c:ext>
          </c:extLst>
        </c:ser>
        <c:ser>
          <c:idx val="5"/>
          <c:order val="5"/>
          <c:spPr>
            <a:solidFill>
              <a:srgbClr val="FFD45C"/>
            </a:solidFill>
            <a:ln w="9525" algn="ctr">
              <a:solidFill>
                <a:srgbClr val="8080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527-4DEE-BFED-1984050E7111}"/>
                </c:ext>
              </c:extLst>
            </c:dLbl>
            <c:dLbl>
              <c:idx val="2"/>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527-4DEE-BFED-1984050E7111}"/>
                </c:ext>
              </c:extLst>
            </c:dLbl>
            <c:dLbl>
              <c:idx val="4"/>
              <c:layout>
                <c:manualLayout>
                  <c:x val="0"/>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527-4DEE-BFED-1984050E71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E$6</c:f>
              <c:numCache>
                <c:formatCode>General</c:formatCode>
                <c:ptCount val="5"/>
                <c:pt idx="0">
                  <c:v>9.9999999999999982</c:v>
                </c:pt>
                <c:pt idx="1">
                  <c:v>5.0000000000000044</c:v>
                </c:pt>
                <c:pt idx="2">
                  <c:v>9.9999999999999982</c:v>
                </c:pt>
                <c:pt idx="3">
                  <c:v>5.0000000000000044</c:v>
                </c:pt>
                <c:pt idx="4">
                  <c:v>9.9999999999999982</c:v>
                </c:pt>
              </c:numCache>
            </c:numRef>
          </c:val>
          <c:extLst>
            <c:ext xmlns:c16="http://schemas.microsoft.com/office/drawing/2014/chart" uri="{C3380CC4-5D6E-409C-BE32-E72D297353CC}">
              <c16:uniqueId val="{00000021-1527-4DEE-BFED-1984050E7111}"/>
            </c:ext>
          </c:extLst>
        </c:ser>
        <c:dLbls>
          <c:showLegendKey val="0"/>
          <c:showVal val="0"/>
          <c:showCatName val="0"/>
          <c:showSerName val="0"/>
          <c:showPercent val="0"/>
          <c:showBubbleSize val="0"/>
        </c:dLbls>
        <c:gapWidth val="80"/>
        <c:overlap val="100"/>
        <c:axId val="168000983"/>
        <c:axId val="1"/>
      </c:barChart>
      <c:catAx>
        <c:axId val="168000983"/>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algn="ctr">
            <a:solidFill>
              <a:srgbClr val="808080"/>
            </a:solidFill>
            <a:prstDash val="solid"/>
          </a:ln>
        </c:spPr>
        <c:txPr>
          <a:bodyPr wrap="none"/>
          <a:lstStyle/>
          <a:p>
            <a:pPr>
              <a:defRPr sz="1200">
                <a:solidFill>
                  <a:schemeClr val="tx1"/>
                </a:solidFill>
                <a:latin typeface="+mn-lt"/>
                <a:ea typeface="+mn-ea"/>
                <a:cs typeface="Arial"/>
                <a:sym typeface="+mn-lt"/>
              </a:defRPr>
            </a:pPr>
            <a:endParaRPr lang="en-US"/>
          </a:p>
        </c:txPr>
        <c:crossAx val="168000983"/>
        <c:crosses val="min"/>
        <c:crossBetween val="between"/>
        <c:majorUnit val="2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8" cy="511731"/>
          </a:xfrm>
          <a:prstGeom prst="rect">
            <a:avLst/>
          </a:prstGeom>
        </p:spPr>
        <p:txBody>
          <a:bodyPr vert="horz" lIns="98435" tIns="49218" rIns="98435" bIns="49218" rtlCol="0"/>
          <a:lstStyle>
            <a:lvl1pPr algn="l">
              <a:defRPr sz="1300"/>
            </a:lvl1pPr>
          </a:lstStyle>
          <a:p>
            <a:endParaRPr lang="en-GB"/>
          </a:p>
        </p:txBody>
      </p:sp>
      <p:sp>
        <p:nvSpPr>
          <p:cNvPr id="3" name="Date Placeholder 2"/>
          <p:cNvSpPr>
            <a:spLocks noGrp="1"/>
          </p:cNvSpPr>
          <p:nvPr>
            <p:ph type="dt" sz="quarter" idx="1"/>
          </p:nvPr>
        </p:nvSpPr>
        <p:spPr>
          <a:xfrm>
            <a:off x="4023992" y="0"/>
            <a:ext cx="3078428" cy="511731"/>
          </a:xfrm>
          <a:prstGeom prst="rect">
            <a:avLst/>
          </a:prstGeom>
        </p:spPr>
        <p:txBody>
          <a:bodyPr vert="horz" lIns="98435" tIns="49218" rIns="98435" bIns="49218" rtlCol="0"/>
          <a:lstStyle>
            <a:lvl1pPr algn="r">
              <a:defRPr sz="1300"/>
            </a:lvl1pPr>
          </a:lstStyle>
          <a:p>
            <a:fld id="{5357B84E-E29E-4E9F-8EC4-F0FB55F2E732}" type="datetimeFigureOut">
              <a:rPr lang="en-GB" smtClean="0"/>
              <a:t>08/05/2023</a:t>
            </a:fld>
            <a:endParaRPr lang="en-GB"/>
          </a:p>
        </p:txBody>
      </p:sp>
      <p:sp>
        <p:nvSpPr>
          <p:cNvPr id="4" name="Footer Placeholder 3"/>
          <p:cNvSpPr>
            <a:spLocks noGrp="1"/>
          </p:cNvSpPr>
          <p:nvPr>
            <p:ph type="ftr" sz="quarter" idx="2"/>
          </p:nvPr>
        </p:nvSpPr>
        <p:spPr>
          <a:xfrm>
            <a:off x="0" y="9721106"/>
            <a:ext cx="3078428" cy="511731"/>
          </a:xfrm>
          <a:prstGeom prst="rect">
            <a:avLst/>
          </a:prstGeom>
        </p:spPr>
        <p:txBody>
          <a:bodyPr vert="horz" lIns="98435" tIns="49218" rIns="98435" bIns="49218" rtlCol="0" anchor="b"/>
          <a:lstStyle>
            <a:lvl1pPr algn="l">
              <a:defRPr sz="1300"/>
            </a:lvl1pPr>
          </a:lstStyle>
          <a:p>
            <a:endParaRPr lang="en-GB"/>
          </a:p>
        </p:txBody>
      </p:sp>
      <p:sp>
        <p:nvSpPr>
          <p:cNvPr id="5" name="Slide Number Placeholder 4"/>
          <p:cNvSpPr>
            <a:spLocks noGrp="1"/>
          </p:cNvSpPr>
          <p:nvPr>
            <p:ph type="sldNum" sz="quarter" idx="3"/>
          </p:nvPr>
        </p:nvSpPr>
        <p:spPr>
          <a:xfrm>
            <a:off x="4023992" y="9721106"/>
            <a:ext cx="3078428" cy="511731"/>
          </a:xfrm>
          <a:prstGeom prst="rect">
            <a:avLst/>
          </a:prstGeom>
        </p:spPr>
        <p:txBody>
          <a:bodyPr vert="horz" lIns="98435" tIns="49218" rIns="98435" bIns="49218" rtlCol="0" anchor="b"/>
          <a:lstStyle>
            <a:lvl1pPr algn="r">
              <a:defRPr sz="1300"/>
            </a:lvl1pPr>
          </a:lstStyle>
          <a:p>
            <a:fld id="{41C9DA03-DF80-4579-B771-6341D7A4BEDE}" type="slidenum">
              <a:rPr lang="en-GB" smtClean="0"/>
              <a:t>‹#›</a:t>
            </a:fld>
            <a:endParaRPr lang="en-GB"/>
          </a:p>
        </p:txBody>
      </p:sp>
    </p:spTree>
    <p:extLst>
      <p:ext uri="{BB962C8B-B14F-4D97-AF65-F5344CB8AC3E}">
        <p14:creationId xmlns:p14="http://schemas.microsoft.com/office/powerpoint/2010/main" val="223041494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8428" cy="513509"/>
          </a:xfrm>
          <a:prstGeom prst="rect">
            <a:avLst/>
          </a:prstGeom>
        </p:spPr>
        <p:txBody>
          <a:bodyPr vert="horz" lIns="98435" tIns="49218" rIns="98435" bIns="49218" rtlCol="0"/>
          <a:lstStyle>
            <a:lvl1pPr algn="l">
              <a:defRPr sz="1300"/>
            </a:lvl1pPr>
          </a:lstStyle>
          <a:p>
            <a:endParaRPr lang="en-US"/>
          </a:p>
        </p:txBody>
      </p:sp>
      <p:sp>
        <p:nvSpPr>
          <p:cNvPr id="3" name="Date Placeholder 2"/>
          <p:cNvSpPr>
            <a:spLocks noGrp="1"/>
          </p:cNvSpPr>
          <p:nvPr>
            <p:ph type="dt" idx="1"/>
          </p:nvPr>
        </p:nvSpPr>
        <p:spPr>
          <a:xfrm>
            <a:off x="4023992" y="1"/>
            <a:ext cx="3078428" cy="513509"/>
          </a:xfrm>
          <a:prstGeom prst="rect">
            <a:avLst/>
          </a:prstGeom>
        </p:spPr>
        <p:txBody>
          <a:bodyPr vert="horz" lIns="98435" tIns="49218" rIns="98435" bIns="49218" rtlCol="0"/>
          <a:lstStyle>
            <a:lvl1pPr algn="r">
              <a:defRPr sz="1300"/>
            </a:lvl1pPr>
          </a:lstStyle>
          <a:p>
            <a:fld id="{01B7E555-9380-714B-AEA7-F0DFB67531BD}" type="datetimeFigureOut">
              <a:t>5/8/2023</a:t>
            </a:fld>
            <a:endParaRPr lang="en-US"/>
          </a:p>
        </p:txBody>
      </p:sp>
      <p:sp>
        <p:nvSpPr>
          <p:cNvPr id="4" name="Slide Image Placeholder 3"/>
          <p:cNvSpPr>
            <a:spLocks noGrp="1" noRot="1" noChangeAspect="1"/>
          </p:cNvSpPr>
          <p:nvPr>
            <p:ph type="sldImg" idx="2"/>
          </p:nvPr>
        </p:nvSpPr>
        <p:spPr>
          <a:xfrm>
            <a:off x="484188" y="1279525"/>
            <a:ext cx="6135687" cy="3452813"/>
          </a:xfrm>
          <a:prstGeom prst="rect">
            <a:avLst/>
          </a:prstGeom>
          <a:noFill/>
          <a:ln w="12700">
            <a:solidFill>
              <a:prstClr val="black"/>
            </a:solidFill>
          </a:ln>
        </p:spPr>
        <p:txBody>
          <a:bodyPr vert="horz" lIns="98435" tIns="49218" rIns="98435" bIns="49218" rtlCol="0" anchor="ctr"/>
          <a:lstStyle/>
          <a:p>
            <a:endParaRPr lang="en-US"/>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8435" tIns="49218" rIns="98435" bIns="4921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8428" cy="513507"/>
          </a:xfrm>
          <a:prstGeom prst="rect">
            <a:avLst/>
          </a:prstGeom>
        </p:spPr>
        <p:txBody>
          <a:bodyPr vert="horz" lIns="98435" tIns="49218" rIns="98435" bIns="49218" rtlCol="0" anchor="b"/>
          <a:lstStyle>
            <a:lvl1pPr algn="l">
              <a:defRPr sz="1300"/>
            </a:lvl1pPr>
          </a:lstStyle>
          <a:p>
            <a:endParaRPr lang="en-US"/>
          </a:p>
        </p:txBody>
      </p:sp>
      <p:sp>
        <p:nvSpPr>
          <p:cNvPr id="7" name="Slide Number Placeholder 6"/>
          <p:cNvSpPr>
            <a:spLocks noGrp="1"/>
          </p:cNvSpPr>
          <p:nvPr>
            <p:ph type="sldNum" sz="quarter" idx="5"/>
          </p:nvPr>
        </p:nvSpPr>
        <p:spPr>
          <a:xfrm>
            <a:off x="4023992" y="9721107"/>
            <a:ext cx="3078428" cy="513507"/>
          </a:xfrm>
          <a:prstGeom prst="rect">
            <a:avLst/>
          </a:prstGeom>
        </p:spPr>
        <p:txBody>
          <a:bodyPr vert="horz" lIns="98435" tIns="49218" rIns="98435" bIns="49218" rtlCol="0" anchor="b"/>
          <a:lstStyle>
            <a:lvl1pPr algn="r">
              <a:defRPr sz="1300"/>
            </a:lvl1pPr>
          </a:lstStyle>
          <a:p>
            <a:fld id="{7C0F37E3-D61C-4C4B-8AD2-D70E789ECEC8}" type="slidenum">
              <a:t>‹#›</a:t>
            </a:fld>
            <a:endParaRPr lang="en-US"/>
          </a:p>
        </p:txBody>
      </p:sp>
    </p:spTree>
    <p:extLst>
      <p:ext uri="{BB962C8B-B14F-4D97-AF65-F5344CB8AC3E}">
        <p14:creationId xmlns:p14="http://schemas.microsoft.com/office/powerpoint/2010/main" val="254590307"/>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21807">
              <a:defRPr/>
            </a:pPr>
            <a:fld id="{7C0F37E3-D61C-4C4B-8AD2-D70E789ECEC8}" type="slidenum">
              <a:rPr lang="en-US">
                <a:solidFill>
                  <a:prstClr val="black"/>
                </a:solidFill>
                <a:latin typeface="Calibri" panose="020F0502020204030204"/>
              </a:rPr>
              <a:pPr defTabSz="921807">
                <a:defRPr/>
              </a:pPr>
              <a:t>35</a:t>
            </a:fld>
            <a:endParaRPr lang="en-US">
              <a:solidFill>
                <a:prstClr val="black"/>
              </a:solidFill>
              <a:latin typeface="Calibri" panose="020F0502020204030204"/>
            </a:endParaRPr>
          </a:p>
        </p:txBody>
      </p:sp>
    </p:spTree>
    <p:extLst>
      <p:ext uri="{BB962C8B-B14F-4D97-AF65-F5344CB8AC3E}">
        <p14:creationId xmlns:p14="http://schemas.microsoft.com/office/powerpoint/2010/main" val="3659298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5030AB04-EB81-4B7F-866C-F4DB7F81782A}" type="slidenum">
              <a:rPr lang="en-GB" altLang="en-US" sz="1300" b="0">
                <a:latin typeface="Times New Roman" panose="02020603050405020304" pitchFamily="18" charset="0"/>
              </a:rPr>
              <a:pPr/>
              <a:t>64</a:t>
            </a:fld>
            <a:endParaRPr lang="en-GB" altLang="en-US" sz="1300" b="0">
              <a:latin typeface="Times New Roman" panose="02020603050405020304" pitchFamily="18" charset="0"/>
            </a:endParaRPr>
          </a:p>
        </p:txBody>
      </p:sp>
      <p:sp>
        <p:nvSpPr>
          <p:cNvPr id="251907" name="Rectangle 2"/>
          <p:cNvSpPr>
            <a:spLocks noGrp="1" noRot="1" noChangeAspect="1" noChangeArrowheads="1" noTextEdit="1"/>
          </p:cNvSpPr>
          <p:nvPr>
            <p:ph type="sldImg"/>
          </p:nvPr>
        </p:nvSpPr>
        <p:spPr>
          <a:xfrm>
            <a:off x="-935038" y="258763"/>
            <a:ext cx="8521701" cy="4794250"/>
          </a:xfrm>
          <a:ln/>
        </p:spPr>
      </p:sp>
      <p:sp>
        <p:nvSpPr>
          <p:cNvPr id="251908" name="Rectangle 3"/>
          <p:cNvSpPr>
            <a:spLocks noGrp="1" noChangeArrowheads="1"/>
          </p:cNvSpPr>
          <p:nvPr>
            <p:ph type="body" idx="1"/>
          </p:nvPr>
        </p:nvSpPr>
        <p:spPr>
          <a:xfrm>
            <a:off x="583241" y="5348562"/>
            <a:ext cx="5477045" cy="5555522"/>
          </a:xfrm>
          <a:noFill/>
        </p:spPr>
        <p:txBody>
          <a:bodyPr/>
          <a:lstStyle/>
          <a:p>
            <a:endParaRPr lang="en-US" altLang="en-US"/>
          </a:p>
        </p:txBody>
      </p:sp>
    </p:spTree>
    <p:extLst>
      <p:ext uri="{BB962C8B-B14F-4D97-AF65-F5344CB8AC3E}">
        <p14:creationId xmlns:p14="http://schemas.microsoft.com/office/powerpoint/2010/main" val="125201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5DCB8D4B-205E-486F-ADEC-9C147900EDEC}" type="slidenum">
              <a:rPr lang="en-GB" altLang="en-US" sz="1300" b="0">
                <a:latin typeface="Times New Roman" panose="02020603050405020304" pitchFamily="18" charset="0"/>
              </a:rPr>
              <a:pPr/>
              <a:t>65</a:t>
            </a:fld>
            <a:endParaRPr lang="en-GB" altLang="en-US" sz="1300" b="0">
              <a:latin typeface="Times New Roman" panose="02020603050405020304" pitchFamily="18" charset="0"/>
            </a:endParaRPr>
          </a:p>
        </p:txBody>
      </p:sp>
      <p:sp>
        <p:nvSpPr>
          <p:cNvPr id="252931" name="Rectangle 2"/>
          <p:cNvSpPr>
            <a:spLocks noGrp="1" noRot="1" noChangeAspect="1" noChangeArrowheads="1" noTextEdit="1"/>
          </p:cNvSpPr>
          <p:nvPr>
            <p:ph type="sldImg"/>
          </p:nvPr>
        </p:nvSpPr>
        <p:spPr>
          <a:xfrm>
            <a:off x="-428625" y="877888"/>
            <a:ext cx="7553325" cy="4249737"/>
          </a:xfrm>
          <a:ln/>
        </p:spPr>
      </p:sp>
      <p:sp>
        <p:nvSpPr>
          <p:cNvPr id="252932" name="Rectangle 3"/>
          <p:cNvSpPr>
            <a:spLocks noGrp="1" noChangeArrowheads="1"/>
          </p:cNvSpPr>
          <p:nvPr>
            <p:ph type="body" idx="1"/>
          </p:nvPr>
        </p:nvSpPr>
        <p:spPr>
          <a:xfrm>
            <a:off x="892390" y="5377356"/>
            <a:ext cx="2946482" cy="1896832"/>
          </a:xfrm>
          <a:noFill/>
        </p:spPr>
        <p:txBody>
          <a:bodyPr/>
          <a:lstStyle/>
          <a:p>
            <a:endParaRPr lang="en-US" altLang="en-US"/>
          </a:p>
        </p:txBody>
      </p:sp>
    </p:spTree>
    <p:extLst>
      <p:ext uri="{BB962C8B-B14F-4D97-AF65-F5344CB8AC3E}">
        <p14:creationId xmlns:p14="http://schemas.microsoft.com/office/powerpoint/2010/main" val="28108714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850961A9-CA64-4131-ADCB-607C76038135}" type="slidenum">
              <a:rPr lang="en-GB" altLang="en-US" sz="1300" b="0">
                <a:latin typeface="Times New Roman" panose="02020603050405020304" pitchFamily="18" charset="0"/>
              </a:rPr>
              <a:pPr/>
              <a:t>66</a:t>
            </a:fld>
            <a:endParaRPr lang="en-GB" altLang="en-US" sz="1300" b="0">
              <a:latin typeface="Times New Roman" panose="02020603050405020304" pitchFamily="18" charset="0"/>
            </a:endParaRPr>
          </a:p>
        </p:txBody>
      </p:sp>
      <p:sp>
        <p:nvSpPr>
          <p:cNvPr id="275459" name="Rectangle 2"/>
          <p:cNvSpPr>
            <a:spLocks noGrp="1" noRot="1" noChangeAspect="1" noChangeArrowheads="1" noTextEdit="1"/>
          </p:cNvSpPr>
          <p:nvPr>
            <p:ph type="sldImg"/>
          </p:nvPr>
        </p:nvSpPr>
        <p:spPr>
          <a:xfrm>
            <a:off x="-938213" y="258763"/>
            <a:ext cx="8523288" cy="4795837"/>
          </a:xfrm>
          <a:ln/>
        </p:spPr>
      </p:sp>
      <p:sp>
        <p:nvSpPr>
          <p:cNvPr id="275460"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20759261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2275AD4F-81BF-4231-9251-CCF501733AFE}" type="slidenum">
              <a:rPr lang="en-GB" altLang="en-US" sz="1300" b="0">
                <a:latin typeface="Times New Roman" panose="02020603050405020304" pitchFamily="18" charset="0"/>
              </a:rPr>
              <a:pPr/>
              <a:t>67</a:t>
            </a:fld>
            <a:endParaRPr lang="en-GB" altLang="en-US" sz="1300" b="0">
              <a:latin typeface="Times New Roman" panose="02020603050405020304" pitchFamily="18" charset="0"/>
            </a:endParaRPr>
          </a:p>
        </p:txBody>
      </p:sp>
      <p:sp>
        <p:nvSpPr>
          <p:cNvPr id="278531" name="Rectangle 2"/>
          <p:cNvSpPr>
            <a:spLocks noGrp="1" noRot="1" noChangeAspect="1" noChangeArrowheads="1" noTextEdit="1"/>
          </p:cNvSpPr>
          <p:nvPr>
            <p:ph type="sldImg"/>
          </p:nvPr>
        </p:nvSpPr>
        <p:spPr>
          <a:xfrm>
            <a:off x="-938213" y="258763"/>
            <a:ext cx="8523288" cy="4795837"/>
          </a:xfrm>
          <a:ln/>
        </p:spPr>
      </p:sp>
      <p:sp>
        <p:nvSpPr>
          <p:cNvPr id="278532"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566045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E04A9F3A-8F75-4FC9-8472-442192046EFE}" type="slidenum">
              <a:rPr lang="en-GB" altLang="en-US" sz="1300" b="0">
                <a:latin typeface="Times New Roman" panose="02020603050405020304" pitchFamily="18" charset="0"/>
              </a:rPr>
              <a:pPr/>
              <a:t>68</a:t>
            </a:fld>
            <a:endParaRPr lang="en-GB" altLang="en-US" sz="1300" b="0">
              <a:latin typeface="Times New Roman" panose="02020603050405020304" pitchFamily="18" charset="0"/>
            </a:endParaRPr>
          </a:p>
        </p:txBody>
      </p:sp>
      <p:sp>
        <p:nvSpPr>
          <p:cNvPr id="279555" name="Rectangle 2"/>
          <p:cNvSpPr>
            <a:spLocks noGrp="1" noRot="1" noChangeAspect="1" noChangeArrowheads="1" noTextEdit="1"/>
          </p:cNvSpPr>
          <p:nvPr>
            <p:ph type="sldImg"/>
          </p:nvPr>
        </p:nvSpPr>
        <p:spPr>
          <a:xfrm>
            <a:off x="-938213" y="258763"/>
            <a:ext cx="8523288" cy="4795837"/>
          </a:xfrm>
          <a:ln/>
        </p:spPr>
      </p:sp>
      <p:sp>
        <p:nvSpPr>
          <p:cNvPr id="279556"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10468171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8"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D5650DCE-92BC-4073-96DE-4BFDAB0BE6D9}" type="slidenum">
              <a:rPr lang="en-GB" altLang="en-US" sz="1300" b="0">
                <a:latin typeface="Times New Roman" panose="02020603050405020304" pitchFamily="18" charset="0"/>
              </a:rPr>
              <a:pPr/>
              <a:t>69</a:t>
            </a:fld>
            <a:endParaRPr lang="en-GB" altLang="en-US" sz="1300" b="0">
              <a:latin typeface="Times New Roman" panose="02020603050405020304" pitchFamily="18" charset="0"/>
            </a:endParaRPr>
          </a:p>
        </p:txBody>
      </p:sp>
      <p:sp>
        <p:nvSpPr>
          <p:cNvPr id="280579" name="Rectangle 2"/>
          <p:cNvSpPr>
            <a:spLocks noGrp="1" noRot="1" noChangeAspect="1" noChangeArrowheads="1" noTextEdit="1"/>
          </p:cNvSpPr>
          <p:nvPr>
            <p:ph type="sldImg"/>
          </p:nvPr>
        </p:nvSpPr>
        <p:spPr>
          <a:xfrm>
            <a:off x="-938213" y="258763"/>
            <a:ext cx="8523288" cy="4795837"/>
          </a:xfrm>
          <a:ln/>
        </p:spPr>
      </p:sp>
      <p:sp>
        <p:nvSpPr>
          <p:cNvPr id="280580"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12192698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6"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6B82331B-7EC3-41ED-8CA2-1671A6147ADB}" type="slidenum">
              <a:rPr lang="en-GB" altLang="en-US" sz="1300" b="0">
                <a:latin typeface="Times New Roman" panose="02020603050405020304" pitchFamily="18" charset="0"/>
              </a:rPr>
              <a:pPr/>
              <a:t>70</a:t>
            </a:fld>
            <a:endParaRPr lang="en-GB" altLang="en-US" sz="1300" b="0">
              <a:latin typeface="Times New Roman" panose="02020603050405020304" pitchFamily="18" charset="0"/>
            </a:endParaRPr>
          </a:p>
        </p:txBody>
      </p:sp>
      <p:sp>
        <p:nvSpPr>
          <p:cNvPr id="282627" name="Rectangle 2"/>
          <p:cNvSpPr>
            <a:spLocks noGrp="1" noRot="1" noChangeAspect="1" noChangeArrowheads="1" noTextEdit="1"/>
          </p:cNvSpPr>
          <p:nvPr>
            <p:ph type="sldImg"/>
          </p:nvPr>
        </p:nvSpPr>
        <p:spPr>
          <a:xfrm>
            <a:off x="-938213" y="258763"/>
            <a:ext cx="8523288" cy="4795837"/>
          </a:xfrm>
          <a:ln/>
        </p:spPr>
      </p:sp>
      <p:sp>
        <p:nvSpPr>
          <p:cNvPr id="282628"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6963461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CDA6F41E-4A0D-4FB8-9C33-D934B8BC06A9}" type="slidenum">
              <a:rPr lang="en-GB" altLang="en-US" sz="1300" b="0">
                <a:latin typeface="Times New Roman" panose="02020603050405020304" pitchFamily="18" charset="0"/>
              </a:rPr>
              <a:pPr/>
              <a:t>71</a:t>
            </a:fld>
            <a:endParaRPr lang="en-GB" altLang="en-US" sz="1300" b="0">
              <a:latin typeface="Times New Roman" panose="02020603050405020304" pitchFamily="18" charset="0"/>
            </a:endParaRPr>
          </a:p>
        </p:txBody>
      </p:sp>
      <p:sp>
        <p:nvSpPr>
          <p:cNvPr id="284675" name="Rectangle 2"/>
          <p:cNvSpPr>
            <a:spLocks noGrp="1" noRot="1" noChangeAspect="1" noChangeArrowheads="1" noTextEdit="1"/>
          </p:cNvSpPr>
          <p:nvPr>
            <p:ph type="sldImg"/>
          </p:nvPr>
        </p:nvSpPr>
        <p:spPr>
          <a:xfrm>
            <a:off x="-938213" y="258763"/>
            <a:ext cx="8523288" cy="4795837"/>
          </a:xfrm>
          <a:ln/>
        </p:spPr>
      </p:sp>
      <p:sp>
        <p:nvSpPr>
          <p:cNvPr id="284676" name="Rectangle 3"/>
          <p:cNvSpPr>
            <a:spLocks noGrp="1" noChangeArrowheads="1"/>
          </p:cNvSpPr>
          <p:nvPr>
            <p:ph type="body" idx="1"/>
          </p:nvPr>
        </p:nvSpPr>
        <p:spPr>
          <a:xfrm>
            <a:off x="584835" y="5348562"/>
            <a:ext cx="5475451" cy="5553721"/>
          </a:xfrm>
          <a:noFill/>
        </p:spPr>
        <p:txBody>
          <a:bodyPr/>
          <a:lstStyle/>
          <a:p>
            <a:endParaRPr lang="en-US" altLang="en-US"/>
          </a:p>
        </p:txBody>
      </p:sp>
    </p:spTree>
    <p:extLst>
      <p:ext uri="{BB962C8B-B14F-4D97-AF65-F5344CB8AC3E}">
        <p14:creationId xmlns:p14="http://schemas.microsoft.com/office/powerpoint/2010/main" val="2715480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E559DFC2-87E0-4B4A-B70C-95E4B7036F31}" type="slidenum">
              <a:rPr lang="en-GB" altLang="en-US" sz="1300" b="0">
                <a:latin typeface="Times New Roman" panose="02020603050405020304" pitchFamily="18" charset="0"/>
              </a:rPr>
              <a:pPr/>
              <a:t>72</a:t>
            </a:fld>
            <a:endParaRPr lang="en-GB" altLang="en-US" sz="1300" b="0">
              <a:latin typeface="Times New Roman" panose="02020603050405020304" pitchFamily="18" charset="0"/>
            </a:endParaRPr>
          </a:p>
        </p:txBody>
      </p:sp>
      <p:sp>
        <p:nvSpPr>
          <p:cNvPr id="290819" name="Rectangle 2"/>
          <p:cNvSpPr>
            <a:spLocks noGrp="1" noRot="1" noChangeAspect="1" noChangeArrowheads="1" noTextEdit="1"/>
          </p:cNvSpPr>
          <p:nvPr>
            <p:ph type="sldImg"/>
          </p:nvPr>
        </p:nvSpPr>
        <p:spPr>
          <a:xfrm>
            <a:off x="-938213" y="258763"/>
            <a:ext cx="8523288" cy="4795837"/>
          </a:xfrm>
          <a:ln/>
        </p:spPr>
      </p:sp>
      <p:sp>
        <p:nvSpPr>
          <p:cNvPr id="290820"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2977995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A9FEB869-C8BD-4ADA-B0D7-3F7E117FEAF5}" type="slidenum">
              <a:rPr lang="en-GB" altLang="en-US" sz="1300" b="0">
                <a:latin typeface="Times New Roman" panose="02020603050405020304" pitchFamily="18" charset="0"/>
              </a:rPr>
              <a:pPr/>
              <a:t>73</a:t>
            </a:fld>
            <a:endParaRPr lang="en-GB" altLang="en-US" sz="1300" b="0">
              <a:latin typeface="Times New Roman" panose="02020603050405020304" pitchFamily="18" charset="0"/>
            </a:endParaRPr>
          </a:p>
        </p:txBody>
      </p:sp>
      <p:sp>
        <p:nvSpPr>
          <p:cNvPr id="297987" name="Rectangle 2"/>
          <p:cNvSpPr>
            <a:spLocks noGrp="1" noRot="1" noChangeAspect="1" noChangeArrowheads="1" noTextEdit="1"/>
          </p:cNvSpPr>
          <p:nvPr>
            <p:ph type="sldImg"/>
          </p:nvPr>
        </p:nvSpPr>
        <p:spPr>
          <a:xfrm>
            <a:off x="-938213" y="258763"/>
            <a:ext cx="8523288" cy="4795837"/>
          </a:xfrm>
          <a:ln/>
        </p:spPr>
      </p:sp>
      <p:sp>
        <p:nvSpPr>
          <p:cNvPr id="297988"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3298153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21807">
              <a:defRPr/>
            </a:pPr>
            <a:fld id="{7C0F37E3-D61C-4C4B-8AD2-D70E789ECEC8}" type="slidenum">
              <a:rPr lang="en-US">
                <a:solidFill>
                  <a:prstClr val="black"/>
                </a:solidFill>
                <a:latin typeface="Calibri" panose="020F0502020204030204"/>
              </a:rPr>
              <a:pPr defTabSz="921807">
                <a:defRPr/>
              </a:pPr>
              <a:t>36</a:t>
            </a:fld>
            <a:endParaRPr lang="en-US">
              <a:solidFill>
                <a:prstClr val="black"/>
              </a:solidFill>
              <a:latin typeface="Calibri" panose="020F0502020204030204"/>
            </a:endParaRPr>
          </a:p>
        </p:txBody>
      </p:sp>
    </p:spTree>
    <p:extLst>
      <p:ext uri="{BB962C8B-B14F-4D97-AF65-F5344CB8AC3E}">
        <p14:creationId xmlns:p14="http://schemas.microsoft.com/office/powerpoint/2010/main" val="31888656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4"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287E67B1-B275-47B8-96B6-B541335462B0}" type="slidenum">
              <a:rPr lang="en-GB" altLang="en-US" sz="1300" b="0">
                <a:latin typeface="Times New Roman" panose="02020603050405020304" pitchFamily="18" charset="0"/>
              </a:rPr>
              <a:pPr/>
              <a:t>74</a:t>
            </a:fld>
            <a:endParaRPr lang="en-GB" altLang="en-US" sz="1300" b="0">
              <a:latin typeface="Times New Roman" panose="02020603050405020304" pitchFamily="18" charset="0"/>
            </a:endParaRPr>
          </a:p>
        </p:txBody>
      </p:sp>
      <p:sp>
        <p:nvSpPr>
          <p:cNvPr id="300035" name="Rectangle 2"/>
          <p:cNvSpPr>
            <a:spLocks noGrp="1" noRot="1" noChangeAspect="1" noChangeArrowheads="1" noTextEdit="1"/>
          </p:cNvSpPr>
          <p:nvPr>
            <p:ph type="sldImg"/>
          </p:nvPr>
        </p:nvSpPr>
        <p:spPr>
          <a:xfrm>
            <a:off x="-938213" y="258763"/>
            <a:ext cx="8523288" cy="4795837"/>
          </a:xfrm>
          <a:ln/>
        </p:spPr>
      </p:sp>
      <p:sp>
        <p:nvSpPr>
          <p:cNvPr id="300036"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18196060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2"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70DE461D-D804-4E11-AD49-8D6576DBAAF0}" type="slidenum">
              <a:rPr lang="en-GB" altLang="en-US" sz="1300" b="0">
                <a:latin typeface="Times New Roman" panose="02020603050405020304" pitchFamily="18" charset="0"/>
              </a:rPr>
              <a:pPr/>
              <a:t>75</a:t>
            </a:fld>
            <a:endParaRPr lang="en-GB" altLang="en-US" sz="1300" b="0">
              <a:latin typeface="Times New Roman" panose="02020603050405020304" pitchFamily="18" charset="0"/>
            </a:endParaRPr>
          </a:p>
        </p:txBody>
      </p:sp>
      <p:sp>
        <p:nvSpPr>
          <p:cNvPr id="302083" name="Rectangle 2"/>
          <p:cNvSpPr>
            <a:spLocks noGrp="1" noRot="1" noChangeAspect="1" noChangeArrowheads="1" noTextEdit="1"/>
          </p:cNvSpPr>
          <p:nvPr>
            <p:ph type="sldImg"/>
          </p:nvPr>
        </p:nvSpPr>
        <p:spPr>
          <a:xfrm>
            <a:off x="-935038" y="258763"/>
            <a:ext cx="8521701" cy="4794250"/>
          </a:xfrm>
          <a:ln/>
        </p:spPr>
      </p:sp>
      <p:sp>
        <p:nvSpPr>
          <p:cNvPr id="302084" name="Rectangle 3"/>
          <p:cNvSpPr>
            <a:spLocks noGrp="1" noChangeArrowheads="1"/>
          </p:cNvSpPr>
          <p:nvPr>
            <p:ph type="body" idx="1"/>
          </p:nvPr>
        </p:nvSpPr>
        <p:spPr>
          <a:xfrm>
            <a:off x="583241" y="5348562"/>
            <a:ext cx="5477045" cy="5555522"/>
          </a:xfrm>
          <a:noFill/>
        </p:spPr>
        <p:txBody>
          <a:bodyPr/>
          <a:lstStyle/>
          <a:p>
            <a:endParaRPr lang="it-IT" altLang="en-US"/>
          </a:p>
        </p:txBody>
      </p:sp>
    </p:spTree>
    <p:extLst>
      <p:ext uri="{BB962C8B-B14F-4D97-AF65-F5344CB8AC3E}">
        <p14:creationId xmlns:p14="http://schemas.microsoft.com/office/powerpoint/2010/main" val="19543309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2C3736FA-DFFE-47F2-BCB6-60F9E0D16CB5}" type="slidenum">
              <a:rPr lang="en-GB" altLang="en-US" sz="1300" b="0">
                <a:latin typeface="Times New Roman" panose="02020603050405020304" pitchFamily="18" charset="0"/>
              </a:rPr>
              <a:pPr/>
              <a:t>76</a:t>
            </a:fld>
            <a:endParaRPr lang="en-GB" altLang="en-US" sz="1300" b="0">
              <a:latin typeface="Times New Roman" panose="02020603050405020304" pitchFamily="18" charset="0"/>
            </a:endParaRPr>
          </a:p>
        </p:txBody>
      </p:sp>
      <p:sp>
        <p:nvSpPr>
          <p:cNvPr id="339971" name="Rectangle 2"/>
          <p:cNvSpPr>
            <a:spLocks noGrp="1" noRot="1" noChangeAspect="1" noChangeArrowheads="1" noTextEdit="1"/>
          </p:cNvSpPr>
          <p:nvPr>
            <p:ph type="sldImg"/>
          </p:nvPr>
        </p:nvSpPr>
        <p:spPr>
          <a:xfrm>
            <a:off x="-935038" y="258763"/>
            <a:ext cx="8521701" cy="4794250"/>
          </a:xfrm>
          <a:ln/>
        </p:spPr>
      </p:sp>
      <p:sp>
        <p:nvSpPr>
          <p:cNvPr id="339972" name="Rectangle 3"/>
          <p:cNvSpPr>
            <a:spLocks noGrp="1" noChangeArrowheads="1"/>
          </p:cNvSpPr>
          <p:nvPr>
            <p:ph type="body" idx="1"/>
          </p:nvPr>
        </p:nvSpPr>
        <p:spPr>
          <a:xfrm>
            <a:off x="583241" y="5348562"/>
            <a:ext cx="5477045" cy="5555522"/>
          </a:xfrm>
          <a:noFill/>
        </p:spPr>
        <p:txBody>
          <a:bodyPr/>
          <a:lstStyle/>
          <a:p>
            <a:endParaRPr lang="en-US" altLang="en-US"/>
          </a:p>
        </p:txBody>
      </p:sp>
    </p:spTree>
    <p:extLst>
      <p:ext uri="{BB962C8B-B14F-4D97-AF65-F5344CB8AC3E}">
        <p14:creationId xmlns:p14="http://schemas.microsoft.com/office/powerpoint/2010/main" val="8780519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570"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7E260621-517E-4BF6-B8B3-62AA9798E480}" type="slidenum">
              <a:rPr lang="en-GB" altLang="en-US" sz="1300" b="0">
                <a:latin typeface="Times New Roman" panose="02020603050405020304" pitchFamily="18" charset="0"/>
              </a:rPr>
              <a:pPr/>
              <a:t>77</a:t>
            </a:fld>
            <a:endParaRPr lang="en-GB" altLang="en-US" sz="1300" b="0">
              <a:latin typeface="Times New Roman" panose="02020603050405020304" pitchFamily="18" charset="0"/>
            </a:endParaRPr>
          </a:p>
        </p:txBody>
      </p:sp>
      <p:sp>
        <p:nvSpPr>
          <p:cNvPr id="365571" name="Rectangle 2"/>
          <p:cNvSpPr>
            <a:spLocks noGrp="1" noRot="1" noChangeAspect="1" noChangeArrowheads="1" noTextEdit="1"/>
          </p:cNvSpPr>
          <p:nvPr>
            <p:ph type="sldImg"/>
          </p:nvPr>
        </p:nvSpPr>
        <p:spPr>
          <a:xfrm>
            <a:off x="-396875" y="844550"/>
            <a:ext cx="7496175" cy="4217988"/>
          </a:xfrm>
          <a:ln/>
        </p:spPr>
      </p:sp>
      <p:sp>
        <p:nvSpPr>
          <p:cNvPr id="365572" name="Rectangle 3"/>
          <p:cNvSpPr>
            <a:spLocks noGrp="1" noChangeArrowheads="1"/>
          </p:cNvSpPr>
          <p:nvPr>
            <p:ph type="body" idx="1"/>
          </p:nvPr>
        </p:nvSpPr>
        <p:spPr>
          <a:xfrm>
            <a:off x="892390" y="5344962"/>
            <a:ext cx="4909740" cy="5066017"/>
          </a:xfrm>
          <a:noFill/>
        </p:spPr>
        <p:txBody>
          <a:bodyPr/>
          <a:lstStyle/>
          <a:p>
            <a:endParaRPr lang="en-US" altLang="en-US"/>
          </a:p>
        </p:txBody>
      </p:sp>
    </p:spTree>
    <p:extLst>
      <p:ext uri="{BB962C8B-B14F-4D97-AF65-F5344CB8AC3E}">
        <p14:creationId xmlns:p14="http://schemas.microsoft.com/office/powerpoint/2010/main" val="37449528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B00DFB50-1240-4EFD-A931-619273652842}" type="slidenum">
              <a:rPr lang="en-GB" altLang="en-US" sz="1300" b="0">
                <a:latin typeface="Times New Roman" panose="02020603050405020304" pitchFamily="18" charset="0"/>
              </a:rPr>
              <a:pPr/>
              <a:t>78</a:t>
            </a:fld>
            <a:endParaRPr lang="en-GB" altLang="en-US" sz="1300" b="0">
              <a:latin typeface="Times New Roman" panose="02020603050405020304" pitchFamily="18" charset="0"/>
            </a:endParaRPr>
          </a:p>
        </p:txBody>
      </p:sp>
      <p:sp>
        <p:nvSpPr>
          <p:cNvPr id="366595" name="Rectangle 2"/>
          <p:cNvSpPr>
            <a:spLocks noGrp="1" noRot="1" noChangeAspect="1" noChangeArrowheads="1" noTextEdit="1"/>
          </p:cNvSpPr>
          <p:nvPr>
            <p:ph type="sldImg"/>
          </p:nvPr>
        </p:nvSpPr>
        <p:spPr>
          <a:xfrm>
            <a:off x="-396875" y="844550"/>
            <a:ext cx="7496175" cy="4217988"/>
          </a:xfrm>
          <a:ln/>
        </p:spPr>
      </p:sp>
      <p:sp>
        <p:nvSpPr>
          <p:cNvPr id="366596" name="Rectangle 3"/>
          <p:cNvSpPr>
            <a:spLocks noGrp="1" noChangeArrowheads="1"/>
          </p:cNvSpPr>
          <p:nvPr>
            <p:ph type="body" idx="1"/>
          </p:nvPr>
        </p:nvSpPr>
        <p:spPr>
          <a:xfrm>
            <a:off x="892390" y="5344962"/>
            <a:ext cx="4909740" cy="5066017"/>
          </a:xfrm>
          <a:noFill/>
        </p:spPr>
        <p:txBody>
          <a:bodyPr/>
          <a:lstStyle/>
          <a:p>
            <a:endParaRPr lang="en-US" altLang="en-US"/>
          </a:p>
        </p:txBody>
      </p:sp>
    </p:spTree>
    <p:extLst>
      <p:ext uri="{BB962C8B-B14F-4D97-AF65-F5344CB8AC3E}">
        <p14:creationId xmlns:p14="http://schemas.microsoft.com/office/powerpoint/2010/main" val="23892300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42"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D25F00F8-8A80-42BD-A4F1-18FB1A548E6E}" type="slidenum">
              <a:rPr lang="en-GB" altLang="en-US" sz="1300" b="0">
                <a:latin typeface="Times New Roman" panose="02020603050405020304" pitchFamily="18" charset="0"/>
              </a:rPr>
              <a:pPr/>
              <a:t>79</a:t>
            </a:fld>
            <a:endParaRPr lang="en-GB" altLang="en-US" sz="1300" b="0">
              <a:latin typeface="Times New Roman" panose="02020603050405020304" pitchFamily="18" charset="0"/>
            </a:endParaRPr>
          </a:p>
        </p:txBody>
      </p:sp>
      <p:sp>
        <p:nvSpPr>
          <p:cNvPr id="368643" name="Rectangle 2"/>
          <p:cNvSpPr>
            <a:spLocks noGrp="1" noRot="1" noChangeAspect="1" noChangeArrowheads="1" noTextEdit="1"/>
          </p:cNvSpPr>
          <p:nvPr>
            <p:ph type="sldImg"/>
          </p:nvPr>
        </p:nvSpPr>
        <p:spPr>
          <a:xfrm>
            <a:off x="-396875" y="844550"/>
            <a:ext cx="7496175" cy="4217988"/>
          </a:xfrm>
          <a:ln/>
        </p:spPr>
      </p:sp>
      <p:sp>
        <p:nvSpPr>
          <p:cNvPr id="368644" name="Rectangle 3"/>
          <p:cNvSpPr>
            <a:spLocks noGrp="1" noChangeArrowheads="1"/>
          </p:cNvSpPr>
          <p:nvPr>
            <p:ph type="body" idx="1"/>
          </p:nvPr>
        </p:nvSpPr>
        <p:spPr>
          <a:xfrm>
            <a:off x="892390" y="5344962"/>
            <a:ext cx="4909740" cy="5066017"/>
          </a:xfrm>
          <a:noFill/>
        </p:spPr>
        <p:txBody>
          <a:bodyPr/>
          <a:lstStyle/>
          <a:p>
            <a:endParaRPr lang="en-US" altLang="en-US"/>
          </a:p>
        </p:txBody>
      </p:sp>
    </p:spTree>
    <p:extLst>
      <p:ext uri="{BB962C8B-B14F-4D97-AF65-F5344CB8AC3E}">
        <p14:creationId xmlns:p14="http://schemas.microsoft.com/office/powerpoint/2010/main" val="6833110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0"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98D284B1-B62D-4DE5-88A7-8C303AF4977E}" type="slidenum">
              <a:rPr lang="en-GB" altLang="en-US" sz="1300" b="0">
                <a:latin typeface="Times New Roman" panose="02020603050405020304" pitchFamily="18" charset="0"/>
              </a:rPr>
              <a:pPr/>
              <a:t>80</a:t>
            </a:fld>
            <a:endParaRPr lang="en-GB" altLang="en-US" sz="1300" b="0">
              <a:latin typeface="Times New Roman" panose="02020603050405020304" pitchFamily="18" charset="0"/>
            </a:endParaRPr>
          </a:p>
        </p:txBody>
      </p:sp>
      <p:sp>
        <p:nvSpPr>
          <p:cNvPr id="370691" name="Rectangle 2"/>
          <p:cNvSpPr>
            <a:spLocks noGrp="1" noRot="1" noChangeAspect="1" noChangeArrowheads="1" noTextEdit="1"/>
          </p:cNvSpPr>
          <p:nvPr>
            <p:ph type="sldImg"/>
          </p:nvPr>
        </p:nvSpPr>
        <p:spPr>
          <a:xfrm>
            <a:off x="-396875" y="844550"/>
            <a:ext cx="7496175" cy="4217988"/>
          </a:xfrm>
          <a:ln/>
        </p:spPr>
      </p:sp>
      <p:sp>
        <p:nvSpPr>
          <p:cNvPr id="370692" name="Rectangle 3"/>
          <p:cNvSpPr>
            <a:spLocks noGrp="1" noChangeArrowheads="1"/>
          </p:cNvSpPr>
          <p:nvPr>
            <p:ph type="body" idx="1"/>
          </p:nvPr>
        </p:nvSpPr>
        <p:spPr>
          <a:xfrm>
            <a:off x="892390" y="5344962"/>
            <a:ext cx="4909740" cy="5066017"/>
          </a:xfrm>
          <a:noFill/>
        </p:spPr>
        <p:txBody>
          <a:bodyPr/>
          <a:lstStyle/>
          <a:p>
            <a:endParaRPr lang="en-US" altLang="en-US"/>
          </a:p>
        </p:txBody>
      </p:sp>
    </p:spTree>
    <p:extLst>
      <p:ext uri="{BB962C8B-B14F-4D97-AF65-F5344CB8AC3E}">
        <p14:creationId xmlns:p14="http://schemas.microsoft.com/office/powerpoint/2010/main" val="13833400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4"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2690A96B-16F0-441E-878D-2E49D8D405EB}" type="slidenum">
              <a:rPr lang="en-GB" altLang="en-US" sz="1300" b="0">
                <a:latin typeface="Times New Roman" panose="02020603050405020304" pitchFamily="18" charset="0"/>
              </a:rPr>
              <a:pPr/>
              <a:t>81</a:t>
            </a:fld>
            <a:endParaRPr lang="en-GB" altLang="en-US" sz="1300" b="0">
              <a:latin typeface="Times New Roman" panose="02020603050405020304" pitchFamily="18" charset="0"/>
            </a:endParaRPr>
          </a:p>
        </p:txBody>
      </p:sp>
      <p:sp>
        <p:nvSpPr>
          <p:cNvPr id="371715" name="Rectangle 2"/>
          <p:cNvSpPr>
            <a:spLocks noGrp="1" noRot="1" noChangeAspect="1" noChangeArrowheads="1" noTextEdit="1"/>
          </p:cNvSpPr>
          <p:nvPr>
            <p:ph type="sldImg"/>
          </p:nvPr>
        </p:nvSpPr>
        <p:spPr>
          <a:xfrm>
            <a:off x="-396875" y="844550"/>
            <a:ext cx="7496175" cy="4217988"/>
          </a:xfrm>
          <a:ln/>
        </p:spPr>
      </p:sp>
      <p:sp>
        <p:nvSpPr>
          <p:cNvPr id="371716" name="Rectangle 3"/>
          <p:cNvSpPr>
            <a:spLocks noGrp="1" noChangeArrowheads="1"/>
          </p:cNvSpPr>
          <p:nvPr>
            <p:ph type="body" idx="1"/>
          </p:nvPr>
        </p:nvSpPr>
        <p:spPr>
          <a:xfrm>
            <a:off x="892390" y="5344962"/>
            <a:ext cx="4909740" cy="5066017"/>
          </a:xfrm>
          <a:noFill/>
        </p:spPr>
        <p:txBody>
          <a:bodyPr/>
          <a:lstStyle/>
          <a:p>
            <a:endParaRPr lang="en-US" altLang="en-US"/>
          </a:p>
        </p:txBody>
      </p:sp>
    </p:spTree>
    <p:extLst>
      <p:ext uri="{BB962C8B-B14F-4D97-AF65-F5344CB8AC3E}">
        <p14:creationId xmlns:p14="http://schemas.microsoft.com/office/powerpoint/2010/main" val="10681051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738"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EC13D537-035B-414F-8EC8-466F56B2E557}" type="slidenum">
              <a:rPr lang="en-GB" altLang="en-US" sz="1300" b="0">
                <a:latin typeface="Times New Roman" panose="02020603050405020304" pitchFamily="18" charset="0"/>
              </a:rPr>
              <a:pPr/>
              <a:t>82</a:t>
            </a:fld>
            <a:endParaRPr lang="en-GB" altLang="en-US" sz="1300" b="0">
              <a:latin typeface="Times New Roman" panose="02020603050405020304" pitchFamily="18" charset="0"/>
            </a:endParaRPr>
          </a:p>
        </p:txBody>
      </p:sp>
      <p:sp>
        <p:nvSpPr>
          <p:cNvPr id="372739" name="Rectangle 2"/>
          <p:cNvSpPr>
            <a:spLocks noGrp="1" noRot="1" noChangeAspect="1" noChangeArrowheads="1" noTextEdit="1"/>
          </p:cNvSpPr>
          <p:nvPr>
            <p:ph type="sldImg"/>
          </p:nvPr>
        </p:nvSpPr>
        <p:spPr>
          <a:xfrm>
            <a:off x="-396875" y="844550"/>
            <a:ext cx="7496175" cy="4217988"/>
          </a:xfrm>
          <a:ln/>
        </p:spPr>
      </p:sp>
      <p:sp>
        <p:nvSpPr>
          <p:cNvPr id="372740" name="Rectangle 3"/>
          <p:cNvSpPr>
            <a:spLocks noGrp="1" noChangeArrowheads="1"/>
          </p:cNvSpPr>
          <p:nvPr>
            <p:ph type="body" idx="1"/>
          </p:nvPr>
        </p:nvSpPr>
        <p:spPr>
          <a:xfrm>
            <a:off x="892390" y="5344962"/>
            <a:ext cx="4909740" cy="5066017"/>
          </a:xfrm>
          <a:noFill/>
        </p:spPr>
        <p:txBody>
          <a:bodyPr/>
          <a:lstStyle/>
          <a:p>
            <a:endParaRPr lang="en-US" altLang="en-US"/>
          </a:p>
        </p:txBody>
      </p:sp>
    </p:spTree>
    <p:extLst>
      <p:ext uri="{BB962C8B-B14F-4D97-AF65-F5344CB8AC3E}">
        <p14:creationId xmlns:p14="http://schemas.microsoft.com/office/powerpoint/2010/main" val="27716692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762"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251D1D14-0B3D-4DB5-B20E-98C78C6428B7}" type="slidenum">
              <a:rPr lang="en-GB" altLang="en-US" sz="1300" b="0">
                <a:latin typeface="Times New Roman" panose="02020603050405020304" pitchFamily="18" charset="0"/>
              </a:rPr>
              <a:pPr/>
              <a:t>83</a:t>
            </a:fld>
            <a:endParaRPr lang="en-GB" altLang="en-US" sz="1300" b="0">
              <a:latin typeface="Times New Roman" panose="02020603050405020304" pitchFamily="18" charset="0"/>
            </a:endParaRPr>
          </a:p>
        </p:txBody>
      </p:sp>
      <p:sp>
        <p:nvSpPr>
          <p:cNvPr id="373763" name="Rectangle 2"/>
          <p:cNvSpPr>
            <a:spLocks noGrp="1" noRot="1" noChangeAspect="1" noChangeArrowheads="1" noTextEdit="1"/>
          </p:cNvSpPr>
          <p:nvPr>
            <p:ph type="sldImg"/>
          </p:nvPr>
        </p:nvSpPr>
        <p:spPr>
          <a:xfrm>
            <a:off x="-396875" y="844550"/>
            <a:ext cx="7496175" cy="4217988"/>
          </a:xfrm>
          <a:ln/>
        </p:spPr>
      </p:sp>
      <p:sp>
        <p:nvSpPr>
          <p:cNvPr id="373764" name="Rectangle 3"/>
          <p:cNvSpPr>
            <a:spLocks noGrp="1" noChangeArrowheads="1"/>
          </p:cNvSpPr>
          <p:nvPr>
            <p:ph type="body" idx="1"/>
          </p:nvPr>
        </p:nvSpPr>
        <p:spPr>
          <a:xfrm>
            <a:off x="892390" y="5344962"/>
            <a:ext cx="4909740" cy="5066017"/>
          </a:xfrm>
          <a:noFill/>
        </p:spPr>
        <p:txBody>
          <a:bodyPr/>
          <a:lstStyle/>
          <a:p>
            <a:endParaRPr lang="en-US" altLang="en-US"/>
          </a:p>
        </p:txBody>
      </p:sp>
    </p:spTree>
    <p:extLst>
      <p:ext uri="{BB962C8B-B14F-4D97-AF65-F5344CB8AC3E}">
        <p14:creationId xmlns:p14="http://schemas.microsoft.com/office/powerpoint/2010/main" val="5910012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21807">
              <a:defRPr/>
            </a:pPr>
            <a:fld id="{7C0F37E3-D61C-4C4B-8AD2-D70E789ECEC8}" type="slidenum">
              <a:rPr lang="en-US">
                <a:solidFill>
                  <a:prstClr val="black"/>
                </a:solidFill>
                <a:latin typeface="Calibri" panose="020F0502020204030204"/>
              </a:rPr>
              <a:pPr defTabSz="921807">
                <a:defRPr/>
              </a:pPr>
              <a:t>37</a:t>
            </a:fld>
            <a:endParaRPr lang="en-US">
              <a:solidFill>
                <a:prstClr val="black"/>
              </a:solidFill>
              <a:latin typeface="Calibri" panose="020F0502020204030204"/>
            </a:endParaRPr>
          </a:p>
        </p:txBody>
      </p:sp>
    </p:spTree>
    <p:extLst>
      <p:ext uri="{BB962C8B-B14F-4D97-AF65-F5344CB8AC3E}">
        <p14:creationId xmlns:p14="http://schemas.microsoft.com/office/powerpoint/2010/main" val="12223983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C657AB04-455F-4845-A9FE-0D72CBC043B2}" type="slidenum">
              <a:rPr lang="en-GB" altLang="en-US" sz="1300" b="0">
                <a:latin typeface="Times New Roman" panose="02020603050405020304" pitchFamily="18" charset="0"/>
              </a:rPr>
              <a:pPr/>
              <a:t>84</a:t>
            </a:fld>
            <a:endParaRPr lang="en-GB" altLang="en-US" sz="1300" b="0">
              <a:latin typeface="Times New Roman" panose="02020603050405020304" pitchFamily="18" charset="0"/>
            </a:endParaRPr>
          </a:p>
        </p:txBody>
      </p:sp>
      <p:sp>
        <p:nvSpPr>
          <p:cNvPr id="378883" name="Rectangle 2"/>
          <p:cNvSpPr>
            <a:spLocks noGrp="1" noRot="1" noChangeAspect="1" noChangeArrowheads="1" noTextEdit="1"/>
          </p:cNvSpPr>
          <p:nvPr>
            <p:ph type="sldImg"/>
          </p:nvPr>
        </p:nvSpPr>
        <p:spPr>
          <a:xfrm>
            <a:off x="-935038" y="258763"/>
            <a:ext cx="8521701" cy="4794250"/>
          </a:xfrm>
          <a:ln/>
        </p:spPr>
      </p:sp>
      <p:sp>
        <p:nvSpPr>
          <p:cNvPr id="378884" name="Rectangle 3"/>
          <p:cNvSpPr>
            <a:spLocks noGrp="1" noChangeArrowheads="1"/>
          </p:cNvSpPr>
          <p:nvPr>
            <p:ph type="body" idx="1"/>
          </p:nvPr>
        </p:nvSpPr>
        <p:spPr>
          <a:xfrm>
            <a:off x="583241" y="5348562"/>
            <a:ext cx="5477045" cy="5555522"/>
          </a:xfrm>
          <a:noFill/>
        </p:spPr>
        <p:txBody>
          <a:bodyPr/>
          <a:lstStyle/>
          <a:p>
            <a:endParaRPr lang="en-US" altLang="en-US"/>
          </a:p>
        </p:txBody>
      </p:sp>
    </p:spTree>
    <p:extLst>
      <p:ext uri="{BB962C8B-B14F-4D97-AF65-F5344CB8AC3E}">
        <p14:creationId xmlns:p14="http://schemas.microsoft.com/office/powerpoint/2010/main" val="32133945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30"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39A65DE5-A29B-4C82-B1F1-C94E71EFED06}" type="slidenum">
              <a:rPr lang="en-GB" altLang="en-US" sz="1300" b="0">
                <a:latin typeface="Times New Roman" panose="02020603050405020304" pitchFamily="18" charset="0"/>
              </a:rPr>
              <a:pPr/>
              <a:t>85</a:t>
            </a:fld>
            <a:endParaRPr lang="en-GB" altLang="en-US" sz="1300" b="0">
              <a:latin typeface="Times New Roman" panose="02020603050405020304" pitchFamily="18" charset="0"/>
            </a:endParaRPr>
          </a:p>
        </p:txBody>
      </p:sp>
      <p:sp>
        <p:nvSpPr>
          <p:cNvPr id="380931" name="Rectangle 2"/>
          <p:cNvSpPr>
            <a:spLocks noGrp="1" noRot="1" noChangeAspect="1" noChangeArrowheads="1" noTextEdit="1"/>
          </p:cNvSpPr>
          <p:nvPr>
            <p:ph type="sldImg"/>
          </p:nvPr>
        </p:nvSpPr>
        <p:spPr>
          <a:xfrm>
            <a:off x="-935038" y="258763"/>
            <a:ext cx="8521701" cy="4794250"/>
          </a:xfrm>
          <a:ln/>
        </p:spPr>
      </p:sp>
      <p:sp>
        <p:nvSpPr>
          <p:cNvPr id="380932" name="Rectangle 3"/>
          <p:cNvSpPr>
            <a:spLocks noGrp="1" noChangeArrowheads="1"/>
          </p:cNvSpPr>
          <p:nvPr>
            <p:ph type="body" idx="1"/>
          </p:nvPr>
        </p:nvSpPr>
        <p:spPr>
          <a:xfrm>
            <a:off x="583241" y="5348562"/>
            <a:ext cx="5477045" cy="5555522"/>
          </a:xfrm>
          <a:noFill/>
        </p:spPr>
        <p:txBody>
          <a:bodyPr/>
          <a:lstStyle/>
          <a:p>
            <a:endParaRPr lang="en-US" altLang="en-US"/>
          </a:p>
        </p:txBody>
      </p:sp>
    </p:spTree>
    <p:extLst>
      <p:ext uri="{BB962C8B-B14F-4D97-AF65-F5344CB8AC3E}">
        <p14:creationId xmlns:p14="http://schemas.microsoft.com/office/powerpoint/2010/main" val="26355002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51BA0BEF-8B4F-4AF0-A386-B1CE958806E3}" type="slidenum">
              <a:rPr lang="en-GB" altLang="en-US" sz="1300" b="0">
                <a:latin typeface="Times New Roman" panose="02020603050405020304" pitchFamily="18" charset="0"/>
              </a:rPr>
              <a:pPr/>
              <a:t>86</a:t>
            </a:fld>
            <a:endParaRPr lang="en-GB" altLang="en-US" sz="1300" b="0">
              <a:latin typeface="Times New Roman" panose="02020603050405020304" pitchFamily="18" charset="0"/>
            </a:endParaRPr>
          </a:p>
        </p:txBody>
      </p:sp>
      <p:sp>
        <p:nvSpPr>
          <p:cNvPr id="384003" name="Rectangle 2"/>
          <p:cNvSpPr>
            <a:spLocks noGrp="1" noRot="1" noChangeAspect="1" noChangeArrowheads="1" noTextEdit="1"/>
          </p:cNvSpPr>
          <p:nvPr>
            <p:ph type="sldImg"/>
          </p:nvPr>
        </p:nvSpPr>
        <p:spPr>
          <a:xfrm>
            <a:off x="-428625" y="877888"/>
            <a:ext cx="7553325" cy="4249737"/>
          </a:xfrm>
          <a:ln/>
        </p:spPr>
      </p:sp>
      <p:sp>
        <p:nvSpPr>
          <p:cNvPr id="384004" name="Rectangle 3"/>
          <p:cNvSpPr>
            <a:spLocks noGrp="1" noChangeArrowheads="1"/>
          </p:cNvSpPr>
          <p:nvPr>
            <p:ph type="body" idx="1"/>
          </p:nvPr>
        </p:nvSpPr>
        <p:spPr>
          <a:xfrm>
            <a:off x="892390" y="5377356"/>
            <a:ext cx="2946482" cy="1896832"/>
          </a:xfrm>
          <a:noFill/>
        </p:spPr>
        <p:txBody>
          <a:bodyPr/>
          <a:lstStyle/>
          <a:p>
            <a:endParaRPr lang="en-US" altLang="en-US"/>
          </a:p>
        </p:txBody>
      </p:sp>
    </p:spTree>
    <p:extLst>
      <p:ext uri="{BB962C8B-B14F-4D97-AF65-F5344CB8AC3E}">
        <p14:creationId xmlns:p14="http://schemas.microsoft.com/office/powerpoint/2010/main" val="2202617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50"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80386862-CC40-4BF9-9848-AFCCF4A279FC}" type="slidenum">
              <a:rPr lang="en-GB" altLang="en-US" sz="1300" b="0">
                <a:latin typeface="Times New Roman" panose="02020603050405020304" pitchFamily="18" charset="0"/>
              </a:rPr>
              <a:pPr/>
              <a:t>87</a:t>
            </a:fld>
            <a:endParaRPr lang="en-GB" altLang="en-US" sz="1300" b="0">
              <a:latin typeface="Times New Roman" panose="02020603050405020304" pitchFamily="18" charset="0"/>
            </a:endParaRPr>
          </a:p>
        </p:txBody>
      </p:sp>
      <p:sp>
        <p:nvSpPr>
          <p:cNvPr id="386051" name="Rectangle 2"/>
          <p:cNvSpPr>
            <a:spLocks noGrp="1" noRot="1" noChangeAspect="1" noChangeArrowheads="1" noTextEdit="1"/>
          </p:cNvSpPr>
          <p:nvPr>
            <p:ph type="sldImg"/>
          </p:nvPr>
        </p:nvSpPr>
        <p:spPr>
          <a:xfrm>
            <a:off x="-935038" y="258763"/>
            <a:ext cx="8521701" cy="4794250"/>
          </a:xfrm>
          <a:ln/>
        </p:spPr>
      </p:sp>
      <p:sp>
        <p:nvSpPr>
          <p:cNvPr id="386052" name="Rectangle 3"/>
          <p:cNvSpPr>
            <a:spLocks noGrp="1" noChangeArrowheads="1"/>
          </p:cNvSpPr>
          <p:nvPr>
            <p:ph type="body" idx="1"/>
          </p:nvPr>
        </p:nvSpPr>
        <p:spPr>
          <a:xfrm>
            <a:off x="583241" y="5348562"/>
            <a:ext cx="5477045" cy="5555522"/>
          </a:xfrm>
          <a:noFill/>
        </p:spPr>
        <p:txBody>
          <a:bodyPr/>
          <a:lstStyle/>
          <a:p>
            <a:endParaRPr lang="en-US" altLang="en-US"/>
          </a:p>
        </p:txBody>
      </p:sp>
    </p:spTree>
    <p:extLst>
      <p:ext uri="{BB962C8B-B14F-4D97-AF65-F5344CB8AC3E}">
        <p14:creationId xmlns:p14="http://schemas.microsoft.com/office/powerpoint/2010/main" val="35994038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2"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BC3ECD40-9271-410D-87DB-DFB5A695F7C5}" type="slidenum">
              <a:rPr lang="en-GB" altLang="en-US" sz="1300" b="0">
                <a:latin typeface="Times New Roman" panose="02020603050405020304" pitchFamily="18" charset="0"/>
              </a:rPr>
              <a:pPr/>
              <a:t>88</a:t>
            </a:fld>
            <a:endParaRPr lang="en-GB" altLang="en-US" sz="1300" b="0">
              <a:latin typeface="Times New Roman" panose="02020603050405020304" pitchFamily="18" charset="0"/>
            </a:endParaRPr>
          </a:p>
        </p:txBody>
      </p:sp>
      <p:sp>
        <p:nvSpPr>
          <p:cNvPr id="394243" name="Rectangle 2"/>
          <p:cNvSpPr>
            <a:spLocks noGrp="1" noRot="1" noChangeAspect="1" noChangeArrowheads="1" noTextEdit="1"/>
          </p:cNvSpPr>
          <p:nvPr>
            <p:ph type="sldImg"/>
          </p:nvPr>
        </p:nvSpPr>
        <p:spPr>
          <a:xfrm>
            <a:off x="-935038" y="258763"/>
            <a:ext cx="8521701" cy="4794250"/>
          </a:xfrm>
          <a:ln/>
        </p:spPr>
      </p:sp>
      <p:sp>
        <p:nvSpPr>
          <p:cNvPr id="394244" name="Rectangle 3"/>
          <p:cNvSpPr>
            <a:spLocks noGrp="1" noChangeArrowheads="1"/>
          </p:cNvSpPr>
          <p:nvPr>
            <p:ph type="body" idx="1"/>
          </p:nvPr>
        </p:nvSpPr>
        <p:spPr>
          <a:xfrm>
            <a:off x="583241" y="5348562"/>
            <a:ext cx="5477045" cy="5555522"/>
          </a:xfrm>
          <a:noFill/>
        </p:spPr>
        <p:txBody>
          <a:bodyPr/>
          <a:lstStyle/>
          <a:p>
            <a:endParaRPr lang="en-US" altLang="en-US"/>
          </a:p>
        </p:txBody>
      </p:sp>
    </p:spTree>
    <p:extLst>
      <p:ext uri="{BB962C8B-B14F-4D97-AF65-F5344CB8AC3E}">
        <p14:creationId xmlns:p14="http://schemas.microsoft.com/office/powerpoint/2010/main" val="3134951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 new framework that we recently implemented in Enclosures. The framework shows the sales drivers on the left in green that are a result of a market back approach. The blue area shows the capabilities to be developed by functional area in order to match the market requirements. This process reconciles the operations capabilities with the market requirements. The box in the middle contains the financials incl. a growth walk and the required investments and working capita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F37E3-D61C-4C4B-8AD2-D70E789ECE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5158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097D2C3A-FF36-486B-A293-9239CE4DCC34}" type="slidenum">
              <a:rPr lang="en-GB" altLang="en-US" sz="1300" b="0">
                <a:latin typeface="Times New Roman" panose="02020603050405020304" pitchFamily="18" charset="0"/>
              </a:rPr>
              <a:pPr/>
              <a:t>59</a:t>
            </a:fld>
            <a:endParaRPr lang="en-GB" altLang="en-US" sz="1300" b="0">
              <a:latin typeface="Times New Roman" panose="02020603050405020304" pitchFamily="18" charset="0"/>
            </a:endParaRPr>
          </a:p>
        </p:txBody>
      </p:sp>
      <p:sp>
        <p:nvSpPr>
          <p:cNvPr id="210947" name="Rectangle 2"/>
          <p:cNvSpPr>
            <a:spLocks noGrp="1" noRot="1" noChangeAspect="1" noChangeArrowheads="1" noTextEdit="1"/>
          </p:cNvSpPr>
          <p:nvPr>
            <p:ph type="sldImg"/>
          </p:nvPr>
        </p:nvSpPr>
        <p:spPr>
          <a:xfrm>
            <a:off x="-935038" y="258763"/>
            <a:ext cx="8521701" cy="4794250"/>
          </a:xfrm>
          <a:ln/>
        </p:spPr>
      </p:sp>
      <p:sp>
        <p:nvSpPr>
          <p:cNvPr id="210948" name="Rectangle 3"/>
          <p:cNvSpPr>
            <a:spLocks noGrp="1" noChangeArrowheads="1"/>
          </p:cNvSpPr>
          <p:nvPr>
            <p:ph type="body" idx="1"/>
          </p:nvPr>
        </p:nvSpPr>
        <p:spPr>
          <a:xfrm>
            <a:off x="583241" y="5348562"/>
            <a:ext cx="5477045" cy="5555522"/>
          </a:xfrm>
          <a:noFill/>
        </p:spPr>
        <p:txBody>
          <a:bodyPr/>
          <a:lstStyle/>
          <a:p>
            <a:endParaRPr lang="en-US" altLang="en-US"/>
          </a:p>
        </p:txBody>
      </p:sp>
    </p:spTree>
    <p:extLst>
      <p:ext uri="{BB962C8B-B14F-4D97-AF65-F5344CB8AC3E}">
        <p14:creationId xmlns:p14="http://schemas.microsoft.com/office/powerpoint/2010/main" val="1956805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70"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14D48FAD-AF9F-42EC-A7BB-9A481B45E8CF}" type="slidenum">
              <a:rPr lang="en-GB" altLang="en-US" sz="1300" b="0">
                <a:latin typeface="Times New Roman" panose="02020603050405020304" pitchFamily="18" charset="0"/>
              </a:rPr>
              <a:pPr/>
              <a:t>60</a:t>
            </a:fld>
            <a:endParaRPr lang="en-GB" altLang="en-US" sz="1300" b="0">
              <a:latin typeface="Times New Roman" panose="02020603050405020304" pitchFamily="18" charset="0"/>
            </a:endParaRPr>
          </a:p>
        </p:txBody>
      </p:sp>
      <p:sp>
        <p:nvSpPr>
          <p:cNvPr id="211971" name="Rectangle 2"/>
          <p:cNvSpPr>
            <a:spLocks noGrp="1" noRot="1" noChangeAspect="1" noChangeArrowheads="1" noTextEdit="1"/>
          </p:cNvSpPr>
          <p:nvPr>
            <p:ph type="sldImg"/>
          </p:nvPr>
        </p:nvSpPr>
        <p:spPr>
          <a:xfrm>
            <a:off x="-935038" y="258763"/>
            <a:ext cx="8521701" cy="4794250"/>
          </a:xfrm>
          <a:ln/>
        </p:spPr>
      </p:sp>
      <p:sp>
        <p:nvSpPr>
          <p:cNvPr id="211972" name="Rectangle 3"/>
          <p:cNvSpPr>
            <a:spLocks noGrp="1" noChangeArrowheads="1"/>
          </p:cNvSpPr>
          <p:nvPr>
            <p:ph type="body" idx="1"/>
          </p:nvPr>
        </p:nvSpPr>
        <p:spPr>
          <a:xfrm>
            <a:off x="583241" y="5348562"/>
            <a:ext cx="5477045" cy="5555522"/>
          </a:xfrm>
          <a:noFill/>
        </p:spPr>
        <p:txBody>
          <a:bodyPr/>
          <a:lstStyle/>
          <a:p>
            <a:endParaRPr lang="en-US" altLang="en-US"/>
          </a:p>
        </p:txBody>
      </p:sp>
    </p:spTree>
    <p:extLst>
      <p:ext uri="{BB962C8B-B14F-4D97-AF65-F5344CB8AC3E}">
        <p14:creationId xmlns:p14="http://schemas.microsoft.com/office/powerpoint/2010/main" val="1144403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9BA954F9-C606-425B-82E5-B6041EF52EC3}" type="slidenum">
              <a:rPr lang="en-GB" altLang="en-US" sz="1300" b="0">
                <a:latin typeface="Times New Roman" panose="02020603050405020304" pitchFamily="18" charset="0"/>
              </a:rPr>
              <a:pPr/>
              <a:t>61</a:t>
            </a:fld>
            <a:endParaRPr lang="en-GB" altLang="en-US" sz="1300" b="0">
              <a:latin typeface="Times New Roman" panose="02020603050405020304" pitchFamily="18" charset="0"/>
            </a:endParaRPr>
          </a:p>
        </p:txBody>
      </p:sp>
      <p:sp>
        <p:nvSpPr>
          <p:cNvPr id="212995" name="Rectangle 2"/>
          <p:cNvSpPr>
            <a:spLocks noGrp="1" noRot="1" noChangeAspect="1" noChangeArrowheads="1" noTextEdit="1"/>
          </p:cNvSpPr>
          <p:nvPr>
            <p:ph type="sldImg"/>
          </p:nvPr>
        </p:nvSpPr>
        <p:spPr>
          <a:xfrm>
            <a:off x="-935038" y="258763"/>
            <a:ext cx="8521701" cy="4794250"/>
          </a:xfrm>
          <a:ln/>
        </p:spPr>
      </p:sp>
      <p:sp>
        <p:nvSpPr>
          <p:cNvPr id="212996" name="Rectangle 3"/>
          <p:cNvSpPr>
            <a:spLocks noGrp="1" noChangeArrowheads="1"/>
          </p:cNvSpPr>
          <p:nvPr>
            <p:ph type="body" idx="1"/>
          </p:nvPr>
        </p:nvSpPr>
        <p:spPr>
          <a:xfrm>
            <a:off x="583241" y="5348562"/>
            <a:ext cx="5477045" cy="5555522"/>
          </a:xfrm>
          <a:noFill/>
        </p:spPr>
        <p:txBody>
          <a:bodyPr/>
          <a:lstStyle/>
          <a:p>
            <a:endParaRPr lang="en-US" altLang="en-US"/>
          </a:p>
        </p:txBody>
      </p:sp>
    </p:spTree>
    <p:extLst>
      <p:ext uri="{BB962C8B-B14F-4D97-AF65-F5344CB8AC3E}">
        <p14:creationId xmlns:p14="http://schemas.microsoft.com/office/powerpoint/2010/main" val="737156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8"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13A38347-4496-48F0-807C-1D92C8F59856}" type="slidenum">
              <a:rPr lang="en-GB" altLang="en-US" sz="1300" b="0">
                <a:latin typeface="Times New Roman" panose="02020603050405020304" pitchFamily="18" charset="0"/>
              </a:rPr>
              <a:pPr/>
              <a:t>62</a:t>
            </a:fld>
            <a:endParaRPr lang="en-GB" altLang="en-US" sz="1300" b="0">
              <a:latin typeface="Times New Roman" panose="02020603050405020304" pitchFamily="18" charset="0"/>
            </a:endParaRPr>
          </a:p>
        </p:txBody>
      </p:sp>
      <p:sp>
        <p:nvSpPr>
          <p:cNvPr id="214019" name="Rectangle 2"/>
          <p:cNvSpPr>
            <a:spLocks noGrp="1" noRot="1" noChangeAspect="1" noChangeArrowheads="1" noTextEdit="1"/>
          </p:cNvSpPr>
          <p:nvPr>
            <p:ph type="sldImg"/>
          </p:nvPr>
        </p:nvSpPr>
        <p:spPr>
          <a:xfrm>
            <a:off x="-938213" y="258763"/>
            <a:ext cx="8523288" cy="4795837"/>
          </a:xfrm>
          <a:ln/>
        </p:spPr>
      </p:sp>
      <p:sp>
        <p:nvSpPr>
          <p:cNvPr id="214020"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180965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7"/>
          <p:cNvSpPr>
            <a:spLocks noGrp="1" noChangeArrowheads="1"/>
          </p:cNvSpPr>
          <p:nvPr>
            <p:ph type="sldNum" sz="quarter" idx="5"/>
          </p:nvPr>
        </p:nvSpPr>
        <p:spPr>
          <a:noFill/>
        </p:spPr>
        <p:txBody>
          <a:bodyPr/>
          <a:lstStyle>
            <a:lvl1pPr defTabSz="994605">
              <a:defRPr sz="1400" b="1">
                <a:solidFill>
                  <a:schemeClr val="tx1"/>
                </a:solidFill>
                <a:latin typeface="Arial" panose="020B0604020202020204" pitchFamily="34" charset="0"/>
              </a:defRPr>
            </a:lvl1pPr>
            <a:lvl2pPr marL="799786" indent="-307610" defTabSz="994605">
              <a:defRPr sz="1400" b="1">
                <a:solidFill>
                  <a:schemeClr val="tx1"/>
                </a:solidFill>
                <a:latin typeface="Arial" panose="020B0604020202020204" pitchFamily="34" charset="0"/>
              </a:defRPr>
            </a:lvl2pPr>
            <a:lvl3pPr marL="1230440" indent="-246088" defTabSz="994605">
              <a:defRPr sz="1400" b="1">
                <a:solidFill>
                  <a:schemeClr val="tx1"/>
                </a:solidFill>
                <a:latin typeface="Arial" panose="020B0604020202020204" pitchFamily="34" charset="0"/>
              </a:defRPr>
            </a:lvl3pPr>
            <a:lvl4pPr marL="1722615" indent="-246088" defTabSz="994605">
              <a:defRPr sz="1400" b="1">
                <a:solidFill>
                  <a:schemeClr val="tx1"/>
                </a:solidFill>
                <a:latin typeface="Arial" panose="020B0604020202020204" pitchFamily="34" charset="0"/>
              </a:defRPr>
            </a:lvl4pPr>
            <a:lvl5pPr marL="2214791" indent="-246088" defTabSz="994605">
              <a:defRPr sz="1400" b="1">
                <a:solidFill>
                  <a:schemeClr val="tx1"/>
                </a:solidFill>
                <a:latin typeface="Arial" panose="020B0604020202020204" pitchFamily="34" charset="0"/>
              </a:defRPr>
            </a:lvl5pPr>
            <a:lvl6pPr marL="2706967" indent="-246088" algn="ctr" defTabSz="994605" eaLnBrk="0" fontAlgn="base" hangingPunct="0">
              <a:spcBef>
                <a:spcPct val="0"/>
              </a:spcBef>
              <a:spcAft>
                <a:spcPct val="0"/>
              </a:spcAft>
              <a:defRPr sz="1400" b="1">
                <a:solidFill>
                  <a:schemeClr val="tx1"/>
                </a:solidFill>
                <a:latin typeface="Arial" panose="020B0604020202020204" pitchFamily="34" charset="0"/>
              </a:defRPr>
            </a:lvl6pPr>
            <a:lvl7pPr marL="3199143" indent="-246088" algn="ctr" defTabSz="994605" eaLnBrk="0" fontAlgn="base" hangingPunct="0">
              <a:spcBef>
                <a:spcPct val="0"/>
              </a:spcBef>
              <a:spcAft>
                <a:spcPct val="0"/>
              </a:spcAft>
              <a:defRPr sz="1400" b="1">
                <a:solidFill>
                  <a:schemeClr val="tx1"/>
                </a:solidFill>
                <a:latin typeface="Arial" panose="020B0604020202020204" pitchFamily="34" charset="0"/>
              </a:defRPr>
            </a:lvl7pPr>
            <a:lvl8pPr marL="3691319" indent="-246088" algn="ctr" defTabSz="994605" eaLnBrk="0" fontAlgn="base" hangingPunct="0">
              <a:spcBef>
                <a:spcPct val="0"/>
              </a:spcBef>
              <a:spcAft>
                <a:spcPct val="0"/>
              </a:spcAft>
              <a:defRPr sz="1400" b="1">
                <a:solidFill>
                  <a:schemeClr val="tx1"/>
                </a:solidFill>
                <a:latin typeface="Arial" panose="020B0604020202020204" pitchFamily="34" charset="0"/>
              </a:defRPr>
            </a:lvl8pPr>
            <a:lvl9pPr marL="4183494" indent="-246088" algn="ctr" defTabSz="994605" eaLnBrk="0" fontAlgn="base" hangingPunct="0">
              <a:spcBef>
                <a:spcPct val="0"/>
              </a:spcBef>
              <a:spcAft>
                <a:spcPct val="0"/>
              </a:spcAft>
              <a:defRPr sz="1400" b="1">
                <a:solidFill>
                  <a:schemeClr val="tx1"/>
                </a:solidFill>
                <a:latin typeface="Arial" panose="020B0604020202020204" pitchFamily="34" charset="0"/>
              </a:defRPr>
            </a:lvl9pPr>
          </a:lstStyle>
          <a:p>
            <a:fld id="{369C4D49-BD43-4803-933C-69790037E07B}" type="slidenum">
              <a:rPr lang="en-GB" altLang="en-US" sz="1300" b="0">
                <a:latin typeface="Times New Roman" panose="02020603050405020304" pitchFamily="18" charset="0"/>
              </a:rPr>
              <a:pPr/>
              <a:t>63</a:t>
            </a:fld>
            <a:endParaRPr lang="en-GB" altLang="en-US" sz="1300" b="0">
              <a:latin typeface="Times New Roman" panose="02020603050405020304" pitchFamily="18" charset="0"/>
            </a:endParaRPr>
          </a:p>
        </p:txBody>
      </p:sp>
      <p:sp>
        <p:nvSpPr>
          <p:cNvPr id="250883" name="Rectangle 2"/>
          <p:cNvSpPr>
            <a:spLocks noGrp="1" noRot="1" noChangeAspect="1" noChangeArrowheads="1" noTextEdit="1"/>
          </p:cNvSpPr>
          <p:nvPr>
            <p:ph type="sldImg"/>
          </p:nvPr>
        </p:nvSpPr>
        <p:spPr>
          <a:xfrm>
            <a:off x="-938213" y="257175"/>
            <a:ext cx="8523288" cy="4795838"/>
          </a:xfrm>
          <a:ln/>
        </p:spPr>
      </p:sp>
      <p:sp>
        <p:nvSpPr>
          <p:cNvPr id="250884" name="Rectangle 3"/>
          <p:cNvSpPr>
            <a:spLocks noGrp="1" noChangeArrowheads="1"/>
          </p:cNvSpPr>
          <p:nvPr>
            <p:ph type="body" idx="1"/>
          </p:nvPr>
        </p:nvSpPr>
        <p:spPr>
          <a:xfrm>
            <a:off x="584835" y="5348562"/>
            <a:ext cx="5475451" cy="5555522"/>
          </a:xfrm>
          <a:noFill/>
        </p:spPr>
        <p:txBody>
          <a:bodyPr/>
          <a:lstStyle/>
          <a:p>
            <a:endParaRPr lang="en-US" altLang="en-US"/>
          </a:p>
        </p:txBody>
      </p:sp>
    </p:spTree>
    <p:extLst>
      <p:ext uri="{BB962C8B-B14F-4D97-AF65-F5344CB8AC3E}">
        <p14:creationId xmlns:p14="http://schemas.microsoft.com/office/powerpoint/2010/main" val="27324637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image" Target="../media/image10.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11.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3.xml"/><Relationship Id="rId7" Type="http://schemas.openxmlformats.org/officeDocument/2006/relationships/image" Target="../media/image6.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12.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6.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13.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3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14.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16.bin"/><Relationship Id="rId5" Type="http://schemas.openxmlformats.org/officeDocument/2006/relationships/image" Target="../media/image15.jpeg"/><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7.bin"/><Relationship Id="rId5" Type="http://schemas.openxmlformats.org/officeDocument/2006/relationships/image" Target="../media/image16.png"/><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18.bin"/><Relationship Id="rId5" Type="http://schemas.openxmlformats.org/officeDocument/2006/relationships/image" Target="../media/image17.png"/><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oleObject" Target="../embeddings/oleObject19.bin"/><Relationship Id="rId5" Type="http://schemas.openxmlformats.org/officeDocument/2006/relationships/image" Target="../media/image18.png"/><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20.bin"/><Relationship Id="rId5" Type="http://schemas.openxmlformats.org/officeDocument/2006/relationships/image" Target="../media/image19.png"/><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28.bin"/><Relationship Id="rId5" Type="http://schemas.openxmlformats.org/officeDocument/2006/relationships/image" Target="../media/image5.png"/><Relationship Id="rId10" Type="http://schemas.openxmlformats.org/officeDocument/2006/relationships/image" Target="../media/image3.sv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3.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image" Target="../media/image20.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30.bin"/><Relationship Id="rId5" Type="http://schemas.openxmlformats.org/officeDocument/2006/relationships/image" Target="../media/image8.png"/><Relationship Id="rId10" Type="http://schemas.openxmlformats.org/officeDocument/2006/relationships/image" Target="../media/image3.sv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79.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31.bin"/><Relationship Id="rId10" Type="http://schemas.openxmlformats.org/officeDocument/2006/relationships/image" Target="../media/image3.sv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2.xml"/><Relationship Id="rId7" Type="http://schemas.openxmlformats.org/officeDocument/2006/relationships/image" Target="../media/image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32.bin"/><Relationship Id="rId10" Type="http://schemas.openxmlformats.org/officeDocument/2006/relationships/image" Target="../media/image22.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oleObject" Target="../embeddings/oleObject33.bin"/><Relationship Id="rId5" Type="http://schemas.openxmlformats.org/officeDocument/2006/relationships/image" Target="../media/image23.jpeg"/><Relationship Id="rId10" Type="http://schemas.openxmlformats.org/officeDocument/2006/relationships/image" Target="../media/image3.sv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4.bin"/><Relationship Id="rId5" Type="http://schemas.openxmlformats.org/officeDocument/2006/relationships/image" Target="../media/image24.jpeg"/><Relationship Id="rId10" Type="http://schemas.openxmlformats.org/officeDocument/2006/relationships/image" Target="../media/image3.sv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oleObject" Target="../embeddings/oleObject35.bin"/><Relationship Id="rId5" Type="http://schemas.openxmlformats.org/officeDocument/2006/relationships/image" Target="../media/image25.jpeg"/><Relationship Id="rId10" Type="http://schemas.openxmlformats.org/officeDocument/2006/relationships/image" Target="../media/image3.sv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oleObject" Target="../embeddings/oleObject36.bin"/><Relationship Id="rId5" Type="http://schemas.openxmlformats.org/officeDocument/2006/relationships/image" Target="../media/image26.jpeg"/><Relationship Id="rId10" Type="http://schemas.openxmlformats.org/officeDocument/2006/relationships/image" Target="../media/image3.sv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oleObject" Target="../embeddings/oleObject37.bin"/><Relationship Id="rId5" Type="http://schemas.openxmlformats.org/officeDocument/2006/relationships/image" Target="../media/image27.jpeg"/><Relationship Id="rId10" Type="http://schemas.openxmlformats.org/officeDocument/2006/relationships/image" Target="../media/image3.sv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oleObject" Target="../embeddings/oleObject38.bin"/><Relationship Id="rId5" Type="http://schemas.openxmlformats.org/officeDocument/2006/relationships/image" Target="../media/image28.jpeg"/><Relationship Id="rId10" Type="http://schemas.openxmlformats.org/officeDocument/2006/relationships/image" Target="../media/image3.sv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3.xml"/><Relationship Id="rId7" Type="http://schemas.openxmlformats.org/officeDocument/2006/relationships/image" Target="../media/image6.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emf"/><Relationship Id="rId5" Type="http://schemas.openxmlformats.org/officeDocument/2006/relationships/oleObject" Target="../embeddings/oleObject39.bin"/><Relationship Id="rId10" Type="http://schemas.openxmlformats.org/officeDocument/2006/relationships/image" Target="../media/image29.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6.xml"/><Relationship Id="rId7" Type="http://schemas.openxmlformats.org/officeDocument/2006/relationships/image" Target="../media/image6.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40.bin"/><Relationship Id="rId10" Type="http://schemas.openxmlformats.org/officeDocument/2006/relationships/image" Target="../media/image30.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9.xml"/><Relationship Id="rId7" Type="http://schemas.openxmlformats.org/officeDocument/2006/relationships/image" Target="../media/image6.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emf"/><Relationship Id="rId5" Type="http://schemas.openxmlformats.org/officeDocument/2006/relationships/oleObject" Target="../embeddings/oleObject41.bin"/><Relationship Id="rId10" Type="http://schemas.openxmlformats.org/officeDocument/2006/relationships/image" Target="../media/image31.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2.xml"/><Relationship Id="rId7" Type="http://schemas.openxmlformats.org/officeDocument/2006/relationships/image" Target="../media/image6.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emf"/><Relationship Id="rId5" Type="http://schemas.openxmlformats.org/officeDocument/2006/relationships/oleObject" Target="../embeddings/oleObject42.bin"/><Relationship Id="rId10" Type="http://schemas.openxmlformats.org/officeDocument/2006/relationships/image" Target="../media/image32.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5.xml"/><Relationship Id="rId7" Type="http://schemas.openxmlformats.org/officeDocument/2006/relationships/image" Target="../media/image6.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emf"/><Relationship Id="rId5" Type="http://schemas.openxmlformats.org/officeDocument/2006/relationships/oleObject" Target="../embeddings/oleObject43.bin"/><Relationship Id="rId10" Type="http://schemas.openxmlformats.org/officeDocument/2006/relationships/image" Target="../media/image33.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8.xml"/><Relationship Id="rId7" Type="http://schemas.openxmlformats.org/officeDocument/2006/relationships/image" Target="../media/image6.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44.bin"/><Relationship Id="rId10" Type="http://schemas.openxmlformats.org/officeDocument/2006/relationships/image" Target="../media/image34.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21.xml"/><Relationship Id="rId7" Type="http://schemas.openxmlformats.org/officeDocument/2006/relationships/image" Target="../media/image6.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emf"/><Relationship Id="rId5" Type="http://schemas.openxmlformats.org/officeDocument/2006/relationships/oleObject" Target="../embeddings/oleObject45.bin"/><Relationship Id="rId10" Type="http://schemas.openxmlformats.org/officeDocument/2006/relationships/image" Target="../media/image35.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24.xml"/><Relationship Id="rId7" Type="http://schemas.openxmlformats.org/officeDocument/2006/relationships/image" Target="../media/image6.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emf"/><Relationship Id="rId5" Type="http://schemas.openxmlformats.org/officeDocument/2006/relationships/oleObject" Target="../embeddings/oleObject46.bin"/><Relationship Id="rId10" Type="http://schemas.openxmlformats.org/officeDocument/2006/relationships/image" Target="../media/image36.jpeg"/><Relationship Id="rId4" Type="http://schemas.openxmlformats.org/officeDocument/2006/relationships/slideMaster" Target="../slideMasters/slideMaster2.xml"/><Relationship Id="rId9" Type="http://schemas.openxmlformats.org/officeDocument/2006/relationships/image" Target="../media/image3.sv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4.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7.bin"/><Relationship Id="rId5" Type="http://schemas.openxmlformats.org/officeDocument/2006/relationships/image" Target="../media/image5.png"/><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8.bin"/><Relationship Id="rId5" Type="http://schemas.openxmlformats.org/officeDocument/2006/relationships/image" Target="../media/image7.png"/><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9.bin"/><Relationship Id="rId5" Type="http://schemas.openxmlformats.org/officeDocument/2006/relationships/image" Target="../media/image8.png"/><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24.xml"/><Relationship Id="rId7" Type="http://schemas.openxmlformats.org/officeDocument/2006/relationships/image" Target="../media/image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656B54-3ADF-449D-B61C-0E8A3E802AC8}"/>
              </a:ext>
            </a:extLst>
          </p:cNvPr>
          <p:cNvSpPr/>
          <p:nvPr userDrawn="1"/>
        </p:nvSpPr>
        <p:spPr>
          <a:xfrm>
            <a:off x="4234" y="-22110"/>
            <a:ext cx="12187766" cy="5272287"/>
          </a:xfrm>
          <a:prstGeom prst="rect">
            <a:avLst/>
          </a:prstGeom>
          <a:solidFill>
            <a:schemeClr val="accent5">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D7A713FE-72CC-49A1-B4C7-E0FEF00F99B7}"/>
              </a:ext>
            </a:extLst>
          </p:cNvPr>
          <p:cNvSpPr/>
          <p:nvPr userDrawn="1"/>
        </p:nvSpPr>
        <p:spPr>
          <a:xfrm>
            <a:off x="-5003" y="5341616"/>
            <a:ext cx="12197003"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29098710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p:cNvSpPr/>
          <p:nvPr/>
        </p:nvSpPr>
        <p:spPr>
          <a:xfrm>
            <a:off x="0" y="0"/>
            <a:ext cx="211667"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5000" b="0" i="0" baseline="0">
              <a:latin typeface="Roboto Light"/>
              <a:sym typeface="Roboto Light"/>
            </a:endParaRPr>
          </a:p>
        </p:txBody>
      </p:sp>
      <p:sp>
        <p:nvSpPr>
          <p:cNvPr id="14" name="Rectangle 13" hidden="1"/>
          <p:cNvSpPr/>
          <p:nvPr userDrawn="1">
            <p:custDataLst>
              <p:tags r:id="rId2"/>
            </p:custDataLst>
          </p:nvPr>
        </p:nvSpPr>
        <p:spPr>
          <a:xfrm>
            <a:off x="0" y="0"/>
            <a:ext cx="211667"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4000" b="0" i="0" baseline="0">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15" name="Rectangle 14"/>
          <p:cNvSpPr/>
          <p:nvPr userDrawn="1"/>
        </p:nvSpPr>
        <p:spPr>
          <a:xfrm>
            <a:off x="-5003" y="5250176"/>
            <a:ext cx="12197003" cy="9144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
        <p:nvSpPr>
          <p:cNvPr id="17" name="Subtitle 2">
            <a:extLst>
              <a:ext uri="{FF2B5EF4-FFF2-40B4-BE49-F238E27FC236}">
                <a16:creationId xmlns:a16="http://schemas.microsoft.com/office/drawing/2014/main" id="{2D1C2624-DF71-4678-BC19-8D78D599F5EF}"/>
              </a:ext>
            </a:extLst>
          </p:cNvPr>
          <p:cNvSpPr>
            <a:spLocks noGrp="1"/>
          </p:cNvSpPr>
          <p:nvPr>
            <p:ph type="subTitle" idx="1"/>
          </p:nvPr>
        </p:nvSpPr>
        <p:spPr>
          <a:xfrm>
            <a:off x="628650" y="2743200"/>
            <a:ext cx="6410558" cy="1479223"/>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itle 1">
            <a:extLst>
              <a:ext uri="{FF2B5EF4-FFF2-40B4-BE49-F238E27FC236}">
                <a16:creationId xmlns:a16="http://schemas.microsoft.com/office/drawing/2014/main" id="{0C359125-1562-423F-A70A-9900E81B4F77}"/>
              </a:ext>
            </a:extLst>
          </p:cNvPr>
          <p:cNvSpPr>
            <a:spLocks noGrp="1"/>
          </p:cNvSpPr>
          <p:nvPr>
            <p:ph type="ctrTitle"/>
          </p:nvPr>
        </p:nvSpPr>
        <p:spPr>
          <a:xfrm>
            <a:off x="619241" y="685800"/>
            <a:ext cx="6410558" cy="1828800"/>
          </a:xfrm>
          <a:prstGeom prst="rect">
            <a:avLst/>
          </a:prstGeom>
        </p:spPr>
        <p:txBody>
          <a:bodyPr vert="horz" lIns="0" anchor="b">
            <a:normAutofit/>
          </a:bodyPr>
          <a:lstStyle>
            <a:lvl1pPr algn="l">
              <a:lnSpc>
                <a:spcPct val="100000"/>
              </a:lnSpc>
              <a:defRPr sz="4000" b="0" i="0" spc="-150">
                <a:solidFill>
                  <a:schemeClr val="bg2"/>
                </a:solidFill>
                <a:latin typeface="Arial" panose="020B0604020202020204" pitchFamily="34" charset="0"/>
                <a:ea typeface="Roboto Light" charset="0"/>
                <a:cs typeface="Arial" panose="020B0604020202020204" pitchFamily="34" charset="0"/>
              </a:defRPr>
            </a:lvl1pPr>
          </a:lstStyle>
          <a:p>
            <a:r>
              <a:rPr lang="en-US"/>
              <a:t>Click to edit Master title style</a:t>
            </a:r>
          </a:p>
        </p:txBody>
      </p:sp>
      <p:sp>
        <p:nvSpPr>
          <p:cNvPr id="5" name="Text Placeholder 4"/>
          <p:cNvSpPr>
            <a:spLocks noGrp="1"/>
          </p:cNvSpPr>
          <p:nvPr>
            <p:ph type="body" sz="quarter" idx="10" hasCustomPrompt="1"/>
          </p:nvPr>
        </p:nvSpPr>
        <p:spPr>
          <a:xfrm>
            <a:off x="628650" y="4343400"/>
            <a:ext cx="3714750" cy="685800"/>
          </a:xfrm>
          <a:prstGeom prst="rect">
            <a:avLst/>
          </a:prstGeom>
        </p:spPr>
        <p:txBody>
          <a:bodyPr/>
          <a:lstStyle>
            <a:lvl1pPr>
              <a:defRPr sz="1600" b="0">
                <a:solidFill>
                  <a:schemeClr val="tx1"/>
                </a:solidFill>
                <a:latin typeface="Arial" panose="020B0604020202020204" pitchFamily="34" charset="0"/>
                <a:cs typeface="Arial" panose="020B0604020202020204" pitchFamily="34" charset="0"/>
              </a:defRPr>
            </a:lvl1pPr>
            <a:lvl5pPr>
              <a:defRPr sz="1600">
                <a:solidFill>
                  <a:schemeClr val="tx1"/>
                </a:solidFill>
                <a:latin typeface="Arial" panose="020B0604020202020204" pitchFamily="34" charset="0"/>
                <a:cs typeface="Arial" panose="020B0604020202020204" pitchFamily="34" charset="0"/>
              </a:defRPr>
            </a:lvl5pPr>
          </a:lstStyle>
          <a:p>
            <a:pPr lvl="0"/>
            <a:r>
              <a:rPr lang="en-US"/>
              <a:t>Click to add Presenter</a:t>
            </a:r>
            <a:br>
              <a:rPr lang="en-US"/>
            </a:br>
            <a:r>
              <a:rPr lang="en-US" b="0"/>
              <a:t>Month xx, Year</a:t>
            </a:r>
            <a:endParaRPr lang="en-US"/>
          </a:p>
        </p:txBody>
      </p:sp>
      <p:pic>
        <p:nvPicPr>
          <p:cNvPr id="21" name="Graphic 25">
            <a:extLst>
              <a:ext uri="{FF2B5EF4-FFF2-40B4-BE49-F238E27FC236}">
                <a16:creationId xmlns:a16="http://schemas.microsoft.com/office/drawing/2014/main" id="{5593B607-7B8C-4F6D-8EE2-8FE8C3757D48}"/>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63131" y="1188720"/>
            <a:ext cx="3945226" cy="2560320"/>
          </a:xfrm>
          <a:prstGeom prst="rect">
            <a:avLst/>
          </a:prstGeom>
        </p:spPr>
      </p:pic>
    </p:spTree>
    <p:extLst>
      <p:ext uri="{BB962C8B-B14F-4D97-AF65-F5344CB8AC3E}">
        <p14:creationId xmlns:p14="http://schemas.microsoft.com/office/powerpoint/2010/main" val="26258203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screen">
            <a:extLst>
              <a:ext uri="{28A0092B-C50C-407E-A947-70E740481C1C}">
                <a14:useLocalDpi xmlns:a14="http://schemas.microsoft.com/office/drawing/2010/main"/>
              </a:ext>
            </a:extLst>
          </a:blip>
          <a:srcRect l="46"/>
          <a:stretch/>
        </p:blipFill>
        <p:spPr>
          <a:xfrm>
            <a:off x="5562600" y="0"/>
            <a:ext cx="6629402" cy="6858000"/>
          </a:xfrm>
          <a:prstGeom prst="rect">
            <a:avLst/>
          </a:prstGeom>
        </p:spPr>
      </p:pic>
      <p:pic>
        <p:nvPicPr>
          <p:cNvPr id="14" name="Picture 13">
            <a:extLst>
              <a:ext uri="{FF2B5EF4-FFF2-40B4-BE49-F238E27FC236}">
                <a16:creationId xmlns:a16="http://schemas.microsoft.com/office/drawing/2014/main" id="{48751509-5BC0-40F6-B7D0-C4A89C6ADAFA}"/>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250410010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screen">
            <a:extLst>
              <a:ext uri="{28A0092B-C50C-407E-A947-70E740481C1C}">
                <a14:useLocalDpi xmlns:a14="http://schemas.microsoft.com/office/drawing/2010/main"/>
              </a:ext>
            </a:extLst>
          </a:blip>
          <a:srcRect l="46" b="-46"/>
          <a:stretch/>
        </p:blipFill>
        <p:spPr>
          <a:xfrm>
            <a:off x="5562600" y="0"/>
            <a:ext cx="6629402" cy="6858000"/>
          </a:xfrm>
          <a:prstGeom prst="rect">
            <a:avLst/>
          </a:prstGeom>
        </p:spPr>
      </p:pic>
      <p:pic>
        <p:nvPicPr>
          <p:cNvPr id="14" name="Picture 13">
            <a:extLst>
              <a:ext uri="{FF2B5EF4-FFF2-40B4-BE49-F238E27FC236}">
                <a16:creationId xmlns:a16="http://schemas.microsoft.com/office/drawing/2014/main" id="{48267687-D0EC-41CA-996C-03C5C073BDAF}"/>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116519409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5562599" y="0"/>
            <a:ext cx="6629401" cy="6858000"/>
          </a:xfrm>
          <a:prstGeom prst="rect">
            <a:avLst/>
          </a:prstGeom>
        </p:spPr>
      </p:pic>
      <p:pic>
        <p:nvPicPr>
          <p:cNvPr id="14" name="Picture 13">
            <a:extLst>
              <a:ext uri="{FF2B5EF4-FFF2-40B4-BE49-F238E27FC236}">
                <a16:creationId xmlns:a16="http://schemas.microsoft.com/office/drawing/2014/main" id="{6C449D29-49B8-46B4-9DD4-36CA389235B7}"/>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4275220141"/>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screen">
            <a:extLst>
              <a:ext uri="{28A0092B-C50C-407E-A947-70E740481C1C}">
                <a14:useLocalDpi xmlns:a14="http://schemas.microsoft.com/office/drawing/2010/main"/>
              </a:ext>
            </a:extLst>
          </a:blip>
          <a:srcRect l="10470" r="24468"/>
          <a:stretch/>
        </p:blipFill>
        <p:spPr>
          <a:xfrm>
            <a:off x="5562600" y="0"/>
            <a:ext cx="6629400" cy="6858000"/>
          </a:xfrm>
          <a:prstGeom prst="rect">
            <a:avLst/>
          </a:prstGeom>
        </p:spPr>
      </p:pic>
      <p:pic>
        <p:nvPicPr>
          <p:cNvPr id="15" name="Picture 14">
            <a:extLst>
              <a:ext uri="{FF2B5EF4-FFF2-40B4-BE49-F238E27FC236}">
                <a16:creationId xmlns:a16="http://schemas.microsoft.com/office/drawing/2014/main" id="{644FA1A8-69D6-44EB-8E26-2D57BE0B5291}"/>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1540462382"/>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17" name="Picture 16" descr="A picture containing factory, person, building&#10;&#10;Description automatically generated">
            <a:extLst>
              <a:ext uri="{FF2B5EF4-FFF2-40B4-BE49-F238E27FC236}">
                <a16:creationId xmlns:a16="http://schemas.microsoft.com/office/drawing/2014/main" id="{C0BC02A9-281A-475E-BC56-505505E2B785}"/>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35054"/>
          <a:stretch/>
        </p:blipFill>
        <p:spPr>
          <a:xfrm>
            <a:off x="5587698" y="-3561"/>
            <a:ext cx="6680502" cy="6858000"/>
          </a:xfrm>
          <a:prstGeom prst="rect">
            <a:avLst/>
          </a:prstGeom>
        </p:spPr>
      </p:pic>
      <p:pic>
        <p:nvPicPr>
          <p:cNvPr id="18" name="Picture 17">
            <a:extLst>
              <a:ext uri="{FF2B5EF4-FFF2-40B4-BE49-F238E27FC236}">
                <a16:creationId xmlns:a16="http://schemas.microsoft.com/office/drawing/2014/main" id="{8788AA42-B49B-4DA0-BC2F-C3121A190C47}"/>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3802168696"/>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4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9268" t="46" r="16257" b="-46"/>
          <a:stretch/>
        </p:blipFill>
        <p:spPr>
          <a:xfrm>
            <a:off x="5562600" y="3176"/>
            <a:ext cx="6629400" cy="6854824"/>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88421082"/>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5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a:blip r:embed="rId5"/>
          <a:srcRect l="22800" r="22800"/>
          <a:stretch/>
        </p:blipFill>
        <p:spPr>
          <a:xfrm>
            <a:off x="5562600" y="3176"/>
            <a:ext cx="6629400" cy="6854824"/>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1"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3488212244"/>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6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a:srcRect l="30639" r="14961"/>
          <a:stretch/>
        </p:blipFill>
        <p:spPr>
          <a:xfrm>
            <a:off x="5562600" y="3176"/>
            <a:ext cx="6629400" cy="6854824"/>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1"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3581779568"/>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7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a:blip r:embed="rId5"/>
          <a:srcRect l="22800" r="22800"/>
          <a:stretch/>
        </p:blipFill>
        <p:spPr>
          <a:xfrm>
            <a:off x="5562600" y="3176"/>
            <a:ext cx="6629400" cy="6854824"/>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1"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2116773568"/>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8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a:srcRect l="40838" t="448" r="5031"/>
          <a:stretch/>
        </p:blipFill>
        <p:spPr>
          <a:xfrm>
            <a:off x="5562600" y="0"/>
            <a:ext cx="66294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1"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2063486686"/>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1120121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1" name="Content Placeholder 29">
            <a:extLst>
              <a:ext uri="{FF2B5EF4-FFF2-40B4-BE49-F238E27FC236}">
                <a16:creationId xmlns:a16="http://schemas.microsoft.com/office/drawing/2014/main" id="{70267E7F-1561-45D0-8239-C2F19CAB1D53}"/>
              </a:ext>
            </a:extLst>
          </p:cNvPr>
          <p:cNvSpPr>
            <a:spLocks noGrp="1"/>
          </p:cNvSpPr>
          <p:nvPr>
            <p:ph sz="quarter" idx="10"/>
          </p:nvPr>
        </p:nvSpPr>
        <p:spPr>
          <a:xfrm>
            <a:off x="269239" y="1104900"/>
            <a:ext cx="11617961" cy="4838700"/>
          </a:xfrm>
          <a:prstGeom prst="rect">
            <a:avLst/>
          </a:prstGeom>
        </p:spPr>
        <p:txBody>
          <a:bodyPr lIns="0"/>
          <a:lstStyle>
            <a:lvl1pPr marL="228600" indent="-228600">
              <a:lnSpc>
                <a:spcPct val="100000"/>
              </a:lnSpc>
              <a:spcBef>
                <a:spcPts val="600"/>
              </a:spcBef>
              <a:buClr>
                <a:schemeClr val="tx1"/>
              </a:buClr>
              <a:buSzPct val="90000"/>
              <a:buFont typeface="Wingdings" panose="05000000000000000000" pitchFamily="2" charset="2"/>
              <a:buChar char="§"/>
              <a:defRPr sz="1800" b="0">
                <a:solidFill>
                  <a:schemeClr val="tx1"/>
                </a:solidFill>
                <a:latin typeface="Arial" panose="020B0604020202020204" pitchFamily="34" charset="0"/>
                <a:cs typeface="Arial" panose="020B0604020202020204" pitchFamily="34" charset="0"/>
              </a:defRPr>
            </a:lvl1pPr>
            <a:lvl2pPr marL="457200" indent="-228600">
              <a:lnSpc>
                <a:spcPct val="100000"/>
              </a:lnSpc>
              <a:spcBef>
                <a:spcPts val="600"/>
              </a:spcBef>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685800" indent="-228600">
              <a:lnSpc>
                <a:spcPct val="100000"/>
              </a:lnSpc>
              <a:spcBef>
                <a:spcPts val="600"/>
              </a:spcBef>
              <a:buClr>
                <a:schemeClr val="tx1"/>
              </a:buClr>
              <a:buFont typeface="Symbol" panose="05050102010706020507" pitchFamily="18" charset="2"/>
              <a:buChar char="-"/>
              <a:defRPr sz="1400">
                <a:solidFill>
                  <a:schemeClr val="tx1"/>
                </a:solidFill>
                <a:latin typeface="Arial" panose="020B0604020202020204" pitchFamily="34" charset="0"/>
                <a:cs typeface="Arial" panose="020B0604020202020204" pitchFamily="34" charset="0"/>
              </a:defRPr>
            </a:lvl3pPr>
            <a:lvl4pPr marL="914400" indent="-228600">
              <a:lnSpc>
                <a:spcPct val="100000"/>
              </a:lnSpc>
              <a:spcBef>
                <a:spcPts val="600"/>
              </a:spcBef>
              <a:buClr>
                <a:schemeClr val="tx1"/>
              </a:buClr>
              <a:buFont typeface="Symbol" panose="05050102010706020507" pitchFamily="18" charset="2"/>
              <a:buChar char="-"/>
              <a:defRPr sz="1200">
                <a:solidFill>
                  <a:schemeClr val="tx1"/>
                </a:solidFill>
                <a:latin typeface="Arial" panose="020B0604020202020204" pitchFamily="34" charset="0"/>
                <a:cs typeface="Arial" panose="020B0604020202020204" pitchFamily="34" charset="0"/>
              </a:defRPr>
            </a:lvl4pPr>
            <a:lvl5pPr marL="1143000" indent="-228600">
              <a:lnSpc>
                <a:spcPct val="100000"/>
              </a:lnSpc>
              <a:spcBef>
                <a:spcPts val="600"/>
              </a:spcBef>
              <a:buClr>
                <a:schemeClr val="tx1"/>
              </a:buClr>
              <a:buFont typeface="Symbol" panose="05050102010706020507" pitchFamily="18" charset="2"/>
              <a:buChar char="-"/>
              <a:defRPr sz="11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1" hasCustomPrompt="1"/>
          </p:nvPr>
        </p:nvSpPr>
        <p:spPr>
          <a:xfrm>
            <a:off x="269240" y="6409678"/>
            <a:ext cx="2626360"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a:t>Add Footer Here</a:t>
            </a:r>
          </a:p>
        </p:txBody>
      </p:sp>
      <p:sp>
        <p:nvSpPr>
          <p:cNvPr id="14"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a:t>Click to Edit Header Style</a:t>
            </a:r>
          </a:p>
        </p:txBody>
      </p:sp>
      <p:cxnSp>
        <p:nvCxnSpPr>
          <p:cNvPr id="15" name="Straight Connector 14">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213149"/>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63935560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p:nvSpPr>
        <p:spPr>
          <a:xfrm>
            <a:off x="0" y="0"/>
            <a:ext cx="211667"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000" b="0" i="0" baseline="0">
              <a:solidFill>
                <a:srgbClr val="EEEEEE"/>
              </a:solidFill>
              <a:latin typeface="Roboto Light"/>
              <a:sym typeface="Roboto Light"/>
            </a:endParaRPr>
          </a:p>
        </p:txBody>
      </p:sp>
      <p:sp>
        <p:nvSpPr>
          <p:cNvPr id="10" name="Rectangle 9" hidden="1"/>
          <p:cNvSpPr/>
          <p:nvPr userDrawn="1">
            <p:custDataLst>
              <p:tags r:id="rId2"/>
            </p:custDataLst>
          </p:nvPr>
        </p:nvSpPr>
        <p:spPr>
          <a:xfrm>
            <a:off x="0" y="0"/>
            <a:ext cx="211667"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000" b="0" i="0" baseline="0">
              <a:solidFill>
                <a:srgbClr val="EEEEEE"/>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11" name="Title 1">
            <a:extLst>
              <a:ext uri="{FF2B5EF4-FFF2-40B4-BE49-F238E27FC236}">
                <a16:creationId xmlns:a16="http://schemas.microsoft.com/office/drawing/2014/main" id="{3B517A81-BFFB-45D7-9344-B41D1BB98116}"/>
              </a:ext>
            </a:extLst>
          </p:cNvPr>
          <p:cNvSpPr>
            <a:spLocks noGrp="1"/>
          </p:cNvSpPr>
          <p:nvPr>
            <p:ph type="ctrTitle" hasCustomPrompt="1"/>
          </p:nvPr>
        </p:nvSpPr>
        <p:spPr>
          <a:xfrm>
            <a:off x="609600" y="2438400"/>
            <a:ext cx="10972800" cy="1828800"/>
          </a:xfrm>
          <a:prstGeom prst="rect">
            <a:avLst/>
          </a:prstGeom>
        </p:spPr>
        <p:txBody>
          <a:bodyPr anchor="ctr">
            <a:normAutofit/>
          </a:bodyPr>
          <a:lstStyle>
            <a:lvl1pPr algn="ctr">
              <a:defRPr sz="5000" b="0" i="0" cap="none" spc="-150" baseline="0">
                <a:solidFill>
                  <a:schemeClr val="bg2"/>
                </a:solidFill>
                <a:latin typeface="Arial" panose="020B0604020202020204" pitchFamily="34" charset="0"/>
                <a:ea typeface="Roboto Light" charset="0"/>
                <a:cs typeface="Arial" panose="020B0604020202020204" pitchFamily="34" charset="0"/>
              </a:defRPr>
            </a:lvl1pPr>
          </a:lstStyle>
          <a:p>
            <a:pPr lvl="0"/>
            <a:r>
              <a:rPr lang="en-US"/>
              <a:t>Thank you!</a:t>
            </a:r>
          </a:p>
        </p:txBody>
      </p:sp>
    </p:spTree>
    <p:extLst>
      <p:ext uri="{BB962C8B-B14F-4D97-AF65-F5344CB8AC3E}">
        <p14:creationId xmlns:p14="http://schemas.microsoft.com/office/powerpoint/2010/main" val="6732436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656B54-3ADF-449D-B61C-0E8A3E802AC8}"/>
              </a:ext>
            </a:extLst>
          </p:cNvPr>
          <p:cNvSpPr/>
          <p:nvPr userDrawn="1"/>
        </p:nvSpPr>
        <p:spPr>
          <a:xfrm>
            <a:off x="4234" y="-22110"/>
            <a:ext cx="12187766" cy="5272287"/>
          </a:xfrm>
          <a:prstGeom prst="rect">
            <a:avLst/>
          </a:prstGeom>
          <a:solidFill>
            <a:schemeClr val="accent5">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D7A713FE-72CC-49A1-B4C7-E0FEF00F99B7}"/>
              </a:ext>
            </a:extLst>
          </p:cNvPr>
          <p:cNvSpPr/>
          <p:nvPr userDrawn="1"/>
        </p:nvSpPr>
        <p:spPr>
          <a:xfrm>
            <a:off x="-5003" y="5341616"/>
            <a:ext cx="12197003"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29098710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p:cNvSpPr/>
          <p:nvPr/>
        </p:nvSpPr>
        <p:spPr>
          <a:xfrm>
            <a:off x="0" y="0"/>
            <a:ext cx="211667"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5000" b="0" i="0" baseline="0">
              <a:latin typeface="Roboto Light"/>
              <a:sym typeface="Roboto Light"/>
            </a:endParaRPr>
          </a:p>
        </p:txBody>
      </p:sp>
      <p:sp>
        <p:nvSpPr>
          <p:cNvPr id="14" name="Rectangle 13" hidden="1"/>
          <p:cNvSpPr/>
          <p:nvPr userDrawn="1">
            <p:custDataLst>
              <p:tags r:id="rId2"/>
            </p:custDataLst>
          </p:nvPr>
        </p:nvSpPr>
        <p:spPr>
          <a:xfrm>
            <a:off x="0" y="0"/>
            <a:ext cx="211667"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4000" b="0" i="0" baseline="0">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15" name="Rectangle 14"/>
          <p:cNvSpPr/>
          <p:nvPr userDrawn="1"/>
        </p:nvSpPr>
        <p:spPr>
          <a:xfrm>
            <a:off x="-5003" y="5250176"/>
            <a:ext cx="12197003" cy="9144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
        <p:nvSpPr>
          <p:cNvPr id="17" name="Subtitle 2">
            <a:extLst>
              <a:ext uri="{FF2B5EF4-FFF2-40B4-BE49-F238E27FC236}">
                <a16:creationId xmlns:a16="http://schemas.microsoft.com/office/drawing/2014/main" id="{2D1C2624-DF71-4678-BC19-8D78D599F5EF}"/>
              </a:ext>
            </a:extLst>
          </p:cNvPr>
          <p:cNvSpPr>
            <a:spLocks noGrp="1"/>
          </p:cNvSpPr>
          <p:nvPr>
            <p:ph type="subTitle" idx="1"/>
          </p:nvPr>
        </p:nvSpPr>
        <p:spPr>
          <a:xfrm>
            <a:off x="628650" y="2743200"/>
            <a:ext cx="6410558" cy="1479223"/>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itle 1">
            <a:extLst>
              <a:ext uri="{FF2B5EF4-FFF2-40B4-BE49-F238E27FC236}">
                <a16:creationId xmlns:a16="http://schemas.microsoft.com/office/drawing/2014/main" id="{0C359125-1562-423F-A70A-9900E81B4F77}"/>
              </a:ext>
            </a:extLst>
          </p:cNvPr>
          <p:cNvSpPr>
            <a:spLocks noGrp="1"/>
          </p:cNvSpPr>
          <p:nvPr>
            <p:ph type="ctrTitle"/>
          </p:nvPr>
        </p:nvSpPr>
        <p:spPr>
          <a:xfrm>
            <a:off x="619241" y="685800"/>
            <a:ext cx="6410558" cy="1828800"/>
          </a:xfrm>
          <a:prstGeom prst="rect">
            <a:avLst/>
          </a:prstGeom>
        </p:spPr>
        <p:txBody>
          <a:bodyPr vert="horz" lIns="0" anchor="b">
            <a:normAutofit/>
          </a:bodyPr>
          <a:lstStyle>
            <a:lvl1pPr algn="l">
              <a:lnSpc>
                <a:spcPct val="100000"/>
              </a:lnSpc>
              <a:defRPr sz="4000" b="0" i="0" spc="-150">
                <a:solidFill>
                  <a:schemeClr val="bg2"/>
                </a:solidFill>
                <a:latin typeface="Arial" panose="020B0604020202020204" pitchFamily="34" charset="0"/>
                <a:ea typeface="Roboto Light" charset="0"/>
                <a:cs typeface="Arial" panose="020B0604020202020204" pitchFamily="34" charset="0"/>
              </a:defRPr>
            </a:lvl1pPr>
          </a:lstStyle>
          <a:p>
            <a:r>
              <a:rPr lang="en-US"/>
              <a:t>Click to edit Master title style</a:t>
            </a:r>
          </a:p>
        </p:txBody>
      </p:sp>
      <p:sp>
        <p:nvSpPr>
          <p:cNvPr id="5" name="Text Placeholder 4"/>
          <p:cNvSpPr>
            <a:spLocks noGrp="1"/>
          </p:cNvSpPr>
          <p:nvPr>
            <p:ph type="body" sz="quarter" idx="10" hasCustomPrompt="1"/>
          </p:nvPr>
        </p:nvSpPr>
        <p:spPr>
          <a:xfrm>
            <a:off x="628650" y="4343400"/>
            <a:ext cx="3714750" cy="685800"/>
          </a:xfrm>
          <a:prstGeom prst="rect">
            <a:avLst/>
          </a:prstGeom>
        </p:spPr>
        <p:txBody>
          <a:bodyPr/>
          <a:lstStyle>
            <a:lvl1pPr>
              <a:defRPr sz="1600" b="0">
                <a:solidFill>
                  <a:schemeClr val="tx1"/>
                </a:solidFill>
                <a:latin typeface="Arial" panose="020B0604020202020204" pitchFamily="34" charset="0"/>
                <a:cs typeface="Arial" panose="020B0604020202020204" pitchFamily="34" charset="0"/>
              </a:defRPr>
            </a:lvl1pPr>
            <a:lvl5pPr>
              <a:defRPr sz="1600">
                <a:solidFill>
                  <a:schemeClr val="tx1"/>
                </a:solidFill>
                <a:latin typeface="Arial" panose="020B0604020202020204" pitchFamily="34" charset="0"/>
                <a:cs typeface="Arial" panose="020B0604020202020204" pitchFamily="34" charset="0"/>
              </a:defRPr>
            </a:lvl5pPr>
          </a:lstStyle>
          <a:p>
            <a:pPr lvl="0"/>
            <a:r>
              <a:rPr lang="en-US"/>
              <a:t>Click to add Presenter</a:t>
            </a:r>
            <a:br>
              <a:rPr lang="en-US"/>
            </a:br>
            <a:r>
              <a:rPr lang="en-US" b="0"/>
              <a:t>Month xx, Year</a:t>
            </a:r>
            <a:endParaRPr lang="en-US"/>
          </a:p>
        </p:txBody>
      </p:sp>
      <p:pic>
        <p:nvPicPr>
          <p:cNvPr id="21" name="Graphic 25">
            <a:extLst>
              <a:ext uri="{FF2B5EF4-FFF2-40B4-BE49-F238E27FC236}">
                <a16:creationId xmlns:a16="http://schemas.microsoft.com/office/drawing/2014/main" id="{5593B607-7B8C-4F6D-8EE2-8FE8C3757D48}"/>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63131" y="1188720"/>
            <a:ext cx="3945226" cy="2560320"/>
          </a:xfrm>
          <a:prstGeom prst="rect">
            <a:avLst/>
          </a:prstGeom>
        </p:spPr>
      </p:pic>
    </p:spTree>
    <p:extLst>
      <p:ext uri="{BB962C8B-B14F-4D97-AF65-F5344CB8AC3E}">
        <p14:creationId xmlns:p14="http://schemas.microsoft.com/office/powerpoint/2010/main" val="35972020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1120121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1" name="Content Placeholder 29">
            <a:extLst>
              <a:ext uri="{FF2B5EF4-FFF2-40B4-BE49-F238E27FC236}">
                <a16:creationId xmlns:a16="http://schemas.microsoft.com/office/drawing/2014/main" id="{70267E7F-1561-45D0-8239-C2F19CAB1D53}"/>
              </a:ext>
            </a:extLst>
          </p:cNvPr>
          <p:cNvSpPr>
            <a:spLocks noGrp="1"/>
          </p:cNvSpPr>
          <p:nvPr>
            <p:ph sz="quarter" idx="10"/>
          </p:nvPr>
        </p:nvSpPr>
        <p:spPr>
          <a:xfrm>
            <a:off x="269239" y="1104900"/>
            <a:ext cx="11617961" cy="4838700"/>
          </a:xfrm>
          <a:prstGeom prst="rect">
            <a:avLst/>
          </a:prstGeom>
        </p:spPr>
        <p:txBody>
          <a:bodyPr lIns="0"/>
          <a:lstStyle>
            <a:lvl1pPr marL="228600" indent="-228600">
              <a:lnSpc>
                <a:spcPct val="100000"/>
              </a:lnSpc>
              <a:spcBef>
                <a:spcPts val="600"/>
              </a:spcBef>
              <a:buClr>
                <a:schemeClr val="tx1"/>
              </a:buClr>
              <a:buSzPct val="90000"/>
              <a:buFont typeface="Wingdings" panose="05000000000000000000" pitchFamily="2" charset="2"/>
              <a:buChar char="§"/>
              <a:defRPr sz="1800" b="0">
                <a:solidFill>
                  <a:schemeClr val="tx1"/>
                </a:solidFill>
                <a:latin typeface="Arial" panose="020B0604020202020204" pitchFamily="34" charset="0"/>
                <a:cs typeface="Arial" panose="020B0604020202020204" pitchFamily="34" charset="0"/>
              </a:defRPr>
            </a:lvl1pPr>
            <a:lvl2pPr marL="457200" indent="-228600">
              <a:lnSpc>
                <a:spcPct val="100000"/>
              </a:lnSpc>
              <a:spcBef>
                <a:spcPts val="600"/>
              </a:spcBef>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685800" indent="-228600">
              <a:lnSpc>
                <a:spcPct val="100000"/>
              </a:lnSpc>
              <a:spcBef>
                <a:spcPts val="600"/>
              </a:spcBef>
              <a:buClr>
                <a:schemeClr val="tx1"/>
              </a:buClr>
              <a:buFont typeface="Symbol" panose="05050102010706020507" pitchFamily="18" charset="2"/>
              <a:buChar char="-"/>
              <a:defRPr sz="1400">
                <a:solidFill>
                  <a:schemeClr val="tx1"/>
                </a:solidFill>
                <a:latin typeface="Arial" panose="020B0604020202020204" pitchFamily="34" charset="0"/>
                <a:cs typeface="Arial" panose="020B0604020202020204" pitchFamily="34" charset="0"/>
              </a:defRPr>
            </a:lvl3pPr>
            <a:lvl4pPr marL="914400" indent="-228600">
              <a:lnSpc>
                <a:spcPct val="100000"/>
              </a:lnSpc>
              <a:spcBef>
                <a:spcPts val="600"/>
              </a:spcBef>
              <a:buClr>
                <a:schemeClr val="tx1"/>
              </a:buClr>
              <a:buFont typeface="Symbol" panose="05050102010706020507" pitchFamily="18" charset="2"/>
              <a:buChar char="-"/>
              <a:defRPr sz="1200">
                <a:solidFill>
                  <a:schemeClr val="tx1"/>
                </a:solidFill>
                <a:latin typeface="Arial" panose="020B0604020202020204" pitchFamily="34" charset="0"/>
                <a:cs typeface="Arial" panose="020B0604020202020204" pitchFamily="34" charset="0"/>
              </a:defRPr>
            </a:lvl4pPr>
            <a:lvl5pPr marL="1143000" indent="-228600">
              <a:lnSpc>
                <a:spcPct val="100000"/>
              </a:lnSpc>
              <a:spcBef>
                <a:spcPts val="600"/>
              </a:spcBef>
              <a:buClr>
                <a:schemeClr val="tx1"/>
              </a:buClr>
              <a:buFont typeface="Symbol" panose="05050102010706020507" pitchFamily="18" charset="2"/>
              <a:buChar char="-"/>
              <a:defRPr sz="11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1" hasCustomPrompt="1"/>
          </p:nvPr>
        </p:nvSpPr>
        <p:spPr>
          <a:xfrm>
            <a:off x="269240" y="6409678"/>
            <a:ext cx="2626360"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a:t>Add Footer Here</a:t>
            </a:r>
          </a:p>
        </p:txBody>
      </p:sp>
      <p:sp>
        <p:nvSpPr>
          <p:cNvPr id="14"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a:t>Click to Edit Header Style</a:t>
            </a:r>
          </a:p>
        </p:txBody>
      </p:sp>
      <p:cxnSp>
        <p:nvCxnSpPr>
          <p:cNvPr id="15" name="Straight Connector 14">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5899160"/>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854484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2" name="Text Placeholder 7">
            <a:extLst>
              <a:ext uri="{FF2B5EF4-FFF2-40B4-BE49-F238E27FC236}">
                <a16:creationId xmlns:a16="http://schemas.microsoft.com/office/drawing/2014/main" id="{724803BD-979E-4FCA-88A8-7096D68E6C02}"/>
              </a:ext>
            </a:extLst>
          </p:cNvPr>
          <p:cNvSpPr>
            <a:spLocks noGrp="1"/>
          </p:cNvSpPr>
          <p:nvPr>
            <p:ph type="body" sz="quarter" idx="12" hasCustomPrompt="1"/>
          </p:nvPr>
        </p:nvSpPr>
        <p:spPr>
          <a:xfrm>
            <a:off x="269241" y="5956917"/>
            <a:ext cx="11617960" cy="397305"/>
          </a:xfrm>
          <a:prstGeom prst="rect">
            <a:avLst/>
          </a:prstGeom>
          <a:solidFill>
            <a:schemeClr val="bg2"/>
          </a:solidFill>
        </p:spPr>
        <p:txBody>
          <a:bodyPr anchor="ctr"/>
          <a:lstStyle>
            <a:lvl1pPr algn="ctr">
              <a:defRPr sz="1600">
                <a:solidFill>
                  <a:schemeClr val="accent5"/>
                </a:solidFill>
                <a:latin typeface="Arial" panose="020B0604020202020204" pitchFamily="34" charset="0"/>
                <a:cs typeface="Arial" panose="020B0604020202020204" pitchFamily="34" charset="0"/>
              </a:defRPr>
            </a:lvl1pPr>
          </a:lstStyle>
          <a:p>
            <a:pPr lvl="0"/>
            <a:r>
              <a:rPr lang="en-US"/>
              <a:t>Key takeaway texts</a:t>
            </a:r>
          </a:p>
        </p:txBody>
      </p:sp>
      <p:sp>
        <p:nvSpPr>
          <p:cNvPr id="13" name="Text Placeholder 3"/>
          <p:cNvSpPr>
            <a:spLocks noGrp="1"/>
          </p:cNvSpPr>
          <p:nvPr>
            <p:ph type="body" sz="quarter" idx="11" hasCustomPrompt="1"/>
          </p:nvPr>
        </p:nvSpPr>
        <p:spPr>
          <a:xfrm>
            <a:off x="269241" y="6409678"/>
            <a:ext cx="2626359"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a:t>Add Footer Here</a:t>
            </a:r>
          </a:p>
        </p:txBody>
      </p:sp>
      <p:sp>
        <p:nvSpPr>
          <p:cNvPr id="20"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a:t>Click to Edit Header Style</a:t>
            </a:r>
          </a:p>
        </p:txBody>
      </p:sp>
      <p:sp>
        <p:nvSpPr>
          <p:cNvPr id="10" name="Content Placeholder 29">
            <a:extLst>
              <a:ext uri="{FF2B5EF4-FFF2-40B4-BE49-F238E27FC236}">
                <a16:creationId xmlns:a16="http://schemas.microsoft.com/office/drawing/2014/main" id="{70267E7F-1561-45D0-8239-C2F19CAB1D53}"/>
              </a:ext>
            </a:extLst>
          </p:cNvPr>
          <p:cNvSpPr>
            <a:spLocks noGrp="1"/>
          </p:cNvSpPr>
          <p:nvPr>
            <p:ph sz="quarter" idx="10"/>
          </p:nvPr>
        </p:nvSpPr>
        <p:spPr>
          <a:xfrm>
            <a:off x="269239" y="1104900"/>
            <a:ext cx="11617961" cy="4838700"/>
          </a:xfrm>
          <a:prstGeom prst="rect">
            <a:avLst/>
          </a:prstGeom>
        </p:spPr>
        <p:txBody>
          <a:bodyPr lIns="0"/>
          <a:lstStyle>
            <a:lvl1pPr marL="228600" indent="-228600">
              <a:lnSpc>
                <a:spcPct val="100000"/>
              </a:lnSpc>
              <a:spcBef>
                <a:spcPts val="600"/>
              </a:spcBef>
              <a:buClr>
                <a:schemeClr val="tx1"/>
              </a:buClr>
              <a:buSzPct val="90000"/>
              <a:buFont typeface="Wingdings" panose="05000000000000000000" pitchFamily="2" charset="2"/>
              <a:buChar char="§"/>
              <a:defRPr sz="2000" b="0">
                <a:solidFill>
                  <a:schemeClr val="tx1"/>
                </a:solidFill>
                <a:latin typeface="Arial" panose="020B0604020202020204" pitchFamily="34" charset="0"/>
                <a:cs typeface="Arial" panose="020B0604020202020204" pitchFamily="34" charset="0"/>
              </a:defRPr>
            </a:lvl1pPr>
            <a:lvl2pPr marL="457200" indent="-228600">
              <a:lnSpc>
                <a:spcPct val="100000"/>
              </a:lnSpc>
              <a:spcBef>
                <a:spcPts val="600"/>
              </a:spcBef>
              <a:buClr>
                <a:schemeClr val="tx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2pPr>
            <a:lvl3pPr marL="685800" indent="-228600">
              <a:lnSpc>
                <a:spcPct val="100000"/>
              </a:lnSpc>
              <a:spcBef>
                <a:spcPts val="600"/>
              </a:spcBef>
              <a:buClr>
                <a:schemeClr val="tx1"/>
              </a:buClr>
              <a:buFont typeface="Symbol" panose="05050102010706020507" pitchFamily="18" charset="2"/>
              <a:buChar char="-"/>
              <a:defRPr sz="1600">
                <a:solidFill>
                  <a:schemeClr val="tx1"/>
                </a:solidFill>
                <a:latin typeface="Arial" panose="020B0604020202020204" pitchFamily="34" charset="0"/>
                <a:cs typeface="Arial" panose="020B0604020202020204" pitchFamily="34" charset="0"/>
              </a:defRPr>
            </a:lvl3pPr>
            <a:lvl4pPr marL="914400" indent="-228600">
              <a:lnSpc>
                <a:spcPct val="100000"/>
              </a:lnSpc>
              <a:spcBef>
                <a:spcPts val="600"/>
              </a:spcBef>
              <a:buClr>
                <a:schemeClr val="tx1"/>
              </a:buClr>
              <a:buFont typeface="Symbol" panose="05050102010706020507" pitchFamily="18" charset="2"/>
              <a:buChar char="-"/>
              <a:defRPr sz="1400">
                <a:solidFill>
                  <a:schemeClr val="tx1"/>
                </a:solidFill>
                <a:latin typeface="Arial" panose="020B0604020202020204" pitchFamily="34" charset="0"/>
                <a:cs typeface="Arial" panose="020B0604020202020204" pitchFamily="34" charset="0"/>
              </a:defRPr>
            </a:lvl4pPr>
            <a:lvl5pPr marL="1143000" indent="-228600">
              <a:lnSpc>
                <a:spcPct val="100000"/>
              </a:lnSpc>
              <a:spcBef>
                <a:spcPts val="600"/>
              </a:spcBef>
              <a:buClr>
                <a:schemeClr val="tx1"/>
              </a:buClr>
              <a:buFont typeface="Symbol" panose="05050102010706020507" pitchFamily="18" charset="2"/>
              <a:buChar char="-"/>
              <a:defRPr sz="12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8442949"/>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75945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2" name="Text Placeholder 7">
            <a:extLst>
              <a:ext uri="{FF2B5EF4-FFF2-40B4-BE49-F238E27FC236}">
                <a16:creationId xmlns:a16="http://schemas.microsoft.com/office/drawing/2014/main" id="{724803BD-979E-4FCA-88A8-7096D68E6C02}"/>
              </a:ext>
            </a:extLst>
          </p:cNvPr>
          <p:cNvSpPr>
            <a:spLocks noGrp="1"/>
          </p:cNvSpPr>
          <p:nvPr>
            <p:ph type="body" sz="quarter" idx="12" hasCustomPrompt="1"/>
          </p:nvPr>
        </p:nvSpPr>
        <p:spPr>
          <a:xfrm>
            <a:off x="269239" y="5956917"/>
            <a:ext cx="11617961" cy="397305"/>
          </a:xfrm>
          <a:prstGeom prst="rect">
            <a:avLst/>
          </a:prstGeom>
          <a:solidFill>
            <a:schemeClr val="bg2"/>
          </a:solidFill>
        </p:spPr>
        <p:txBody>
          <a:bodyPr anchor="ctr"/>
          <a:lstStyle>
            <a:lvl1pPr algn="ctr">
              <a:defRPr sz="1600">
                <a:solidFill>
                  <a:schemeClr val="accent5"/>
                </a:solidFill>
                <a:latin typeface="Arial" panose="020B0604020202020204" pitchFamily="34" charset="0"/>
                <a:cs typeface="Arial" panose="020B0604020202020204" pitchFamily="34" charset="0"/>
              </a:defRPr>
            </a:lvl1pPr>
          </a:lstStyle>
          <a:p>
            <a:pPr lvl="0"/>
            <a:r>
              <a:rPr lang="en-US"/>
              <a:t>Key takeaway texts</a:t>
            </a:r>
          </a:p>
        </p:txBody>
      </p:sp>
      <p:sp>
        <p:nvSpPr>
          <p:cNvPr id="13" name="Text Placeholder 3"/>
          <p:cNvSpPr>
            <a:spLocks noGrp="1"/>
          </p:cNvSpPr>
          <p:nvPr>
            <p:ph type="body" sz="quarter" idx="11" hasCustomPrompt="1"/>
          </p:nvPr>
        </p:nvSpPr>
        <p:spPr>
          <a:xfrm>
            <a:off x="269240" y="6409678"/>
            <a:ext cx="2626360"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a:t>Add Footer Here</a:t>
            </a:r>
          </a:p>
        </p:txBody>
      </p:sp>
      <p:sp>
        <p:nvSpPr>
          <p:cNvPr id="20"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a:t>Click to Edit Header Style</a:t>
            </a:r>
          </a:p>
        </p:txBody>
      </p:sp>
      <p:cxnSp>
        <p:nvCxnSpPr>
          <p:cNvPr id="14" name="Straight Connector 13">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5923159"/>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990111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2" name="Text Placeholder 3"/>
          <p:cNvSpPr>
            <a:spLocks noGrp="1"/>
          </p:cNvSpPr>
          <p:nvPr>
            <p:ph type="body" sz="quarter" idx="11" hasCustomPrompt="1"/>
          </p:nvPr>
        </p:nvSpPr>
        <p:spPr>
          <a:xfrm>
            <a:off x="269240" y="6409678"/>
            <a:ext cx="2626360"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a:t>Add Footer Here</a:t>
            </a:r>
          </a:p>
        </p:txBody>
      </p:sp>
      <p:sp>
        <p:nvSpPr>
          <p:cNvPr id="14"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a:t>Click to Edit Header Style</a:t>
            </a:r>
          </a:p>
        </p:txBody>
      </p:sp>
      <p:cxnSp>
        <p:nvCxnSpPr>
          <p:cNvPr id="11" name="Straight Connector 10">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5469342"/>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7_Text Slide 2 (White)">
    <p:spTree>
      <p:nvGrpSpPr>
        <p:cNvPr id="1" name=""/>
        <p:cNvGrpSpPr/>
        <p:nvPr/>
      </p:nvGrpSpPr>
      <p:grpSpPr>
        <a:xfrm>
          <a:off x="0" y="0"/>
          <a:ext cx="0" cy="0"/>
          <a:chOff x="0" y="0"/>
          <a:chExt cx="0" cy="0"/>
        </a:xfrm>
      </p:grpSpPr>
      <p:pic>
        <p:nvPicPr>
          <p:cNvPr id="28" name="Picture 27" descr="A train pulling into a station&#10;&#10;Description automatically generated">
            <a:extLst>
              <a:ext uri="{FF2B5EF4-FFF2-40B4-BE49-F238E27FC236}">
                <a16:creationId xmlns:a16="http://schemas.microsoft.com/office/drawing/2014/main" id="{0F9D245B-50A5-4F55-B7FD-CD9F119E2BF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587698" y="0"/>
            <a:ext cx="6626327" cy="6861176"/>
          </a:xfrm>
          <a:prstGeom prst="rect">
            <a:avLst/>
          </a:prstGeom>
        </p:spPr>
      </p:pic>
      <p:sp>
        <p:nvSpPr>
          <p:cNvPr id="12" name="Rectangle 11">
            <a:extLst>
              <a:ext uri="{FF2B5EF4-FFF2-40B4-BE49-F238E27FC236}">
                <a16:creationId xmlns:a16="http://schemas.microsoft.com/office/drawing/2014/main" id="{4A2CBA38-23C3-42D7-9481-1BF3F89CD595}"/>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1" name="Title 1">
            <a:extLst>
              <a:ext uri="{FF2B5EF4-FFF2-40B4-BE49-F238E27FC236}">
                <a16:creationId xmlns:a16="http://schemas.microsoft.com/office/drawing/2014/main" id="{6DE4B844-16E0-4313-B497-9312C6CCFF72}"/>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2" name="Subtitle 2">
            <a:extLst>
              <a:ext uri="{FF2B5EF4-FFF2-40B4-BE49-F238E27FC236}">
                <a16:creationId xmlns:a16="http://schemas.microsoft.com/office/drawing/2014/main" id="{960926CA-791C-45A0-A78A-3FC27462DAF7}"/>
              </a:ext>
            </a:extLst>
          </p:cNvPr>
          <p:cNvSpPr>
            <a:spLocks noGrp="1"/>
          </p:cNvSpPr>
          <p:nvPr userDrawn="1">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4" name="Straight Connector 3">
            <a:extLst>
              <a:ext uri="{FF2B5EF4-FFF2-40B4-BE49-F238E27FC236}">
                <a16:creationId xmlns:a16="http://schemas.microsoft.com/office/drawing/2014/main" id="{4821185B-1797-45C5-B4DB-6C99EE6607DF}"/>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938211B-2771-4719-BECE-639B4DBA7B9E}"/>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
        <p:nvSpPr>
          <p:cNvPr id="7" name="Rectangle 6">
            <a:extLst>
              <a:ext uri="{FF2B5EF4-FFF2-40B4-BE49-F238E27FC236}">
                <a16:creationId xmlns:a16="http://schemas.microsoft.com/office/drawing/2014/main" id="{AD231E3E-3101-488B-A6C4-154FBC6326A8}"/>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
        <p:nvSpPr>
          <p:cNvPr id="13"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pic>
        <p:nvPicPr>
          <p:cNvPr id="14" name="Graphic 29">
            <a:extLst>
              <a:ext uri="{FF2B5EF4-FFF2-40B4-BE49-F238E27FC236}">
                <a16:creationId xmlns:a16="http://schemas.microsoft.com/office/drawing/2014/main" id="{39138CE9-55B8-4B64-BFA2-0F2482A5EF3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Tree>
    <p:extLst>
      <p:ext uri="{BB962C8B-B14F-4D97-AF65-F5344CB8AC3E}">
        <p14:creationId xmlns:p14="http://schemas.microsoft.com/office/powerpoint/2010/main" val="346793012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9FBDC9C5-66D4-49B8-83BE-6DD040BD155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8E15234A-4115-4590-A241-751A4900AB02}"/>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6D78D08C-E336-47D6-BCD6-678A83F384D0}"/>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A5678EDC-28E0-4275-8812-63FB5DEBA38F}"/>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6CD80A44-7877-4362-9770-DE48981EA557}"/>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39138CE9-55B8-4B64-BFA2-0F2482A5EF39}"/>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2" name="Rectangle 31">
            <a:extLst>
              <a:ext uri="{FF2B5EF4-FFF2-40B4-BE49-F238E27FC236}">
                <a16:creationId xmlns:a16="http://schemas.microsoft.com/office/drawing/2014/main" id="{8F737D29-A1BD-4899-9E1C-DAFBA9AAB537}"/>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
        <p:nvSpPr>
          <p:cNvPr id="13"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pic>
        <p:nvPicPr>
          <p:cNvPr id="14" name="Picture 13"/>
          <p:cNvPicPr>
            <a:picLocks noChangeAspect="1"/>
          </p:cNvPicPr>
          <p:nvPr userDrawn="1"/>
        </p:nvPicPr>
        <p:blipFill rotWithShape="1">
          <a:blip r:embed="rId10" cstate="hqprint">
            <a:extLst>
              <a:ext uri="{28A0092B-C50C-407E-A947-70E740481C1C}">
                <a14:useLocalDpi xmlns:a14="http://schemas.microsoft.com/office/drawing/2010/main"/>
              </a:ext>
            </a:extLst>
          </a:blip>
          <a:srcRect l="422" t="376" b="-46"/>
          <a:stretch/>
        </p:blipFill>
        <p:spPr>
          <a:xfrm>
            <a:off x="5562600" y="0"/>
            <a:ext cx="6629402" cy="6858000"/>
          </a:xfrm>
          <a:prstGeom prst="rect">
            <a:avLst/>
          </a:prstGeom>
        </p:spPr>
      </p:pic>
      <p:pic>
        <p:nvPicPr>
          <p:cNvPr id="15" name="Picture 14">
            <a:extLst>
              <a:ext uri="{FF2B5EF4-FFF2-40B4-BE49-F238E27FC236}">
                <a16:creationId xmlns:a16="http://schemas.microsoft.com/office/drawing/2014/main" id="{CBF90BA6-15C2-4C74-8988-141BBF9F07D6}"/>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434551069"/>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2_Text Slide 2 (White)">
    <p:spTree>
      <p:nvGrpSpPr>
        <p:cNvPr id="1" name=""/>
        <p:cNvGrpSpPr/>
        <p:nvPr/>
      </p:nvGrpSpPr>
      <p:grpSpPr>
        <a:xfrm>
          <a:off x="0" y="0"/>
          <a:ext cx="0" cy="0"/>
          <a:chOff x="0" y="0"/>
          <a:chExt cx="0" cy="0"/>
        </a:xfrm>
      </p:grpSpPr>
      <p:pic>
        <p:nvPicPr>
          <p:cNvPr id="8" name="Picture 7" descr="A view of a city&#10;&#10;Description automatically generated">
            <a:extLst>
              <a:ext uri="{FF2B5EF4-FFF2-40B4-BE49-F238E27FC236}">
                <a16:creationId xmlns:a16="http://schemas.microsoft.com/office/drawing/2014/main" id="{C145E3EE-C35F-4A42-9BFC-DA13C2703B7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562600" y="3176"/>
            <a:ext cx="6626328" cy="6854824"/>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
        <p:nvSpPr>
          <p:cNvPr id="13"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Tree>
    <p:extLst>
      <p:ext uri="{BB962C8B-B14F-4D97-AF65-F5344CB8AC3E}">
        <p14:creationId xmlns:p14="http://schemas.microsoft.com/office/powerpoint/2010/main" val="4035977711"/>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9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5562600" y="0"/>
            <a:ext cx="6629400" cy="6858000"/>
          </a:xfrm>
          <a:prstGeom prst="rect">
            <a:avLst/>
          </a:prstGeom>
        </p:spPr>
      </p:pic>
      <p:pic>
        <p:nvPicPr>
          <p:cNvPr id="15" name="Picture 14">
            <a:extLst>
              <a:ext uri="{FF2B5EF4-FFF2-40B4-BE49-F238E27FC236}">
                <a16:creationId xmlns:a16="http://schemas.microsoft.com/office/drawing/2014/main" id="{2173D5C8-0C46-488C-BBED-0D0571C9C9C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pic>
        <p:nvPicPr>
          <p:cNvPr id="16" name="Graphic 29">
            <a:extLst>
              <a:ext uri="{FF2B5EF4-FFF2-40B4-BE49-F238E27FC236}">
                <a16:creationId xmlns:a16="http://schemas.microsoft.com/office/drawing/2014/main" id="{39138CE9-55B8-4B64-BFA2-0F2482A5EF3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Tree>
    <p:extLst>
      <p:ext uri="{BB962C8B-B14F-4D97-AF65-F5344CB8AC3E}">
        <p14:creationId xmlns:p14="http://schemas.microsoft.com/office/powerpoint/2010/main" val="3306074460"/>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854484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2" name="Text Placeholder 7">
            <a:extLst>
              <a:ext uri="{FF2B5EF4-FFF2-40B4-BE49-F238E27FC236}">
                <a16:creationId xmlns:a16="http://schemas.microsoft.com/office/drawing/2014/main" id="{724803BD-979E-4FCA-88A8-7096D68E6C02}"/>
              </a:ext>
            </a:extLst>
          </p:cNvPr>
          <p:cNvSpPr>
            <a:spLocks noGrp="1"/>
          </p:cNvSpPr>
          <p:nvPr>
            <p:ph type="body" sz="quarter" idx="12" hasCustomPrompt="1"/>
          </p:nvPr>
        </p:nvSpPr>
        <p:spPr>
          <a:xfrm>
            <a:off x="269241" y="5956917"/>
            <a:ext cx="11617960" cy="397305"/>
          </a:xfrm>
          <a:prstGeom prst="rect">
            <a:avLst/>
          </a:prstGeom>
          <a:solidFill>
            <a:schemeClr val="bg2"/>
          </a:solidFill>
        </p:spPr>
        <p:txBody>
          <a:bodyPr anchor="ctr"/>
          <a:lstStyle>
            <a:lvl1pPr algn="ctr">
              <a:defRPr sz="1600">
                <a:solidFill>
                  <a:schemeClr val="accent5"/>
                </a:solidFill>
                <a:latin typeface="Arial" panose="020B0604020202020204" pitchFamily="34" charset="0"/>
                <a:cs typeface="Arial" panose="020B0604020202020204" pitchFamily="34" charset="0"/>
              </a:defRPr>
            </a:lvl1pPr>
          </a:lstStyle>
          <a:p>
            <a:pPr lvl="0"/>
            <a:r>
              <a:rPr lang="en-US"/>
              <a:t>Key takeaway texts</a:t>
            </a:r>
          </a:p>
        </p:txBody>
      </p:sp>
      <p:sp>
        <p:nvSpPr>
          <p:cNvPr id="13" name="Text Placeholder 3"/>
          <p:cNvSpPr>
            <a:spLocks noGrp="1"/>
          </p:cNvSpPr>
          <p:nvPr>
            <p:ph type="body" sz="quarter" idx="11" hasCustomPrompt="1"/>
          </p:nvPr>
        </p:nvSpPr>
        <p:spPr>
          <a:xfrm>
            <a:off x="269241" y="6409678"/>
            <a:ext cx="2626359"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a:t>Add Footer Here</a:t>
            </a:r>
          </a:p>
        </p:txBody>
      </p:sp>
      <p:sp>
        <p:nvSpPr>
          <p:cNvPr id="20"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a:t>Click to Edit Header Style</a:t>
            </a:r>
          </a:p>
        </p:txBody>
      </p:sp>
      <p:sp>
        <p:nvSpPr>
          <p:cNvPr id="10" name="Content Placeholder 29">
            <a:extLst>
              <a:ext uri="{FF2B5EF4-FFF2-40B4-BE49-F238E27FC236}">
                <a16:creationId xmlns:a16="http://schemas.microsoft.com/office/drawing/2014/main" id="{70267E7F-1561-45D0-8239-C2F19CAB1D53}"/>
              </a:ext>
            </a:extLst>
          </p:cNvPr>
          <p:cNvSpPr>
            <a:spLocks noGrp="1"/>
          </p:cNvSpPr>
          <p:nvPr>
            <p:ph sz="quarter" idx="10"/>
          </p:nvPr>
        </p:nvSpPr>
        <p:spPr>
          <a:xfrm>
            <a:off x="269239" y="1104900"/>
            <a:ext cx="11617961" cy="4838700"/>
          </a:xfrm>
          <a:prstGeom prst="rect">
            <a:avLst/>
          </a:prstGeom>
        </p:spPr>
        <p:txBody>
          <a:bodyPr lIns="0"/>
          <a:lstStyle>
            <a:lvl1pPr marL="228600" indent="-228600">
              <a:lnSpc>
                <a:spcPct val="100000"/>
              </a:lnSpc>
              <a:spcBef>
                <a:spcPts val="600"/>
              </a:spcBef>
              <a:buClr>
                <a:schemeClr val="tx1"/>
              </a:buClr>
              <a:buSzPct val="90000"/>
              <a:buFont typeface="Wingdings" panose="05000000000000000000" pitchFamily="2" charset="2"/>
              <a:buChar char="§"/>
              <a:defRPr sz="2000" b="0">
                <a:solidFill>
                  <a:schemeClr val="tx1"/>
                </a:solidFill>
                <a:latin typeface="Arial" panose="020B0604020202020204" pitchFamily="34" charset="0"/>
                <a:cs typeface="Arial" panose="020B0604020202020204" pitchFamily="34" charset="0"/>
              </a:defRPr>
            </a:lvl1pPr>
            <a:lvl2pPr marL="457200" indent="-228600">
              <a:lnSpc>
                <a:spcPct val="100000"/>
              </a:lnSpc>
              <a:spcBef>
                <a:spcPts val="600"/>
              </a:spcBef>
              <a:buClr>
                <a:schemeClr val="tx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2pPr>
            <a:lvl3pPr marL="685800" indent="-228600">
              <a:lnSpc>
                <a:spcPct val="100000"/>
              </a:lnSpc>
              <a:spcBef>
                <a:spcPts val="600"/>
              </a:spcBef>
              <a:buClr>
                <a:schemeClr val="tx1"/>
              </a:buClr>
              <a:buFont typeface="Symbol" panose="05050102010706020507" pitchFamily="18" charset="2"/>
              <a:buChar char="-"/>
              <a:defRPr sz="1600">
                <a:solidFill>
                  <a:schemeClr val="tx1"/>
                </a:solidFill>
                <a:latin typeface="Arial" panose="020B0604020202020204" pitchFamily="34" charset="0"/>
                <a:cs typeface="Arial" panose="020B0604020202020204" pitchFamily="34" charset="0"/>
              </a:defRPr>
            </a:lvl3pPr>
            <a:lvl4pPr marL="914400" indent="-228600">
              <a:lnSpc>
                <a:spcPct val="100000"/>
              </a:lnSpc>
              <a:spcBef>
                <a:spcPts val="600"/>
              </a:spcBef>
              <a:buClr>
                <a:schemeClr val="tx1"/>
              </a:buClr>
              <a:buFont typeface="Symbol" panose="05050102010706020507" pitchFamily="18" charset="2"/>
              <a:buChar char="-"/>
              <a:defRPr sz="1400">
                <a:solidFill>
                  <a:schemeClr val="tx1"/>
                </a:solidFill>
                <a:latin typeface="Arial" panose="020B0604020202020204" pitchFamily="34" charset="0"/>
                <a:cs typeface="Arial" panose="020B0604020202020204" pitchFamily="34" charset="0"/>
              </a:defRPr>
            </a:lvl4pPr>
            <a:lvl5pPr marL="1143000" indent="-228600">
              <a:lnSpc>
                <a:spcPct val="100000"/>
              </a:lnSpc>
              <a:spcBef>
                <a:spcPts val="600"/>
              </a:spcBef>
              <a:buClr>
                <a:schemeClr val="tx1"/>
              </a:buClr>
              <a:buFont typeface="Symbol" panose="05050102010706020507" pitchFamily="18" charset="2"/>
              <a:buChar char="-"/>
              <a:defRPr sz="12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259303"/>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email">
            <a:extLst>
              <a:ext uri="{28A0092B-C50C-407E-A947-70E740481C1C}">
                <a14:useLocalDpi xmlns:a14="http://schemas.microsoft.com/office/drawing/2010/main"/>
              </a:ext>
            </a:extLst>
          </a:blip>
          <a:srcRect l="279" t="233"/>
          <a:stretch/>
        </p:blipFill>
        <p:spPr>
          <a:xfrm>
            <a:off x="5562600" y="0"/>
            <a:ext cx="6629402" cy="6858000"/>
          </a:xfrm>
          <a:prstGeom prst="rect">
            <a:avLst/>
          </a:prstGeom>
        </p:spPr>
      </p:pic>
      <p:pic>
        <p:nvPicPr>
          <p:cNvPr id="14" name="Picture 13">
            <a:extLst>
              <a:ext uri="{FF2B5EF4-FFF2-40B4-BE49-F238E27FC236}">
                <a16:creationId xmlns:a16="http://schemas.microsoft.com/office/drawing/2014/main" id="{48751509-5BC0-40F6-B7D0-C4A89C6ADAF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2657412267"/>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8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562600" y="0"/>
            <a:ext cx="66294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2351260"/>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09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562600" y="0"/>
            <a:ext cx="66294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8534701"/>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10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562600" y="0"/>
            <a:ext cx="66294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3879126"/>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11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5562600" y="-7342"/>
            <a:ext cx="66294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8961782"/>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3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46"/>
          <a:stretch/>
        </p:blipFill>
        <p:spPr>
          <a:xfrm>
            <a:off x="5562600" y="0"/>
            <a:ext cx="66294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61391048"/>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5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562600" y="0"/>
            <a:ext cx="66294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838090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0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email">
            <a:extLst>
              <a:ext uri="{28A0092B-C50C-407E-A947-70E740481C1C}">
                <a14:useLocalDpi xmlns:a14="http://schemas.microsoft.com/office/drawing/2010/main"/>
              </a:ext>
            </a:extLst>
          </a:blip>
          <a:srcRect l="396" t="349" r="-1"/>
          <a:stretch/>
        </p:blipFill>
        <p:spPr>
          <a:xfrm>
            <a:off x="5562599" y="0"/>
            <a:ext cx="6629401" cy="6858001"/>
          </a:xfrm>
          <a:prstGeom prst="rect">
            <a:avLst/>
          </a:prstGeom>
        </p:spPr>
      </p:pic>
      <p:pic>
        <p:nvPicPr>
          <p:cNvPr id="14" name="Picture 13">
            <a:extLst>
              <a:ext uri="{FF2B5EF4-FFF2-40B4-BE49-F238E27FC236}">
                <a16:creationId xmlns:a16="http://schemas.microsoft.com/office/drawing/2014/main" id="{6C449D29-49B8-46B4-9DD4-36CA389235B7}"/>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929160840"/>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5562599" y="0"/>
            <a:ext cx="6629401" cy="6858000"/>
          </a:xfrm>
          <a:prstGeom prst="rect">
            <a:avLst/>
          </a:prstGeom>
        </p:spPr>
      </p:pic>
      <p:pic>
        <p:nvPicPr>
          <p:cNvPr id="14" name="Picture 13">
            <a:extLst>
              <a:ext uri="{FF2B5EF4-FFF2-40B4-BE49-F238E27FC236}">
                <a16:creationId xmlns:a16="http://schemas.microsoft.com/office/drawing/2014/main" id="{6C449D29-49B8-46B4-9DD4-36CA389235B7}"/>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3797321817"/>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email">
            <a:extLst>
              <a:ext uri="{28A0092B-C50C-407E-A947-70E740481C1C}">
                <a14:useLocalDpi xmlns:a14="http://schemas.microsoft.com/office/drawing/2010/main"/>
              </a:ext>
            </a:extLst>
          </a:blip>
          <a:srcRect l="454" t="408" b="-1"/>
          <a:stretch/>
        </p:blipFill>
        <p:spPr>
          <a:xfrm>
            <a:off x="5562600" y="0"/>
            <a:ext cx="6629402" cy="6858000"/>
          </a:xfrm>
          <a:prstGeom prst="rect">
            <a:avLst/>
          </a:prstGeom>
        </p:spPr>
      </p:pic>
      <p:pic>
        <p:nvPicPr>
          <p:cNvPr id="14" name="Picture 13">
            <a:extLst>
              <a:ext uri="{FF2B5EF4-FFF2-40B4-BE49-F238E27FC236}">
                <a16:creationId xmlns:a16="http://schemas.microsoft.com/office/drawing/2014/main" id="{48267687-D0EC-41CA-996C-03C5C073BDAF}"/>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3878462802"/>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75945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2" name="Text Placeholder 7">
            <a:extLst>
              <a:ext uri="{FF2B5EF4-FFF2-40B4-BE49-F238E27FC236}">
                <a16:creationId xmlns:a16="http://schemas.microsoft.com/office/drawing/2014/main" id="{724803BD-979E-4FCA-88A8-7096D68E6C02}"/>
              </a:ext>
            </a:extLst>
          </p:cNvPr>
          <p:cNvSpPr>
            <a:spLocks noGrp="1"/>
          </p:cNvSpPr>
          <p:nvPr>
            <p:ph type="body" sz="quarter" idx="12" hasCustomPrompt="1"/>
          </p:nvPr>
        </p:nvSpPr>
        <p:spPr>
          <a:xfrm>
            <a:off x="269239" y="5956917"/>
            <a:ext cx="11617961" cy="397305"/>
          </a:xfrm>
          <a:prstGeom prst="rect">
            <a:avLst/>
          </a:prstGeom>
          <a:solidFill>
            <a:schemeClr val="bg2"/>
          </a:solidFill>
        </p:spPr>
        <p:txBody>
          <a:bodyPr anchor="ctr"/>
          <a:lstStyle>
            <a:lvl1pPr algn="ctr">
              <a:defRPr sz="1600">
                <a:solidFill>
                  <a:schemeClr val="accent5"/>
                </a:solidFill>
                <a:latin typeface="Arial" panose="020B0604020202020204" pitchFamily="34" charset="0"/>
                <a:cs typeface="Arial" panose="020B0604020202020204" pitchFamily="34" charset="0"/>
              </a:defRPr>
            </a:lvl1pPr>
          </a:lstStyle>
          <a:p>
            <a:pPr lvl="0"/>
            <a:r>
              <a:rPr lang="en-US"/>
              <a:t>Key takeaway texts</a:t>
            </a:r>
          </a:p>
        </p:txBody>
      </p:sp>
      <p:sp>
        <p:nvSpPr>
          <p:cNvPr id="13" name="Text Placeholder 3"/>
          <p:cNvSpPr>
            <a:spLocks noGrp="1"/>
          </p:cNvSpPr>
          <p:nvPr>
            <p:ph type="body" sz="quarter" idx="11" hasCustomPrompt="1"/>
          </p:nvPr>
        </p:nvSpPr>
        <p:spPr>
          <a:xfrm>
            <a:off x="269240" y="6409678"/>
            <a:ext cx="2626360"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a:t>Add Footer Here</a:t>
            </a:r>
          </a:p>
        </p:txBody>
      </p:sp>
      <p:sp>
        <p:nvSpPr>
          <p:cNvPr id="20"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a:t>Click to Edit Header Style</a:t>
            </a:r>
          </a:p>
        </p:txBody>
      </p:sp>
      <p:cxnSp>
        <p:nvCxnSpPr>
          <p:cNvPr id="14" name="Straight Connector 13">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3423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4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D241360B-FB54-4ECB-A87E-B9DE49D2E774}"/>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5562600" y="0"/>
            <a:ext cx="6629402" cy="6858000"/>
          </a:xfrm>
          <a:prstGeom prst="rect">
            <a:avLst/>
          </a:prstGeom>
        </p:spPr>
      </p:pic>
      <p:pic>
        <p:nvPicPr>
          <p:cNvPr id="15" name="Picture 14">
            <a:extLst>
              <a:ext uri="{FF2B5EF4-FFF2-40B4-BE49-F238E27FC236}">
                <a16:creationId xmlns:a16="http://schemas.microsoft.com/office/drawing/2014/main" id="{0D127588-5C81-432C-92C1-DD074C575E95}"/>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1629908332"/>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6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16" name="Picture 15" descr="A city with tall buildings&#10;&#10;Description automatically generated with medium confidence">
            <a:extLst>
              <a:ext uri="{FF2B5EF4-FFF2-40B4-BE49-F238E27FC236}">
                <a16:creationId xmlns:a16="http://schemas.microsoft.com/office/drawing/2014/main" id="{5059CAE5-E73F-4799-BD7B-B36B9AEBCAFB}"/>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l="10074" t="468" r="26408" b="1096"/>
          <a:stretch/>
        </p:blipFill>
        <p:spPr>
          <a:xfrm>
            <a:off x="5561080" y="0"/>
            <a:ext cx="6630920" cy="6857999"/>
          </a:xfrm>
          <a:prstGeom prst="rect">
            <a:avLst/>
          </a:prstGeom>
        </p:spPr>
      </p:pic>
      <p:pic>
        <p:nvPicPr>
          <p:cNvPr id="14" name="Picture 13">
            <a:extLst>
              <a:ext uri="{FF2B5EF4-FFF2-40B4-BE49-F238E27FC236}">
                <a16:creationId xmlns:a16="http://schemas.microsoft.com/office/drawing/2014/main" id="{033ED044-011D-4171-B76E-4839B5CAB394}"/>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2059457050"/>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17" name="Picture 16" descr="A picture containing text&#10;&#10;Description automatically generated">
            <a:extLst>
              <a:ext uri="{FF2B5EF4-FFF2-40B4-BE49-F238E27FC236}">
                <a16:creationId xmlns:a16="http://schemas.microsoft.com/office/drawing/2014/main" id="{13A6B312-9993-4964-AC94-D61CF4DCFCC6}"/>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l="9752" t="1043" r="51300" b="5039"/>
          <a:stretch/>
        </p:blipFill>
        <p:spPr>
          <a:xfrm>
            <a:off x="5559560" y="0"/>
            <a:ext cx="6683541" cy="6858000"/>
          </a:xfrm>
          <a:prstGeom prst="rect">
            <a:avLst/>
          </a:prstGeom>
        </p:spPr>
      </p:pic>
      <p:pic>
        <p:nvPicPr>
          <p:cNvPr id="14" name="Picture 13">
            <a:extLst>
              <a:ext uri="{FF2B5EF4-FFF2-40B4-BE49-F238E27FC236}">
                <a16:creationId xmlns:a16="http://schemas.microsoft.com/office/drawing/2014/main" id="{57A9ED0E-635D-46A3-A7E0-C09F76EC224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107966891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4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16" name="Picture 15" descr="A picture containing building, outdoor, station&#10;&#10;Description automatically generated">
            <a:extLst>
              <a:ext uri="{FF2B5EF4-FFF2-40B4-BE49-F238E27FC236}">
                <a16:creationId xmlns:a16="http://schemas.microsoft.com/office/drawing/2014/main" id="{17C54287-8DD3-4B32-A9F5-5AE1429F0D61}"/>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l="3412" r="32098"/>
          <a:stretch/>
        </p:blipFill>
        <p:spPr>
          <a:xfrm>
            <a:off x="5558040" y="0"/>
            <a:ext cx="6633960" cy="6858000"/>
          </a:xfrm>
          <a:prstGeom prst="rect">
            <a:avLst/>
          </a:prstGeom>
        </p:spPr>
      </p:pic>
      <p:pic>
        <p:nvPicPr>
          <p:cNvPr id="14" name="Picture 13">
            <a:extLst>
              <a:ext uri="{FF2B5EF4-FFF2-40B4-BE49-F238E27FC236}">
                <a16:creationId xmlns:a16="http://schemas.microsoft.com/office/drawing/2014/main" id="{C46F8796-A830-449F-A7AB-159DCF7B21C7}"/>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2349685378"/>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1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67602"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17" name="Picture 16" descr="A picture containing factory, building&#10;&#10;Description automatically generated">
            <a:extLst>
              <a:ext uri="{FF2B5EF4-FFF2-40B4-BE49-F238E27FC236}">
                <a16:creationId xmlns:a16="http://schemas.microsoft.com/office/drawing/2014/main" id="{B8B92896-9DE0-4D76-991C-B406A4F19DA4}"/>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l="23409" t="4245" r="24705" b="249"/>
          <a:stretch/>
        </p:blipFill>
        <p:spPr>
          <a:xfrm>
            <a:off x="5556519" y="0"/>
            <a:ext cx="6633957" cy="6858000"/>
          </a:xfrm>
          <a:prstGeom prst="rect">
            <a:avLst/>
          </a:prstGeom>
        </p:spPr>
      </p:pic>
      <p:pic>
        <p:nvPicPr>
          <p:cNvPr id="14" name="Picture 13">
            <a:extLst>
              <a:ext uri="{FF2B5EF4-FFF2-40B4-BE49-F238E27FC236}">
                <a16:creationId xmlns:a16="http://schemas.microsoft.com/office/drawing/2014/main" id="{13AFECE0-68F2-4122-9E80-EA297B9575F2}"/>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2537486290"/>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63935560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p:nvSpPr>
        <p:spPr>
          <a:xfrm>
            <a:off x="0" y="0"/>
            <a:ext cx="211667"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000" b="0" i="0" baseline="0">
              <a:solidFill>
                <a:srgbClr val="EEEEEE"/>
              </a:solidFill>
              <a:latin typeface="Roboto Light"/>
              <a:sym typeface="Roboto Light"/>
            </a:endParaRPr>
          </a:p>
        </p:txBody>
      </p:sp>
      <p:sp>
        <p:nvSpPr>
          <p:cNvPr id="10" name="Rectangle 9" hidden="1"/>
          <p:cNvSpPr/>
          <p:nvPr userDrawn="1">
            <p:custDataLst>
              <p:tags r:id="rId2"/>
            </p:custDataLst>
          </p:nvPr>
        </p:nvSpPr>
        <p:spPr>
          <a:xfrm>
            <a:off x="0" y="0"/>
            <a:ext cx="211667"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000" b="0" i="0" baseline="0">
              <a:solidFill>
                <a:srgbClr val="EEEEEE"/>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11" name="Title 1">
            <a:extLst>
              <a:ext uri="{FF2B5EF4-FFF2-40B4-BE49-F238E27FC236}">
                <a16:creationId xmlns:a16="http://schemas.microsoft.com/office/drawing/2014/main" id="{3B517A81-BFFB-45D7-9344-B41D1BB98116}"/>
              </a:ext>
            </a:extLst>
          </p:cNvPr>
          <p:cNvSpPr>
            <a:spLocks noGrp="1"/>
          </p:cNvSpPr>
          <p:nvPr>
            <p:ph type="ctrTitle" hasCustomPrompt="1"/>
          </p:nvPr>
        </p:nvSpPr>
        <p:spPr>
          <a:xfrm>
            <a:off x="609600" y="2438400"/>
            <a:ext cx="10972800" cy="1828800"/>
          </a:xfrm>
          <a:prstGeom prst="rect">
            <a:avLst/>
          </a:prstGeom>
        </p:spPr>
        <p:txBody>
          <a:bodyPr anchor="ctr">
            <a:normAutofit/>
          </a:bodyPr>
          <a:lstStyle>
            <a:lvl1pPr algn="ctr">
              <a:defRPr sz="5000" b="0" i="0" cap="none" spc="-150" baseline="0">
                <a:solidFill>
                  <a:schemeClr val="bg2"/>
                </a:solidFill>
                <a:latin typeface="Arial" panose="020B0604020202020204" pitchFamily="34" charset="0"/>
                <a:ea typeface="Roboto Light" charset="0"/>
                <a:cs typeface="Arial" panose="020B0604020202020204" pitchFamily="34" charset="0"/>
              </a:defRPr>
            </a:lvl1pPr>
          </a:lstStyle>
          <a:p>
            <a:pPr lvl="0"/>
            <a:r>
              <a:rPr lang="en-US"/>
              <a:t>Thank you!</a:t>
            </a:r>
          </a:p>
        </p:txBody>
      </p:sp>
    </p:spTree>
    <p:extLst>
      <p:ext uri="{BB962C8B-B14F-4D97-AF65-F5344CB8AC3E}">
        <p14:creationId xmlns:p14="http://schemas.microsoft.com/office/powerpoint/2010/main" val="21947739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a:latin typeface="Roboto" panose="02000000000000000000"/>
              <a:sym typeface="Roboto" panose="02000000000000000000"/>
            </a:endParaRPr>
          </a:p>
        </p:txBody>
      </p:sp>
      <p:sp>
        <p:nvSpPr>
          <p:cNvPr id="18" name="Rectangle 17"/>
          <p:cNvSpPr/>
          <p:nvPr userDrawn="1"/>
        </p:nvSpPr>
        <p:spPr>
          <a:xfrm>
            <a:off x="0" y="6436687"/>
            <a:ext cx="12192000" cy="438090"/>
          </a:xfrm>
          <a:prstGeom prst="rect">
            <a:avLst/>
          </a:prstGeom>
          <a:solidFill>
            <a:srgbClr val="04020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rgbClr val="C53E3E"/>
              </a:solidFill>
              <a:latin typeface="Arial" panose="020B0604020202020204" pitchFamily="34" charset="0"/>
              <a:cs typeface="Arial" panose="020B0604020202020204" pitchFamily="34" charset="0"/>
            </a:endParaRPr>
          </a:p>
        </p:txBody>
      </p:sp>
      <p:sp>
        <p:nvSpPr>
          <p:cNvPr id="12" name="Rectangle 11"/>
          <p:cNvSpPr/>
          <p:nvPr userDrawn="1"/>
        </p:nvSpPr>
        <p:spPr>
          <a:xfrm>
            <a:off x="0" y="0"/>
            <a:ext cx="12192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
        <p:nvSpPr>
          <p:cNvPr id="16" name="Rectangle 15"/>
          <p:cNvSpPr/>
          <p:nvPr userDrawn="1"/>
        </p:nvSpPr>
        <p:spPr>
          <a:xfrm>
            <a:off x="0" y="5781367"/>
            <a:ext cx="12192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8F8F8"/>
              </a:solidFill>
              <a:latin typeface="Arial" panose="020B0604020202020204" pitchFamily="34" charset="0"/>
              <a:cs typeface="Arial" panose="020B0604020202020204" pitchFamily="34" charset="0"/>
            </a:endParaRPr>
          </a:p>
        </p:txBody>
      </p:sp>
      <p:pic>
        <p:nvPicPr>
          <p:cNvPr id="20" name="Picture 1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361179" y="6512531"/>
            <a:ext cx="537207" cy="263583"/>
          </a:xfrm>
          <a:prstGeom prst="rect">
            <a:avLst/>
          </a:prstGeom>
        </p:spPr>
      </p:pic>
      <p:sp>
        <p:nvSpPr>
          <p:cNvPr id="21" name="Slide Number Placeholder 6"/>
          <p:cNvSpPr>
            <a:spLocks noGrp="1"/>
          </p:cNvSpPr>
          <p:nvPr>
            <p:ph type="sldNum" sz="quarter" idx="10"/>
          </p:nvPr>
        </p:nvSpPr>
        <p:spPr>
          <a:xfrm>
            <a:off x="5810885" y="6452268"/>
            <a:ext cx="631143" cy="365125"/>
          </a:xfrm>
        </p:spPr>
        <p:txBody>
          <a:bodyPr/>
          <a:lstStyle>
            <a:lvl1pPr algn="ctr">
              <a:defRPr sz="800" b="0">
                <a:solidFill>
                  <a:srgbClr val="F8F8F8"/>
                </a:solidFill>
                <a:latin typeface="Arial" panose="020B0604020202020204" pitchFamily="34" charset="0"/>
                <a:cs typeface="Arial" panose="020B0604020202020204" pitchFamily="34" charset="0"/>
              </a:defRPr>
            </a:lvl1pPr>
          </a:lstStyle>
          <a:p>
            <a:fld id="{D5A7C607-FE79-0944-B598-516BC0687002}" type="slidenum">
              <a:rPr lang="en-US" smtClean="0"/>
              <a:pPr/>
              <a:t>‹#›</a:t>
            </a:fld>
            <a:endParaRPr lang="en-US"/>
          </a:p>
        </p:txBody>
      </p:sp>
      <p:sp>
        <p:nvSpPr>
          <p:cNvPr id="23" name="Text Placeholder 8"/>
          <p:cNvSpPr>
            <a:spLocks noGrp="1"/>
          </p:cNvSpPr>
          <p:nvPr>
            <p:ph type="body" sz="quarter" idx="12" hasCustomPrompt="1"/>
          </p:nvPr>
        </p:nvSpPr>
        <p:spPr>
          <a:xfrm>
            <a:off x="269240" y="6453202"/>
            <a:ext cx="4988984" cy="390713"/>
          </a:xfrm>
          <a:prstGeom prst="rect">
            <a:avLst/>
          </a:prstGeom>
        </p:spPr>
        <p:txBody>
          <a:bodyPr/>
          <a:lstStyle>
            <a:lvl1pPr>
              <a:defRPr sz="700" b="0">
                <a:solidFill>
                  <a:srgbClr val="F8F8F8"/>
                </a:solidFill>
                <a:latin typeface="Arial" panose="020B0604020202020204" pitchFamily="34" charset="0"/>
                <a:cs typeface="Arial" panose="020B0604020202020204" pitchFamily="34" charset="0"/>
              </a:defRPr>
            </a:lvl1pPr>
          </a:lstStyle>
          <a:p>
            <a:pPr lvl="0"/>
            <a:r>
              <a:rPr lang="en-US"/>
              <a:t>Footer</a:t>
            </a:r>
          </a:p>
        </p:txBody>
      </p:sp>
      <p:sp>
        <p:nvSpPr>
          <p:cNvPr id="25" name="Title 5"/>
          <p:cNvSpPr>
            <a:spLocks noGrp="1"/>
          </p:cNvSpPr>
          <p:nvPr>
            <p:ph type="title" hasCustomPrompt="1"/>
          </p:nvPr>
        </p:nvSpPr>
        <p:spPr>
          <a:xfrm>
            <a:off x="269240" y="223879"/>
            <a:ext cx="11617961" cy="633941"/>
          </a:xfrm>
          <a:prstGeom prst="rect">
            <a:avLst/>
          </a:prstGeom>
        </p:spPr>
        <p:txBody>
          <a:bodyPr vert="horz" lIns="91440" tIns="45720" rIns="91440" bIns="45720" rtlCol="0" anchor="b">
            <a:noAutofit/>
          </a:bodyPr>
          <a:lstStyle>
            <a:lvl1pPr>
              <a:defRPr lang="en-US" sz="2400" dirty="0">
                <a:solidFill>
                  <a:schemeClr val="bg2"/>
                </a:solidFill>
                <a:latin typeface="Arial" panose="020B0604020202020204" pitchFamily="34" charset="0"/>
                <a:cs typeface="Arial" panose="020B0604020202020204" pitchFamily="34" charset="0"/>
              </a:defRPr>
            </a:lvl1pPr>
          </a:lstStyle>
          <a:p>
            <a:pPr lvl="0"/>
            <a:r>
              <a:rPr lang="en-US"/>
              <a:t>Click to edit master title style</a:t>
            </a:r>
          </a:p>
        </p:txBody>
      </p:sp>
      <p:sp>
        <p:nvSpPr>
          <p:cNvPr id="6" name="Text Placeholder 5"/>
          <p:cNvSpPr>
            <a:spLocks noGrp="1"/>
          </p:cNvSpPr>
          <p:nvPr>
            <p:ph type="body" sz="quarter" idx="13" hasCustomPrompt="1"/>
          </p:nvPr>
        </p:nvSpPr>
        <p:spPr>
          <a:xfrm>
            <a:off x="268818" y="5806842"/>
            <a:ext cx="11628967" cy="585788"/>
          </a:xfrm>
          <a:prstGeom prst="rect">
            <a:avLst/>
          </a:prstGeom>
          <a:solidFill>
            <a:schemeClr val="bg2"/>
          </a:solidFill>
        </p:spPr>
        <p:txBody>
          <a:bodyPr anchor="ctr"/>
          <a:lstStyle>
            <a:lvl1pPr algn="ctr">
              <a:defRPr sz="1800">
                <a:solidFill>
                  <a:schemeClr val="accent5"/>
                </a:solidFill>
                <a:latin typeface="Arial" panose="020B0604020202020204" pitchFamily="34" charset="0"/>
                <a:cs typeface="Arial" panose="020B0604020202020204" pitchFamily="34" charset="0"/>
              </a:defRPr>
            </a:lvl1pPr>
          </a:lstStyle>
          <a:p>
            <a:pPr lvl="0"/>
            <a:r>
              <a:rPr lang="en-US"/>
              <a:t>Takeaway</a:t>
            </a:r>
          </a:p>
        </p:txBody>
      </p:sp>
      <p:sp>
        <p:nvSpPr>
          <p:cNvPr id="26" name="Text Placeholder 9"/>
          <p:cNvSpPr>
            <a:spLocks noGrp="1"/>
          </p:cNvSpPr>
          <p:nvPr>
            <p:ph type="body" sz="quarter" idx="14"/>
          </p:nvPr>
        </p:nvSpPr>
        <p:spPr>
          <a:xfrm>
            <a:off x="269238" y="1044001"/>
            <a:ext cx="5401191" cy="447675"/>
          </a:xfrm>
          <a:prstGeom prst="rect">
            <a:avLst/>
          </a:prstGeom>
          <a:solidFill>
            <a:schemeClr val="tx1"/>
          </a:solidFill>
        </p:spPr>
        <p:txBody>
          <a:bodyPr anchor="ctr"/>
          <a:lstStyle>
            <a:lvl1pPr algn="ctr">
              <a:defRPr sz="1800">
                <a:solidFill>
                  <a:schemeClr val="accent5"/>
                </a:solidFill>
                <a:latin typeface="Arial" panose="020B0604020202020204" pitchFamily="34" charset="0"/>
                <a:cs typeface="Arial" panose="020B0604020202020204" pitchFamily="34" charset="0"/>
              </a:defRPr>
            </a:lvl1pPr>
          </a:lstStyle>
          <a:p>
            <a:pPr lvl="0"/>
            <a:r>
              <a:rPr lang="en-US"/>
              <a:t>Edit Master text styles</a:t>
            </a:r>
          </a:p>
        </p:txBody>
      </p:sp>
      <p:sp>
        <p:nvSpPr>
          <p:cNvPr id="17" name="Text Placeholder 9"/>
          <p:cNvSpPr>
            <a:spLocks noGrp="1"/>
          </p:cNvSpPr>
          <p:nvPr>
            <p:ph type="body" sz="quarter" idx="16"/>
          </p:nvPr>
        </p:nvSpPr>
        <p:spPr>
          <a:xfrm>
            <a:off x="6496593" y="1041930"/>
            <a:ext cx="5401191" cy="447675"/>
          </a:xfrm>
          <a:prstGeom prst="rect">
            <a:avLst/>
          </a:prstGeom>
          <a:solidFill>
            <a:schemeClr val="tx1"/>
          </a:solidFill>
        </p:spPr>
        <p:txBody>
          <a:bodyPr anchor="ctr"/>
          <a:lstStyle>
            <a:lvl1pPr algn="ctr">
              <a:defRPr sz="1800">
                <a:solidFill>
                  <a:schemeClr val="accent5"/>
                </a:solidFill>
                <a:latin typeface="Arial" panose="020B0604020202020204" pitchFamily="34" charset="0"/>
                <a:cs typeface="Arial" panose="020B0604020202020204" pitchFamily="34" charset="0"/>
              </a:defRPr>
            </a:lvl1pPr>
          </a:lstStyle>
          <a:p>
            <a:pPr lvl="0"/>
            <a:r>
              <a:rPr lang="en-US"/>
              <a:t>Edit Master text styles</a:t>
            </a:r>
          </a:p>
        </p:txBody>
      </p:sp>
      <p:sp>
        <p:nvSpPr>
          <p:cNvPr id="22" name="TextBox 21"/>
          <p:cNvSpPr txBox="1"/>
          <p:nvPr userDrawn="1"/>
        </p:nvSpPr>
        <p:spPr>
          <a:xfrm>
            <a:off x="8663931" y="6643861"/>
            <a:ext cx="2074607" cy="200055"/>
          </a:xfrm>
          <a:prstGeom prst="rect">
            <a:avLst/>
          </a:prstGeom>
          <a:noFill/>
        </p:spPr>
        <p:txBody>
          <a:bodyPr wrap="none" rtlCol="0">
            <a:spAutoFit/>
          </a:bodyPr>
          <a:lstStyle>
            <a:defPPr>
              <a:defRPr lang="en-US"/>
            </a:defPPr>
            <a:lvl1pPr marR="0" indent="0" fontAlgn="auto">
              <a:lnSpc>
                <a:spcPct val="100000"/>
              </a:lnSpc>
              <a:spcBef>
                <a:spcPts val="0"/>
              </a:spcBef>
              <a:spcAft>
                <a:spcPts val="0"/>
              </a:spcAft>
              <a:buClrTx/>
              <a:buSzTx/>
              <a:buFontTx/>
              <a:buNone/>
              <a:tabLst/>
              <a:defRPr sz="700" b="0" i="0" u="none" strike="noStrike" baseline="0">
                <a:solidFill>
                  <a:srgbClr val="F8F8F8"/>
                </a:solidFill>
                <a:latin typeface="Roboto" panose="02000000000000000000"/>
              </a:defRPr>
            </a:lvl1pPr>
          </a:lstStyle>
          <a:p>
            <a:pPr lvl="0"/>
            <a:r>
              <a:rPr lang="en-US" sz="700">
                <a:latin typeface="Arial" panose="020B0604020202020204" pitchFamily="34" charset="0"/>
                <a:cs typeface="Arial" panose="020B0604020202020204" pitchFamily="34" charset="0"/>
              </a:rPr>
              <a:t>CONFIDENTIAL – FOR INTERNAL USE ONLY</a:t>
            </a:r>
          </a:p>
        </p:txBody>
      </p:sp>
      <p:sp>
        <p:nvSpPr>
          <p:cNvPr id="28" name="Text Placeholder 4"/>
          <p:cNvSpPr>
            <a:spLocks noGrp="1"/>
          </p:cNvSpPr>
          <p:nvPr>
            <p:ph type="body" sz="quarter" idx="15"/>
          </p:nvPr>
        </p:nvSpPr>
        <p:spPr>
          <a:xfrm>
            <a:off x="269239" y="1535732"/>
            <a:ext cx="5401189"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latin typeface="Arial" panose="020B0604020202020204" pitchFamily="34" charset="0"/>
                <a:cs typeface="Arial" panose="020B0604020202020204" pitchFamily="34" charset="0"/>
              </a:defRPr>
            </a:lvl1pPr>
            <a:lvl2pPr marL="457200" indent="-223838">
              <a:buClr>
                <a:schemeClr val="bg2"/>
              </a:buClr>
              <a:defRPr sz="1400">
                <a:solidFill>
                  <a:schemeClr val="tx1"/>
                </a:solidFill>
                <a:latin typeface="Arial" panose="020B0604020202020204" pitchFamily="34" charset="0"/>
                <a:cs typeface="Arial" panose="020B0604020202020204" pitchFamily="34" charset="0"/>
              </a:defRPr>
            </a:lvl2pPr>
            <a:lvl3pPr marL="690563" indent="-233363">
              <a:buClr>
                <a:schemeClr val="bg2"/>
              </a:buClr>
              <a:defRPr sz="1200">
                <a:solidFill>
                  <a:schemeClr val="tx1"/>
                </a:solidFill>
                <a:latin typeface="Arial" panose="020B0604020202020204" pitchFamily="34" charset="0"/>
                <a:cs typeface="Arial" panose="020B0604020202020204" pitchFamily="34" charset="0"/>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p:txBody>
      </p:sp>
      <p:sp>
        <p:nvSpPr>
          <p:cNvPr id="29" name="Text Placeholder 4"/>
          <p:cNvSpPr>
            <a:spLocks noGrp="1"/>
          </p:cNvSpPr>
          <p:nvPr>
            <p:ph type="body" sz="quarter" idx="17"/>
          </p:nvPr>
        </p:nvSpPr>
        <p:spPr>
          <a:xfrm>
            <a:off x="6497196" y="1535732"/>
            <a:ext cx="5401189"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latin typeface="Arial" panose="020B0604020202020204" pitchFamily="34" charset="0"/>
                <a:cs typeface="Arial" panose="020B0604020202020204" pitchFamily="34" charset="0"/>
              </a:defRPr>
            </a:lvl1pPr>
            <a:lvl2pPr marL="457200" indent="-223838">
              <a:buClr>
                <a:schemeClr val="bg2"/>
              </a:buClr>
              <a:defRPr sz="1400">
                <a:solidFill>
                  <a:schemeClr val="tx1"/>
                </a:solidFill>
                <a:latin typeface="Arial" panose="020B0604020202020204" pitchFamily="34" charset="0"/>
                <a:cs typeface="Arial" panose="020B0604020202020204" pitchFamily="34" charset="0"/>
              </a:defRPr>
            </a:lvl2pPr>
            <a:lvl3pPr marL="690563" indent="-233363">
              <a:buClr>
                <a:schemeClr val="bg2"/>
              </a:buClr>
              <a:defRPr sz="1200">
                <a:solidFill>
                  <a:schemeClr val="tx1"/>
                </a:solidFill>
                <a:latin typeface="Arial" panose="020B0604020202020204" pitchFamily="34" charset="0"/>
                <a:cs typeface="Arial" panose="020B0604020202020204" pitchFamily="34" charset="0"/>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4356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990111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2" name="Text Placeholder 3"/>
          <p:cNvSpPr>
            <a:spLocks noGrp="1"/>
          </p:cNvSpPr>
          <p:nvPr>
            <p:ph type="body" sz="quarter" idx="11" hasCustomPrompt="1"/>
          </p:nvPr>
        </p:nvSpPr>
        <p:spPr>
          <a:xfrm>
            <a:off x="269240" y="6409678"/>
            <a:ext cx="2626360"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a:t>Add Footer Here</a:t>
            </a:r>
          </a:p>
        </p:txBody>
      </p:sp>
      <p:sp>
        <p:nvSpPr>
          <p:cNvPr id="14"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a:t>Click to Edit Header Style</a:t>
            </a:r>
          </a:p>
        </p:txBody>
      </p:sp>
      <p:cxnSp>
        <p:nvCxnSpPr>
          <p:cNvPr id="11" name="Straight Connector 10">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8394407"/>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7_Text Slide 2 (White)">
    <p:spTree>
      <p:nvGrpSpPr>
        <p:cNvPr id="1" name=""/>
        <p:cNvGrpSpPr/>
        <p:nvPr/>
      </p:nvGrpSpPr>
      <p:grpSpPr>
        <a:xfrm>
          <a:off x="0" y="0"/>
          <a:ext cx="0" cy="0"/>
          <a:chOff x="0" y="0"/>
          <a:chExt cx="0" cy="0"/>
        </a:xfrm>
      </p:grpSpPr>
      <p:pic>
        <p:nvPicPr>
          <p:cNvPr id="28" name="Picture 27" descr="A train pulling into a station&#10;&#10;Description automatically generated">
            <a:extLst>
              <a:ext uri="{FF2B5EF4-FFF2-40B4-BE49-F238E27FC236}">
                <a16:creationId xmlns:a16="http://schemas.microsoft.com/office/drawing/2014/main" id="{0F9D245B-50A5-4F55-B7FD-CD9F119E2BF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587698" y="0"/>
            <a:ext cx="6626327" cy="6861176"/>
          </a:xfrm>
          <a:prstGeom prst="rect">
            <a:avLst/>
          </a:prstGeom>
        </p:spPr>
      </p:pic>
      <p:sp>
        <p:nvSpPr>
          <p:cNvPr id="12" name="Rectangle 11">
            <a:extLst>
              <a:ext uri="{FF2B5EF4-FFF2-40B4-BE49-F238E27FC236}">
                <a16:creationId xmlns:a16="http://schemas.microsoft.com/office/drawing/2014/main" id="{4A2CBA38-23C3-42D7-9481-1BF3F89CD595}"/>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1" name="Title 1">
            <a:extLst>
              <a:ext uri="{FF2B5EF4-FFF2-40B4-BE49-F238E27FC236}">
                <a16:creationId xmlns:a16="http://schemas.microsoft.com/office/drawing/2014/main" id="{6DE4B844-16E0-4313-B497-9312C6CCFF72}"/>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2" name="Subtitle 2">
            <a:extLst>
              <a:ext uri="{FF2B5EF4-FFF2-40B4-BE49-F238E27FC236}">
                <a16:creationId xmlns:a16="http://schemas.microsoft.com/office/drawing/2014/main" id="{960926CA-791C-45A0-A78A-3FC27462DAF7}"/>
              </a:ext>
            </a:extLst>
          </p:cNvPr>
          <p:cNvSpPr>
            <a:spLocks noGrp="1"/>
          </p:cNvSpPr>
          <p:nvPr userDrawn="1">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4" name="Straight Connector 3">
            <a:extLst>
              <a:ext uri="{FF2B5EF4-FFF2-40B4-BE49-F238E27FC236}">
                <a16:creationId xmlns:a16="http://schemas.microsoft.com/office/drawing/2014/main" id="{4821185B-1797-45C5-B4DB-6C99EE6607DF}"/>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938211B-2771-4719-BECE-639B4DBA7B9E}"/>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
        <p:nvSpPr>
          <p:cNvPr id="7" name="Rectangle 6">
            <a:extLst>
              <a:ext uri="{FF2B5EF4-FFF2-40B4-BE49-F238E27FC236}">
                <a16:creationId xmlns:a16="http://schemas.microsoft.com/office/drawing/2014/main" id="{AD231E3E-3101-488B-A6C4-154FBC6326A8}"/>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
        <p:nvSpPr>
          <p:cNvPr id="13"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pic>
        <p:nvPicPr>
          <p:cNvPr id="14" name="Graphic 29">
            <a:extLst>
              <a:ext uri="{FF2B5EF4-FFF2-40B4-BE49-F238E27FC236}">
                <a16:creationId xmlns:a16="http://schemas.microsoft.com/office/drawing/2014/main" id="{39138CE9-55B8-4B64-BFA2-0F2482A5EF3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Tree>
    <p:extLst>
      <p:ext uri="{BB962C8B-B14F-4D97-AF65-F5344CB8AC3E}">
        <p14:creationId xmlns:p14="http://schemas.microsoft.com/office/powerpoint/2010/main" val="253216283"/>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9_Text Slide 2 (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B61E4EC-36EC-41D5-B9B7-783BBD78264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46" b="-335"/>
          <a:stretch/>
        </p:blipFill>
        <p:spPr>
          <a:xfrm flipH="1">
            <a:off x="5561077" y="0"/>
            <a:ext cx="6626323" cy="6881004"/>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9FBDC9C5-66D4-49B8-83BE-6DD040BD1559}"/>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8E15234A-4115-4590-A241-751A4900AB02}"/>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6D78D08C-E336-47D6-BCD6-678A83F384D0}"/>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A5678EDC-28E0-4275-8812-63FB5DEBA38F}"/>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6CD80A44-7877-4362-9770-DE48981EA557}"/>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39138CE9-55B8-4B64-BFA2-0F2482A5EF3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2" name="Rectangle 31">
            <a:extLst>
              <a:ext uri="{FF2B5EF4-FFF2-40B4-BE49-F238E27FC236}">
                <a16:creationId xmlns:a16="http://schemas.microsoft.com/office/drawing/2014/main" id="{8F737D29-A1BD-4899-9E1C-DAFBA9AAB537}"/>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
        <p:nvSpPr>
          <p:cNvPr id="13"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Tree>
    <p:extLst>
      <p:ext uri="{BB962C8B-B14F-4D97-AF65-F5344CB8AC3E}">
        <p14:creationId xmlns:p14="http://schemas.microsoft.com/office/powerpoint/2010/main" val="191872697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2_Text Slide 2 (White)">
    <p:spTree>
      <p:nvGrpSpPr>
        <p:cNvPr id="1" name=""/>
        <p:cNvGrpSpPr/>
        <p:nvPr/>
      </p:nvGrpSpPr>
      <p:grpSpPr>
        <a:xfrm>
          <a:off x="0" y="0"/>
          <a:ext cx="0" cy="0"/>
          <a:chOff x="0" y="0"/>
          <a:chExt cx="0" cy="0"/>
        </a:xfrm>
      </p:grpSpPr>
      <p:pic>
        <p:nvPicPr>
          <p:cNvPr id="8" name="Picture 7" descr="A view of a city&#10;&#10;Description automatically generated">
            <a:extLst>
              <a:ext uri="{FF2B5EF4-FFF2-40B4-BE49-F238E27FC236}">
                <a16:creationId xmlns:a16="http://schemas.microsoft.com/office/drawing/2014/main" id="{C145E3EE-C35F-4A42-9BFC-DA13C2703B7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562600" y="3176"/>
            <a:ext cx="6626328" cy="6854824"/>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sp>
        <p:nvSpPr>
          <p:cNvPr id="13"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Tree>
    <p:extLst>
      <p:ext uri="{BB962C8B-B14F-4D97-AF65-F5344CB8AC3E}">
        <p14:creationId xmlns:p14="http://schemas.microsoft.com/office/powerpoint/2010/main" val="3626559489"/>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5562600" y="0"/>
            <a:ext cx="6629400" cy="6858000"/>
          </a:xfrm>
          <a:prstGeom prst="rect">
            <a:avLst/>
          </a:prstGeom>
        </p:spPr>
      </p:pic>
      <p:pic>
        <p:nvPicPr>
          <p:cNvPr id="15" name="Picture 14">
            <a:extLst>
              <a:ext uri="{FF2B5EF4-FFF2-40B4-BE49-F238E27FC236}">
                <a16:creationId xmlns:a16="http://schemas.microsoft.com/office/drawing/2014/main" id="{2173D5C8-0C46-488C-BBED-0D0571C9C9C9}"/>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pic>
        <p:nvPicPr>
          <p:cNvPr id="16" name="Graphic 29">
            <a:extLst>
              <a:ext uri="{FF2B5EF4-FFF2-40B4-BE49-F238E27FC236}">
                <a16:creationId xmlns:a16="http://schemas.microsoft.com/office/drawing/2014/main" id="{39138CE9-55B8-4B64-BFA2-0F2482A5EF3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Tree>
    <p:extLst>
      <p:ext uri="{BB962C8B-B14F-4D97-AF65-F5344CB8AC3E}">
        <p14:creationId xmlns:p14="http://schemas.microsoft.com/office/powerpoint/2010/main" val="806187029"/>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sv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oleObject" Target="../embeddings/oleObject22.bin"/><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image" Target="../media/image3.svg"/><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tags" Target="../tags/tag57.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image" Target="../media/image2.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theme" Target="../theme/theme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extLst>
              <p:ext uri="{D42A27DB-BD31-4B8C-83A1-F6EECF244321}">
                <p14:modId xmlns:p14="http://schemas.microsoft.com/office/powerpoint/2010/main" val="6387453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2118" y="1589"/>
                        <a:ext cx="2116" cy="1587"/>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2EE5AA31-6352-4391-BD51-D11F0E285927}"/>
              </a:ext>
            </a:extLst>
          </p:cNvPr>
          <p:cNvCxnSpPr>
            <a:cxnSpLocks/>
          </p:cNvCxnSpPr>
          <p:nvPr userDrawn="1"/>
        </p:nvCxnSpPr>
        <p:spPr>
          <a:xfrm>
            <a:off x="269240" y="6351042"/>
            <a:ext cx="11617961"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3731B67A-856E-4C40-A40C-42B24B844A89}"/>
              </a:ext>
            </a:extLst>
          </p:cNvPr>
          <p:cNvPicPr>
            <a:picLocks noChangeAspect="1"/>
          </p:cNvPicPr>
          <p:nvPr userDrawn="1"/>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1271445" y="6432714"/>
            <a:ext cx="469511" cy="304697"/>
          </a:xfrm>
          <a:prstGeom prst="rect">
            <a:avLst/>
          </a:prstGeom>
        </p:spPr>
      </p:pic>
      <p:sp>
        <p:nvSpPr>
          <p:cNvPr id="28" name="Slide Number Placeholder 7">
            <a:extLst>
              <a:ext uri="{FF2B5EF4-FFF2-40B4-BE49-F238E27FC236}">
                <a16:creationId xmlns:a16="http://schemas.microsoft.com/office/drawing/2014/main" id="{F64D5107-63CE-45C0-B157-108D68B77A9A}"/>
              </a:ext>
            </a:extLst>
          </p:cNvPr>
          <p:cNvSpPr txBox="1">
            <a:spLocks/>
          </p:cNvSpPr>
          <p:nvPr userDrawn="1"/>
        </p:nvSpPr>
        <p:spPr>
          <a:xfrm>
            <a:off x="5894195" y="6286501"/>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tx1"/>
                </a:solidFill>
              </a:rPr>
              <a:pPr/>
              <a:t>‹#›</a:t>
            </a:fld>
            <a:endParaRPr lang="en-US">
              <a:solidFill>
                <a:schemeClr val="tx1"/>
              </a:solidFill>
            </a:endParaRPr>
          </a:p>
        </p:txBody>
      </p:sp>
      <p:sp>
        <p:nvSpPr>
          <p:cNvPr id="3" name="Rectangle: Rounded Corners 2">
            <a:extLst>
              <a:ext uri="{FF2B5EF4-FFF2-40B4-BE49-F238E27FC236}">
                <a16:creationId xmlns:a16="http://schemas.microsoft.com/office/drawing/2014/main" id="{B183BDEA-AFAC-4BB8-9061-5EA66E6B23D7}"/>
              </a:ext>
            </a:extLst>
          </p:cNvPr>
          <p:cNvSpPr/>
          <p:nvPr userDrawn="1"/>
        </p:nvSpPr>
        <p:spPr>
          <a:xfrm flipH="1">
            <a:off x="5903717" y="6410380"/>
            <a:ext cx="381107" cy="454764"/>
          </a:xfrm>
          <a:custGeom>
            <a:avLst/>
            <a:gdLst>
              <a:gd name="connsiteX0" fmla="*/ 0 w 381107"/>
              <a:gd name="connsiteY0" fmla="*/ 178648 h 609600"/>
              <a:gd name="connsiteX1" fmla="*/ 178648 w 381107"/>
              <a:gd name="connsiteY1" fmla="*/ 0 h 609600"/>
              <a:gd name="connsiteX2" fmla="*/ 202459 w 381107"/>
              <a:gd name="connsiteY2" fmla="*/ 0 h 609600"/>
              <a:gd name="connsiteX3" fmla="*/ 381107 w 381107"/>
              <a:gd name="connsiteY3" fmla="*/ 178648 h 609600"/>
              <a:gd name="connsiteX4" fmla="*/ 381107 w 381107"/>
              <a:gd name="connsiteY4" fmla="*/ 430952 h 609600"/>
              <a:gd name="connsiteX5" fmla="*/ 202459 w 381107"/>
              <a:gd name="connsiteY5" fmla="*/ 609600 h 609600"/>
              <a:gd name="connsiteX6" fmla="*/ 178648 w 381107"/>
              <a:gd name="connsiteY6" fmla="*/ 609600 h 609600"/>
              <a:gd name="connsiteX7" fmla="*/ 0 w 381107"/>
              <a:gd name="connsiteY7" fmla="*/ 430952 h 609600"/>
              <a:gd name="connsiteX8" fmla="*/ 0 w 381107"/>
              <a:gd name="connsiteY8" fmla="*/ 178648 h 609600"/>
              <a:gd name="connsiteX0" fmla="*/ 0 w 381107"/>
              <a:gd name="connsiteY0" fmla="*/ 178648 h 609600"/>
              <a:gd name="connsiteX1" fmla="*/ 178648 w 381107"/>
              <a:gd name="connsiteY1" fmla="*/ 0 h 609600"/>
              <a:gd name="connsiteX2" fmla="*/ 202459 w 381107"/>
              <a:gd name="connsiteY2" fmla="*/ 0 h 609600"/>
              <a:gd name="connsiteX3" fmla="*/ 381107 w 381107"/>
              <a:gd name="connsiteY3" fmla="*/ 178648 h 609600"/>
              <a:gd name="connsiteX4" fmla="*/ 381107 w 381107"/>
              <a:gd name="connsiteY4" fmla="*/ 430952 h 609600"/>
              <a:gd name="connsiteX5" fmla="*/ 183409 w 381107"/>
              <a:gd name="connsiteY5" fmla="*/ 516731 h 609600"/>
              <a:gd name="connsiteX6" fmla="*/ 178648 w 381107"/>
              <a:gd name="connsiteY6" fmla="*/ 609600 h 609600"/>
              <a:gd name="connsiteX7" fmla="*/ 0 w 381107"/>
              <a:gd name="connsiteY7" fmla="*/ 430952 h 609600"/>
              <a:gd name="connsiteX8" fmla="*/ 0 w 381107"/>
              <a:gd name="connsiteY8" fmla="*/ 178648 h 609600"/>
              <a:gd name="connsiteX0" fmla="*/ 0 w 381107"/>
              <a:gd name="connsiteY0" fmla="*/ 178648 h 517283"/>
              <a:gd name="connsiteX1" fmla="*/ 178648 w 381107"/>
              <a:gd name="connsiteY1" fmla="*/ 0 h 517283"/>
              <a:gd name="connsiteX2" fmla="*/ 202459 w 381107"/>
              <a:gd name="connsiteY2" fmla="*/ 0 h 517283"/>
              <a:gd name="connsiteX3" fmla="*/ 381107 w 381107"/>
              <a:gd name="connsiteY3" fmla="*/ 178648 h 517283"/>
              <a:gd name="connsiteX4" fmla="*/ 381107 w 381107"/>
              <a:gd name="connsiteY4" fmla="*/ 430952 h 517283"/>
              <a:gd name="connsiteX5" fmla="*/ 183409 w 381107"/>
              <a:gd name="connsiteY5" fmla="*/ 516731 h 517283"/>
              <a:gd name="connsiteX6" fmla="*/ 171504 w 381107"/>
              <a:gd name="connsiteY6" fmla="*/ 516731 h 517283"/>
              <a:gd name="connsiteX7" fmla="*/ 0 w 381107"/>
              <a:gd name="connsiteY7" fmla="*/ 430952 h 517283"/>
              <a:gd name="connsiteX8" fmla="*/ 0 w 381107"/>
              <a:gd name="connsiteY8" fmla="*/ 178648 h 517283"/>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1504 w 381107"/>
              <a:gd name="connsiteY6" fmla="*/ 516731 h 523408"/>
              <a:gd name="connsiteX7" fmla="*/ 0 w 381107"/>
              <a:gd name="connsiteY7" fmla="*/ 430952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1504 w 381107"/>
              <a:gd name="connsiteY6" fmla="*/ 516731 h 523408"/>
              <a:gd name="connsiteX7" fmla="*/ 2381 w 381107"/>
              <a:gd name="connsiteY7" fmla="*/ 452384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6267 w 381107"/>
              <a:gd name="connsiteY6" fmla="*/ 452438 h 523408"/>
              <a:gd name="connsiteX7" fmla="*/ 2381 w 381107"/>
              <a:gd name="connsiteY7" fmla="*/ 452384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6267 w 381107"/>
              <a:gd name="connsiteY6" fmla="*/ 452438 h 523408"/>
              <a:gd name="connsiteX7" fmla="*/ 2381 w 381107"/>
              <a:gd name="connsiteY7" fmla="*/ 452384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6267 w 381107"/>
              <a:gd name="connsiteY6" fmla="*/ 452438 h 523408"/>
              <a:gd name="connsiteX7" fmla="*/ 2381 w 381107"/>
              <a:gd name="connsiteY7" fmla="*/ 452384 h 523408"/>
              <a:gd name="connsiteX8" fmla="*/ 0 w 381107"/>
              <a:gd name="connsiteY8" fmla="*/ 178648 h 523408"/>
              <a:gd name="connsiteX0" fmla="*/ 176267 w 381107"/>
              <a:gd name="connsiteY0" fmla="*/ 452438 h 543878"/>
              <a:gd name="connsiteX1" fmla="*/ 2381 w 381107"/>
              <a:gd name="connsiteY1" fmla="*/ 452384 h 543878"/>
              <a:gd name="connsiteX2" fmla="*/ 0 w 381107"/>
              <a:gd name="connsiteY2" fmla="*/ 178648 h 543878"/>
              <a:gd name="connsiteX3" fmla="*/ 178648 w 381107"/>
              <a:gd name="connsiteY3" fmla="*/ 0 h 543878"/>
              <a:gd name="connsiteX4" fmla="*/ 202459 w 381107"/>
              <a:gd name="connsiteY4" fmla="*/ 0 h 543878"/>
              <a:gd name="connsiteX5" fmla="*/ 381107 w 381107"/>
              <a:gd name="connsiteY5" fmla="*/ 178648 h 543878"/>
              <a:gd name="connsiteX6" fmla="*/ 378726 w 381107"/>
              <a:gd name="connsiteY6" fmla="*/ 454764 h 543878"/>
              <a:gd name="connsiteX7" fmla="*/ 183409 w 381107"/>
              <a:gd name="connsiteY7" fmla="*/ 516731 h 543878"/>
              <a:gd name="connsiteX8" fmla="*/ 267707 w 381107"/>
              <a:gd name="connsiteY8" fmla="*/ 543878 h 543878"/>
              <a:gd name="connsiteX0" fmla="*/ 2381 w 381107"/>
              <a:gd name="connsiteY0" fmla="*/ 452384 h 543878"/>
              <a:gd name="connsiteX1" fmla="*/ 0 w 381107"/>
              <a:gd name="connsiteY1" fmla="*/ 178648 h 543878"/>
              <a:gd name="connsiteX2" fmla="*/ 178648 w 381107"/>
              <a:gd name="connsiteY2" fmla="*/ 0 h 543878"/>
              <a:gd name="connsiteX3" fmla="*/ 202459 w 381107"/>
              <a:gd name="connsiteY3" fmla="*/ 0 h 543878"/>
              <a:gd name="connsiteX4" fmla="*/ 381107 w 381107"/>
              <a:gd name="connsiteY4" fmla="*/ 178648 h 543878"/>
              <a:gd name="connsiteX5" fmla="*/ 378726 w 381107"/>
              <a:gd name="connsiteY5" fmla="*/ 454764 h 543878"/>
              <a:gd name="connsiteX6" fmla="*/ 183409 w 381107"/>
              <a:gd name="connsiteY6" fmla="*/ 516731 h 543878"/>
              <a:gd name="connsiteX7" fmla="*/ 267707 w 381107"/>
              <a:gd name="connsiteY7" fmla="*/ 543878 h 543878"/>
              <a:gd name="connsiteX0" fmla="*/ 2381 w 381107"/>
              <a:gd name="connsiteY0" fmla="*/ 452384 h 543878"/>
              <a:gd name="connsiteX1" fmla="*/ 0 w 381107"/>
              <a:gd name="connsiteY1" fmla="*/ 178648 h 543878"/>
              <a:gd name="connsiteX2" fmla="*/ 178648 w 381107"/>
              <a:gd name="connsiteY2" fmla="*/ 0 h 543878"/>
              <a:gd name="connsiteX3" fmla="*/ 202459 w 381107"/>
              <a:gd name="connsiteY3" fmla="*/ 0 h 543878"/>
              <a:gd name="connsiteX4" fmla="*/ 381107 w 381107"/>
              <a:gd name="connsiteY4" fmla="*/ 178648 h 543878"/>
              <a:gd name="connsiteX5" fmla="*/ 378726 w 381107"/>
              <a:gd name="connsiteY5" fmla="*/ 454764 h 543878"/>
              <a:gd name="connsiteX6" fmla="*/ 267707 w 381107"/>
              <a:gd name="connsiteY6" fmla="*/ 543878 h 543878"/>
              <a:gd name="connsiteX0" fmla="*/ 2381 w 381107"/>
              <a:gd name="connsiteY0" fmla="*/ 452384 h 454764"/>
              <a:gd name="connsiteX1" fmla="*/ 0 w 381107"/>
              <a:gd name="connsiteY1" fmla="*/ 178648 h 454764"/>
              <a:gd name="connsiteX2" fmla="*/ 178648 w 381107"/>
              <a:gd name="connsiteY2" fmla="*/ 0 h 454764"/>
              <a:gd name="connsiteX3" fmla="*/ 202459 w 381107"/>
              <a:gd name="connsiteY3" fmla="*/ 0 h 454764"/>
              <a:gd name="connsiteX4" fmla="*/ 381107 w 381107"/>
              <a:gd name="connsiteY4" fmla="*/ 178648 h 454764"/>
              <a:gd name="connsiteX5" fmla="*/ 378726 w 381107"/>
              <a:gd name="connsiteY5" fmla="*/ 454764 h 45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107" h="454764">
                <a:moveTo>
                  <a:pt x="2381" y="452384"/>
                </a:moveTo>
                <a:cubicBezTo>
                  <a:pt x="1587" y="361139"/>
                  <a:pt x="794" y="269893"/>
                  <a:pt x="0" y="178648"/>
                </a:cubicBezTo>
                <a:cubicBezTo>
                  <a:pt x="0" y="79983"/>
                  <a:pt x="79983" y="0"/>
                  <a:pt x="178648" y="0"/>
                </a:cubicBezTo>
                <a:lnTo>
                  <a:pt x="202459" y="0"/>
                </a:lnTo>
                <a:cubicBezTo>
                  <a:pt x="301124" y="0"/>
                  <a:pt x="381107" y="79983"/>
                  <a:pt x="381107" y="178648"/>
                </a:cubicBezTo>
                <a:cubicBezTo>
                  <a:pt x="380313" y="270687"/>
                  <a:pt x="379520" y="362725"/>
                  <a:pt x="378726" y="454764"/>
                </a:cubicBez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chemeClr val="accent5"/>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D5DD4AD-64C5-4600-BEB2-CA923704EE05}"/>
              </a:ext>
            </a:extLst>
          </p:cNvPr>
          <p:cNvSpPr txBox="1"/>
          <p:nvPr userDrawn="1"/>
        </p:nvSpPr>
        <p:spPr>
          <a:xfrm>
            <a:off x="8839200" y="6436311"/>
            <a:ext cx="2209801" cy="301100"/>
          </a:xfrm>
          <a:prstGeom prst="rect">
            <a:avLst/>
          </a:prstGeom>
          <a:noFill/>
        </p:spPr>
        <p:txBody>
          <a:bodyPr wrap="square" lIns="0" rIns="0" bIns="0" rtlCol="0" anchor="b" anchorCtr="0">
            <a:noAutofit/>
          </a:bodyPr>
          <a:lstStyle/>
          <a:p>
            <a:pPr algn="r"/>
            <a:r>
              <a:rPr lang="en-US" sz="800">
                <a:solidFill>
                  <a:schemeClr val="tx1"/>
                </a:solidFill>
              </a:rPr>
              <a:t>Confidential – For Internal Use Only</a:t>
            </a:r>
          </a:p>
        </p:txBody>
      </p:sp>
    </p:spTree>
    <p:extLst>
      <p:ext uri="{BB962C8B-B14F-4D97-AF65-F5344CB8AC3E}">
        <p14:creationId xmlns:p14="http://schemas.microsoft.com/office/powerpoint/2010/main" val="2999958714"/>
      </p:ext>
    </p:extLst>
  </p:cSld>
  <p:clrMap bg1="lt1" tx1="dk1" bg2="lt2" tx2="dk2" accent1="accent1" accent2="accent2" accent3="accent3" accent4="accent4" accent5="accent5" accent6="accent6" hlink="hlink" folHlink="folHlink"/>
  <p:sldLayoutIdLst>
    <p:sldLayoutId id="2147483935" r:id="rId1"/>
    <p:sldLayoutId id="2147483998" r:id="rId2"/>
    <p:sldLayoutId id="2147483999" r:id="rId3"/>
    <p:sldLayoutId id="2147484044" r:id="rId4"/>
    <p:sldLayoutId id="2147484018" r:id="rId5"/>
    <p:sldLayoutId id="2147484024" r:id="rId6"/>
    <p:sldLayoutId id="2147484025" r:id="rId7"/>
    <p:sldLayoutId id="2147484028" r:id="rId8"/>
    <p:sldLayoutId id="2147484047" r:id="rId9"/>
    <p:sldLayoutId id="2147484051" r:id="rId10"/>
    <p:sldLayoutId id="2147484052" r:id="rId11"/>
    <p:sldLayoutId id="2147484053" r:id="rId12"/>
    <p:sldLayoutId id="2147484055" r:id="rId13"/>
    <p:sldLayoutId id="2147484056" r:id="rId14"/>
    <p:sldLayoutId id="2147484054" r:id="rId15"/>
    <p:sldLayoutId id="2147484086" r:id="rId16"/>
    <p:sldLayoutId id="2147484090" r:id="rId17"/>
    <p:sldLayoutId id="2147484091" r:id="rId18"/>
    <p:sldLayoutId id="2147484092" r:id="rId19"/>
    <p:sldLayoutId id="2147484002" r:id="rId20"/>
  </p:sldLayoutIdLst>
  <p:hf sldNum="0" hdr="0" dt="0"/>
  <p:txStyles>
    <p:titleStyle>
      <a:lvl1pPr algn="l" defTabSz="914400" rtl="0" eaLnBrk="1" latinLnBrk="0" hangingPunct="1">
        <a:lnSpc>
          <a:spcPct val="90000"/>
        </a:lnSpc>
        <a:spcBef>
          <a:spcPct val="0"/>
        </a:spcBef>
        <a:buNone/>
        <a:defRPr lang="en-US" sz="2400" b="1" i="0" kern="1200" dirty="0">
          <a:solidFill>
            <a:schemeClr val="tx2"/>
          </a:solidFill>
          <a:latin typeface="Roboto" charset="0"/>
          <a:ea typeface="Roboto" charset="0"/>
          <a:cs typeface="Roboto"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2000" b="1" i="0" kern="1200" dirty="0" smtClean="0">
          <a:solidFill>
            <a:schemeClr val="accent2">
              <a:lumMod val="50000"/>
            </a:schemeClr>
          </a:solidFill>
          <a:latin typeface="Roboto" charset="0"/>
          <a:ea typeface="Roboto" charset="0"/>
          <a:cs typeface="Roboto" charset="0"/>
        </a:defRPr>
      </a:lvl1pPr>
      <a:lvl2pPr marL="228600" indent="-228600" algn="l" defTabSz="914400" rtl="0" eaLnBrk="1" latinLnBrk="0" hangingPunct="1">
        <a:lnSpc>
          <a:spcPct val="90000"/>
        </a:lnSpc>
        <a:spcBef>
          <a:spcPts val="500"/>
        </a:spcBef>
        <a:buFont typeface="Arial" panose="020B0604020202020204" pitchFamily="34" charset="0"/>
        <a:buChar char="•"/>
        <a:defRPr lang="en-US" sz="1600" b="0" i="0" kern="1200" dirty="0" smtClean="0">
          <a:solidFill>
            <a:schemeClr val="accent2">
              <a:lumMod val="50000"/>
            </a:schemeClr>
          </a:solidFill>
          <a:latin typeface="Roboto" charset="0"/>
          <a:ea typeface="Roboto" charset="0"/>
          <a:cs typeface="Roboto" charset="0"/>
        </a:defRPr>
      </a:lvl2pPr>
      <a:lvl3pPr marL="457200" indent="-228600" algn="l" defTabSz="914400" rtl="0" eaLnBrk="1" latinLnBrk="0" hangingPunct="1">
        <a:lnSpc>
          <a:spcPct val="90000"/>
        </a:lnSpc>
        <a:spcBef>
          <a:spcPts val="500"/>
        </a:spcBef>
        <a:buFontTx/>
        <a:buChar char="‒"/>
        <a:defRPr lang="en-US" sz="1400" b="0" i="0" kern="1200" dirty="0" smtClean="0">
          <a:solidFill>
            <a:schemeClr val="accent2">
              <a:lumMod val="50000"/>
            </a:schemeClr>
          </a:solidFill>
          <a:latin typeface="Roboto" charset="0"/>
          <a:ea typeface="Roboto" charset="0"/>
          <a:cs typeface="Roboto"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8"/>
            </p:custDataLst>
            <p:extLst>
              <p:ext uri="{D42A27DB-BD31-4B8C-83A1-F6EECF244321}">
                <p14:modId xmlns:p14="http://schemas.microsoft.com/office/powerpoint/2010/main" val="6387453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4" name="Object 3" hidden="1"/>
                      <p:cNvPicPr/>
                      <p:nvPr/>
                    </p:nvPicPr>
                    <p:blipFill>
                      <a:blip r:embed="rId30"/>
                      <a:stretch>
                        <a:fillRect/>
                      </a:stretch>
                    </p:blipFill>
                    <p:spPr>
                      <a:xfrm>
                        <a:off x="2118" y="1589"/>
                        <a:ext cx="2116" cy="1587"/>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2EE5AA31-6352-4391-BD51-D11F0E285927}"/>
              </a:ext>
            </a:extLst>
          </p:cNvPr>
          <p:cNvCxnSpPr>
            <a:cxnSpLocks/>
          </p:cNvCxnSpPr>
          <p:nvPr userDrawn="1"/>
        </p:nvCxnSpPr>
        <p:spPr>
          <a:xfrm>
            <a:off x="269240" y="6351042"/>
            <a:ext cx="11617961"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3731B67A-856E-4C40-A40C-42B24B844A89}"/>
              </a:ext>
            </a:extLst>
          </p:cNvPr>
          <p:cNvPicPr>
            <a:picLocks noChangeAspect="1"/>
          </p:cNvPicPr>
          <p:nvPr userDrawn="1"/>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1271445" y="6432714"/>
            <a:ext cx="469511" cy="304697"/>
          </a:xfrm>
          <a:prstGeom prst="rect">
            <a:avLst/>
          </a:prstGeom>
        </p:spPr>
      </p:pic>
      <p:sp>
        <p:nvSpPr>
          <p:cNvPr id="28" name="Slide Number Placeholder 7">
            <a:extLst>
              <a:ext uri="{FF2B5EF4-FFF2-40B4-BE49-F238E27FC236}">
                <a16:creationId xmlns:a16="http://schemas.microsoft.com/office/drawing/2014/main" id="{F64D5107-63CE-45C0-B157-108D68B77A9A}"/>
              </a:ext>
            </a:extLst>
          </p:cNvPr>
          <p:cNvSpPr txBox="1">
            <a:spLocks/>
          </p:cNvSpPr>
          <p:nvPr userDrawn="1"/>
        </p:nvSpPr>
        <p:spPr>
          <a:xfrm>
            <a:off x="5894195" y="6286501"/>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tx1"/>
                </a:solidFill>
              </a:rPr>
              <a:pPr/>
              <a:t>‹#›</a:t>
            </a:fld>
            <a:endParaRPr lang="en-US">
              <a:solidFill>
                <a:schemeClr val="tx1"/>
              </a:solidFill>
            </a:endParaRPr>
          </a:p>
        </p:txBody>
      </p:sp>
      <p:sp>
        <p:nvSpPr>
          <p:cNvPr id="3" name="Rectangle: Rounded Corners 2">
            <a:extLst>
              <a:ext uri="{FF2B5EF4-FFF2-40B4-BE49-F238E27FC236}">
                <a16:creationId xmlns:a16="http://schemas.microsoft.com/office/drawing/2014/main" id="{B183BDEA-AFAC-4BB8-9061-5EA66E6B23D7}"/>
              </a:ext>
            </a:extLst>
          </p:cNvPr>
          <p:cNvSpPr/>
          <p:nvPr userDrawn="1"/>
        </p:nvSpPr>
        <p:spPr>
          <a:xfrm flipH="1">
            <a:off x="5903717" y="6410380"/>
            <a:ext cx="381107" cy="454764"/>
          </a:xfrm>
          <a:custGeom>
            <a:avLst/>
            <a:gdLst>
              <a:gd name="connsiteX0" fmla="*/ 0 w 381107"/>
              <a:gd name="connsiteY0" fmla="*/ 178648 h 609600"/>
              <a:gd name="connsiteX1" fmla="*/ 178648 w 381107"/>
              <a:gd name="connsiteY1" fmla="*/ 0 h 609600"/>
              <a:gd name="connsiteX2" fmla="*/ 202459 w 381107"/>
              <a:gd name="connsiteY2" fmla="*/ 0 h 609600"/>
              <a:gd name="connsiteX3" fmla="*/ 381107 w 381107"/>
              <a:gd name="connsiteY3" fmla="*/ 178648 h 609600"/>
              <a:gd name="connsiteX4" fmla="*/ 381107 w 381107"/>
              <a:gd name="connsiteY4" fmla="*/ 430952 h 609600"/>
              <a:gd name="connsiteX5" fmla="*/ 202459 w 381107"/>
              <a:gd name="connsiteY5" fmla="*/ 609600 h 609600"/>
              <a:gd name="connsiteX6" fmla="*/ 178648 w 381107"/>
              <a:gd name="connsiteY6" fmla="*/ 609600 h 609600"/>
              <a:gd name="connsiteX7" fmla="*/ 0 w 381107"/>
              <a:gd name="connsiteY7" fmla="*/ 430952 h 609600"/>
              <a:gd name="connsiteX8" fmla="*/ 0 w 381107"/>
              <a:gd name="connsiteY8" fmla="*/ 178648 h 609600"/>
              <a:gd name="connsiteX0" fmla="*/ 0 w 381107"/>
              <a:gd name="connsiteY0" fmla="*/ 178648 h 609600"/>
              <a:gd name="connsiteX1" fmla="*/ 178648 w 381107"/>
              <a:gd name="connsiteY1" fmla="*/ 0 h 609600"/>
              <a:gd name="connsiteX2" fmla="*/ 202459 w 381107"/>
              <a:gd name="connsiteY2" fmla="*/ 0 h 609600"/>
              <a:gd name="connsiteX3" fmla="*/ 381107 w 381107"/>
              <a:gd name="connsiteY3" fmla="*/ 178648 h 609600"/>
              <a:gd name="connsiteX4" fmla="*/ 381107 w 381107"/>
              <a:gd name="connsiteY4" fmla="*/ 430952 h 609600"/>
              <a:gd name="connsiteX5" fmla="*/ 183409 w 381107"/>
              <a:gd name="connsiteY5" fmla="*/ 516731 h 609600"/>
              <a:gd name="connsiteX6" fmla="*/ 178648 w 381107"/>
              <a:gd name="connsiteY6" fmla="*/ 609600 h 609600"/>
              <a:gd name="connsiteX7" fmla="*/ 0 w 381107"/>
              <a:gd name="connsiteY7" fmla="*/ 430952 h 609600"/>
              <a:gd name="connsiteX8" fmla="*/ 0 w 381107"/>
              <a:gd name="connsiteY8" fmla="*/ 178648 h 609600"/>
              <a:gd name="connsiteX0" fmla="*/ 0 w 381107"/>
              <a:gd name="connsiteY0" fmla="*/ 178648 h 517283"/>
              <a:gd name="connsiteX1" fmla="*/ 178648 w 381107"/>
              <a:gd name="connsiteY1" fmla="*/ 0 h 517283"/>
              <a:gd name="connsiteX2" fmla="*/ 202459 w 381107"/>
              <a:gd name="connsiteY2" fmla="*/ 0 h 517283"/>
              <a:gd name="connsiteX3" fmla="*/ 381107 w 381107"/>
              <a:gd name="connsiteY3" fmla="*/ 178648 h 517283"/>
              <a:gd name="connsiteX4" fmla="*/ 381107 w 381107"/>
              <a:gd name="connsiteY4" fmla="*/ 430952 h 517283"/>
              <a:gd name="connsiteX5" fmla="*/ 183409 w 381107"/>
              <a:gd name="connsiteY5" fmla="*/ 516731 h 517283"/>
              <a:gd name="connsiteX6" fmla="*/ 171504 w 381107"/>
              <a:gd name="connsiteY6" fmla="*/ 516731 h 517283"/>
              <a:gd name="connsiteX7" fmla="*/ 0 w 381107"/>
              <a:gd name="connsiteY7" fmla="*/ 430952 h 517283"/>
              <a:gd name="connsiteX8" fmla="*/ 0 w 381107"/>
              <a:gd name="connsiteY8" fmla="*/ 178648 h 517283"/>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1504 w 381107"/>
              <a:gd name="connsiteY6" fmla="*/ 516731 h 523408"/>
              <a:gd name="connsiteX7" fmla="*/ 0 w 381107"/>
              <a:gd name="connsiteY7" fmla="*/ 430952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1504 w 381107"/>
              <a:gd name="connsiteY6" fmla="*/ 516731 h 523408"/>
              <a:gd name="connsiteX7" fmla="*/ 2381 w 381107"/>
              <a:gd name="connsiteY7" fmla="*/ 452384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6267 w 381107"/>
              <a:gd name="connsiteY6" fmla="*/ 452438 h 523408"/>
              <a:gd name="connsiteX7" fmla="*/ 2381 w 381107"/>
              <a:gd name="connsiteY7" fmla="*/ 452384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6267 w 381107"/>
              <a:gd name="connsiteY6" fmla="*/ 452438 h 523408"/>
              <a:gd name="connsiteX7" fmla="*/ 2381 w 381107"/>
              <a:gd name="connsiteY7" fmla="*/ 452384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6267 w 381107"/>
              <a:gd name="connsiteY6" fmla="*/ 452438 h 523408"/>
              <a:gd name="connsiteX7" fmla="*/ 2381 w 381107"/>
              <a:gd name="connsiteY7" fmla="*/ 452384 h 523408"/>
              <a:gd name="connsiteX8" fmla="*/ 0 w 381107"/>
              <a:gd name="connsiteY8" fmla="*/ 178648 h 523408"/>
              <a:gd name="connsiteX0" fmla="*/ 176267 w 381107"/>
              <a:gd name="connsiteY0" fmla="*/ 452438 h 543878"/>
              <a:gd name="connsiteX1" fmla="*/ 2381 w 381107"/>
              <a:gd name="connsiteY1" fmla="*/ 452384 h 543878"/>
              <a:gd name="connsiteX2" fmla="*/ 0 w 381107"/>
              <a:gd name="connsiteY2" fmla="*/ 178648 h 543878"/>
              <a:gd name="connsiteX3" fmla="*/ 178648 w 381107"/>
              <a:gd name="connsiteY3" fmla="*/ 0 h 543878"/>
              <a:gd name="connsiteX4" fmla="*/ 202459 w 381107"/>
              <a:gd name="connsiteY4" fmla="*/ 0 h 543878"/>
              <a:gd name="connsiteX5" fmla="*/ 381107 w 381107"/>
              <a:gd name="connsiteY5" fmla="*/ 178648 h 543878"/>
              <a:gd name="connsiteX6" fmla="*/ 378726 w 381107"/>
              <a:gd name="connsiteY6" fmla="*/ 454764 h 543878"/>
              <a:gd name="connsiteX7" fmla="*/ 183409 w 381107"/>
              <a:gd name="connsiteY7" fmla="*/ 516731 h 543878"/>
              <a:gd name="connsiteX8" fmla="*/ 267707 w 381107"/>
              <a:gd name="connsiteY8" fmla="*/ 543878 h 543878"/>
              <a:gd name="connsiteX0" fmla="*/ 2381 w 381107"/>
              <a:gd name="connsiteY0" fmla="*/ 452384 h 543878"/>
              <a:gd name="connsiteX1" fmla="*/ 0 w 381107"/>
              <a:gd name="connsiteY1" fmla="*/ 178648 h 543878"/>
              <a:gd name="connsiteX2" fmla="*/ 178648 w 381107"/>
              <a:gd name="connsiteY2" fmla="*/ 0 h 543878"/>
              <a:gd name="connsiteX3" fmla="*/ 202459 w 381107"/>
              <a:gd name="connsiteY3" fmla="*/ 0 h 543878"/>
              <a:gd name="connsiteX4" fmla="*/ 381107 w 381107"/>
              <a:gd name="connsiteY4" fmla="*/ 178648 h 543878"/>
              <a:gd name="connsiteX5" fmla="*/ 378726 w 381107"/>
              <a:gd name="connsiteY5" fmla="*/ 454764 h 543878"/>
              <a:gd name="connsiteX6" fmla="*/ 183409 w 381107"/>
              <a:gd name="connsiteY6" fmla="*/ 516731 h 543878"/>
              <a:gd name="connsiteX7" fmla="*/ 267707 w 381107"/>
              <a:gd name="connsiteY7" fmla="*/ 543878 h 543878"/>
              <a:gd name="connsiteX0" fmla="*/ 2381 w 381107"/>
              <a:gd name="connsiteY0" fmla="*/ 452384 h 543878"/>
              <a:gd name="connsiteX1" fmla="*/ 0 w 381107"/>
              <a:gd name="connsiteY1" fmla="*/ 178648 h 543878"/>
              <a:gd name="connsiteX2" fmla="*/ 178648 w 381107"/>
              <a:gd name="connsiteY2" fmla="*/ 0 h 543878"/>
              <a:gd name="connsiteX3" fmla="*/ 202459 w 381107"/>
              <a:gd name="connsiteY3" fmla="*/ 0 h 543878"/>
              <a:gd name="connsiteX4" fmla="*/ 381107 w 381107"/>
              <a:gd name="connsiteY4" fmla="*/ 178648 h 543878"/>
              <a:gd name="connsiteX5" fmla="*/ 378726 w 381107"/>
              <a:gd name="connsiteY5" fmla="*/ 454764 h 543878"/>
              <a:gd name="connsiteX6" fmla="*/ 267707 w 381107"/>
              <a:gd name="connsiteY6" fmla="*/ 543878 h 543878"/>
              <a:gd name="connsiteX0" fmla="*/ 2381 w 381107"/>
              <a:gd name="connsiteY0" fmla="*/ 452384 h 454764"/>
              <a:gd name="connsiteX1" fmla="*/ 0 w 381107"/>
              <a:gd name="connsiteY1" fmla="*/ 178648 h 454764"/>
              <a:gd name="connsiteX2" fmla="*/ 178648 w 381107"/>
              <a:gd name="connsiteY2" fmla="*/ 0 h 454764"/>
              <a:gd name="connsiteX3" fmla="*/ 202459 w 381107"/>
              <a:gd name="connsiteY3" fmla="*/ 0 h 454764"/>
              <a:gd name="connsiteX4" fmla="*/ 381107 w 381107"/>
              <a:gd name="connsiteY4" fmla="*/ 178648 h 454764"/>
              <a:gd name="connsiteX5" fmla="*/ 378726 w 381107"/>
              <a:gd name="connsiteY5" fmla="*/ 454764 h 45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107" h="454764">
                <a:moveTo>
                  <a:pt x="2381" y="452384"/>
                </a:moveTo>
                <a:cubicBezTo>
                  <a:pt x="1587" y="361139"/>
                  <a:pt x="794" y="269893"/>
                  <a:pt x="0" y="178648"/>
                </a:cubicBezTo>
                <a:cubicBezTo>
                  <a:pt x="0" y="79983"/>
                  <a:pt x="79983" y="0"/>
                  <a:pt x="178648" y="0"/>
                </a:cubicBezTo>
                <a:lnTo>
                  <a:pt x="202459" y="0"/>
                </a:lnTo>
                <a:cubicBezTo>
                  <a:pt x="301124" y="0"/>
                  <a:pt x="381107" y="79983"/>
                  <a:pt x="381107" y="178648"/>
                </a:cubicBezTo>
                <a:cubicBezTo>
                  <a:pt x="380313" y="270687"/>
                  <a:pt x="379520" y="362725"/>
                  <a:pt x="378726" y="454764"/>
                </a:cubicBez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chemeClr val="accent5"/>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D5DD4AD-64C5-4600-BEB2-CA923704EE05}"/>
              </a:ext>
            </a:extLst>
          </p:cNvPr>
          <p:cNvSpPr txBox="1"/>
          <p:nvPr userDrawn="1"/>
        </p:nvSpPr>
        <p:spPr>
          <a:xfrm>
            <a:off x="8839200" y="6436311"/>
            <a:ext cx="2209801" cy="301100"/>
          </a:xfrm>
          <a:prstGeom prst="rect">
            <a:avLst/>
          </a:prstGeom>
          <a:noFill/>
        </p:spPr>
        <p:txBody>
          <a:bodyPr wrap="square" lIns="0" rIns="0" bIns="0" rtlCol="0" anchor="b" anchorCtr="0">
            <a:noAutofit/>
          </a:bodyPr>
          <a:lstStyle/>
          <a:p>
            <a:pPr algn="r"/>
            <a:r>
              <a:rPr lang="en-US" sz="800">
                <a:solidFill>
                  <a:schemeClr val="tx1"/>
                </a:solidFill>
              </a:rPr>
              <a:t>Confidential – For Internal Use Only</a:t>
            </a:r>
          </a:p>
        </p:txBody>
      </p:sp>
    </p:spTree>
    <p:extLst>
      <p:ext uri="{BB962C8B-B14F-4D97-AF65-F5344CB8AC3E}">
        <p14:creationId xmlns:p14="http://schemas.microsoft.com/office/powerpoint/2010/main" val="2616670207"/>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9" r:id="rId11"/>
    <p:sldLayoutId id="2147484070" r:id="rId12"/>
    <p:sldLayoutId id="2147484071" r:id="rId13"/>
    <p:sldLayoutId id="2147484072" r:id="rId14"/>
    <p:sldLayoutId id="2147484074" r:id="rId15"/>
    <p:sldLayoutId id="2147484075" r:id="rId16"/>
    <p:sldLayoutId id="2147484076" r:id="rId17"/>
    <p:sldLayoutId id="2147484077" r:id="rId18"/>
    <p:sldLayoutId id="2147484078" r:id="rId19"/>
    <p:sldLayoutId id="2147484079" r:id="rId20"/>
    <p:sldLayoutId id="2147484082" r:id="rId21"/>
    <p:sldLayoutId id="2147484083" r:id="rId22"/>
    <p:sldLayoutId id="2147484084" r:id="rId23"/>
    <p:sldLayoutId id="2147484085" r:id="rId24"/>
    <p:sldLayoutId id="2147484080" r:id="rId25"/>
    <p:sldLayoutId id="2147484081" r:id="rId26"/>
  </p:sldLayoutIdLst>
  <p:hf sldNum="0" hdr="0" dt="0"/>
  <p:txStyles>
    <p:titleStyle>
      <a:lvl1pPr algn="l" defTabSz="914400" rtl="0" eaLnBrk="1" latinLnBrk="0" hangingPunct="1">
        <a:lnSpc>
          <a:spcPct val="90000"/>
        </a:lnSpc>
        <a:spcBef>
          <a:spcPct val="0"/>
        </a:spcBef>
        <a:buNone/>
        <a:defRPr lang="en-US" sz="2400" b="1" i="0" kern="1200" dirty="0">
          <a:solidFill>
            <a:schemeClr val="tx2"/>
          </a:solidFill>
          <a:latin typeface="Roboto" charset="0"/>
          <a:ea typeface="Roboto" charset="0"/>
          <a:cs typeface="Roboto"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2000" b="1" i="0" kern="1200" dirty="0" smtClean="0">
          <a:solidFill>
            <a:schemeClr val="accent2">
              <a:lumMod val="50000"/>
            </a:schemeClr>
          </a:solidFill>
          <a:latin typeface="Roboto" charset="0"/>
          <a:ea typeface="Roboto" charset="0"/>
          <a:cs typeface="Roboto" charset="0"/>
        </a:defRPr>
      </a:lvl1pPr>
      <a:lvl2pPr marL="228600" indent="-228600" algn="l" defTabSz="914400" rtl="0" eaLnBrk="1" latinLnBrk="0" hangingPunct="1">
        <a:lnSpc>
          <a:spcPct val="90000"/>
        </a:lnSpc>
        <a:spcBef>
          <a:spcPts val="500"/>
        </a:spcBef>
        <a:buFont typeface="Arial" panose="020B0604020202020204" pitchFamily="34" charset="0"/>
        <a:buChar char="•"/>
        <a:defRPr lang="en-US" sz="1600" b="0" i="0" kern="1200" dirty="0" smtClean="0">
          <a:solidFill>
            <a:schemeClr val="accent2">
              <a:lumMod val="50000"/>
            </a:schemeClr>
          </a:solidFill>
          <a:latin typeface="Roboto" charset="0"/>
          <a:ea typeface="Roboto" charset="0"/>
          <a:cs typeface="Roboto" charset="0"/>
        </a:defRPr>
      </a:lvl2pPr>
      <a:lvl3pPr marL="457200" indent="-228600" algn="l" defTabSz="914400" rtl="0" eaLnBrk="1" latinLnBrk="0" hangingPunct="1">
        <a:lnSpc>
          <a:spcPct val="90000"/>
        </a:lnSpc>
        <a:spcBef>
          <a:spcPts val="500"/>
        </a:spcBef>
        <a:buFontTx/>
        <a:buChar char="‒"/>
        <a:defRPr lang="en-US" sz="1400" b="0" i="0" kern="1200" dirty="0" smtClean="0">
          <a:solidFill>
            <a:schemeClr val="accent2">
              <a:lumMod val="50000"/>
            </a:schemeClr>
          </a:solidFill>
          <a:latin typeface="Roboto" charset="0"/>
          <a:ea typeface="Roboto" charset="0"/>
          <a:cs typeface="Roboto"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4.emf"/><Relationship Id="rId4" Type="http://schemas.openxmlformats.org/officeDocument/2006/relationships/oleObject" Target="../embeddings/oleObject49.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18.xml"/><Relationship Id="rId1" Type="http://schemas.openxmlformats.org/officeDocument/2006/relationships/tags" Target="../tags/tag141.xml"/><Relationship Id="rId4" Type="http://schemas.openxmlformats.org/officeDocument/2006/relationships/image" Target="../media/image3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19.xml"/><Relationship Id="rId1" Type="http://schemas.openxmlformats.org/officeDocument/2006/relationships/tags" Target="../tags/tag142.xml"/><Relationship Id="rId4" Type="http://schemas.openxmlformats.org/officeDocument/2006/relationships/image" Target="../media/image3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6.xml"/><Relationship Id="rId1" Type="http://schemas.openxmlformats.org/officeDocument/2006/relationships/tags" Target="../tags/tag143.xml"/><Relationship Id="rId4" Type="http://schemas.openxmlformats.org/officeDocument/2006/relationships/image" Target="../media/image3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7.xml"/><Relationship Id="rId1" Type="http://schemas.openxmlformats.org/officeDocument/2006/relationships/tags" Target="../tags/tag144.xml"/><Relationship Id="rId4" Type="http://schemas.openxmlformats.org/officeDocument/2006/relationships/image" Target="../media/image3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8.xml"/><Relationship Id="rId1" Type="http://schemas.openxmlformats.org/officeDocument/2006/relationships/tags" Target="../tags/tag145.xml"/><Relationship Id="rId4" Type="http://schemas.openxmlformats.org/officeDocument/2006/relationships/image" Target="../media/image3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9.xml"/><Relationship Id="rId1" Type="http://schemas.openxmlformats.org/officeDocument/2006/relationships/tags" Target="../tags/tag146.xml"/><Relationship Id="rId4" Type="http://schemas.openxmlformats.org/officeDocument/2006/relationships/image" Target="../media/image3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10.xml"/><Relationship Id="rId1" Type="http://schemas.openxmlformats.org/officeDocument/2006/relationships/tags" Target="../tags/tag147.xml"/><Relationship Id="rId4" Type="http://schemas.openxmlformats.org/officeDocument/2006/relationships/image" Target="../media/image3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11.xml"/><Relationship Id="rId1" Type="http://schemas.openxmlformats.org/officeDocument/2006/relationships/tags" Target="../tags/tag148.xml"/><Relationship Id="rId4" Type="http://schemas.openxmlformats.org/officeDocument/2006/relationships/image" Target="../media/image3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2.xml"/><Relationship Id="rId1" Type="http://schemas.openxmlformats.org/officeDocument/2006/relationships/tags" Target="../tags/tag149.xml"/><Relationship Id="rId4" Type="http://schemas.openxmlformats.org/officeDocument/2006/relationships/image" Target="../media/image3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3.xml"/><Relationship Id="rId1" Type="http://schemas.openxmlformats.org/officeDocument/2006/relationships/tags" Target="../tags/tag150.xml"/><Relationship Id="rId4" Type="http://schemas.openxmlformats.org/officeDocument/2006/relationships/image" Target="../media/image38.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4.emf"/><Relationship Id="rId4" Type="http://schemas.openxmlformats.org/officeDocument/2006/relationships/oleObject" Target="../embeddings/oleObject50.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5.xml"/><Relationship Id="rId1" Type="http://schemas.openxmlformats.org/officeDocument/2006/relationships/tags" Target="../tags/tag151.xml"/><Relationship Id="rId4" Type="http://schemas.openxmlformats.org/officeDocument/2006/relationships/image" Target="../media/image38.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3.xml"/><Relationship Id="rId1" Type="http://schemas.openxmlformats.org/officeDocument/2006/relationships/tags" Target="../tags/tag133.xml"/><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5.xml.rels><?xml version="1.0" encoding="UTF-8" standalone="yes"?>
<Relationships xmlns="http://schemas.openxmlformats.org/package/2006/relationships"><Relationship Id="rId13" Type="http://schemas.openxmlformats.org/officeDocument/2006/relationships/tags" Target="../tags/tag164.xml"/><Relationship Id="rId18" Type="http://schemas.openxmlformats.org/officeDocument/2006/relationships/tags" Target="../tags/tag169.xml"/><Relationship Id="rId26" Type="http://schemas.openxmlformats.org/officeDocument/2006/relationships/tags" Target="../tags/tag177.xml"/><Relationship Id="rId39" Type="http://schemas.openxmlformats.org/officeDocument/2006/relationships/tags" Target="../tags/tag190.xml"/><Relationship Id="rId21" Type="http://schemas.openxmlformats.org/officeDocument/2006/relationships/tags" Target="../tags/tag172.xml"/><Relationship Id="rId34" Type="http://schemas.openxmlformats.org/officeDocument/2006/relationships/tags" Target="../tags/tag185.xml"/><Relationship Id="rId42" Type="http://schemas.openxmlformats.org/officeDocument/2006/relationships/oleObject" Target="../embeddings/oleObject68.bin"/><Relationship Id="rId7" Type="http://schemas.openxmlformats.org/officeDocument/2006/relationships/tags" Target="../tags/tag158.xml"/><Relationship Id="rId2" Type="http://schemas.openxmlformats.org/officeDocument/2006/relationships/tags" Target="../tags/tag153.xml"/><Relationship Id="rId16" Type="http://schemas.openxmlformats.org/officeDocument/2006/relationships/tags" Target="../tags/tag167.xml"/><Relationship Id="rId29" Type="http://schemas.openxmlformats.org/officeDocument/2006/relationships/tags" Target="../tags/tag180.xml"/><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tags" Target="../tags/tag162.xml"/><Relationship Id="rId24" Type="http://schemas.openxmlformats.org/officeDocument/2006/relationships/tags" Target="../tags/tag175.xml"/><Relationship Id="rId32" Type="http://schemas.openxmlformats.org/officeDocument/2006/relationships/tags" Target="../tags/tag183.xml"/><Relationship Id="rId37" Type="http://schemas.openxmlformats.org/officeDocument/2006/relationships/tags" Target="../tags/tag188.xml"/><Relationship Id="rId40" Type="http://schemas.openxmlformats.org/officeDocument/2006/relationships/slideLayout" Target="../slideLayouts/slideLayout3.xml"/><Relationship Id="rId45" Type="http://schemas.openxmlformats.org/officeDocument/2006/relationships/chart" Target="../charts/chart2.xml"/><Relationship Id="rId5" Type="http://schemas.openxmlformats.org/officeDocument/2006/relationships/tags" Target="../tags/tag156.xml"/><Relationship Id="rId15" Type="http://schemas.openxmlformats.org/officeDocument/2006/relationships/tags" Target="../tags/tag166.xml"/><Relationship Id="rId23" Type="http://schemas.openxmlformats.org/officeDocument/2006/relationships/tags" Target="../tags/tag174.xml"/><Relationship Id="rId28" Type="http://schemas.openxmlformats.org/officeDocument/2006/relationships/tags" Target="../tags/tag179.xml"/><Relationship Id="rId36" Type="http://schemas.openxmlformats.org/officeDocument/2006/relationships/tags" Target="../tags/tag187.xml"/><Relationship Id="rId10" Type="http://schemas.openxmlformats.org/officeDocument/2006/relationships/tags" Target="../tags/tag161.xml"/><Relationship Id="rId19" Type="http://schemas.openxmlformats.org/officeDocument/2006/relationships/tags" Target="../tags/tag170.xml"/><Relationship Id="rId31" Type="http://schemas.openxmlformats.org/officeDocument/2006/relationships/tags" Target="../tags/tag182.xml"/><Relationship Id="rId44" Type="http://schemas.openxmlformats.org/officeDocument/2006/relationships/chart" Target="../charts/chart1.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tags" Target="../tags/tag173.xml"/><Relationship Id="rId27" Type="http://schemas.openxmlformats.org/officeDocument/2006/relationships/tags" Target="../tags/tag178.xml"/><Relationship Id="rId30" Type="http://schemas.openxmlformats.org/officeDocument/2006/relationships/tags" Target="../tags/tag181.xml"/><Relationship Id="rId35" Type="http://schemas.openxmlformats.org/officeDocument/2006/relationships/tags" Target="../tags/tag186.xml"/><Relationship Id="rId43" Type="http://schemas.openxmlformats.org/officeDocument/2006/relationships/image" Target="../media/image38.emf"/><Relationship Id="rId8" Type="http://schemas.openxmlformats.org/officeDocument/2006/relationships/tags" Target="../tags/tag159.xml"/><Relationship Id="rId3" Type="http://schemas.openxmlformats.org/officeDocument/2006/relationships/tags" Target="../tags/tag154.xml"/><Relationship Id="rId12" Type="http://schemas.openxmlformats.org/officeDocument/2006/relationships/tags" Target="../tags/tag163.xml"/><Relationship Id="rId17" Type="http://schemas.openxmlformats.org/officeDocument/2006/relationships/tags" Target="../tags/tag168.xml"/><Relationship Id="rId25" Type="http://schemas.openxmlformats.org/officeDocument/2006/relationships/tags" Target="../tags/tag176.xml"/><Relationship Id="rId33" Type="http://schemas.openxmlformats.org/officeDocument/2006/relationships/tags" Target="../tags/tag184.xml"/><Relationship Id="rId38" Type="http://schemas.openxmlformats.org/officeDocument/2006/relationships/tags" Target="../tags/tag189.xml"/><Relationship Id="rId20" Type="http://schemas.openxmlformats.org/officeDocument/2006/relationships/tags" Target="../tags/tag171.xml"/><Relationship Id="rId41" Type="http://schemas.openxmlformats.org/officeDocument/2006/relationships/notesSlide" Target="../notesSlides/notesSlide1.xml"/></Relationships>
</file>

<file path=ppt/slides/_rels/slide36.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tags" Target="../tags/tag203.xml"/><Relationship Id="rId18" Type="http://schemas.openxmlformats.org/officeDocument/2006/relationships/tags" Target="../tags/tag208.xml"/><Relationship Id="rId26" Type="http://schemas.openxmlformats.org/officeDocument/2006/relationships/tags" Target="../tags/tag216.xml"/><Relationship Id="rId3" Type="http://schemas.openxmlformats.org/officeDocument/2006/relationships/tags" Target="../tags/tag193.xml"/><Relationship Id="rId21" Type="http://schemas.openxmlformats.org/officeDocument/2006/relationships/tags" Target="../tags/tag211.xml"/><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5" Type="http://schemas.openxmlformats.org/officeDocument/2006/relationships/tags" Target="../tags/tag215.xml"/><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tags" Target="../tags/tag210.xml"/><Relationship Id="rId29" Type="http://schemas.openxmlformats.org/officeDocument/2006/relationships/oleObject" Target="../embeddings/oleObject69.bin"/><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tags" Target="../tags/tag201.xml"/><Relationship Id="rId24" Type="http://schemas.openxmlformats.org/officeDocument/2006/relationships/tags" Target="../tags/tag214.xml"/><Relationship Id="rId5" Type="http://schemas.openxmlformats.org/officeDocument/2006/relationships/tags" Target="../tags/tag195.xml"/><Relationship Id="rId15" Type="http://schemas.openxmlformats.org/officeDocument/2006/relationships/tags" Target="../tags/tag205.xml"/><Relationship Id="rId23" Type="http://schemas.openxmlformats.org/officeDocument/2006/relationships/tags" Target="../tags/tag213.xml"/><Relationship Id="rId28" Type="http://schemas.openxmlformats.org/officeDocument/2006/relationships/notesSlide" Target="../notesSlides/notesSlide2.xml"/><Relationship Id="rId10" Type="http://schemas.openxmlformats.org/officeDocument/2006/relationships/tags" Target="../tags/tag200.xml"/><Relationship Id="rId19" Type="http://schemas.openxmlformats.org/officeDocument/2006/relationships/tags" Target="../tags/tag209.xml"/><Relationship Id="rId31" Type="http://schemas.openxmlformats.org/officeDocument/2006/relationships/chart" Target="../charts/chart3.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tags" Target="../tags/tag212.xml"/><Relationship Id="rId27" Type="http://schemas.openxmlformats.org/officeDocument/2006/relationships/slideLayout" Target="../slideLayouts/slideLayout3.xml"/><Relationship Id="rId30" Type="http://schemas.openxmlformats.org/officeDocument/2006/relationships/image" Target="../media/image38.emf"/></Relationships>
</file>

<file path=ppt/slides/_rels/slide37.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tags" Target="../tags/tag229.xml"/><Relationship Id="rId18" Type="http://schemas.openxmlformats.org/officeDocument/2006/relationships/notesSlide" Target="../notesSlides/notesSlide3.xml"/><Relationship Id="rId3" Type="http://schemas.openxmlformats.org/officeDocument/2006/relationships/tags" Target="../tags/tag219.xml"/><Relationship Id="rId21" Type="http://schemas.openxmlformats.org/officeDocument/2006/relationships/chart" Target="../charts/chart4.xml"/><Relationship Id="rId7" Type="http://schemas.openxmlformats.org/officeDocument/2006/relationships/tags" Target="../tags/tag223.xml"/><Relationship Id="rId12" Type="http://schemas.openxmlformats.org/officeDocument/2006/relationships/tags" Target="../tags/tag228.xml"/><Relationship Id="rId17" Type="http://schemas.openxmlformats.org/officeDocument/2006/relationships/slideLayout" Target="../slideLayouts/slideLayout3.xml"/><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image" Target="../media/image38.emf"/><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5" Type="http://schemas.openxmlformats.org/officeDocument/2006/relationships/tags" Target="../tags/tag221.xml"/><Relationship Id="rId15" Type="http://schemas.openxmlformats.org/officeDocument/2006/relationships/tags" Target="../tags/tag231.xml"/><Relationship Id="rId10" Type="http://schemas.openxmlformats.org/officeDocument/2006/relationships/tags" Target="../tags/tag226.xml"/><Relationship Id="rId19" Type="http://schemas.openxmlformats.org/officeDocument/2006/relationships/oleObject" Target="../embeddings/oleObject70.bin"/><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chart" Target="../charts/chart5.xml"/></Relationships>
</file>

<file path=ppt/slides/_rels/slide38.xml.rels><?xml version="1.0" encoding="UTF-8" standalone="yes"?>
<Relationships xmlns="http://schemas.openxmlformats.org/package/2006/relationships"><Relationship Id="rId13" Type="http://schemas.openxmlformats.org/officeDocument/2006/relationships/tags" Target="../tags/tag245.xml"/><Relationship Id="rId18" Type="http://schemas.openxmlformats.org/officeDocument/2006/relationships/tags" Target="../tags/tag250.xml"/><Relationship Id="rId26" Type="http://schemas.openxmlformats.org/officeDocument/2006/relationships/tags" Target="../tags/tag258.xml"/><Relationship Id="rId39" Type="http://schemas.openxmlformats.org/officeDocument/2006/relationships/tags" Target="../tags/tag271.xml"/><Relationship Id="rId21" Type="http://schemas.openxmlformats.org/officeDocument/2006/relationships/tags" Target="../tags/tag253.xml"/><Relationship Id="rId34" Type="http://schemas.openxmlformats.org/officeDocument/2006/relationships/tags" Target="../tags/tag266.xml"/><Relationship Id="rId42" Type="http://schemas.openxmlformats.org/officeDocument/2006/relationships/tags" Target="../tags/tag274.xml"/><Relationship Id="rId47" Type="http://schemas.openxmlformats.org/officeDocument/2006/relationships/tags" Target="../tags/tag279.xml"/><Relationship Id="rId50" Type="http://schemas.openxmlformats.org/officeDocument/2006/relationships/tags" Target="../tags/tag282.xml"/><Relationship Id="rId55" Type="http://schemas.openxmlformats.org/officeDocument/2006/relationships/tags" Target="../tags/tag287.xml"/><Relationship Id="rId7" Type="http://schemas.openxmlformats.org/officeDocument/2006/relationships/tags" Target="../tags/tag239.xml"/><Relationship Id="rId2" Type="http://schemas.openxmlformats.org/officeDocument/2006/relationships/tags" Target="../tags/tag234.xml"/><Relationship Id="rId16" Type="http://schemas.openxmlformats.org/officeDocument/2006/relationships/tags" Target="../tags/tag248.xml"/><Relationship Id="rId29" Type="http://schemas.openxmlformats.org/officeDocument/2006/relationships/tags" Target="../tags/tag261.xml"/><Relationship Id="rId11" Type="http://schemas.openxmlformats.org/officeDocument/2006/relationships/tags" Target="../tags/tag243.xml"/><Relationship Id="rId24" Type="http://schemas.openxmlformats.org/officeDocument/2006/relationships/tags" Target="../tags/tag256.xml"/><Relationship Id="rId32" Type="http://schemas.openxmlformats.org/officeDocument/2006/relationships/tags" Target="../tags/tag264.xml"/><Relationship Id="rId37" Type="http://schemas.openxmlformats.org/officeDocument/2006/relationships/tags" Target="../tags/tag269.xml"/><Relationship Id="rId40" Type="http://schemas.openxmlformats.org/officeDocument/2006/relationships/tags" Target="../tags/tag272.xml"/><Relationship Id="rId45" Type="http://schemas.openxmlformats.org/officeDocument/2006/relationships/tags" Target="../tags/tag277.xml"/><Relationship Id="rId53" Type="http://schemas.openxmlformats.org/officeDocument/2006/relationships/tags" Target="../tags/tag285.xml"/><Relationship Id="rId58" Type="http://schemas.openxmlformats.org/officeDocument/2006/relationships/oleObject" Target="../embeddings/oleObject71.bin"/><Relationship Id="rId5" Type="http://schemas.openxmlformats.org/officeDocument/2006/relationships/tags" Target="../tags/tag237.xml"/><Relationship Id="rId61" Type="http://schemas.openxmlformats.org/officeDocument/2006/relationships/chart" Target="../charts/chart7.xml"/><Relationship Id="rId19" Type="http://schemas.openxmlformats.org/officeDocument/2006/relationships/tags" Target="../tags/tag251.xml"/><Relationship Id="rId14" Type="http://schemas.openxmlformats.org/officeDocument/2006/relationships/tags" Target="../tags/tag246.xml"/><Relationship Id="rId22" Type="http://schemas.openxmlformats.org/officeDocument/2006/relationships/tags" Target="../tags/tag254.xml"/><Relationship Id="rId27" Type="http://schemas.openxmlformats.org/officeDocument/2006/relationships/tags" Target="../tags/tag259.xml"/><Relationship Id="rId30" Type="http://schemas.openxmlformats.org/officeDocument/2006/relationships/tags" Target="../tags/tag262.xml"/><Relationship Id="rId35" Type="http://schemas.openxmlformats.org/officeDocument/2006/relationships/tags" Target="../tags/tag267.xml"/><Relationship Id="rId43" Type="http://schemas.openxmlformats.org/officeDocument/2006/relationships/tags" Target="../tags/tag275.xml"/><Relationship Id="rId48" Type="http://schemas.openxmlformats.org/officeDocument/2006/relationships/tags" Target="../tags/tag280.xml"/><Relationship Id="rId56" Type="http://schemas.openxmlformats.org/officeDocument/2006/relationships/tags" Target="../tags/tag288.xml"/><Relationship Id="rId8" Type="http://schemas.openxmlformats.org/officeDocument/2006/relationships/tags" Target="../tags/tag240.xml"/><Relationship Id="rId51" Type="http://schemas.openxmlformats.org/officeDocument/2006/relationships/tags" Target="../tags/tag283.xml"/><Relationship Id="rId3" Type="http://schemas.openxmlformats.org/officeDocument/2006/relationships/tags" Target="../tags/tag235.xml"/><Relationship Id="rId12" Type="http://schemas.openxmlformats.org/officeDocument/2006/relationships/tags" Target="../tags/tag244.xml"/><Relationship Id="rId17" Type="http://schemas.openxmlformats.org/officeDocument/2006/relationships/tags" Target="../tags/tag249.xml"/><Relationship Id="rId25" Type="http://schemas.openxmlformats.org/officeDocument/2006/relationships/tags" Target="../tags/tag257.xml"/><Relationship Id="rId33" Type="http://schemas.openxmlformats.org/officeDocument/2006/relationships/tags" Target="../tags/tag265.xml"/><Relationship Id="rId38" Type="http://schemas.openxmlformats.org/officeDocument/2006/relationships/tags" Target="../tags/tag270.xml"/><Relationship Id="rId46" Type="http://schemas.openxmlformats.org/officeDocument/2006/relationships/tags" Target="../tags/tag278.xml"/><Relationship Id="rId59" Type="http://schemas.openxmlformats.org/officeDocument/2006/relationships/image" Target="../media/image38.emf"/><Relationship Id="rId20" Type="http://schemas.openxmlformats.org/officeDocument/2006/relationships/tags" Target="../tags/tag252.xml"/><Relationship Id="rId41" Type="http://schemas.openxmlformats.org/officeDocument/2006/relationships/tags" Target="../tags/tag273.xml"/><Relationship Id="rId54" Type="http://schemas.openxmlformats.org/officeDocument/2006/relationships/tags" Target="../tags/tag286.xml"/><Relationship Id="rId1" Type="http://schemas.openxmlformats.org/officeDocument/2006/relationships/tags" Target="../tags/tag233.xml"/><Relationship Id="rId6" Type="http://schemas.openxmlformats.org/officeDocument/2006/relationships/tags" Target="../tags/tag238.xml"/><Relationship Id="rId15" Type="http://schemas.openxmlformats.org/officeDocument/2006/relationships/tags" Target="../tags/tag247.xml"/><Relationship Id="rId23" Type="http://schemas.openxmlformats.org/officeDocument/2006/relationships/tags" Target="../tags/tag255.xml"/><Relationship Id="rId28" Type="http://schemas.openxmlformats.org/officeDocument/2006/relationships/tags" Target="../tags/tag260.xml"/><Relationship Id="rId36" Type="http://schemas.openxmlformats.org/officeDocument/2006/relationships/tags" Target="../tags/tag268.xml"/><Relationship Id="rId49" Type="http://schemas.openxmlformats.org/officeDocument/2006/relationships/tags" Target="../tags/tag281.xml"/><Relationship Id="rId57" Type="http://schemas.openxmlformats.org/officeDocument/2006/relationships/slideLayout" Target="../slideLayouts/slideLayout4.xml"/><Relationship Id="rId10" Type="http://schemas.openxmlformats.org/officeDocument/2006/relationships/tags" Target="../tags/tag242.xml"/><Relationship Id="rId31" Type="http://schemas.openxmlformats.org/officeDocument/2006/relationships/tags" Target="../tags/tag263.xml"/><Relationship Id="rId44" Type="http://schemas.openxmlformats.org/officeDocument/2006/relationships/tags" Target="../tags/tag276.xml"/><Relationship Id="rId52" Type="http://schemas.openxmlformats.org/officeDocument/2006/relationships/tags" Target="../tags/tag284.xml"/><Relationship Id="rId60" Type="http://schemas.openxmlformats.org/officeDocument/2006/relationships/chart" Target="../charts/chart6.xml"/><Relationship Id="rId4" Type="http://schemas.openxmlformats.org/officeDocument/2006/relationships/tags" Target="../tags/tag236.xml"/><Relationship Id="rId9" Type="http://schemas.openxmlformats.org/officeDocument/2006/relationships/tags" Target="../tags/tag241.xml"/></Relationships>
</file>

<file path=ppt/slides/_rels/slide39.xml.rels><?xml version="1.0" encoding="UTF-8" standalone="yes"?>
<Relationships xmlns="http://schemas.openxmlformats.org/package/2006/relationships"><Relationship Id="rId3" Type="http://schemas.openxmlformats.org/officeDocument/2006/relationships/tags" Target="../tags/tag291.xml"/><Relationship Id="rId7" Type="http://schemas.openxmlformats.org/officeDocument/2006/relationships/image" Target="../media/image38.emf"/><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oleObject" Target="../embeddings/oleObject72.bin"/><Relationship Id="rId5" Type="http://schemas.openxmlformats.org/officeDocument/2006/relationships/notesSlide" Target="../notesSlides/notesSlide4.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34.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0.sv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73.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0.svg"/><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74.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0.sv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75.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0.sv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76.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0.sv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77.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0.sv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78.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0.svg"/><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79.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0.svg"/><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80.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308.xml"/><Relationship Id="rId5" Type="http://schemas.openxmlformats.org/officeDocument/2006/relationships/image" Target="../media/image41.wmf"/><Relationship Id="rId4" Type="http://schemas.openxmlformats.org/officeDocument/2006/relationships/image" Target="../media/image4.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309.xml"/><Relationship Id="rId4" Type="http://schemas.openxmlformats.org/officeDocument/2006/relationships/image" Target="../media/image4.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135.xml"/><Relationship Id="rId4" Type="http://schemas.openxmlformats.org/officeDocument/2006/relationships/image" Target="../media/image3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310.xml"/><Relationship Id="rId4" Type="http://schemas.openxmlformats.org/officeDocument/2006/relationships/image" Target="../media/image4.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311.xml"/><Relationship Id="rId4" Type="http://schemas.openxmlformats.org/officeDocument/2006/relationships/image" Target="../media/image4.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312.xml"/><Relationship Id="rId4" Type="http://schemas.openxmlformats.org/officeDocument/2006/relationships/image" Target="../media/image4.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5.xml"/><Relationship Id="rId1" Type="http://schemas.openxmlformats.org/officeDocument/2006/relationships/tags" Target="../tags/tag313.xml"/><Relationship Id="rId4" Type="http://schemas.openxmlformats.org/officeDocument/2006/relationships/image" Target="../media/image4.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314.xml"/><Relationship Id="rId4" Type="http://schemas.openxmlformats.org/officeDocument/2006/relationships/image" Target="../media/image4.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315.xml"/><Relationship Id="rId4" Type="http://schemas.openxmlformats.org/officeDocument/2006/relationships/image" Target="../media/image4.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316.xml"/><Relationship Id="rId4" Type="http://schemas.openxmlformats.org/officeDocument/2006/relationships/image" Target="../media/image4.emf"/></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8.xml"/><Relationship Id="rId1" Type="http://schemas.openxmlformats.org/officeDocument/2006/relationships/tags" Target="../tags/tag317.xml"/><Relationship Id="rId5" Type="http://schemas.openxmlformats.org/officeDocument/2006/relationships/image" Target="../media/image38.emf"/><Relationship Id="rId4" Type="http://schemas.openxmlformats.org/officeDocument/2006/relationships/oleObject" Target="../embeddings/oleObject90.bin"/></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319.xml"/><Relationship Id="rId4" Type="http://schemas.openxmlformats.org/officeDocument/2006/relationships/image" Target="../media/image4.emf"/></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1.xml"/><Relationship Id="rId1" Type="http://schemas.openxmlformats.org/officeDocument/2006/relationships/tags" Target="../tags/tag320.xml"/><Relationship Id="rId5" Type="http://schemas.openxmlformats.org/officeDocument/2006/relationships/oleObject" Target="../embeddings/oleObject9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4.emf"/><Relationship Id="rId4" Type="http://schemas.openxmlformats.org/officeDocument/2006/relationships/oleObject" Target="../embeddings/oleObject54.bin"/></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3.xml"/><Relationship Id="rId1" Type="http://schemas.openxmlformats.org/officeDocument/2006/relationships/tags" Target="../tags/tag322.xml"/><Relationship Id="rId5" Type="http://schemas.openxmlformats.org/officeDocument/2006/relationships/oleObject" Target="../embeddings/oleObject93.bin"/><Relationship Id="rId4" Type="http://schemas.openxmlformats.org/officeDocument/2006/relationships/notesSlide" Target="../notesSlides/notesSlide6.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5.xml"/><Relationship Id="rId1" Type="http://schemas.openxmlformats.org/officeDocument/2006/relationships/tags" Target="../tags/tag324.xml"/><Relationship Id="rId5" Type="http://schemas.openxmlformats.org/officeDocument/2006/relationships/oleObject" Target="../embeddings/oleObject94.bin"/><Relationship Id="rId4" Type="http://schemas.openxmlformats.org/officeDocument/2006/relationships/notesSlide" Target="../notesSlides/notesSlide7.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7.xml"/><Relationship Id="rId1" Type="http://schemas.openxmlformats.org/officeDocument/2006/relationships/tags" Target="../tags/tag326.xml"/><Relationship Id="rId5" Type="http://schemas.openxmlformats.org/officeDocument/2006/relationships/oleObject" Target="../embeddings/oleObject95.bin"/><Relationship Id="rId4" Type="http://schemas.openxmlformats.org/officeDocument/2006/relationships/notesSlide" Target="../notesSlides/notesSlide8.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oleObject" Target="../embeddings/oleObject96.bin"/><Relationship Id="rId4" Type="http://schemas.openxmlformats.org/officeDocument/2006/relationships/notesSlide" Target="../notesSlides/notesSlide9.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oleObject" Target="../embeddings/oleObject97.bin"/><Relationship Id="rId4" Type="http://schemas.openxmlformats.org/officeDocument/2006/relationships/notesSlide" Target="../notesSlides/notesSlide10.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3.xml"/><Relationship Id="rId1" Type="http://schemas.openxmlformats.org/officeDocument/2006/relationships/tags" Target="../tags/tag332.xml"/><Relationship Id="rId5" Type="http://schemas.openxmlformats.org/officeDocument/2006/relationships/oleObject" Target="../embeddings/oleObject98.bin"/><Relationship Id="rId4" Type="http://schemas.openxmlformats.org/officeDocument/2006/relationships/notesSlide" Target="../notesSlides/notesSlide11.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5.xml"/><Relationship Id="rId1" Type="http://schemas.openxmlformats.org/officeDocument/2006/relationships/tags" Target="../tags/tag334.xml"/><Relationship Id="rId5" Type="http://schemas.openxmlformats.org/officeDocument/2006/relationships/oleObject" Target="../embeddings/oleObject99.bin"/><Relationship Id="rId4" Type="http://schemas.openxmlformats.org/officeDocument/2006/relationships/notesSlide" Target="../notesSlides/notesSlide12.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7.xml"/><Relationship Id="rId1" Type="http://schemas.openxmlformats.org/officeDocument/2006/relationships/tags" Target="../tags/tag336.xml"/><Relationship Id="rId5" Type="http://schemas.openxmlformats.org/officeDocument/2006/relationships/oleObject" Target="../embeddings/oleObject100.bin"/><Relationship Id="rId4" Type="http://schemas.openxmlformats.org/officeDocument/2006/relationships/notesSlide" Target="../notesSlides/notesSlide13.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9.xml"/><Relationship Id="rId1" Type="http://schemas.openxmlformats.org/officeDocument/2006/relationships/tags" Target="../tags/tag338.xml"/><Relationship Id="rId5" Type="http://schemas.openxmlformats.org/officeDocument/2006/relationships/oleObject" Target="../embeddings/oleObject101.bin"/><Relationship Id="rId4" Type="http://schemas.openxmlformats.org/officeDocument/2006/relationships/notesSlide" Target="../notesSlides/notesSlide14.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1.xml"/><Relationship Id="rId1" Type="http://schemas.openxmlformats.org/officeDocument/2006/relationships/tags" Target="../tags/tag340.xml"/><Relationship Id="rId5" Type="http://schemas.openxmlformats.org/officeDocument/2006/relationships/oleObject" Target="../embeddings/oleObject102.bin"/><Relationship Id="rId4" Type="http://schemas.openxmlformats.org/officeDocument/2006/relationships/notesSlide" Target="../notesSlides/notesSlide1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4.emf"/><Relationship Id="rId4" Type="http://schemas.openxmlformats.org/officeDocument/2006/relationships/oleObject" Target="../embeddings/oleObject55.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3.xml"/><Relationship Id="rId1" Type="http://schemas.openxmlformats.org/officeDocument/2006/relationships/tags" Target="../tags/tag342.xml"/><Relationship Id="rId5" Type="http://schemas.openxmlformats.org/officeDocument/2006/relationships/oleObject" Target="../embeddings/oleObject103.bin"/><Relationship Id="rId4" Type="http://schemas.openxmlformats.org/officeDocument/2006/relationships/notesSlide" Target="../notesSlides/notesSlide16.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5.xml"/><Relationship Id="rId1" Type="http://schemas.openxmlformats.org/officeDocument/2006/relationships/tags" Target="../tags/tag344.xml"/><Relationship Id="rId5" Type="http://schemas.openxmlformats.org/officeDocument/2006/relationships/oleObject" Target="../embeddings/oleObject104.bin"/><Relationship Id="rId4" Type="http://schemas.openxmlformats.org/officeDocument/2006/relationships/notesSlide" Target="../notesSlides/notesSlide17.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46.xml"/><Relationship Id="rId4" Type="http://schemas.openxmlformats.org/officeDocument/2006/relationships/oleObject" Target="../embeddings/oleObject105.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image" Target="../media/image42.emf"/><Relationship Id="rId5" Type="http://schemas.openxmlformats.org/officeDocument/2006/relationships/oleObject" Target="../embeddings/oleObject106.bin"/><Relationship Id="rId4" Type="http://schemas.openxmlformats.org/officeDocument/2006/relationships/notesSlide" Target="../notesSlides/notesSlide19.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0.xml"/><Relationship Id="rId1" Type="http://schemas.openxmlformats.org/officeDocument/2006/relationships/tags" Target="../tags/tag349.xml"/><Relationship Id="rId5" Type="http://schemas.openxmlformats.org/officeDocument/2006/relationships/oleObject" Target="../embeddings/oleObject107.bin"/><Relationship Id="rId4" Type="http://schemas.openxmlformats.org/officeDocument/2006/relationships/notesSlide" Target="../notesSlides/notesSlide20.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oleObject" Target="../embeddings/oleObject109.bin"/><Relationship Id="rId5" Type="http://schemas.openxmlformats.org/officeDocument/2006/relationships/oleObject" Target="../embeddings/oleObject108.bin"/><Relationship Id="rId4" Type="http://schemas.openxmlformats.org/officeDocument/2006/relationships/notesSlide" Target="../notesSlides/notesSlide21.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image" Target="../media/image44.png"/><Relationship Id="rId5" Type="http://schemas.openxmlformats.org/officeDocument/2006/relationships/oleObject" Target="../embeddings/oleObject110.bin"/><Relationship Id="rId4" Type="http://schemas.openxmlformats.org/officeDocument/2006/relationships/notesSlide" Target="../notesSlides/notesSlide22.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355.xml"/><Relationship Id="rId4" Type="http://schemas.openxmlformats.org/officeDocument/2006/relationships/oleObject" Target="../embeddings/oleObject111.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356.xml"/><Relationship Id="rId4" Type="http://schemas.openxmlformats.org/officeDocument/2006/relationships/oleObject" Target="../embeddings/oleObject112.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357.xml"/><Relationship Id="rId4" Type="http://schemas.openxmlformats.org/officeDocument/2006/relationships/oleObject" Target="../embeddings/oleObject113.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6.xml"/><Relationship Id="rId1" Type="http://schemas.openxmlformats.org/officeDocument/2006/relationships/tags" Target="../tags/tag140.xml"/><Relationship Id="rId4" Type="http://schemas.openxmlformats.org/officeDocument/2006/relationships/image" Target="../media/image3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358.xml"/><Relationship Id="rId4" Type="http://schemas.openxmlformats.org/officeDocument/2006/relationships/oleObject" Target="../embeddings/oleObject114.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359.xml"/><Relationship Id="rId4" Type="http://schemas.openxmlformats.org/officeDocument/2006/relationships/oleObject" Target="../embeddings/oleObject115.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60.xml"/><Relationship Id="rId4" Type="http://schemas.openxmlformats.org/officeDocument/2006/relationships/oleObject" Target="../embeddings/oleObject116.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361.xml"/><Relationship Id="rId4" Type="http://schemas.openxmlformats.org/officeDocument/2006/relationships/oleObject" Target="../embeddings/oleObject11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362.xml"/><Relationship Id="rId4" Type="http://schemas.openxmlformats.org/officeDocument/2006/relationships/oleObject" Target="../embeddings/oleObject118.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363.xml"/><Relationship Id="rId4" Type="http://schemas.openxmlformats.org/officeDocument/2006/relationships/oleObject" Target="../embeddings/oleObject119.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5.xml"/><Relationship Id="rId1" Type="http://schemas.openxmlformats.org/officeDocument/2006/relationships/tags" Target="../tags/tag364.xml"/><Relationship Id="rId5" Type="http://schemas.openxmlformats.org/officeDocument/2006/relationships/oleObject" Target="../embeddings/oleObject120.bin"/><Relationship Id="rId4" Type="http://schemas.openxmlformats.org/officeDocument/2006/relationships/notesSlide" Target="../notesSlides/notesSlide32.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7.xml"/><Relationship Id="rId1" Type="http://schemas.openxmlformats.org/officeDocument/2006/relationships/tags" Target="../tags/tag366.xml"/><Relationship Id="rId5" Type="http://schemas.openxmlformats.org/officeDocument/2006/relationships/oleObject" Target="../embeddings/oleObject121.bin"/><Relationship Id="rId4" Type="http://schemas.openxmlformats.org/officeDocument/2006/relationships/notesSlide" Target="../notesSlides/notesSlide33.xml"/></Relationships>
</file>

<file path=ppt/slides/_rels/slide88.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70.xml"/><Relationship Id="rId7" Type="http://schemas.openxmlformats.org/officeDocument/2006/relationships/tags" Target="../tags/tag374.xml"/><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image" Target="../media/image45.jpeg"/><Relationship Id="rId5" Type="http://schemas.openxmlformats.org/officeDocument/2006/relationships/tags" Target="../tags/tag372.xml"/><Relationship Id="rId10" Type="http://schemas.openxmlformats.org/officeDocument/2006/relationships/oleObject" Target="../embeddings/oleObject122.bin"/><Relationship Id="rId4" Type="http://schemas.openxmlformats.org/officeDocument/2006/relationships/tags" Target="../tags/tag371.xml"/><Relationship Id="rId9" Type="http://schemas.openxmlformats.org/officeDocument/2006/relationships/notesSlide" Target="../notesSlides/notesSlide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 name="Subtitle 1"/>
          <p:cNvSpPr>
            <a:spLocks noGrp="1"/>
          </p:cNvSpPr>
          <p:nvPr>
            <p:ph type="subTitle" idx="1"/>
          </p:nvPr>
        </p:nvSpPr>
        <p:spPr/>
        <p:txBody>
          <a:bodyPr/>
          <a:lstStyle/>
          <a:p>
            <a:endParaRPr lang="en-US"/>
          </a:p>
        </p:txBody>
      </p:sp>
      <p:sp>
        <p:nvSpPr>
          <p:cNvPr id="3" name="Title 2"/>
          <p:cNvSpPr>
            <a:spLocks noGrp="1"/>
          </p:cNvSpPr>
          <p:nvPr>
            <p:ph type="ctrTitle"/>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76362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68375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6" name="Subtitle 5"/>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80696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56506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334383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68375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6" name="Subtitle 5"/>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342770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36562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6" name="Subtitle 5"/>
          <p:cNvSpPr>
            <a:spLocks noGrp="1"/>
          </p:cNvSpPr>
          <p:nvPr>
            <p:ph type="subTitle" idx="1"/>
          </p:nvPr>
        </p:nvSpPr>
        <p:spPr/>
        <p:txBody>
          <a:bodyPr/>
          <a:lstStyle/>
          <a:p>
            <a:endParaRPr lang="en-US"/>
          </a:p>
        </p:txBody>
      </p:sp>
    </p:spTree>
    <p:extLst>
      <p:ext uri="{BB962C8B-B14F-4D97-AF65-F5344CB8AC3E}">
        <p14:creationId xmlns:p14="http://schemas.microsoft.com/office/powerpoint/2010/main" val="1497100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56506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133014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269910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05722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34083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9861975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634599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639889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978600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18743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483660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495502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46881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a:lstStyle/>
          <a:p>
            <a:r>
              <a:rPr lang="en-US"/>
              <a:t>Lorem ipsum dolor sit </a:t>
            </a:r>
            <a:r>
              <a:rPr lang="en-US" err="1"/>
              <a:t>amet</a:t>
            </a:r>
            <a:endParaRPr lang="en-US"/>
          </a:p>
        </p:txBody>
      </p:sp>
      <p:sp>
        <p:nvSpPr>
          <p:cNvPr id="5" name="Content Placeholder 4"/>
          <p:cNvSpPr>
            <a:spLocks noGrp="1"/>
          </p:cNvSpPr>
          <p:nvPr>
            <p:ph sz="quarter" idx="10"/>
          </p:nvPr>
        </p:nvSpPr>
        <p:spPr>
          <a:prstGeom prst="rect">
            <a:avLst/>
          </a:prstGeom>
        </p:spPr>
        <p:txBody>
          <a:body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endParaRPr lang="en-US"/>
          </a:p>
          <a:p>
            <a:pPr lvl="1"/>
            <a:endParaRPr lang="en-US"/>
          </a:p>
        </p:txBody>
      </p:sp>
      <p:sp>
        <p:nvSpPr>
          <p:cNvPr id="3" name="Text Placeholder 2"/>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728047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268997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124676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A4331EB-9888-48B7-8C30-653DCB196FF8}"/>
              </a:ext>
            </a:extLst>
          </p:cNvPr>
          <p:cNvSpPr>
            <a:spLocks noGrp="1"/>
          </p:cNvSpPr>
          <p:nvPr>
            <p:ph type="ctrTitle"/>
          </p:nvPr>
        </p:nvSpPr>
        <p:spPr/>
        <p:txBody>
          <a:bodyPr/>
          <a:lstStyle/>
          <a:p>
            <a:endParaRPr lang="en-US"/>
          </a:p>
        </p:txBody>
      </p:sp>
      <p:sp>
        <p:nvSpPr>
          <p:cNvPr id="7" name="Subtitle 6">
            <a:extLst>
              <a:ext uri="{FF2B5EF4-FFF2-40B4-BE49-F238E27FC236}">
                <a16:creationId xmlns:a16="http://schemas.microsoft.com/office/drawing/2014/main" id="{B850B71F-B5BB-4CD7-93F7-C062B386D89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67747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D8F953C-134B-40A8-96CB-CE0217BFD057}"/>
              </a:ext>
            </a:extLst>
          </p:cNvPr>
          <p:cNvSpPr>
            <a:spLocks noGrp="1"/>
          </p:cNvSpPr>
          <p:nvPr>
            <p:ph type="ctrTitle"/>
          </p:nvPr>
        </p:nvSpPr>
        <p:spPr/>
        <p:txBody>
          <a:bodyPr/>
          <a:lstStyle/>
          <a:p>
            <a:endParaRPr lang="en-US"/>
          </a:p>
        </p:txBody>
      </p:sp>
      <p:sp>
        <p:nvSpPr>
          <p:cNvPr id="7" name="Subtitle 6">
            <a:extLst>
              <a:ext uri="{FF2B5EF4-FFF2-40B4-BE49-F238E27FC236}">
                <a16:creationId xmlns:a16="http://schemas.microsoft.com/office/drawing/2014/main" id="{F3926FE1-2086-45EA-9B47-4838F30B4A8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044437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1F803FE-0A32-498F-8B85-63E02EF2D63B}"/>
              </a:ext>
            </a:extLst>
          </p:cNvPr>
          <p:cNvSpPr>
            <a:spLocks noGrp="1"/>
          </p:cNvSpPr>
          <p:nvPr>
            <p:ph type="ctrTitle"/>
          </p:nvPr>
        </p:nvSpPr>
        <p:spPr/>
        <p:txBody>
          <a:bodyPr/>
          <a:lstStyle/>
          <a:p>
            <a:endParaRPr lang="en-US"/>
          </a:p>
        </p:txBody>
      </p:sp>
      <p:sp>
        <p:nvSpPr>
          <p:cNvPr id="7" name="Subtitle 6">
            <a:extLst>
              <a:ext uri="{FF2B5EF4-FFF2-40B4-BE49-F238E27FC236}">
                <a16:creationId xmlns:a16="http://schemas.microsoft.com/office/drawing/2014/main" id="{D55D53C1-53AB-47EF-A50F-9AE113A3DCB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304176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F8BE35-27CF-4FE0-B892-6ED93FDB1B3B}"/>
              </a:ext>
            </a:extLst>
          </p:cNvPr>
          <p:cNvSpPr>
            <a:spLocks noGrp="1"/>
          </p:cNvSpPr>
          <p:nvPr>
            <p:ph type="ctrTitle"/>
          </p:nvPr>
        </p:nvSpPr>
        <p:spPr/>
        <p:txBody>
          <a:bodyPr/>
          <a:lstStyle/>
          <a:p>
            <a:endParaRPr lang="en-US"/>
          </a:p>
        </p:txBody>
      </p:sp>
      <p:sp>
        <p:nvSpPr>
          <p:cNvPr id="7" name="Subtitle 6">
            <a:extLst>
              <a:ext uri="{FF2B5EF4-FFF2-40B4-BE49-F238E27FC236}">
                <a16:creationId xmlns:a16="http://schemas.microsoft.com/office/drawing/2014/main" id="{C03553E5-EA5E-4751-9689-96B0C606340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876456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0BEFD5A-835E-4C9A-8CC8-00B3D1560CF5}"/>
              </a:ext>
            </a:extLst>
          </p:cNvPr>
          <p:cNvSpPr>
            <a:spLocks noGrp="1"/>
          </p:cNvSpPr>
          <p:nvPr>
            <p:ph type="ctrTitle"/>
          </p:nvPr>
        </p:nvSpPr>
        <p:spPr/>
        <p:txBody>
          <a:bodyPr/>
          <a:lstStyle/>
          <a:p>
            <a:endParaRPr lang="en-US"/>
          </a:p>
        </p:txBody>
      </p:sp>
      <p:sp>
        <p:nvSpPr>
          <p:cNvPr id="9" name="Subtitle 8">
            <a:extLst>
              <a:ext uri="{FF2B5EF4-FFF2-40B4-BE49-F238E27FC236}">
                <a16:creationId xmlns:a16="http://schemas.microsoft.com/office/drawing/2014/main" id="{5D329A80-900D-45C3-A323-BF543859675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937323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9BF7DF-9DB7-4BA8-9C78-36A64F8B5292}"/>
              </a:ext>
            </a:extLst>
          </p:cNvPr>
          <p:cNvSpPr>
            <a:spLocks noGrp="1"/>
          </p:cNvSpPr>
          <p:nvPr>
            <p:ph type="ctrTitle"/>
          </p:nvPr>
        </p:nvSpPr>
        <p:spPr/>
        <p:txBody>
          <a:bodyPr/>
          <a:lstStyle/>
          <a:p>
            <a:endParaRPr lang="en-US"/>
          </a:p>
        </p:txBody>
      </p:sp>
      <p:sp>
        <p:nvSpPr>
          <p:cNvPr id="5" name="Subtitle 4">
            <a:extLst>
              <a:ext uri="{FF2B5EF4-FFF2-40B4-BE49-F238E27FC236}">
                <a16:creationId xmlns:a16="http://schemas.microsoft.com/office/drawing/2014/main" id="{32EDCDFA-9E02-4F53-8383-96FC12D8C9D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4827733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B670A9-84F0-4A84-AAB3-1561E22B3D6D}"/>
              </a:ext>
            </a:extLst>
          </p:cNvPr>
          <p:cNvSpPr>
            <a:spLocks noGrp="1"/>
          </p:cNvSpPr>
          <p:nvPr>
            <p:ph type="ctrTitle"/>
          </p:nvPr>
        </p:nvSpPr>
        <p:spPr/>
        <p:txBody>
          <a:bodyPr/>
          <a:lstStyle/>
          <a:p>
            <a:endParaRPr lang="en-US"/>
          </a:p>
        </p:txBody>
      </p:sp>
      <p:sp>
        <p:nvSpPr>
          <p:cNvPr id="5" name="Subtitle 4">
            <a:extLst>
              <a:ext uri="{FF2B5EF4-FFF2-40B4-BE49-F238E27FC236}">
                <a16:creationId xmlns:a16="http://schemas.microsoft.com/office/drawing/2014/main" id="{83A52C30-A4F6-4118-8472-21CE390327B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3477295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739439-4B95-4AA0-B84B-A40A44D633E9}"/>
              </a:ext>
            </a:extLst>
          </p:cNvPr>
          <p:cNvSpPr>
            <a:spLocks noGrp="1"/>
          </p:cNvSpPr>
          <p:nvPr>
            <p:ph type="ctrTitle"/>
          </p:nvPr>
        </p:nvSpPr>
        <p:spPr/>
        <p:txBody>
          <a:bodyPr/>
          <a:lstStyle/>
          <a:p>
            <a:endParaRPr lang="en-US"/>
          </a:p>
        </p:txBody>
      </p:sp>
      <p:sp>
        <p:nvSpPr>
          <p:cNvPr id="5" name="Subtitle 4">
            <a:extLst>
              <a:ext uri="{FF2B5EF4-FFF2-40B4-BE49-F238E27FC236}">
                <a16:creationId xmlns:a16="http://schemas.microsoft.com/office/drawing/2014/main" id="{E1EA99B7-82CA-4F07-B85A-C9DFC7B01802}"/>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143114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421E4-B671-42E0-A502-A52DE53D1BE7}"/>
              </a:ext>
            </a:extLst>
          </p:cNvPr>
          <p:cNvSpPr>
            <a:spLocks noGrp="1"/>
          </p:cNvSpPr>
          <p:nvPr>
            <p:ph type="ctrTitle"/>
          </p:nvPr>
        </p:nvSpPr>
        <p:spPr/>
        <p:txBody>
          <a:bodyPr/>
          <a:lstStyle/>
          <a:p>
            <a:endParaRPr lang="en-US"/>
          </a:p>
        </p:txBody>
      </p:sp>
      <p:sp>
        <p:nvSpPr>
          <p:cNvPr id="5" name="Subtitle 4">
            <a:extLst>
              <a:ext uri="{FF2B5EF4-FFF2-40B4-BE49-F238E27FC236}">
                <a16:creationId xmlns:a16="http://schemas.microsoft.com/office/drawing/2014/main" id="{845DB7ED-571C-452A-8E12-DE096F6EBA5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09162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960887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4"/>
          <p:cNvSpPr>
            <a:spLocks noGrp="1"/>
          </p:cNvSpPr>
          <p:nvPr>
            <p:ph type="body" sz="quarter" idx="12"/>
          </p:nvPr>
        </p:nvSpPr>
        <p:spPr/>
        <p:txBody>
          <a:bodyPr/>
          <a:lstStyle/>
          <a:p>
            <a:endParaRPr lang="en-US"/>
          </a:p>
        </p:txBody>
      </p:sp>
      <p:sp>
        <p:nvSpPr>
          <p:cNvPr id="14" name="Text Placeholder 13"/>
          <p:cNvSpPr>
            <a:spLocks noGrp="1"/>
          </p:cNvSpPr>
          <p:nvPr>
            <p:ph type="body" sz="quarter" idx="11"/>
          </p:nvPr>
        </p:nvSpPr>
        <p:spPr/>
        <p:txBody>
          <a:bodyPr/>
          <a:lstStyle/>
          <a:p>
            <a:endParaRPr lang="en-US"/>
          </a:p>
        </p:txBody>
      </p:sp>
      <p:sp>
        <p:nvSpPr>
          <p:cNvPr id="12" name="Title 11"/>
          <p:cNvSpPr>
            <a:spLocks noGrp="1"/>
          </p:cNvSpPr>
          <p:nvPr>
            <p:ph type="title"/>
          </p:nvPr>
        </p:nvSpPr>
        <p:spPr>
          <a:xfrm>
            <a:off x="269239" y="-9028"/>
            <a:ext cx="11617961" cy="875167"/>
          </a:xfrm>
        </p:spPr>
        <p:txBody>
          <a:bodyPr/>
          <a:lstStyle/>
          <a:p>
            <a:endParaRPr lang="en-US"/>
          </a:p>
        </p:txBody>
      </p:sp>
      <p:sp>
        <p:nvSpPr>
          <p:cNvPr id="8" name="Rectangle 7"/>
          <p:cNvSpPr/>
          <p:nvPr/>
        </p:nvSpPr>
        <p:spPr>
          <a:xfrm>
            <a:off x="269239" y="1219200"/>
            <a:ext cx="5401611" cy="447675"/>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chemeClr val="accent5"/>
                </a:solidFill>
              </a:rPr>
              <a:t>Lorem ipsum </a:t>
            </a:r>
            <a:endParaRPr lang="en-US" sz="2000" b="1">
              <a:solidFill>
                <a:schemeClr val="accent5"/>
              </a:solidFill>
              <a:latin typeface="Arial" panose="020B0604020202020204" pitchFamily="34" charset="0"/>
              <a:cs typeface="Arial" panose="020B0604020202020204" pitchFamily="34" charset="0"/>
            </a:endParaRPr>
          </a:p>
        </p:txBody>
      </p:sp>
      <p:sp>
        <p:nvSpPr>
          <p:cNvPr id="9" name="Rectangle 8"/>
          <p:cNvSpPr/>
          <p:nvPr/>
        </p:nvSpPr>
        <p:spPr>
          <a:xfrm>
            <a:off x="269239" y="1784551"/>
            <a:ext cx="5401611" cy="1608978"/>
          </a:xfrm>
          <a:prstGeom prst="rect">
            <a:avLst/>
          </a:prstGeom>
          <a:noFill/>
        </p:spPr>
        <p:txBody>
          <a:bodyPr lIns="0"/>
          <a:lstStyle/>
          <a:p>
            <a:pPr marL="285750" indent="-285750">
              <a:spcBef>
                <a:spcPts val="1200"/>
              </a:spcBef>
              <a:buClr>
                <a:schemeClr val="tx1"/>
              </a:buClr>
              <a:buSzPct val="90000"/>
              <a:buFont typeface="Wingdings" panose="05000000000000000000" pitchFamily="2" charset="2"/>
              <a:buChar char="§"/>
            </a:pPr>
            <a:r>
              <a:rPr lang="en-US" sz="1600">
                <a:latin typeface="Arial" panose="020B0604020202020204" pitchFamily="34" charset="0"/>
                <a:ea typeface="Roboto" charset="0"/>
                <a:cs typeface="Arial" panose="020B0604020202020204" pitchFamily="34" charset="0"/>
              </a:rPr>
              <a:t>Lorem ipsum</a:t>
            </a:r>
          </a:p>
          <a:p>
            <a:pPr lvl="1" indent="-169863">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r>
              <a:rPr lang="en-US" sz="1400"/>
              <a:t> </a:t>
            </a:r>
            <a:r>
              <a:rPr lang="en-US" sz="1400" err="1"/>
              <a:t>irure</a:t>
            </a:r>
            <a:r>
              <a:rPr lang="en-US" sz="1400"/>
              <a:t> dolor in </a:t>
            </a:r>
            <a:r>
              <a:rPr lang="en-US" sz="1400" err="1"/>
              <a:t>reprehenderit</a:t>
            </a:r>
            <a:endParaRPr lang="en-US" sz="1400">
              <a:latin typeface="Arial" panose="020B0604020202020204" pitchFamily="34" charset="0"/>
              <a:ea typeface="Roboto" charset="0"/>
              <a:cs typeface="Arial" panose="020B0604020202020204" pitchFamily="34" charset="0"/>
            </a:endParaRPr>
          </a:p>
        </p:txBody>
      </p:sp>
      <p:sp>
        <p:nvSpPr>
          <p:cNvPr id="10" name="Rectangle 9"/>
          <p:cNvSpPr/>
          <p:nvPr/>
        </p:nvSpPr>
        <p:spPr>
          <a:xfrm>
            <a:off x="6485589" y="1219200"/>
            <a:ext cx="5401611" cy="447675"/>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chemeClr val="accent5"/>
                </a:solidFill>
              </a:rPr>
              <a:t>Lorem ipsum </a:t>
            </a:r>
            <a:endParaRPr lang="en-US" sz="2000" b="1">
              <a:solidFill>
                <a:schemeClr val="accent5"/>
              </a:solidFill>
              <a:latin typeface="Arial" panose="020B0604020202020204" pitchFamily="34" charset="0"/>
              <a:cs typeface="Arial" panose="020B0604020202020204" pitchFamily="34" charset="0"/>
            </a:endParaRPr>
          </a:p>
        </p:txBody>
      </p:sp>
      <p:sp>
        <p:nvSpPr>
          <p:cNvPr id="11" name="Rectangle 10"/>
          <p:cNvSpPr/>
          <p:nvPr/>
        </p:nvSpPr>
        <p:spPr>
          <a:xfrm>
            <a:off x="6485589" y="1784551"/>
            <a:ext cx="5401611" cy="1608978"/>
          </a:xfrm>
          <a:prstGeom prst="rect">
            <a:avLst/>
          </a:prstGeom>
          <a:noFill/>
        </p:spPr>
        <p:txBody>
          <a:bodyPr lIns="0"/>
          <a:lstStyle/>
          <a:p>
            <a:pPr marL="285750" indent="-285750">
              <a:spcBef>
                <a:spcPts val="1200"/>
              </a:spcBef>
              <a:buClr>
                <a:schemeClr val="tx1"/>
              </a:buClr>
              <a:buSzPct val="90000"/>
              <a:buFont typeface="Wingdings" panose="05000000000000000000" pitchFamily="2" charset="2"/>
              <a:buChar char="§"/>
            </a:pPr>
            <a:r>
              <a:rPr lang="en-US" sz="1600">
                <a:latin typeface="Arial" panose="020B0604020202020204" pitchFamily="34" charset="0"/>
                <a:ea typeface="Roboto" charset="0"/>
                <a:cs typeface="Arial" panose="020B0604020202020204" pitchFamily="34" charset="0"/>
              </a:rPr>
              <a:t>Lorem ipsum</a:t>
            </a:r>
          </a:p>
          <a:p>
            <a:pPr lvl="1" indent="-169863">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r>
              <a:rPr lang="en-US" sz="1400"/>
              <a:t> </a:t>
            </a:r>
            <a:r>
              <a:rPr lang="en-US" sz="1400" err="1"/>
              <a:t>irure</a:t>
            </a:r>
            <a:r>
              <a:rPr lang="en-US" sz="1400"/>
              <a:t> dolor in </a:t>
            </a:r>
            <a:r>
              <a:rPr lang="en-US" sz="1400" err="1"/>
              <a:t>reprehenderit</a:t>
            </a:r>
            <a:endParaRPr lang="en-US" sz="1400"/>
          </a:p>
        </p:txBody>
      </p:sp>
    </p:spTree>
    <p:extLst>
      <p:ext uri="{BB962C8B-B14F-4D97-AF65-F5344CB8AC3E}">
        <p14:creationId xmlns:p14="http://schemas.microsoft.com/office/powerpoint/2010/main" val="33807042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728587-A93B-450E-8D35-F17B26AF340D}"/>
              </a:ext>
            </a:extLst>
          </p:cNvPr>
          <p:cNvSpPr>
            <a:spLocks noGrp="1"/>
          </p:cNvSpPr>
          <p:nvPr>
            <p:ph type="ctrTitle"/>
          </p:nvPr>
        </p:nvSpPr>
        <p:spPr/>
        <p:txBody>
          <a:bodyPr/>
          <a:lstStyle/>
          <a:p>
            <a:endParaRPr lang="en-US"/>
          </a:p>
        </p:txBody>
      </p:sp>
      <p:sp>
        <p:nvSpPr>
          <p:cNvPr id="5" name="Subtitle 4">
            <a:extLst>
              <a:ext uri="{FF2B5EF4-FFF2-40B4-BE49-F238E27FC236}">
                <a16:creationId xmlns:a16="http://schemas.microsoft.com/office/drawing/2014/main" id="{4DE184D6-A034-4030-9100-AB02D218834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7006875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E2AE5-3265-478A-807A-ACA6DB9CFA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5C6E02F0-2489-455D-A269-DF032184230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222303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258D68-8CD6-4340-ABB4-05280E2890A0}"/>
              </a:ext>
            </a:extLst>
          </p:cNvPr>
          <p:cNvSpPr>
            <a:spLocks noGrp="1"/>
          </p:cNvSpPr>
          <p:nvPr>
            <p:ph type="ctrTitle"/>
          </p:nvPr>
        </p:nvSpPr>
        <p:spPr/>
        <p:txBody>
          <a:bodyPr/>
          <a:lstStyle/>
          <a:p>
            <a:endParaRPr lang="en-US"/>
          </a:p>
        </p:txBody>
      </p:sp>
      <p:sp>
        <p:nvSpPr>
          <p:cNvPr id="5" name="Subtitle 4">
            <a:extLst>
              <a:ext uri="{FF2B5EF4-FFF2-40B4-BE49-F238E27FC236}">
                <a16:creationId xmlns:a16="http://schemas.microsoft.com/office/drawing/2014/main" id="{E1EE6A8C-4EF9-4ECF-839A-DD2C6F7D318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373344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70424D-E0A2-4ACF-A867-568F809FA7A9}"/>
              </a:ext>
            </a:extLst>
          </p:cNvPr>
          <p:cNvSpPr>
            <a:spLocks noGrp="1"/>
          </p:cNvSpPr>
          <p:nvPr>
            <p:ph type="ctrTitle"/>
          </p:nvPr>
        </p:nvSpPr>
        <p:spPr/>
        <p:txBody>
          <a:bodyPr/>
          <a:lstStyle/>
          <a:p>
            <a:endParaRPr lang="en-US"/>
          </a:p>
        </p:txBody>
      </p:sp>
      <p:sp>
        <p:nvSpPr>
          <p:cNvPr id="5" name="Subtitle 4">
            <a:extLst>
              <a:ext uri="{FF2B5EF4-FFF2-40B4-BE49-F238E27FC236}">
                <a16:creationId xmlns:a16="http://schemas.microsoft.com/office/drawing/2014/main" id="{9D97CCE4-A147-46EC-B387-499B8AB3034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7981128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61176B-2786-40B2-A600-EAF060B44335}"/>
              </a:ext>
            </a:extLst>
          </p:cNvPr>
          <p:cNvSpPr>
            <a:spLocks noGrp="1"/>
          </p:cNvSpPr>
          <p:nvPr>
            <p:ph type="ctrTitle"/>
          </p:nvPr>
        </p:nvSpPr>
        <p:spPr/>
        <p:txBody>
          <a:bodyPr/>
          <a:lstStyle/>
          <a:p>
            <a:endParaRPr lang="en-US"/>
          </a:p>
        </p:txBody>
      </p:sp>
      <p:sp>
        <p:nvSpPr>
          <p:cNvPr id="5" name="Subtitle 4">
            <a:extLst>
              <a:ext uri="{FF2B5EF4-FFF2-40B4-BE49-F238E27FC236}">
                <a16:creationId xmlns:a16="http://schemas.microsoft.com/office/drawing/2014/main" id="{F70BC131-BCF3-4599-9D91-4074C30B023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5593999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663" imgH="664" progId="TCLayout.ActiveDocument.1">
                  <p:embed/>
                </p:oleObj>
              </mc:Choice>
              <mc:Fallback>
                <p:oleObj name="think-cell Slide" r:id="rId42" imgW="663" imgH="664" progId="TCLayout.ActiveDocument.1">
                  <p:embed/>
                  <p:pic>
                    <p:nvPicPr>
                      <p:cNvPr id="21" name="Object 20" hidden="1"/>
                      <p:cNvPicPr/>
                      <p:nvPr/>
                    </p:nvPicPr>
                    <p:blipFill>
                      <a:blip r:embed="rId43"/>
                      <a:stretch>
                        <a:fillRect/>
                      </a:stretch>
                    </p:blipFill>
                    <p:spPr>
                      <a:xfrm>
                        <a:off x="1525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152400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lang="en-US" sz="1200">
              <a:solidFill>
                <a:srgbClr val="FFFFFF"/>
              </a:solidFill>
              <a:latin typeface="Arial" panose="020B0604020202020204" pitchFamily="34" charset="0"/>
              <a:ea typeface="+mj-ea"/>
              <a:cs typeface="+mj-cs"/>
              <a:sym typeface="Arial" panose="020B0604020202020204" pitchFamily="34" charset="0"/>
            </a:endParaRPr>
          </a:p>
        </p:txBody>
      </p:sp>
      <p:cxnSp>
        <p:nvCxnSpPr>
          <p:cNvPr id="124" name="Straight Connector 123"/>
          <p:cNvCxnSpPr/>
          <p:nvPr>
            <p:custDataLst>
              <p:tags r:id="rId3"/>
            </p:custDataLst>
          </p:nvPr>
        </p:nvCxnSpPr>
        <p:spPr bwMode="gray">
          <a:xfrm>
            <a:off x="8169275" y="2498725"/>
            <a:ext cx="119063"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custDataLst>
              <p:tags r:id="rId4"/>
            </p:custDataLst>
          </p:nvPr>
        </p:nvCxnSpPr>
        <p:spPr bwMode="gray">
          <a:xfrm>
            <a:off x="10912475" y="1981200"/>
            <a:ext cx="119063"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custDataLst>
              <p:tags r:id="rId5"/>
            </p:custDataLst>
          </p:nvPr>
        </p:nvCxnSpPr>
        <p:spPr bwMode="gray">
          <a:xfrm>
            <a:off x="7254875" y="1676400"/>
            <a:ext cx="119063"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custDataLst>
              <p:tags r:id="rId6"/>
            </p:custDataLst>
          </p:nvPr>
        </p:nvCxnSpPr>
        <p:spPr bwMode="gray">
          <a:xfrm>
            <a:off x="9083675" y="2463800"/>
            <a:ext cx="119063"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7"/>
            </p:custDataLst>
          </p:nvPr>
        </p:nvCxnSpPr>
        <p:spPr>
          <a:xfrm>
            <a:off x="9998075" y="2233613"/>
            <a:ext cx="119063" cy="0"/>
          </a:xfrm>
          <a:prstGeom prst="line">
            <a:avLst/>
          </a:prstGeom>
          <a:noFill/>
          <a:ln w="6350" cap="flat" cmpd="sng" algn="ctr">
            <a:noFill/>
            <a:prstDash val="solid"/>
            <a:miter lim="800000"/>
            <a:headEnd type="none" w="med" len="med"/>
            <a:tailEnd type="arrow" w="med" len="med"/>
          </a:ln>
          <a:effectLst/>
          <a:extLst>
            <a:ext uri="{91240B29-F687-4F45-9708-019B960494DF}">
              <a14:hiddenLine xmlns:a14="http://schemas.microsoft.com/office/drawing/2010/main" w="6350" cap="flat" cmpd="sng" algn="ctr">
                <a:solidFill>
                  <a:schemeClr val="tx2"/>
                </a:solidFill>
                <a:prstDash val="solid"/>
                <a:miter lim="800000"/>
                <a:headEnd type="none" w="med" len="med"/>
                <a:tailEnd type="arrow" w="med" len="med"/>
              </a14:hiddenLine>
            </a:ext>
          </a:extLst>
        </p:spPr>
        <p:style>
          <a:lnRef idx="1">
            <a:schemeClr val="accent1"/>
          </a:lnRef>
          <a:fillRef idx="0">
            <a:schemeClr val="accent1"/>
          </a:fillRef>
          <a:effectRef idx="0">
            <a:schemeClr val="accent1"/>
          </a:effectRef>
          <a:fontRef idx="minor">
            <a:schemeClr val="tx1"/>
          </a:fontRef>
        </p:style>
      </p:cxnSp>
      <p:graphicFrame>
        <p:nvGraphicFramePr>
          <p:cNvPr id="115" name="Chart 114"/>
          <p:cNvGraphicFramePr/>
          <p:nvPr>
            <p:custDataLst>
              <p:tags r:id="rId8"/>
            </p:custDataLst>
          </p:nvPr>
        </p:nvGraphicFramePr>
        <p:xfrm>
          <a:off x="6318250" y="1450975"/>
          <a:ext cx="5651500" cy="1611313"/>
        </p:xfrm>
        <a:graphic>
          <a:graphicData uri="http://schemas.openxmlformats.org/drawingml/2006/chart">
            <c:chart xmlns:c="http://schemas.openxmlformats.org/drawingml/2006/chart" xmlns:r="http://schemas.openxmlformats.org/officeDocument/2006/relationships" r:id="rId44"/>
          </a:graphicData>
        </a:graphic>
      </p:graphicFrame>
      <p:sp>
        <p:nvSpPr>
          <p:cNvPr id="141" name="Rectangle 140"/>
          <p:cNvSpPr/>
          <p:nvPr>
            <p:custDataLst>
              <p:tags r:id="rId9"/>
            </p:custDataLst>
          </p:nvPr>
        </p:nvSpPr>
        <p:spPr bwMode="auto">
          <a:xfrm>
            <a:off x="10345738" y="3022600"/>
            <a:ext cx="336550"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8B9FE19B-B7CE-4A11-A69D-E579B0ED8B44}" type="datetime'''P''''''r''''''''o''''''''d''''''''.'''''''">
              <a:rPr lang="en-US" altLang="en-US" sz="1000" b="1">
                <a:solidFill>
                  <a:srgbClr val="4C4D4E"/>
                </a:solidFill>
                <a:latin typeface="+mj-lt"/>
                <a:ea typeface="+mj-ea"/>
                <a:cs typeface="+mj-cs"/>
                <a:sym typeface="+mj-lt"/>
              </a:rPr>
              <a:pPr marL="0" lvl="3" algn="ctr">
                <a:spcBef>
                  <a:spcPct val="0"/>
                </a:spcBef>
                <a:spcAft>
                  <a:spcPct val="0"/>
                </a:spcAft>
                <a:defRPr/>
              </a:pPr>
              <a:t>Prod.</a:t>
            </a:fld>
            <a:endParaRPr lang="en-US" sz="1000" b="1">
              <a:solidFill>
                <a:srgbClr val="4C4D4E"/>
              </a:solidFill>
              <a:latin typeface="+mj-lt"/>
              <a:ea typeface="+mj-ea"/>
              <a:cs typeface="+mj-cs"/>
              <a:sym typeface="+mj-lt"/>
            </a:endParaRPr>
          </a:p>
        </p:txBody>
      </p:sp>
      <p:sp>
        <p:nvSpPr>
          <p:cNvPr id="136" name="Rectangle 135"/>
          <p:cNvSpPr/>
          <p:nvPr>
            <p:custDataLst>
              <p:tags r:id="rId10"/>
            </p:custDataLst>
          </p:nvPr>
        </p:nvSpPr>
        <p:spPr bwMode="auto">
          <a:xfrm>
            <a:off x="7515225" y="3022600"/>
            <a:ext cx="512763" cy="244475"/>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8413BFA5-9DEF-4DBB-BA8F-D44F7D6DD56E}" type="datetime'''''Gr''''''''''ow''''''t''''''''''''h/''&#10;''Pri''c''e''/Acq.'">
              <a:rPr lang="en-US" altLang="en-US" sz="800" b="1">
                <a:solidFill>
                  <a:srgbClr val="4C4D4E"/>
                </a:solidFill>
                <a:latin typeface="+mj-lt"/>
                <a:ea typeface="+mj-ea"/>
                <a:cs typeface="+mj-cs"/>
                <a:sym typeface="+mj-lt"/>
              </a:rPr>
              <a:pPr marL="0" lvl="3" algn="ctr">
                <a:spcBef>
                  <a:spcPct val="0"/>
                </a:spcBef>
                <a:spcAft>
                  <a:spcPct val="0"/>
                </a:spcAft>
                <a:defRPr/>
              </a:pPr>
              <a:t>Growth/
Price/Acq.</a:t>
            </a:fld>
            <a:endParaRPr lang="en-US" sz="800" b="1">
              <a:solidFill>
                <a:srgbClr val="4C4D4E"/>
              </a:solidFill>
              <a:latin typeface="+mj-lt"/>
              <a:ea typeface="+mj-ea"/>
              <a:cs typeface="+mj-cs"/>
              <a:sym typeface="+mj-lt"/>
            </a:endParaRPr>
          </a:p>
        </p:txBody>
      </p:sp>
      <p:sp>
        <p:nvSpPr>
          <p:cNvPr id="139" name="Rectangle 138"/>
          <p:cNvSpPr/>
          <p:nvPr>
            <p:custDataLst>
              <p:tags r:id="rId11"/>
            </p:custDataLst>
          </p:nvPr>
        </p:nvSpPr>
        <p:spPr bwMode="auto">
          <a:xfrm>
            <a:off x="8597900" y="3022600"/>
            <a:ext cx="174625"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76F91166-F4CF-4585-8430-1574576EDC3B}" type="datetime'''F''''''''''''''''''''''''''''''X'''">
              <a:rPr lang="en-US" altLang="en-US" sz="1000" b="1">
                <a:solidFill>
                  <a:srgbClr val="4C4D4E"/>
                </a:solidFill>
                <a:latin typeface="+mj-lt"/>
                <a:ea typeface="+mj-ea"/>
                <a:cs typeface="+mj-cs"/>
                <a:sym typeface="+mj-lt"/>
              </a:rPr>
              <a:pPr marL="0" lvl="3" algn="ctr">
                <a:spcBef>
                  <a:spcPct val="0"/>
                </a:spcBef>
                <a:spcAft>
                  <a:spcPct val="0"/>
                </a:spcAft>
                <a:defRPr/>
              </a:pPr>
              <a:t>FX</a:t>
            </a:fld>
            <a:endParaRPr lang="en-US" sz="1000" b="1">
              <a:solidFill>
                <a:srgbClr val="4C4D4E"/>
              </a:solidFill>
              <a:latin typeface="+mj-lt"/>
              <a:ea typeface="+mj-ea"/>
              <a:cs typeface="+mj-cs"/>
              <a:sym typeface="+mj-lt"/>
            </a:endParaRPr>
          </a:p>
        </p:txBody>
      </p:sp>
      <p:sp>
        <p:nvSpPr>
          <p:cNvPr id="137" name="Rectangle 136"/>
          <p:cNvSpPr/>
          <p:nvPr>
            <p:custDataLst>
              <p:tags r:id="rId12"/>
            </p:custDataLst>
          </p:nvPr>
        </p:nvSpPr>
        <p:spPr bwMode="auto">
          <a:xfrm>
            <a:off x="6588125" y="3022600"/>
            <a:ext cx="538163"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F067C73C-5859-49C8-9E47-0D8FC6439C39}" type="datetime'''''''2''''0''''''1''9''M''''''''''''''''''''''1''''''0'''''">
              <a:rPr lang="en-US" altLang="en-US" sz="1000" b="1">
                <a:solidFill>
                  <a:srgbClr val="4C4D4E"/>
                </a:solidFill>
                <a:latin typeface="+mj-lt"/>
                <a:ea typeface="+mj-ea"/>
                <a:cs typeface="+mj-cs"/>
                <a:sym typeface="+mj-lt"/>
              </a:rPr>
              <a:pPr marL="0" lvl="3" algn="ctr">
                <a:spcBef>
                  <a:spcPct val="0"/>
                </a:spcBef>
                <a:spcAft>
                  <a:spcPct val="0"/>
                </a:spcAft>
                <a:defRPr/>
              </a:pPr>
              <a:t>2019M10</a:t>
            </a:fld>
            <a:endParaRPr lang="en-US" sz="1000" b="1">
              <a:solidFill>
                <a:srgbClr val="4C4D4E"/>
              </a:solidFill>
              <a:latin typeface="+mj-lt"/>
              <a:ea typeface="+mj-ea"/>
              <a:cs typeface="+mj-cs"/>
              <a:sym typeface="+mj-lt"/>
            </a:endParaRPr>
          </a:p>
        </p:txBody>
      </p:sp>
      <p:sp>
        <p:nvSpPr>
          <p:cNvPr id="6" name="Rectangle 5"/>
          <p:cNvSpPr/>
          <p:nvPr>
            <p:custDataLst>
              <p:tags r:id="rId13"/>
            </p:custDataLst>
          </p:nvPr>
        </p:nvSpPr>
        <p:spPr bwMode="gray">
          <a:xfrm>
            <a:off x="7575550" y="2524125"/>
            <a:ext cx="390525"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t" anchorCtr="0" forceAA="0" compatLnSpc="1">
            <a:prstTxWarp prst="textNoShape">
              <a:avLst/>
            </a:prstTxWarp>
            <a:noAutofit/>
          </a:bodyPr>
          <a:lstStyle/>
          <a:p>
            <a:pPr marL="0" lvl="3" algn="ctr">
              <a:lnSpc>
                <a:spcPct val="90000"/>
              </a:lnSpc>
              <a:spcBef>
                <a:spcPct val="0"/>
              </a:spcBef>
              <a:spcAft>
                <a:spcPct val="0"/>
              </a:spcAft>
            </a:pPr>
            <a:fld id="{F6D57AE0-308B-4A4D-85E4-4B328CB6153F}" type="datetime'''''-''$''''''''''''8''''''''''M'''''''''''''''''''''''''''''">
              <a:rPr lang="en-US" altLang="en-US" sz="1200">
                <a:solidFill>
                  <a:srgbClr val="4C4D4E"/>
                </a:solidFill>
                <a:latin typeface="+mj-lt"/>
                <a:ea typeface="+mj-ea"/>
                <a:cs typeface="+mj-cs"/>
                <a:sym typeface="+mj-lt"/>
              </a:rPr>
              <a:pPr marL="0" lvl="3" algn="ctr">
                <a:lnSpc>
                  <a:spcPct val="90000"/>
                </a:lnSpc>
                <a:spcBef>
                  <a:spcPct val="0"/>
                </a:spcBef>
                <a:spcAft>
                  <a:spcPct val="0"/>
                </a:spcAft>
              </a:pPr>
              <a:t>-$8M</a:t>
            </a:fld>
            <a:endParaRPr lang="en-US" sz="1200">
              <a:solidFill>
                <a:srgbClr val="4C4D4E"/>
              </a:solidFill>
              <a:latin typeface="+mj-lt"/>
              <a:ea typeface="+mj-ea"/>
              <a:cs typeface="+mj-cs"/>
              <a:sym typeface="+mj-lt"/>
            </a:endParaRPr>
          </a:p>
        </p:txBody>
      </p:sp>
      <p:sp>
        <p:nvSpPr>
          <p:cNvPr id="138" name="Rectangle 137"/>
          <p:cNvSpPr/>
          <p:nvPr>
            <p:custDataLst>
              <p:tags r:id="rId14"/>
            </p:custDataLst>
          </p:nvPr>
        </p:nvSpPr>
        <p:spPr bwMode="auto">
          <a:xfrm>
            <a:off x="9347200" y="3022600"/>
            <a:ext cx="506413"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B433DFDE-4121-4708-BB27-6420161CB465}" type="datetime'''''''''''''''''''''I''n''''''f''''l''''''a''tio''''''n'''">
              <a:rPr lang="en-US" altLang="en-US" sz="1000" b="1">
                <a:solidFill>
                  <a:srgbClr val="4C4D4E"/>
                </a:solidFill>
                <a:latin typeface="+mj-lt"/>
                <a:ea typeface="+mj-ea"/>
                <a:cs typeface="+mj-cs"/>
                <a:sym typeface="+mj-lt"/>
              </a:rPr>
              <a:pPr marL="0" lvl="3" algn="ctr">
                <a:spcBef>
                  <a:spcPct val="0"/>
                </a:spcBef>
                <a:spcAft>
                  <a:spcPct val="0"/>
                </a:spcAft>
                <a:defRPr/>
              </a:pPr>
              <a:t>Inflation</a:t>
            </a:fld>
            <a:endParaRPr lang="en-US" sz="1000" b="1">
              <a:solidFill>
                <a:srgbClr val="4C4D4E"/>
              </a:solidFill>
              <a:latin typeface="+mj-lt"/>
              <a:ea typeface="+mj-ea"/>
              <a:cs typeface="+mj-cs"/>
              <a:sym typeface="+mj-lt"/>
            </a:endParaRPr>
          </a:p>
        </p:txBody>
      </p:sp>
      <p:sp>
        <p:nvSpPr>
          <p:cNvPr id="142" name="Rectangle 141"/>
          <p:cNvSpPr/>
          <p:nvPr>
            <p:custDataLst>
              <p:tags r:id="rId15"/>
            </p:custDataLst>
          </p:nvPr>
        </p:nvSpPr>
        <p:spPr bwMode="auto">
          <a:xfrm>
            <a:off x="11160125" y="3022600"/>
            <a:ext cx="538163"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A93293B1-B003-423F-8322-C95918EF6A2F}" type="datetime'2''''''''''''''02''''''0''''''''''''''''''''M''''1''0'">
              <a:rPr lang="en-US" altLang="en-US" sz="1000" b="1">
                <a:solidFill>
                  <a:srgbClr val="4C4D4E"/>
                </a:solidFill>
                <a:latin typeface="+mj-lt"/>
                <a:ea typeface="+mj-ea"/>
                <a:cs typeface="+mj-cs"/>
                <a:sym typeface="+mj-lt"/>
              </a:rPr>
              <a:pPr marL="0" lvl="3" algn="ctr">
                <a:spcBef>
                  <a:spcPct val="0"/>
                </a:spcBef>
                <a:spcAft>
                  <a:spcPct val="0"/>
                </a:spcAft>
                <a:defRPr/>
              </a:pPr>
              <a:t>2020M10</a:t>
            </a:fld>
            <a:endParaRPr lang="en-US" sz="1000" b="1">
              <a:solidFill>
                <a:srgbClr val="4C4D4E"/>
              </a:solidFill>
              <a:latin typeface="+mj-lt"/>
              <a:ea typeface="+mj-ea"/>
              <a:cs typeface="+mj-cs"/>
              <a:sym typeface="+mj-lt"/>
            </a:endParaRPr>
          </a:p>
        </p:txBody>
      </p:sp>
      <p:cxnSp>
        <p:nvCxnSpPr>
          <p:cNvPr id="94" name="Straight Connector 93"/>
          <p:cNvCxnSpPr/>
          <p:nvPr>
            <p:custDataLst>
              <p:tags r:id="rId16"/>
            </p:custDataLst>
          </p:nvPr>
        </p:nvCxnSpPr>
        <p:spPr bwMode="gray">
          <a:xfrm>
            <a:off x="4821238" y="1997075"/>
            <a:ext cx="119063"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17"/>
            </p:custDataLst>
          </p:nvPr>
        </p:nvCxnSpPr>
        <p:spPr bwMode="gray">
          <a:xfrm>
            <a:off x="1131888" y="1676400"/>
            <a:ext cx="119063"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18"/>
            </p:custDataLst>
          </p:nvPr>
        </p:nvCxnSpPr>
        <p:spPr bwMode="gray">
          <a:xfrm>
            <a:off x="2054225" y="1992313"/>
            <a:ext cx="119063"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19"/>
            </p:custDataLst>
          </p:nvPr>
        </p:nvCxnSpPr>
        <p:spPr bwMode="gray">
          <a:xfrm>
            <a:off x="2976563" y="2016125"/>
            <a:ext cx="119063"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custDataLst>
              <p:tags r:id="rId20"/>
            </p:custDataLst>
          </p:nvPr>
        </p:nvCxnSpPr>
        <p:spPr bwMode="gray">
          <a:xfrm>
            <a:off x="3898900" y="2016125"/>
            <a:ext cx="119063"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sp>
        <p:nvSpPr>
          <p:cNvPr id="36" name="Rectangle 35"/>
          <p:cNvSpPr/>
          <p:nvPr>
            <p:custDataLst>
              <p:tags r:id="rId21"/>
            </p:custDataLst>
          </p:nvPr>
        </p:nvSpPr>
        <p:spPr bwMode="auto">
          <a:xfrm>
            <a:off x="3095625" y="2012950"/>
            <a:ext cx="803275" cy="6350"/>
          </a:xfrm>
          <a:prstGeom prst="rect">
            <a:avLst/>
          </a:prstGeom>
          <a:solidFill>
            <a:schemeClr val="accent3"/>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graphicFrame>
        <p:nvGraphicFramePr>
          <p:cNvPr id="114" name="Chart 113"/>
          <p:cNvGraphicFramePr/>
          <p:nvPr>
            <p:custDataLst>
              <p:tags r:id="rId22"/>
            </p:custDataLst>
          </p:nvPr>
        </p:nvGraphicFramePr>
        <p:xfrm>
          <a:off x="187325" y="1593850"/>
          <a:ext cx="5699125" cy="1468438"/>
        </p:xfrm>
        <a:graphic>
          <a:graphicData uri="http://schemas.openxmlformats.org/drawingml/2006/chart">
            <c:chart xmlns:c="http://schemas.openxmlformats.org/drawingml/2006/chart" xmlns:r="http://schemas.openxmlformats.org/officeDocument/2006/relationships" r:id="rId45"/>
          </a:graphicData>
        </a:graphic>
      </p:graphicFrame>
      <p:sp useBgFill="1">
        <p:nvSpPr>
          <p:cNvPr id="8" name="Freeform 7"/>
          <p:cNvSpPr/>
          <p:nvPr>
            <p:custDataLst>
              <p:tags r:id="rId23"/>
            </p:custDataLst>
          </p:nvPr>
        </p:nvSpPr>
        <p:spPr bwMode="auto">
          <a:xfrm>
            <a:off x="269875" y="2344738"/>
            <a:ext cx="920751" cy="304801"/>
          </a:xfrm>
          <a:custGeom>
            <a:avLst/>
            <a:gdLst/>
            <a:ahLst/>
            <a:cxnLst/>
            <a:rect l="0" t="0" r="0" b="0"/>
            <a:pathLst>
              <a:path w="920751" h="304801">
                <a:moveTo>
                  <a:pt x="0" y="247650"/>
                </a:moveTo>
                <a:lnTo>
                  <a:pt x="920750" y="0"/>
                </a:lnTo>
                <a:lnTo>
                  <a:pt x="920750" y="57150"/>
                </a:lnTo>
                <a:lnTo>
                  <a:pt x="0" y="30480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1">
                    <a:lumMod val="60000"/>
                    <a:lumOff val="4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lgn="ctr">
              <a:buFont typeface="Wingdings" panose="05000000000000000000" pitchFamily="2" charset="2"/>
              <a:buChar char="§"/>
            </a:pPr>
            <a:endParaRPr lang="en-US" sz="1400">
              <a:solidFill>
                <a:schemeClr val="tx1"/>
              </a:solidFill>
            </a:endParaRPr>
          </a:p>
        </p:txBody>
      </p:sp>
      <p:sp useBgFill="1">
        <p:nvSpPr>
          <p:cNvPr id="13" name="Freeform 12"/>
          <p:cNvSpPr/>
          <p:nvPr>
            <p:custDataLst>
              <p:tags r:id="rId24"/>
            </p:custDataLst>
          </p:nvPr>
        </p:nvSpPr>
        <p:spPr bwMode="auto">
          <a:xfrm>
            <a:off x="4881563" y="2344738"/>
            <a:ext cx="920751" cy="304801"/>
          </a:xfrm>
          <a:custGeom>
            <a:avLst/>
            <a:gdLst/>
            <a:ahLst/>
            <a:cxnLst/>
            <a:rect l="0" t="0" r="0" b="0"/>
            <a:pathLst>
              <a:path w="920751" h="304801">
                <a:moveTo>
                  <a:pt x="0" y="247650"/>
                </a:moveTo>
                <a:lnTo>
                  <a:pt x="920750" y="0"/>
                </a:lnTo>
                <a:lnTo>
                  <a:pt x="920750" y="57150"/>
                </a:lnTo>
                <a:lnTo>
                  <a:pt x="0" y="30480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1">
                    <a:lumMod val="60000"/>
                    <a:lumOff val="4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lgn="ctr">
              <a:buFont typeface="Wingdings" panose="05000000000000000000" pitchFamily="2" charset="2"/>
              <a:buChar char="§"/>
            </a:pPr>
            <a:endParaRPr lang="en-US" sz="1400">
              <a:solidFill>
                <a:schemeClr val="tx1"/>
              </a:solidFill>
            </a:endParaRPr>
          </a:p>
        </p:txBody>
      </p:sp>
      <p:sp>
        <p:nvSpPr>
          <p:cNvPr id="4" name="Freeform 3"/>
          <p:cNvSpPr/>
          <p:nvPr>
            <p:custDataLst>
              <p:tags r:id="rId25"/>
            </p:custDataLst>
          </p:nvPr>
        </p:nvSpPr>
        <p:spPr bwMode="auto">
          <a:xfrm>
            <a:off x="269875" y="2344738"/>
            <a:ext cx="920751" cy="247651"/>
          </a:xfrm>
          <a:custGeom>
            <a:avLst/>
            <a:gdLst/>
            <a:ahLst/>
            <a:cxnLst/>
            <a:rect l="0" t="0" r="0" b="0"/>
            <a:pathLst>
              <a:path w="920751" h="247651">
                <a:moveTo>
                  <a:pt x="0" y="247650"/>
                </a:moveTo>
                <a:lnTo>
                  <a:pt x="920750" y="0"/>
                </a:lnTo>
              </a:path>
            </a:pathLst>
          </a:custGeom>
          <a:ln w="9525"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Freeform 4"/>
          <p:cNvSpPr/>
          <p:nvPr>
            <p:custDataLst>
              <p:tags r:id="rId26"/>
            </p:custDataLst>
          </p:nvPr>
        </p:nvSpPr>
        <p:spPr bwMode="auto">
          <a:xfrm>
            <a:off x="269875" y="2401888"/>
            <a:ext cx="920751" cy="247651"/>
          </a:xfrm>
          <a:custGeom>
            <a:avLst/>
            <a:gdLst/>
            <a:ahLst/>
            <a:cxnLst/>
            <a:rect l="0" t="0" r="0" b="0"/>
            <a:pathLst>
              <a:path w="920751" h="247651">
                <a:moveTo>
                  <a:pt x="0" y="247650"/>
                </a:moveTo>
                <a:lnTo>
                  <a:pt x="920750" y="0"/>
                </a:lnTo>
              </a:path>
            </a:pathLst>
          </a:custGeom>
          <a:ln w="9525"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9"/>
          <p:cNvSpPr/>
          <p:nvPr>
            <p:custDataLst>
              <p:tags r:id="rId27"/>
            </p:custDataLst>
          </p:nvPr>
        </p:nvSpPr>
        <p:spPr bwMode="auto">
          <a:xfrm>
            <a:off x="4881563" y="2344738"/>
            <a:ext cx="920751" cy="247651"/>
          </a:xfrm>
          <a:custGeom>
            <a:avLst/>
            <a:gdLst/>
            <a:ahLst/>
            <a:cxnLst/>
            <a:rect l="0" t="0" r="0" b="0"/>
            <a:pathLst>
              <a:path w="920751" h="247651">
                <a:moveTo>
                  <a:pt x="0" y="247650"/>
                </a:moveTo>
                <a:lnTo>
                  <a:pt x="920750" y="0"/>
                </a:lnTo>
              </a:path>
            </a:pathLst>
          </a:custGeom>
          <a:ln w="9525"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10"/>
          <p:cNvSpPr/>
          <p:nvPr>
            <p:custDataLst>
              <p:tags r:id="rId28"/>
            </p:custDataLst>
          </p:nvPr>
        </p:nvSpPr>
        <p:spPr bwMode="auto">
          <a:xfrm>
            <a:off x="4881563" y="2401888"/>
            <a:ext cx="920751" cy="247651"/>
          </a:xfrm>
          <a:custGeom>
            <a:avLst/>
            <a:gdLst/>
            <a:ahLst/>
            <a:cxnLst/>
            <a:rect l="0" t="0" r="0" b="0"/>
            <a:pathLst>
              <a:path w="920751" h="247651">
                <a:moveTo>
                  <a:pt x="0" y="247650"/>
                </a:moveTo>
                <a:lnTo>
                  <a:pt x="920750" y="0"/>
                </a:lnTo>
              </a:path>
            </a:pathLst>
          </a:custGeom>
          <a:ln w="9525"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3" name="Rectangle 102"/>
          <p:cNvSpPr/>
          <p:nvPr>
            <p:custDataLst>
              <p:tags r:id="rId29"/>
            </p:custDataLst>
          </p:nvPr>
        </p:nvSpPr>
        <p:spPr bwMode="auto">
          <a:xfrm>
            <a:off x="461963" y="3022600"/>
            <a:ext cx="538163"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87DB45DD-66F7-41E9-A8E1-25763AEEA551}" type="datetime'''''''''2''''0''''''''19M''''''''1''''0'''''''''''''''''''''">
              <a:rPr lang="en-US" altLang="en-US" sz="1000" b="1">
                <a:solidFill>
                  <a:srgbClr val="4C4D4E"/>
                </a:solidFill>
                <a:latin typeface="+mj-lt"/>
                <a:ea typeface="+mj-ea"/>
                <a:cs typeface="+mj-cs"/>
                <a:sym typeface="+mj-lt"/>
              </a:rPr>
              <a:pPr marL="0" lvl="3" algn="ctr">
                <a:spcBef>
                  <a:spcPct val="0"/>
                </a:spcBef>
                <a:spcAft>
                  <a:spcPct val="0"/>
                </a:spcAft>
                <a:defRPr/>
              </a:pPr>
              <a:t>2019M10</a:t>
            </a:fld>
            <a:endParaRPr lang="en-US" sz="1000" b="1">
              <a:solidFill>
                <a:srgbClr val="4C4D4E"/>
              </a:solidFill>
              <a:latin typeface="+mj-lt"/>
              <a:ea typeface="+mj-ea"/>
              <a:cs typeface="+mj-cs"/>
              <a:sym typeface="+mj-lt"/>
            </a:endParaRPr>
          </a:p>
        </p:txBody>
      </p:sp>
      <p:sp>
        <p:nvSpPr>
          <p:cNvPr id="105" name="Rectangle 104"/>
          <p:cNvSpPr/>
          <p:nvPr>
            <p:custDataLst>
              <p:tags r:id="rId30"/>
            </p:custDataLst>
          </p:nvPr>
        </p:nvSpPr>
        <p:spPr bwMode="auto">
          <a:xfrm>
            <a:off x="1417638" y="3022600"/>
            <a:ext cx="469900"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4FA79D0B-4AEF-4CB5-984D-3688D5CFA88B}" type="datetime'V''''''''ol''''''''''''''''u''''''''''''''me'''''''''''''''">
              <a:rPr lang="en-US" altLang="en-US" sz="1000" b="1">
                <a:solidFill>
                  <a:srgbClr val="4C4D4E"/>
                </a:solidFill>
                <a:latin typeface="+mj-lt"/>
                <a:ea typeface="+mj-ea"/>
                <a:cs typeface="+mj-cs"/>
                <a:sym typeface="+mj-lt"/>
              </a:rPr>
              <a:pPr marL="0" lvl="3" algn="ctr">
                <a:spcBef>
                  <a:spcPct val="0"/>
                </a:spcBef>
                <a:spcAft>
                  <a:spcPct val="0"/>
                </a:spcAft>
                <a:defRPr/>
              </a:pPr>
              <a:t>Volume</a:t>
            </a:fld>
            <a:endParaRPr lang="en-US" sz="1000" b="1">
              <a:solidFill>
                <a:srgbClr val="4C4D4E"/>
              </a:solidFill>
              <a:latin typeface="+mj-lt"/>
              <a:ea typeface="+mj-ea"/>
              <a:cs typeface="+mj-cs"/>
              <a:sym typeface="+mj-lt"/>
            </a:endParaRPr>
          </a:p>
        </p:txBody>
      </p:sp>
      <p:sp>
        <p:nvSpPr>
          <p:cNvPr id="106" name="Rectangle 105"/>
          <p:cNvSpPr/>
          <p:nvPr>
            <p:custDataLst>
              <p:tags r:id="rId31"/>
            </p:custDataLst>
          </p:nvPr>
        </p:nvSpPr>
        <p:spPr bwMode="auto">
          <a:xfrm>
            <a:off x="2414588" y="3022600"/>
            <a:ext cx="320675"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A3EED9E2-40A3-4B04-9BDC-2800736370ED}" type="datetime'''P''''''r''''''''''''''''''''''''i''''''''c''e'''''''''''''''">
              <a:rPr lang="en-US" altLang="en-US" sz="1000" b="1">
                <a:solidFill>
                  <a:srgbClr val="4C4D4E"/>
                </a:solidFill>
                <a:latin typeface="+mj-lt"/>
                <a:ea typeface="+mj-ea"/>
                <a:cs typeface="+mj-cs"/>
                <a:sym typeface="+mj-lt"/>
              </a:rPr>
              <a:pPr marL="0" lvl="3" algn="ctr">
                <a:spcBef>
                  <a:spcPct val="0"/>
                </a:spcBef>
                <a:spcAft>
                  <a:spcPct val="0"/>
                </a:spcAft>
                <a:defRPr/>
              </a:pPr>
              <a:t>Price</a:t>
            </a:fld>
            <a:endParaRPr lang="en-US" sz="1000" b="1">
              <a:solidFill>
                <a:srgbClr val="4C4D4E"/>
              </a:solidFill>
              <a:latin typeface="+mj-lt"/>
              <a:ea typeface="+mj-ea"/>
              <a:cs typeface="+mj-cs"/>
              <a:sym typeface="+mj-lt"/>
            </a:endParaRPr>
          </a:p>
        </p:txBody>
      </p:sp>
      <p:sp>
        <p:nvSpPr>
          <p:cNvPr id="107" name="Rectangle 106"/>
          <p:cNvSpPr/>
          <p:nvPr>
            <p:custDataLst>
              <p:tags r:id="rId32"/>
            </p:custDataLst>
          </p:nvPr>
        </p:nvSpPr>
        <p:spPr bwMode="auto">
          <a:xfrm>
            <a:off x="3354388" y="3022600"/>
            <a:ext cx="287338"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F25D647F-BC7D-4271-9065-DB4ED755C671}" type="datetime'A''''''''''''cq''.'''''''''''">
              <a:rPr lang="en-US" altLang="en-US" sz="1000" b="1">
                <a:solidFill>
                  <a:srgbClr val="4C4D4E"/>
                </a:solidFill>
                <a:latin typeface="+mj-lt"/>
                <a:ea typeface="+mj-ea"/>
                <a:cs typeface="+mj-cs"/>
                <a:sym typeface="+mj-lt"/>
              </a:rPr>
              <a:pPr marL="0" lvl="3" algn="ctr">
                <a:spcBef>
                  <a:spcPct val="0"/>
                </a:spcBef>
                <a:spcAft>
                  <a:spcPct val="0"/>
                </a:spcAft>
                <a:defRPr/>
              </a:pPr>
              <a:t>Acq.</a:t>
            </a:fld>
            <a:endParaRPr lang="en-US" sz="1000" b="1">
              <a:solidFill>
                <a:srgbClr val="4C4D4E"/>
              </a:solidFill>
              <a:latin typeface="+mj-lt"/>
              <a:ea typeface="+mj-ea"/>
              <a:cs typeface="+mj-cs"/>
              <a:sym typeface="+mj-lt"/>
            </a:endParaRPr>
          </a:p>
        </p:txBody>
      </p:sp>
      <p:sp>
        <p:nvSpPr>
          <p:cNvPr id="109" name="Rectangle 108"/>
          <p:cNvSpPr/>
          <p:nvPr>
            <p:custDataLst>
              <p:tags r:id="rId33"/>
            </p:custDataLst>
          </p:nvPr>
        </p:nvSpPr>
        <p:spPr bwMode="auto">
          <a:xfrm>
            <a:off x="4332288" y="3022600"/>
            <a:ext cx="174625"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2849F236-ABB6-47BF-B5E9-C6D37227F301}" type="datetime'''F''''X'''''''''''''''''''''''''''''''''">
              <a:rPr lang="en-US" altLang="en-US" sz="1000" b="1">
                <a:solidFill>
                  <a:srgbClr val="4C4D4E"/>
                </a:solidFill>
                <a:latin typeface="+mj-lt"/>
                <a:ea typeface="+mj-ea"/>
                <a:cs typeface="+mj-cs"/>
                <a:sym typeface="+mj-lt"/>
              </a:rPr>
              <a:pPr marL="0" lvl="3" algn="ctr">
                <a:spcBef>
                  <a:spcPct val="0"/>
                </a:spcBef>
                <a:spcAft>
                  <a:spcPct val="0"/>
                </a:spcAft>
                <a:defRPr/>
              </a:pPr>
              <a:t>FX</a:t>
            </a:fld>
            <a:endParaRPr lang="en-US" sz="1000" b="1">
              <a:solidFill>
                <a:srgbClr val="4C4D4E"/>
              </a:solidFill>
              <a:latin typeface="+mj-lt"/>
              <a:ea typeface="+mj-ea"/>
              <a:cs typeface="+mj-cs"/>
              <a:sym typeface="+mj-lt"/>
            </a:endParaRPr>
          </a:p>
        </p:txBody>
      </p:sp>
      <p:sp>
        <p:nvSpPr>
          <p:cNvPr id="110" name="Rectangle 109"/>
          <p:cNvSpPr/>
          <p:nvPr>
            <p:custDataLst>
              <p:tags r:id="rId34"/>
            </p:custDataLst>
          </p:nvPr>
        </p:nvSpPr>
        <p:spPr bwMode="auto">
          <a:xfrm>
            <a:off x="5073650" y="3022600"/>
            <a:ext cx="538163"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A8FB5F97-BB74-4C80-86F5-EF682F8813B6}" type="datetime'''20''''''''''''''2''''0''''''''M1''''''''''''0'''''''''''''''">
              <a:rPr lang="en-US" altLang="en-US" sz="1000" b="1">
                <a:solidFill>
                  <a:srgbClr val="4C4D4E"/>
                </a:solidFill>
                <a:latin typeface="+mj-lt"/>
                <a:ea typeface="+mj-ea"/>
                <a:cs typeface="+mj-cs"/>
                <a:sym typeface="+mj-lt"/>
              </a:rPr>
              <a:pPr marL="0" lvl="3" algn="ctr">
                <a:spcBef>
                  <a:spcPct val="0"/>
                </a:spcBef>
                <a:spcAft>
                  <a:spcPct val="0"/>
                </a:spcAft>
                <a:defRPr/>
              </a:pPr>
              <a:t>2020M10</a:t>
            </a:fld>
            <a:endParaRPr lang="en-US" sz="1000" b="1">
              <a:solidFill>
                <a:srgbClr val="4C4D4E"/>
              </a:solidFill>
              <a:latin typeface="+mj-lt"/>
              <a:ea typeface="+mj-ea"/>
              <a:cs typeface="+mj-cs"/>
              <a:sym typeface="+mj-lt"/>
            </a:endParaRPr>
          </a:p>
        </p:txBody>
      </p:sp>
      <p:sp>
        <p:nvSpPr>
          <p:cNvPr id="63" name="Rectangle 62"/>
          <p:cNvSpPr/>
          <p:nvPr>
            <p:custDataLst>
              <p:tags r:id="rId35"/>
            </p:custDataLst>
          </p:nvPr>
        </p:nvSpPr>
        <p:spPr bwMode="gray">
          <a:xfrm>
            <a:off x="5130800" y="1806575"/>
            <a:ext cx="423863"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536E20E7-1ECB-46B3-8047-810486BD4668}" type="datetime'''''''$''''''''''6''''2''M'">
              <a:rPr lang="en-US" altLang="en-US" sz="1200">
                <a:solidFill>
                  <a:srgbClr val="4C4D4E"/>
                </a:solidFill>
                <a:latin typeface="+mj-lt"/>
                <a:ea typeface="+mj-ea"/>
                <a:cs typeface="+mj-cs"/>
                <a:sym typeface="+mj-lt"/>
              </a:rPr>
              <a:pPr marL="0" lvl="3" algn="ctr">
                <a:lnSpc>
                  <a:spcPct val="90000"/>
                </a:lnSpc>
                <a:spcBef>
                  <a:spcPct val="0"/>
                </a:spcBef>
                <a:spcAft>
                  <a:spcPct val="0"/>
                </a:spcAft>
              </a:pPr>
              <a:t>$62M</a:t>
            </a:fld>
            <a:endParaRPr lang="en-US" sz="1200">
              <a:solidFill>
                <a:srgbClr val="4C4D4E"/>
              </a:solidFill>
              <a:latin typeface="+mj-lt"/>
              <a:ea typeface="+mj-ea"/>
              <a:cs typeface="+mj-cs"/>
              <a:sym typeface="+mj-lt"/>
            </a:endParaRPr>
          </a:p>
        </p:txBody>
      </p:sp>
      <p:sp>
        <p:nvSpPr>
          <p:cNvPr id="61" name="Rectangle 60"/>
          <p:cNvSpPr/>
          <p:nvPr>
            <p:custDataLst>
              <p:tags r:id="rId36"/>
            </p:custDataLst>
          </p:nvPr>
        </p:nvSpPr>
        <p:spPr bwMode="gray">
          <a:xfrm>
            <a:off x="519113" y="1485900"/>
            <a:ext cx="423863"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1E0CFAD6-93F8-4096-81FA-71F2CC676A08}" type="datetime'''''$''8''''''''''''''''''''''''''''1M'''''''">
              <a:rPr lang="en-US" altLang="en-US" sz="1200">
                <a:solidFill>
                  <a:srgbClr val="4C4D4E"/>
                </a:solidFill>
                <a:latin typeface="+mj-lt"/>
                <a:ea typeface="+mj-ea"/>
                <a:cs typeface="+mj-cs"/>
                <a:sym typeface="+mj-lt"/>
              </a:rPr>
              <a:pPr marL="0" lvl="3" algn="ctr">
                <a:lnSpc>
                  <a:spcPct val="90000"/>
                </a:lnSpc>
                <a:spcBef>
                  <a:spcPct val="0"/>
                </a:spcBef>
                <a:spcAft>
                  <a:spcPct val="0"/>
                </a:spcAft>
              </a:pPr>
              <a:t>$81M</a:t>
            </a:fld>
            <a:endParaRPr lang="en-US" sz="1200">
              <a:solidFill>
                <a:srgbClr val="4C4D4E"/>
              </a:solidFill>
              <a:latin typeface="+mj-lt"/>
              <a:ea typeface="+mj-ea"/>
              <a:cs typeface="+mj-cs"/>
              <a:sym typeface="+mj-lt"/>
            </a:endParaRPr>
          </a:p>
        </p:txBody>
      </p:sp>
      <p:sp>
        <p:nvSpPr>
          <p:cNvPr id="27" name="Rectangle 26"/>
          <p:cNvSpPr/>
          <p:nvPr>
            <p:custDataLst>
              <p:tags r:id="rId37"/>
            </p:custDataLst>
          </p:nvPr>
        </p:nvSpPr>
        <p:spPr bwMode="gray">
          <a:xfrm>
            <a:off x="1416050" y="2017713"/>
            <a:ext cx="474663"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t" anchorCtr="0" forceAA="0" compatLnSpc="1">
            <a:prstTxWarp prst="textNoShape">
              <a:avLst/>
            </a:prstTxWarp>
            <a:noAutofit/>
          </a:bodyPr>
          <a:lstStyle/>
          <a:p>
            <a:pPr marL="0" lvl="3" algn="ctr">
              <a:lnSpc>
                <a:spcPct val="90000"/>
              </a:lnSpc>
              <a:spcBef>
                <a:spcPct val="0"/>
              </a:spcBef>
              <a:spcAft>
                <a:spcPct val="0"/>
              </a:spcAft>
              <a:defRPr/>
            </a:pPr>
            <a:fld id="{88DEAD90-B526-4E6A-9AC6-0E885D648161}" type="datetime'''-$''''1''''''8''''''''''''''''''''M'''''">
              <a:rPr lang="en-US" altLang="en-US" sz="1200">
                <a:solidFill>
                  <a:srgbClr val="4C4D4E"/>
                </a:solidFill>
                <a:latin typeface="+mj-lt"/>
                <a:ea typeface="+mj-ea"/>
                <a:cs typeface="+mj-cs"/>
                <a:sym typeface="+mj-lt"/>
              </a:rPr>
              <a:pPr marL="0" lvl="3" algn="ctr">
                <a:lnSpc>
                  <a:spcPct val="90000"/>
                </a:lnSpc>
                <a:spcBef>
                  <a:spcPct val="0"/>
                </a:spcBef>
                <a:spcAft>
                  <a:spcPct val="0"/>
                </a:spcAft>
                <a:defRPr/>
              </a:pPr>
              <a:t>-$18M</a:t>
            </a:fld>
            <a:endParaRPr lang="en-US" sz="1200">
              <a:solidFill>
                <a:srgbClr val="4C4D4E"/>
              </a:solidFill>
              <a:latin typeface="+mj-lt"/>
              <a:ea typeface="+mj-ea"/>
              <a:cs typeface="+mj-cs"/>
              <a:sym typeface="+mj-lt"/>
            </a:endParaRPr>
          </a:p>
        </p:txBody>
      </p:sp>
      <p:sp>
        <p:nvSpPr>
          <p:cNvPr id="31" name="Rectangle 30"/>
          <p:cNvSpPr/>
          <p:nvPr>
            <p:custDataLst>
              <p:tags r:id="rId38"/>
            </p:custDataLst>
          </p:nvPr>
        </p:nvSpPr>
        <p:spPr bwMode="gray">
          <a:xfrm>
            <a:off x="2379663" y="2041525"/>
            <a:ext cx="390525"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t" anchorCtr="0" forceAA="0" compatLnSpc="1">
            <a:prstTxWarp prst="textNoShape">
              <a:avLst/>
            </a:prstTxWarp>
            <a:noAutofit/>
          </a:bodyPr>
          <a:lstStyle/>
          <a:p>
            <a:pPr marL="0" lvl="3" algn="ctr">
              <a:lnSpc>
                <a:spcPct val="90000"/>
              </a:lnSpc>
              <a:spcBef>
                <a:spcPct val="0"/>
              </a:spcBef>
              <a:spcAft>
                <a:spcPct val="0"/>
              </a:spcAft>
            </a:pPr>
            <a:fld id="{9D746104-9DB2-4A9A-BAEF-CF3585E20381}" type="datetime'''''''''''''''-$''''1''''M'">
              <a:rPr lang="en-US" altLang="en-US" sz="1200">
                <a:solidFill>
                  <a:srgbClr val="4C4D4E"/>
                </a:solidFill>
                <a:latin typeface="+mj-lt"/>
                <a:ea typeface="+mj-ea"/>
                <a:cs typeface="+mj-cs"/>
                <a:sym typeface="+mj-lt"/>
              </a:rPr>
              <a:pPr marL="0" lvl="3" algn="ctr">
                <a:lnSpc>
                  <a:spcPct val="90000"/>
                </a:lnSpc>
                <a:spcBef>
                  <a:spcPct val="0"/>
                </a:spcBef>
                <a:spcAft>
                  <a:spcPct val="0"/>
                </a:spcAft>
              </a:pPr>
              <a:t>-$1M</a:t>
            </a:fld>
            <a:endParaRPr lang="en-US" sz="1200" err="1">
              <a:solidFill>
                <a:srgbClr val="4C4D4E"/>
              </a:solidFill>
              <a:latin typeface="+mj-lt"/>
              <a:ea typeface="+mj-ea"/>
              <a:cs typeface="+mj-cs"/>
              <a:sym typeface="+mj-lt"/>
            </a:endParaRPr>
          </a:p>
        </p:txBody>
      </p:sp>
      <p:sp>
        <p:nvSpPr>
          <p:cNvPr id="33" name="Rectangle 32"/>
          <p:cNvSpPr/>
          <p:nvPr>
            <p:custDataLst>
              <p:tags r:id="rId39"/>
            </p:custDataLst>
          </p:nvPr>
        </p:nvSpPr>
        <p:spPr bwMode="gray">
          <a:xfrm>
            <a:off x="3327400" y="1825625"/>
            <a:ext cx="339725"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E4114160-D904-4A29-9952-8F18D22DB32F}" type="datetime'''$''0''M'''''''''''''''''">
              <a:rPr lang="en-US" altLang="en-US" sz="1200">
                <a:solidFill>
                  <a:schemeClr val="tx1"/>
                </a:solidFill>
                <a:latin typeface="+mj-lt"/>
                <a:ea typeface="+mj-ea"/>
                <a:cs typeface="+mj-cs"/>
                <a:sym typeface="+mj-lt"/>
              </a:rPr>
              <a:pPr marL="0" lvl="3" algn="ctr">
                <a:lnSpc>
                  <a:spcPct val="90000"/>
                </a:lnSpc>
                <a:spcBef>
                  <a:spcPct val="0"/>
                </a:spcBef>
                <a:spcAft>
                  <a:spcPct val="0"/>
                </a:spcAft>
              </a:pPr>
              <a:t>$0M</a:t>
            </a:fld>
            <a:endParaRPr lang="en-US" sz="1200" err="1">
              <a:solidFill>
                <a:schemeClr val="tx1"/>
              </a:solidFill>
              <a:latin typeface="+mj-lt"/>
              <a:ea typeface="+mj-ea"/>
              <a:cs typeface="+mj-cs"/>
              <a:sym typeface="+mj-lt"/>
            </a:endParaRPr>
          </a:p>
        </p:txBody>
      </p:sp>
      <p:sp>
        <p:nvSpPr>
          <p:cNvPr id="38" name="Text Placeholder 37"/>
          <p:cNvSpPr>
            <a:spLocks noGrp="1"/>
          </p:cNvSpPr>
          <p:nvPr>
            <p:ph type="body" sz="quarter" idx="12"/>
          </p:nvPr>
        </p:nvSpPr>
        <p:spPr/>
        <p:txBody>
          <a:bodyPr/>
          <a:lstStyle/>
          <a:p>
            <a:endParaRPr lang="en-US">
              <a:latin typeface="+mj-lt"/>
            </a:endParaRPr>
          </a:p>
        </p:txBody>
      </p:sp>
      <p:sp>
        <p:nvSpPr>
          <p:cNvPr id="37" name="Text Placeholder 36"/>
          <p:cNvSpPr>
            <a:spLocks noGrp="1"/>
          </p:cNvSpPr>
          <p:nvPr>
            <p:ph type="body" sz="quarter" idx="11"/>
          </p:nvPr>
        </p:nvSpPr>
        <p:spPr/>
        <p:txBody>
          <a:bodyPr/>
          <a:lstStyle/>
          <a:p>
            <a:endParaRPr lang="en-US">
              <a:latin typeface="+mj-lt"/>
            </a:endParaRPr>
          </a:p>
        </p:txBody>
      </p:sp>
      <p:sp>
        <p:nvSpPr>
          <p:cNvPr id="2" name="Title 1"/>
          <p:cNvSpPr>
            <a:spLocks noGrp="1"/>
          </p:cNvSpPr>
          <p:nvPr>
            <p:ph type="title"/>
          </p:nvPr>
        </p:nvSpPr>
        <p:spPr/>
        <p:txBody>
          <a:bodyPr vert="horz"/>
          <a:lstStyle/>
          <a:p>
            <a:r>
              <a:rPr lang="en-US">
                <a:latin typeface="+mj-lt"/>
              </a:rPr>
              <a:t>Finance Performance Slide</a:t>
            </a:r>
          </a:p>
        </p:txBody>
      </p:sp>
      <p:sp>
        <p:nvSpPr>
          <p:cNvPr id="12" name="Rectangle 11"/>
          <p:cNvSpPr/>
          <p:nvPr/>
        </p:nvSpPr>
        <p:spPr bwMode="auto">
          <a:xfrm rot="21019791">
            <a:off x="5195888" y="2535239"/>
            <a:ext cx="703882" cy="28575"/>
          </a:xfrm>
          <a:prstGeom prst="rect">
            <a:avLst/>
          </a:prstGeom>
          <a:noFill/>
          <a:ln>
            <a:noFill/>
          </a:ln>
        </p:spPr>
        <p:txBody>
          <a:bodyPr lIns="0" r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lgn="ctr" eaLnBrk="0" hangingPunct="0">
              <a:spcBef>
                <a:spcPts val="1800"/>
              </a:spcBef>
              <a:buClr>
                <a:srgbClr val="D13B3B"/>
              </a:buClr>
              <a:buSzPct val="90000"/>
              <a:buFontTx/>
              <a:buChar char="•"/>
              <a:defRPr/>
            </a:pPr>
            <a:endParaRPr lang="en-US" sz="2000" b="1">
              <a:solidFill>
                <a:srgbClr val="D13B3B"/>
              </a:solidFill>
              <a:latin typeface="+mj-lt"/>
              <a:cs typeface="Arial" panose="020B0604020202020204" pitchFamily="34" charset="0"/>
            </a:endParaRPr>
          </a:p>
        </p:txBody>
      </p:sp>
      <p:grpSp>
        <p:nvGrpSpPr>
          <p:cNvPr id="68" name="Group 67"/>
          <p:cNvGrpSpPr/>
          <p:nvPr/>
        </p:nvGrpSpPr>
        <p:grpSpPr>
          <a:xfrm>
            <a:off x="1275403" y="2649540"/>
            <a:ext cx="3534298" cy="317604"/>
            <a:chOff x="1717865" y="2722563"/>
            <a:chExt cx="2701735" cy="209550"/>
          </a:xfrm>
        </p:grpSpPr>
        <p:sp>
          <p:nvSpPr>
            <p:cNvPr id="20" name="Text Box 153"/>
            <p:cNvSpPr txBox="1">
              <a:spLocks noChangeArrowheads="1"/>
            </p:cNvSpPr>
            <p:nvPr/>
          </p:nvSpPr>
          <p:spPr bwMode="auto">
            <a:xfrm>
              <a:off x="1717865" y="2722563"/>
              <a:ext cx="561325"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rgbClr val="FF0000"/>
                </a:buClr>
                <a:buSzPct val="80000"/>
                <a:defRPr/>
              </a:pPr>
              <a:r>
                <a:rPr lang="en-US" sz="1100" b="1" i="1">
                  <a:solidFill>
                    <a:srgbClr val="4C4D4E"/>
                  </a:solidFill>
                  <a:latin typeface="+mj-lt"/>
                  <a:cs typeface="Arial" panose="020B0604020202020204" pitchFamily="34" charset="0"/>
                </a:rPr>
                <a:t>(22.9%)</a:t>
              </a:r>
            </a:p>
          </p:txBody>
        </p:sp>
        <p:sp>
          <p:nvSpPr>
            <p:cNvPr id="22" name="Text Box 153"/>
            <p:cNvSpPr txBox="1">
              <a:spLocks noChangeArrowheads="1"/>
            </p:cNvSpPr>
            <p:nvPr/>
          </p:nvSpPr>
          <p:spPr bwMode="auto">
            <a:xfrm>
              <a:off x="2446727" y="2722563"/>
              <a:ext cx="561325"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rgbClr val="FF0000"/>
                </a:buClr>
                <a:buSzPct val="80000"/>
                <a:defRPr/>
              </a:pPr>
              <a:r>
                <a:rPr lang="en-US" sz="1100" b="1" i="1">
                  <a:solidFill>
                    <a:srgbClr val="4C4D4E"/>
                  </a:solidFill>
                  <a:latin typeface="+mj-lt"/>
                  <a:cs typeface="Arial" panose="020B0604020202020204" pitchFamily="34" charset="0"/>
                </a:rPr>
                <a:t>(1.7%)</a:t>
              </a:r>
            </a:p>
          </p:txBody>
        </p:sp>
        <p:sp>
          <p:nvSpPr>
            <p:cNvPr id="23" name="Text Box 153"/>
            <p:cNvSpPr txBox="1">
              <a:spLocks noChangeArrowheads="1"/>
            </p:cNvSpPr>
            <p:nvPr/>
          </p:nvSpPr>
          <p:spPr bwMode="auto">
            <a:xfrm>
              <a:off x="3165151" y="2722563"/>
              <a:ext cx="561325"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rgbClr val="FF0000"/>
                </a:buClr>
                <a:buSzPct val="80000"/>
                <a:defRPr/>
              </a:pPr>
              <a:r>
                <a:rPr lang="en-US" sz="1100" b="1" i="1">
                  <a:solidFill>
                    <a:srgbClr val="4C4D4E"/>
                  </a:solidFill>
                  <a:latin typeface="+mj-lt"/>
                  <a:cs typeface="Arial" panose="020B0604020202020204" pitchFamily="34" charset="0"/>
                </a:rPr>
                <a:t>--</a:t>
              </a:r>
            </a:p>
          </p:txBody>
        </p:sp>
        <p:sp>
          <p:nvSpPr>
            <p:cNvPr id="24" name="Text Box 153"/>
            <p:cNvSpPr txBox="1">
              <a:spLocks noChangeArrowheads="1"/>
            </p:cNvSpPr>
            <p:nvPr/>
          </p:nvSpPr>
          <p:spPr bwMode="auto">
            <a:xfrm>
              <a:off x="3858275" y="2722563"/>
              <a:ext cx="561325"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rgbClr val="FF0000"/>
                </a:buClr>
                <a:buSzPct val="80000"/>
                <a:defRPr/>
              </a:pPr>
              <a:r>
                <a:rPr lang="en-US" sz="1100" b="1" i="1">
                  <a:solidFill>
                    <a:srgbClr val="4C4D4E"/>
                  </a:solidFill>
                  <a:latin typeface="+mj-lt"/>
                  <a:cs typeface="Arial" panose="020B0604020202020204" pitchFamily="34" charset="0"/>
                </a:rPr>
                <a:t>1.4%</a:t>
              </a:r>
            </a:p>
          </p:txBody>
        </p:sp>
      </p:grpSp>
      <p:sp>
        <p:nvSpPr>
          <p:cNvPr id="25" name="Oval 24"/>
          <p:cNvSpPr>
            <a:spLocks noChangeArrowheads="1"/>
          </p:cNvSpPr>
          <p:nvPr/>
        </p:nvSpPr>
        <p:spPr bwMode="auto">
          <a:xfrm>
            <a:off x="4933041" y="2042813"/>
            <a:ext cx="848712" cy="455912"/>
          </a:xfrm>
          <a:prstGeom prst="ellipse">
            <a:avLst/>
          </a:prstGeom>
          <a:solidFill>
            <a:schemeClr val="accent5"/>
          </a:solidFill>
          <a:ln>
            <a:solidFill>
              <a:schemeClr val="tx1"/>
            </a:solidFill>
          </a:ln>
          <a:effectLst/>
          <a:scene3d>
            <a:camera prst="orthographicFront">
              <a:rot lat="0" lon="0" rev="0"/>
            </a:camera>
            <a:lightRig rig="balanced" dir="t">
              <a:rot lat="0" lon="0" rev="8700000"/>
            </a:lightRig>
          </a:scene3d>
          <a:sp3d/>
        </p:spPr>
        <p:txBody>
          <a:bodyPr wrap="none" anchor="ctr"/>
          <a:lstStyle/>
          <a:p>
            <a:pPr algn="ctr" eaLnBrk="0" hangingPunct="0">
              <a:buClr>
                <a:srgbClr val="FF0000"/>
              </a:buClr>
              <a:buSzPct val="80000"/>
              <a:defRPr/>
            </a:pPr>
            <a:r>
              <a:rPr lang="en-US" sz="900" b="1">
                <a:latin typeface="+mj-lt"/>
                <a:cs typeface="Arial" panose="020B0604020202020204" pitchFamily="34" charset="0"/>
              </a:rPr>
              <a:t>-23% YoY</a:t>
            </a:r>
          </a:p>
        </p:txBody>
      </p:sp>
      <p:sp>
        <p:nvSpPr>
          <p:cNvPr id="42" name="Oval 41"/>
          <p:cNvSpPr>
            <a:spLocks noChangeArrowheads="1"/>
          </p:cNvSpPr>
          <p:nvPr/>
        </p:nvSpPr>
        <p:spPr bwMode="auto">
          <a:xfrm>
            <a:off x="11039442" y="2110870"/>
            <a:ext cx="766362" cy="448600"/>
          </a:xfrm>
          <a:prstGeom prst="ellipse">
            <a:avLst/>
          </a:prstGeom>
          <a:solidFill>
            <a:schemeClr val="accent5"/>
          </a:solidFill>
          <a:ln>
            <a:solidFill>
              <a:schemeClr val="tx1"/>
            </a:solidFill>
          </a:ln>
          <a:effectLst/>
          <a:scene3d>
            <a:camera prst="orthographicFront">
              <a:rot lat="0" lon="0" rev="0"/>
            </a:camera>
            <a:lightRig rig="balanced" dir="t">
              <a:rot lat="0" lon="0" rev="8700000"/>
            </a:lightRig>
          </a:scene3d>
          <a:sp3d/>
        </p:spPr>
        <p:txBody>
          <a:bodyPr wrap="none" anchor="ctr"/>
          <a:lstStyle/>
          <a:p>
            <a:pPr algn="ctr" eaLnBrk="0" hangingPunct="0">
              <a:buClr>
                <a:srgbClr val="FF0000"/>
              </a:buClr>
              <a:buSzPct val="80000"/>
            </a:pPr>
            <a:r>
              <a:rPr lang="en-US" sz="900" b="1">
                <a:latin typeface="+mj-lt"/>
                <a:cs typeface="Arial" panose="020B0604020202020204" pitchFamily="34" charset="0"/>
              </a:rPr>
              <a:t>-750 bps</a:t>
            </a:r>
          </a:p>
        </p:txBody>
      </p:sp>
      <p:sp>
        <p:nvSpPr>
          <p:cNvPr id="34" name="Rectangle 33"/>
          <p:cNvSpPr/>
          <p:nvPr/>
        </p:nvSpPr>
        <p:spPr bwMode="auto">
          <a:xfrm rot="21019791">
            <a:off x="9912786" y="2919447"/>
            <a:ext cx="655565" cy="30163"/>
          </a:xfrm>
          <a:prstGeom prst="rect">
            <a:avLst/>
          </a:prstGeom>
          <a:noFill/>
          <a:ln>
            <a:noFill/>
          </a:ln>
        </p:spPr>
        <p:txBody>
          <a:bodyPr lIns="0" r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lgn="ctr" eaLnBrk="0" hangingPunct="0">
              <a:spcBef>
                <a:spcPts val="1800"/>
              </a:spcBef>
              <a:buClr>
                <a:srgbClr val="D13B3B"/>
              </a:buClr>
              <a:buSzPct val="90000"/>
              <a:buFontTx/>
              <a:buChar char="•"/>
              <a:defRPr/>
            </a:pPr>
            <a:endParaRPr lang="en-US" sz="1600" b="1">
              <a:solidFill>
                <a:srgbClr val="D13B3B"/>
              </a:solidFill>
              <a:latin typeface="+mj-lt"/>
              <a:cs typeface="Arial" panose="020B0604020202020204" pitchFamily="34" charset="0"/>
            </a:endParaRPr>
          </a:p>
        </p:txBody>
      </p:sp>
      <p:sp>
        <p:nvSpPr>
          <p:cNvPr id="49" name="TextBox 84"/>
          <p:cNvSpPr txBox="1"/>
          <p:nvPr/>
        </p:nvSpPr>
        <p:spPr>
          <a:xfrm>
            <a:off x="6553200" y="2588958"/>
            <a:ext cx="567784" cy="41549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050" b="1">
                <a:solidFill>
                  <a:srgbClr val="AAABAC">
                    <a:lumMod val="50000"/>
                  </a:srgbClr>
                </a:solidFill>
                <a:latin typeface="+mj-lt"/>
                <a:cs typeface="Arial" panose="020B0604020202020204" pitchFamily="34" charset="0"/>
              </a:rPr>
              <a:t>ROS</a:t>
            </a:r>
          </a:p>
          <a:p>
            <a:pPr algn="ctr">
              <a:defRPr/>
            </a:pPr>
            <a:r>
              <a:rPr lang="en-US" sz="1050" b="1">
                <a:solidFill>
                  <a:srgbClr val="AAABAC">
                    <a:lumMod val="50000"/>
                  </a:srgbClr>
                </a:solidFill>
                <a:latin typeface="+mj-lt"/>
                <a:cs typeface="Arial" panose="020B0604020202020204" pitchFamily="34" charset="0"/>
              </a:rPr>
              <a:t>15.4%</a:t>
            </a:r>
          </a:p>
        </p:txBody>
      </p:sp>
      <p:grpSp>
        <p:nvGrpSpPr>
          <p:cNvPr id="17" name="Group 16"/>
          <p:cNvGrpSpPr/>
          <p:nvPr/>
        </p:nvGrpSpPr>
        <p:grpSpPr>
          <a:xfrm>
            <a:off x="7406685" y="2588958"/>
            <a:ext cx="4283745" cy="415498"/>
            <a:chOff x="7406685" y="2588958"/>
            <a:chExt cx="4023315" cy="415498"/>
          </a:xfrm>
        </p:grpSpPr>
        <p:sp>
          <p:nvSpPr>
            <p:cNvPr id="50" name="TextBox 85"/>
            <p:cNvSpPr txBox="1"/>
            <p:nvPr/>
          </p:nvSpPr>
          <p:spPr>
            <a:xfrm>
              <a:off x="10937557" y="2588958"/>
              <a:ext cx="492443" cy="41549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050" b="1">
                  <a:solidFill>
                    <a:srgbClr val="AAABAC">
                      <a:lumMod val="50000"/>
                    </a:srgbClr>
                  </a:solidFill>
                  <a:latin typeface="+mj-lt"/>
                  <a:cs typeface="Arial" panose="020B0604020202020204" pitchFamily="34" charset="0"/>
                </a:rPr>
                <a:t>ROS</a:t>
              </a:r>
            </a:p>
            <a:p>
              <a:pPr algn="ctr">
                <a:defRPr/>
              </a:pPr>
              <a:r>
                <a:rPr lang="en-US" sz="1050" b="1">
                  <a:solidFill>
                    <a:srgbClr val="AAABAC">
                      <a:lumMod val="50000"/>
                    </a:srgbClr>
                  </a:solidFill>
                  <a:latin typeface="+mj-lt"/>
                  <a:cs typeface="Arial" panose="020B0604020202020204" pitchFamily="34" charset="0"/>
                </a:rPr>
                <a:t>7.9%</a:t>
              </a:r>
            </a:p>
          </p:txBody>
        </p:sp>
        <p:sp>
          <p:nvSpPr>
            <p:cNvPr id="51" name="Text Box 153"/>
            <p:cNvSpPr txBox="1">
              <a:spLocks noChangeArrowheads="1"/>
            </p:cNvSpPr>
            <p:nvPr/>
          </p:nvSpPr>
          <p:spPr bwMode="auto">
            <a:xfrm>
              <a:off x="7406685" y="2780618"/>
              <a:ext cx="522794" cy="223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rgbClr val="FF0000"/>
                </a:buClr>
                <a:buSzPct val="80000"/>
                <a:defRPr/>
              </a:pPr>
              <a:r>
                <a:rPr lang="en-US" sz="1100" b="1" i="1">
                  <a:solidFill>
                    <a:srgbClr val="4C4D4E"/>
                  </a:solidFill>
                  <a:latin typeface="+mj-lt"/>
                  <a:cs typeface="Arial" panose="020B0604020202020204" pitchFamily="34" charset="0"/>
                </a:rPr>
                <a:t>(7.7%)</a:t>
              </a:r>
            </a:p>
          </p:txBody>
        </p:sp>
        <p:sp>
          <p:nvSpPr>
            <p:cNvPr id="52" name="Text Box 153"/>
            <p:cNvSpPr txBox="1">
              <a:spLocks noChangeArrowheads="1"/>
            </p:cNvSpPr>
            <p:nvPr/>
          </p:nvSpPr>
          <p:spPr bwMode="auto">
            <a:xfrm>
              <a:off x="8314248" y="2780618"/>
              <a:ext cx="522794" cy="223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rgbClr val="FF0000"/>
                </a:buClr>
                <a:buSzPct val="80000"/>
                <a:defRPr/>
              </a:pPr>
              <a:r>
                <a:rPr lang="en-US" sz="1100" b="1" i="1">
                  <a:solidFill>
                    <a:srgbClr val="4C4D4E"/>
                  </a:solidFill>
                  <a:latin typeface="+mj-lt"/>
                  <a:cs typeface="Arial" panose="020B0604020202020204" pitchFamily="34" charset="0"/>
                </a:rPr>
                <a:t>0.2%</a:t>
              </a:r>
            </a:p>
          </p:txBody>
        </p:sp>
        <p:sp>
          <p:nvSpPr>
            <p:cNvPr id="53" name="Text Box 153"/>
            <p:cNvSpPr txBox="1">
              <a:spLocks noChangeArrowheads="1"/>
            </p:cNvSpPr>
            <p:nvPr/>
          </p:nvSpPr>
          <p:spPr bwMode="auto">
            <a:xfrm>
              <a:off x="9155043" y="2780618"/>
              <a:ext cx="522794" cy="223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rgbClr val="FF0000"/>
                </a:buClr>
                <a:buSzPct val="80000"/>
                <a:defRPr/>
              </a:pPr>
              <a:r>
                <a:rPr lang="en-US" sz="1100" b="1" i="1">
                  <a:solidFill>
                    <a:srgbClr val="4C4D4E"/>
                  </a:solidFill>
                  <a:latin typeface="+mj-lt"/>
                  <a:cs typeface="Arial" panose="020B0604020202020204" pitchFamily="34" charset="0"/>
                </a:rPr>
                <a:t>(3.0%)</a:t>
              </a:r>
            </a:p>
          </p:txBody>
        </p:sp>
        <p:sp>
          <p:nvSpPr>
            <p:cNvPr id="54" name="Text Box 153"/>
            <p:cNvSpPr txBox="1">
              <a:spLocks noChangeArrowheads="1"/>
            </p:cNvSpPr>
            <p:nvPr/>
          </p:nvSpPr>
          <p:spPr bwMode="auto">
            <a:xfrm>
              <a:off x="9971038" y="2780618"/>
              <a:ext cx="522794" cy="223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rgbClr val="FF0000"/>
                </a:buClr>
                <a:buSzPct val="80000"/>
                <a:defRPr/>
              </a:pPr>
              <a:r>
                <a:rPr lang="en-US" sz="1100" b="1" i="1">
                  <a:solidFill>
                    <a:srgbClr val="4C4D4E"/>
                  </a:solidFill>
                  <a:latin typeface="+mj-lt"/>
                  <a:cs typeface="Arial" panose="020B0604020202020204" pitchFamily="34" charset="0"/>
                </a:rPr>
                <a:t>3.0%</a:t>
              </a:r>
            </a:p>
          </p:txBody>
        </p:sp>
      </p:grpSp>
      <p:grpSp>
        <p:nvGrpSpPr>
          <p:cNvPr id="15" name="Group 14"/>
          <p:cNvGrpSpPr/>
          <p:nvPr/>
        </p:nvGrpSpPr>
        <p:grpSpPr>
          <a:xfrm>
            <a:off x="269875" y="3491012"/>
            <a:ext cx="5553077" cy="591130"/>
            <a:chOff x="620714" y="3491012"/>
            <a:chExt cx="5202238" cy="591130"/>
          </a:xfrm>
        </p:grpSpPr>
        <p:sp>
          <p:nvSpPr>
            <p:cNvPr id="75" name="Rectangle 74"/>
            <p:cNvSpPr>
              <a:spLocks noChangeArrowheads="1"/>
            </p:cNvSpPr>
            <p:nvPr/>
          </p:nvSpPr>
          <p:spPr bwMode="auto">
            <a:xfrm>
              <a:off x="629048" y="3493067"/>
              <a:ext cx="5187468" cy="269274"/>
            </a:xfrm>
            <a:prstGeom prst="rect">
              <a:avLst/>
            </a:prstGeom>
            <a:noFill/>
            <a:ln w="12700" algn="ctr">
              <a:solidFill>
                <a:schemeClr val="tx1">
                  <a:lumMod val="60000"/>
                  <a:lumOff val="40000"/>
                </a:schemeClr>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a:solidFill>
                  <a:srgbClr val="FFFFFF"/>
                </a:solidFill>
                <a:latin typeface="+mj-lt"/>
                <a:ea typeface="ＭＳ Ｐゴシック"/>
                <a:cs typeface="Arial" panose="020B0604020202020204" pitchFamily="34" charset="0"/>
              </a:endParaRPr>
            </a:p>
          </p:txBody>
        </p:sp>
        <p:sp>
          <p:nvSpPr>
            <p:cNvPr id="76" name="Text Box 60"/>
            <p:cNvSpPr txBox="1">
              <a:spLocks noChangeArrowheads="1"/>
            </p:cNvSpPr>
            <p:nvPr/>
          </p:nvSpPr>
          <p:spPr bwMode="auto">
            <a:xfrm>
              <a:off x="3334872" y="3491012"/>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0M</a:t>
              </a:r>
            </a:p>
          </p:txBody>
        </p:sp>
        <p:sp>
          <p:nvSpPr>
            <p:cNvPr id="77" name="Text Box 61"/>
            <p:cNvSpPr txBox="1">
              <a:spLocks noChangeArrowheads="1"/>
            </p:cNvSpPr>
            <p:nvPr/>
          </p:nvSpPr>
          <p:spPr bwMode="auto">
            <a:xfrm>
              <a:off x="4169256" y="3491012"/>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0M</a:t>
              </a:r>
            </a:p>
          </p:txBody>
        </p:sp>
        <p:sp>
          <p:nvSpPr>
            <p:cNvPr id="78" name="Text Box 62"/>
            <p:cNvSpPr txBox="1">
              <a:spLocks noChangeArrowheads="1"/>
            </p:cNvSpPr>
            <p:nvPr/>
          </p:nvSpPr>
          <p:spPr bwMode="auto">
            <a:xfrm>
              <a:off x="1561648" y="3491012"/>
              <a:ext cx="647086"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M)</a:t>
              </a:r>
            </a:p>
          </p:txBody>
        </p:sp>
        <p:sp>
          <p:nvSpPr>
            <p:cNvPr id="79" name="Text Box 58"/>
            <p:cNvSpPr txBox="1">
              <a:spLocks noChangeArrowheads="1"/>
            </p:cNvSpPr>
            <p:nvPr/>
          </p:nvSpPr>
          <p:spPr bwMode="auto">
            <a:xfrm>
              <a:off x="2461467" y="3501939"/>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M)</a:t>
              </a:r>
            </a:p>
          </p:txBody>
        </p:sp>
        <p:sp>
          <p:nvSpPr>
            <p:cNvPr id="80" name="Text Box 61"/>
            <p:cNvSpPr txBox="1">
              <a:spLocks noChangeArrowheads="1"/>
            </p:cNvSpPr>
            <p:nvPr/>
          </p:nvSpPr>
          <p:spPr bwMode="auto">
            <a:xfrm>
              <a:off x="4974987" y="3507025"/>
              <a:ext cx="846897" cy="272169"/>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79M</a:t>
              </a:r>
            </a:p>
          </p:txBody>
        </p:sp>
        <p:sp>
          <p:nvSpPr>
            <p:cNvPr id="74" name="Rectangle 73"/>
            <p:cNvSpPr>
              <a:spLocks noChangeArrowheads="1"/>
            </p:cNvSpPr>
            <p:nvPr/>
          </p:nvSpPr>
          <p:spPr bwMode="auto">
            <a:xfrm>
              <a:off x="621802" y="3492019"/>
              <a:ext cx="822960" cy="268657"/>
            </a:xfrm>
            <a:prstGeom prst="rect">
              <a:avLst/>
            </a:prstGeom>
            <a:solidFill>
              <a:schemeClr val="tx1">
                <a:lumMod val="60000"/>
                <a:lumOff val="40000"/>
              </a:schemeClr>
            </a:solidFill>
            <a:ln w="12700" algn="ctr">
              <a:solidFill>
                <a:schemeClr val="tx1">
                  <a:lumMod val="60000"/>
                  <a:lumOff val="40000"/>
                </a:schemeClr>
              </a:solid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b="1">
                  <a:solidFill>
                    <a:srgbClr val="FFFFFF"/>
                  </a:solidFill>
                  <a:latin typeface="+mj-lt"/>
                  <a:cs typeface="Arial" panose="020B0604020202020204" pitchFamily="34" charset="0"/>
                </a:rPr>
                <a:t>AOP</a:t>
              </a:r>
            </a:p>
          </p:txBody>
        </p:sp>
        <p:sp>
          <p:nvSpPr>
            <p:cNvPr id="101" name="Text Box 60"/>
            <p:cNvSpPr txBox="1">
              <a:spLocks noChangeArrowheads="1"/>
            </p:cNvSpPr>
            <p:nvPr/>
          </p:nvSpPr>
          <p:spPr bwMode="auto">
            <a:xfrm>
              <a:off x="3335939" y="3785154"/>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0M</a:t>
              </a:r>
            </a:p>
          </p:txBody>
        </p:sp>
        <p:sp>
          <p:nvSpPr>
            <p:cNvPr id="102" name="Text Box 61"/>
            <p:cNvSpPr txBox="1">
              <a:spLocks noChangeArrowheads="1"/>
            </p:cNvSpPr>
            <p:nvPr/>
          </p:nvSpPr>
          <p:spPr bwMode="auto">
            <a:xfrm>
              <a:off x="4170322" y="3785154"/>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M</a:t>
              </a:r>
            </a:p>
          </p:txBody>
        </p:sp>
        <p:sp>
          <p:nvSpPr>
            <p:cNvPr id="104" name="Text Box 62"/>
            <p:cNvSpPr txBox="1">
              <a:spLocks noChangeArrowheads="1"/>
            </p:cNvSpPr>
            <p:nvPr/>
          </p:nvSpPr>
          <p:spPr bwMode="auto">
            <a:xfrm>
              <a:off x="1562714" y="3785154"/>
              <a:ext cx="647086"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2M)</a:t>
              </a:r>
            </a:p>
          </p:txBody>
        </p:sp>
        <p:sp>
          <p:nvSpPr>
            <p:cNvPr id="108" name="Text Box 58"/>
            <p:cNvSpPr txBox="1">
              <a:spLocks noChangeArrowheads="1"/>
            </p:cNvSpPr>
            <p:nvPr/>
          </p:nvSpPr>
          <p:spPr bwMode="auto">
            <a:xfrm>
              <a:off x="2462535" y="3796081"/>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M)</a:t>
              </a:r>
            </a:p>
          </p:txBody>
        </p:sp>
        <p:sp>
          <p:nvSpPr>
            <p:cNvPr id="111" name="Text Box 61"/>
            <p:cNvSpPr txBox="1">
              <a:spLocks noChangeArrowheads="1"/>
            </p:cNvSpPr>
            <p:nvPr/>
          </p:nvSpPr>
          <p:spPr bwMode="auto">
            <a:xfrm>
              <a:off x="4976055" y="3801167"/>
              <a:ext cx="846897"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69M</a:t>
              </a:r>
            </a:p>
          </p:txBody>
        </p:sp>
        <p:sp>
          <p:nvSpPr>
            <p:cNvPr id="112" name="Rectangle 111"/>
            <p:cNvSpPr>
              <a:spLocks noChangeArrowheads="1"/>
            </p:cNvSpPr>
            <p:nvPr/>
          </p:nvSpPr>
          <p:spPr bwMode="auto">
            <a:xfrm>
              <a:off x="621874" y="3799118"/>
              <a:ext cx="822960" cy="268657"/>
            </a:xfrm>
            <a:prstGeom prst="rect">
              <a:avLst/>
            </a:prstGeom>
            <a:solidFill>
              <a:schemeClr val="tx1">
                <a:lumMod val="60000"/>
                <a:lumOff val="40000"/>
              </a:schemeClr>
            </a:solidFill>
            <a:ln w="12700" algn="ctr">
              <a:solidFill>
                <a:schemeClr val="tx1">
                  <a:lumMod val="60000"/>
                  <a:lumOff val="40000"/>
                </a:schemeClr>
              </a:solid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b="1">
                  <a:solidFill>
                    <a:srgbClr val="FFFFFF"/>
                  </a:solidFill>
                  <a:latin typeface="+mj-lt"/>
                  <a:cs typeface="Arial" panose="020B0604020202020204" pitchFamily="34" charset="0"/>
                </a:rPr>
                <a:t>9+3 Fcst</a:t>
              </a:r>
            </a:p>
          </p:txBody>
        </p:sp>
        <p:sp>
          <p:nvSpPr>
            <p:cNvPr id="113" name="Rectangle 112"/>
            <p:cNvSpPr>
              <a:spLocks noChangeArrowheads="1"/>
            </p:cNvSpPr>
            <p:nvPr/>
          </p:nvSpPr>
          <p:spPr bwMode="auto">
            <a:xfrm>
              <a:off x="620714" y="3799794"/>
              <a:ext cx="5190622" cy="269274"/>
            </a:xfrm>
            <a:prstGeom prst="rect">
              <a:avLst/>
            </a:prstGeom>
            <a:noFill/>
            <a:ln w="12700" algn="ctr">
              <a:solidFill>
                <a:schemeClr val="tx1">
                  <a:lumMod val="60000"/>
                  <a:lumOff val="40000"/>
                </a:schemeClr>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a:solidFill>
                  <a:srgbClr val="FFFFFF"/>
                </a:solidFill>
                <a:latin typeface="+mj-lt"/>
                <a:ea typeface="ＭＳ Ｐゴシック"/>
                <a:cs typeface="Arial" panose="020B0604020202020204" pitchFamily="34" charset="0"/>
              </a:endParaRPr>
            </a:p>
          </p:txBody>
        </p:sp>
      </p:grpSp>
      <p:sp>
        <p:nvSpPr>
          <p:cNvPr id="39" name="Rectangle 38"/>
          <p:cNvSpPr/>
          <p:nvPr/>
        </p:nvSpPr>
        <p:spPr>
          <a:xfrm>
            <a:off x="9688713" y="496315"/>
            <a:ext cx="2198487" cy="276999"/>
          </a:xfrm>
          <a:prstGeom prst="rect">
            <a:avLst/>
          </a:prstGeom>
        </p:spPr>
        <p:txBody>
          <a:bodyPr wrap="none">
            <a:spAutoFit/>
          </a:bodyPr>
          <a:lstStyle/>
          <a:p>
            <a:r>
              <a:rPr lang="en-US" sz="1200" b="1">
                <a:latin typeface="+mj-lt"/>
              </a:rPr>
              <a:t>Actual Rates, External View</a:t>
            </a:r>
          </a:p>
        </p:txBody>
      </p:sp>
      <p:sp>
        <p:nvSpPr>
          <p:cNvPr id="132" name="Rectangle 131"/>
          <p:cNvSpPr/>
          <p:nvPr/>
        </p:nvSpPr>
        <p:spPr>
          <a:xfrm>
            <a:off x="269239" y="1038224"/>
            <a:ext cx="5486400"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a:solidFill>
                  <a:schemeClr val="tx1"/>
                </a:solidFill>
                <a:latin typeface="Arial" panose="020B0604020202020204" pitchFamily="34" charset="0"/>
                <a:cs typeface="Arial" panose="020B0604020202020204" pitchFamily="34" charset="0"/>
              </a:rPr>
              <a:t>Sales</a:t>
            </a:r>
          </a:p>
        </p:txBody>
      </p:sp>
      <p:sp>
        <p:nvSpPr>
          <p:cNvPr id="133" name="Rectangle 132"/>
          <p:cNvSpPr/>
          <p:nvPr/>
        </p:nvSpPr>
        <p:spPr>
          <a:xfrm>
            <a:off x="6400164" y="1038224"/>
            <a:ext cx="550227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a:solidFill>
                  <a:schemeClr val="tx1"/>
                </a:solidFill>
                <a:latin typeface="Arial" panose="020B0604020202020204" pitchFamily="34" charset="0"/>
                <a:cs typeface="Arial" panose="020B0604020202020204" pitchFamily="34" charset="0"/>
              </a:rPr>
              <a:t>Segment Income</a:t>
            </a:r>
          </a:p>
        </p:txBody>
      </p:sp>
      <p:sp>
        <p:nvSpPr>
          <p:cNvPr id="129" name="Rectangle 128"/>
          <p:cNvSpPr/>
          <p:nvPr/>
        </p:nvSpPr>
        <p:spPr>
          <a:xfrm>
            <a:off x="269239" y="4542454"/>
            <a:ext cx="5486400" cy="129540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en-US" sz="1400">
                <a:solidFill>
                  <a:schemeClr val="tx1"/>
                </a:solidFill>
              </a:rPr>
              <a:t>Lorem ipsum dolor sit </a:t>
            </a:r>
            <a:r>
              <a:rPr lang="en-US" sz="1400" err="1">
                <a:solidFill>
                  <a:schemeClr val="tx1"/>
                </a:solidFill>
              </a:rPr>
              <a:t>amet</a:t>
            </a:r>
            <a:endParaRPr lang="en-US" sz="1400">
              <a:solidFill>
                <a:schemeClr val="tx1"/>
              </a:solidFill>
            </a:endParaRPr>
          </a:p>
          <a:p>
            <a:pPr lvl="1" indent="-174625">
              <a:buFont typeface="Arial" panose="020B0604020202020204" pitchFamily="34" charset="0"/>
              <a:buChar char="-"/>
            </a:pPr>
            <a:r>
              <a:rPr lang="en-US" sz="1400" err="1">
                <a:solidFill>
                  <a:schemeClr val="tx1"/>
                </a:solidFill>
              </a:rPr>
              <a:t>Duis</a:t>
            </a:r>
            <a:r>
              <a:rPr lang="en-US" sz="1400">
                <a:solidFill>
                  <a:schemeClr val="tx1"/>
                </a:solidFill>
              </a:rPr>
              <a:t> </a:t>
            </a:r>
            <a:r>
              <a:rPr lang="en-US" sz="1400" err="1">
                <a:solidFill>
                  <a:schemeClr val="tx1"/>
                </a:solidFill>
              </a:rPr>
              <a:t>aute</a:t>
            </a:r>
            <a:r>
              <a:rPr lang="en-US" sz="1400">
                <a:solidFill>
                  <a:schemeClr val="tx1"/>
                </a:solidFill>
              </a:rPr>
              <a:t> </a:t>
            </a:r>
            <a:r>
              <a:rPr lang="en-US" sz="1400" err="1">
                <a:solidFill>
                  <a:schemeClr val="tx1"/>
                </a:solidFill>
              </a:rPr>
              <a:t>irure</a:t>
            </a:r>
            <a:r>
              <a:rPr lang="en-US" sz="1400">
                <a:solidFill>
                  <a:schemeClr val="tx1"/>
                </a:solidFill>
              </a:rPr>
              <a:t> dolor in </a:t>
            </a:r>
            <a:r>
              <a:rPr lang="en-US" sz="1400" err="1">
                <a:solidFill>
                  <a:schemeClr val="tx1"/>
                </a:solidFill>
              </a:rPr>
              <a:t>reprehenderit</a:t>
            </a:r>
            <a:r>
              <a:rPr lang="en-US" sz="1400">
                <a:solidFill>
                  <a:schemeClr val="tx1"/>
                </a:solidFill>
              </a:rPr>
              <a:t> in </a:t>
            </a:r>
            <a:r>
              <a:rPr lang="en-US" sz="1400" err="1">
                <a:solidFill>
                  <a:schemeClr val="tx1"/>
                </a:solidFill>
              </a:rPr>
              <a:t>voluptate</a:t>
            </a:r>
            <a:r>
              <a:rPr lang="en-US" sz="1400">
                <a:solidFill>
                  <a:schemeClr val="tx1"/>
                </a:solidFill>
              </a:rPr>
              <a:t> </a:t>
            </a:r>
            <a:r>
              <a:rPr lang="en-US" sz="1400" err="1">
                <a:solidFill>
                  <a:schemeClr val="tx1"/>
                </a:solidFill>
              </a:rPr>
              <a:t>velit</a:t>
            </a:r>
            <a:r>
              <a:rPr lang="en-US" sz="1400">
                <a:solidFill>
                  <a:schemeClr val="tx1"/>
                </a:solidFill>
              </a:rPr>
              <a:t> </a:t>
            </a:r>
            <a:r>
              <a:rPr lang="en-US" sz="1400" err="1">
                <a:solidFill>
                  <a:schemeClr val="tx1"/>
                </a:solidFill>
              </a:rPr>
              <a:t>esse</a:t>
            </a:r>
            <a:r>
              <a:rPr lang="en-US" sz="1400">
                <a:solidFill>
                  <a:schemeClr val="tx1"/>
                </a:solidFill>
              </a:rPr>
              <a:t> </a:t>
            </a:r>
            <a:r>
              <a:rPr lang="en-US" sz="1400" err="1">
                <a:solidFill>
                  <a:schemeClr val="tx1"/>
                </a:solidFill>
              </a:rPr>
              <a:t>cillum</a:t>
            </a:r>
            <a:r>
              <a:rPr lang="en-US" sz="1400">
                <a:solidFill>
                  <a:schemeClr val="tx1"/>
                </a:solidFill>
              </a:rPr>
              <a:t> </a:t>
            </a:r>
            <a:r>
              <a:rPr lang="en-US" sz="1400" err="1">
                <a:solidFill>
                  <a:schemeClr val="tx1"/>
                </a:solidFill>
              </a:rPr>
              <a:t>dolore</a:t>
            </a:r>
            <a:r>
              <a:rPr lang="en-US" sz="1400">
                <a:solidFill>
                  <a:schemeClr val="tx1"/>
                </a:solidFill>
              </a:rPr>
              <a:t> </a:t>
            </a:r>
            <a:r>
              <a:rPr lang="en-US" sz="1400" err="1">
                <a:solidFill>
                  <a:schemeClr val="tx1"/>
                </a:solidFill>
              </a:rPr>
              <a:t>eu</a:t>
            </a:r>
            <a:r>
              <a:rPr lang="en-US" sz="1400">
                <a:solidFill>
                  <a:schemeClr val="tx1"/>
                </a:solidFill>
              </a:rPr>
              <a:t> </a:t>
            </a:r>
            <a:r>
              <a:rPr lang="en-US" sz="1400" err="1">
                <a:solidFill>
                  <a:schemeClr val="tx1"/>
                </a:solidFill>
              </a:rPr>
              <a:t>fugiat</a:t>
            </a:r>
            <a:r>
              <a:rPr lang="en-US" sz="1400">
                <a:solidFill>
                  <a:schemeClr val="tx1"/>
                </a:solidFill>
              </a:rPr>
              <a:t> </a:t>
            </a:r>
            <a:r>
              <a:rPr lang="en-US" sz="1400" err="1">
                <a:solidFill>
                  <a:schemeClr val="tx1"/>
                </a:solidFill>
              </a:rPr>
              <a:t>nulla</a:t>
            </a:r>
            <a:r>
              <a:rPr lang="en-US" sz="1400">
                <a:solidFill>
                  <a:schemeClr val="tx1"/>
                </a:solidFill>
              </a:rPr>
              <a:t> </a:t>
            </a:r>
            <a:r>
              <a:rPr lang="en-US" sz="1400" err="1">
                <a:solidFill>
                  <a:schemeClr val="tx1"/>
                </a:solidFill>
              </a:rPr>
              <a:t>pariatur</a:t>
            </a:r>
            <a:r>
              <a:rPr lang="en-US" sz="1400">
                <a:solidFill>
                  <a:schemeClr val="tx1"/>
                </a:solidFill>
              </a:rPr>
              <a:t>. </a:t>
            </a:r>
            <a:r>
              <a:rPr lang="en-US" sz="1400" err="1">
                <a:solidFill>
                  <a:schemeClr val="tx1"/>
                </a:solidFill>
              </a:rPr>
              <a:t>Excepteur</a:t>
            </a:r>
            <a:r>
              <a:rPr lang="en-US" sz="1400">
                <a:solidFill>
                  <a:schemeClr val="tx1"/>
                </a:solidFill>
              </a:rPr>
              <a:t> </a:t>
            </a:r>
            <a:r>
              <a:rPr lang="en-US" sz="1400" err="1">
                <a:solidFill>
                  <a:schemeClr val="tx1"/>
                </a:solidFill>
              </a:rPr>
              <a:t>sint</a:t>
            </a:r>
            <a:r>
              <a:rPr lang="en-US" sz="1400">
                <a:solidFill>
                  <a:schemeClr val="tx1"/>
                </a:solidFill>
              </a:rPr>
              <a:t> </a:t>
            </a:r>
            <a:r>
              <a:rPr lang="en-US" sz="1400" err="1">
                <a:solidFill>
                  <a:schemeClr val="tx1"/>
                </a:solidFill>
              </a:rPr>
              <a:t>occaecat</a:t>
            </a:r>
            <a:r>
              <a:rPr lang="en-US" sz="1400">
                <a:solidFill>
                  <a:schemeClr val="tx1"/>
                </a:solidFill>
              </a:rPr>
              <a:t> </a:t>
            </a:r>
            <a:r>
              <a:rPr lang="en-US" sz="1400" err="1">
                <a:solidFill>
                  <a:schemeClr val="tx1"/>
                </a:solidFill>
              </a:rPr>
              <a:t>cupidatat</a:t>
            </a:r>
            <a:r>
              <a:rPr lang="en-US" sz="1400">
                <a:solidFill>
                  <a:schemeClr val="tx1"/>
                </a:solidFill>
              </a:rPr>
              <a:t> </a:t>
            </a:r>
            <a:endParaRPr lang="en-US" sz="1400">
              <a:solidFill>
                <a:schemeClr val="tx1"/>
              </a:solidFill>
              <a:latin typeface="Arial" panose="020B0604020202020204" pitchFamily="34" charset="0"/>
              <a:cs typeface="Arial" panose="020B0604020202020204" pitchFamily="34" charset="0"/>
            </a:endParaRPr>
          </a:p>
        </p:txBody>
      </p:sp>
      <p:sp>
        <p:nvSpPr>
          <p:cNvPr id="134" name="Rectangle 133"/>
          <p:cNvSpPr/>
          <p:nvPr/>
        </p:nvSpPr>
        <p:spPr>
          <a:xfrm>
            <a:off x="6400164" y="4542454"/>
            <a:ext cx="5487035" cy="129540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en-US" sz="1400">
                <a:solidFill>
                  <a:schemeClr val="tx1"/>
                </a:solidFill>
              </a:rPr>
              <a:t>Lorem ipsum dolor sit </a:t>
            </a:r>
            <a:r>
              <a:rPr lang="en-US" sz="1400" err="1">
                <a:solidFill>
                  <a:schemeClr val="tx1"/>
                </a:solidFill>
              </a:rPr>
              <a:t>amet</a:t>
            </a:r>
            <a:endParaRPr lang="en-US" sz="1400">
              <a:solidFill>
                <a:schemeClr val="tx1"/>
              </a:solidFill>
            </a:endParaRPr>
          </a:p>
          <a:p>
            <a:pPr lvl="1" indent="-174625">
              <a:buFont typeface="Arial" panose="020B0604020202020204" pitchFamily="34" charset="0"/>
              <a:buChar char="-"/>
            </a:pPr>
            <a:r>
              <a:rPr lang="en-US" sz="1400" err="1">
                <a:solidFill>
                  <a:schemeClr val="tx1"/>
                </a:solidFill>
              </a:rPr>
              <a:t>Duis</a:t>
            </a:r>
            <a:r>
              <a:rPr lang="en-US" sz="1400">
                <a:solidFill>
                  <a:schemeClr val="tx1"/>
                </a:solidFill>
              </a:rPr>
              <a:t> </a:t>
            </a:r>
            <a:r>
              <a:rPr lang="en-US" sz="1400" err="1">
                <a:solidFill>
                  <a:schemeClr val="tx1"/>
                </a:solidFill>
              </a:rPr>
              <a:t>aute</a:t>
            </a:r>
            <a:r>
              <a:rPr lang="en-US" sz="1400">
                <a:solidFill>
                  <a:schemeClr val="tx1"/>
                </a:solidFill>
              </a:rPr>
              <a:t> </a:t>
            </a:r>
            <a:r>
              <a:rPr lang="en-US" sz="1400" err="1">
                <a:solidFill>
                  <a:schemeClr val="tx1"/>
                </a:solidFill>
              </a:rPr>
              <a:t>irure</a:t>
            </a:r>
            <a:r>
              <a:rPr lang="en-US" sz="1400">
                <a:solidFill>
                  <a:schemeClr val="tx1"/>
                </a:solidFill>
              </a:rPr>
              <a:t> dolor in </a:t>
            </a:r>
            <a:r>
              <a:rPr lang="en-US" sz="1400" err="1">
                <a:solidFill>
                  <a:schemeClr val="tx1"/>
                </a:solidFill>
              </a:rPr>
              <a:t>reprehenderit</a:t>
            </a:r>
            <a:r>
              <a:rPr lang="en-US" sz="1400">
                <a:solidFill>
                  <a:schemeClr val="tx1"/>
                </a:solidFill>
              </a:rPr>
              <a:t> in </a:t>
            </a:r>
            <a:r>
              <a:rPr lang="en-US" sz="1400" err="1">
                <a:solidFill>
                  <a:schemeClr val="tx1"/>
                </a:solidFill>
              </a:rPr>
              <a:t>voluptate</a:t>
            </a:r>
            <a:r>
              <a:rPr lang="en-US" sz="1400">
                <a:solidFill>
                  <a:schemeClr val="tx1"/>
                </a:solidFill>
              </a:rPr>
              <a:t> </a:t>
            </a:r>
            <a:r>
              <a:rPr lang="en-US" sz="1400" err="1">
                <a:solidFill>
                  <a:schemeClr val="tx1"/>
                </a:solidFill>
              </a:rPr>
              <a:t>velit</a:t>
            </a:r>
            <a:r>
              <a:rPr lang="en-US" sz="1400">
                <a:solidFill>
                  <a:schemeClr val="tx1"/>
                </a:solidFill>
              </a:rPr>
              <a:t> </a:t>
            </a:r>
            <a:r>
              <a:rPr lang="en-US" sz="1400" err="1">
                <a:solidFill>
                  <a:schemeClr val="tx1"/>
                </a:solidFill>
              </a:rPr>
              <a:t>esse</a:t>
            </a:r>
            <a:r>
              <a:rPr lang="en-US" sz="1400">
                <a:solidFill>
                  <a:schemeClr val="tx1"/>
                </a:solidFill>
              </a:rPr>
              <a:t> </a:t>
            </a:r>
            <a:r>
              <a:rPr lang="en-US" sz="1400" err="1">
                <a:solidFill>
                  <a:schemeClr val="tx1"/>
                </a:solidFill>
              </a:rPr>
              <a:t>cillum</a:t>
            </a:r>
            <a:r>
              <a:rPr lang="en-US" sz="1400">
                <a:solidFill>
                  <a:schemeClr val="tx1"/>
                </a:solidFill>
              </a:rPr>
              <a:t> </a:t>
            </a:r>
            <a:r>
              <a:rPr lang="en-US" sz="1400" err="1">
                <a:solidFill>
                  <a:schemeClr val="tx1"/>
                </a:solidFill>
              </a:rPr>
              <a:t>dolore</a:t>
            </a:r>
            <a:r>
              <a:rPr lang="en-US" sz="1400">
                <a:solidFill>
                  <a:schemeClr val="tx1"/>
                </a:solidFill>
              </a:rPr>
              <a:t> </a:t>
            </a:r>
            <a:r>
              <a:rPr lang="en-US" sz="1400" err="1">
                <a:solidFill>
                  <a:schemeClr val="tx1"/>
                </a:solidFill>
              </a:rPr>
              <a:t>eu</a:t>
            </a:r>
            <a:r>
              <a:rPr lang="en-US" sz="1400">
                <a:solidFill>
                  <a:schemeClr val="tx1"/>
                </a:solidFill>
              </a:rPr>
              <a:t> </a:t>
            </a:r>
            <a:r>
              <a:rPr lang="en-US" sz="1400" err="1">
                <a:solidFill>
                  <a:schemeClr val="tx1"/>
                </a:solidFill>
              </a:rPr>
              <a:t>fugiat</a:t>
            </a:r>
            <a:r>
              <a:rPr lang="en-US" sz="1400">
                <a:solidFill>
                  <a:schemeClr val="tx1"/>
                </a:solidFill>
              </a:rPr>
              <a:t> </a:t>
            </a:r>
            <a:r>
              <a:rPr lang="en-US" sz="1400" err="1">
                <a:solidFill>
                  <a:schemeClr val="tx1"/>
                </a:solidFill>
              </a:rPr>
              <a:t>nulla</a:t>
            </a:r>
            <a:r>
              <a:rPr lang="en-US" sz="1400">
                <a:solidFill>
                  <a:schemeClr val="tx1"/>
                </a:solidFill>
              </a:rPr>
              <a:t> </a:t>
            </a:r>
            <a:r>
              <a:rPr lang="en-US" sz="1400" err="1">
                <a:solidFill>
                  <a:schemeClr val="tx1"/>
                </a:solidFill>
              </a:rPr>
              <a:t>pariatur</a:t>
            </a:r>
            <a:r>
              <a:rPr lang="en-US" sz="1400">
                <a:solidFill>
                  <a:schemeClr val="tx1"/>
                </a:solidFill>
              </a:rPr>
              <a:t>. </a:t>
            </a:r>
            <a:r>
              <a:rPr lang="en-US" sz="1400" err="1">
                <a:solidFill>
                  <a:schemeClr val="tx1"/>
                </a:solidFill>
              </a:rPr>
              <a:t>Excepteur</a:t>
            </a:r>
            <a:r>
              <a:rPr lang="en-US" sz="1400">
                <a:solidFill>
                  <a:schemeClr val="tx1"/>
                </a:solidFill>
              </a:rPr>
              <a:t> </a:t>
            </a:r>
            <a:r>
              <a:rPr lang="en-US" sz="1400" err="1">
                <a:solidFill>
                  <a:schemeClr val="tx1"/>
                </a:solidFill>
              </a:rPr>
              <a:t>sint</a:t>
            </a:r>
            <a:r>
              <a:rPr lang="en-US" sz="1400">
                <a:solidFill>
                  <a:schemeClr val="tx1"/>
                </a:solidFill>
              </a:rPr>
              <a:t> </a:t>
            </a:r>
            <a:r>
              <a:rPr lang="en-US" sz="1400" err="1">
                <a:solidFill>
                  <a:schemeClr val="tx1"/>
                </a:solidFill>
              </a:rPr>
              <a:t>occaecat</a:t>
            </a:r>
            <a:r>
              <a:rPr lang="en-US" sz="1400">
                <a:solidFill>
                  <a:schemeClr val="tx1"/>
                </a:solidFill>
              </a:rPr>
              <a:t> </a:t>
            </a:r>
            <a:r>
              <a:rPr lang="en-US" sz="1400" err="1">
                <a:solidFill>
                  <a:schemeClr val="tx1"/>
                </a:solidFill>
              </a:rPr>
              <a:t>cupidatat</a:t>
            </a:r>
            <a:r>
              <a:rPr lang="en-US" sz="1400">
                <a:solidFill>
                  <a:schemeClr val="tx1"/>
                </a:solidFill>
              </a:rPr>
              <a:t> </a:t>
            </a:r>
          </a:p>
        </p:txBody>
      </p:sp>
      <p:sp>
        <p:nvSpPr>
          <p:cNvPr id="147" name="Rectangle 146"/>
          <p:cNvSpPr>
            <a:spLocks noChangeArrowheads="1"/>
          </p:cNvSpPr>
          <p:nvPr/>
        </p:nvSpPr>
        <p:spPr bwMode="auto">
          <a:xfrm>
            <a:off x="6408499" y="3493067"/>
            <a:ext cx="5187468" cy="269274"/>
          </a:xfrm>
          <a:prstGeom prst="rect">
            <a:avLst/>
          </a:prstGeom>
          <a:noFill/>
          <a:ln w="12700" algn="ctr">
            <a:solidFill>
              <a:schemeClr val="tx1">
                <a:lumMod val="60000"/>
                <a:lumOff val="40000"/>
              </a:schemeClr>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a:solidFill>
                <a:srgbClr val="FFFFFF"/>
              </a:solidFill>
              <a:latin typeface="+mj-lt"/>
              <a:ea typeface="ＭＳ Ｐゴシック"/>
              <a:cs typeface="Arial" panose="020B0604020202020204" pitchFamily="34" charset="0"/>
            </a:endParaRPr>
          </a:p>
        </p:txBody>
      </p:sp>
      <p:sp>
        <p:nvSpPr>
          <p:cNvPr id="148" name="Text Box 60"/>
          <p:cNvSpPr txBox="1">
            <a:spLocks noChangeArrowheads="1"/>
          </p:cNvSpPr>
          <p:nvPr/>
        </p:nvSpPr>
        <p:spPr bwMode="auto">
          <a:xfrm>
            <a:off x="9114323" y="3491012"/>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0M</a:t>
            </a:r>
          </a:p>
        </p:txBody>
      </p:sp>
      <p:sp>
        <p:nvSpPr>
          <p:cNvPr id="149" name="Text Box 61"/>
          <p:cNvSpPr txBox="1">
            <a:spLocks noChangeArrowheads="1"/>
          </p:cNvSpPr>
          <p:nvPr/>
        </p:nvSpPr>
        <p:spPr bwMode="auto">
          <a:xfrm>
            <a:off x="9948707" y="3491012"/>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0M</a:t>
            </a:r>
          </a:p>
        </p:txBody>
      </p:sp>
      <p:sp>
        <p:nvSpPr>
          <p:cNvPr id="150" name="Text Box 62"/>
          <p:cNvSpPr txBox="1">
            <a:spLocks noChangeArrowheads="1"/>
          </p:cNvSpPr>
          <p:nvPr/>
        </p:nvSpPr>
        <p:spPr bwMode="auto">
          <a:xfrm>
            <a:off x="7341099" y="3491012"/>
            <a:ext cx="647086"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M)</a:t>
            </a:r>
          </a:p>
        </p:txBody>
      </p:sp>
      <p:sp>
        <p:nvSpPr>
          <p:cNvPr id="151" name="Text Box 58"/>
          <p:cNvSpPr txBox="1">
            <a:spLocks noChangeArrowheads="1"/>
          </p:cNvSpPr>
          <p:nvPr/>
        </p:nvSpPr>
        <p:spPr bwMode="auto">
          <a:xfrm>
            <a:off x="8240918" y="3501939"/>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M)</a:t>
            </a:r>
          </a:p>
        </p:txBody>
      </p:sp>
      <p:sp>
        <p:nvSpPr>
          <p:cNvPr id="152" name="Text Box 61"/>
          <p:cNvSpPr txBox="1">
            <a:spLocks noChangeArrowheads="1"/>
          </p:cNvSpPr>
          <p:nvPr/>
        </p:nvSpPr>
        <p:spPr bwMode="auto">
          <a:xfrm>
            <a:off x="10754438" y="3507025"/>
            <a:ext cx="846897" cy="272169"/>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79M</a:t>
            </a:r>
          </a:p>
        </p:txBody>
      </p:sp>
      <p:sp>
        <p:nvSpPr>
          <p:cNvPr id="153" name="Rectangle 152"/>
          <p:cNvSpPr>
            <a:spLocks noChangeArrowheads="1"/>
          </p:cNvSpPr>
          <p:nvPr/>
        </p:nvSpPr>
        <p:spPr bwMode="auto">
          <a:xfrm>
            <a:off x="6401253" y="3492019"/>
            <a:ext cx="822960" cy="268657"/>
          </a:xfrm>
          <a:prstGeom prst="rect">
            <a:avLst/>
          </a:prstGeom>
          <a:solidFill>
            <a:schemeClr val="tx1">
              <a:lumMod val="60000"/>
              <a:lumOff val="40000"/>
            </a:schemeClr>
          </a:solidFill>
          <a:ln w="12700" algn="ctr">
            <a:solidFill>
              <a:schemeClr val="tx1">
                <a:lumMod val="60000"/>
                <a:lumOff val="40000"/>
              </a:schemeClr>
            </a:solid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b="1">
                <a:solidFill>
                  <a:srgbClr val="FFFFFF"/>
                </a:solidFill>
                <a:latin typeface="+mj-lt"/>
                <a:cs typeface="Arial" panose="020B0604020202020204" pitchFamily="34" charset="0"/>
              </a:rPr>
              <a:t>AOP</a:t>
            </a:r>
          </a:p>
        </p:txBody>
      </p:sp>
      <p:sp>
        <p:nvSpPr>
          <p:cNvPr id="154" name="Text Box 60"/>
          <p:cNvSpPr txBox="1">
            <a:spLocks noChangeArrowheads="1"/>
          </p:cNvSpPr>
          <p:nvPr/>
        </p:nvSpPr>
        <p:spPr bwMode="auto">
          <a:xfrm>
            <a:off x="9115390" y="3785154"/>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0M</a:t>
            </a:r>
          </a:p>
        </p:txBody>
      </p:sp>
      <p:sp>
        <p:nvSpPr>
          <p:cNvPr id="155" name="Text Box 61"/>
          <p:cNvSpPr txBox="1">
            <a:spLocks noChangeArrowheads="1"/>
          </p:cNvSpPr>
          <p:nvPr/>
        </p:nvSpPr>
        <p:spPr bwMode="auto">
          <a:xfrm>
            <a:off x="9949773" y="3785154"/>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M</a:t>
            </a:r>
          </a:p>
        </p:txBody>
      </p:sp>
      <p:sp>
        <p:nvSpPr>
          <p:cNvPr id="156" name="Text Box 62"/>
          <p:cNvSpPr txBox="1">
            <a:spLocks noChangeArrowheads="1"/>
          </p:cNvSpPr>
          <p:nvPr/>
        </p:nvSpPr>
        <p:spPr bwMode="auto">
          <a:xfrm>
            <a:off x="7342165" y="3785154"/>
            <a:ext cx="647086"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2M)</a:t>
            </a:r>
          </a:p>
        </p:txBody>
      </p:sp>
      <p:sp>
        <p:nvSpPr>
          <p:cNvPr id="157" name="Text Box 58"/>
          <p:cNvSpPr txBox="1">
            <a:spLocks noChangeArrowheads="1"/>
          </p:cNvSpPr>
          <p:nvPr/>
        </p:nvSpPr>
        <p:spPr bwMode="auto">
          <a:xfrm>
            <a:off x="8241986" y="3796081"/>
            <a:ext cx="711795"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1M)</a:t>
            </a:r>
          </a:p>
        </p:txBody>
      </p:sp>
      <p:sp>
        <p:nvSpPr>
          <p:cNvPr id="158" name="Text Box 61"/>
          <p:cNvSpPr txBox="1">
            <a:spLocks noChangeArrowheads="1"/>
          </p:cNvSpPr>
          <p:nvPr/>
        </p:nvSpPr>
        <p:spPr bwMode="auto">
          <a:xfrm>
            <a:off x="10755506" y="3801167"/>
            <a:ext cx="846897" cy="280975"/>
          </a:xfrm>
          <a:prstGeom prst="rect">
            <a:avLst/>
          </a:prstGeom>
          <a:noFill/>
          <a:ln w="9525" algn="ctr">
            <a:noFill/>
            <a:miter lim="800000"/>
            <a:headEnd/>
            <a:tailEnd/>
          </a:ln>
          <a:effectLst/>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50000"/>
              </a:spcBef>
              <a:buClr>
                <a:srgbClr val="FF0000"/>
              </a:buClr>
              <a:buSzPct val="80000"/>
              <a:defRPr/>
            </a:pPr>
            <a:r>
              <a:rPr lang="en-US" sz="1100" b="1">
                <a:latin typeface="+mj-lt"/>
                <a:cs typeface="Arial" panose="020B0604020202020204" pitchFamily="34" charset="0"/>
              </a:rPr>
              <a:t>$69M</a:t>
            </a:r>
          </a:p>
        </p:txBody>
      </p:sp>
      <p:sp>
        <p:nvSpPr>
          <p:cNvPr id="159" name="Rectangle 158"/>
          <p:cNvSpPr>
            <a:spLocks noChangeArrowheads="1"/>
          </p:cNvSpPr>
          <p:nvPr/>
        </p:nvSpPr>
        <p:spPr bwMode="auto">
          <a:xfrm>
            <a:off x="6401325" y="3799118"/>
            <a:ext cx="822960" cy="268657"/>
          </a:xfrm>
          <a:prstGeom prst="rect">
            <a:avLst/>
          </a:prstGeom>
          <a:solidFill>
            <a:schemeClr val="tx1">
              <a:lumMod val="60000"/>
              <a:lumOff val="40000"/>
            </a:schemeClr>
          </a:solidFill>
          <a:ln w="12700" algn="ctr">
            <a:solidFill>
              <a:schemeClr val="tx1">
                <a:lumMod val="60000"/>
                <a:lumOff val="40000"/>
              </a:schemeClr>
            </a:solid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b="1">
                <a:solidFill>
                  <a:srgbClr val="FFFFFF"/>
                </a:solidFill>
                <a:latin typeface="+mj-lt"/>
                <a:cs typeface="Arial" panose="020B0604020202020204" pitchFamily="34" charset="0"/>
              </a:rPr>
              <a:t>9+3 Fcst</a:t>
            </a:r>
          </a:p>
        </p:txBody>
      </p:sp>
      <p:sp>
        <p:nvSpPr>
          <p:cNvPr id="160" name="Rectangle 159"/>
          <p:cNvSpPr>
            <a:spLocks noChangeArrowheads="1"/>
          </p:cNvSpPr>
          <p:nvPr/>
        </p:nvSpPr>
        <p:spPr bwMode="auto">
          <a:xfrm>
            <a:off x="6400165" y="3799794"/>
            <a:ext cx="5190622" cy="269274"/>
          </a:xfrm>
          <a:prstGeom prst="rect">
            <a:avLst/>
          </a:prstGeom>
          <a:noFill/>
          <a:ln w="12700" algn="ctr">
            <a:solidFill>
              <a:schemeClr val="tx1">
                <a:lumMod val="60000"/>
                <a:lumOff val="40000"/>
              </a:schemeClr>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a:solidFill>
                <a:srgbClr val="FFFFFF"/>
              </a:solidFill>
              <a:latin typeface="+mj-lt"/>
              <a:ea typeface="ＭＳ Ｐゴシック"/>
              <a:cs typeface="Arial" panose="020B0604020202020204" pitchFamily="34" charset="0"/>
            </a:endParaRPr>
          </a:p>
        </p:txBody>
      </p:sp>
      <p:cxnSp>
        <p:nvCxnSpPr>
          <p:cNvPr id="95" name="Straight Connector 94"/>
          <p:cNvCxnSpPr/>
          <p:nvPr/>
        </p:nvCxnSpPr>
        <p:spPr bwMode="auto">
          <a:xfrm flipH="1">
            <a:off x="6092952" y="968375"/>
            <a:ext cx="9525" cy="4930775"/>
          </a:xfrm>
          <a:prstGeom prst="line">
            <a:avLst/>
          </a:prstGeom>
          <a:solidFill>
            <a:schemeClr val="accent1"/>
          </a:solidFill>
          <a:ln w="12700" cap="flat" cmpd="sng" algn="ctr">
            <a:solidFill>
              <a:srgbClr val="08080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2392639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extLst>
              <p:ext uri="{D42A27DB-BD31-4B8C-83A1-F6EECF244321}">
                <p14:modId xmlns:p14="http://schemas.microsoft.com/office/powerpoint/2010/main" val="39091746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663" imgH="664" progId="TCLayout.ActiveDocument.1">
                  <p:embed/>
                </p:oleObj>
              </mc:Choice>
              <mc:Fallback>
                <p:oleObj name="think-cell Slide" r:id="rId29" imgW="663" imgH="664" progId="TCLayout.ActiveDocument.1">
                  <p:embed/>
                  <p:pic>
                    <p:nvPicPr>
                      <p:cNvPr id="21" name="Object 20" hidden="1"/>
                      <p:cNvPicPr/>
                      <p:nvPr/>
                    </p:nvPicPr>
                    <p:blipFill>
                      <a:blip r:embed="rId30"/>
                      <a:stretch>
                        <a:fillRect/>
                      </a:stretch>
                    </p:blipFill>
                    <p:spPr>
                      <a:xfrm>
                        <a:off x="1525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152400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lang="en-US" sz="1200">
              <a:solidFill>
                <a:srgbClr val="FFFFFF"/>
              </a:solidFill>
              <a:latin typeface="Arial" panose="020B0604020202020204" pitchFamily="34" charset="0"/>
              <a:ea typeface="+mj-ea"/>
              <a:cs typeface="+mj-cs"/>
              <a:sym typeface="Arial" panose="020B0604020202020204" pitchFamily="34" charset="0"/>
            </a:endParaRPr>
          </a:p>
        </p:txBody>
      </p:sp>
      <p:cxnSp>
        <p:nvCxnSpPr>
          <p:cNvPr id="93" name="Straight Connector 92"/>
          <p:cNvCxnSpPr/>
          <p:nvPr>
            <p:custDataLst>
              <p:tags r:id="rId3"/>
            </p:custDataLst>
          </p:nvPr>
        </p:nvCxnSpPr>
        <p:spPr bwMode="gray">
          <a:xfrm>
            <a:off x="7591425" y="1839913"/>
            <a:ext cx="212725"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4"/>
            </p:custDataLst>
          </p:nvPr>
        </p:nvCxnSpPr>
        <p:spPr bwMode="gray">
          <a:xfrm>
            <a:off x="2679700" y="1308100"/>
            <a:ext cx="212725"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5"/>
            </p:custDataLst>
          </p:nvPr>
        </p:nvCxnSpPr>
        <p:spPr bwMode="gray">
          <a:xfrm>
            <a:off x="4318000" y="1801813"/>
            <a:ext cx="212725"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6"/>
            </p:custDataLst>
          </p:nvPr>
        </p:nvCxnSpPr>
        <p:spPr bwMode="gray">
          <a:xfrm>
            <a:off x="5954713" y="1839913"/>
            <a:ext cx="212725"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custDataLst>
              <p:tags r:id="rId7"/>
            </p:custDataLst>
          </p:nvPr>
        </p:nvCxnSpPr>
        <p:spPr bwMode="gray">
          <a:xfrm>
            <a:off x="9229725" y="1809750"/>
            <a:ext cx="212725"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rgbClr val="808080"/>
                </a:solidFill>
                <a:prstDash val="lgDash"/>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sp>
        <p:nvSpPr>
          <p:cNvPr id="36" name="Rectangle 35"/>
          <p:cNvSpPr/>
          <p:nvPr>
            <p:custDataLst>
              <p:tags r:id="rId8"/>
            </p:custDataLst>
          </p:nvPr>
        </p:nvSpPr>
        <p:spPr bwMode="auto">
          <a:xfrm>
            <a:off x="6167438" y="1836738"/>
            <a:ext cx="1423988" cy="6350"/>
          </a:xfrm>
          <a:prstGeom prst="rect">
            <a:avLst/>
          </a:prstGeom>
          <a:solidFill>
            <a:schemeClr val="accent3"/>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graphicFrame>
        <p:nvGraphicFramePr>
          <p:cNvPr id="47" name="Chart 46"/>
          <p:cNvGraphicFramePr/>
          <p:nvPr>
            <p:custDataLst>
              <p:tags r:id="rId9"/>
            </p:custDataLst>
            <p:extLst>
              <p:ext uri="{D42A27DB-BD31-4B8C-83A1-F6EECF244321}">
                <p14:modId xmlns:p14="http://schemas.microsoft.com/office/powerpoint/2010/main" val="2466598606"/>
              </p:ext>
            </p:extLst>
          </p:nvPr>
        </p:nvGraphicFramePr>
        <p:xfrm>
          <a:off x="1066800" y="1225550"/>
          <a:ext cx="9988550" cy="2209800"/>
        </p:xfrm>
        <a:graphic>
          <a:graphicData uri="http://schemas.openxmlformats.org/drawingml/2006/chart">
            <c:chart xmlns:c="http://schemas.openxmlformats.org/drawingml/2006/chart" xmlns:r="http://schemas.openxmlformats.org/officeDocument/2006/relationships" r:id="rId31"/>
          </a:graphicData>
        </a:graphic>
      </p:graphicFrame>
      <p:sp useBgFill="1">
        <p:nvSpPr>
          <p:cNvPr id="6" name="Freeform 5"/>
          <p:cNvSpPr/>
          <p:nvPr>
            <p:custDataLst>
              <p:tags r:id="rId10"/>
            </p:custDataLst>
          </p:nvPr>
        </p:nvSpPr>
        <p:spPr bwMode="auto">
          <a:xfrm>
            <a:off x="1196975" y="2362200"/>
            <a:ext cx="1541464" cy="471489"/>
          </a:xfrm>
          <a:custGeom>
            <a:avLst/>
            <a:gdLst/>
            <a:ahLst/>
            <a:cxnLst/>
            <a:rect l="0" t="0" r="0" b="0"/>
            <a:pathLst>
              <a:path w="1541464" h="471489">
                <a:moveTo>
                  <a:pt x="0" y="414338"/>
                </a:moveTo>
                <a:lnTo>
                  <a:pt x="1541463" y="0"/>
                </a:lnTo>
                <a:lnTo>
                  <a:pt x="1541463" y="57150"/>
                </a:lnTo>
                <a:lnTo>
                  <a:pt x="0" y="47148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1">
                    <a:lumMod val="60000"/>
                    <a:lumOff val="4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useBgFill="1">
        <p:nvSpPr>
          <p:cNvPr id="10" name="Freeform 9"/>
          <p:cNvSpPr/>
          <p:nvPr>
            <p:custDataLst>
              <p:tags r:id="rId11"/>
            </p:custDataLst>
          </p:nvPr>
        </p:nvSpPr>
        <p:spPr bwMode="auto">
          <a:xfrm>
            <a:off x="9383713" y="2362200"/>
            <a:ext cx="1541463" cy="471489"/>
          </a:xfrm>
          <a:custGeom>
            <a:avLst/>
            <a:gdLst/>
            <a:ahLst/>
            <a:cxnLst/>
            <a:rect l="0" t="0" r="0" b="0"/>
            <a:pathLst>
              <a:path w="1541463" h="471489">
                <a:moveTo>
                  <a:pt x="0" y="414338"/>
                </a:moveTo>
                <a:lnTo>
                  <a:pt x="1541462" y="0"/>
                </a:lnTo>
                <a:lnTo>
                  <a:pt x="1541462" y="57150"/>
                </a:lnTo>
                <a:lnTo>
                  <a:pt x="0" y="47148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1">
                    <a:lumMod val="60000"/>
                    <a:lumOff val="4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4" name="Freeform 3"/>
          <p:cNvSpPr/>
          <p:nvPr>
            <p:custDataLst>
              <p:tags r:id="rId12"/>
            </p:custDataLst>
          </p:nvPr>
        </p:nvSpPr>
        <p:spPr bwMode="auto">
          <a:xfrm>
            <a:off x="1196975" y="2362200"/>
            <a:ext cx="1541464" cy="414339"/>
          </a:xfrm>
          <a:custGeom>
            <a:avLst/>
            <a:gdLst/>
            <a:ahLst/>
            <a:cxnLst/>
            <a:rect l="0" t="0" r="0" b="0"/>
            <a:pathLst>
              <a:path w="1541464" h="414339">
                <a:moveTo>
                  <a:pt x="0" y="414338"/>
                </a:moveTo>
                <a:lnTo>
                  <a:pt x="1541463" y="0"/>
                </a:lnTo>
              </a:path>
            </a:pathLst>
          </a:custGeom>
          <a:ln w="9525"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Freeform 4"/>
          <p:cNvSpPr/>
          <p:nvPr>
            <p:custDataLst>
              <p:tags r:id="rId13"/>
            </p:custDataLst>
          </p:nvPr>
        </p:nvSpPr>
        <p:spPr bwMode="auto">
          <a:xfrm>
            <a:off x="1196975" y="2419350"/>
            <a:ext cx="1541464" cy="414339"/>
          </a:xfrm>
          <a:custGeom>
            <a:avLst/>
            <a:gdLst/>
            <a:ahLst/>
            <a:cxnLst/>
            <a:rect l="0" t="0" r="0" b="0"/>
            <a:pathLst>
              <a:path w="1541464" h="414339">
                <a:moveTo>
                  <a:pt x="0" y="414338"/>
                </a:moveTo>
                <a:lnTo>
                  <a:pt x="1541463" y="0"/>
                </a:lnTo>
              </a:path>
            </a:pathLst>
          </a:custGeom>
          <a:ln w="9525"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7"/>
          <p:cNvSpPr/>
          <p:nvPr>
            <p:custDataLst>
              <p:tags r:id="rId14"/>
            </p:custDataLst>
          </p:nvPr>
        </p:nvSpPr>
        <p:spPr bwMode="auto">
          <a:xfrm>
            <a:off x="9383713" y="2362200"/>
            <a:ext cx="1541463" cy="414339"/>
          </a:xfrm>
          <a:custGeom>
            <a:avLst/>
            <a:gdLst/>
            <a:ahLst/>
            <a:cxnLst/>
            <a:rect l="0" t="0" r="0" b="0"/>
            <a:pathLst>
              <a:path w="1541463" h="414339">
                <a:moveTo>
                  <a:pt x="0" y="414338"/>
                </a:moveTo>
                <a:lnTo>
                  <a:pt x="1541462" y="0"/>
                </a:lnTo>
              </a:path>
            </a:pathLst>
          </a:custGeom>
          <a:ln w="9525"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8"/>
          <p:cNvSpPr/>
          <p:nvPr>
            <p:custDataLst>
              <p:tags r:id="rId15"/>
            </p:custDataLst>
          </p:nvPr>
        </p:nvSpPr>
        <p:spPr bwMode="auto">
          <a:xfrm>
            <a:off x="9383713" y="2419350"/>
            <a:ext cx="1541463" cy="414339"/>
          </a:xfrm>
          <a:custGeom>
            <a:avLst/>
            <a:gdLst/>
            <a:ahLst/>
            <a:cxnLst/>
            <a:rect l="0" t="0" r="0" b="0"/>
            <a:pathLst>
              <a:path w="1541463" h="414339">
                <a:moveTo>
                  <a:pt x="0" y="414338"/>
                </a:moveTo>
                <a:lnTo>
                  <a:pt x="1541462" y="0"/>
                </a:lnTo>
              </a:path>
            </a:pathLst>
          </a:custGeom>
          <a:ln w="9525"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3" name="Rectangle 102"/>
          <p:cNvSpPr/>
          <p:nvPr>
            <p:custDataLst>
              <p:tags r:id="rId16"/>
            </p:custDataLst>
          </p:nvPr>
        </p:nvSpPr>
        <p:spPr bwMode="auto">
          <a:xfrm>
            <a:off x="1462087" y="3395663"/>
            <a:ext cx="1009650"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66CFF226-9C4C-42C8-BD66-D39D018E09CD}" type="datetime'20''''''2''''x'''''''''' ''Ne''t'''''' ''''''In''com''''''e'''">
              <a:rPr lang="en-US" altLang="en-US" sz="1000" b="1" smtClean="0">
                <a:solidFill>
                  <a:srgbClr val="4C4D4E"/>
                </a:solidFill>
                <a:ea typeface="+mj-ea"/>
                <a:cs typeface="+mj-cs"/>
              </a:rPr>
              <a:pPr marL="0" lvl="3" algn="ctr">
                <a:spcBef>
                  <a:spcPct val="0"/>
                </a:spcBef>
                <a:spcAft>
                  <a:spcPct val="0"/>
                </a:spcAft>
                <a:defRPr/>
              </a:pPr>
              <a:t>202x Net Income</a:t>
            </a:fld>
            <a:endParaRPr lang="en-US" sz="1000" b="1">
              <a:solidFill>
                <a:srgbClr val="4C4D4E"/>
              </a:solidFill>
              <a:latin typeface="+mj-lt"/>
              <a:ea typeface="+mj-ea"/>
              <a:cs typeface="+mj-cs"/>
              <a:sym typeface="+mj-lt"/>
            </a:endParaRPr>
          </a:p>
        </p:txBody>
      </p:sp>
      <p:sp>
        <p:nvSpPr>
          <p:cNvPr id="61" name="Rectangle 60"/>
          <p:cNvSpPr/>
          <p:nvPr>
            <p:custDataLst>
              <p:tags r:id="rId17"/>
            </p:custDataLst>
          </p:nvPr>
        </p:nvSpPr>
        <p:spPr bwMode="gray">
          <a:xfrm>
            <a:off x="1755775" y="1117600"/>
            <a:ext cx="423863"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1E0CFAD6-93F8-4096-81FA-71F2CC676A08}" type="datetime'''''$''8''''''''''''''''''''''''''''1M'''''''">
              <a:rPr lang="en-US" altLang="en-US" sz="1200">
                <a:solidFill>
                  <a:srgbClr val="4C4D4E"/>
                </a:solidFill>
                <a:latin typeface="+mj-lt"/>
                <a:ea typeface="+mj-ea"/>
                <a:cs typeface="+mj-cs"/>
                <a:sym typeface="+mj-lt"/>
              </a:rPr>
              <a:pPr marL="0" lvl="3" algn="ctr">
                <a:lnSpc>
                  <a:spcPct val="90000"/>
                </a:lnSpc>
                <a:spcBef>
                  <a:spcPct val="0"/>
                </a:spcBef>
                <a:spcAft>
                  <a:spcPct val="0"/>
                </a:spcAft>
              </a:pPr>
              <a:t>$81M</a:t>
            </a:fld>
            <a:endParaRPr lang="en-US" sz="1200">
              <a:solidFill>
                <a:srgbClr val="4C4D4E"/>
              </a:solidFill>
              <a:latin typeface="+mj-lt"/>
              <a:ea typeface="+mj-ea"/>
              <a:cs typeface="+mj-cs"/>
              <a:sym typeface="+mj-lt"/>
            </a:endParaRPr>
          </a:p>
        </p:txBody>
      </p:sp>
      <p:sp>
        <p:nvSpPr>
          <p:cNvPr id="63" name="Rectangle 62"/>
          <p:cNvSpPr/>
          <p:nvPr>
            <p:custDataLst>
              <p:tags r:id="rId18"/>
            </p:custDataLst>
          </p:nvPr>
        </p:nvSpPr>
        <p:spPr bwMode="gray">
          <a:xfrm>
            <a:off x="9942513" y="1619250"/>
            <a:ext cx="423863"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536E20E7-1ECB-46B3-8047-810486BD4668}" type="datetime'''''''$''''''''''6''''2''M'">
              <a:rPr lang="en-US" altLang="en-US" sz="1200">
                <a:solidFill>
                  <a:srgbClr val="4C4D4E"/>
                </a:solidFill>
                <a:latin typeface="+mj-lt"/>
                <a:ea typeface="+mj-ea"/>
                <a:cs typeface="+mj-cs"/>
                <a:sym typeface="+mj-lt"/>
              </a:rPr>
              <a:pPr marL="0" lvl="3" algn="ctr">
                <a:lnSpc>
                  <a:spcPct val="90000"/>
                </a:lnSpc>
                <a:spcBef>
                  <a:spcPct val="0"/>
                </a:spcBef>
                <a:spcAft>
                  <a:spcPct val="0"/>
                </a:spcAft>
              </a:pPr>
              <a:t>$62M</a:t>
            </a:fld>
            <a:endParaRPr lang="en-US" sz="1200">
              <a:solidFill>
                <a:srgbClr val="4C4D4E"/>
              </a:solidFill>
              <a:latin typeface="+mj-lt"/>
              <a:ea typeface="+mj-ea"/>
              <a:cs typeface="+mj-cs"/>
              <a:sym typeface="+mj-lt"/>
            </a:endParaRPr>
          </a:p>
        </p:txBody>
      </p:sp>
      <p:sp>
        <p:nvSpPr>
          <p:cNvPr id="105" name="Rectangle 104"/>
          <p:cNvSpPr/>
          <p:nvPr>
            <p:custDataLst>
              <p:tags r:id="rId19"/>
            </p:custDataLst>
          </p:nvPr>
        </p:nvSpPr>
        <p:spPr bwMode="auto">
          <a:xfrm>
            <a:off x="3216275" y="3395663"/>
            <a:ext cx="779463"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ED40981B-4A4E-4878-8125-18B63F4CBE77}" type="datetime'''''''D''''ep''''r''e''''''''''''c''i''''ati''''''o''''''''n'">
              <a:rPr lang="en-US" altLang="en-US" sz="1000" b="1" smtClean="0">
                <a:solidFill>
                  <a:srgbClr val="4C4D4E"/>
                </a:solidFill>
                <a:ea typeface="+mj-ea"/>
                <a:cs typeface="+mj-cs"/>
              </a:rPr>
              <a:pPr marL="0" lvl="3" algn="ctr">
                <a:spcBef>
                  <a:spcPct val="0"/>
                </a:spcBef>
                <a:spcAft>
                  <a:spcPct val="0"/>
                </a:spcAft>
                <a:defRPr/>
              </a:pPr>
              <a:t>Depreciation</a:t>
            </a:fld>
            <a:endParaRPr lang="en-US" sz="1000" b="1">
              <a:solidFill>
                <a:srgbClr val="4C4D4E"/>
              </a:solidFill>
              <a:latin typeface="+mj-lt"/>
              <a:ea typeface="+mj-ea"/>
              <a:cs typeface="+mj-cs"/>
              <a:sym typeface="+mj-lt"/>
            </a:endParaRPr>
          </a:p>
        </p:txBody>
      </p:sp>
      <p:sp>
        <p:nvSpPr>
          <p:cNvPr id="106" name="Rectangle 105"/>
          <p:cNvSpPr/>
          <p:nvPr>
            <p:custDataLst>
              <p:tags r:id="rId20"/>
            </p:custDataLst>
          </p:nvPr>
        </p:nvSpPr>
        <p:spPr bwMode="auto">
          <a:xfrm>
            <a:off x="5046663" y="3395663"/>
            <a:ext cx="392113"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53EE623E-FB53-41F9-A6B5-D79188784D4E}" type="datetime'''''C''''''a''''''''''p''''''e''''x'''">
              <a:rPr lang="en-US" altLang="en-US" sz="1000" b="1" smtClean="0">
                <a:solidFill>
                  <a:srgbClr val="4C4D4E"/>
                </a:solidFill>
                <a:ea typeface="+mj-ea"/>
                <a:cs typeface="+mj-cs"/>
              </a:rPr>
              <a:pPr marL="0" lvl="3" algn="ctr">
                <a:spcBef>
                  <a:spcPct val="0"/>
                </a:spcBef>
                <a:spcAft>
                  <a:spcPct val="0"/>
                </a:spcAft>
                <a:defRPr/>
              </a:pPr>
              <a:t>Capex</a:t>
            </a:fld>
            <a:endParaRPr lang="en-US" sz="1000" b="1">
              <a:solidFill>
                <a:srgbClr val="4C4D4E"/>
              </a:solidFill>
              <a:latin typeface="+mj-lt"/>
              <a:ea typeface="+mj-ea"/>
              <a:cs typeface="+mj-cs"/>
              <a:sym typeface="+mj-lt"/>
            </a:endParaRPr>
          </a:p>
        </p:txBody>
      </p:sp>
      <p:sp>
        <p:nvSpPr>
          <p:cNvPr id="107" name="Rectangle 106"/>
          <p:cNvSpPr/>
          <p:nvPr>
            <p:custDataLst>
              <p:tags r:id="rId21"/>
            </p:custDataLst>
          </p:nvPr>
        </p:nvSpPr>
        <p:spPr bwMode="auto">
          <a:xfrm>
            <a:off x="6397625" y="3395663"/>
            <a:ext cx="963613"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B6999351-5BB3-4DF2-AFA6-06F63F912832}" type="datetime'''''W''''C'' I''''''''''nvest''m''''en''''''''''''''t'' '">
              <a:rPr lang="en-US" altLang="en-US" sz="1000" b="1" smtClean="0">
                <a:solidFill>
                  <a:srgbClr val="4C4D4E"/>
                </a:solidFill>
                <a:ea typeface="+mj-ea"/>
                <a:cs typeface="+mj-cs"/>
              </a:rPr>
              <a:pPr marL="0" lvl="3" algn="ctr">
                <a:spcBef>
                  <a:spcPct val="0"/>
                </a:spcBef>
                <a:spcAft>
                  <a:spcPct val="0"/>
                </a:spcAft>
                <a:defRPr/>
              </a:pPr>
              <a:t>WC Investment </a:t>
            </a:fld>
            <a:endParaRPr lang="en-US" sz="1000" b="1">
              <a:solidFill>
                <a:srgbClr val="4C4D4E"/>
              </a:solidFill>
              <a:latin typeface="+mj-lt"/>
              <a:ea typeface="+mj-ea"/>
              <a:cs typeface="+mj-cs"/>
              <a:sym typeface="+mj-lt"/>
            </a:endParaRPr>
          </a:p>
        </p:txBody>
      </p:sp>
      <p:sp>
        <p:nvSpPr>
          <p:cNvPr id="27" name="Rectangle 26"/>
          <p:cNvSpPr/>
          <p:nvPr>
            <p:custDataLst>
              <p:tags r:id="rId22"/>
            </p:custDataLst>
          </p:nvPr>
        </p:nvSpPr>
        <p:spPr bwMode="gray">
          <a:xfrm>
            <a:off x="3368675" y="1827213"/>
            <a:ext cx="474663"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t" anchorCtr="0" forceAA="0" compatLnSpc="1">
            <a:prstTxWarp prst="textNoShape">
              <a:avLst/>
            </a:prstTxWarp>
            <a:noAutofit/>
          </a:bodyPr>
          <a:lstStyle/>
          <a:p>
            <a:pPr marL="0" lvl="3" algn="ctr">
              <a:lnSpc>
                <a:spcPct val="90000"/>
              </a:lnSpc>
              <a:spcBef>
                <a:spcPct val="0"/>
              </a:spcBef>
              <a:spcAft>
                <a:spcPct val="0"/>
              </a:spcAft>
              <a:defRPr/>
            </a:pPr>
            <a:fld id="{88DEAD90-B526-4E6A-9AC6-0E885D648161}" type="datetime'''-$''''1''''''8''''''''''''''''''''M'''''">
              <a:rPr lang="en-US" altLang="en-US" sz="1200">
                <a:solidFill>
                  <a:srgbClr val="4C4D4E"/>
                </a:solidFill>
                <a:latin typeface="+mj-lt"/>
                <a:ea typeface="+mj-ea"/>
                <a:cs typeface="+mj-cs"/>
                <a:sym typeface="+mj-lt"/>
              </a:rPr>
              <a:pPr marL="0" lvl="3" algn="ctr">
                <a:lnSpc>
                  <a:spcPct val="90000"/>
                </a:lnSpc>
                <a:spcBef>
                  <a:spcPct val="0"/>
                </a:spcBef>
                <a:spcAft>
                  <a:spcPct val="0"/>
                </a:spcAft>
                <a:defRPr/>
              </a:pPr>
              <a:t>-$18M</a:t>
            </a:fld>
            <a:endParaRPr lang="en-US" sz="1200">
              <a:solidFill>
                <a:srgbClr val="4C4D4E"/>
              </a:solidFill>
              <a:latin typeface="+mj-lt"/>
              <a:ea typeface="+mj-ea"/>
              <a:cs typeface="+mj-cs"/>
              <a:sym typeface="+mj-lt"/>
            </a:endParaRPr>
          </a:p>
        </p:txBody>
      </p:sp>
      <p:sp>
        <p:nvSpPr>
          <p:cNvPr id="109" name="Rectangle 108"/>
          <p:cNvSpPr/>
          <p:nvPr>
            <p:custDataLst>
              <p:tags r:id="rId23"/>
            </p:custDataLst>
          </p:nvPr>
        </p:nvSpPr>
        <p:spPr bwMode="auto">
          <a:xfrm>
            <a:off x="7816850" y="3395663"/>
            <a:ext cx="1400175"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44544202-9B0E-4975-BD2B-8FA82BAF3D39}" type="datetime'''W''C/ Other'''''' ''''''Pr''''o''''du''ct''''i''vi''''t''y'">
              <a:rPr lang="en-US" altLang="en-US" sz="1000" b="1" smtClean="0">
                <a:solidFill>
                  <a:srgbClr val="4C4D4E"/>
                </a:solidFill>
                <a:ea typeface="+mj-ea"/>
                <a:cs typeface="+mj-cs"/>
              </a:rPr>
              <a:pPr marL="0" lvl="3" algn="ctr">
                <a:spcBef>
                  <a:spcPct val="0"/>
                </a:spcBef>
                <a:spcAft>
                  <a:spcPct val="0"/>
                </a:spcAft>
                <a:defRPr/>
              </a:pPr>
              <a:t>WC/ Other Productivity</a:t>
            </a:fld>
            <a:endParaRPr lang="en-US" sz="1000" b="1">
              <a:solidFill>
                <a:srgbClr val="4C4D4E"/>
              </a:solidFill>
              <a:latin typeface="+mj-lt"/>
              <a:ea typeface="+mj-ea"/>
              <a:cs typeface="+mj-cs"/>
              <a:sym typeface="+mj-lt"/>
            </a:endParaRPr>
          </a:p>
        </p:txBody>
      </p:sp>
      <p:sp>
        <p:nvSpPr>
          <p:cNvPr id="31" name="Rectangle 30"/>
          <p:cNvSpPr/>
          <p:nvPr>
            <p:custDataLst>
              <p:tags r:id="rId24"/>
            </p:custDataLst>
          </p:nvPr>
        </p:nvSpPr>
        <p:spPr bwMode="gray">
          <a:xfrm>
            <a:off x="5046663" y="1865313"/>
            <a:ext cx="390525"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t" anchorCtr="0" forceAA="0" compatLnSpc="1">
            <a:prstTxWarp prst="textNoShape">
              <a:avLst/>
            </a:prstTxWarp>
            <a:noAutofit/>
          </a:bodyPr>
          <a:lstStyle/>
          <a:p>
            <a:pPr marL="0" lvl="3" algn="ctr">
              <a:lnSpc>
                <a:spcPct val="90000"/>
              </a:lnSpc>
              <a:spcBef>
                <a:spcPct val="0"/>
              </a:spcBef>
              <a:spcAft>
                <a:spcPct val="0"/>
              </a:spcAft>
            </a:pPr>
            <a:fld id="{9D746104-9DB2-4A9A-BAEF-CF3585E20381}" type="datetime'''''''''''''''-$''''1''''M'">
              <a:rPr lang="en-US" altLang="en-US" sz="1200">
                <a:solidFill>
                  <a:srgbClr val="4C4D4E"/>
                </a:solidFill>
                <a:latin typeface="+mj-lt"/>
                <a:ea typeface="+mj-ea"/>
                <a:cs typeface="+mj-cs"/>
                <a:sym typeface="+mj-lt"/>
              </a:rPr>
              <a:pPr marL="0" lvl="3" algn="ctr">
                <a:lnSpc>
                  <a:spcPct val="90000"/>
                </a:lnSpc>
                <a:spcBef>
                  <a:spcPct val="0"/>
                </a:spcBef>
                <a:spcAft>
                  <a:spcPct val="0"/>
                </a:spcAft>
              </a:pPr>
              <a:t>-$1M</a:t>
            </a:fld>
            <a:endParaRPr lang="en-US" sz="1200" err="1">
              <a:solidFill>
                <a:srgbClr val="4C4D4E"/>
              </a:solidFill>
              <a:latin typeface="+mj-lt"/>
              <a:ea typeface="+mj-ea"/>
              <a:cs typeface="+mj-cs"/>
              <a:sym typeface="+mj-lt"/>
            </a:endParaRPr>
          </a:p>
        </p:txBody>
      </p:sp>
      <p:sp>
        <p:nvSpPr>
          <p:cNvPr id="33" name="Rectangle 32"/>
          <p:cNvSpPr/>
          <p:nvPr>
            <p:custDataLst>
              <p:tags r:id="rId25"/>
            </p:custDataLst>
          </p:nvPr>
        </p:nvSpPr>
        <p:spPr bwMode="gray">
          <a:xfrm>
            <a:off x="6708775" y="1649413"/>
            <a:ext cx="339725" cy="165100"/>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E4114160-D904-4A29-9952-8F18D22DB32F}" type="datetime'''$''0''M'''''''''''''''''">
              <a:rPr lang="en-US" altLang="en-US" sz="1200">
                <a:solidFill>
                  <a:schemeClr val="tx1"/>
                </a:solidFill>
                <a:latin typeface="+mj-lt"/>
                <a:ea typeface="+mj-ea"/>
                <a:cs typeface="+mj-cs"/>
                <a:sym typeface="+mj-lt"/>
              </a:rPr>
              <a:pPr marL="0" lvl="3" algn="ctr">
                <a:lnSpc>
                  <a:spcPct val="90000"/>
                </a:lnSpc>
                <a:spcBef>
                  <a:spcPct val="0"/>
                </a:spcBef>
                <a:spcAft>
                  <a:spcPct val="0"/>
                </a:spcAft>
              </a:pPr>
              <a:t>$0M</a:t>
            </a:fld>
            <a:endParaRPr lang="en-US" sz="1200" err="1">
              <a:solidFill>
                <a:schemeClr val="tx1"/>
              </a:solidFill>
              <a:latin typeface="+mj-lt"/>
              <a:ea typeface="+mj-ea"/>
              <a:cs typeface="+mj-cs"/>
              <a:sym typeface="+mj-lt"/>
            </a:endParaRPr>
          </a:p>
        </p:txBody>
      </p:sp>
      <p:sp>
        <p:nvSpPr>
          <p:cNvPr id="43" name="Rectangle 42"/>
          <p:cNvSpPr/>
          <p:nvPr>
            <p:custDataLst>
              <p:tags r:id="rId26"/>
            </p:custDataLst>
          </p:nvPr>
        </p:nvSpPr>
        <p:spPr bwMode="auto">
          <a:xfrm>
            <a:off x="9648825" y="3395663"/>
            <a:ext cx="1009650" cy="152400"/>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ECEE03B2-29C9-4773-BF20-519DD0AB00AC}" type="datetime'''2''02''''''x'''''''' ''''''''''N''e''t ''''''Inco''m''''e'''">
              <a:rPr lang="en-US" altLang="en-US" sz="1000" b="1" smtClean="0">
                <a:solidFill>
                  <a:srgbClr val="4C4D4E"/>
                </a:solidFill>
                <a:ea typeface="+mj-ea"/>
                <a:cs typeface="+mj-cs"/>
              </a:rPr>
              <a:pPr marL="0" lvl="3" algn="ctr">
                <a:spcBef>
                  <a:spcPct val="0"/>
                </a:spcBef>
                <a:spcAft>
                  <a:spcPct val="0"/>
                </a:spcAft>
                <a:defRPr/>
              </a:pPr>
              <a:t>202x Net Income</a:t>
            </a:fld>
            <a:endParaRPr lang="en-US" sz="1000" b="1">
              <a:solidFill>
                <a:srgbClr val="4C4D4E"/>
              </a:solidFill>
              <a:latin typeface="+mj-lt"/>
              <a:ea typeface="+mj-ea"/>
              <a:cs typeface="+mj-cs"/>
              <a:sym typeface="+mj-lt"/>
            </a:endParaRPr>
          </a:p>
        </p:txBody>
      </p:sp>
      <p:sp>
        <p:nvSpPr>
          <p:cNvPr id="38" name="Text Placeholder 37"/>
          <p:cNvSpPr>
            <a:spLocks noGrp="1"/>
          </p:cNvSpPr>
          <p:nvPr>
            <p:ph type="body" sz="quarter" idx="12"/>
          </p:nvPr>
        </p:nvSpPr>
        <p:spPr/>
        <p:txBody>
          <a:bodyPr/>
          <a:lstStyle/>
          <a:p>
            <a:endParaRPr lang="en-US">
              <a:latin typeface="+mj-lt"/>
            </a:endParaRPr>
          </a:p>
        </p:txBody>
      </p:sp>
      <p:sp>
        <p:nvSpPr>
          <p:cNvPr id="37" name="Text Placeholder 36"/>
          <p:cNvSpPr>
            <a:spLocks noGrp="1"/>
          </p:cNvSpPr>
          <p:nvPr>
            <p:ph type="body" sz="quarter" idx="11"/>
          </p:nvPr>
        </p:nvSpPr>
        <p:spPr/>
        <p:txBody>
          <a:bodyPr/>
          <a:lstStyle/>
          <a:p>
            <a:endParaRPr lang="en-US">
              <a:latin typeface="+mj-lt"/>
            </a:endParaRPr>
          </a:p>
        </p:txBody>
      </p:sp>
      <p:sp>
        <p:nvSpPr>
          <p:cNvPr id="2" name="Title 1"/>
          <p:cNvSpPr>
            <a:spLocks noGrp="1"/>
          </p:cNvSpPr>
          <p:nvPr>
            <p:ph type="title"/>
          </p:nvPr>
        </p:nvSpPr>
        <p:spPr/>
        <p:txBody>
          <a:bodyPr vert="horz"/>
          <a:lstStyle/>
          <a:p>
            <a:r>
              <a:rPr lang="en-US">
                <a:latin typeface="+mj-lt"/>
              </a:rPr>
              <a:t>nVent Cash Flow</a:t>
            </a:r>
          </a:p>
        </p:txBody>
      </p:sp>
      <p:sp>
        <p:nvSpPr>
          <p:cNvPr id="129" name="Rectangle 128"/>
          <p:cNvSpPr/>
          <p:nvPr/>
        </p:nvSpPr>
        <p:spPr>
          <a:xfrm>
            <a:off x="269239" y="4542454"/>
            <a:ext cx="5486400" cy="129540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en-US" sz="1400">
                <a:solidFill>
                  <a:schemeClr val="tx1"/>
                </a:solidFill>
              </a:rPr>
              <a:t>Lorem ipsum dolor sit </a:t>
            </a:r>
            <a:r>
              <a:rPr lang="en-US" sz="1400" err="1">
                <a:solidFill>
                  <a:schemeClr val="tx1"/>
                </a:solidFill>
              </a:rPr>
              <a:t>amet</a:t>
            </a:r>
            <a:endParaRPr lang="en-US" sz="1400">
              <a:solidFill>
                <a:schemeClr val="tx1"/>
              </a:solidFill>
            </a:endParaRPr>
          </a:p>
          <a:p>
            <a:pPr lvl="1" indent="-174625">
              <a:buFont typeface="Arial" panose="020B0604020202020204" pitchFamily="34" charset="0"/>
              <a:buChar char="-"/>
            </a:pPr>
            <a:r>
              <a:rPr lang="en-US" sz="1400" err="1">
                <a:solidFill>
                  <a:schemeClr val="tx1"/>
                </a:solidFill>
              </a:rPr>
              <a:t>Duis</a:t>
            </a:r>
            <a:r>
              <a:rPr lang="en-US" sz="1400">
                <a:solidFill>
                  <a:schemeClr val="tx1"/>
                </a:solidFill>
              </a:rPr>
              <a:t> </a:t>
            </a:r>
            <a:r>
              <a:rPr lang="en-US" sz="1400" err="1">
                <a:solidFill>
                  <a:schemeClr val="tx1"/>
                </a:solidFill>
              </a:rPr>
              <a:t>aute</a:t>
            </a:r>
            <a:r>
              <a:rPr lang="en-US" sz="1400">
                <a:solidFill>
                  <a:schemeClr val="tx1"/>
                </a:solidFill>
              </a:rPr>
              <a:t> </a:t>
            </a:r>
            <a:r>
              <a:rPr lang="en-US" sz="1400" err="1">
                <a:solidFill>
                  <a:schemeClr val="tx1"/>
                </a:solidFill>
              </a:rPr>
              <a:t>irure</a:t>
            </a:r>
            <a:r>
              <a:rPr lang="en-US" sz="1400">
                <a:solidFill>
                  <a:schemeClr val="tx1"/>
                </a:solidFill>
              </a:rPr>
              <a:t> dolor in </a:t>
            </a:r>
            <a:r>
              <a:rPr lang="en-US" sz="1400" err="1">
                <a:solidFill>
                  <a:schemeClr val="tx1"/>
                </a:solidFill>
              </a:rPr>
              <a:t>reprehenderit</a:t>
            </a:r>
            <a:r>
              <a:rPr lang="en-US" sz="1400">
                <a:solidFill>
                  <a:schemeClr val="tx1"/>
                </a:solidFill>
              </a:rPr>
              <a:t> in </a:t>
            </a:r>
            <a:r>
              <a:rPr lang="en-US" sz="1400" err="1">
                <a:solidFill>
                  <a:schemeClr val="tx1"/>
                </a:solidFill>
              </a:rPr>
              <a:t>voluptate</a:t>
            </a:r>
            <a:r>
              <a:rPr lang="en-US" sz="1400">
                <a:solidFill>
                  <a:schemeClr val="tx1"/>
                </a:solidFill>
              </a:rPr>
              <a:t> </a:t>
            </a:r>
            <a:r>
              <a:rPr lang="en-US" sz="1400" err="1">
                <a:solidFill>
                  <a:schemeClr val="tx1"/>
                </a:solidFill>
              </a:rPr>
              <a:t>velit</a:t>
            </a:r>
            <a:r>
              <a:rPr lang="en-US" sz="1400">
                <a:solidFill>
                  <a:schemeClr val="tx1"/>
                </a:solidFill>
              </a:rPr>
              <a:t> </a:t>
            </a:r>
            <a:r>
              <a:rPr lang="en-US" sz="1400" err="1">
                <a:solidFill>
                  <a:schemeClr val="tx1"/>
                </a:solidFill>
              </a:rPr>
              <a:t>esse</a:t>
            </a:r>
            <a:r>
              <a:rPr lang="en-US" sz="1400">
                <a:solidFill>
                  <a:schemeClr val="tx1"/>
                </a:solidFill>
              </a:rPr>
              <a:t> </a:t>
            </a:r>
            <a:r>
              <a:rPr lang="en-US" sz="1400" err="1">
                <a:solidFill>
                  <a:schemeClr val="tx1"/>
                </a:solidFill>
              </a:rPr>
              <a:t>cillum</a:t>
            </a:r>
            <a:r>
              <a:rPr lang="en-US" sz="1400">
                <a:solidFill>
                  <a:schemeClr val="tx1"/>
                </a:solidFill>
              </a:rPr>
              <a:t> </a:t>
            </a:r>
            <a:r>
              <a:rPr lang="en-US" sz="1400" err="1">
                <a:solidFill>
                  <a:schemeClr val="tx1"/>
                </a:solidFill>
              </a:rPr>
              <a:t>dolore</a:t>
            </a:r>
            <a:r>
              <a:rPr lang="en-US" sz="1400">
                <a:solidFill>
                  <a:schemeClr val="tx1"/>
                </a:solidFill>
              </a:rPr>
              <a:t> </a:t>
            </a:r>
            <a:r>
              <a:rPr lang="en-US" sz="1400" err="1">
                <a:solidFill>
                  <a:schemeClr val="tx1"/>
                </a:solidFill>
              </a:rPr>
              <a:t>eu</a:t>
            </a:r>
            <a:r>
              <a:rPr lang="en-US" sz="1400">
                <a:solidFill>
                  <a:schemeClr val="tx1"/>
                </a:solidFill>
              </a:rPr>
              <a:t> </a:t>
            </a:r>
            <a:r>
              <a:rPr lang="en-US" sz="1400" err="1">
                <a:solidFill>
                  <a:schemeClr val="tx1"/>
                </a:solidFill>
              </a:rPr>
              <a:t>fugiat</a:t>
            </a:r>
            <a:r>
              <a:rPr lang="en-US" sz="1400">
                <a:solidFill>
                  <a:schemeClr val="tx1"/>
                </a:solidFill>
              </a:rPr>
              <a:t> </a:t>
            </a:r>
            <a:r>
              <a:rPr lang="en-US" sz="1400" err="1">
                <a:solidFill>
                  <a:schemeClr val="tx1"/>
                </a:solidFill>
              </a:rPr>
              <a:t>nulla</a:t>
            </a:r>
            <a:r>
              <a:rPr lang="en-US" sz="1400">
                <a:solidFill>
                  <a:schemeClr val="tx1"/>
                </a:solidFill>
              </a:rPr>
              <a:t> </a:t>
            </a:r>
            <a:r>
              <a:rPr lang="en-US" sz="1400" err="1">
                <a:solidFill>
                  <a:schemeClr val="tx1"/>
                </a:solidFill>
              </a:rPr>
              <a:t>pariatur</a:t>
            </a:r>
            <a:r>
              <a:rPr lang="en-US" sz="1400">
                <a:solidFill>
                  <a:schemeClr val="tx1"/>
                </a:solidFill>
              </a:rPr>
              <a:t>. </a:t>
            </a:r>
            <a:r>
              <a:rPr lang="en-US" sz="1400" err="1">
                <a:solidFill>
                  <a:schemeClr val="tx1"/>
                </a:solidFill>
              </a:rPr>
              <a:t>Excepteur</a:t>
            </a:r>
            <a:r>
              <a:rPr lang="en-US" sz="1400">
                <a:solidFill>
                  <a:schemeClr val="tx1"/>
                </a:solidFill>
              </a:rPr>
              <a:t> </a:t>
            </a:r>
            <a:r>
              <a:rPr lang="en-US" sz="1400" err="1">
                <a:solidFill>
                  <a:schemeClr val="tx1"/>
                </a:solidFill>
              </a:rPr>
              <a:t>sint</a:t>
            </a:r>
            <a:r>
              <a:rPr lang="en-US" sz="1400">
                <a:solidFill>
                  <a:schemeClr val="tx1"/>
                </a:solidFill>
              </a:rPr>
              <a:t> </a:t>
            </a:r>
            <a:r>
              <a:rPr lang="en-US" sz="1400" err="1">
                <a:solidFill>
                  <a:schemeClr val="tx1"/>
                </a:solidFill>
              </a:rPr>
              <a:t>occaecat</a:t>
            </a:r>
            <a:r>
              <a:rPr lang="en-US" sz="1400">
                <a:solidFill>
                  <a:schemeClr val="tx1"/>
                </a:solidFill>
              </a:rPr>
              <a:t> </a:t>
            </a:r>
            <a:r>
              <a:rPr lang="en-US" sz="1400" err="1">
                <a:solidFill>
                  <a:schemeClr val="tx1"/>
                </a:solidFill>
              </a:rPr>
              <a:t>cupidatat</a:t>
            </a:r>
            <a:r>
              <a:rPr lang="en-US" sz="1400">
                <a:solidFill>
                  <a:schemeClr val="tx1"/>
                </a:solidFill>
              </a:rPr>
              <a:t> </a:t>
            </a:r>
            <a:endParaRPr lang="en-US" sz="1400">
              <a:solidFill>
                <a:schemeClr val="tx1"/>
              </a:solidFill>
              <a:latin typeface="Arial" panose="020B0604020202020204" pitchFamily="34" charset="0"/>
              <a:cs typeface="Arial" panose="020B0604020202020204" pitchFamily="34" charset="0"/>
            </a:endParaRPr>
          </a:p>
        </p:txBody>
      </p:sp>
      <p:sp>
        <p:nvSpPr>
          <p:cNvPr id="134" name="Rectangle 133"/>
          <p:cNvSpPr/>
          <p:nvPr/>
        </p:nvSpPr>
        <p:spPr>
          <a:xfrm>
            <a:off x="6400164" y="4542454"/>
            <a:ext cx="5486400" cy="129540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en-US" sz="1400">
                <a:solidFill>
                  <a:schemeClr val="tx1"/>
                </a:solidFill>
              </a:rPr>
              <a:t>Lorem ipsum dolor sit </a:t>
            </a:r>
            <a:r>
              <a:rPr lang="en-US" sz="1400" err="1">
                <a:solidFill>
                  <a:schemeClr val="tx1"/>
                </a:solidFill>
              </a:rPr>
              <a:t>amet</a:t>
            </a:r>
            <a:endParaRPr lang="en-US" sz="1400">
              <a:solidFill>
                <a:schemeClr val="tx1"/>
              </a:solidFill>
            </a:endParaRPr>
          </a:p>
          <a:p>
            <a:pPr lvl="1" indent="-174625">
              <a:buFont typeface="Arial" panose="020B0604020202020204" pitchFamily="34" charset="0"/>
              <a:buChar char="-"/>
            </a:pPr>
            <a:r>
              <a:rPr lang="en-US" sz="1400" err="1">
                <a:solidFill>
                  <a:schemeClr val="tx1"/>
                </a:solidFill>
              </a:rPr>
              <a:t>Duis</a:t>
            </a:r>
            <a:r>
              <a:rPr lang="en-US" sz="1400">
                <a:solidFill>
                  <a:schemeClr val="tx1"/>
                </a:solidFill>
              </a:rPr>
              <a:t> </a:t>
            </a:r>
            <a:r>
              <a:rPr lang="en-US" sz="1400" err="1">
                <a:solidFill>
                  <a:schemeClr val="tx1"/>
                </a:solidFill>
              </a:rPr>
              <a:t>aute</a:t>
            </a:r>
            <a:r>
              <a:rPr lang="en-US" sz="1400">
                <a:solidFill>
                  <a:schemeClr val="tx1"/>
                </a:solidFill>
              </a:rPr>
              <a:t> </a:t>
            </a:r>
            <a:r>
              <a:rPr lang="en-US" sz="1400" err="1">
                <a:solidFill>
                  <a:schemeClr val="tx1"/>
                </a:solidFill>
              </a:rPr>
              <a:t>irure</a:t>
            </a:r>
            <a:r>
              <a:rPr lang="en-US" sz="1400">
                <a:solidFill>
                  <a:schemeClr val="tx1"/>
                </a:solidFill>
              </a:rPr>
              <a:t> dolor in </a:t>
            </a:r>
            <a:r>
              <a:rPr lang="en-US" sz="1400" err="1">
                <a:solidFill>
                  <a:schemeClr val="tx1"/>
                </a:solidFill>
              </a:rPr>
              <a:t>reprehenderit</a:t>
            </a:r>
            <a:r>
              <a:rPr lang="en-US" sz="1400">
                <a:solidFill>
                  <a:schemeClr val="tx1"/>
                </a:solidFill>
              </a:rPr>
              <a:t> in </a:t>
            </a:r>
            <a:r>
              <a:rPr lang="en-US" sz="1400" err="1">
                <a:solidFill>
                  <a:schemeClr val="tx1"/>
                </a:solidFill>
              </a:rPr>
              <a:t>voluptate</a:t>
            </a:r>
            <a:r>
              <a:rPr lang="en-US" sz="1400">
                <a:solidFill>
                  <a:schemeClr val="tx1"/>
                </a:solidFill>
              </a:rPr>
              <a:t> </a:t>
            </a:r>
            <a:r>
              <a:rPr lang="en-US" sz="1400" err="1">
                <a:solidFill>
                  <a:schemeClr val="tx1"/>
                </a:solidFill>
              </a:rPr>
              <a:t>velit</a:t>
            </a:r>
            <a:r>
              <a:rPr lang="en-US" sz="1400">
                <a:solidFill>
                  <a:schemeClr val="tx1"/>
                </a:solidFill>
              </a:rPr>
              <a:t> </a:t>
            </a:r>
            <a:r>
              <a:rPr lang="en-US" sz="1400" err="1">
                <a:solidFill>
                  <a:schemeClr val="tx1"/>
                </a:solidFill>
              </a:rPr>
              <a:t>esse</a:t>
            </a:r>
            <a:r>
              <a:rPr lang="en-US" sz="1400">
                <a:solidFill>
                  <a:schemeClr val="tx1"/>
                </a:solidFill>
              </a:rPr>
              <a:t> </a:t>
            </a:r>
            <a:r>
              <a:rPr lang="en-US" sz="1400" err="1">
                <a:solidFill>
                  <a:schemeClr val="tx1"/>
                </a:solidFill>
              </a:rPr>
              <a:t>cillum</a:t>
            </a:r>
            <a:r>
              <a:rPr lang="en-US" sz="1400">
                <a:solidFill>
                  <a:schemeClr val="tx1"/>
                </a:solidFill>
              </a:rPr>
              <a:t> </a:t>
            </a:r>
            <a:r>
              <a:rPr lang="en-US" sz="1400" err="1">
                <a:solidFill>
                  <a:schemeClr val="tx1"/>
                </a:solidFill>
              </a:rPr>
              <a:t>dolore</a:t>
            </a:r>
            <a:r>
              <a:rPr lang="en-US" sz="1400">
                <a:solidFill>
                  <a:schemeClr val="tx1"/>
                </a:solidFill>
              </a:rPr>
              <a:t> </a:t>
            </a:r>
            <a:r>
              <a:rPr lang="en-US" sz="1400" err="1">
                <a:solidFill>
                  <a:schemeClr val="tx1"/>
                </a:solidFill>
              </a:rPr>
              <a:t>eu</a:t>
            </a:r>
            <a:r>
              <a:rPr lang="en-US" sz="1400">
                <a:solidFill>
                  <a:schemeClr val="tx1"/>
                </a:solidFill>
              </a:rPr>
              <a:t> </a:t>
            </a:r>
            <a:r>
              <a:rPr lang="en-US" sz="1400" err="1">
                <a:solidFill>
                  <a:schemeClr val="tx1"/>
                </a:solidFill>
              </a:rPr>
              <a:t>fugiat</a:t>
            </a:r>
            <a:r>
              <a:rPr lang="en-US" sz="1400">
                <a:solidFill>
                  <a:schemeClr val="tx1"/>
                </a:solidFill>
              </a:rPr>
              <a:t> </a:t>
            </a:r>
            <a:r>
              <a:rPr lang="en-US" sz="1400" err="1">
                <a:solidFill>
                  <a:schemeClr val="tx1"/>
                </a:solidFill>
              </a:rPr>
              <a:t>nulla</a:t>
            </a:r>
            <a:r>
              <a:rPr lang="en-US" sz="1400">
                <a:solidFill>
                  <a:schemeClr val="tx1"/>
                </a:solidFill>
              </a:rPr>
              <a:t> </a:t>
            </a:r>
            <a:r>
              <a:rPr lang="en-US" sz="1400" err="1">
                <a:solidFill>
                  <a:schemeClr val="tx1"/>
                </a:solidFill>
              </a:rPr>
              <a:t>pariatur</a:t>
            </a:r>
            <a:r>
              <a:rPr lang="en-US" sz="1400">
                <a:solidFill>
                  <a:schemeClr val="tx1"/>
                </a:solidFill>
              </a:rPr>
              <a:t>. </a:t>
            </a:r>
            <a:r>
              <a:rPr lang="en-US" sz="1400" err="1">
                <a:solidFill>
                  <a:schemeClr val="tx1"/>
                </a:solidFill>
              </a:rPr>
              <a:t>Excepteur</a:t>
            </a:r>
            <a:r>
              <a:rPr lang="en-US" sz="1400">
                <a:solidFill>
                  <a:schemeClr val="tx1"/>
                </a:solidFill>
              </a:rPr>
              <a:t> </a:t>
            </a:r>
            <a:r>
              <a:rPr lang="en-US" sz="1400" err="1">
                <a:solidFill>
                  <a:schemeClr val="tx1"/>
                </a:solidFill>
              </a:rPr>
              <a:t>sint</a:t>
            </a:r>
            <a:r>
              <a:rPr lang="en-US" sz="1400">
                <a:solidFill>
                  <a:schemeClr val="tx1"/>
                </a:solidFill>
              </a:rPr>
              <a:t> </a:t>
            </a:r>
            <a:r>
              <a:rPr lang="en-US" sz="1400" err="1">
                <a:solidFill>
                  <a:schemeClr val="tx1"/>
                </a:solidFill>
              </a:rPr>
              <a:t>occaecat</a:t>
            </a:r>
            <a:r>
              <a:rPr lang="en-US" sz="1400">
                <a:solidFill>
                  <a:schemeClr val="tx1"/>
                </a:solidFill>
              </a:rPr>
              <a:t> </a:t>
            </a:r>
            <a:r>
              <a:rPr lang="en-US" sz="1400" err="1">
                <a:solidFill>
                  <a:schemeClr val="tx1"/>
                </a:solidFill>
              </a:rPr>
              <a:t>cupidatat</a:t>
            </a:r>
            <a:r>
              <a:rPr lang="en-US" sz="1400">
                <a:solidFill>
                  <a:schemeClr val="tx1"/>
                </a:solidFill>
              </a:rPr>
              <a:t> </a:t>
            </a:r>
          </a:p>
        </p:txBody>
      </p:sp>
      <p:sp>
        <p:nvSpPr>
          <p:cNvPr id="45" name="Rectangle 44"/>
          <p:cNvSpPr/>
          <p:nvPr/>
        </p:nvSpPr>
        <p:spPr>
          <a:xfrm>
            <a:off x="269239" y="4120587"/>
            <a:ext cx="5486400" cy="359626"/>
          </a:xfrm>
          <a:prstGeom prst="rect">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b="1">
                <a:solidFill>
                  <a:schemeClr val="accent5"/>
                </a:solidFill>
              </a:rPr>
              <a:t>Key Capex Investment</a:t>
            </a:r>
          </a:p>
        </p:txBody>
      </p:sp>
      <p:sp>
        <p:nvSpPr>
          <p:cNvPr id="128" name="Rectangle 127"/>
          <p:cNvSpPr/>
          <p:nvPr/>
        </p:nvSpPr>
        <p:spPr>
          <a:xfrm>
            <a:off x="6397269" y="4120587"/>
            <a:ext cx="5486400" cy="359626"/>
          </a:xfrm>
          <a:prstGeom prst="rect">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b="1">
                <a:solidFill>
                  <a:schemeClr val="accent5"/>
                </a:solidFill>
              </a:rPr>
              <a:t>Key Working Capital Initiatives</a:t>
            </a:r>
          </a:p>
        </p:txBody>
      </p:sp>
    </p:spTree>
    <p:extLst>
      <p:ext uri="{BB962C8B-B14F-4D97-AF65-F5344CB8AC3E}">
        <p14:creationId xmlns:p14="http://schemas.microsoft.com/office/powerpoint/2010/main" val="297652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663" imgH="664" progId="TCLayout.ActiveDocument.1">
                  <p:embed/>
                </p:oleObj>
              </mc:Choice>
              <mc:Fallback>
                <p:oleObj name="think-cell Slide" r:id="rId19" imgW="663" imgH="664" progId="TCLayout.ActiveDocument.1">
                  <p:embed/>
                  <p:pic>
                    <p:nvPicPr>
                      <p:cNvPr id="21" name="Object 20" hidden="1"/>
                      <p:cNvPicPr/>
                      <p:nvPr/>
                    </p:nvPicPr>
                    <p:blipFill>
                      <a:blip r:embed="rId20"/>
                      <a:stretch>
                        <a:fillRect/>
                      </a:stretch>
                    </p:blipFill>
                    <p:spPr>
                      <a:xfrm>
                        <a:off x="1525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152400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lang="en-US" sz="1200">
              <a:solidFill>
                <a:srgbClr val="FFFFFF"/>
              </a:solidFill>
              <a:latin typeface="Arial" panose="020B0604020202020204" pitchFamily="34" charset="0"/>
              <a:ea typeface="+mj-ea"/>
              <a:cs typeface="+mj-cs"/>
              <a:sym typeface="Arial" panose="020B0604020202020204" pitchFamily="34" charset="0"/>
            </a:endParaRPr>
          </a:p>
        </p:txBody>
      </p:sp>
      <p:sp>
        <p:nvSpPr>
          <p:cNvPr id="38" name="Text Placeholder 37"/>
          <p:cNvSpPr>
            <a:spLocks noGrp="1"/>
          </p:cNvSpPr>
          <p:nvPr>
            <p:ph type="body" sz="quarter" idx="12"/>
          </p:nvPr>
        </p:nvSpPr>
        <p:spPr/>
        <p:txBody>
          <a:bodyPr/>
          <a:lstStyle/>
          <a:p>
            <a:endParaRPr lang="en-US">
              <a:latin typeface="+mj-lt"/>
            </a:endParaRPr>
          </a:p>
        </p:txBody>
      </p:sp>
      <p:sp>
        <p:nvSpPr>
          <p:cNvPr id="37" name="Text Placeholder 36"/>
          <p:cNvSpPr>
            <a:spLocks noGrp="1"/>
          </p:cNvSpPr>
          <p:nvPr>
            <p:ph type="body" sz="quarter" idx="11"/>
          </p:nvPr>
        </p:nvSpPr>
        <p:spPr/>
        <p:txBody>
          <a:bodyPr/>
          <a:lstStyle/>
          <a:p>
            <a:endParaRPr lang="en-US">
              <a:latin typeface="+mj-lt"/>
            </a:endParaRPr>
          </a:p>
        </p:txBody>
      </p:sp>
      <p:sp>
        <p:nvSpPr>
          <p:cNvPr id="2" name="Title 1"/>
          <p:cNvSpPr>
            <a:spLocks noGrp="1"/>
          </p:cNvSpPr>
          <p:nvPr>
            <p:ph type="title"/>
          </p:nvPr>
        </p:nvSpPr>
        <p:spPr>
          <a:xfrm>
            <a:off x="269239" y="-9028"/>
            <a:ext cx="11617961" cy="875167"/>
          </a:xfrm>
        </p:spPr>
        <p:txBody>
          <a:bodyPr vert="horz"/>
          <a:lstStyle/>
          <a:p>
            <a:r>
              <a:rPr lang="en-US">
                <a:latin typeface="+mj-lt"/>
              </a:rPr>
              <a:t>Financial Profile</a:t>
            </a:r>
          </a:p>
        </p:txBody>
      </p:sp>
      <p:cxnSp>
        <p:nvCxnSpPr>
          <p:cNvPr id="40" name="Straight Connector 39"/>
          <p:cNvCxnSpPr/>
          <p:nvPr/>
        </p:nvCxnSpPr>
        <p:spPr bwMode="auto">
          <a:xfrm flipH="1">
            <a:off x="6074664" y="968375"/>
            <a:ext cx="9525" cy="4930775"/>
          </a:xfrm>
          <a:prstGeom prst="line">
            <a:avLst/>
          </a:prstGeom>
          <a:solidFill>
            <a:schemeClr val="accent1"/>
          </a:solidFill>
          <a:ln w="12700" cap="flat" cmpd="sng" algn="ctr">
            <a:solidFill>
              <a:srgbClr val="08080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AutoShape 13"/>
          <p:cNvSpPr>
            <a:spLocks noChangeArrowheads="1"/>
          </p:cNvSpPr>
          <p:nvPr/>
        </p:nvSpPr>
        <p:spPr bwMode="auto">
          <a:xfrm>
            <a:off x="269239" y="968375"/>
            <a:ext cx="5486400" cy="366713"/>
          </a:xfrm>
          <a:prstGeom prst="hexagon">
            <a:avLst>
              <a:gd name="adj" fmla="val 0"/>
              <a:gd name="vf" fmla="val 115470"/>
            </a:avLst>
          </a:prstGeom>
          <a:solidFill>
            <a:schemeClr val="tx1">
              <a:lumMod val="60000"/>
              <a:lumOff val="40000"/>
            </a:schemeClr>
          </a:solidFill>
          <a:ln>
            <a:noFill/>
          </a:ln>
          <a:effectLst/>
        </p:spPr>
        <p:txBody>
          <a:bodyPr lIns="0" tIns="0" rIns="0" bIns="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venue</a:t>
            </a:r>
          </a:p>
        </p:txBody>
      </p:sp>
      <p:sp>
        <p:nvSpPr>
          <p:cNvPr id="42" name="AutoShape 13"/>
          <p:cNvSpPr>
            <a:spLocks noChangeArrowheads="1"/>
          </p:cNvSpPr>
          <p:nvPr/>
        </p:nvSpPr>
        <p:spPr bwMode="auto">
          <a:xfrm>
            <a:off x="6348412" y="968375"/>
            <a:ext cx="5486400" cy="366713"/>
          </a:xfrm>
          <a:prstGeom prst="hexagon">
            <a:avLst>
              <a:gd name="adj" fmla="val 0"/>
              <a:gd name="vf" fmla="val 115470"/>
            </a:avLst>
          </a:prstGeom>
          <a:solidFill>
            <a:schemeClr val="tx1">
              <a:lumMod val="60000"/>
              <a:lumOff val="40000"/>
            </a:schemeClr>
          </a:solidFill>
          <a:ln>
            <a:noFill/>
          </a:ln>
          <a:effectLst/>
        </p:spPr>
        <p:txBody>
          <a:bodyPr lIns="0" tIns="0" rIns="0" bIns="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mj-lt"/>
                <a:ea typeface="+mn-ea"/>
                <a:cs typeface="Arial" panose="020B0604020202020204" pitchFamily="34" charset="0"/>
              </a:rPr>
              <a:t>Other Metrics</a:t>
            </a:r>
          </a:p>
        </p:txBody>
      </p:sp>
      <p:sp>
        <p:nvSpPr>
          <p:cNvPr id="43" name="AutoShape 13"/>
          <p:cNvSpPr>
            <a:spLocks noChangeArrowheads="1"/>
          </p:cNvSpPr>
          <p:nvPr/>
        </p:nvSpPr>
        <p:spPr bwMode="auto">
          <a:xfrm>
            <a:off x="269239" y="3548063"/>
            <a:ext cx="5486400" cy="366713"/>
          </a:xfrm>
          <a:prstGeom prst="hexagon">
            <a:avLst>
              <a:gd name="adj" fmla="val 0"/>
              <a:gd name="vf" fmla="val 115470"/>
            </a:avLst>
          </a:prstGeom>
          <a:solidFill>
            <a:schemeClr val="tx1">
              <a:lumMod val="60000"/>
              <a:lumOff val="40000"/>
            </a:schemeClr>
          </a:solidFill>
          <a:ln>
            <a:noFill/>
          </a:ln>
          <a:effectLst/>
        </p:spPr>
        <p:txBody>
          <a:bodyPr lIns="0" tIns="0" rIns="0" bIns="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gment Income</a:t>
            </a:r>
          </a:p>
        </p:txBody>
      </p:sp>
      <p:graphicFrame>
        <p:nvGraphicFramePr>
          <p:cNvPr id="44" name="Table 43"/>
          <p:cNvGraphicFramePr>
            <a:graphicFrameLocks noGrp="1"/>
          </p:cNvGraphicFramePr>
          <p:nvPr/>
        </p:nvGraphicFramePr>
        <p:xfrm>
          <a:off x="7155577" y="1615281"/>
          <a:ext cx="4084795" cy="2528887"/>
        </p:xfrm>
        <a:graphic>
          <a:graphicData uri="http://schemas.openxmlformats.org/drawingml/2006/table">
            <a:tbl>
              <a:tblPr firstRow="1" bandRow="1">
                <a:tableStyleId>{9D7B26C5-4107-4FEC-AEDC-1716B250A1EF}</a:tableStyleId>
              </a:tblPr>
              <a:tblGrid>
                <a:gridCol w="2034945">
                  <a:extLst>
                    <a:ext uri="{9D8B030D-6E8A-4147-A177-3AD203B41FA5}">
                      <a16:colId xmlns:a16="http://schemas.microsoft.com/office/drawing/2014/main" val="20000"/>
                    </a:ext>
                  </a:extLst>
                </a:gridCol>
                <a:gridCol w="998640">
                  <a:extLst>
                    <a:ext uri="{9D8B030D-6E8A-4147-A177-3AD203B41FA5}">
                      <a16:colId xmlns:a16="http://schemas.microsoft.com/office/drawing/2014/main" val="20001"/>
                    </a:ext>
                  </a:extLst>
                </a:gridCol>
                <a:gridCol w="1051210">
                  <a:extLst>
                    <a:ext uri="{9D8B030D-6E8A-4147-A177-3AD203B41FA5}">
                      <a16:colId xmlns:a16="http://schemas.microsoft.com/office/drawing/2014/main" val="20004"/>
                    </a:ext>
                  </a:extLst>
                </a:gridCol>
              </a:tblGrid>
              <a:tr h="274413">
                <a:tc>
                  <a:txBody>
                    <a:bodyPr/>
                    <a:lstStyle/>
                    <a:p>
                      <a:pPr algn="ctr"/>
                      <a:endParaRPr lang="en-US" sz="12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r>
                        <a:rPr lang="en-US" sz="1200">
                          <a:solidFill>
                            <a:schemeClr val="accent5"/>
                          </a:solidFill>
                          <a:latin typeface="Arial" panose="020B0604020202020204" pitchFamily="34" charset="0"/>
                          <a:cs typeface="Arial" panose="020B0604020202020204" pitchFamily="34" charset="0"/>
                        </a:rPr>
                        <a:t>2020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tc>
                  <a:txBody>
                    <a:bodyPr/>
                    <a:lstStyle/>
                    <a:p>
                      <a:pPr algn="ctr"/>
                      <a:r>
                        <a:rPr lang="en-US" sz="1200">
                          <a:solidFill>
                            <a:schemeClr val="accent5"/>
                          </a:solidFill>
                          <a:latin typeface="Arial" panose="020B0604020202020204" pitchFamily="34" charset="0"/>
                          <a:cs typeface="Arial" panose="020B0604020202020204" pitchFamily="34" charset="0"/>
                        </a:rPr>
                        <a:t>20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0000"/>
                  </a:ext>
                </a:extLst>
              </a:tr>
              <a:tr h="303084">
                <a:tc>
                  <a:txBody>
                    <a:bodyPr/>
                    <a:lstStyle/>
                    <a:p>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algn="ctr"/>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algn="ctr"/>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0001"/>
                  </a:ext>
                </a:extLst>
              </a:tr>
              <a:tr h="303084">
                <a:tc>
                  <a:txBody>
                    <a:bodyPr/>
                    <a:lstStyle/>
                    <a:p>
                      <a:endParaRPr lang="en-US" sz="1200" b="1" i="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1" i="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1" i="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03084">
                <a:tc>
                  <a:txBody>
                    <a:bodyPr/>
                    <a:lstStyle/>
                    <a:p>
                      <a:endParaRPr lang="en-US" sz="1200" b="1" i="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algn="ctr"/>
                      <a:endParaRPr lang="en-US" sz="1200" b="1" i="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algn="ctr"/>
                      <a:endParaRPr lang="en-US" sz="1200" b="1" i="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0003"/>
                  </a:ext>
                </a:extLst>
              </a:tr>
              <a:tr h="303084">
                <a:tc>
                  <a:txBody>
                    <a:bodyPr/>
                    <a:lstStyle/>
                    <a:p>
                      <a:endParaRPr lang="en-US" sz="1200" b="1" i="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1" i="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1" i="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03084">
                <a:tc>
                  <a:txBody>
                    <a:bodyPr/>
                    <a:lstStyle/>
                    <a:p>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algn="ctr"/>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algn="ctr"/>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0005"/>
                  </a:ext>
                </a:extLst>
              </a:tr>
              <a:tr h="369527">
                <a:tc>
                  <a:txBody>
                    <a:bodyPr/>
                    <a:lstStyle/>
                    <a:p>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69527">
                <a:tc>
                  <a:txBody>
                    <a:bodyPr/>
                    <a:lstStyle/>
                    <a:p>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algn="ctr"/>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algn="ctr"/>
                      <a:endParaRPr lang="en-US" sz="1200" b="1">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114164994"/>
                  </a:ext>
                </a:extLst>
              </a:tr>
            </a:tbl>
          </a:graphicData>
        </a:graphic>
      </p:graphicFrame>
      <p:graphicFrame>
        <p:nvGraphicFramePr>
          <p:cNvPr id="124" name="Chart 123"/>
          <p:cNvGraphicFramePr/>
          <p:nvPr>
            <p:custDataLst>
              <p:tags r:id="rId3"/>
            </p:custDataLst>
          </p:nvPr>
        </p:nvGraphicFramePr>
        <p:xfrm>
          <a:off x="603250" y="1835150"/>
          <a:ext cx="5118100" cy="1339850"/>
        </p:xfrm>
        <a:graphic>
          <a:graphicData uri="http://schemas.openxmlformats.org/drawingml/2006/chart">
            <c:chart xmlns:c="http://schemas.openxmlformats.org/drawingml/2006/chart" xmlns:r="http://schemas.openxmlformats.org/officeDocument/2006/relationships" r:id="rId21"/>
          </a:graphicData>
        </a:graphic>
      </p:graphicFrame>
      <p:sp>
        <p:nvSpPr>
          <p:cNvPr id="47" name="Rectangle 46"/>
          <p:cNvSpPr/>
          <p:nvPr>
            <p:custDataLst>
              <p:tags r:id="rId4"/>
            </p:custDataLst>
          </p:nvPr>
        </p:nvSpPr>
        <p:spPr bwMode="gray">
          <a:xfrm>
            <a:off x="4813300" y="1741488"/>
            <a:ext cx="414338" cy="15081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0638" tIns="0" rIns="20638" bIns="0" numCol="1" spcCol="0" rtlCol="0" fromWordArt="0" anchor="b" anchorCtr="0" forceAA="0" compatLnSpc="1">
            <a:prstTxWarp prst="textNoShape">
              <a:avLst/>
            </a:prstTxWarp>
            <a:noAutofit/>
          </a:bodyPr>
          <a:lstStyle/>
          <a:p>
            <a:pPr marL="0" lvl="3" algn="ctr">
              <a:lnSpc>
                <a:spcPct val="90000"/>
              </a:lnSpc>
              <a:spcBef>
                <a:spcPct val="0"/>
              </a:spcBef>
              <a:spcAft>
                <a:spcPct val="0"/>
              </a:spcAft>
              <a:defRPr/>
            </a:pPr>
            <a:fld id="{EE55912E-F890-49B3-8A67-C2C2915243A1}" type="datetime'''''''''''$''''''''1''''''''''''''.0B'''''''''''''''">
              <a:rPr lang="en-US" altLang="en-US" sz="1100" b="1" smtClean="0">
                <a:solidFill>
                  <a:srgbClr val="4C4D4E"/>
                </a:solidFill>
                <a:cs typeface="Arial" panose="020B0604020202020204" pitchFamily="34" charset="0"/>
              </a:rPr>
              <a:pPr marL="0" lvl="3" algn="ctr">
                <a:lnSpc>
                  <a:spcPct val="90000"/>
                </a:lnSpc>
                <a:spcBef>
                  <a:spcPct val="0"/>
                </a:spcBef>
                <a:spcAft>
                  <a:spcPct val="0"/>
                </a:spcAft>
                <a:defRPr/>
              </a:pPr>
              <a:t>$1.0B</a:t>
            </a:fld>
            <a:endParaRPr kumimoji="0" lang="en-US" sz="1100" b="1"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1" name="Rectangle 50"/>
          <p:cNvSpPr/>
          <p:nvPr>
            <p:custDataLst>
              <p:tags r:id="rId5"/>
            </p:custDataLst>
          </p:nvPr>
        </p:nvSpPr>
        <p:spPr bwMode="auto">
          <a:xfrm>
            <a:off x="2368550" y="3143250"/>
            <a:ext cx="349250" cy="18256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9364149D-5ADE-493F-BD59-E868BA01D1A6}" type="datetime'''2''''''''''''0''2''''''''''''''''''''''''0'">
              <a:rPr lang="en-US" altLang="en-US" sz="1200" smtClean="0">
                <a:solidFill>
                  <a:srgbClr val="4C4D4E"/>
                </a:solidFill>
                <a:cs typeface="Arial" panose="020B0604020202020204" pitchFamily="34" charset="0"/>
              </a:rPr>
              <a:pPr marL="0" lvl="3" algn="ctr">
                <a:spcBef>
                  <a:spcPct val="0"/>
                </a:spcBef>
                <a:spcAft>
                  <a:spcPct val="0"/>
                </a:spcAft>
                <a:defRPr/>
              </a:pPr>
              <a:t>2020</a:t>
            </a:fld>
            <a:endParaRPr kumimoji="0" lang="en-US" sz="1200" b="0"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8" name="Rectangle 47"/>
          <p:cNvSpPr/>
          <p:nvPr>
            <p:custDataLst>
              <p:tags r:id="rId6"/>
            </p:custDataLst>
          </p:nvPr>
        </p:nvSpPr>
        <p:spPr bwMode="auto">
          <a:xfrm>
            <a:off x="1130300" y="3143250"/>
            <a:ext cx="349250" cy="18256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1D70BAC9-9855-42C4-8091-040D3505C031}" type="datetime'''20''''''''1''''''''7'''''''''''''''''''''''''''''">
              <a:rPr lang="en-US" altLang="en-US" sz="1200" smtClean="0">
                <a:solidFill>
                  <a:srgbClr val="4C4D4E"/>
                </a:solidFill>
                <a:cs typeface="Arial" panose="020B0604020202020204" pitchFamily="34" charset="0"/>
              </a:rPr>
              <a:pPr marL="0" lvl="3" algn="ctr">
                <a:spcBef>
                  <a:spcPct val="0"/>
                </a:spcBef>
                <a:spcAft>
                  <a:spcPct val="0"/>
                </a:spcAft>
                <a:defRPr/>
              </a:pPr>
              <a:t>2017</a:t>
            </a:fld>
            <a:endParaRPr kumimoji="0" lang="en-US" sz="1200" b="0"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2" name="Rectangle 51"/>
          <p:cNvSpPr/>
          <p:nvPr>
            <p:custDataLst>
              <p:tags r:id="rId7"/>
            </p:custDataLst>
          </p:nvPr>
        </p:nvSpPr>
        <p:spPr bwMode="auto">
          <a:xfrm>
            <a:off x="3606800" y="3143250"/>
            <a:ext cx="349250" cy="18256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59C95860-1235-46EC-ACD6-79A335296ABD}" type="datetime'''''''''2''''''''0''''''''''''''''2''''''''''1'''''''''''">
              <a:rPr lang="en-US" altLang="en-US" sz="1200" smtClean="0">
                <a:solidFill>
                  <a:srgbClr val="4C4D4E"/>
                </a:solidFill>
                <a:cs typeface="Arial" panose="020B0604020202020204" pitchFamily="34" charset="0"/>
              </a:rPr>
              <a:pPr marL="0" lvl="3" algn="ctr">
                <a:spcBef>
                  <a:spcPct val="0"/>
                </a:spcBef>
                <a:spcAft>
                  <a:spcPct val="0"/>
                </a:spcAft>
                <a:defRPr/>
              </a:pPr>
              <a:t>2021</a:t>
            </a:fld>
            <a:endParaRPr kumimoji="0" lang="en-US" sz="1200" b="0"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3" name="Rectangle 52"/>
          <p:cNvSpPr/>
          <p:nvPr>
            <p:custDataLst>
              <p:tags r:id="rId8"/>
            </p:custDataLst>
          </p:nvPr>
        </p:nvSpPr>
        <p:spPr bwMode="auto">
          <a:xfrm>
            <a:off x="4845050" y="3143250"/>
            <a:ext cx="349250" cy="18256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78449ECA-133A-4B68-B28F-95ECE57E1137}" type="datetime'''''''''''''2''''''''''''''''0''''''''''''''2''''5'''''''''''">
              <a:rPr lang="en-US" altLang="en-US" sz="1200" smtClean="0">
                <a:solidFill>
                  <a:srgbClr val="4C4D4E"/>
                </a:solidFill>
                <a:cs typeface="Arial" panose="020B0604020202020204" pitchFamily="34" charset="0"/>
              </a:rPr>
              <a:pPr marL="0" lvl="3" algn="ctr">
                <a:spcBef>
                  <a:spcPct val="0"/>
                </a:spcBef>
                <a:spcAft>
                  <a:spcPct val="0"/>
                </a:spcAft>
                <a:defRPr/>
              </a:pPr>
              <a:t>2025</a:t>
            </a:fld>
            <a:endParaRPr kumimoji="0" lang="en-US" sz="1200" b="0"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0" name="Rectangle 49"/>
          <p:cNvSpPr/>
          <p:nvPr>
            <p:custDataLst>
              <p:tags r:id="rId9"/>
            </p:custDataLst>
          </p:nvPr>
        </p:nvSpPr>
        <p:spPr bwMode="gray">
          <a:xfrm>
            <a:off x="1098550" y="1741488"/>
            <a:ext cx="414338" cy="15081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0638" tIns="0" rIns="20638" bIns="0" numCol="1" spcCol="0" rtlCol="0" fromWordArt="0" anchor="b" anchorCtr="0" forceAA="0" compatLnSpc="1">
            <a:prstTxWarp prst="textNoShape">
              <a:avLst/>
            </a:prstTxWarp>
            <a:noAutofit/>
          </a:bodyPr>
          <a:lstStyle/>
          <a:p>
            <a:pPr marL="0" lvl="3" algn="ctr">
              <a:lnSpc>
                <a:spcPct val="90000"/>
              </a:lnSpc>
              <a:spcBef>
                <a:spcPct val="0"/>
              </a:spcBef>
              <a:spcAft>
                <a:spcPct val="0"/>
              </a:spcAft>
              <a:defRPr/>
            </a:pPr>
            <a:fld id="{C4A4B911-7A7F-48F4-B947-90F8CEB3DDF5}" type="datetime'''''''''''''''$''''''''1''''''''''''''.''''''0''''''''B'''''">
              <a:rPr lang="en-US" altLang="en-US" sz="1100" b="1" smtClean="0">
                <a:solidFill>
                  <a:srgbClr val="4C4D4E"/>
                </a:solidFill>
                <a:cs typeface="Arial" panose="020B0604020202020204" pitchFamily="34" charset="0"/>
              </a:rPr>
              <a:pPr marL="0" lvl="3" algn="ctr">
                <a:lnSpc>
                  <a:spcPct val="90000"/>
                </a:lnSpc>
                <a:spcBef>
                  <a:spcPct val="0"/>
                </a:spcBef>
                <a:spcAft>
                  <a:spcPct val="0"/>
                </a:spcAft>
                <a:defRPr/>
              </a:pPr>
              <a:t>$1.0B</a:t>
            </a:fld>
            <a:endParaRPr kumimoji="0" lang="en-US" sz="1100" b="1"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9" name="Rectangle 48"/>
          <p:cNvSpPr/>
          <p:nvPr>
            <p:custDataLst>
              <p:tags r:id="rId10"/>
            </p:custDataLst>
          </p:nvPr>
        </p:nvSpPr>
        <p:spPr bwMode="gray">
          <a:xfrm>
            <a:off x="2336800" y="1741488"/>
            <a:ext cx="414338" cy="15081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0638" tIns="0" rIns="20638" bIns="0" numCol="1" spcCol="0" rtlCol="0" fromWordArt="0" anchor="b" anchorCtr="0" forceAA="0" compatLnSpc="1">
            <a:prstTxWarp prst="textNoShape">
              <a:avLst/>
            </a:prstTxWarp>
            <a:noAutofit/>
          </a:bodyPr>
          <a:lstStyle/>
          <a:p>
            <a:pPr marL="0" lvl="3" algn="ctr">
              <a:lnSpc>
                <a:spcPct val="90000"/>
              </a:lnSpc>
              <a:spcBef>
                <a:spcPct val="0"/>
              </a:spcBef>
              <a:spcAft>
                <a:spcPct val="0"/>
              </a:spcAft>
              <a:defRPr/>
            </a:pPr>
            <a:fld id="{D93F01FD-7308-44B5-9183-C0893052155C}" type="datetime'''''''$''''''''''''1''''''''.''''''0''''''''''''''B'''''''">
              <a:rPr lang="en-US" altLang="en-US" sz="1100" b="1" smtClean="0">
                <a:solidFill>
                  <a:srgbClr val="4C4D4E"/>
                </a:solidFill>
                <a:cs typeface="Arial" panose="020B0604020202020204" pitchFamily="34" charset="0"/>
              </a:rPr>
              <a:pPr marL="0" lvl="3" algn="ctr">
                <a:lnSpc>
                  <a:spcPct val="90000"/>
                </a:lnSpc>
                <a:spcBef>
                  <a:spcPct val="0"/>
                </a:spcBef>
                <a:spcAft>
                  <a:spcPct val="0"/>
                </a:spcAft>
                <a:defRPr/>
              </a:pPr>
              <a:t>$1.0B</a:t>
            </a:fld>
            <a:endParaRPr kumimoji="0" lang="en-US" sz="1100" b="1"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4" name="Rectangle 53"/>
          <p:cNvSpPr/>
          <p:nvPr>
            <p:custDataLst>
              <p:tags r:id="rId11"/>
            </p:custDataLst>
          </p:nvPr>
        </p:nvSpPr>
        <p:spPr bwMode="gray">
          <a:xfrm>
            <a:off x="3575050" y="1741488"/>
            <a:ext cx="414338" cy="15081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0638" tIns="0" rIns="20638" bIns="0" numCol="1" spcCol="0" rtlCol="0" fromWordArt="0" anchor="b" anchorCtr="0" forceAA="0" compatLnSpc="1">
            <a:prstTxWarp prst="textNoShape">
              <a:avLst/>
            </a:prstTxWarp>
            <a:noAutofit/>
          </a:bodyPr>
          <a:lstStyle/>
          <a:p>
            <a:pPr marL="0" lvl="3" algn="ctr">
              <a:lnSpc>
                <a:spcPct val="90000"/>
              </a:lnSpc>
              <a:spcBef>
                <a:spcPct val="0"/>
              </a:spcBef>
              <a:spcAft>
                <a:spcPct val="0"/>
              </a:spcAft>
              <a:defRPr/>
            </a:pPr>
            <a:fld id="{CC559742-1508-4237-BDBB-F45C9E29CC59}" type="datetime'''$''''''''1''''''.''''''''''''''''''''0B'''''''''''''">
              <a:rPr lang="en-US" altLang="en-US" sz="1100" b="1" smtClean="0">
                <a:solidFill>
                  <a:srgbClr val="4C4D4E"/>
                </a:solidFill>
                <a:cs typeface="Arial" panose="020B0604020202020204" pitchFamily="34" charset="0"/>
              </a:rPr>
              <a:pPr marL="0" lvl="3" algn="ctr">
                <a:lnSpc>
                  <a:spcPct val="90000"/>
                </a:lnSpc>
                <a:spcBef>
                  <a:spcPct val="0"/>
                </a:spcBef>
                <a:spcAft>
                  <a:spcPct val="0"/>
                </a:spcAft>
                <a:defRPr/>
              </a:pPr>
              <a:t>$1.0B</a:t>
            </a:fld>
            <a:endParaRPr kumimoji="0" lang="en-US" sz="1100" b="1"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graphicFrame>
        <p:nvGraphicFramePr>
          <p:cNvPr id="136" name="Chart 135"/>
          <p:cNvGraphicFramePr/>
          <p:nvPr>
            <p:custDataLst>
              <p:tags r:id="rId12"/>
            </p:custDataLst>
          </p:nvPr>
        </p:nvGraphicFramePr>
        <p:xfrm>
          <a:off x="603250" y="4629150"/>
          <a:ext cx="5235575" cy="942975"/>
        </p:xfrm>
        <a:graphic>
          <a:graphicData uri="http://schemas.openxmlformats.org/drawingml/2006/chart">
            <c:chart xmlns:c="http://schemas.openxmlformats.org/drawingml/2006/chart" xmlns:r="http://schemas.openxmlformats.org/officeDocument/2006/relationships" r:id="rId22"/>
          </a:graphicData>
        </a:graphic>
      </p:graphicFrame>
      <p:sp>
        <p:nvSpPr>
          <p:cNvPr id="58" name="Rectangle 57"/>
          <p:cNvSpPr/>
          <p:nvPr>
            <p:custDataLst>
              <p:tags r:id="rId13"/>
            </p:custDataLst>
          </p:nvPr>
        </p:nvSpPr>
        <p:spPr bwMode="auto">
          <a:xfrm>
            <a:off x="1144588" y="5540375"/>
            <a:ext cx="349250" cy="18256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649B0F13-5845-4EE2-916D-D027AF4F2C8A}" type="datetime'''2''''''''0''''''''''''''''''''''1''''''7'">
              <a:rPr lang="en-US" altLang="en-US" sz="1200" smtClean="0">
                <a:solidFill>
                  <a:srgbClr val="4C4D4E"/>
                </a:solidFill>
                <a:cs typeface="Arial" panose="020B0604020202020204" pitchFamily="34" charset="0"/>
              </a:rPr>
              <a:pPr marL="0" lvl="3" algn="ctr">
                <a:spcBef>
                  <a:spcPct val="0"/>
                </a:spcBef>
                <a:spcAft>
                  <a:spcPct val="0"/>
                </a:spcAft>
                <a:defRPr/>
              </a:pPr>
              <a:t>2017</a:t>
            </a:fld>
            <a:endParaRPr kumimoji="0" lang="en-US" sz="1200" b="0"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9" name="Rectangle 58"/>
          <p:cNvSpPr/>
          <p:nvPr>
            <p:custDataLst>
              <p:tags r:id="rId14"/>
            </p:custDataLst>
          </p:nvPr>
        </p:nvSpPr>
        <p:spPr bwMode="auto">
          <a:xfrm>
            <a:off x="2413000" y="5540375"/>
            <a:ext cx="349250" cy="18256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1A81E358-F861-4BDA-B8CB-EAB204BDA3F5}" type="datetime'''20''''2''''''''0'''''''''''''''''''''''''''''''''''''''''''">
              <a:rPr lang="en-US" altLang="en-US" sz="1200" smtClean="0">
                <a:solidFill>
                  <a:srgbClr val="4C4D4E"/>
                </a:solidFill>
                <a:cs typeface="Arial" panose="020B0604020202020204" pitchFamily="34" charset="0"/>
              </a:rPr>
              <a:pPr marL="0" lvl="3" algn="ctr">
                <a:spcBef>
                  <a:spcPct val="0"/>
                </a:spcBef>
                <a:spcAft>
                  <a:spcPct val="0"/>
                </a:spcAft>
                <a:defRPr/>
              </a:pPr>
              <a:t>2020</a:t>
            </a:fld>
            <a:endParaRPr kumimoji="0" lang="en-US" sz="1200" b="0"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4" name="Rectangle 63"/>
          <p:cNvSpPr/>
          <p:nvPr>
            <p:custDataLst>
              <p:tags r:id="rId15"/>
            </p:custDataLst>
          </p:nvPr>
        </p:nvSpPr>
        <p:spPr bwMode="auto">
          <a:xfrm>
            <a:off x="4948238" y="5540375"/>
            <a:ext cx="349250" cy="18256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13E2F88D-B43C-453E-B4E1-9BE05BE2CDC2}" type="datetime'''''2''''''0''''''''''''''''2''''''''''5'''''">
              <a:rPr lang="en-US" altLang="en-US" sz="1200" smtClean="0">
                <a:solidFill>
                  <a:srgbClr val="4C4D4E"/>
                </a:solidFill>
                <a:cs typeface="Arial" panose="020B0604020202020204" pitchFamily="34" charset="0"/>
              </a:rPr>
              <a:pPr marL="0" lvl="3" algn="ctr">
                <a:spcBef>
                  <a:spcPct val="0"/>
                </a:spcBef>
                <a:spcAft>
                  <a:spcPct val="0"/>
                </a:spcAft>
                <a:defRPr/>
              </a:pPr>
              <a:t>2025</a:t>
            </a:fld>
            <a:endParaRPr kumimoji="0" lang="en-US" sz="1200" b="0"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2" name="Rectangle 61"/>
          <p:cNvSpPr/>
          <p:nvPr>
            <p:custDataLst>
              <p:tags r:id="rId16"/>
            </p:custDataLst>
          </p:nvPr>
        </p:nvSpPr>
        <p:spPr bwMode="auto">
          <a:xfrm>
            <a:off x="3679825" y="5540375"/>
            <a:ext cx="349250" cy="182563"/>
          </a:xfrm>
          <a:prstGeom prst="rect">
            <a:avLst/>
          </a:prstGeom>
          <a:noFill/>
          <a:ln>
            <a:noFill/>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defRPr/>
            </a:pPr>
            <a:fld id="{F1874217-BF74-472D-94FE-63C6E8666CC5}" type="datetime'''''''''''''''''2''''''''''''''''''''''''''0''2''''''1'''''''">
              <a:rPr lang="en-US" altLang="en-US" sz="1200" smtClean="0">
                <a:solidFill>
                  <a:srgbClr val="4C4D4E"/>
                </a:solidFill>
                <a:cs typeface="Arial" panose="020B0604020202020204" pitchFamily="34" charset="0"/>
              </a:rPr>
              <a:pPr marL="0" lvl="3" algn="ctr">
                <a:spcBef>
                  <a:spcPct val="0"/>
                </a:spcBef>
                <a:spcAft>
                  <a:spcPct val="0"/>
                </a:spcAft>
                <a:defRPr/>
              </a:pPr>
              <a:t>2021</a:t>
            </a:fld>
            <a:endParaRPr kumimoji="0" lang="en-US" sz="1200" b="0" i="0" strike="noStrike" kern="1200" spc="0" normalizeH="0" noProof="0" err="1">
              <a:ln>
                <a:noFill/>
              </a:ln>
              <a:solidFill>
                <a:srgbClr val="4C4D4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0" name="Oval 69"/>
          <p:cNvSpPr/>
          <p:nvPr/>
        </p:nvSpPr>
        <p:spPr bwMode="auto">
          <a:xfrm>
            <a:off x="4567138" y="1917700"/>
            <a:ext cx="1123950" cy="962025"/>
          </a:xfrm>
          <a:prstGeom prst="ellipse">
            <a:avLst/>
          </a:prstGeom>
          <a:solidFill>
            <a:schemeClr val="accent5"/>
          </a:solidFill>
          <a:ln>
            <a:solidFill>
              <a:schemeClr val="tx1"/>
            </a:solidFill>
          </a:ln>
          <a:effectLst/>
          <a:scene3d>
            <a:camera prst="orthographicFront">
              <a:rot lat="0" lon="0" rev="0"/>
            </a:camera>
            <a:lightRig rig="balanced" dir="t">
              <a:rot lat="0" lon="0" rev="8700000"/>
            </a:lightRig>
          </a:scene3d>
          <a:sp3d/>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4C4D4E"/>
                </a:solidFill>
                <a:effectLst/>
                <a:uLnTx/>
                <a:uFillTx/>
                <a:latin typeface="Arial" panose="020B0604020202020204" pitchFamily="34" charset="0"/>
                <a:ea typeface="ＭＳ Ｐゴシック" charset="0"/>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4C4D4E"/>
                </a:solidFill>
                <a:effectLst/>
                <a:uLnTx/>
                <a:uFillTx/>
                <a:latin typeface="Arial" panose="020B0604020202020204" pitchFamily="34" charset="0"/>
                <a:ea typeface="ＭＳ Ｐゴシック" charset="0"/>
                <a:cs typeface="Arial" panose="020B0604020202020204" pitchFamily="34" charset="0"/>
              </a:rPr>
              <a:t>5-YR organic CAGR</a:t>
            </a:r>
          </a:p>
        </p:txBody>
      </p:sp>
      <p:sp>
        <p:nvSpPr>
          <p:cNvPr id="71" name="Oval 70"/>
          <p:cNvSpPr/>
          <p:nvPr/>
        </p:nvSpPr>
        <p:spPr bwMode="auto">
          <a:xfrm>
            <a:off x="4634706" y="3914776"/>
            <a:ext cx="925513" cy="536575"/>
          </a:xfrm>
          <a:prstGeom prst="ellipse">
            <a:avLst/>
          </a:prstGeom>
          <a:solidFill>
            <a:schemeClr val="accent5"/>
          </a:solidFill>
          <a:ln>
            <a:solidFill>
              <a:schemeClr val="tx1"/>
            </a:solidFill>
          </a:ln>
          <a:effectLst/>
          <a:scene3d>
            <a:camera prst="orthographicFront">
              <a:rot lat="0" lon="0" rev="0"/>
            </a:camera>
            <a:lightRig rig="balanced" dir="t">
              <a:rot lat="0" lon="0" rev="8700000"/>
            </a:lightRig>
          </a:scene3d>
          <a:sp3d/>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4C4D4E"/>
                </a:solidFill>
                <a:effectLst/>
                <a:uLnTx/>
                <a:uFillTx/>
                <a:latin typeface="Arial" panose="020B0604020202020204" pitchFamily="34" charset="0"/>
                <a:ea typeface="ＭＳ Ｐゴシック" charset="0"/>
                <a:cs typeface="Arial" panose="020B0604020202020204" pitchFamily="34" charset="0"/>
              </a:rPr>
              <a:t>~10%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4C4D4E"/>
                </a:solidFill>
                <a:effectLst/>
                <a:uLnTx/>
                <a:uFillTx/>
                <a:latin typeface="Arial" panose="020B0604020202020204" pitchFamily="34" charset="0"/>
                <a:ea typeface="ＭＳ Ｐゴシック" charset="0"/>
                <a:cs typeface="Arial" panose="020B0604020202020204" pitchFamily="34" charset="0"/>
              </a:rPr>
              <a:t>5-YR CAGR</a:t>
            </a:r>
          </a:p>
        </p:txBody>
      </p:sp>
      <p:sp>
        <p:nvSpPr>
          <p:cNvPr id="20" name="Rectangle 19"/>
          <p:cNvSpPr/>
          <p:nvPr/>
        </p:nvSpPr>
        <p:spPr>
          <a:xfrm>
            <a:off x="1028700" y="5048491"/>
            <a:ext cx="584200"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50">
                <a:solidFill>
                  <a:schemeClr val="tx1"/>
                </a:solidFill>
              </a:rPr>
              <a:t>Xx%</a:t>
            </a:r>
          </a:p>
        </p:txBody>
      </p:sp>
      <p:sp>
        <p:nvSpPr>
          <p:cNvPr id="127" name="Rectangle 126"/>
          <p:cNvSpPr/>
          <p:nvPr/>
        </p:nvSpPr>
        <p:spPr>
          <a:xfrm>
            <a:off x="2295252" y="5095875"/>
            <a:ext cx="584200"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50">
                <a:solidFill>
                  <a:schemeClr val="tx1"/>
                </a:solidFill>
              </a:rPr>
              <a:t>Xx%</a:t>
            </a:r>
          </a:p>
        </p:txBody>
      </p:sp>
      <p:sp>
        <p:nvSpPr>
          <p:cNvPr id="130" name="Rectangle 129"/>
          <p:cNvSpPr/>
          <p:nvPr/>
        </p:nvSpPr>
        <p:spPr>
          <a:xfrm>
            <a:off x="3561804" y="5063881"/>
            <a:ext cx="584200"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50">
                <a:solidFill>
                  <a:schemeClr val="tx1"/>
                </a:solidFill>
              </a:rPr>
              <a:t>Xx%</a:t>
            </a:r>
          </a:p>
        </p:txBody>
      </p:sp>
      <p:sp>
        <p:nvSpPr>
          <p:cNvPr id="137" name="Rectangle 136"/>
          <p:cNvSpPr/>
          <p:nvPr/>
        </p:nvSpPr>
        <p:spPr>
          <a:xfrm>
            <a:off x="4828355" y="5095875"/>
            <a:ext cx="584200"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50">
                <a:solidFill>
                  <a:schemeClr val="tx1"/>
                </a:solidFill>
              </a:rPr>
              <a:t>Xx%</a:t>
            </a:r>
          </a:p>
        </p:txBody>
      </p:sp>
      <p:sp>
        <p:nvSpPr>
          <p:cNvPr id="138" name="Rectangle 137"/>
          <p:cNvSpPr/>
          <p:nvPr/>
        </p:nvSpPr>
        <p:spPr>
          <a:xfrm>
            <a:off x="6404659" y="4336256"/>
            <a:ext cx="5486400" cy="129540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en-US" sz="1400">
                <a:solidFill>
                  <a:schemeClr val="tx1"/>
                </a:solidFill>
              </a:rPr>
              <a:t>Lorem ipsum dolor sit </a:t>
            </a:r>
            <a:r>
              <a:rPr lang="en-US" sz="1400" err="1">
                <a:solidFill>
                  <a:schemeClr val="tx1"/>
                </a:solidFill>
              </a:rPr>
              <a:t>amet</a:t>
            </a:r>
            <a:endParaRPr lang="en-US" sz="1400">
              <a:solidFill>
                <a:schemeClr val="tx1"/>
              </a:solidFill>
            </a:endParaRPr>
          </a:p>
          <a:p>
            <a:pPr lvl="1" indent="-174625">
              <a:buFont typeface="Arial" panose="020B0604020202020204" pitchFamily="34" charset="0"/>
              <a:buChar char="-"/>
            </a:pPr>
            <a:r>
              <a:rPr lang="en-US" sz="1400" err="1">
                <a:solidFill>
                  <a:schemeClr val="tx1"/>
                </a:solidFill>
              </a:rPr>
              <a:t>Duis</a:t>
            </a:r>
            <a:r>
              <a:rPr lang="en-US" sz="1400">
                <a:solidFill>
                  <a:schemeClr val="tx1"/>
                </a:solidFill>
              </a:rPr>
              <a:t> </a:t>
            </a:r>
            <a:r>
              <a:rPr lang="en-US" sz="1400" err="1">
                <a:solidFill>
                  <a:schemeClr val="tx1"/>
                </a:solidFill>
              </a:rPr>
              <a:t>aute</a:t>
            </a:r>
            <a:r>
              <a:rPr lang="en-US" sz="1400">
                <a:solidFill>
                  <a:schemeClr val="tx1"/>
                </a:solidFill>
              </a:rPr>
              <a:t> </a:t>
            </a:r>
            <a:r>
              <a:rPr lang="en-US" sz="1400" err="1">
                <a:solidFill>
                  <a:schemeClr val="tx1"/>
                </a:solidFill>
              </a:rPr>
              <a:t>irure</a:t>
            </a:r>
            <a:r>
              <a:rPr lang="en-US" sz="1400">
                <a:solidFill>
                  <a:schemeClr val="tx1"/>
                </a:solidFill>
              </a:rPr>
              <a:t> dolor in </a:t>
            </a:r>
            <a:r>
              <a:rPr lang="en-US" sz="1400" err="1">
                <a:solidFill>
                  <a:schemeClr val="tx1"/>
                </a:solidFill>
              </a:rPr>
              <a:t>reprehenderit</a:t>
            </a:r>
            <a:r>
              <a:rPr lang="en-US" sz="1400">
                <a:solidFill>
                  <a:schemeClr val="tx1"/>
                </a:solidFill>
              </a:rPr>
              <a:t> in </a:t>
            </a:r>
            <a:r>
              <a:rPr lang="en-US" sz="1400" err="1">
                <a:solidFill>
                  <a:schemeClr val="tx1"/>
                </a:solidFill>
              </a:rPr>
              <a:t>voluptate</a:t>
            </a:r>
            <a:r>
              <a:rPr lang="en-US" sz="1400">
                <a:solidFill>
                  <a:schemeClr val="tx1"/>
                </a:solidFill>
              </a:rPr>
              <a:t> </a:t>
            </a:r>
            <a:r>
              <a:rPr lang="en-US" sz="1400" err="1">
                <a:solidFill>
                  <a:schemeClr val="tx1"/>
                </a:solidFill>
              </a:rPr>
              <a:t>velit</a:t>
            </a:r>
            <a:r>
              <a:rPr lang="en-US" sz="1400">
                <a:solidFill>
                  <a:schemeClr val="tx1"/>
                </a:solidFill>
              </a:rPr>
              <a:t> </a:t>
            </a:r>
            <a:r>
              <a:rPr lang="en-US" sz="1400" err="1">
                <a:solidFill>
                  <a:schemeClr val="tx1"/>
                </a:solidFill>
              </a:rPr>
              <a:t>esse</a:t>
            </a:r>
            <a:r>
              <a:rPr lang="en-US" sz="1400">
                <a:solidFill>
                  <a:schemeClr val="tx1"/>
                </a:solidFill>
              </a:rPr>
              <a:t> </a:t>
            </a:r>
            <a:r>
              <a:rPr lang="en-US" sz="1400" err="1">
                <a:solidFill>
                  <a:schemeClr val="tx1"/>
                </a:solidFill>
              </a:rPr>
              <a:t>cillum</a:t>
            </a:r>
            <a:r>
              <a:rPr lang="en-US" sz="1400">
                <a:solidFill>
                  <a:schemeClr val="tx1"/>
                </a:solidFill>
              </a:rPr>
              <a:t> </a:t>
            </a:r>
            <a:r>
              <a:rPr lang="en-US" sz="1400" err="1">
                <a:solidFill>
                  <a:schemeClr val="tx1"/>
                </a:solidFill>
              </a:rPr>
              <a:t>dolore</a:t>
            </a:r>
            <a:r>
              <a:rPr lang="en-US" sz="1400">
                <a:solidFill>
                  <a:schemeClr val="tx1"/>
                </a:solidFill>
              </a:rPr>
              <a:t> </a:t>
            </a:r>
            <a:r>
              <a:rPr lang="en-US" sz="1400" err="1">
                <a:solidFill>
                  <a:schemeClr val="tx1"/>
                </a:solidFill>
              </a:rPr>
              <a:t>eu</a:t>
            </a:r>
            <a:r>
              <a:rPr lang="en-US" sz="1400">
                <a:solidFill>
                  <a:schemeClr val="tx1"/>
                </a:solidFill>
              </a:rPr>
              <a:t> </a:t>
            </a:r>
            <a:r>
              <a:rPr lang="en-US" sz="1400" err="1">
                <a:solidFill>
                  <a:schemeClr val="tx1"/>
                </a:solidFill>
              </a:rPr>
              <a:t>fugiat</a:t>
            </a:r>
            <a:r>
              <a:rPr lang="en-US" sz="1400">
                <a:solidFill>
                  <a:schemeClr val="tx1"/>
                </a:solidFill>
              </a:rPr>
              <a:t> </a:t>
            </a:r>
            <a:r>
              <a:rPr lang="en-US" sz="1400" err="1">
                <a:solidFill>
                  <a:schemeClr val="tx1"/>
                </a:solidFill>
              </a:rPr>
              <a:t>nulla</a:t>
            </a:r>
            <a:r>
              <a:rPr lang="en-US" sz="1400">
                <a:solidFill>
                  <a:schemeClr val="tx1"/>
                </a:solidFill>
              </a:rPr>
              <a:t> </a:t>
            </a:r>
            <a:r>
              <a:rPr lang="en-US" sz="1400" err="1">
                <a:solidFill>
                  <a:schemeClr val="tx1"/>
                </a:solidFill>
              </a:rPr>
              <a:t>pariatur</a:t>
            </a:r>
            <a:r>
              <a:rPr lang="en-US" sz="1400">
                <a:solidFill>
                  <a:schemeClr val="tx1"/>
                </a:solidFill>
              </a:rPr>
              <a:t>. </a:t>
            </a:r>
            <a:r>
              <a:rPr lang="en-US" sz="1400" err="1">
                <a:solidFill>
                  <a:schemeClr val="tx1"/>
                </a:solidFill>
              </a:rPr>
              <a:t>Excepteur</a:t>
            </a:r>
            <a:r>
              <a:rPr lang="en-US" sz="1400">
                <a:solidFill>
                  <a:schemeClr val="tx1"/>
                </a:solidFill>
              </a:rPr>
              <a:t> </a:t>
            </a:r>
            <a:r>
              <a:rPr lang="en-US" sz="1400" err="1">
                <a:solidFill>
                  <a:schemeClr val="tx1"/>
                </a:solidFill>
              </a:rPr>
              <a:t>sint</a:t>
            </a:r>
            <a:r>
              <a:rPr lang="en-US" sz="1400">
                <a:solidFill>
                  <a:schemeClr val="tx1"/>
                </a:solidFill>
              </a:rPr>
              <a:t> </a:t>
            </a:r>
            <a:r>
              <a:rPr lang="en-US" sz="1400" err="1">
                <a:solidFill>
                  <a:schemeClr val="tx1"/>
                </a:solidFill>
              </a:rPr>
              <a:t>occaecat</a:t>
            </a:r>
            <a:r>
              <a:rPr lang="en-US" sz="1400">
                <a:solidFill>
                  <a:schemeClr val="tx1"/>
                </a:solidFill>
              </a:rPr>
              <a:t> </a:t>
            </a:r>
            <a:r>
              <a:rPr lang="en-US" sz="1400" err="1">
                <a:solidFill>
                  <a:schemeClr val="tx1"/>
                </a:solidFill>
              </a:rPr>
              <a:t>cupidatat</a:t>
            </a:r>
            <a:r>
              <a:rPr lang="en-US" sz="1400">
                <a:solidFill>
                  <a:schemeClr val="tx1"/>
                </a:solidFill>
              </a:rPr>
              <a:t> </a:t>
            </a:r>
          </a:p>
        </p:txBody>
      </p:sp>
    </p:spTree>
    <p:extLst>
      <p:ext uri="{BB962C8B-B14F-4D97-AF65-F5344CB8AC3E}">
        <p14:creationId xmlns:p14="http://schemas.microsoft.com/office/powerpoint/2010/main" val="12530617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530" imgH="531" progId="TCLayout.ActiveDocument.1">
                  <p:embed/>
                </p:oleObj>
              </mc:Choice>
              <mc:Fallback>
                <p:oleObj name="think-cell Slide" r:id="rId58" imgW="530" imgH="531" progId="TCLayout.ActiveDocument.1">
                  <p:embed/>
                  <p:pic>
                    <p:nvPicPr>
                      <p:cNvPr id="7" name="Object 6" hidden="1"/>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err="1">
              <a:solidFill>
                <a:schemeClr val="accent5"/>
              </a:solidFill>
              <a:cs typeface="Arial" panose="020B0604020202020204" pitchFamily="34" charset="0"/>
              <a:sym typeface="+mn-lt"/>
            </a:endParaRPr>
          </a:p>
        </p:txBody>
      </p:sp>
      <p:sp>
        <p:nvSpPr>
          <p:cNvPr id="75" name="Text Placeholder 74"/>
          <p:cNvSpPr>
            <a:spLocks noGrp="1"/>
          </p:cNvSpPr>
          <p:nvPr>
            <p:ph type="body" sz="quarter" idx="12"/>
          </p:nvPr>
        </p:nvSpPr>
        <p:spPr/>
        <p:txBody>
          <a:bodyPr/>
          <a:lstStyle/>
          <a:p>
            <a:endParaRPr lang="en-US"/>
          </a:p>
        </p:txBody>
      </p:sp>
      <p:sp>
        <p:nvSpPr>
          <p:cNvPr id="74" name="Text Placeholder 73"/>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vert="horz"/>
          <a:lstStyle/>
          <a:p>
            <a:r>
              <a:rPr lang="en-US"/>
              <a:t>Lorem ipsum dolor sit </a:t>
            </a:r>
            <a:r>
              <a:rPr lang="en-US" err="1"/>
              <a:t>amet</a:t>
            </a:r>
            <a:endParaRPr lang="en-US"/>
          </a:p>
        </p:txBody>
      </p:sp>
      <p:sp>
        <p:nvSpPr>
          <p:cNvPr id="12" name="Rectangle 11"/>
          <p:cNvSpPr/>
          <p:nvPr/>
        </p:nvSpPr>
        <p:spPr>
          <a:xfrm>
            <a:off x="457200" y="1038224"/>
            <a:ext cx="3778250" cy="347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b="1">
                <a:solidFill>
                  <a:schemeClr val="tx1"/>
                </a:solidFill>
                <a:latin typeface="Arial" panose="020B0604020202020204" pitchFamily="34" charset="0"/>
                <a:cs typeface="Arial" panose="020B0604020202020204" pitchFamily="34" charset="0"/>
              </a:rPr>
              <a:t>Include Graph Title</a:t>
            </a:r>
          </a:p>
          <a:p>
            <a:r>
              <a:rPr lang="en-US" sz="1400">
                <a:solidFill>
                  <a:schemeClr val="tx1"/>
                </a:solidFill>
                <a:latin typeface="Arial" panose="020B0604020202020204" pitchFamily="34" charset="0"/>
                <a:cs typeface="Arial" panose="020B0604020202020204" pitchFamily="34" charset="0"/>
              </a:rPr>
              <a:t>Y Axis Title</a:t>
            </a:r>
          </a:p>
        </p:txBody>
      </p:sp>
      <p:graphicFrame>
        <p:nvGraphicFramePr>
          <p:cNvPr id="70" name="Chart 69"/>
          <p:cNvGraphicFramePr/>
          <p:nvPr>
            <p:custDataLst>
              <p:tags r:id="rId3"/>
            </p:custDataLst>
          </p:nvPr>
        </p:nvGraphicFramePr>
        <p:xfrm>
          <a:off x="422275" y="1798638"/>
          <a:ext cx="5083175" cy="1851025"/>
        </p:xfrm>
        <a:graphic>
          <a:graphicData uri="http://schemas.openxmlformats.org/drawingml/2006/chart">
            <c:chart xmlns:c="http://schemas.openxmlformats.org/drawingml/2006/chart" xmlns:r="http://schemas.openxmlformats.org/officeDocument/2006/relationships" r:id="rId60"/>
          </a:graphicData>
        </a:graphic>
      </p:graphicFrame>
      <p:cxnSp>
        <p:nvCxnSpPr>
          <p:cNvPr id="98" name="Straight Connector 97"/>
          <p:cNvCxnSpPr/>
          <p:nvPr>
            <p:custDataLst>
              <p:tags r:id="rId4"/>
            </p:custDataLst>
          </p:nvPr>
        </p:nvCxnSpPr>
        <p:spPr bwMode="auto">
          <a:xfrm flipH="1">
            <a:off x="2546350" y="2032000"/>
            <a:ext cx="76200"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custDataLst>
              <p:tags r:id="rId5"/>
            </p:custDataLst>
          </p:nvPr>
        </p:nvCxnSpPr>
        <p:spPr bwMode="auto">
          <a:xfrm flipH="1">
            <a:off x="4294188" y="2032000"/>
            <a:ext cx="76200"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0" name="Rectangle 109"/>
          <p:cNvSpPr/>
          <p:nvPr>
            <p:custDataLst>
              <p:tags r:id="rId6"/>
            </p:custDataLst>
          </p:nvPr>
        </p:nvSpPr>
        <p:spPr bwMode="gray">
          <a:xfrm>
            <a:off x="4003675" y="1874838"/>
            <a:ext cx="217488" cy="152400"/>
          </a:xfrm>
          <a:prstGeom prst="rect">
            <a:avLst/>
          </a:prstGeom>
          <a:solidFill>
            <a:srgbClr val="FFD4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3" algn="ctr">
              <a:spcBef>
                <a:spcPct val="0"/>
              </a:spcBef>
              <a:spcAft>
                <a:spcPct val="0"/>
              </a:spcAft>
            </a:pPr>
            <a:fld id="{914F8709-D43D-49FD-BC6F-BEB0B22A8E2D}" type="datetime'5''''''''''%'''''">
              <a:rPr lang="en-US" altLang="en-US" sz="1000" smtClean="0">
                <a:solidFill>
                  <a:schemeClr val="tx1"/>
                </a:solidFill>
                <a:sym typeface="+mn-lt"/>
              </a:rPr>
              <a:pPr marL="0" lvl="3" algn="ctr">
                <a:spcBef>
                  <a:spcPct val="0"/>
                </a:spcBef>
                <a:spcAft>
                  <a:spcPct val="0"/>
                </a:spcAft>
              </a:pPr>
              <a:t>5%</a:t>
            </a:fld>
            <a:endParaRPr lang="en-US" sz="1000" err="1">
              <a:solidFill>
                <a:schemeClr val="tx1"/>
              </a:solidFill>
              <a:sym typeface="+mn-lt"/>
            </a:endParaRPr>
          </a:p>
        </p:txBody>
      </p:sp>
      <p:sp>
        <p:nvSpPr>
          <p:cNvPr id="27" name="Rectangle 26"/>
          <p:cNvSpPr/>
          <p:nvPr>
            <p:custDataLst>
              <p:tags r:id="rId7"/>
            </p:custDataLst>
          </p:nvPr>
        </p:nvSpPr>
        <p:spPr bwMode="auto">
          <a:xfrm>
            <a:off x="1316038"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2C6A20FC-58B4-4A39-B4D9-52E2DE011A69}" type="datetime'''''2''''0''''''''''''1''''6'''''''">
              <a:rPr lang="en-US" altLang="en-US" sz="1200" smtClean="0">
                <a:solidFill>
                  <a:schemeClr val="tx1">
                    <a:lumMod val="50000"/>
                  </a:schemeClr>
                </a:solidFill>
                <a:cs typeface="Arial" panose="020B0604020202020204" pitchFamily="34" charset="0"/>
              </a:rPr>
              <a:pPr marL="0" lvl="3" algn="ctr">
                <a:spcBef>
                  <a:spcPct val="0"/>
                </a:spcBef>
                <a:spcAft>
                  <a:spcPct val="0"/>
                </a:spcAft>
              </a:pPr>
              <a:t>2016</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20" name="Rectangle 19"/>
          <p:cNvSpPr/>
          <p:nvPr>
            <p:custDataLst>
              <p:tags r:id="rId8"/>
            </p:custDataLst>
          </p:nvPr>
        </p:nvSpPr>
        <p:spPr bwMode="auto">
          <a:xfrm>
            <a:off x="4811713"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760884CA-AF9A-4862-927D-3587002E24E7}" type="datetime'''''''''''''''2''''''''''''''''0''''20'">
              <a:rPr lang="en-US" altLang="en-US" sz="1200" smtClean="0">
                <a:solidFill>
                  <a:schemeClr val="tx1">
                    <a:lumMod val="50000"/>
                  </a:schemeClr>
                </a:solidFill>
                <a:cs typeface="Arial" panose="020B0604020202020204" pitchFamily="34" charset="0"/>
              </a:rPr>
              <a:pPr marL="0" lvl="3" algn="ctr">
                <a:spcBef>
                  <a:spcPct val="0"/>
                </a:spcBef>
                <a:spcAft>
                  <a:spcPct val="0"/>
                </a:spcAft>
              </a:pPr>
              <a:t>2020</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22" name="Rectangle 21"/>
          <p:cNvSpPr/>
          <p:nvPr>
            <p:custDataLst>
              <p:tags r:id="rId9"/>
            </p:custDataLst>
          </p:nvPr>
        </p:nvSpPr>
        <p:spPr bwMode="auto">
          <a:xfrm>
            <a:off x="3063875"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239356D8-A6D0-44EF-846E-3633FDF6B4F4}" type="datetime'''''''''''20''''1''''''''''8'''''''''''''''''">
              <a:rPr lang="en-US" altLang="en-US" sz="1200" smtClean="0">
                <a:solidFill>
                  <a:schemeClr val="tx1">
                    <a:lumMod val="50000"/>
                  </a:schemeClr>
                </a:solidFill>
                <a:cs typeface="Arial" panose="020B0604020202020204" pitchFamily="34" charset="0"/>
              </a:rPr>
              <a:pPr marL="0" lvl="3" algn="ctr">
                <a:spcBef>
                  <a:spcPct val="0"/>
                </a:spcBef>
                <a:spcAft>
                  <a:spcPct val="0"/>
                </a:spcAft>
              </a:pPr>
              <a:t>2018</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09" name="Rectangle 108"/>
          <p:cNvSpPr/>
          <p:nvPr>
            <p:custDataLst>
              <p:tags r:id="rId10"/>
            </p:custDataLst>
          </p:nvPr>
        </p:nvSpPr>
        <p:spPr bwMode="gray">
          <a:xfrm>
            <a:off x="2255838" y="1874838"/>
            <a:ext cx="217488" cy="152400"/>
          </a:xfrm>
          <a:prstGeom prst="rect">
            <a:avLst/>
          </a:prstGeom>
          <a:solidFill>
            <a:srgbClr val="FFD4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3" algn="ctr">
              <a:spcBef>
                <a:spcPct val="0"/>
              </a:spcBef>
              <a:spcAft>
                <a:spcPct val="0"/>
              </a:spcAft>
            </a:pPr>
            <a:fld id="{CD19E100-34CF-4CA8-9A65-FB9316199C43}" type="datetime'5''''''''''''''''''''''''''''''''''%'''''''''''''''''''''">
              <a:rPr lang="en-US" altLang="en-US" sz="1000" smtClean="0">
                <a:solidFill>
                  <a:schemeClr val="tx1"/>
                </a:solidFill>
                <a:sym typeface="+mn-lt"/>
              </a:rPr>
              <a:pPr marL="0" lvl="3" algn="ctr">
                <a:spcBef>
                  <a:spcPct val="0"/>
                </a:spcBef>
                <a:spcAft>
                  <a:spcPct val="0"/>
                </a:spcAft>
              </a:pPr>
              <a:t>5%</a:t>
            </a:fld>
            <a:endParaRPr lang="en-US" sz="1000" err="1">
              <a:solidFill>
                <a:schemeClr val="tx1"/>
              </a:solidFill>
              <a:sym typeface="+mn-lt"/>
            </a:endParaRPr>
          </a:p>
        </p:txBody>
      </p:sp>
      <p:sp>
        <p:nvSpPr>
          <p:cNvPr id="21" name="Rectangle 20"/>
          <p:cNvSpPr/>
          <p:nvPr>
            <p:custDataLst>
              <p:tags r:id="rId11"/>
            </p:custDataLst>
          </p:nvPr>
        </p:nvSpPr>
        <p:spPr bwMode="auto">
          <a:xfrm>
            <a:off x="3937000"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92057AB2-E371-48A4-B634-638BA822F12B}" type="datetime'''''''''''''''''''''''''''''''''''''''''''2''0''''19'''''">
              <a:rPr lang="en-US" altLang="en-US" sz="1200" smtClean="0">
                <a:solidFill>
                  <a:schemeClr val="tx1">
                    <a:lumMod val="50000"/>
                  </a:schemeClr>
                </a:solidFill>
                <a:cs typeface="Arial" panose="020B0604020202020204" pitchFamily="34" charset="0"/>
              </a:rPr>
              <a:pPr marL="0" lvl="3" algn="ctr">
                <a:spcBef>
                  <a:spcPct val="0"/>
                </a:spcBef>
                <a:spcAft>
                  <a:spcPct val="0"/>
                </a:spcAft>
              </a:pPr>
              <a:t>2019</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26" name="Rectangle 25"/>
          <p:cNvSpPr/>
          <p:nvPr>
            <p:custDataLst>
              <p:tags r:id="rId12"/>
            </p:custDataLst>
          </p:nvPr>
        </p:nvSpPr>
        <p:spPr bwMode="auto">
          <a:xfrm>
            <a:off x="2189163"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DA4078BF-EC92-4A9C-B2D1-F318D0F25AC3}" type="datetime'2''''''''''''''''''''''''''''0''''1''''''''''''''''''7'''''">
              <a:rPr lang="en-US" altLang="en-US" sz="1200" smtClean="0">
                <a:solidFill>
                  <a:schemeClr val="tx1">
                    <a:lumMod val="50000"/>
                  </a:schemeClr>
                </a:solidFill>
                <a:cs typeface="Arial" panose="020B0604020202020204" pitchFamily="34" charset="0"/>
              </a:rPr>
              <a:pPr marL="0" lvl="3" algn="ctr">
                <a:spcBef>
                  <a:spcPct val="0"/>
                </a:spcBef>
                <a:spcAft>
                  <a:spcPct val="0"/>
                </a:spcAft>
              </a:pPr>
              <a:t>2017</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28" name="Rectangle 27"/>
          <p:cNvSpPr/>
          <p:nvPr>
            <p:custDataLst>
              <p:tags r:id="rId13"/>
            </p:custDataLst>
          </p:nvPr>
        </p:nvSpPr>
        <p:spPr bwMode="gray">
          <a:xfrm>
            <a:off x="1403350" y="1738313"/>
            <a:ext cx="17462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8E4DF27D-BC0F-4C58-84DE-9A6CAA60F56B}" type="datetime'''''''''''''''''''2''''''''''''''''''''3'''''''''''">
              <a:rPr lang="en-US" altLang="en-US" sz="1000" smtClean="0">
                <a:solidFill>
                  <a:schemeClr val="tx1"/>
                </a:solidFill>
                <a:sym typeface="+mn-lt"/>
              </a:rPr>
              <a:pPr marL="0" lvl="3" algn="ctr">
                <a:lnSpc>
                  <a:spcPct val="90000"/>
                </a:lnSpc>
                <a:spcBef>
                  <a:spcPct val="0"/>
                </a:spcBef>
                <a:spcAft>
                  <a:spcPct val="0"/>
                </a:spcAft>
              </a:pPr>
              <a:t>23</a:t>
            </a:fld>
            <a:endParaRPr lang="en-US" sz="1000" err="1">
              <a:solidFill>
                <a:schemeClr val="tx1"/>
              </a:solidFill>
              <a:sym typeface="+mn-lt"/>
            </a:endParaRPr>
          </a:p>
        </p:txBody>
      </p:sp>
      <p:sp>
        <p:nvSpPr>
          <p:cNvPr id="25" name="Rectangle 24"/>
          <p:cNvSpPr/>
          <p:nvPr>
            <p:custDataLst>
              <p:tags r:id="rId14"/>
            </p:custDataLst>
          </p:nvPr>
        </p:nvSpPr>
        <p:spPr bwMode="gray">
          <a:xfrm>
            <a:off x="2276475" y="1738313"/>
            <a:ext cx="17462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DE64D339-549A-405D-95E4-42C4D6754746}" type="datetime'''''''''''''4''''''''''''''5'''''''''''''''">
              <a:rPr lang="en-US" altLang="en-US" sz="1000" smtClean="0">
                <a:solidFill>
                  <a:schemeClr val="tx1"/>
                </a:solidFill>
                <a:sym typeface="+mn-lt"/>
              </a:rPr>
              <a:pPr marL="0" lvl="3" algn="ctr">
                <a:lnSpc>
                  <a:spcPct val="90000"/>
                </a:lnSpc>
                <a:spcBef>
                  <a:spcPct val="0"/>
                </a:spcBef>
                <a:spcAft>
                  <a:spcPct val="0"/>
                </a:spcAft>
              </a:pPr>
              <a:t>45</a:t>
            </a:fld>
            <a:endParaRPr lang="en-US" sz="1000" err="1">
              <a:solidFill>
                <a:schemeClr val="tx1"/>
              </a:solidFill>
              <a:sym typeface="+mn-lt"/>
            </a:endParaRPr>
          </a:p>
        </p:txBody>
      </p:sp>
      <p:sp>
        <p:nvSpPr>
          <p:cNvPr id="23" name="Rectangle 22"/>
          <p:cNvSpPr/>
          <p:nvPr>
            <p:custDataLst>
              <p:tags r:id="rId15"/>
            </p:custDataLst>
          </p:nvPr>
        </p:nvSpPr>
        <p:spPr bwMode="gray">
          <a:xfrm>
            <a:off x="3151188" y="1738313"/>
            <a:ext cx="17462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96F04FBD-82B8-4DCF-AC04-7173D592B832}" type="datetime'''''''''''''30'''">
              <a:rPr lang="en-US" altLang="en-US" sz="1000" smtClean="0">
                <a:solidFill>
                  <a:schemeClr val="tx1"/>
                </a:solidFill>
                <a:sym typeface="+mn-lt"/>
              </a:rPr>
              <a:pPr marL="0" lvl="3" algn="ctr">
                <a:lnSpc>
                  <a:spcPct val="90000"/>
                </a:lnSpc>
                <a:spcBef>
                  <a:spcPct val="0"/>
                </a:spcBef>
                <a:spcAft>
                  <a:spcPct val="0"/>
                </a:spcAft>
              </a:pPr>
              <a:t>30</a:t>
            </a:fld>
            <a:endParaRPr lang="en-US" sz="1000" err="1">
              <a:solidFill>
                <a:schemeClr val="tx1"/>
              </a:solidFill>
              <a:sym typeface="+mn-lt"/>
            </a:endParaRPr>
          </a:p>
        </p:txBody>
      </p:sp>
      <p:sp>
        <p:nvSpPr>
          <p:cNvPr id="19" name="Rectangle 18"/>
          <p:cNvSpPr/>
          <p:nvPr>
            <p:custDataLst>
              <p:tags r:id="rId16"/>
            </p:custDataLst>
          </p:nvPr>
        </p:nvSpPr>
        <p:spPr bwMode="gray">
          <a:xfrm>
            <a:off x="3989388" y="1738313"/>
            <a:ext cx="24447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244EF201-824E-4EAD-9952-6DE93ABEF7F3}" type="datetime'''''1''''''''''0''''''''''''''''''''''''''''0'''''''''''">
              <a:rPr lang="en-US" altLang="en-US" sz="1000" smtClean="0">
                <a:solidFill>
                  <a:schemeClr val="tx1"/>
                </a:solidFill>
                <a:sym typeface="+mn-lt"/>
              </a:rPr>
              <a:pPr marL="0" lvl="3" algn="ctr">
                <a:lnSpc>
                  <a:spcPct val="90000"/>
                </a:lnSpc>
                <a:spcBef>
                  <a:spcPct val="0"/>
                </a:spcBef>
                <a:spcAft>
                  <a:spcPct val="0"/>
                </a:spcAft>
              </a:pPr>
              <a:t>100</a:t>
            </a:fld>
            <a:endParaRPr lang="en-US" sz="1000" err="1">
              <a:solidFill>
                <a:schemeClr val="tx1"/>
              </a:solidFill>
              <a:sym typeface="+mn-lt"/>
            </a:endParaRPr>
          </a:p>
        </p:txBody>
      </p:sp>
      <p:sp>
        <p:nvSpPr>
          <p:cNvPr id="24" name="Rectangle 23"/>
          <p:cNvSpPr/>
          <p:nvPr>
            <p:custDataLst>
              <p:tags r:id="rId17"/>
            </p:custDataLst>
          </p:nvPr>
        </p:nvSpPr>
        <p:spPr bwMode="gray">
          <a:xfrm>
            <a:off x="4864100" y="1738313"/>
            <a:ext cx="24447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C10A5DC1-F3A0-4F23-9DBA-A8BE8208F808}" type="datetime'''''''''''''''''''''''''''1''''''0''''''0'''''''">
              <a:rPr lang="en-US" altLang="en-US" sz="1000" smtClean="0">
                <a:solidFill>
                  <a:schemeClr val="tx1"/>
                </a:solidFill>
                <a:sym typeface="+mn-lt"/>
              </a:rPr>
              <a:pPr marL="0" lvl="3" algn="ctr">
                <a:lnSpc>
                  <a:spcPct val="90000"/>
                </a:lnSpc>
                <a:spcBef>
                  <a:spcPct val="0"/>
                </a:spcBef>
                <a:spcAft>
                  <a:spcPct val="0"/>
                </a:spcAft>
              </a:pPr>
              <a:t>100</a:t>
            </a:fld>
            <a:endParaRPr lang="en-US" sz="1000" err="1">
              <a:solidFill>
                <a:schemeClr val="tx1"/>
              </a:solidFill>
              <a:sym typeface="+mn-lt"/>
            </a:endParaRPr>
          </a:p>
        </p:txBody>
      </p:sp>
      <p:sp>
        <p:nvSpPr>
          <p:cNvPr id="34" name="Rectangle 33"/>
          <p:cNvSpPr/>
          <p:nvPr>
            <p:custDataLst>
              <p:tags r:id="rId18"/>
            </p:custDataLst>
          </p:nvPr>
        </p:nvSpPr>
        <p:spPr bwMode="auto">
          <a:xfrm>
            <a:off x="914400" y="3986213"/>
            <a:ext cx="214313" cy="160338"/>
          </a:xfrm>
          <a:prstGeom prst="rect">
            <a:avLst/>
          </a:prstGeom>
          <a:solidFill>
            <a:srgbClr val="FFD45C"/>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31" name="Rectangle 30"/>
          <p:cNvSpPr/>
          <p:nvPr>
            <p:custDataLst>
              <p:tags r:id="rId19"/>
            </p:custDataLst>
          </p:nvPr>
        </p:nvSpPr>
        <p:spPr bwMode="auto">
          <a:xfrm>
            <a:off x="1711325" y="3986213"/>
            <a:ext cx="214313" cy="160338"/>
          </a:xfrm>
          <a:prstGeom prst="rect">
            <a:avLst/>
          </a:prstGeom>
          <a:solidFill>
            <a:srgbClr val="A32626"/>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29" name="Rectangle 28"/>
          <p:cNvSpPr/>
          <p:nvPr>
            <p:custDataLst>
              <p:tags r:id="rId20"/>
            </p:custDataLst>
          </p:nvPr>
        </p:nvSpPr>
        <p:spPr bwMode="auto">
          <a:xfrm>
            <a:off x="3305175" y="3986213"/>
            <a:ext cx="214313" cy="160338"/>
          </a:xfrm>
          <a:prstGeom prst="rect">
            <a:avLst/>
          </a:prstGeom>
          <a:solidFill>
            <a:srgbClr val="C0C0C0"/>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30" name="Rectangle 29"/>
          <p:cNvSpPr/>
          <p:nvPr>
            <p:custDataLst>
              <p:tags r:id="rId21"/>
            </p:custDataLst>
          </p:nvPr>
        </p:nvSpPr>
        <p:spPr bwMode="auto">
          <a:xfrm>
            <a:off x="2508250" y="3986213"/>
            <a:ext cx="214313" cy="160338"/>
          </a:xfrm>
          <a:prstGeom prst="rect">
            <a:avLst/>
          </a:prstGeom>
          <a:solidFill>
            <a:srgbClr val="6D1919"/>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33" name="Rectangle 32"/>
          <p:cNvSpPr/>
          <p:nvPr>
            <p:custDataLst>
              <p:tags r:id="rId22"/>
            </p:custDataLst>
          </p:nvPr>
        </p:nvSpPr>
        <p:spPr bwMode="auto">
          <a:xfrm>
            <a:off x="4102100" y="3986213"/>
            <a:ext cx="214313" cy="160338"/>
          </a:xfrm>
          <a:prstGeom prst="rect">
            <a:avLst/>
          </a:prstGeom>
          <a:solidFill>
            <a:srgbClr val="969696"/>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32" name="Rectangle 31"/>
          <p:cNvSpPr/>
          <p:nvPr>
            <p:custDataLst>
              <p:tags r:id="rId23"/>
            </p:custDataLst>
          </p:nvPr>
        </p:nvSpPr>
        <p:spPr bwMode="auto">
          <a:xfrm>
            <a:off x="4899025" y="3986213"/>
            <a:ext cx="214313" cy="160338"/>
          </a:xfrm>
          <a:prstGeom prst="rect">
            <a:avLst/>
          </a:prstGeom>
          <a:solidFill>
            <a:srgbClr val="808080"/>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39" name="Rectangle 38"/>
          <p:cNvSpPr/>
          <p:nvPr>
            <p:custDataLst>
              <p:tags r:id="rId24"/>
            </p:custDataLst>
          </p:nvPr>
        </p:nvSpPr>
        <p:spPr bwMode="auto">
          <a:xfrm>
            <a:off x="2773363"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2FED89B8-46ED-4BB5-BE84-D3CA7A9F0F53}" type="datetime'''''''Se''''''r''''i''e''''''s'''''''''''''''''''">
              <a:rPr lang="en-US" altLang="en-US" sz="1200" smtClean="0">
                <a:solidFill>
                  <a:schemeClr val="tx1">
                    <a:lumMod val="50000"/>
                  </a:schemeClr>
                </a:solidFill>
                <a:sym typeface="+mn-lt"/>
              </a:rPr>
              <a:pPr marL="0" lvl="3">
                <a:spcBef>
                  <a:spcPct val="0"/>
                </a:spcBef>
                <a:spcAft>
                  <a:spcPct val="0"/>
                </a:spcAft>
              </a:pPr>
              <a:t>Series</a:t>
            </a:fld>
            <a:endParaRPr lang="en-US" sz="1200" err="1">
              <a:solidFill>
                <a:schemeClr val="tx1">
                  <a:lumMod val="50000"/>
                </a:schemeClr>
              </a:solidFill>
              <a:sym typeface="+mn-lt"/>
            </a:endParaRPr>
          </a:p>
        </p:txBody>
      </p:sp>
      <p:sp>
        <p:nvSpPr>
          <p:cNvPr id="35" name="Rectangle 34"/>
          <p:cNvSpPr/>
          <p:nvPr>
            <p:custDataLst>
              <p:tags r:id="rId25"/>
            </p:custDataLst>
          </p:nvPr>
        </p:nvSpPr>
        <p:spPr bwMode="auto">
          <a:xfrm>
            <a:off x="1179513"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EC16B901-72EF-49B7-A6E2-7D3305A16008}" type="datetime'''''''''''S''''''''''e''''ri''''''''''''e''''''''''''s'''''''">
              <a:rPr lang="en-US" altLang="en-US" sz="1200" smtClean="0">
                <a:solidFill>
                  <a:schemeClr val="tx1">
                    <a:lumMod val="50000"/>
                  </a:schemeClr>
                </a:solidFill>
                <a:sym typeface="+mn-lt"/>
              </a:rPr>
              <a:pPr marL="0" lvl="3">
                <a:spcBef>
                  <a:spcPct val="0"/>
                </a:spcBef>
                <a:spcAft>
                  <a:spcPct val="0"/>
                </a:spcAft>
              </a:pPr>
              <a:t>Series</a:t>
            </a:fld>
            <a:endParaRPr lang="en-US" sz="1200" err="1">
              <a:solidFill>
                <a:schemeClr val="tx1">
                  <a:lumMod val="50000"/>
                </a:schemeClr>
              </a:solidFill>
              <a:sym typeface="+mn-lt"/>
            </a:endParaRPr>
          </a:p>
        </p:txBody>
      </p:sp>
      <p:sp>
        <p:nvSpPr>
          <p:cNvPr id="37" name="Rectangle 36"/>
          <p:cNvSpPr/>
          <p:nvPr>
            <p:custDataLst>
              <p:tags r:id="rId26"/>
            </p:custDataLst>
          </p:nvPr>
        </p:nvSpPr>
        <p:spPr bwMode="auto">
          <a:xfrm>
            <a:off x="4367213"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583F76E9-7730-4707-BEB5-939BD6CA707B}" type="datetime'''''''''''S''''''''e''''''''''''''r''i''''''''''''''''e''''s'">
              <a:rPr lang="en-US" altLang="en-US" sz="1200" smtClean="0">
                <a:solidFill>
                  <a:schemeClr val="tx1">
                    <a:lumMod val="50000"/>
                  </a:schemeClr>
                </a:solidFill>
                <a:sym typeface="+mn-lt"/>
              </a:rPr>
              <a:pPr marL="0" lvl="3">
                <a:spcBef>
                  <a:spcPct val="0"/>
                </a:spcBef>
                <a:spcAft>
                  <a:spcPct val="0"/>
                </a:spcAft>
              </a:pPr>
              <a:t>Series</a:t>
            </a:fld>
            <a:endParaRPr lang="en-US" sz="1200" err="1">
              <a:solidFill>
                <a:schemeClr val="tx1">
                  <a:lumMod val="50000"/>
                </a:schemeClr>
              </a:solidFill>
              <a:sym typeface="+mn-lt"/>
            </a:endParaRPr>
          </a:p>
        </p:txBody>
      </p:sp>
      <p:sp>
        <p:nvSpPr>
          <p:cNvPr id="40" name="Rectangle 39"/>
          <p:cNvSpPr/>
          <p:nvPr>
            <p:custDataLst>
              <p:tags r:id="rId27"/>
            </p:custDataLst>
          </p:nvPr>
        </p:nvSpPr>
        <p:spPr bwMode="auto">
          <a:xfrm>
            <a:off x="1976438"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72C33D36-6BE0-4650-8AD0-B8F23A7A114F}" type="datetime'''''''''''''''''''''''''''''Se''''''ri''''''e''''s'''''">
              <a:rPr lang="en-US" altLang="en-US" sz="1200" smtClean="0">
                <a:solidFill>
                  <a:schemeClr val="tx1">
                    <a:lumMod val="50000"/>
                  </a:schemeClr>
                </a:solidFill>
                <a:sym typeface="+mn-lt"/>
              </a:rPr>
              <a:pPr marL="0" lvl="3">
                <a:spcBef>
                  <a:spcPct val="0"/>
                </a:spcBef>
                <a:spcAft>
                  <a:spcPct val="0"/>
                </a:spcAft>
              </a:pPr>
              <a:t>Series</a:t>
            </a:fld>
            <a:endParaRPr lang="en-US" sz="1200" err="1">
              <a:solidFill>
                <a:schemeClr val="tx1">
                  <a:lumMod val="50000"/>
                </a:schemeClr>
              </a:solidFill>
              <a:sym typeface="+mn-lt"/>
            </a:endParaRPr>
          </a:p>
        </p:txBody>
      </p:sp>
      <p:sp>
        <p:nvSpPr>
          <p:cNvPr id="38" name="Rectangle 37"/>
          <p:cNvSpPr/>
          <p:nvPr>
            <p:custDataLst>
              <p:tags r:id="rId28"/>
            </p:custDataLst>
          </p:nvPr>
        </p:nvSpPr>
        <p:spPr bwMode="auto">
          <a:xfrm>
            <a:off x="3570288"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1E605835-6AD4-4502-839E-55DEE3C516AA}" type="datetime'''''''S''''''''er''''''''''''''i''''''''''''''''e''''''s'">
              <a:rPr lang="en-US" altLang="en-US" sz="1200" smtClean="0">
                <a:solidFill>
                  <a:schemeClr val="tx1">
                    <a:lumMod val="50000"/>
                  </a:schemeClr>
                </a:solidFill>
                <a:sym typeface="+mn-lt"/>
              </a:rPr>
              <a:pPr marL="0" lvl="3">
                <a:spcBef>
                  <a:spcPct val="0"/>
                </a:spcBef>
                <a:spcAft>
                  <a:spcPct val="0"/>
                </a:spcAft>
              </a:pPr>
              <a:t>Series</a:t>
            </a:fld>
            <a:endParaRPr lang="en-US" sz="1200" err="1">
              <a:solidFill>
                <a:schemeClr val="tx1">
                  <a:lumMod val="50000"/>
                </a:schemeClr>
              </a:solidFill>
              <a:sym typeface="+mn-lt"/>
            </a:endParaRPr>
          </a:p>
        </p:txBody>
      </p:sp>
      <p:sp>
        <p:nvSpPr>
          <p:cNvPr id="36" name="Rectangle 35"/>
          <p:cNvSpPr/>
          <p:nvPr>
            <p:custDataLst>
              <p:tags r:id="rId29"/>
            </p:custDataLst>
          </p:nvPr>
        </p:nvSpPr>
        <p:spPr bwMode="auto">
          <a:xfrm>
            <a:off x="5164138"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1F9EDD20-B5B3-4EAF-970F-89C039C48194}" type="datetime'''''S''''''''''''e''''''''r''''''''''''''''''i''e''''s'''">
              <a:rPr lang="en-US" altLang="en-US" sz="1200" smtClean="0">
                <a:solidFill>
                  <a:schemeClr val="tx1">
                    <a:lumMod val="50000"/>
                  </a:schemeClr>
                </a:solidFill>
                <a:sym typeface="+mn-lt"/>
              </a:rPr>
              <a:pPr marL="0" lvl="3">
                <a:spcBef>
                  <a:spcPct val="0"/>
                </a:spcBef>
                <a:spcAft>
                  <a:spcPct val="0"/>
                </a:spcAft>
              </a:pPr>
              <a:t>Series</a:t>
            </a:fld>
            <a:endParaRPr lang="en-US" sz="1200" err="1">
              <a:solidFill>
                <a:schemeClr val="tx1">
                  <a:lumMod val="50000"/>
                </a:schemeClr>
              </a:solidFill>
              <a:sym typeface="+mn-lt"/>
            </a:endParaRPr>
          </a:p>
        </p:txBody>
      </p:sp>
      <p:sp>
        <p:nvSpPr>
          <p:cNvPr id="132" name="Rectangle 131"/>
          <p:cNvSpPr/>
          <p:nvPr/>
        </p:nvSpPr>
        <p:spPr>
          <a:xfrm>
            <a:off x="6553200" y="1038225"/>
            <a:ext cx="3778250" cy="347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b="1">
                <a:solidFill>
                  <a:schemeClr val="tx1"/>
                </a:solidFill>
                <a:latin typeface="Arial" panose="020B0604020202020204" pitchFamily="34" charset="0"/>
                <a:cs typeface="Arial" panose="020B0604020202020204" pitchFamily="34" charset="0"/>
              </a:rPr>
              <a:t>Include Graph Title</a:t>
            </a:r>
          </a:p>
          <a:p>
            <a:r>
              <a:rPr lang="en-US" sz="1400">
                <a:solidFill>
                  <a:schemeClr val="tx1"/>
                </a:solidFill>
                <a:latin typeface="Arial" panose="020B0604020202020204" pitchFamily="34" charset="0"/>
                <a:cs typeface="Arial" panose="020B0604020202020204" pitchFamily="34" charset="0"/>
              </a:rPr>
              <a:t>Y Axis Title</a:t>
            </a:r>
          </a:p>
        </p:txBody>
      </p:sp>
      <p:graphicFrame>
        <p:nvGraphicFramePr>
          <p:cNvPr id="72" name="Chart 71"/>
          <p:cNvGraphicFramePr/>
          <p:nvPr>
            <p:custDataLst>
              <p:tags r:id="rId30"/>
            </p:custDataLst>
          </p:nvPr>
        </p:nvGraphicFramePr>
        <p:xfrm>
          <a:off x="6435725" y="1798638"/>
          <a:ext cx="5083175" cy="1851025"/>
        </p:xfrm>
        <a:graphic>
          <a:graphicData uri="http://schemas.openxmlformats.org/drawingml/2006/chart">
            <c:chart xmlns:c="http://schemas.openxmlformats.org/drawingml/2006/chart" xmlns:r="http://schemas.openxmlformats.org/officeDocument/2006/relationships" r:id="rId61"/>
          </a:graphicData>
        </a:graphic>
      </p:graphicFrame>
      <p:cxnSp>
        <p:nvCxnSpPr>
          <p:cNvPr id="165" name="Straight Connector 164"/>
          <p:cNvCxnSpPr/>
          <p:nvPr>
            <p:custDataLst>
              <p:tags r:id="rId31"/>
            </p:custDataLst>
          </p:nvPr>
        </p:nvCxnSpPr>
        <p:spPr bwMode="auto">
          <a:xfrm flipH="1">
            <a:off x="8559800" y="2032000"/>
            <a:ext cx="76200"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custDataLst>
              <p:tags r:id="rId32"/>
            </p:custDataLst>
          </p:nvPr>
        </p:nvCxnSpPr>
        <p:spPr bwMode="auto">
          <a:xfrm flipH="1">
            <a:off x="10307638" y="2032000"/>
            <a:ext cx="76200"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8" name="Rectangle 167"/>
          <p:cNvSpPr/>
          <p:nvPr>
            <p:custDataLst>
              <p:tags r:id="rId33"/>
            </p:custDataLst>
          </p:nvPr>
        </p:nvSpPr>
        <p:spPr bwMode="auto">
          <a:xfrm>
            <a:off x="7329488"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251ADF47-080D-490E-946A-68E843491412}" type="datetime'''''''2''''''''''''''0''''''''''''''''''''''''''1''6'''''''">
              <a:rPr lang="en-US" altLang="en-US" sz="1200" smtClean="0">
                <a:solidFill>
                  <a:schemeClr val="tx1">
                    <a:lumMod val="50000"/>
                  </a:schemeClr>
                </a:solidFill>
                <a:cs typeface="Arial" panose="020B0604020202020204" pitchFamily="34" charset="0"/>
              </a:rPr>
              <a:pPr marL="0" lvl="3" algn="ctr">
                <a:spcBef>
                  <a:spcPct val="0"/>
                </a:spcBef>
                <a:spcAft>
                  <a:spcPct val="0"/>
                </a:spcAft>
              </a:pPr>
              <a:t>2016</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69" name="Rectangle 168"/>
          <p:cNvSpPr/>
          <p:nvPr>
            <p:custDataLst>
              <p:tags r:id="rId34"/>
            </p:custDataLst>
          </p:nvPr>
        </p:nvSpPr>
        <p:spPr bwMode="auto">
          <a:xfrm>
            <a:off x="9950450"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1D3E41AD-C099-450D-93EC-FEE381C365B8}" type="datetime'2''''0''''''''''''19'''''''''''''''''''''''''''''''''''''">
              <a:rPr lang="en-US" altLang="en-US" sz="1200" smtClean="0">
                <a:solidFill>
                  <a:schemeClr val="tx1">
                    <a:lumMod val="50000"/>
                  </a:schemeClr>
                </a:solidFill>
                <a:cs typeface="Arial" panose="020B0604020202020204" pitchFamily="34" charset="0"/>
              </a:rPr>
              <a:pPr marL="0" lvl="3" algn="ctr">
                <a:spcBef>
                  <a:spcPct val="0"/>
                </a:spcBef>
                <a:spcAft>
                  <a:spcPct val="0"/>
                </a:spcAft>
              </a:pPr>
              <a:t>2019</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73" name="Rectangle 172"/>
          <p:cNvSpPr/>
          <p:nvPr>
            <p:custDataLst>
              <p:tags r:id="rId35"/>
            </p:custDataLst>
          </p:nvPr>
        </p:nvSpPr>
        <p:spPr bwMode="auto">
          <a:xfrm>
            <a:off x="8202613"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B95F325E-CCD4-4CC3-9DAD-4C4F59039F4A}" type="datetime'''''''''''2''''''0''1''''''''''7'''''''''''">
              <a:rPr lang="en-US" altLang="en-US" sz="1200" smtClean="0">
                <a:solidFill>
                  <a:schemeClr val="tx1">
                    <a:lumMod val="50000"/>
                  </a:schemeClr>
                </a:solidFill>
                <a:cs typeface="Arial" panose="020B0604020202020204" pitchFamily="34" charset="0"/>
              </a:rPr>
              <a:pPr marL="0" lvl="3" algn="ctr">
                <a:spcBef>
                  <a:spcPct val="0"/>
                </a:spcBef>
                <a:spcAft>
                  <a:spcPct val="0"/>
                </a:spcAft>
              </a:pPr>
              <a:t>2017</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78" name="Rectangle 177"/>
          <p:cNvSpPr/>
          <p:nvPr>
            <p:custDataLst>
              <p:tags r:id="rId36"/>
            </p:custDataLst>
          </p:nvPr>
        </p:nvSpPr>
        <p:spPr bwMode="gray">
          <a:xfrm>
            <a:off x="8269288" y="1874838"/>
            <a:ext cx="217488" cy="152400"/>
          </a:xfrm>
          <a:prstGeom prst="rect">
            <a:avLst/>
          </a:prstGeom>
          <a:solidFill>
            <a:srgbClr val="FFD4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3" algn="ctr">
              <a:spcBef>
                <a:spcPct val="0"/>
              </a:spcBef>
              <a:spcAft>
                <a:spcPct val="0"/>
              </a:spcAft>
            </a:pPr>
            <a:fld id="{3502C609-B63B-439D-9799-DFC3FB6EFA6F}" type="datetime'''''5''''''''%'''''''''''''''">
              <a:rPr lang="en-US" altLang="en-US" sz="1000" smtClean="0">
                <a:solidFill>
                  <a:schemeClr val="tx1"/>
                </a:solidFill>
              </a:rPr>
              <a:pPr marL="0" lvl="3" algn="ctr">
                <a:spcBef>
                  <a:spcPct val="0"/>
                </a:spcBef>
                <a:spcAft>
                  <a:spcPct val="0"/>
                </a:spcAft>
              </a:pPr>
              <a:t>5%</a:t>
            </a:fld>
            <a:endParaRPr lang="en-US" sz="1000" err="1">
              <a:solidFill>
                <a:schemeClr val="tx1"/>
              </a:solidFill>
              <a:sym typeface="+mn-lt"/>
            </a:endParaRPr>
          </a:p>
        </p:txBody>
      </p:sp>
      <p:sp>
        <p:nvSpPr>
          <p:cNvPr id="170" name="Rectangle 169"/>
          <p:cNvSpPr/>
          <p:nvPr>
            <p:custDataLst>
              <p:tags r:id="rId37"/>
            </p:custDataLst>
          </p:nvPr>
        </p:nvSpPr>
        <p:spPr bwMode="auto">
          <a:xfrm>
            <a:off x="9077325"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B0B37934-404C-49E0-84DE-02BD6B5AAD7B}" type="datetime'''''''''''''2''''0''''''''''''''''''''1''8'''''''''''''''''''">
              <a:rPr lang="en-US" altLang="en-US" sz="1200" smtClean="0">
                <a:solidFill>
                  <a:schemeClr val="tx1">
                    <a:lumMod val="50000"/>
                  </a:schemeClr>
                </a:solidFill>
                <a:cs typeface="Arial" panose="020B0604020202020204" pitchFamily="34" charset="0"/>
              </a:rPr>
              <a:pPr marL="0" lvl="3" algn="ctr">
                <a:spcBef>
                  <a:spcPct val="0"/>
                </a:spcBef>
                <a:spcAft>
                  <a:spcPct val="0"/>
                </a:spcAft>
              </a:pPr>
              <a:t>2018</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67" name="Rectangle 166"/>
          <p:cNvSpPr/>
          <p:nvPr>
            <p:custDataLst>
              <p:tags r:id="rId38"/>
            </p:custDataLst>
          </p:nvPr>
        </p:nvSpPr>
        <p:spPr bwMode="gray">
          <a:xfrm>
            <a:off x="10017125" y="1874838"/>
            <a:ext cx="217488" cy="152400"/>
          </a:xfrm>
          <a:prstGeom prst="rect">
            <a:avLst/>
          </a:prstGeom>
          <a:solidFill>
            <a:srgbClr val="FFD4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3" algn="ctr">
              <a:spcBef>
                <a:spcPct val="0"/>
              </a:spcBef>
              <a:spcAft>
                <a:spcPct val="0"/>
              </a:spcAft>
            </a:pPr>
            <a:fld id="{ED0A60ED-46B5-4068-BBC2-6E5A6A5D256B}" type="datetime'''''''''''''''''''''''''''''''''''''''5%'''''">
              <a:rPr lang="en-US" altLang="en-US" sz="1000" smtClean="0">
                <a:solidFill>
                  <a:schemeClr val="tx1"/>
                </a:solidFill>
              </a:rPr>
              <a:pPr marL="0" lvl="3" algn="ctr">
                <a:spcBef>
                  <a:spcPct val="0"/>
                </a:spcBef>
                <a:spcAft>
                  <a:spcPct val="0"/>
                </a:spcAft>
              </a:pPr>
              <a:t>5%</a:t>
            </a:fld>
            <a:endParaRPr lang="en-US" sz="1000" err="1">
              <a:solidFill>
                <a:schemeClr val="tx1"/>
              </a:solidFill>
              <a:sym typeface="+mn-lt"/>
            </a:endParaRPr>
          </a:p>
        </p:txBody>
      </p:sp>
      <p:sp>
        <p:nvSpPr>
          <p:cNvPr id="176" name="Rectangle 175"/>
          <p:cNvSpPr/>
          <p:nvPr>
            <p:custDataLst>
              <p:tags r:id="rId39"/>
            </p:custDataLst>
          </p:nvPr>
        </p:nvSpPr>
        <p:spPr bwMode="gray">
          <a:xfrm>
            <a:off x="8289925" y="1738313"/>
            <a:ext cx="17462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BC20DB1B-1590-4DAF-9BF7-0F53146B43E5}" type="datetime'''''''''''''''4''''''5'''''''''''''''''''''''''''''''''''''''">
              <a:rPr lang="en-US" altLang="en-US" sz="1000" smtClean="0">
                <a:solidFill>
                  <a:schemeClr val="tx1"/>
                </a:solidFill>
              </a:rPr>
              <a:pPr marL="0" lvl="3" algn="ctr">
                <a:lnSpc>
                  <a:spcPct val="90000"/>
                </a:lnSpc>
                <a:spcBef>
                  <a:spcPct val="0"/>
                </a:spcBef>
                <a:spcAft>
                  <a:spcPct val="0"/>
                </a:spcAft>
              </a:pPr>
              <a:t>45</a:t>
            </a:fld>
            <a:endParaRPr lang="en-US" sz="1000" err="1">
              <a:solidFill>
                <a:schemeClr val="tx1"/>
              </a:solidFill>
              <a:sym typeface="+mn-lt"/>
            </a:endParaRPr>
          </a:p>
        </p:txBody>
      </p:sp>
      <p:sp>
        <p:nvSpPr>
          <p:cNvPr id="174" name="Rectangle 173"/>
          <p:cNvSpPr/>
          <p:nvPr>
            <p:custDataLst>
              <p:tags r:id="rId40"/>
            </p:custDataLst>
          </p:nvPr>
        </p:nvSpPr>
        <p:spPr bwMode="auto">
          <a:xfrm>
            <a:off x="10825163" y="3586163"/>
            <a:ext cx="349250"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3" algn="ctr">
              <a:spcBef>
                <a:spcPct val="0"/>
              </a:spcBef>
              <a:spcAft>
                <a:spcPct val="0"/>
              </a:spcAft>
            </a:pPr>
            <a:fld id="{B65CFABB-644A-43B4-844C-9EA88AFEDF31}" type="datetime'''''20''''''''''''''''''''''''2''''''''0'''">
              <a:rPr lang="en-US" altLang="en-US" sz="1200" smtClean="0">
                <a:solidFill>
                  <a:schemeClr val="tx1">
                    <a:lumMod val="50000"/>
                  </a:schemeClr>
                </a:solidFill>
                <a:cs typeface="Arial" panose="020B0604020202020204" pitchFamily="34" charset="0"/>
              </a:rPr>
              <a:pPr marL="0" lvl="3" algn="ctr">
                <a:spcBef>
                  <a:spcPct val="0"/>
                </a:spcBef>
                <a:spcAft>
                  <a:spcPct val="0"/>
                </a:spcAft>
              </a:pPr>
              <a:t>2020</a:t>
            </a:fld>
            <a:endParaRPr lang="en-US" sz="1200" err="1">
              <a:solidFill>
                <a:schemeClr val="tx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75" name="Rectangle 174"/>
          <p:cNvSpPr/>
          <p:nvPr>
            <p:custDataLst>
              <p:tags r:id="rId41"/>
            </p:custDataLst>
          </p:nvPr>
        </p:nvSpPr>
        <p:spPr bwMode="gray">
          <a:xfrm>
            <a:off x="7416800" y="1738313"/>
            <a:ext cx="17462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4EDA5E9D-C096-4A97-978E-572F45BE7C69}" type="datetime'''2''''''''''''''''''''''3'''''''''''''''">
              <a:rPr lang="en-US" altLang="en-US" sz="1000" smtClean="0">
                <a:solidFill>
                  <a:schemeClr val="tx1"/>
                </a:solidFill>
              </a:rPr>
              <a:pPr marL="0" lvl="3" algn="ctr">
                <a:lnSpc>
                  <a:spcPct val="90000"/>
                </a:lnSpc>
                <a:spcBef>
                  <a:spcPct val="0"/>
                </a:spcBef>
                <a:spcAft>
                  <a:spcPct val="0"/>
                </a:spcAft>
              </a:pPr>
              <a:t>23</a:t>
            </a:fld>
            <a:endParaRPr lang="en-US" sz="1000" err="1">
              <a:solidFill>
                <a:schemeClr val="tx1"/>
              </a:solidFill>
              <a:sym typeface="+mn-lt"/>
            </a:endParaRPr>
          </a:p>
        </p:txBody>
      </p:sp>
      <p:sp>
        <p:nvSpPr>
          <p:cNvPr id="171" name="Rectangle 170"/>
          <p:cNvSpPr/>
          <p:nvPr>
            <p:custDataLst>
              <p:tags r:id="rId42"/>
            </p:custDataLst>
          </p:nvPr>
        </p:nvSpPr>
        <p:spPr bwMode="gray">
          <a:xfrm>
            <a:off x="9164638" y="1738313"/>
            <a:ext cx="17462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AC0B9939-AD48-4CB4-AE85-CA947C96553D}" type="datetime'''''''''3''''''''''''''''''''0'''''''''''''''''''''">
              <a:rPr lang="en-US" altLang="en-US" sz="1000" smtClean="0">
                <a:solidFill>
                  <a:schemeClr val="tx1"/>
                </a:solidFill>
              </a:rPr>
              <a:pPr marL="0" lvl="3" algn="ctr">
                <a:lnSpc>
                  <a:spcPct val="90000"/>
                </a:lnSpc>
                <a:spcBef>
                  <a:spcPct val="0"/>
                </a:spcBef>
                <a:spcAft>
                  <a:spcPct val="0"/>
                </a:spcAft>
              </a:pPr>
              <a:t>30</a:t>
            </a:fld>
            <a:endParaRPr lang="en-US" sz="1000" err="1">
              <a:solidFill>
                <a:schemeClr val="tx1"/>
              </a:solidFill>
              <a:sym typeface="+mn-lt"/>
            </a:endParaRPr>
          </a:p>
        </p:txBody>
      </p:sp>
      <p:sp>
        <p:nvSpPr>
          <p:cNvPr id="177" name="Rectangle 176"/>
          <p:cNvSpPr/>
          <p:nvPr>
            <p:custDataLst>
              <p:tags r:id="rId43"/>
            </p:custDataLst>
          </p:nvPr>
        </p:nvSpPr>
        <p:spPr bwMode="gray">
          <a:xfrm>
            <a:off x="10002838" y="1738313"/>
            <a:ext cx="24447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8C23A4F2-36F4-4A9B-A4F9-97E216ABCACD}" type="datetime'''''''''''''''''1''''''0''''''''''''''''''''0'''''">
              <a:rPr lang="en-US" altLang="en-US" sz="1000" smtClean="0">
                <a:solidFill>
                  <a:schemeClr val="tx1"/>
                </a:solidFill>
              </a:rPr>
              <a:pPr marL="0" lvl="3" algn="ctr">
                <a:lnSpc>
                  <a:spcPct val="90000"/>
                </a:lnSpc>
                <a:spcBef>
                  <a:spcPct val="0"/>
                </a:spcBef>
                <a:spcAft>
                  <a:spcPct val="0"/>
                </a:spcAft>
              </a:pPr>
              <a:t>100</a:t>
            </a:fld>
            <a:endParaRPr lang="en-US" sz="1000" err="1">
              <a:solidFill>
                <a:schemeClr val="tx1"/>
              </a:solidFill>
              <a:sym typeface="+mn-lt"/>
            </a:endParaRPr>
          </a:p>
        </p:txBody>
      </p:sp>
      <p:sp>
        <p:nvSpPr>
          <p:cNvPr id="172" name="Rectangle 171"/>
          <p:cNvSpPr/>
          <p:nvPr>
            <p:custDataLst>
              <p:tags r:id="rId44"/>
            </p:custDataLst>
          </p:nvPr>
        </p:nvSpPr>
        <p:spPr bwMode="gray">
          <a:xfrm>
            <a:off x="10877550" y="1738313"/>
            <a:ext cx="244475" cy="136525"/>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b" anchorCtr="0" forceAA="0" compatLnSpc="1">
            <a:prstTxWarp prst="textNoShape">
              <a:avLst/>
            </a:prstTxWarp>
            <a:noAutofit/>
          </a:bodyPr>
          <a:lstStyle/>
          <a:p>
            <a:pPr marL="0" lvl="3" algn="ctr">
              <a:lnSpc>
                <a:spcPct val="90000"/>
              </a:lnSpc>
              <a:spcBef>
                <a:spcPct val="0"/>
              </a:spcBef>
              <a:spcAft>
                <a:spcPct val="0"/>
              </a:spcAft>
            </a:pPr>
            <a:fld id="{D3A8D155-28A7-4FEE-8DCF-E5ADE4341BF8}" type="datetime'''''''''1''''''''''''''''0''''''''''''''''''0'''''''''''''">
              <a:rPr lang="en-US" altLang="en-US" sz="1000" smtClean="0">
                <a:solidFill>
                  <a:schemeClr val="tx1"/>
                </a:solidFill>
              </a:rPr>
              <a:pPr marL="0" lvl="3" algn="ctr">
                <a:lnSpc>
                  <a:spcPct val="90000"/>
                </a:lnSpc>
                <a:spcBef>
                  <a:spcPct val="0"/>
                </a:spcBef>
                <a:spcAft>
                  <a:spcPct val="0"/>
                </a:spcAft>
              </a:pPr>
              <a:t>100</a:t>
            </a:fld>
            <a:endParaRPr lang="en-US" sz="1000" err="1">
              <a:solidFill>
                <a:schemeClr val="tx1"/>
              </a:solidFill>
              <a:sym typeface="+mn-lt"/>
            </a:endParaRPr>
          </a:p>
        </p:txBody>
      </p:sp>
      <p:sp>
        <p:nvSpPr>
          <p:cNvPr id="179" name="Rectangle 178"/>
          <p:cNvSpPr/>
          <p:nvPr>
            <p:custDataLst>
              <p:tags r:id="rId45"/>
            </p:custDataLst>
          </p:nvPr>
        </p:nvSpPr>
        <p:spPr bwMode="auto">
          <a:xfrm>
            <a:off x="6927850" y="3986213"/>
            <a:ext cx="214313" cy="160338"/>
          </a:xfrm>
          <a:prstGeom prst="rect">
            <a:avLst/>
          </a:prstGeom>
          <a:solidFill>
            <a:srgbClr val="FFD45C"/>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183" name="Rectangle 182"/>
          <p:cNvSpPr/>
          <p:nvPr>
            <p:custDataLst>
              <p:tags r:id="rId46"/>
            </p:custDataLst>
          </p:nvPr>
        </p:nvSpPr>
        <p:spPr bwMode="auto">
          <a:xfrm>
            <a:off x="10115550" y="3986213"/>
            <a:ext cx="214313" cy="160338"/>
          </a:xfrm>
          <a:prstGeom prst="rect">
            <a:avLst/>
          </a:prstGeom>
          <a:solidFill>
            <a:srgbClr val="969696"/>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180" name="Rectangle 179"/>
          <p:cNvSpPr/>
          <p:nvPr>
            <p:custDataLst>
              <p:tags r:id="rId47"/>
            </p:custDataLst>
          </p:nvPr>
        </p:nvSpPr>
        <p:spPr bwMode="auto">
          <a:xfrm>
            <a:off x="7724775" y="3986213"/>
            <a:ext cx="214313" cy="160338"/>
          </a:xfrm>
          <a:prstGeom prst="rect">
            <a:avLst/>
          </a:prstGeom>
          <a:solidFill>
            <a:srgbClr val="A32626"/>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181" name="Rectangle 180"/>
          <p:cNvSpPr/>
          <p:nvPr>
            <p:custDataLst>
              <p:tags r:id="rId48"/>
            </p:custDataLst>
          </p:nvPr>
        </p:nvSpPr>
        <p:spPr bwMode="auto">
          <a:xfrm>
            <a:off x="8521700" y="3986213"/>
            <a:ext cx="214313" cy="160338"/>
          </a:xfrm>
          <a:prstGeom prst="rect">
            <a:avLst/>
          </a:prstGeom>
          <a:solidFill>
            <a:srgbClr val="6D1919"/>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182" name="Rectangle 181"/>
          <p:cNvSpPr/>
          <p:nvPr>
            <p:custDataLst>
              <p:tags r:id="rId49"/>
            </p:custDataLst>
          </p:nvPr>
        </p:nvSpPr>
        <p:spPr bwMode="auto">
          <a:xfrm>
            <a:off x="9318625" y="3986213"/>
            <a:ext cx="214313" cy="160338"/>
          </a:xfrm>
          <a:prstGeom prst="rect">
            <a:avLst/>
          </a:prstGeom>
          <a:solidFill>
            <a:srgbClr val="C0C0C0"/>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184" name="Rectangle 183"/>
          <p:cNvSpPr/>
          <p:nvPr>
            <p:custDataLst>
              <p:tags r:id="rId50"/>
            </p:custDataLst>
          </p:nvPr>
        </p:nvSpPr>
        <p:spPr bwMode="auto">
          <a:xfrm>
            <a:off x="10912475" y="3986213"/>
            <a:ext cx="214313" cy="160338"/>
          </a:xfrm>
          <a:prstGeom prst="rect">
            <a:avLst/>
          </a:prstGeom>
          <a:solidFill>
            <a:srgbClr val="808080"/>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err="1">
              <a:solidFill>
                <a:srgbClr val="EEEEEE"/>
              </a:solidFill>
              <a:latin typeface="Roboto" panose="02000000000000000000"/>
            </a:endParaRPr>
          </a:p>
        </p:txBody>
      </p:sp>
      <p:sp>
        <p:nvSpPr>
          <p:cNvPr id="189" name="Rectangle 188"/>
          <p:cNvSpPr/>
          <p:nvPr>
            <p:custDataLst>
              <p:tags r:id="rId51"/>
            </p:custDataLst>
          </p:nvPr>
        </p:nvSpPr>
        <p:spPr bwMode="auto">
          <a:xfrm>
            <a:off x="8786813"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14038A7F-863C-4C0D-AE7B-AC030795A998}" type="datetime'S''e''''''r''''''''i''''''''''''e''''''''''''''''s'''''''''''">
              <a:rPr lang="en-US" altLang="en-US" sz="1200" smtClean="0">
                <a:solidFill>
                  <a:schemeClr val="tx1">
                    <a:lumMod val="50000"/>
                  </a:schemeClr>
                </a:solidFill>
              </a:rPr>
              <a:pPr marL="0" lvl="3">
                <a:spcBef>
                  <a:spcPct val="0"/>
                </a:spcBef>
                <a:spcAft>
                  <a:spcPct val="0"/>
                </a:spcAft>
              </a:pPr>
              <a:t>Series</a:t>
            </a:fld>
            <a:endParaRPr lang="en-US" sz="1200" err="1">
              <a:solidFill>
                <a:schemeClr val="tx1">
                  <a:lumMod val="50000"/>
                </a:schemeClr>
              </a:solidFill>
              <a:sym typeface="+mn-lt"/>
            </a:endParaRPr>
          </a:p>
        </p:txBody>
      </p:sp>
      <p:sp>
        <p:nvSpPr>
          <p:cNvPr id="185" name="Rectangle 184"/>
          <p:cNvSpPr/>
          <p:nvPr>
            <p:custDataLst>
              <p:tags r:id="rId52"/>
            </p:custDataLst>
          </p:nvPr>
        </p:nvSpPr>
        <p:spPr bwMode="auto">
          <a:xfrm>
            <a:off x="7192963"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287367F3-C017-4451-8488-655179047C91}" type="datetime'''''''''Se''''''r''''i''''''''''e''''''''''s'''''">
              <a:rPr lang="en-US" altLang="en-US" sz="1200" smtClean="0">
                <a:solidFill>
                  <a:schemeClr val="tx1">
                    <a:lumMod val="50000"/>
                  </a:schemeClr>
                </a:solidFill>
              </a:rPr>
              <a:pPr marL="0" lvl="3">
                <a:spcBef>
                  <a:spcPct val="0"/>
                </a:spcBef>
                <a:spcAft>
                  <a:spcPct val="0"/>
                </a:spcAft>
              </a:pPr>
              <a:t>Series</a:t>
            </a:fld>
            <a:endParaRPr lang="en-US" sz="1200" err="1">
              <a:solidFill>
                <a:schemeClr val="tx1">
                  <a:lumMod val="50000"/>
                </a:schemeClr>
              </a:solidFill>
              <a:sym typeface="+mn-lt"/>
            </a:endParaRPr>
          </a:p>
        </p:txBody>
      </p:sp>
      <p:sp>
        <p:nvSpPr>
          <p:cNvPr id="188" name="Rectangle 187"/>
          <p:cNvSpPr/>
          <p:nvPr>
            <p:custDataLst>
              <p:tags r:id="rId53"/>
            </p:custDataLst>
          </p:nvPr>
        </p:nvSpPr>
        <p:spPr bwMode="auto">
          <a:xfrm>
            <a:off x="7989888"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B87A70C3-138D-4C80-AC10-525B09BBA752}" type="datetime'S''er''''''''''''''''i''''''''''e''''''''''''''''s'''''">
              <a:rPr lang="en-US" altLang="en-US" sz="1200" smtClean="0">
                <a:solidFill>
                  <a:schemeClr val="tx1">
                    <a:lumMod val="50000"/>
                  </a:schemeClr>
                </a:solidFill>
              </a:rPr>
              <a:pPr marL="0" lvl="3">
                <a:spcBef>
                  <a:spcPct val="0"/>
                </a:spcBef>
                <a:spcAft>
                  <a:spcPct val="0"/>
                </a:spcAft>
              </a:pPr>
              <a:t>Series</a:t>
            </a:fld>
            <a:endParaRPr lang="en-US" sz="1200" err="1">
              <a:solidFill>
                <a:schemeClr val="tx1">
                  <a:lumMod val="50000"/>
                </a:schemeClr>
              </a:solidFill>
              <a:sym typeface="+mn-lt"/>
            </a:endParaRPr>
          </a:p>
        </p:txBody>
      </p:sp>
      <p:sp>
        <p:nvSpPr>
          <p:cNvPr id="186" name="Rectangle 185"/>
          <p:cNvSpPr/>
          <p:nvPr>
            <p:custDataLst>
              <p:tags r:id="rId54"/>
            </p:custDataLst>
          </p:nvPr>
        </p:nvSpPr>
        <p:spPr bwMode="auto">
          <a:xfrm>
            <a:off x="10380663"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589B3B60-3046-483F-828E-CEB03873141C}" type="datetime'''S''''e''r''''''''''''''''''''''i''e''''''''s'''''''''">
              <a:rPr lang="en-US" altLang="en-US" sz="1200" smtClean="0">
                <a:solidFill>
                  <a:schemeClr val="tx1">
                    <a:lumMod val="50000"/>
                  </a:schemeClr>
                </a:solidFill>
              </a:rPr>
              <a:pPr marL="0" lvl="3">
                <a:spcBef>
                  <a:spcPct val="0"/>
                </a:spcBef>
                <a:spcAft>
                  <a:spcPct val="0"/>
                </a:spcAft>
              </a:pPr>
              <a:t>Series</a:t>
            </a:fld>
            <a:endParaRPr lang="en-US" sz="1200" err="1">
              <a:solidFill>
                <a:schemeClr val="tx1">
                  <a:lumMod val="50000"/>
                </a:schemeClr>
              </a:solidFill>
              <a:sym typeface="+mn-lt"/>
            </a:endParaRPr>
          </a:p>
        </p:txBody>
      </p:sp>
      <p:sp>
        <p:nvSpPr>
          <p:cNvPr id="187" name="Rectangle 186"/>
          <p:cNvSpPr/>
          <p:nvPr>
            <p:custDataLst>
              <p:tags r:id="rId55"/>
            </p:custDataLst>
          </p:nvPr>
        </p:nvSpPr>
        <p:spPr bwMode="auto">
          <a:xfrm>
            <a:off x="9583738"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C5497E4D-3FC4-44EF-BD53-836B63ADA2BB}" type="datetime'''S''''''e''r''''''''''''i''''''''e''''''s'">
              <a:rPr lang="en-US" altLang="en-US" sz="1200" smtClean="0">
                <a:solidFill>
                  <a:schemeClr val="tx1">
                    <a:lumMod val="50000"/>
                  </a:schemeClr>
                </a:solidFill>
              </a:rPr>
              <a:pPr marL="0" lvl="3">
                <a:spcBef>
                  <a:spcPct val="0"/>
                </a:spcBef>
                <a:spcAft>
                  <a:spcPct val="0"/>
                </a:spcAft>
              </a:pPr>
              <a:t>Series</a:t>
            </a:fld>
            <a:endParaRPr lang="en-US" sz="1200" err="1">
              <a:solidFill>
                <a:schemeClr val="tx1">
                  <a:lumMod val="50000"/>
                </a:schemeClr>
              </a:solidFill>
              <a:sym typeface="+mn-lt"/>
            </a:endParaRPr>
          </a:p>
        </p:txBody>
      </p:sp>
      <p:sp>
        <p:nvSpPr>
          <p:cNvPr id="190" name="Rectangle 189"/>
          <p:cNvSpPr/>
          <p:nvPr>
            <p:custDataLst>
              <p:tags r:id="rId56"/>
            </p:custDataLst>
          </p:nvPr>
        </p:nvSpPr>
        <p:spPr bwMode="auto">
          <a:xfrm>
            <a:off x="11177588" y="3981450"/>
            <a:ext cx="430213" cy="182563"/>
          </a:xfrm>
          <a:prstGeom prst="rect">
            <a:avLst/>
          </a:prstGeom>
          <a:noFill/>
          <a:ln>
            <a:noFill/>
          </a:ln>
          <a:extLst>
            <a:ext uri="{909E8E84-426E-40DD-AFC4-6F175D3DCCD1}">
              <a14:hiddenFill xmlns:a14="http://schemas.microsoft.com/office/drawing/2010/main">
                <a:solidFill>
                  <a:schemeClr val="tx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3">
              <a:spcBef>
                <a:spcPct val="0"/>
              </a:spcBef>
              <a:spcAft>
                <a:spcPct val="0"/>
              </a:spcAft>
            </a:pPr>
            <a:fld id="{294D48B7-4E4D-469F-A222-5498BF1A23F1}" type="datetime'''''''''''''''''''''''S''''''''eri''e''''''''''''s'">
              <a:rPr lang="en-US" altLang="en-US" sz="1200" smtClean="0">
                <a:solidFill>
                  <a:schemeClr val="tx1">
                    <a:lumMod val="50000"/>
                  </a:schemeClr>
                </a:solidFill>
              </a:rPr>
              <a:pPr marL="0" lvl="3">
                <a:spcBef>
                  <a:spcPct val="0"/>
                </a:spcBef>
                <a:spcAft>
                  <a:spcPct val="0"/>
                </a:spcAft>
              </a:pPr>
              <a:t>Series</a:t>
            </a:fld>
            <a:endParaRPr lang="en-US" sz="1200" err="1">
              <a:solidFill>
                <a:schemeClr val="tx1">
                  <a:lumMod val="50000"/>
                </a:schemeClr>
              </a:solidFill>
              <a:sym typeface="+mn-lt"/>
            </a:endParaRPr>
          </a:p>
        </p:txBody>
      </p:sp>
      <p:sp>
        <p:nvSpPr>
          <p:cNvPr id="67" name="Rectangle 66"/>
          <p:cNvSpPr/>
          <p:nvPr/>
        </p:nvSpPr>
        <p:spPr>
          <a:xfrm>
            <a:off x="269239" y="4542454"/>
            <a:ext cx="5486400" cy="129540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en-US" sz="1400">
                <a:solidFill>
                  <a:schemeClr val="tx1"/>
                </a:solidFill>
              </a:rPr>
              <a:t>Lorem ipsum dolor sit </a:t>
            </a:r>
            <a:r>
              <a:rPr lang="en-US" sz="1400" err="1">
                <a:solidFill>
                  <a:schemeClr val="tx1"/>
                </a:solidFill>
              </a:rPr>
              <a:t>amet</a:t>
            </a:r>
            <a:endParaRPr lang="en-US" sz="1400">
              <a:solidFill>
                <a:schemeClr val="tx1"/>
              </a:solidFill>
            </a:endParaRPr>
          </a:p>
          <a:p>
            <a:pPr lvl="1" indent="-174625">
              <a:buFont typeface="Arial" panose="020B0604020202020204" pitchFamily="34" charset="0"/>
              <a:buChar char="-"/>
            </a:pPr>
            <a:r>
              <a:rPr lang="en-US" sz="1400" err="1">
                <a:solidFill>
                  <a:schemeClr val="tx1"/>
                </a:solidFill>
              </a:rPr>
              <a:t>Duis</a:t>
            </a:r>
            <a:r>
              <a:rPr lang="en-US" sz="1400">
                <a:solidFill>
                  <a:schemeClr val="tx1"/>
                </a:solidFill>
              </a:rPr>
              <a:t> </a:t>
            </a:r>
            <a:r>
              <a:rPr lang="en-US" sz="1400" err="1">
                <a:solidFill>
                  <a:schemeClr val="tx1"/>
                </a:solidFill>
              </a:rPr>
              <a:t>aute</a:t>
            </a:r>
            <a:r>
              <a:rPr lang="en-US" sz="1400">
                <a:solidFill>
                  <a:schemeClr val="tx1"/>
                </a:solidFill>
              </a:rPr>
              <a:t> </a:t>
            </a:r>
            <a:r>
              <a:rPr lang="en-US" sz="1400" err="1">
                <a:solidFill>
                  <a:schemeClr val="tx1"/>
                </a:solidFill>
              </a:rPr>
              <a:t>irure</a:t>
            </a:r>
            <a:r>
              <a:rPr lang="en-US" sz="1400">
                <a:solidFill>
                  <a:schemeClr val="tx1"/>
                </a:solidFill>
              </a:rPr>
              <a:t> dolor in </a:t>
            </a:r>
            <a:r>
              <a:rPr lang="en-US" sz="1400" err="1">
                <a:solidFill>
                  <a:schemeClr val="tx1"/>
                </a:solidFill>
              </a:rPr>
              <a:t>reprehenderit</a:t>
            </a:r>
            <a:r>
              <a:rPr lang="en-US" sz="1400">
                <a:solidFill>
                  <a:schemeClr val="tx1"/>
                </a:solidFill>
              </a:rPr>
              <a:t> in </a:t>
            </a:r>
            <a:r>
              <a:rPr lang="en-US" sz="1400" err="1">
                <a:solidFill>
                  <a:schemeClr val="tx1"/>
                </a:solidFill>
              </a:rPr>
              <a:t>voluptate</a:t>
            </a:r>
            <a:r>
              <a:rPr lang="en-US" sz="1400">
                <a:solidFill>
                  <a:schemeClr val="tx1"/>
                </a:solidFill>
              </a:rPr>
              <a:t> </a:t>
            </a:r>
            <a:r>
              <a:rPr lang="en-US" sz="1400" err="1">
                <a:solidFill>
                  <a:schemeClr val="tx1"/>
                </a:solidFill>
              </a:rPr>
              <a:t>velit</a:t>
            </a:r>
            <a:r>
              <a:rPr lang="en-US" sz="1400">
                <a:solidFill>
                  <a:schemeClr val="tx1"/>
                </a:solidFill>
              </a:rPr>
              <a:t> </a:t>
            </a:r>
            <a:r>
              <a:rPr lang="en-US" sz="1400" err="1">
                <a:solidFill>
                  <a:schemeClr val="tx1"/>
                </a:solidFill>
              </a:rPr>
              <a:t>esse</a:t>
            </a:r>
            <a:r>
              <a:rPr lang="en-US" sz="1400">
                <a:solidFill>
                  <a:schemeClr val="tx1"/>
                </a:solidFill>
              </a:rPr>
              <a:t> </a:t>
            </a:r>
            <a:r>
              <a:rPr lang="en-US" sz="1400" err="1">
                <a:solidFill>
                  <a:schemeClr val="tx1"/>
                </a:solidFill>
              </a:rPr>
              <a:t>cillum</a:t>
            </a:r>
            <a:r>
              <a:rPr lang="en-US" sz="1400">
                <a:solidFill>
                  <a:schemeClr val="tx1"/>
                </a:solidFill>
              </a:rPr>
              <a:t> </a:t>
            </a:r>
            <a:r>
              <a:rPr lang="en-US" sz="1400" err="1">
                <a:solidFill>
                  <a:schemeClr val="tx1"/>
                </a:solidFill>
              </a:rPr>
              <a:t>dolore</a:t>
            </a:r>
            <a:r>
              <a:rPr lang="en-US" sz="1400">
                <a:solidFill>
                  <a:schemeClr val="tx1"/>
                </a:solidFill>
              </a:rPr>
              <a:t> </a:t>
            </a:r>
            <a:r>
              <a:rPr lang="en-US" sz="1400" err="1">
                <a:solidFill>
                  <a:schemeClr val="tx1"/>
                </a:solidFill>
              </a:rPr>
              <a:t>eu</a:t>
            </a:r>
            <a:r>
              <a:rPr lang="en-US" sz="1400">
                <a:solidFill>
                  <a:schemeClr val="tx1"/>
                </a:solidFill>
              </a:rPr>
              <a:t> </a:t>
            </a:r>
            <a:r>
              <a:rPr lang="en-US" sz="1400" err="1">
                <a:solidFill>
                  <a:schemeClr val="tx1"/>
                </a:solidFill>
              </a:rPr>
              <a:t>fugiat</a:t>
            </a:r>
            <a:r>
              <a:rPr lang="en-US" sz="1400">
                <a:solidFill>
                  <a:schemeClr val="tx1"/>
                </a:solidFill>
              </a:rPr>
              <a:t> </a:t>
            </a:r>
            <a:r>
              <a:rPr lang="en-US" sz="1400" err="1">
                <a:solidFill>
                  <a:schemeClr val="tx1"/>
                </a:solidFill>
              </a:rPr>
              <a:t>nulla</a:t>
            </a:r>
            <a:r>
              <a:rPr lang="en-US" sz="1400">
                <a:solidFill>
                  <a:schemeClr val="tx1"/>
                </a:solidFill>
              </a:rPr>
              <a:t> </a:t>
            </a:r>
            <a:r>
              <a:rPr lang="en-US" sz="1400" err="1">
                <a:solidFill>
                  <a:schemeClr val="tx1"/>
                </a:solidFill>
              </a:rPr>
              <a:t>pariatur</a:t>
            </a:r>
            <a:r>
              <a:rPr lang="en-US" sz="1400">
                <a:solidFill>
                  <a:schemeClr val="tx1"/>
                </a:solidFill>
              </a:rPr>
              <a:t>. </a:t>
            </a:r>
            <a:r>
              <a:rPr lang="en-US" sz="1400" err="1">
                <a:solidFill>
                  <a:schemeClr val="tx1"/>
                </a:solidFill>
              </a:rPr>
              <a:t>Excepteur</a:t>
            </a:r>
            <a:r>
              <a:rPr lang="en-US" sz="1400">
                <a:solidFill>
                  <a:schemeClr val="tx1"/>
                </a:solidFill>
              </a:rPr>
              <a:t> </a:t>
            </a:r>
            <a:r>
              <a:rPr lang="en-US" sz="1400" err="1">
                <a:solidFill>
                  <a:schemeClr val="tx1"/>
                </a:solidFill>
              </a:rPr>
              <a:t>sint</a:t>
            </a:r>
            <a:r>
              <a:rPr lang="en-US" sz="1400">
                <a:solidFill>
                  <a:schemeClr val="tx1"/>
                </a:solidFill>
              </a:rPr>
              <a:t> </a:t>
            </a:r>
            <a:r>
              <a:rPr lang="en-US" sz="1400" err="1">
                <a:solidFill>
                  <a:schemeClr val="tx1"/>
                </a:solidFill>
              </a:rPr>
              <a:t>occaecat</a:t>
            </a:r>
            <a:r>
              <a:rPr lang="en-US" sz="1400">
                <a:solidFill>
                  <a:schemeClr val="tx1"/>
                </a:solidFill>
              </a:rPr>
              <a:t> </a:t>
            </a:r>
            <a:r>
              <a:rPr lang="en-US" sz="1400" err="1">
                <a:solidFill>
                  <a:schemeClr val="tx1"/>
                </a:solidFill>
              </a:rPr>
              <a:t>cupidatat</a:t>
            </a:r>
            <a:r>
              <a:rPr lang="en-US" sz="1400">
                <a:solidFill>
                  <a:schemeClr val="tx1"/>
                </a:solidFill>
              </a:rPr>
              <a:t> </a:t>
            </a:r>
            <a:endParaRPr lang="en-US" sz="1400">
              <a:solidFill>
                <a:schemeClr val="tx1"/>
              </a:solidFill>
              <a:latin typeface="Arial" panose="020B0604020202020204" pitchFamily="34" charset="0"/>
              <a:cs typeface="Arial" panose="020B0604020202020204" pitchFamily="34" charset="0"/>
            </a:endParaRPr>
          </a:p>
        </p:txBody>
      </p:sp>
      <p:sp>
        <p:nvSpPr>
          <p:cNvPr id="68" name="Rectangle 67"/>
          <p:cNvSpPr/>
          <p:nvPr/>
        </p:nvSpPr>
        <p:spPr>
          <a:xfrm>
            <a:off x="6400164" y="4542454"/>
            <a:ext cx="5486400" cy="129540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en-US" sz="1400">
                <a:solidFill>
                  <a:schemeClr val="tx1"/>
                </a:solidFill>
              </a:rPr>
              <a:t>Lorem ipsum dolor sit </a:t>
            </a:r>
            <a:r>
              <a:rPr lang="en-US" sz="1400" err="1">
                <a:solidFill>
                  <a:schemeClr val="tx1"/>
                </a:solidFill>
              </a:rPr>
              <a:t>amet</a:t>
            </a:r>
            <a:endParaRPr lang="en-US" sz="1400">
              <a:solidFill>
                <a:schemeClr val="tx1"/>
              </a:solidFill>
            </a:endParaRPr>
          </a:p>
          <a:p>
            <a:pPr lvl="1" indent="-174625">
              <a:buFont typeface="Arial" panose="020B0604020202020204" pitchFamily="34" charset="0"/>
              <a:buChar char="-"/>
            </a:pPr>
            <a:r>
              <a:rPr lang="en-US" sz="1400" err="1">
                <a:solidFill>
                  <a:schemeClr val="tx1"/>
                </a:solidFill>
              </a:rPr>
              <a:t>Duis</a:t>
            </a:r>
            <a:r>
              <a:rPr lang="en-US" sz="1400">
                <a:solidFill>
                  <a:schemeClr val="tx1"/>
                </a:solidFill>
              </a:rPr>
              <a:t> </a:t>
            </a:r>
            <a:r>
              <a:rPr lang="en-US" sz="1400" err="1">
                <a:solidFill>
                  <a:schemeClr val="tx1"/>
                </a:solidFill>
              </a:rPr>
              <a:t>aute</a:t>
            </a:r>
            <a:r>
              <a:rPr lang="en-US" sz="1400">
                <a:solidFill>
                  <a:schemeClr val="tx1"/>
                </a:solidFill>
              </a:rPr>
              <a:t> </a:t>
            </a:r>
            <a:r>
              <a:rPr lang="en-US" sz="1400" err="1">
                <a:solidFill>
                  <a:schemeClr val="tx1"/>
                </a:solidFill>
              </a:rPr>
              <a:t>irure</a:t>
            </a:r>
            <a:r>
              <a:rPr lang="en-US" sz="1400">
                <a:solidFill>
                  <a:schemeClr val="tx1"/>
                </a:solidFill>
              </a:rPr>
              <a:t> dolor in </a:t>
            </a:r>
            <a:r>
              <a:rPr lang="en-US" sz="1400" err="1">
                <a:solidFill>
                  <a:schemeClr val="tx1"/>
                </a:solidFill>
              </a:rPr>
              <a:t>reprehenderit</a:t>
            </a:r>
            <a:r>
              <a:rPr lang="en-US" sz="1400">
                <a:solidFill>
                  <a:schemeClr val="tx1"/>
                </a:solidFill>
              </a:rPr>
              <a:t> in </a:t>
            </a:r>
            <a:r>
              <a:rPr lang="en-US" sz="1400" err="1">
                <a:solidFill>
                  <a:schemeClr val="tx1"/>
                </a:solidFill>
              </a:rPr>
              <a:t>voluptate</a:t>
            </a:r>
            <a:r>
              <a:rPr lang="en-US" sz="1400">
                <a:solidFill>
                  <a:schemeClr val="tx1"/>
                </a:solidFill>
              </a:rPr>
              <a:t> </a:t>
            </a:r>
            <a:r>
              <a:rPr lang="en-US" sz="1400" err="1">
                <a:solidFill>
                  <a:schemeClr val="tx1"/>
                </a:solidFill>
              </a:rPr>
              <a:t>velit</a:t>
            </a:r>
            <a:r>
              <a:rPr lang="en-US" sz="1400">
                <a:solidFill>
                  <a:schemeClr val="tx1"/>
                </a:solidFill>
              </a:rPr>
              <a:t> </a:t>
            </a:r>
            <a:r>
              <a:rPr lang="en-US" sz="1400" err="1">
                <a:solidFill>
                  <a:schemeClr val="tx1"/>
                </a:solidFill>
              </a:rPr>
              <a:t>esse</a:t>
            </a:r>
            <a:r>
              <a:rPr lang="en-US" sz="1400">
                <a:solidFill>
                  <a:schemeClr val="tx1"/>
                </a:solidFill>
              </a:rPr>
              <a:t> </a:t>
            </a:r>
            <a:r>
              <a:rPr lang="en-US" sz="1400" err="1">
                <a:solidFill>
                  <a:schemeClr val="tx1"/>
                </a:solidFill>
              </a:rPr>
              <a:t>cillum</a:t>
            </a:r>
            <a:r>
              <a:rPr lang="en-US" sz="1400">
                <a:solidFill>
                  <a:schemeClr val="tx1"/>
                </a:solidFill>
              </a:rPr>
              <a:t> </a:t>
            </a:r>
            <a:r>
              <a:rPr lang="en-US" sz="1400" err="1">
                <a:solidFill>
                  <a:schemeClr val="tx1"/>
                </a:solidFill>
              </a:rPr>
              <a:t>dolore</a:t>
            </a:r>
            <a:r>
              <a:rPr lang="en-US" sz="1400">
                <a:solidFill>
                  <a:schemeClr val="tx1"/>
                </a:solidFill>
              </a:rPr>
              <a:t> </a:t>
            </a:r>
            <a:r>
              <a:rPr lang="en-US" sz="1400" err="1">
                <a:solidFill>
                  <a:schemeClr val="tx1"/>
                </a:solidFill>
              </a:rPr>
              <a:t>eu</a:t>
            </a:r>
            <a:r>
              <a:rPr lang="en-US" sz="1400">
                <a:solidFill>
                  <a:schemeClr val="tx1"/>
                </a:solidFill>
              </a:rPr>
              <a:t> </a:t>
            </a:r>
            <a:r>
              <a:rPr lang="en-US" sz="1400" err="1">
                <a:solidFill>
                  <a:schemeClr val="tx1"/>
                </a:solidFill>
              </a:rPr>
              <a:t>fugiat</a:t>
            </a:r>
            <a:r>
              <a:rPr lang="en-US" sz="1400">
                <a:solidFill>
                  <a:schemeClr val="tx1"/>
                </a:solidFill>
              </a:rPr>
              <a:t> </a:t>
            </a:r>
            <a:r>
              <a:rPr lang="en-US" sz="1400" err="1">
                <a:solidFill>
                  <a:schemeClr val="tx1"/>
                </a:solidFill>
              </a:rPr>
              <a:t>nulla</a:t>
            </a:r>
            <a:r>
              <a:rPr lang="en-US" sz="1400">
                <a:solidFill>
                  <a:schemeClr val="tx1"/>
                </a:solidFill>
              </a:rPr>
              <a:t> </a:t>
            </a:r>
            <a:r>
              <a:rPr lang="en-US" sz="1400" err="1">
                <a:solidFill>
                  <a:schemeClr val="tx1"/>
                </a:solidFill>
              </a:rPr>
              <a:t>pariatur</a:t>
            </a:r>
            <a:r>
              <a:rPr lang="en-US" sz="1400">
                <a:solidFill>
                  <a:schemeClr val="tx1"/>
                </a:solidFill>
              </a:rPr>
              <a:t>. </a:t>
            </a:r>
            <a:r>
              <a:rPr lang="en-US" sz="1400" err="1">
                <a:solidFill>
                  <a:schemeClr val="tx1"/>
                </a:solidFill>
              </a:rPr>
              <a:t>Excepteur</a:t>
            </a:r>
            <a:r>
              <a:rPr lang="en-US" sz="1400">
                <a:solidFill>
                  <a:schemeClr val="tx1"/>
                </a:solidFill>
              </a:rPr>
              <a:t> </a:t>
            </a:r>
            <a:r>
              <a:rPr lang="en-US" sz="1400" err="1">
                <a:solidFill>
                  <a:schemeClr val="tx1"/>
                </a:solidFill>
              </a:rPr>
              <a:t>sint</a:t>
            </a:r>
            <a:r>
              <a:rPr lang="en-US" sz="1400">
                <a:solidFill>
                  <a:schemeClr val="tx1"/>
                </a:solidFill>
              </a:rPr>
              <a:t> </a:t>
            </a:r>
            <a:r>
              <a:rPr lang="en-US" sz="1400" err="1">
                <a:solidFill>
                  <a:schemeClr val="tx1"/>
                </a:solidFill>
              </a:rPr>
              <a:t>occaecat</a:t>
            </a:r>
            <a:r>
              <a:rPr lang="en-US" sz="1400">
                <a:solidFill>
                  <a:schemeClr val="tx1"/>
                </a:solidFill>
              </a:rPr>
              <a:t> </a:t>
            </a:r>
            <a:r>
              <a:rPr lang="en-US" sz="1400" err="1">
                <a:solidFill>
                  <a:schemeClr val="tx1"/>
                </a:solidFill>
              </a:rPr>
              <a:t>cupidatat</a:t>
            </a:r>
            <a:r>
              <a:rPr lang="en-US" sz="1400">
                <a:solidFill>
                  <a:schemeClr val="tx1"/>
                </a:solidFill>
              </a:rPr>
              <a:t> </a:t>
            </a:r>
          </a:p>
        </p:txBody>
      </p:sp>
    </p:spTree>
    <p:extLst>
      <p:ext uri="{BB962C8B-B14F-4D97-AF65-F5344CB8AC3E}">
        <p14:creationId xmlns:p14="http://schemas.microsoft.com/office/powerpoint/2010/main" val="13813949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96264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30" imgH="531" progId="TCLayout.ActiveDocument.1">
                  <p:embed/>
                </p:oleObj>
              </mc:Choice>
              <mc:Fallback>
                <p:oleObj name="think-cell Slide" r:id="rId6" imgW="530" imgH="531"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 name="Rectangle 3" hidden="1"/>
          <p:cNvSpPr/>
          <p:nvPr>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err="1">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126" name="Title 3">
            <a:extLst>
              <a:ext uri="{FF2B5EF4-FFF2-40B4-BE49-F238E27FC236}">
                <a16:creationId xmlns:a16="http://schemas.microsoft.com/office/drawing/2014/main" id="{766E80DA-CCBF-4D37-A597-773029CBD465}"/>
              </a:ext>
            </a:extLst>
          </p:cNvPr>
          <p:cNvSpPr>
            <a:spLocks noGrp="1"/>
          </p:cNvSpPr>
          <p:nvPr>
            <p:ph type="title"/>
          </p:nvPr>
        </p:nvSpPr>
        <p:spPr/>
        <p:txBody>
          <a:bodyPr vert="horz"/>
          <a:lstStyle/>
          <a:p>
            <a:r>
              <a:rPr lang="en-US">
                <a:latin typeface="Arial"/>
                <a:cs typeface="Arial"/>
              </a:rPr>
              <a:t>Main Growth Initiative Summary Slide</a:t>
            </a:r>
          </a:p>
        </p:txBody>
      </p:sp>
      <p:sp>
        <p:nvSpPr>
          <p:cNvPr id="2" name="Slide Number Placeholder 1">
            <a:extLst>
              <a:ext uri="{FF2B5EF4-FFF2-40B4-BE49-F238E27FC236}">
                <a16:creationId xmlns:a16="http://schemas.microsoft.com/office/drawing/2014/main" id="{73A69E23-12E8-4F9D-A5B6-661DCFB1A126}"/>
              </a:ext>
            </a:extLst>
          </p:cNvPr>
          <p:cNvSpPr>
            <a:spLocks noGrp="1"/>
          </p:cNvSpPr>
          <p:nvPr>
            <p:ph type="sldNum" sz="quarter" idx="4294967295"/>
          </p:nvPr>
        </p:nvSpPr>
        <p:spPr>
          <a:xfrm>
            <a:off x="11560175" y="6451600"/>
            <a:ext cx="631825" cy="365125"/>
          </a:xfrm>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D5A7C607-FE79-0944-B598-516BC0687002}" type="slidenum">
              <a:rPr kumimoji="0" lang="en-US" sz="800" b="0" i="0" u="none" strike="noStrike" kern="1200" cap="none" spc="0" normalizeH="0" baseline="0" noProof="0">
                <a:ln>
                  <a:noFill/>
                </a:ln>
                <a:solidFill>
                  <a:srgbClr val="F8F8F8"/>
                </a:solidFill>
                <a:effectLst/>
                <a:uLnTx/>
                <a:uFillTx/>
                <a:latin typeface="Arial" panose="020B0604020202020204" pitchFamily="34" charset="0"/>
                <a:ea typeface="Roboto" charset="0"/>
                <a:cs typeface="Arial" panose="020B0604020202020204" pitchFamily="34" charset="0"/>
              </a:rPr>
              <a:pPr marL="0" marR="0" lvl="0" indent="0" algn="ctr" defTabSz="914354"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F8F8F8"/>
              </a:solidFill>
              <a:effectLst/>
              <a:uLnTx/>
              <a:uFillTx/>
              <a:latin typeface="Arial" panose="020B0604020202020204" pitchFamily="34" charset="0"/>
              <a:ea typeface="Roboto" charset="0"/>
              <a:cs typeface="Arial" panose="020B0604020202020204" pitchFamily="34" charset="0"/>
            </a:endParaRPr>
          </a:p>
        </p:txBody>
      </p:sp>
      <p:sp>
        <p:nvSpPr>
          <p:cNvPr id="200" name="Rectangle 199">
            <a:extLst>
              <a:ext uri="{FF2B5EF4-FFF2-40B4-BE49-F238E27FC236}">
                <a16:creationId xmlns:a16="http://schemas.microsoft.com/office/drawing/2014/main" id="{58DF8D7A-082C-489C-8DA9-F6C1CBBFA39D}"/>
              </a:ext>
            </a:extLst>
          </p:cNvPr>
          <p:cNvSpPr/>
          <p:nvPr/>
        </p:nvSpPr>
        <p:spPr>
          <a:xfrm>
            <a:off x="269609" y="1198676"/>
            <a:ext cx="1568521" cy="713450"/>
          </a:xfrm>
          <a:prstGeom prst="rect">
            <a:avLst/>
          </a:prstGeom>
          <a:noFill/>
          <a:ln w="9525" cap="flat" cmpd="sng" algn="ctr">
            <a:noFill/>
            <a:prstDash val="dash"/>
          </a:ln>
          <a:effectLst/>
        </p:spPr>
        <p:txBody>
          <a:bodyPr rtlCol="0" anchor="t" anchorCtr="0"/>
          <a:lstStyle/>
          <a:p>
            <a:pPr marL="85703" marR="0" lvl="0" indent="-8570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800" kern="0">
                <a:solidFill>
                  <a:srgbClr val="3F3F3F"/>
                </a:solidFill>
                <a:latin typeface="Arial" panose="020B0604020202020204" pitchFamily="34" charset="0"/>
                <a:cs typeface="Arial" panose="020B0604020202020204" pitchFamily="34" charset="0"/>
              </a:rPr>
              <a:t>Main Growth Driver 1</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2</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3</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4</a:t>
            </a:r>
            <a:endParaRPr kumimoji="0" lang="en-GB" sz="800" b="0" i="0" u="none" strike="noStrike" kern="0" cap="none" spc="0" normalizeH="0" baseline="0" noProof="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201" name="Rectangle 200">
            <a:extLst>
              <a:ext uri="{FF2B5EF4-FFF2-40B4-BE49-F238E27FC236}">
                <a16:creationId xmlns:a16="http://schemas.microsoft.com/office/drawing/2014/main" id="{DBB76480-4267-439F-BEEF-89A7FE5339E5}"/>
              </a:ext>
            </a:extLst>
          </p:cNvPr>
          <p:cNvSpPr/>
          <p:nvPr/>
        </p:nvSpPr>
        <p:spPr>
          <a:xfrm>
            <a:off x="269609" y="922208"/>
            <a:ext cx="1580450" cy="203541"/>
          </a:xfrm>
          <a:prstGeom prst="rect">
            <a:avLst/>
          </a:prstGeom>
          <a:solidFill>
            <a:srgbClr val="C4262E"/>
          </a:solidFill>
          <a:ln w="12700" cap="flat" cmpd="sng" algn="ctr">
            <a:noFill/>
            <a:prstDash val="solid"/>
          </a:ln>
          <a:effectLst/>
        </p:spPr>
        <p:txBody>
          <a:bodyPr rtlCol="0" anchor="ctr"/>
          <a:lstStyle/>
          <a:p>
            <a:pPr fontAlgn="ctr"/>
            <a:r>
              <a:rPr lang="en-US" sz="900" b="1">
                <a:solidFill>
                  <a:schemeClr val="accent5"/>
                </a:solidFill>
              </a:rPr>
              <a:t>Sub initiative 1</a:t>
            </a:r>
          </a:p>
        </p:txBody>
      </p:sp>
      <p:sp>
        <p:nvSpPr>
          <p:cNvPr id="203" name="Rectangle 202">
            <a:extLst>
              <a:ext uri="{FF2B5EF4-FFF2-40B4-BE49-F238E27FC236}">
                <a16:creationId xmlns:a16="http://schemas.microsoft.com/office/drawing/2014/main" id="{0A473779-AC02-4103-B0A6-1E5B67204F2E}"/>
              </a:ext>
            </a:extLst>
          </p:cNvPr>
          <p:cNvSpPr/>
          <p:nvPr/>
        </p:nvSpPr>
        <p:spPr>
          <a:xfrm>
            <a:off x="278659" y="5380235"/>
            <a:ext cx="1568521" cy="484663"/>
          </a:xfrm>
          <a:prstGeom prst="rect">
            <a:avLst/>
          </a:prstGeom>
          <a:noFill/>
          <a:ln w="9525" cap="flat" cmpd="sng" algn="ctr">
            <a:noFill/>
            <a:prstDash val="dash"/>
          </a:ln>
          <a:effectLst/>
        </p:spPr>
        <p:txBody>
          <a:bodyPr lIns="91440" tIns="45720" rIns="91440" bIns="45720" rtlCol="0" anchor="t" anchorCtr="0"/>
          <a:lstStyle/>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1</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2</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3</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4</a:t>
            </a:r>
            <a:endParaRPr kumimoji="0" lang="en-GB" sz="800" b="0" i="0" u="none" strike="noStrike" kern="0" cap="none" spc="0" normalizeH="0" baseline="0" noProof="0">
              <a:ln>
                <a:noFill/>
              </a:ln>
              <a:solidFill>
                <a:srgbClr val="3F3F3F"/>
              </a:solidFill>
              <a:effectLst/>
              <a:uLnTx/>
              <a:uFillTx/>
              <a:latin typeface="Arial"/>
              <a:ea typeface="+mn-ea"/>
              <a:cs typeface="Arial"/>
            </a:endParaRPr>
          </a:p>
        </p:txBody>
      </p:sp>
      <p:sp>
        <p:nvSpPr>
          <p:cNvPr id="204" name="Rectangle 203">
            <a:extLst>
              <a:ext uri="{FF2B5EF4-FFF2-40B4-BE49-F238E27FC236}">
                <a16:creationId xmlns:a16="http://schemas.microsoft.com/office/drawing/2014/main" id="{031EE0B8-2DE4-4940-970C-7149A5218392}"/>
              </a:ext>
            </a:extLst>
          </p:cNvPr>
          <p:cNvSpPr/>
          <p:nvPr/>
        </p:nvSpPr>
        <p:spPr>
          <a:xfrm>
            <a:off x="269609" y="5164821"/>
            <a:ext cx="1586623" cy="203540"/>
          </a:xfrm>
          <a:prstGeom prst="rect">
            <a:avLst/>
          </a:prstGeom>
          <a:solidFill>
            <a:srgbClr val="C4262E"/>
          </a:solidFill>
          <a:ln w="12700" cap="flat" cmpd="sng" algn="ctr">
            <a:noFill/>
            <a:prstDash val="solid"/>
          </a:ln>
          <a:effectLst/>
        </p:spPr>
        <p:txBody>
          <a:bodyPr rtlCol="0" anchor="ctr"/>
          <a:lstStyle/>
          <a:p>
            <a:pPr fontAlgn="ctr"/>
            <a:r>
              <a:rPr lang="en-US" sz="900" b="1">
                <a:solidFill>
                  <a:schemeClr val="accent5"/>
                </a:solidFill>
              </a:rPr>
              <a:t>Sub initiative 4</a:t>
            </a:r>
          </a:p>
        </p:txBody>
      </p:sp>
      <p:sp>
        <p:nvSpPr>
          <p:cNvPr id="206" name="Rectangle 205">
            <a:extLst>
              <a:ext uri="{FF2B5EF4-FFF2-40B4-BE49-F238E27FC236}">
                <a16:creationId xmlns:a16="http://schemas.microsoft.com/office/drawing/2014/main" id="{037AC44F-4EC1-4FFF-A604-68456FF0BDD6}"/>
              </a:ext>
            </a:extLst>
          </p:cNvPr>
          <p:cNvSpPr/>
          <p:nvPr/>
        </p:nvSpPr>
        <p:spPr>
          <a:xfrm>
            <a:off x="269609" y="4080164"/>
            <a:ext cx="1568521" cy="970914"/>
          </a:xfrm>
          <a:prstGeom prst="rect">
            <a:avLst/>
          </a:prstGeom>
          <a:noFill/>
          <a:ln w="9525" cap="flat" cmpd="sng" algn="ctr">
            <a:noFill/>
            <a:prstDash val="dash"/>
          </a:ln>
          <a:effectLst/>
        </p:spPr>
        <p:txBody>
          <a:bodyPr rtlCol="0" anchor="t" anchorCtr="0"/>
          <a:lstStyle/>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1</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2</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3</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4</a:t>
            </a:r>
            <a:endParaRPr kumimoji="0" lang="en-GB" sz="800" b="0" i="0" u="none" strike="noStrike" kern="0" cap="none" spc="0" normalizeH="0" baseline="0" noProof="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207" name="Rectangle 206">
            <a:extLst>
              <a:ext uri="{FF2B5EF4-FFF2-40B4-BE49-F238E27FC236}">
                <a16:creationId xmlns:a16="http://schemas.microsoft.com/office/drawing/2014/main" id="{C7EAD364-C55C-4A46-A221-456860CD2C5D}"/>
              </a:ext>
            </a:extLst>
          </p:cNvPr>
          <p:cNvSpPr/>
          <p:nvPr/>
        </p:nvSpPr>
        <p:spPr>
          <a:xfrm>
            <a:off x="269609" y="3821004"/>
            <a:ext cx="1580450" cy="203541"/>
          </a:xfrm>
          <a:prstGeom prst="rect">
            <a:avLst/>
          </a:prstGeom>
          <a:solidFill>
            <a:srgbClr val="C4262E"/>
          </a:solidFill>
          <a:ln w="12700" cap="flat" cmpd="sng" algn="ctr">
            <a:noFill/>
            <a:prstDash val="solid"/>
          </a:ln>
          <a:effectLst/>
        </p:spPr>
        <p:txBody>
          <a:bodyPr rtlCol="0" anchor="ctr"/>
          <a:lstStyle/>
          <a:p>
            <a:pPr fontAlgn="ctr"/>
            <a:r>
              <a:rPr lang="en-US" sz="900" b="1">
                <a:solidFill>
                  <a:schemeClr val="accent5"/>
                </a:solidFill>
              </a:rPr>
              <a:t>Sub initiative 3</a:t>
            </a:r>
          </a:p>
        </p:txBody>
      </p:sp>
      <p:sp>
        <p:nvSpPr>
          <p:cNvPr id="209" name="Rectangle 208">
            <a:extLst>
              <a:ext uri="{FF2B5EF4-FFF2-40B4-BE49-F238E27FC236}">
                <a16:creationId xmlns:a16="http://schemas.microsoft.com/office/drawing/2014/main" id="{9837ED24-83EC-4F6A-8D62-5CBAA6080B39}"/>
              </a:ext>
            </a:extLst>
          </p:cNvPr>
          <p:cNvSpPr/>
          <p:nvPr/>
        </p:nvSpPr>
        <p:spPr>
          <a:xfrm>
            <a:off x="269609" y="2373525"/>
            <a:ext cx="1568521" cy="1039971"/>
          </a:xfrm>
          <a:prstGeom prst="rect">
            <a:avLst/>
          </a:prstGeom>
          <a:noFill/>
          <a:ln w="9525" cap="flat" cmpd="sng" algn="ctr">
            <a:noFill/>
            <a:prstDash val="dash"/>
          </a:ln>
          <a:effectLst/>
        </p:spPr>
        <p:txBody>
          <a:bodyPr rtlCol="0" anchor="t" anchorCtr="0"/>
          <a:lstStyle/>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1</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2</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3</a:t>
            </a:r>
          </a:p>
          <a:p>
            <a:pPr marL="85703" lvl="0" indent="-85703">
              <a:spcAft>
                <a:spcPts val="300"/>
              </a:spcAft>
              <a:buFont typeface="Arial" panose="020B0604020202020204" pitchFamily="34" charset="0"/>
              <a:buChar char="•"/>
              <a:defRPr/>
            </a:pPr>
            <a:r>
              <a:rPr lang="en-GB" sz="800" kern="0">
                <a:solidFill>
                  <a:srgbClr val="3F3F3F"/>
                </a:solidFill>
                <a:latin typeface="Arial" panose="020B0604020202020204" pitchFamily="34" charset="0"/>
                <a:cs typeface="Arial" panose="020B0604020202020204" pitchFamily="34" charset="0"/>
              </a:rPr>
              <a:t>Main Growth Driver 4</a:t>
            </a:r>
            <a:endParaRPr kumimoji="0" lang="en-GB" sz="800" b="0" i="0" u="none" strike="noStrike" kern="0" cap="none" spc="0" normalizeH="0" baseline="0" noProof="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210" name="Rectangle 209">
            <a:extLst>
              <a:ext uri="{FF2B5EF4-FFF2-40B4-BE49-F238E27FC236}">
                <a16:creationId xmlns:a16="http://schemas.microsoft.com/office/drawing/2014/main" id="{EAA2CF28-ABE3-40D2-8E67-62F268BED8AE}"/>
              </a:ext>
            </a:extLst>
          </p:cNvPr>
          <p:cNvSpPr/>
          <p:nvPr/>
        </p:nvSpPr>
        <p:spPr>
          <a:xfrm>
            <a:off x="269609" y="2120086"/>
            <a:ext cx="1580450" cy="222883"/>
          </a:xfrm>
          <a:prstGeom prst="rect">
            <a:avLst/>
          </a:prstGeom>
          <a:solidFill>
            <a:srgbClr val="C4262E"/>
          </a:solidFill>
          <a:ln w="12700" cap="flat" cmpd="sng" algn="ctr">
            <a:noFill/>
            <a:prstDash val="solid"/>
          </a:ln>
          <a:effectLst/>
        </p:spPr>
        <p:txBody>
          <a:bodyPr rtlCol="0" anchor="ctr"/>
          <a:lstStyle/>
          <a:p>
            <a:pPr fontAlgn="ctr"/>
            <a:r>
              <a:rPr lang="en-US" sz="900" b="1">
                <a:solidFill>
                  <a:schemeClr val="accent5"/>
                </a:solidFill>
              </a:rPr>
              <a:t>Sub initiative 2</a:t>
            </a:r>
          </a:p>
        </p:txBody>
      </p:sp>
      <p:sp>
        <p:nvSpPr>
          <p:cNvPr id="238" name="Freeform 16">
            <a:extLst>
              <a:ext uri="{FF2B5EF4-FFF2-40B4-BE49-F238E27FC236}">
                <a16:creationId xmlns:a16="http://schemas.microsoft.com/office/drawing/2014/main" id="{2E95C090-5684-4D9E-8344-665B00EA191D}"/>
              </a:ext>
            </a:extLst>
          </p:cNvPr>
          <p:cNvSpPr>
            <a:spLocks/>
          </p:cNvSpPr>
          <p:nvPr/>
        </p:nvSpPr>
        <p:spPr bwMode="auto">
          <a:xfrm>
            <a:off x="2205289" y="5406222"/>
            <a:ext cx="1664244" cy="0"/>
          </a:xfrm>
          <a:custGeom>
            <a:avLst/>
            <a:gdLst>
              <a:gd name="T0" fmla="*/ 0 w 888"/>
              <a:gd name="T1" fmla="*/ 888 w 888"/>
            </a:gdLst>
            <a:ahLst/>
            <a:cxnLst>
              <a:cxn ang="0">
                <a:pos x="T0" y="0"/>
              </a:cxn>
              <a:cxn ang="0">
                <a:pos x="T1" y="0"/>
              </a:cxn>
            </a:cxnLst>
            <a:rect l="0" t="0" r="r" b="b"/>
            <a:pathLst>
              <a:path w="888">
                <a:moveTo>
                  <a:pt x="0" y="0"/>
                </a:moveTo>
                <a:cubicBezTo>
                  <a:pt x="296" y="0"/>
                  <a:pt x="592" y="0"/>
                  <a:pt x="88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41" tIns="30471" rIns="60941" bIns="30471"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3F3F3F"/>
              </a:solidFill>
              <a:effectLst/>
              <a:uLnTx/>
              <a:uFillTx/>
              <a:latin typeface="Arial" panose="020B0604020202020204" pitchFamily="34" charset="0"/>
              <a:ea typeface="+mn-ea"/>
              <a:cs typeface="Arial" panose="020B0604020202020204" pitchFamily="34" charset="0"/>
            </a:endParaRPr>
          </a:p>
        </p:txBody>
      </p:sp>
      <p:graphicFrame>
        <p:nvGraphicFramePr>
          <p:cNvPr id="3" name="Table 3">
            <a:extLst>
              <a:ext uri="{FF2B5EF4-FFF2-40B4-BE49-F238E27FC236}">
                <a16:creationId xmlns:a16="http://schemas.microsoft.com/office/drawing/2014/main" id="{AA1B77CA-B54C-4706-878C-4BC3CCB2B417}"/>
              </a:ext>
            </a:extLst>
          </p:cNvPr>
          <p:cNvGraphicFramePr>
            <a:graphicFrameLocks noGrp="1"/>
          </p:cNvGraphicFramePr>
          <p:nvPr/>
        </p:nvGraphicFramePr>
        <p:xfrm>
          <a:off x="3370470" y="5081348"/>
          <a:ext cx="1982512" cy="1188720"/>
        </p:xfrm>
        <a:graphic>
          <a:graphicData uri="http://schemas.openxmlformats.org/drawingml/2006/table">
            <a:tbl>
              <a:tblPr firstRow="1" bandRow="1">
                <a:tableStyleId>{2D5ABB26-0587-4C30-8999-92F81FD0307C}</a:tableStyleId>
              </a:tblPr>
              <a:tblGrid>
                <a:gridCol w="1622164">
                  <a:extLst>
                    <a:ext uri="{9D8B030D-6E8A-4147-A177-3AD203B41FA5}">
                      <a16:colId xmlns:a16="http://schemas.microsoft.com/office/drawing/2014/main" val="2019494643"/>
                    </a:ext>
                  </a:extLst>
                </a:gridCol>
                <a:gridCol w="360348">
                  <a:extLst>
                    <a:ext uri="{9D8B030D-6E8A-4147-A177-3AD203B41FA5}">
                      <a16:colId xmlns:a16="http://schemas.microsoft.com/office/drawing/2014/main" val="1644865674"/>
                    </a:ext>
                  </a:extLst>
                </a:gridCol>
              </a:tblGrid>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1</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9752970"/>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2</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7319171"/>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3</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8537151"/>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4</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74490609"/>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5</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3533981"/>
                  </a:ext>
                </a:extLst>
              </a:tr>
            </a:tbl>
          </a:graphicData>
        </a:graphic>
      </p:graphicFrame>
      <p:graphicFrame>
        <p:nvGraphicFramePr>
          <p:cNvPr id="7" name="Table 3">
            <a:extLst>
              <a:ext uri="{FF2B5EF4-FFF2-40B4-BE49-F238E27FC236}">
                <a16:creationId xmlns:a16="http://schemas.microsoft.com/office/drawing/2014/main" id="{B8B08435-0CB5-4F90-ACF3-BA022F235609}"/>
              </a:ext>
            </a:extLst>
          </p:cNvPr>
          <p:cNvGraphicFramePr>
            <a:graphicFrameLocks noGrp="1"/>
          </p:cNvGraphicFramePr>
          <p:nvPr/>
        </p:nvGraphicFramePr>
        <p:xfrm>
          <a:off x="5520097" y="5081348"/>
          <a:ext cx="2037984" cy="1188720"/>
        </p:xfrm>
        <a:graphic>
          <a:graphicData uri="http://schemas.openxmlformats.org/drawingml/2006/table">
            <a:tbl>
              <a:tblPr firstRow="1" bandRow="1">
                <a:tableStyleId>{2D5ABB26-0587-4C30-8999-92F81FD0307C}</a:tableStyleId>
              </a:tblPr>
              <a:tblGrid>
                <a:gridCol w="1682420">
                  <a:extLst>
                    <a:ext uri="{9D8B030D-6E8A-4147-A177-3AD203B41FA5}">
                      <a16:colId xmlns:a16="http://schemas.microsoft.com/office/drawing/2014/main" val="2019494643"/>
                    </a:ext>
                  </a:extLst>
                </a:gridCol>
                <a:gridCol w="355564">
                  <a:extLst>
                    <a:ext uri="{9D8B030D-6E8A-4147-A177-3AD203B41FA5}">
                      <a16:colId xmlns:a16="http://schemas.microsoft.com/office/drawing/2014/main" val="1644865674"/>
                    </a:ext>
                  </a:extLst>
                </a:gridCol>
              </a:tblGrid>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1</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9752970"/>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2</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7319171"/>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3</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74490609"/>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4</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4022428"/>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5</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3704210"/>
                  </a:ext>
                </a:extLst>
              </a:tr>
            </a:tbl>
          </a:graphicData>
        </a:graphic>
      </p:graphicFrame>
      <p:graphicFrame>
        <p:nvGraphicFramePr>
          <p:cNvPr id="8" name="Table 3">
            <a:extLst>
              <a:ext uri="{FF2B5EF4-FFF2-40B4-BE49-F238E27FC236}">
                <a16:creationId xmlns:a16="http://schemas.microsoft.com/office/drawing/2014/main" id="{34FAD20A-8922-4E99-9A43-FF814A11A4FB}"/>
              </a:ext>
            </a:extLst>
          </p:cNvPr>
          <p:cNvGraphicFramePr>
            <a:graphicFrameLocks noGrp="1"/>
          </p:cNvGraphicFramePr>
          <p:nvPr/>
        </p:nvGraphicFramePr>
        <p:xfrm>
          <a:off x="7640682" y="5081348"/>
          <a:ext cx="1982266" cy="1189260"/>
        </p:xfrm>
        <a:graphic>
          <a:graphicData uri="http://schemas.openxmlformats.org/drawingml/2006/table">
            <a:tbl>
              <a:tblPr firstRow="1" bandRow="1">
                <a:tableStyleId>{2D5ABB26-0587-4C30-8999-92F81FD0307C}</a:tableStyleId>
              </a:tblPr>
              <a:tblGrid>
                <a:gridCol w="1616787">
                  <a:extLst>
                    <a:ext uri="{9D8B030D-6E8A-4147-A177-3AD203B41FA5}">
                      <a16:colId xmlns:a16="http://schemas.microsoft.com/office/drawing/2014/main" val="2019494643"/>
                    </a:ext>
                  </a:extLst>
                </a:gridCol>
                <a:gridCol w="365479">
                  <a:extLst>
                    <a:ext uri="{9D8B030D-6E8A-4147-A177-3AD203B41FA5}">
                      <a16:colId xmlns:a16="http://schemas.microsoft.com/office/drawing/2014/main" val="1644865674"/>
                    </a:ext>
                  </a:extLst>
                </a:gridCol>
              </a:tblGrid>
              <a:tr h="237852">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1</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9752970"/>
                  </a:ext>
                </a:extLst>
              </a:tr>
              <a:tr h="237852">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2</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7319171"/>
                  </a:ext>
                </a:extLst>
              </a:tr>
              <a:tr h="237852">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3</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74490609"/>
                  </a:ext>
                </a:extLst>
              </a:tr>
              <a:tr h="237852">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4</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3961512"/>
                  </a:ext>
                </a:extLst>
              </a:tr>
              <a:tr h="237852">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5</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522270"/>
                  </a:ext>
                </a:extLst>
              </a:tr>
            </a:tbl>
          </a:graphicData>
        </a:graphic>
      </p:graphicFrame>
      <p:graphicFrame>
        <p:nvGraphicFramePr>
          <p:cNvPr id="9" name="Table 3">
            <a:extLst>
              <a:ext uri="{FF2B5EF4-FFF2-40B4-BE49-F238E27FC236}">
                <a16:creationId xmlns:a16="http://schemas.microsoft.com/office/drawing/2014/main" id="{D2A487BA-D498-403C-8EAA-782990916408}"/>
              </a:ext>
            </a:extLst>
          </p:cNvPr>
          <p:cNvGraphicFramePr>
            <a:graphicFrameLocks noGrp="1"/>
          </p:cNvGraphicFramePr>
          <p:nvPr/>
        </p:nvGraphicFramePr>
        <p:xfrm>
          <a:off x="9788105" y="5081348"/>
          <a:ext cx="1965827" cy="1188720"/>
        </p:xfrm>
        <a:graphic>
          <a:graphicData uri="http://schemas.openxmlformats.org/drawingml/2006/table">
            <a:tbl>
              <a:tblPr firstRow="1" bandRow="1">
                <a:tableStyleId>{2D5ABB26-0587-4C30-8999-92F81FD0307C}</a:tableStyleId>
              </a:tblPr>
              <a:tblGrid>
                <a:gridCol w="1613297">
                  <a:extLst>
                    <a:ext uri="{9D8B030D-6E8A-4147-A177-3AD203B41FA5}">
                      <a16:colId xmlns:a16="http://schemas.microsoft.com/office/drawing/2014/main" val="2019494643"/>
                    </a:ext>
                  </a:extLst>
                </a:gridCol>
                <a:gridCol w="352530">
                  <a:extLst>
                    <a:ext uri="{9D8B030D-6E8A-4147-A177-3AD203B41FA5}">
                      <a16:colId xmlns:a16="http://schemas.microsoft.com/office/drawing/2014/main" val="1644865674"/>
                    </a:ext>
                  </a:extLst>
                </a:gridCol>
              </a:tblGrid>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1</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9752970"/>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2</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7319171"/>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3</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74490609"/>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4</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4022428"/>
                  </a:ext>
                </a:extLst>
              </a:tr>
              <a:tr h="237744">
                <a:tc>
                  <a:txBody>
                    <a:bodyPr/>
                    <a:lstStyle/>
                    <a:p>
                      <a:pPr marL="0" indent="0">
                        <a:buFont typeface="Arial" panose="020B0604020202020204" pitchFamily="34" charset="0"/>
                        <a:buNone/>
                        <a:defRPr/>
                      </a:pPr>
                      <a:r>
                        <a:rPr lang="en-GB" sz="650" kern="0">
                          <a:solidFill>
                            <a:srgbClr val="3F3F3F"/>
                          </a:solidFill>
                          <a:latin typeface="Arial" panose="020B0604020202020204" pitchFamily="34" charset="0"/>
                          <a:cs typeface="Arial" panose="020B0604020202020204" pitchFamily="34" charset="0"/>
                        </a:rPr>
                        <a:t>Activity tracking 5</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3704210"/>
                  </a:ext>
                </a:extLst>
              </a:tr>
            </a:tbl>
          </a:graphicData>
        </a:graphic>
      </p:graphicFrame>
      <p:sp>
        <p:nvSpPr>
          <p:cNvPr id="30" name="Rectangle 29">
            <a:extLst>
              <a:ext uri="{FF2B5EF4-FFF2-40B4-BE49-F238E27FC236}">
                <a16:creationId xmlns:a16="http://schemas.microsoft.com/office/drawing/2014/main" id="{447E34D2-8B95-45ED-BEA5-81B06B4FE9D4}"/>
              </a:ext>
            </a:extLst>
          </p:cNvPr>
          <p:cNvSpPr/>
          <p:nvPr/>
        </p:nvSpPr>
        <p:spPr>
          <a:xfrm>
            <a:off x="269609" y="923241"/>
            <a:ext cx="1580450" cy="5458650"/>
          </a:xfrm>
          <a:prstGeom prst="rect">
            <a:avLst/>
          </a:prstGeom>
          <a:noFill/>
          <a:ln w="15875">
            <a:solidFill>
              <a:srgbClr val="C4262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48" name="Table 47"/>
          <p:cNvGraphicFramePr>
            <a:graphicFrameLocks noGrp="1"/>
          </p:cNvGraphicFramePr>
          <p:nvPr/>
        </p:nvGraphicFramePr>
        <p:xfrm>
          <a:off x="3363052" y="923240"/>
          <a:ext cx="8524148" cy="1504516"/>
        </p:xfrm>
        <a:graphic>
          <a:graphicData uri="http://schemas.openxmlformats.org/drawingml/2006/table">
            <a:tbl>
              <a:tblPr/>
              <a:tblGrid>
                <a:gridCol w="920405">
                  <a:extLst>
                    <a:ext uri="{9D8B030D-6E8A-4147-A177-3AD203B41FA5}">
                      <a16:colId xmlns:a16="http://schemas.microsoft.com/office/drawing/2014/main" val="1621634954"/>
                    </a:ext>
                  </a:extLst>
                </a:gridCol>
                <a:gridCol w="723833">
                  <a:extLst>
                    <a:ext uri="{9D8B030D-6E8A-4147-A177-3AD203B41FA5}">
                      <a16:colId xmlns:a16="http://schemas.microsoft.com/office/drawing/2014/main" val="4046442658"/>
                    </a:ext>
                  </a:extLst>
                </a:gridCol>
                <a:gridCol w="800062">
                  <a:extLst>
                    <a:ext uri="{9D8B030D-6E8A-4147-A177-3AD203B41FA5}">
                      <a16:colId xmlns:a16="http://schemas.microsoft.com/office/drawing/2014/main" val="1020766258"/>
                    </a:ext>
                  </a:extLst>
                </a:gridCol>
                <a:gridCol w="800062">
                  <a:extLst>
                    <a:ext uri="{9D8B030D-6E8A-4147-A177-3AD203B41FA5}">
                      <a16:colId xmlns:a16="http://schemas.microsoft.com/office/drawing/2014/main" val="2666004693"/>
                    </a:ext>
                  </a:extLst>
                </a:gridCol>
                <a:gridCol w="224767">
                  <a:extLst>
                    <a:ext uri="{9D8B030D-6E8A-4147-A177-3AD203B41FA5}">
                      <a16:colId xmlns:a16="http://schemas.microsoft.com/office/drawing/2014/main" val="3186943174"/>
                    </a:ext>
                  </a:extLst>
                </a:gridCol>
                <a:gridCol w="805042">
                  <a:extLst>
                    <a:ext uri="{9D8B030D-6E8A-4147-A177-3AD203B41FA5}">
                      <a16:colId xmlns:a16="http://schemas.microsoft.com/office/drawing/2014/main" val="553271153"/>
                    </a:ext>
                  </a:extLst>
                </a:gridCol>
                <a:gridCol w="805042">
                  <a:extLst>
                    <a:ext uri="{9D8B030D-6E8A-4147-A177-3AD203B41FA5}">
                      <a16:colId xmlns:a16="http://schemas.microsoft.com/office/drawing/2014/main" val="4235365185"/>
                    </a:ext>
                  </a:extLst>
                </a:gridCol>
                <a:gridCol w="805042">
                  <a:extLst>
                    <a:ext uri="{9D8B030D-6E8A-4147-A177-3AD203B41FA5}">
                      <a16:colId xmlns:a16="http://schemas.microsoft.com/office/drawing/2014/main" val="905206811"/>
                    </a:ext>
                  </a:extLst>
                </a:gridCol>
                <a:gridCol w="224767">
                  <a:extLst>
                    <a:ext uri="{9D8B030D-6E8A-4147-A177-3AD203B41FA5}">
                      <a16:colId xmlns:a16="http://schemas.microsoft.com/office/drawing/2014/main" val="137606919"/>
                    </a:ext>
                  </a:extLst>
                </a:gridCol>
                <a:gridCol w="805042">
                  <a:extLst>
                    <a:ext uri="{9D8B030D-6E8A-4147-A177-3AD203B41FA5}">
                      <a16:colId xmlns:a16="http://schemas.microsoft.com/office/drawing/2014/main" val="3038133291"/>
                    </a:ext>
                  </a:extLst>
                </a:gridCol>
                <a:gridCol w="805042">
                  <a:extLst>
                    <a:ext uri="{9D8B030D-6E8A-4147-A177-3AD203B41FA5}">
                      <a16:colId xmlns:a16="http://schemas.microsoft.com/office/drawing/2014/main" val="2277568548"/>
                    </a:ext>
                  </a:extLst>
                </a:gridCol>
                <a:gridCol w="805042">
                  <a:extLst>
                    <a:ext uri="{9D8B030D-6E8A-4147-A177-3AD203B41FA5}">
                      <a16:colId xmlns:a16="http://schemas.microsoft.com/office/drawing/2014/main" val="3014450666"/>
                    </a:ext>
                  </a:extLst>
                </a:gridCol>
              </a:tblGrid>
              <a:tr h="141266">
                <a:tc>
                  <a:txBody>
                    <a:bodyPr/>
                    <a:lstStyle/>
                    <a:p>
                      <a:pPr algn="ctr" rtl="0" fontAlgn="ctr"/>
                      <a:r>
                        <a:rPr lang="en-US" sz="900" b="1" i="0" u="none" strike="noStrike">
                          <a:solidFill>
                            <a:srgbClr val="FFFFFF"/>
                          </a:solidFill>
                          <a:effectLst/>
                          <a:latin typeface="Arial"/>
                        </a:rPr>
                        <a:t>  ($M)</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gridSpan="3">
                  <a:txBody>
                    <a:bodyPr/>
                    <a:lstStyle/>
                    <a:p>
                      <a:pPr algn="ctr" rtl="0" fontAlgn="ctr"/>
                      <a:r>
                        <a:rPr lang="en-US" sz="900" b="1" i="0" u="none" strike="noStrike">
                          <a:solidFill>
                            <a:srgbClr val="FFFFFF"/>
                          </a:solidFill>
                          <a:effectLst/>
                          <a:latin typeface="Arial"/>
                        </a:rPr>
                        <a:t>Quarter YTD</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rtl="0" fontAlgn="ctr"/>
                      <a:endParaRPr lang="en-US" sz="1100" b="1" i="0" u="none" strike="noStrike">
                        <a:solidFill>
                          <a:srgbClr val="FFFFFF"/>
                        </a:solidFill>
                        <a:effectLst/>
                        <a:latin typeface="Arial" panose="020B0604020202020204" pitchFamily="34"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solidFill>
                  </a:tcPr>
                </a:tc>
                <a:tc hMerge="1">
                  <a:txBody>
                    <a:bodyPr/>
                    <a:lstStyle/>
                    <a:p>
                      <a:pPr algn="ctr" rtl="0" fontAlgn="ctr"/>
                      <a:endParaRPr lang="en-US" sz="1100" b="1" i="0" u="none" strike="noStrike">
                        <a:solidFill>
                          <a:srgbClr val="FFFFFF"/>
                        </a:solidFill>
                        <a:effectLst/>
                        <a:latin typeface="Arial" panose="020B0604020202020204" pitchFamily="34"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solidFill>
                  </a:tcPr>
                </a:tc>
                <a:tc>
                  <a:txBody>
                    <a:bodyPr/>
                    <a:lstStyle/>
                    <a:p>
                      <a:pPr algn="ctr" rtl="0" fontAlgn="ctr"/>
                      <a:endParaRPr lang="en-US" sz="800" b="1" i="0" u="none" strike="noStrike">
                        <a:solidFill>
                          <a:srgbClr val="FFFFFF"/>
                        </a:solidFill>
                        <a:effectLst/>
                        <a:latin typeface="Arial" panose="020B0604020202020204" pitchFamily="34"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3">
                  <a:txBody>
                    <a:bodyPr/>
                    <a:lstStyle/>
                    <a:p>
                      <a:pPr algn="ctr" rtl="0" fontAlgn="ctr"/>
                      <a:r>
                        <a:rPr lang="en-US" sz="900" b="1" i="0" u="none" strike="noStrike">
                          <a:solidFill>
                            <a:srgbClr val="FFFFFF"/>
                          </a:solidFill>
                          <a:effectLst/>
                          <a:latin typeface="Arial"/>
                        </a:rPr>
                        <a:t> YTD</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rtl="0" fontAlgn="ctr"/>
                      <a:endParaRPr lang="en-US" sz="1000" b="1" i="0" u="none" strike="noStrike">
                        <a:solidFill>
                          <a:srgbClr val="FFFFFF"/>
                        </a:solidFill>
                        <a:effectLst/>
                        <a:latin typeface="Arial" panose="020B0604020202020204" pitchFamily="34"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chemeClr val="tx1"/>
                    </a:solidFill>
                  </a:tcPr>
                </a:tc>
                <a:tc hMerge="1">
                  <a:txBody>
                    <a:bodyPr/>
                    <a:lstStyle/>
                    <a:p>
                      <a:pPr algn="ctr" rtl="0" fontAlgn="ctr"/>
                      <a:endParaRPr lang="en-US" sz="1000" b="1" i="0" u="none" strike="noStrike">
                        <a:solidFill>
                          <a:srgbClr val="FFFFFF"/>
                        </a:solidFill>
                        <a:effectLst/>
                        <a:latin typeface="Arial" panose="020B0604020202020204" pitchFamily="34"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chemeClr val="tx1"/>
                    </a:solidFill>
                  </a:tcPr>
                </a:tc>
                <a:tc>
                  <a:txBody>
                    <a:bodyPr/>
                    <a:lstStyle/>
                    <a:p>
                      <a:pPr algn="ctr" rtl="0" fontAlgn="ctr"/>
                      <a:endParaRPr lang="en-US" sz="800" b="1" i="0" u="none" strike="noStrike">
                        <a:solidFill>
                          <a:srgbClr val="FFFFFF"/>
                        </a:solidFill>
                        <a:effectLst/>
                        <a:latin typeface="Arial" panose="020B0604020202020204" pitchFamily="34"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3">
                  <a:txBody>
                    <a:bodyPr/>
                    <a:lstStyle/>
                    <a:p>
                      <a:pPr algn="ctr" rtl="0" fontAlgn="ctr"/>
                      <a:r>
                        <a:rPr lang="en-US" sz="900" b="1" i="0" u="none" strike="noStrike">
                          <a:solidFill>
                            <a:srgbClr val="FFFFFF"/>
                          </a:solidFill>
                          <a:effectLst/>
                          <a:latin typeface="Arial"/>
                        </a:rPr>
                        <a:t>Full</a:t>
                      </a:r>
                      <a:r>
                        <a:rPr lang="en-US" sz="900" b="1" i="0" u="none" strike="noStrike" baseline="0">
                          <a:solidFill>
                            <a:srgbClr val="FFFFFF"/>
                          </a:solidFill>
                          <a:effectLst/>
                          <a:latin typeface="Arial"/>
                        </a:rPr>
                        <a:t> Year</a:t>
                      </a:r>
                      <a:endParaRPr lang="en-US" sz="900" b="1" i="0" u="none" strike="noStrike">
                        <a:solidFill>
                          <a:srgbClr val="FFFFFF"/>
                        </a:solidFill>
                        <a:effectLst/>
                        <a:latin typeface="Arial"/>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rtl="0" fontAlgn="ctr"/>
                      <a:endParaRPr lang="en-US" sz="1000" b="1" i="0" u="none" strike="noStrike">
                        <a:solidFill>
                          <a:srgbClr val="FFFFFF"/>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rtl="0" fontAlgn="ctr"/>
                      <a:endParaRPr lang="en-US" sz="1000" b="1" i="0" u="none" strike="noStrike">
                        <a:solidFill>
                          <a:srgbClr val="FFFFFF"/>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604557052"/>
                  </a:ext>
                </a:extLst>
              </a:tr>
              <a:tr h="141266">
                <a:tc>
                  <a:txBody>
                    <a:bodyPr/>
                    <a:lstStyle/>
                    <a:p>
                      <a:pPr algn="l" rtl="0" fontAlgn="ctr"/>
                      <a:endParaRPr lang="en-US" sz="900" b="1" i="0" u="none" strike="noStrike">
                        <a:solidFill>
                          <a:schemeClr val="accent5"/>
                        </a:solidFill>
                        <a:effectLst/>
                        <a:latin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algn="ctr"/>
                      <a:r>
                        <a:rPr lang="en-US" sz="900" b="1">
                          <a:latin typeface="Arial"/>
                          <a:cs typeface="Arial"/>
                        </a:rPr>
                        <a:t>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r>
                        <a:rPr lang="en-US" sz="900" b="1">
                          <a:latin typeface="Arial"/>
                          <a:cs typeface="Arial"/>
                        </a:rPr>
                        <a:t>AOP</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r>
                        <a:rPr lang="en-US" sz="900" b="1">
                          <a:latin typeface="Arial"/>
                          <a:cs typeface="Arial"/>
                        </a:rPr>
                        <a:t>Actual</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endParaRPr lang="en-US" sz="10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900" b="1">
                          <a:latin typeface="Arial"/>
                          <a:cs typeface="Arial"/>
                        </a:rPr>
                        <a:t>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r>
                        <a:rPr lang="en-US" sz="900" b="1">
                          <a:latin typeface="Arial"/>
                          <a:cs typeface="Arial"/>
                        </a:rPr>
                        <a:t>AOP</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r>
                        <a:rPr lang="en-US" sz="900" b="1">
                          <a:latin typeface="Arial"/>
                          <a:cs typeface="Arial"/>
                        </a:rPr>
                        <a:t>Actual</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endParaRPr lang="en-US" sz="10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000" b="1">
                          <a:latin typeface="Arial"/>
                          <a:cs typeface="Arial"/>
                        </a:rPr>
                        <a:t>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r>
                        <a:rPr lang="en-US" sz="900" b="1">
                          <a:latin typeface="Arial"/>
                          <a:cs typeface="Arial"/>
                        </a:rPr>
                        <a:t>AOP</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r>
                        <a:rPr lang="en-US" sz="900" b="1">
                          <a:latin typeface="Arial"/>
                          <a:cs typeface="Arial"/>
                        </a:rPr>
                        <a:t>Forecast</a:t>
                      </a: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844801082"/>
                  </a:ext>
                </a:extLst>
              </a:tr>
              <a:tr h="242170">
                <a:tc>
                  <a:txBody>
                    <a:bodyPr/>
                    <a:lstStyle/>
                    <a:p>
                      <a:pPr algn="l" rtl="0" fontAlgn="ctr"/>
                      <a:r>
                        <a:rPr lang="en-US" sz="800" b="1" i="0" u="none" strike="noStrike">
                          <a:solidFill>
                            <a:schemeClr val="accent5"/>
                          </a:solidFill>
                          <a:effectLst/>
                          <a:latin typeface="Arial"/>
                        </a:rPr>
                        <a:t>Total</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lvl="0" algn="ctr">
                        <a:buNone/>
                      </a:pPr>
                      <a:r>
                        <a:rPr lang="en-US" sz="700" b="1" i="0" u="none" strike="noStrike" noProof="0">
                          <a:latin typeface="Arial"/>
                        </a:rPr>
                        <a:t>$</a:t>
                      </a:r>
                      <a:r>
                        <a:rPr lang="en-US" sz="700" b="1" i="0" u="none" strike="noStrike" noProof="0" err="1">
                          <a:latin typeface="Arial"/>
                        </a:rPr>
                        <a:t>xxM</a:t>
                      </a:r>
                      <a:endParaRPr lang="en-US" sz="600"/>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lvl="0" algn="ctr">
                        <a:buNone/>
                      </a:pPr>
                      <a:r>
                        <a:rPr lang="en-US" sz="700" b="1" i="0" u="none" strike="noStrike" noProof="0">
                          <a:latin typeface="Arial"/>
                        </a:rPr>
                        <a:t>$</a:t>
                      </a:r>
                      <a:r>
                        <a:rPr lang="en-US" sz="700" b="1" i="0" u="none" strike="noStrike" noProof="0" err="1">
                          <a:latin typeface="Arial"/>
                        </a:rPr>
                        <a:t>xxM</a:t>
                      </a:r>
                      <a:endParaRPr lang="en-US" sz="600"/>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lvl="0" algn="ctr">
                        <a:buNone/>
                      </a:pPr>
                      <a:r>
                        <a:rPr lang="en-US" sz="700" b="1" i="0" u="none" strike="noStrike" noProof="0">
                          <a:latin typeface="Arial"/>
                        </a:rPr>
                        <a:t>$</a:t>
                      </a:r>
                      <a:r>
                        <a:rPr lang="en-US" sz="700" b="1" i="0" u="none" strike="noStrike" noProof="0" err="1">
                          <a:latin typeface="Arial"/>
                        </a:rPr>
                        <a:t>xxM</a:t>
                      </a:r>
                      <a:endParaRPr lang="en-US" sz="600"/>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extLst>
                  <a:ext uri="{0D108BD9-81ED-4DB2-BD59-A6C34878D82A}">
                    <a16:rowId xmlns:a16="http://schemas.microsoft.com/office/drawing/2014/main" val="3848404559"/>
                  </a:ext>
                </a:extLst>
              </a:tr>
              <a:tr h="24217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ub initiative 1</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rtl="0">
                        <a:lnSpc>
                          <a:spcPct val="100000"/>
                        </a:lnSpc>
                        <a:spcBef>
                          <a:spcPts val="0"/>
                        </a:spcBef>
                        <a:spcAft>
                          <a:spcPts val="0"/>
                        </a:spcAft>
                        <a:buClrTx/>
                        <a:buSzTx/>
                        <a:buFontTx/>
                        <a:buNone/>
                      </a:pPr>
                      <a:r>
                        <a:rPr lang="en-US" sz="700" b="1" i="0" u="none" strike="noStrike" kern="1200" cap="none" spc="0" normalizeH="0" baseline="0" noProof="0">
                          <a:ln>
                            <a:noFill/>
                          </a:ln>
                          <a:solidFill>
                            <a:srgbClr val="4C4D4E"/>
                          </a:solidFill>
                          <a:effectLst/>
                          <a:uLnTx/>
                          <a:uFillTx/>
                          <a:latin typeface="Arial"/>
                          <a:ea typeface="+mn-ea"/>
                          <a:cs typeface="Arial"/>
                        </a:rPr>
                        <a:t>$</a:t>
                      </a:r>
                      <a:r>
                        <a:rPr lang="en-US" sz="700" b="1" i="0" u="none" strike="noStrike" kern="1200" cap="none" spc="0" normalizeH="0" baseline="0" noProof="0" err="1">
                          <a:ln>
                            <a:noFill/>
                          </a:ln>
                          <a:solidFill>
                            <a:srgbClr val="4C4D4E"/>
                          </a:solidFill>
                          <a:effectLst/>
                          <a:uLnTx/>
                          <a:uFillTx/>
                          <a:latin typeface="Arial"/>
                          <a:ea typeface="+mn-ea"/>
                          <a:cs typeface="Arial"/>
                        </a:rPr>
                        <a:t>xxM</a:t>
                      </a:r>
                      <a:endParaRPr lang="en-US"/>
                    </a:p>
                    <a:p>
                      <a:pPr marL="0" marR="0" lvl="0" indent="0" algn="ctr" rtl="0">
                        <a:lnSpc>
                          <a:spcPct val="100000"/>
                        </a:lnSpc>
                        <a:spcBef>
                          <a:spcPts val="0"/>
                        </a:spcBef>
                        <a:spcAft>
                          <a:spcPts val="0"/>
                        </a:spcAft>
                        <a:buClrTx/>
                        <a:buSzTx/>
                        <a:buFontTx/>
                        <a:buNone/>
                      </a:pPr>
                      <a:r>
                        <a:rPr lang="en-US" sz="600" b="0" i="1" u="none" strike="noStrike" kern="1200" cap="none" spc="0" normalizeH="0" baseline="0" noProof="0">
                          <a:ln>
                            <a:noFill/>
                          </a:ln>
                          <a:solidFill>
                            <a:srgbClr val="4C4D4E"/>
                          </a:solidFill>
                          <a:effectLst/>
                          <a:uLnTx/>
                          <a:uFillTx/>
                          <a:latin typeface="Arial"/>
                          <a:ea typeface="+mn-ea"/>
                          <a:cs typeface="Arial"/>
                        </a:rPr>
                        <a:t>x% vs PY</a:t>
                      </a:r>
                      <a:endParaRPr kumimoji="0" lang="en-US"/>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rtl="0">
                        <a:lnSpc>
                          <a:spcPct val="100000"/>
                        </a:lnSpc>
                        <a:spcBef>
                          <a:spcPts val="0"/>
                        </a:spcBef>
                        <a:spcAft>
                          <a:spcPts val="0"/>
                        </a:spcAft>
                        <a:buClrTx/>
                        <a:buSzTx/>
                        <a:buFontTx/>
                        <a:buNone/>
                      </a:pPr>
                      <a:r>
                        <a:rPr lang="en-US" sz="700" b="1" i="0" u="none" strike="noStrike" kern="1200" cap="none" spc="0" normalizeH="0" baseline="0" noProof="0">
                          <a:ln>
                            <a:noFill/>
                          </a:ln>
                          <a:solidFill>
                            <a:srgbClr val="4C4D4E"/>
                          </a:solidFill>
                          <a:effectLst/>
                          <a:uLnTx/>
                          <a:uFillTx/>
                          <a:latin typeface="Arial"/>
                          <a:ea typeface="+mn-ea"/>
                          <a:cs typeface="Arial"/>
                        </a:rPr>
                        <a:t>$</a:t>
                      </a:r>
                      <a:r>
                        <a:rPr lang="en-US" sz="700" b="1" i="0" u="none" strike="noStrike" kern="1200" cap="none" spc="0" normalizeH="0" baseline="0" noProof="0" err="1">
                          <a:ln>
                            <a:noFill/>
                          </a:ln>
                          <a:solidFill>
                            <a:srgbClr val="4C4D4E"/>
                          </a:solidFill>
                          <a:effectLst/>
                          <a:uLnTx/>
                          <a:uFillTx/>
                          <a:latin typeface="Arial"/>
                          <a:ea typeface="+mn-ea"/>
                          <a:cs typeface="Arial"/>
                        </a:rPr>
                        <a:t>xxM</a:t>
                      </a:r>
                      <a:endParaRPr lang="en-US"/>
                    </a:p>
                    <a:p>
                      <a:pPr marL="0" marR="0" lvl="0" indent="0" algn="ctr" rtl="0">
                        <a:lnSpc>
                          <a:spcPct val="100000"/>
                        </a:lnSpc>
                        <a:spcBef>
                          <a:spcPts val="0"/>
                        </a:spcBef>
                        <a:spcAft>
                          <a:spcPts val="0"/>
                        </a:spcAft>
                        <a:buClrTx/>
                        <a:buSzTx/>
                        <a:buFontTx/>
                        <a:buNone/>
                      </a:pPr>
                      <a:r>
                        <a:rPr lang="en-US" sz="600" b="0" i="1" u="none" strike="noStrike" kern="1200" cap="none" spc="0" normalizeH="0" baseline="0" noProof="0">
                          <a:ln>
                            <a:noFill/>
                          </a:ln>
                          <a:solidFill>
                            <a:srgbClr val="4C4D4E"/>
                          </a:solidFill>
                          <a:effectLst/>
                          <a:uLnTx/>
                          <a:uFillTx/>
                          <a:latin typeface="Arial"/>
                          <a:ea typeface="+mn-ea"/>
                          <a:cs typeface="Arial"/>
                        </a:rPr>
                        <a:t>x% vs PY</a:t>
                      </a:r>
                      <a:endParaRPr kumimoji="0" lang="en-US"/>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rtl="0">
                        <a:lnSpc>
                          <a:spcPct val="100000"/>
                        </a:lnSpc>
                        <a:spcBef>
                          <a:spcPts val="0"/>
                        </a:spcBef>
                        <a:spcAft>
                          <a:spcPts val="0"/>
                        </a:spcAft>
                        <a:buClrTx/>
                        <a:buSzTx/>
                        <a:buFontTx/>
                        <a:buNone/>
                      </a:pPr>
                      <a:r>
                        <a:rPr lang="en-US" sz="700" b="1" i="0" u="none" strike="noStrike" kern="1200" cap="none" spc="0" normalizeH="0" baseline="0" noProof="0">
                          <a:ln>
                            <a:noFill/>
                          </a:ln>
                          <a:solidFill>
                            <a:srgbClr val="4C4D4E"/>
                          </a:solidFill>
                          <a:effectLst/>
                          <a:uLnTx/>
                          <a:uFillTx/>
                          <a:latin typeface="Arial"/>
                          <a:ea typeface="+mn-ea"/>
                          <a:cs typeface="Arial"/>
                        </a:rPr>
                        <a:t>$</a:t>
                      </a:r>
                      <a:r>
                        <a:rPr lang="en-US" sz="700" b="1" i="0" u="none" strike="noStrike" kern="1200" cap="none" spc="0" normalizeH="0" baseline="0" noProof="0" err="1">
                          <a:ln>
                            <a:noFill/>
                          </a:ln>
                          <a:solidFill>
                            <a:srgbClr val="4C4D4E"/>
                          </a:solidFill>
                          <a:effectLst/>
                          <a:uLnTx/>
                          <a:uFillTx/>
                          <a:latin typeface="Arial"/>
                          <a:ea typeface="+mn-ea"/>
                          <a:cs typeface="Arial"/>
                        </a:rPr>
                        <a:t>xxM</a:t>
                      </a:r>
                      <a:endParaRPr lang="en-US"/>
                    </a:p>
                    <a:p>
                      <a:pPr marL="0" marR="0" lvl="0" indent="0" algn="ctr" rtl="0">
                        <a:lnSpc>
                          <a:spcPct val="100000"/>
                        </a:lnSpc>
                        <a:spcBef>
                          <a:spcPts val="0"/>
                        </a:spcBef>
                        <a:spcAft>
                          <a:spcPts val="0"/>
                        </a:spcAft>
                        <a:buClrTx/>
                        <a:buSzTx/>
                        <a:buFontTx/>
                        <a:buNone/>
                      </a:pPr>
                      <a:r>
                        <a:rPr lang="en-US" sz="600" b="0" i="1" u="none" strike="noStrike" kern="1200" cap="none" spc="0" normalizeH="0" baseline="0" noProof="0">
                          <a:ln>
                            <a:noFill/>
                          </a:ln>
                          <a:solidFill>
                            <a:srgbClr val="4C4D4E"/>
                          </a:solidFill>
                          <a:effectLst/>
                          <a:uLnTx/>
                          <a:uFillTx/>
                          <a:latin typeface="Arial"/>
                          <a:ea typeface="+mn-ea"/>
                          <a:cs typeface="Arial"/>
                        </a:rPr>
                        <a:t>x% vs PY</a:t>
                      </a:r>
                      <a:endParaRPr kumimoji="0" lang="en-US"/>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3722416598"/>
                  </a:ext>
                </a:extLst>
              </a:tr>
              <a:tr h="24217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ub initiative 2</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387621837"/>
                  </a:ext>
                </a:extLst>
              </a:tr>
              <a:tr h="24217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ub initiative 3</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2011829157"/>
                  </a:ext>
                </a:extLst>
              </a:tr>
              <a:tr h="107631">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ub initiative 4</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a:t>
                      </a:r>
                      <a:r>
                        <a:rPr kumimoji="0" lang="en-US" sz="700" b="1" i="0" u="none" strike="noStrike" kern="1200" cap="none" spc="0" normalizeH="0" baseline="0" noProof="0" err="1">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a:t>
                      </a:r>
                      <a:r>
                        <a:rPr kumimoji="0" lang="en-US" sz="700" b="1" i="0" u="none" strike="noStrike" kern="1200" cap="none" spc="0" normalizeH="0" baseline="0" noProof="0" err="1">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5A5A5A"/>
                          </a:solidFill>
                          <a:effectLst/>
                          <a:uLnTx/>
                          <a:uFillTx/>
                          <a:latin typeface="Arial"/>
                          <a:ea typeface="+mn-ea"/>
                          <a:cs typeface="+mn-cs"/>
                        </a:rPr>
                        <a:t>$</a:t>
                      </a:r>
                      <a:r>
                        <a:rPr kumimoji="0" lang="en-US" sz="700" b="1" i="0" u="none" strike="noStrike" kern="1200" cap="none" spc="0" normalizeH="0" baseline="0" noProof="0" err="1">
                          <a:ln>
                            <a:noFill/>
                          </a:ln>
                          <a:solidFill>
                            <a:srgbClr val="5A5A5A"/>
                          </a:solidFill>
                          <a:effectLst/>
                          <a:uLnTx/>
                          <a:uFillTx/>
                          <a:latin typeface="Arial"/>
                          <a:ea typeface="+mn-ea"/>
                          <a:cs typeface="+mn-cs"/>
                        </a:rPr>
                        <a:t>xxM</a:t>
                      </a:r>
                      <a:endParaRPr kumimoji="0" lang="en-US" sz="600" b="0" i="0" u="none" strike="noStrike" kern="1200" cap="none" spc="0" normalizeH="0" baseline="0" noProof="0">
                        <a:ln>
                          <a:noFill/>
                        </a:ln>
                        <a:solidFill>
                          <a:srgbClr val="5A5A5A"/>
                        </a:solidFill>
                        <a:effectLst/>
                        <a:uLnTx/>
                        <a:uFillTx/>
                        <a:latin typeface="Arial" panose="020B0604020202020204"/>
                        <a:ea typeface="+mn-ea"/>
                        <a:cs typeface="+mn-cs"/>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xx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C4D4E"/>
                          </a:solidFill>
                          <a:effectLst/>
                          <a:uLnTx/>
                          <a:uFillTx/>
                          <a:latin typeface="Arial"/>
                          <a:ea typeface="+mn-ea"/>
                          <a:cs typeface="Arial"/>
                        </a:rPr>
                        <a:t>$</a:t>
                      </a:r>
                      <a:r>
                        <a:rPr kumimoji="0" lang="en-US" sz="700" b="1" i="0" u="none" strike="noStrike" kern="1200" cap="none" spc="0" normalizeH="0" baseline="0" noProof="0" err="1">
                          <a:ln>
                            <a:noFill/>
                          </a:ln>
                          <a:solidFill>
                            <a:srgbClr val="4C4D4E"/>
                          </a:solidFill>
                          <a:effectLst/>
                          <a:uLnTx/>
                          <a:uFillTx/>
                          <a:latin typeface="Arial"/>
                          <a:ea typeface="+mn-ea"/>
                          <a:cs typeface="Arial"/>
                        </a:rPr>
                        <a:t>xxM</a:t>
                      </a:r>
                      <a:endParaRPr kumimoji="0" lang="en-US" sz="700" b="1" i="0" u="none" strike="noStrike" kern="1200" cap="none" spc="0" normalizeH="0" baseline="0" noProof="0">
                        <a:ln>
                          <a:noFill/>
                        </a:ln>
                        <a:solidFill>
                          <a:srgbClr val="4C4D4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4C4D4E"/>
                          </a:solidFill>
                          <a:effectLst/>
                          <a:uLnTx/>
                          <a:uFillTx/>
                          <a:latin typeface="Arial"/>
                          <a:ea typeface="+mn-ea"/>
                          <a:cs typeface="Arial"/>
                        </a:rPr>
                        <a:t>x% vs PY</a:t>
                      </a: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474725154"/>
                  </a:ext>
                </a:extLst>
              </a:tr>
              <a:tr h="134539">
                <a:tc vMerge="1">
                  <a:txBody>
                    <a:bodyPr/>
                    <a:lstStyle/>
                    <a:p>
                      <a:pPr algn="l" rtl="0" fontAlgn="ctr"/>
                      <a:endParaRPr lang="en-US" sz="1000" b="1" i="0" u="none" strike="noStrike">
                        <a:solidFill>
                          <a:schemeClr val="accent5"/>
                        </a:solidFill>
                        <a:effectLst/>
                        <a:latin typeface="Arial" panose="020B0604020202020204" pitchFamily="34" charset="0"/>
                      </a:endParaRPr>
                    </a:p>
                  </a:txBody>
                  <a:tcPr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vMerge="1">
                  <a:txBody>
                    <a:bodyPr/>
                    <a:lstStyle/>
                    <a:p>
                      <a:pPr algn="ctr"/>
                      <a:endParaRPr lang="en-US" sz="900" b="1">
                        <a:latin typeface="Arial" panose="020B0604020202020204" pitchFamily="34" charset="0"/>
                        <a:cs typeface="Arial" panose="020B0604020202020204" pitchFamily="34" charset="0"/>
                      </a:endParaRPr>
                    </a:p>
                  </a:txBody>
                  <a:tcPr marL="91447" marR="91447" marT="45715" marB="4571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vMerge="1">
                  <a:txBody>
                    <a:bodyPr/>
                    <a:lstStyle/>
                    <a:p>
                      <a:pPr algn="ctr"/>
                      <a:endParaRPr lang="en-US" sz="800" b="0" i="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i="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vMerge="1">
                  <a:txBody>
                    <a:bodyPr/>
                    <a:lstStyle/>
                    <a:p>
                      <a:pPr algn="ctr"/>
                      <a:endParaRPr lang="en-US" sz="900" b="1">
                        <a:latin typeface="Arial" panose="020B0604020202020204" pitchFamily="34" charset="0"/>
                        <a:cs typeface="Arial" panose="020B0604020202020204" pitchFamily="34" charset="0"/>
                      </a:endParaRPr>
                    </a:p>
                  </a:txBody>
                  <a:tcPr marL="91447" marR="91447" marT="45715" marB="4571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vMerge="1">
                  <a:txBody>
                    <a:bodyPr/>
                    <a:lstStyle/>
                    <a:p>
                      <a:pPr algn="ctr"/>
                      <a:endParaRPr lang="en-US" sz="800" b="0" i="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i="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vMerge="1">
                  <a:txBody>
                    <a:bodyPr/>
                    <a:lstStyle/>
                    <a:p>
                      <a:pPr algn="ctr"/>
                      <a:endParaRPr lang="en-US" sz="900" b="1">
                        <a:latin typeface="Arial" panose="020B0604020202020204" pitchFamily="34" charset="0"/>
                        <a:cs typeface="Arial" panose="020B0604020202020204" pitchFamily="34" charset="0"/>
                      </a:endParaRPr>
                    </a:p>
                  </a:txBody>
                  <a:tcPr marL="91447" marR="91447" marT="45715" marB="4571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vMerge="1">
                  <a:txBody>
                    <a:bodyPr/>
                    <a:lstStyle/>
                    <a:p>
                      <a:pPr algn="ctr"/>
                      <a:endParaRPr lang="en-US" sz="800" b="0" i="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i="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1029367325"/>
                  </a:ext>
                </a:extLst>
              </a:tr>
            </a:tbl>
          </a:graphicData>
        </a:graphic>
      </p:graphicFrame>
      <p:sp>
        <p:nvSpPr>
          <p:cNvPr id="49" name="TextBox 48">
            <a:extLst>
              <a:ext uri="{FF2B5EF4-FFF2-40B4-BE49-F238E27FC236}">
                <a16:creationId xmlns:a16="http://schemas.microsoft.com/office/drawing/2014/main" id="{3D8E8B4F-C5E7-4424-9AA8-A6FF1A3527F1}"/>
              </a:ext>
            </a:extLst>
          </p:cNvPr>
          <p:cNvSpPr txBox="1"/>
          <p:nvPr/>
        </p:nvSpPr>
        <p:spPr>
          <a:xfrm>
            <a:off x="1944624" y="1123890"/>
            <a:ext cx="1295400" cy="400110"/>
          </a:xfrm>
          <a:prstGeom prst="rect">
            <a:avLst/>
          </a:prstGeom>
          <a:noFill/>
        </p:spPr>
        <p:txBody>
          <a:bodyPr wrap="square" rtlCol="0">
            <a:spAutoFit/>
          </a:bodyPr>
          <a:lstStyle/>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FINANCIAL PERFORMANCE</a:t>
            </a:r>
          </a:p>
        </p:txBody>
      </p:sp>
      <p:graphicFrame>
        <p:nvGraphicFramePr>
          <p:cNvPr id="51" name="Table 50"/>
          <p:cNvGraphicFramePr>
            <a:graphicFrameLocks noGrp="1"/>
          </p:cNvGraphicFramePr>
          <p:nvPr/>
        </p:nvGraphicFramePr>
        <p:xfrm>
          <a:off x="3352800" y="2884452"/>
          <a:ext cx="8534400" cy="1415326"/>
        </p:xfrm>
        <a:graphic>
          <a:graphicData uri="http://schemas.openxmlformats.org/drawingml/2006/table">
            <a:tbl>
              <a:tblPr/>
              <a:tblGrid>
                <a:gridCol w="1390677">
                  <a:extLst>
                    <a:ext uri="{9D8B030D-6E8A-4147-A177-3AD203B41FA5}">
                      <a16:colId xmlns:a16="http://schemas.microsoft.com/office/drawing/2014/main" val="1621634954"/>
                    </a:ext>
                  </a:extLst>
                </a:gridCol>
                <a:gridCol w="904479">
                  <a:extLst>
                    <a:ext uri="{9D8B030D-6E8A-4147-A177-3AD203B41FA5}">
                      <a16:colId xmlns:a16="http://schemas.microsoft.com/office/drawing/2014/main" val="4046442658"/>
                    </a:ext>
                  </a:extLst>
                </a:gridCol>
                <a:gridCol w="1116790">
                  <a:extLst>
                    <a:ext uri="{9D8B030D-6E8A-4147-A177-3AD203B41FA5}">
                      <a16:colId xmlns:a16="http://schemas.microsoft.com/office/drawing/2014/main" val="2666004693"/>
                    </a:ext>
                  </a:extLst>
                </a:gridCol>
                <a:gridCol w="313747">
                  <a:extLst>
                    <a:ext uri="{9D8B030D-6E8A-4147-A177-3AD203B41FA5}">
                      <a16:colId xmlns:a16="http://schemas.microsoft.com/office/drawing/2014/main" val="3186943174"/>
                    </a:ext>
                  </a:extLst>
                </a:gridCol>
                <a:gridCol w="1123740">
                  <a:extLst>
                    <a:ext uri="{9D8B030D-6E8A-4147-A177-3AD203B41FA5}">
                      <a16:colId xmlns:a16="http://schemas.microsoft.com/office/drawing/2014/main" val="4235365185"/>
                    </a:ext>
                  </a:extLst>
                </a:gridCol>
                <a:gridCol w="1123740">
                  <a:extLst>
                    <a:ext uri="{9D8B030D-6E8A-4147-A177-3AD203B41FA5}">
                      <a16:colId xmlns:a16="http://schemas.microsoft.com/office/drawing/2014/main" val="905206811"/>
                    </a:ext>
                  </a:extLst>
                </a:gridCol>
                <a:gridCol w="313747">
                  <a:extLst>
                    <a:ext uri="{9D8B030D-6E8A-4147-A177-3AD203B41FA5}">
                      <a16:colId xmlns:a16="http://schemas.microsoft.com/office/drawing/2014/main" val="137606919"/>
                    </a:ext>
                  </a:extLst>
                </a:gridCol>
                <a:gridCol w="1123740">
                  <a:extLst>
                    <a:ext uri="{9D8B030D-6E8A-4147-A177-3AD203B41FA5}">
                      <a16:colId xmlns:a16="http://schemas.microsoft.com/office/drawing/2014/main" val="2277568548"/>
                    </a:ext>
                  </a:extLst>
                </a:gridCol>
                <a:gridCol w="1123740">
                  <a:extLst>
                    <a:ext uri="{9D8B030D-6E8A-4147-A177-3AD203B41FA5}">
                      <a16:colId xmlns:a16="http://schemas.microsoft.com/office/drawing/2014/main" val="3014450666"/>
                    </a:ext>
                  </a:extLst>
                </a:gridCol>
              </a:tblGrid>
              <a:tr h="225263">
                <a:tc>
                  <a:txBody>
                    <a:bodyPr/>
                    <a:lstStyle/>
                    <a:p>
                      <a:pPr algn="ctr" rtl="0" fontAlgn="ctr"/>
                      <a:endParaRPr lang="en-US" sz="900" b="1" i="0" u="none" strike="noStrike">
                        <a:solidFill>
                          <a:srgbClr val="FFFFFF"/>
                        </a:solidFill>
                        <a:effectLst/>
                        <a:latin typeface="Arial" panose="020B0604020202020204" pitchFamily="34"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gridSpan="2">
                  <a:txBody>
                    <a:bodyPr/>
                    <a:lstStyle/>
                    <a:p>
                      <a:pPr algn="ctr" rtl="0" fontAlgn="ctr"/>
                      <a:r>
                        <a:rPr lang="en-US" sz="900" b="1" i="0" u="none" strike="noStrike">
                          <a:solidFill>
                            <a:srgbClr val="FFFFFF"/>
                          </a:solidFill>
                          <a:effectLst/>
                          <a:latin typeface="Arial"/>
                        </a:rPr>
                        <a:t>Quarter 1 YTD</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rtl="0" fontAlgn="ctr"/>
                      <a:endParaRPr lang="en-US" sz="1100" b="1" i="0" u="none" strike="noStrike">
                        <a:solidFill>
                          <a:srgbClr val="FFFFFF"/>
                        </a:solidFill>
                        <a:effectLst/>
                        <a:latin typeface="Arial" panose="020B0604020202020204" pitchFamily="34"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solidFill>
                  </a:tcPr>
                </a:tc>
                <a:tc>
                  <a:txBody>
                    <a:bodyPr/>
                    <a:lstStyle/>
                    <a:p>
                      <a:pPr algn="ctr" rtl="0" fontAlgn="ctr"/>
                      <a:endParaRPr lang="en-US" sz="800" b="1" i="0" u="none" strike="noStrike">
                        <a:solidFill>
                          <a:srgbClr val="FFFFFF"/>
                        </a:solidFill>
                        <a:effectLst/>
                        <a:latin typeface="Arial" panose="020B0604020202020204" pitchFamily="34"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algn="ctr" rtl="0" fontAlgn="ctr"/>
                      <a:r>
                        <a:rPr lang="en-US" sz="900" b="1" i="0" u="none" strike="noStrike">
                          <a:solidFill>
                            <a:srgbClr val="FFFFFF"/>
                          </a:solidFill>
                          <a:effectLst/>
                          <a:latin typeface="Arial"/>
                        </a:rPr>
                        <a:t> YTD</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rtl="0" fontAlgn="ctr"/>
                      <a:endParaRPr lang="en-US" sz="1000" b="1" i="0" u="none" strike="noStrike">
                        <a:solidFill>
                          <a:srgbClr val="FFFFFF"/>
                        </a:solidFill>
                        <a:effectLst/>
                        <a:latin typeface="Arial" panose="020B0604020202020204" pitchFamily="34"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chemeClr val="tx1"/>
                    </a:solidFill>
                  </a:tcPr>
                </a:tc>
                <a:tc>
                  <a:txBody>
                    <a:bodyPr/>
                    <a:lstStyle/>
                    <a:p>
                      <a:pPr algn="ctr" rtl="0" fontAlgn="ctr"/>
                      <a:endParaRPr lang="en-US" sz="800" b="1" i="0" u="none" strike="noStrike">
                        <a:solidFill>
                          <a:srgbClr val="FFFFFF"/>
                        </a:solidFill>
                        <a:effectLst/>
                        <a:latin typeface="Arial" panose="020B0604020202020204" pitchFamily="34"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algn="ctr" rtl="0" fontAlgn="ctr"/>
                      <a:r>
                        <a:rPr lang="en-US" sz="900" b="1" i="0" u="none" strike="noStrike">
                          <a:solidFill>
                            <a:srgbClr val="FFFFFF"/>
                          </a:solidFill>
                          <a:effectLst/>
                          <a:latin typeface="Arial"/>
                        </a:rPr>
                        <a:t>2021 Full</a:t>
                      </a:r>
                      <a:r>
                        <a:rPr lang="en-US" sz="900" b="1" i="0" u="none" strike="noStrike" baseline="0">
                          <a:solidFill>
                            <a:srgbClr val="FFFFFF"/>
                          </a:solidFill>
                          <a:effectLst/>
                          <a:latin typeface="Arial"/>
                        </a:rPr>
                        <a:t> Year</a:t>
                      </a:r>
                      <a:endParaRPr lang="en-US" sz="900" b="1" i="0" u="none" strike="noStrike">
                        <a:solidFill>
                          <a:srgbClr val="FFFFFF"/>
                        </a:solidFill>
                        <a:effectLst/>
                        <a:latin typeface="Arial"/>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rtl="0" fontAlgn="ctr"/>
                      <a:endParaRPr lang="en-US" sz="1000" b="1" i="0" u="none" strike="noStrike">
                        <a:solidFill>
                          <a:srgbClr val="FFFFFF"/>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604557052"/>
                  </a:ext>
                </a:extLst>
              </a:tr>
              <a:tr h="225263">
                <a:tc>
                  <a:txBody>
                    <a:bodyPr/>
                    <a:lstStyle/>
                    <a:p>
                      <a:pPr algn="l" rtl="0" fontAlgn="ctr"/>
                      <a:endParaRPr lang="en-US" sz="900" b="1" i="0" u="none" strike="noStrike">
                        <a:solidFill>
                          <a:schemeClr val="accent5"/>
                        </a:solidFill>
                        <a:effectLst/>
                        <a:latin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algn="ctr"/>
                      <a:r>
                        <a:rPr lang="en-US" sz="900" b="1">
                          <a:latin typeface="Arial"/>
                          <a:cs typeface="Arial"/>
                        </a:rPr>
                        <a:t>Target</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r>
                        <a:rPr lang="en-US" sz="900" b="1">
                          <a:latin typeface="Arial"/>
                          <a:cs typeface="Arial"/>
                        </a:rPr>
                        <a:t>Actual</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endParaRPr lang="en-US" sz="10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900" b="1">
                          <a:latin typeface="Arial"/>
                          <a:cs typeface="Arial"/>
                        </a:rPr>
                        <a:t>Target</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r>
                        <a:rPr lang="en-US" sz="900" b="1">
                          <a:latin typeface="Arial"/>
                          <a:cs typeface="Arial"/>
                        </a:rPr>
                        <a:t>Actual</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endParaRPr lang="en-US" sz="10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900" b="1">
                          <a:latin typeface="Arial"/>
                          <a:cs typeface="Arial"/>
                        </a:rPr>
                        <a:t>Target</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a:r>
                        <a:rPr lang="en-US" sz="900" b="1">
                          <a:latin typeface="Arial"/>
                          <a:cs typeface="Arial"/>
                        </a:rPr>
                        <a:t>Actual</a:t>
                      </a: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844801082"/>
                  </a:ext>
                </a:extLst>
              </a:tr>
              <a:tr h="241200">
                <a:tc>
                  <a:txBody>
                    <a:bodyPr/>
                    <a:lstStyle/>
                    <a:p>
                      <a:pPr algn="l" rtl="0" fontAlgn="ctr"/>
                      <a:r>
                        <a:rPr lang="en-US" sz="800" b="1" i="0" u="none" strike="noStrike">
                          <a:solidFill>
                            <a:schemeClr val="accent5"/>
                          </a:solidFill>
                          <a:effectLst/>
                          <a:latin typeface="Arial"/>
                        </a:rPr>
                        <a:t>Leading Indicator 1</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0000"/>
                      </a:solidFill>
                      <a:prstDash val="solid"/>
                      <a:round/>
                      <a:headEnd type="none" w="med" len="med"/>
                      <a:tailEnd type="none" w="med" len="med"/>
                    </a:lnT>
                    <a:noFill/>
                  </a:tcPr>
                </a:tc>
                <a:extLst>
                  <a:ext uri="{0D108BD9-81ED-4DB2-BD59-A6C34878D82A}">
                    <a16:rowId xmlns:a16="http://schemas.microsoft.com/office/drawing/2014/main" val="3848404559"/>
                  </a:ext>
                </a:extLst>
              </a:tr>
              <a:tr h="241200">
                <a:tc>
                  <a:txBody>
                    <a:bodyPr/>
                    <a:lstStyle/>
                    <a:p>
                      <a:pPr algn="l" rtl="0" fontAlgn="ctr"/>
                      <a:r>
                        <a:rPr lang="en-US" sz="800" b="1" i="0" u="none" strike="noStrike">
                          <a:solidFill>
                            <a:schemeClr val="accent5"/>
                          </a:solidFill>
                          <a:effectLst/>
                          <a:latin typeface="+mn-lt"/>
                        </a:rPr>
                        <a:t>Leading Indicator 2</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3722416598"/>
                  </a:ext>
                </a:extLst>
              </a:tr>
              <a:tr h="241200">
                <a:tc>
                  <a:txBody>
                    <a:bodyPr/>
                    <a:lstStyle/>
                    <a:p>
                      <a:pPr algn="l" rtl="0" fontAlgn="ctr"/>
                      <a:r>
                        <a:rPr lang="en-US" sz="800" b="1" i="0" u="none" strike="noStrike">
                          <a:solidFill>
                            <a:schemeClr val="accent5"/>
                          </a:solidFill>
                          <a:effectLst/>
                          <a:latin typeface="+mn-lt"/>
                        </a:rPr>
                        <a:t>Leading Indicator 3</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a:ea typeface="+mn-ea"/>
                        <a:cs typeface="Arial"/>
                      </a:endParaRP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387621837"/>
                  </a:ext>
                </a:extLst>
              </a:tr>
              <a:tr h="241200">
                <a:tc>
                  <a:txBody>
                    <a:bodyPr/>
                    <a:lstStyle/>
                    <a:p>
                      <a:pPr algn="l" rtl="0" fontAlgn="ctr"/>
                      <a:r>
                        <a:rPr lang="en-US" sz="800" b="1" i="0" u="none" strike="noStrike">
                          <a:solidFill>
                            <a:schemeClr val="accent5"/>
                          </a:solidFill>
                          <a:effectLst/>
                          <a:latin typeface="+mn-lt"/>
                        </a:rPr>
                        <a:t>Leading Indicator 4</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4C4D4E"/>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4C4D4E"/>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4C4D4E"/>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4C4D4E"/>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algn="ctr"/>
                      <a:endParaRPr lang="en-US" sz="700" b="1">
                        <a:latin typeface="Arial" panose="020B0604020202020204" pitchFamily="34" charset="0"/>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4C4D4E"/>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2011829157"/>
                  </a:ext>
                </a:extLst>
              </a:tr>
            </a:tbl>
          </a:graphicData>
        </a:graphic>
      </p:graphicFrame>
      <p:sp>
        <p:nvSpPr>
          <p:cNvPr id="52" name="TextBox 51">
            <a:extLst>
              <a:ext uri="{FF2B5EF4-FFF2-40B4-BE49-F238E27FC236}">
                <a16:creationId xmlns:a16="http://schemas.microsoft.com/office/drawing/2014/main" id="{3D8E8B4F-C5E7-4424-9AA8-A6FF1A3527F1}"/>
              </a:ext>
            </a:extLst>
          </p:cNvPr>
          <p:cNvSpPr txBox="1"/>
          <p:nvPr/>
        </p:nvSpPr>
        <p:spPr>
          <a:xfrm>
            <a:off x="1944624" y="3124200"/>
            <a:ext cx="1295400" cy="553998"/>
          </a:xfrm>
          <a:prstGeom prst="rect">
            <a:avLst/>
          </a:prstGeom>
          <a:noFill/>
        </p:spPr>
        <p:txBody>
          <a:bodyPr wrap="square" rtlCol="0">
            <a:spAutoFit/>
          </a:bodyPr>
          <a:lstStyle/>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MAIN LEADING/ CONVERSION INDICATORS</a:t>
            </a:r>
          </a:p>
        </p:txBody>
      </p:sp>
      <p:sp>
        <p:nvSpPr>
          <p:cNvPr id="53" name="TextBox 52">
            <a:extLst>
              <a:ext uri="{FF2B5EF4-FFF2-40B4-BE49-F238E27FC236}">
                <a16:creationId xmlns:a16="http://schemas.microsoft.com/office/drawing/2014/main" id="{3D8E8B4F-C5E7-4424-9AA8-A6FF1A3527F1}"/>
              </a:ext>
            </a:extLst>
          </p:cNvPr>
          <p:cNvSpPr txBox="1"/>
          <p:nvPr/>
        </p:nvSpPr>
        <p:spPr>
          <a:xfrm>
            <a:off x="1944624" y="5029200"/>
            <a:ext cx="1295400" cy="553998"/>
          </a:xfrm>
          <a:prstGeom prst="rect">
            <a:avLst/>
          </a:prstGeom>
          <a:noFill/>
        </p:spPr>
        <p:txBody>
          <a:bodyPr wrap="square" rtlCol="0">
            <a:spAutoFit/>
          </a:bodyPr>
          <a:lstStyle/>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MAIN FUNCTION ACTIVITIES</a:t>
            </a:r>
          </a:p>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Q1)</a:t>
            </a:r>
          </a:p>
        </p:txBody>
      </p:sp>
      <p:grpSp>
        <p:nvGrpSpPr>
          <p:cNvPr id="12" name="Group 11"/>
          <p:cNvGrpSpPr/>
          <p:nvPr/>
        </p:nvGrpSpPr>
        <p:grpSpPr>
          <a:xfrm>
            <a:off x="3370470" y="4729921"/>
            <a:ext cx="8516730" cy="1514638"/>
            <a:chOff x="3198937" y="4729921"/>
            <a:chExt cx="8688263" cy="1514638"/>
          </a:xfrm>
        </p:grpSpPr>
        <p:sp>
          <p:nvSpPr>
            <p:cNvPr id="73" name="Rectangle 72">
              <a:extLst>
                <a:ext uri="{FF2B5EF4-FFF2-40B4-BE49-F238E27FC236}">
                  <a16:creationId xmlns:a16="http://schemas.microsoft.com/office/drawing/2014/main" id="{508F9B41-A3C5-4802-B87E-ED30B259AC32}"/>
                </a:ext>
              </a:extLst>
            </p:cNvPr>
            <p:cNvSpPr/>
            <p:nvPr/>
          </p:nvSpPr>
          <p:spPr>
            <a:xfrm>
              <a:off x="3198937" y="4730282"/>
              <a:ext cx="2062869" cy="320796"/>
            </a:xfrm>
            <a:prstGeom prst="rect">
              <a:avLst/>
            </a:prstGeom>
            <a:solidFill>
              <a:schemeClr val="accent6">
                <a:lumMod val="50000"/>
                <a:lumOff val="50000"/>
              </a:schemeClr>
            </a:solidFill>
            <a:ln w="12700" cap="flat" cmpd="sng" algn="ctr">
              <a:noFill/>
              <a:prstDash val="solid"/>
            </a:ln>
            <a:effectLst/>
          </p:spPr>
          <p:txBody>
            <a:bodyPr rtlCol="0" anchor="ctr"/>
            <a:lstStyle/>
            <a:p>
              <a:pPr algn="ctr" fontAlgn="ctr"/>
              <a:r>
                <a:rPr lang="en-US" sz="900" b="1">
                  <a:solidFill>
                    <a:schemeClr val="accent5"/>
                  </a:solidFill>
                </a:rPr>
                <a:t>Sub initiative 1</a:t>
              </a:r>
            </a:p>
          </p:txBody>
        </p:sp>
        <p:sp>
          <p:nvSpPr>
            <p:cNvPr id="76" name="Rectangle 75">
              <a:extLst>
                <a:ext uri="{FF2B5EF4-FFF2-40B4-BE49-F238E27FC236}">
                  <a16:creationId xmlns:a16="http://schemas.microsoft.com/office/drawing/2014/main" id="{CF409837-9ED9-4EDD-BDB5-513E0F46D8F2}"/>
                </a:ext>
              </a:extLst>
            </p:cNvPr>
            <p:cNvSpPr/>
            <p:nvPr/>
          </p:nvSpPr>
          <p:spPr>
            <a:xfrm>
              <a:off x="5407323" y="4729921"/>
              <a:ext cx="2062948" cy="321927"/>
            </a:xfrm>
            <a:prstGeom prst="rect">
              <a:avLst/>
            </a:prstGeom>
            <a:solidFill>
              <a:schemeClr val="accent6">
                <a:lumMod val="50000"/>
                <a:lumOff val="50000"/>
              </a:schemeClr>
            </a:solidFill>
            <a:ln w="12700" cap="flat" cmpd="sng" algn="ctr">
              <a:noFill/>
              <a:prstDash val="solid"/>
            </a:ln>
            <a:effectLst/>
          </p:spPr>
          <p:txBody>
            <a:bodyPr rtlCol="0" anchor="ctr"/>
            <a:lstStyle/>
            <a:p>
              <a:pPr algn="ctr" fontAlgn="ctr"/>
              <a:r>
                <a:rPr lang="en-US" sz="900" b="1">
                  <a:solidFill>
                    <a:schemeClr val="accent5"/>
                  </a:solidFill>
                </a:rPr>
                <a:t>Sub initiative 2</a:t>
              </a:r>
            </a:p>
          </p:txBody>
        </p:sp>
        <p:sp>
          <p:nvSpPr>
            <p:cNvPr id="79" name="Rectangle 78">
              <a:extLst>
                <a:ext uri="{FF2B5EF4-FFF2-40B4-BE49-F238E27FC236}">
                  <a16:creationId xmlns:a16="http://schemas.microsoft.com/office/drawing/2014/main" id="{9A2B6BE6-F8E3-4983-A3FE-60E9F6CBC63F}"/>
                </a:ext>
              </a:extLst>
            </p:cNvPr>
            <p:cNvSpPr/>
            <p:nvPr/>
          </p:nvSpPr>
          <p:spPr>
            <a:xfrm>
              <a:off x="7615788" y="4729921"/>
              <a:ext cx="2062948" cy="321927"/>
            </a:xfrm>
            <a:prstGeom prst="rect">
              <a:avLst/>
            </a:prstGeom>
            <a:solidFill>
              <a:schemeClr val="accent6">
                <a:lumMod val="50000"/>
                <a:lumOff val="50000"/>
              </a:schemeClr>
            </a:solidFill>
            <a:ln w="12700" cap="flat" cmpd="sng" algn="ctr">
              <a:noFill/>
              <a:prstDash val="solid"/>
            </a:ln>
            <a:effectLst/>
          </p:spPr>
          <p:txBody>
            <a:bodyPr rtlCol="0" anchor="ctr"/>
            <a:lstStyle/>
            <a:p>
              <a:pPr algn="ctr" fontAlgn="ctr"/>
              <a:r>
                <a:rPr lang="en-US" sz="900" b="1">
                  <a:solidFill>
                    <a:schemeClr val="accent5"/>
                  </a:solidFill>
                </a:rPr>
                <a:t>Sub initiative 3</a:t>
              </a:r>
            </a:p>
          </p:txBody>
        </p:sp>
        <p:sp>
          <p:nvSpPr>
            <p:cNvPr id="82" name="Rectangle 81">
              <a:extLst>
                <a:ext uri="{FF2B5EF4-FFF2-40B4-BE49-F238E27FC236}">
                  <a16:creationId xmlns:a16="http://schemas.microsoft.com/office/drawing/2014/main" id="{A040ADFA-512A-477A-91AF-9A571A872D10}"/>
                </a:ext>
              </a:extLst>
            </p:cNvPr>
            <p:cNvSpPr/>
            <p:nvPr/>
          </p:nvSpPr>
          <p:spPr>
            <a:xfrm>
              <a:off x="9824252" y="4729921"/>
              <a:ext cx="2062948" cy="321927"/>
            </a:xfrm>
            <a:prstGeom prst="rect">
              <a:avLst/>
            </a:prstGeom>
            <a:solidFill>
              <a:schemeClr val="accent6">
                <a:lumMod val="50000"/>
                <a:lumOff val="50000"/>
              </a:schemeClr>
            </a:solidFill>
            <a:ln w="12700" cap="flat" cmpd="sng" algn="ctr">
              <a:noFill/>
              <a:prstDash val="solid"/>
            </a:ln>
            <a:effectLst/>
          </p:spPr>
          <p:txBody>
            <a:bodyPr rtlCol="0" anchor="ctr"/>
            <a:lstStyle/>
            <a:p>
              <a:pPr algn="ctr" fontAlgn="ctr"/>
              <a:r>
                <a:rPr lang="en-US" sz="900" b="1">
                  <a:solidFill>
                    <a:schemeClr val="accent5"/>
                  </a:solidFill>
                </a:rPr>
                <a:t>Sub initiative 4</a:t>
              </a:r>
            </a:p>
          </p:txBody>
        </p:sp>
        <p:grpSp>
          <p:nvGrpSpPr>
            <p:cNvPr id="17" name="Group 16"/>
            <p:cNvGrpSpPr/>
            <p:nvPr/>
          </p:nvGrpSpPr>
          <p:grpSpPr>
            <a:xfrm>
              <a:off x="4888660" y="5119485"/>
              <a:ext cx="369564" cy="1110410"/>
              <a:chOff x="4541103" y="5108971"/>
              <a:chExt cx="369564" cy="1110410"/>
            </a:xfrm>
          </p:grpSpPr>
          <p:grpSp>
            <p:nvGrpSpPr>
              <p:cNvPr id="14" name="Group 13"/>
              <p:cNvGrpSpPr/>
              <p:nvPr/>
            </p:nvGrpSpPr>
            <p:grpSpPr>
              <a:xfrm>
                <a:off x="4541104" y="5108971"/>
                <a:ext cx="369563" cy="157630"/>
                <a:chOff x="4541104" y="5108971"/>
                <a:chExt cx="369563" cy="157630"/>
              </a:xfrm>
            </p:grpSpPr>
            <p:sp>
              <p:nvSpPr>
                <p:cNvPr id="55" name="Rectangle 54">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Rectangle 55">
                  <a:extLst>
                    <a:ext uri="{FF2B5EF4-FFF2-40B4-BE49-F238E27FC236}">
                      <a16:creationId xmlns:a16="http://schemas.microsoft.com/office/drawing/2014/main" id="{B178607C-6364-4AF5-9A8F-706BE7D18B98}"/>
                    </a:ext>
                  </a:extLst>
                </p:cNvPr>
                <p:cNvSpPr/>
                <p:nvPr/>
              </p:nvSpPr>
              <p:spPr>
                <a:xfrm>
                  <a:off x="4541104" y="5108971"/>
                  <a:ext cx="131993"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38" name="Group 137"/>
              <p:cNvGrpSpPr/>
              <p:nvPr/>
            </p:nvGrpSpPr>
            <p:grpSpPr>
              <a:xfrm>
                <a:off x="4541104" y="5350250"/>
                <a:ext cx="369563" cy="157630"/>
                <a:chOff x="4541104" y="5108971"/>
                <a:chExt cx="369563" cy="157630"/>
              </a:xfrm>
            </p:grpSpPr>
            <p:sp>
              <p:nvSpPr>
                <p:cNvPr id="139" name="Rectangle 138">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0" name="Rectangle 139">
                  <a:extLst>
                    <a:ext uri="{FF2B5EF4-FFF2-40B4-BE49-F238E27FC236}">
                      <a16:creationId xmlns:a16="http://schemas.microsoft.com/office/drawing/2014/main" id="{B178607C-6364-4AF5-9A8F-706BE7D18B98}"/>
                    </a:ext>
                  </a:extLst>
                </p:cNvPr>
                <p:cNvSpPr/>
                <p:nvPr/>
              </p:nvSpPr>
              <p:spPr>
                <a:xfrm>
                  <a:off x="4541104" y="5108971"/>
                  <a:ext cx="139348" cy="1576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41" name="Group 140"/>
              <p:cNvGrpSpPr/>
              <p:nvPr/>
            </p:nvGrpSpPr>
            <p:grpSpPr>
              <a:xfrm>
                <a:off x="4541103" y="5591529"/>
                <a:ext cx="369564" cy="157630"/>
                <a:chOff x="4541103" y="5108971"/>
                <a:chExt cx="369564" cy="157630"/>
              </a:xfrm>
            </p:grpSpPr>
            <p:sp>
              <p:nvSpPr>
                <p:cNvPr id="142" name="Rectangle 141">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3" name="Rectangle 142">
                  <a:extLst>
                    <a:ext uri="{FF2B5EF4-FFF2-40B4-BE49-F238E27FC236}">
                      <a16:creationId xmlns:a16="http://schemas.microsoft.com/office/drawing/2014/main" id="{B178607C-6364-4AF5-9A8F-706BE7D18B98}"/>
                    </a:ext>
                  </a:extLst>
                </p:cNvPr>
                <p:cNvSpPr/>
                <p:nvPr/>
              </p:nvSpPr>
              <p:spPr>
                <a:xfrm>
                  <a:off x="4541103" y="5108971"/>
                  <a:ext cx="131993"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44" name="Group 143"/>
              <p:cNvGrpSpPr/>
              <p:nvPr/>
            </p:nvGrpSpPr>
            <p:grpSpPr>
              <a:xfrm>
                <a:off x="4541103" y="5832809"/>
                <a:ext cx="369564" cy="386572"/>
                <a:chOff x="4541103" y="5108971"/>
                <a:chExt cx="369564" cy="386572"/>
              </a:xfrm>
            </p:grpSpPr>
            <p:sp>
              <p:nvSpPr>
                <p:cNvPr id="145" name="Rectangle 144">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6" name="Rectangle 145">
                  <a:extLst>
                    <a:ext uri="{FF2B5EF4-FFF2-40B4-BE49-F238E27FC236}">
                      <a16:creationId xmlns:a16="http://schemas.microsoft.com/office/drawing/2014/main" id="{B178607C-6364-4AF5-9A8F-706BE7D18B98}"/>
                    </a:ext>
                  </a:extLst>
                </p:cNvPr>
                <p:cNvSpPr/>
                <p:nvPr/>
              </p:nvSpPr>
              <p:spPr>
                <a:xfrm>
                  <a:off x="4541104" y="5108971"/>
                  <a:ext cx="303974" cy="1576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8" name="Rectangle 127">
                  <a:extLst>
                    <a:ext uri="{FF2B5EF4-FFF2-40B4-BE49-F238E27FC236}">
                      <a16:creationId xmlns:a16="http://schemas.microsoft.com/office/drawing/2014/main" id="{A26C45D8-BBA9-4ABD-8487-17A35FDE38CD}"/>
                    </a:ext>
                  </a:extLst>
                </p:cNvPr>
                <p:cNvSpPr/>
                <p:nvPr/>
              </p:nvSpPr>
              <p:spPr>
                <a:xfrm>
                  <a:off x="4541104" y="5337913"/>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9" name="Rectangle 128">
                  <a:extLst>
                    <a:ext uri="{FF2B5EF4-FFF2-40B4-BE49-F238E27FC236}">
                      <a16:creationId xmlns:a16="http://schemas.microsoft.com/office/drawing/2014/main" id="{E4ED0ABB-FB66-4E6A-B661-4FA73517367E}"/>
                    </a:ext>
                  </a:extLst>
                </p:cNvPr>
                <p:cNvSpPr/>
                <p:nvPr/>
              </p:nvSpPr>
              <p:spPr>
                <a:xfrm>
                  <a:off x="4541103" y="5337913"/>
                  <a:ext cx="131991"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74" name="Group 173"/>
            <p:cNvGrpSpPr/>
            <p:nvPr/>
          </p:nvGrpSpPr>
          <p:grpSpPr>
            <a:xfrm>
              <a:off x="7109459" y="5119485"/>
              <a:ext cx="369564" cy="1125074"/>
              <a:chOff x="4541103" y="5108971"/>
              <a:chExt cx="369564" cy="1125074"/>
            </a:xfrm>
          </p:grpSpPr>
          <p:grpSp>
            <p:nvGrpSpPr>
              <p:cNvPr id="175" name="Group 174"/>
              <p:cNvGrpSpPr/>
              <p:nvPr/>
            </p:nvGrpSpPr>
            <p:grpSpPr>
              <a:xfrm>
                <a:off x="4541104" y="5108971"/>
                <a:ext cx="369563" cy="157630"/>
                <a:chOff x="4541104" y="5108971"/>
                <a:chExt cx="369563" cy="157630"/>
              </a:xfrm>
            </p:grpSpPr>
            <p:sp>
              <p:nvSpPr>
                <p:cNvPr id="188" name="Rectangle 187">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9" name="Rectangle 188">
                  <a:extLst>
                    <a:ext uri="{FF2B5EF4-FFF2-40B4-BE49-F238E27FC236}">
                      <a16:creationId xmlns:a16="http://schemas.microsoft.com/office/drawing/2014/main" id="{B178607C-6364-4AF5-9A8F-706BE7D18B98}"/>
                    </a:ext>
                  </a:extLst>
                </p:cNvPr>
                <p:cNvSpPr/>
                <p:nvPr/>
              </p:nvSpPr>
              <p:spPr>
                <a:xfrm>
                  <a:off x="4541104" y="5108971"/>
                  <a:ext cx="128550"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76" name="Group 175"/>
              <p:cNvGrpSpPr/>
              <p:nvPr/>
            </p:nvGrpSpPr>
            <p:grpSpPr>
              <a:xfrm>
                <a:off x="4541104" y="5350250"/>
                <a:ext cx="369563" cy="157630"/>
                <a:chOff x="4541104" y="5108971"/>
                <a:chExt cx="369563" cy="157630"/>
              </a:xfrm>
            </p:grpSpPr>
            <p:sp>
              <p:nvSpPr>
                <p:cNvPr id="186" name="Rectangle 185">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7" name="Rectangle 186">
                  <a:extLst>
                    <a:ext uri="{FF2B5EF4-FFF2-40B4-BE49-F238E27FC236}">
                      <a16:creationId xmlns:a16="http://schemas.microsoft.com/office/drawing/2014/main" id="{B178607C-6364-4AF5-9A8F-706BE7D18B98}"/>
                    </a:ext>
                  </a:extLst>
                </p:cNvPr>
                <p:cNvSpPr/>
                <p:nvPr/>
              </p:nvSpPr>
              <p:spPr>
                <a:xfrm>
                  <a:off x="4541104" y="5108971"/>
                  <a:ext cx="128550" cy="1576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77" name="Group 176"/>
              <p:cNvGrpSpPr/>
              <p:nvPr/>
            </p:nvGrpSpPr>
            <p:grpSpPr>
              <a:xfrm>
                <a:off x="4541104" y="5591529"/>
                <a:ext cx="369563" cy="157630"/>
                <a:chOff x="4541104" y="5108971"/>
                <a:chExt cx="369563" cy="157630"/>
              </a:xfrm>
            </p:grpSpPr>
            <p:sp>
              <p:nvSpPr>
                <p:cNvPr id="184" name="Rectangle 183">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B178607C-6364-4AF5-9A8F-706BE7D18B98}"/>
                    </a:ext>
                  </a:extLst>
                </p:cNvPr>
                <p:cNvSpPr/>
                <p:nvPr/>
              </p:nvSpPr>
              <p:spPr>
                <a:xfrm>
                  <a:off x="4541104" y="5108971"/>
                  <a:ext cx="128550"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78" name="Group 177"/>
              <p:cNvGrpSpPr/>
              <p:nvPr/>
            </p:nvGrpSpPr>
            <p:grpSpPr>
              <a:xfrm>
                <a:off x="4541103" y="5832809"/>
                <a:ext cx="369564" cy="157630"/>
                <a:chOff x="4541103" y="5108971"/>
                <a:chExt cx="369564" cy="157630"/>
              </a:xfrm>
            </p:grpSpPr>
            <p:sp>
              <p:nvSpPr>
                <p:cNvPr id="182" name="Rectangle 181">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3" name="Rectangle 182">
                  <a:extLst>
                    <a:ext uri="{FF2B5EF4-FFF2-40B4-BE49-F238E27FC236}">
                      <a16:creationId xmlns:a16="http://schemas.microsoft.com/office/drawing/2014/main" id="{B178607C-6364-4AF5-9A8F-706BE7D18B98}"/>
                    </a:ext>
                  </a:extLst>
                </p:cNvPr>
                <p:cNvSpPr/>
                <p:nvPr/>
              </p:nvSpPr>
              <p:spPr>
                <a:xfrm>
                  <a:off x="4541103" y="5108971"/>
                  <a:ext cx="280858"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79" name="Group 178"/>
              <p:cNvGrpSpPr/>
              <p:nvPr/>
            </p:nvGrpSpPr>
            <p:grpSpPr>
              <a:xfrm>
                <a:off x="4541104" y="6076415"/>
                <a:ext cx="369563" cy="157630"/>
                <a:chOff x="4541104" y="5108971"/>
                <a:chExt cx="369563" cy="157630"/>
              </a:xfrm>
            </p:grpSpPr>
            <p:sp>
              <p:nvSpPr>
                <p:cNvPr id="180" name="Rectangle 179">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1" name="Rectangle 180">
                  <a:extLst>
                    <a:ext uri="{FF2B5EF4-FFF2-40B4-BE49-F238E27FC236}">
                      <a16:creationId xmlns:a16="http://schemas.microsoft.com/office/drawing/2014/main" id="{B178607C-6364-4AF5-9A8F-706BE7D18B98}"/>
                    </a:ext>
                  </a:extLst>
                </p:cNvPr>
                <p:cNvSpPr/>
                <p:nvPr/>
              </p:nvSpPr>
              <p:spPr>
                <a:xfrm>
                  <a:off x="4541104" y="5108971"/>
                  <a:ext cx="128550"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90" name="Group 189"/>
            <p:cNvGrpSpPr/>
            <p:nvPr/>
          </p:nvGrpSpPr>
          <p:grpSpPr>
            <a:xfrm>
              <a:off x="9309172" y="5119485"/>
              <a:ext cx="369563" cy="1125074"/>
              <a:chOff x="4541104" y="5108971"/>
              <a:chExt cx="369563" cy="1125074"/>
            </a:xfrm>
          </p:grpSpPr>
          <p:grpSp>
            <p:nvGrpSpPr>
              <p:cNvPr id="191" name="Group 190"/>
              <p:cNvGrpSpPr/>
              <p:nvPr/>
            </p:nvGrpSpPr>
            <p:grpSpPr>
              <a:xfrm>
                <a:off x="4541104" y="5108971"/>
                <a:ext cx="369563" cy="157630"/>
                <a:chOff x="4541104" y="5108971"/>
                <a:chExt cx="369563" cy="157630"/>
              </a:xfrm>
            </p:grpSpPr>
            <p:sp>
              <p:nvSpPr>
                <p:cNvPr id="213" name="Rectangle 212">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4" name="Rectangle 213">
                  <a:extLst>
                    <a:ext uri="{FF2B5EF4-FFF2-40B4-BE49-F238E27FC236}">
                      <a16:creationId xmlns:a16="http://schemas.microsoft.com/office/drawing/2014/main" id="{B178607C-6364-4AF5-9A8F-706BE7D18B98}"/>
                    </a:ext>
                  </a:extLst>
                </p:cNvPr>
                <p:cNvSpPr/>
                <p:nvPr/>
              </p:nvSpPr>
              <p:spPr>
                <a:xfrm>
                  <a:off x="4541104" y="5108971"/>
                  <a:ext cx="155462"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92" name="Group 191"/>
              <p:cNvGrpSpPr/>
              <p:nvPr/>
            </p:nvGrpSpPr>
            <p:grpSpPr>
              <a:xfrm>
                <a:off x="4541104" y="5350250"/>
                <a:ext cx="369563" cy="157630"/>
                <a:chOff x="4541104" y="5108971"/>
                <a:chExt cx="369563" cy="157630"/>
              </a:xfrm>
            </p:grpSpPr>
            <p:sp>
              <p:nvSpPr>
                <p:cNvPr id="211" name="Rectangle 210">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2" name="Rectangle 211">
                  <a:extLst>
                    <a:ext uri="{FF2B5EF4-FFF2-40B4-BE49-F238E27FC236}">
                      <a16:creationId xmlns:a16="http://schemas.microsoft.com/office/drawing/2014/main" id="{B178607C-6364-4AF5-9A8F-706BE7D18B98}"/>
                    </a:ext>
                  </a:extLst>
                </p:cNvPr>
                <p:cNvSpPr/>
                <p:nvPr/>
              </p:nvSpPr>
              <p:spPr>
                <a:xfrm>
                  <a:off x="4541104" y="5108971"/>
                  <a:ext cx="155462"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93" name="Group 192"/>
              <p:cNvGrpSpPr/>
              <p:nvPr/>
            </p:nvGrpSpPr>
            <p:grpSpPr>
              <a:xfrm>
                <a:off x="4541104" y="5591529"/>
                <a:ext cx="369563" cy="157630"/>
                <a:chOff x="4541104" y="5108971"/>
                <a:chExt cx="369563" cy="157630"/>
              </a:xfrm>
            </p:grpSpPr>
            <p:sp>
              <p:nvSpPr>
                <p:cNvPr id="205" name="Rectangle 204">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8" name="Rectangle 207">
                  <a:extLst>
                    <a:ext uri="{FF2B5EF4-FFF2-40B4-BE49-F238E27FC236}">
                      <a16:creationId xmlns:a16="http://schemas.microsoft.com/office/drawing/2014/main" id="{B178607C-6364-4AF5-9A8F-706BE7D18B98}"/>
                    </a:ext>
                  </a:extLst>
                </p:cNvPr>
                <p:cNvSpPr/>
                <p:nvPr/>
              </p:nvSpPr>
              <p:spPr>
                <a:xfrm>
                  <a:off x="4541104" y="5108971"/>
                  <a:ext cx="155462"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94" name="Group 193"/>
              <p:cNvGrpSpPr/>
              <p:nvPr/>
            </p:nvGrpSpPr>
            <p:grpSpPr>
              <a:xfrm>
                <a:off x="4541104" y="5832809"/>
                <a:ext cx="369563" cy="157630"/>
                <a:chOff x="4541104" y="5108971"/>
                <a:chExt cx="369563" cy="157630"/>
              </a:xfrm>
            </p:grpSpPr>
            <p:sp>
              <p:nvSpPr>
                <p:cNvPr id="199" name="Rectangle 198">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2" name="Rectangle 201">
                  <a:extLst>
                    <a:ext uri="{FF2B5EF4-FFF2-40B4-BE49-F238E27FC236}">
                      <a16:creationId xmlns:a16="http://schemas.microsoft.com/office/drawing/2014/main" id="{B178607C-6364-4AF5-9A8F-706BE7D18B98}"/>
                    </a:ext>
                  </a:extLst>
                </p:cNvPr>
                <p:cNvSpPr/>
                <p:nvPr/>
              </p:nvSpPr>
              <p:spPr>
                <a:xfrm>
                  <a:off x="4541104" y="5108971"/>
                  <a:ext cx="155462"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95" name="Group 194"/>
              <p:cNvGrpSpPr/>
              <p:nvPr/>
            </p:nvGrpSpPr>
            <p:grpSpPr>
              <a:xfrm>
                <a:off x="4541104" y="6076415"/>
                <a:ext cx="369563" cy="157630"/>
                <a:chOff x="4541104" y="5108971"/>
                <a:chExt cx="369563" cy="157630"/>
              </a:xfrm>
            </p:grpSpPr>
            <p:sp>
              <p:nvSpPr>
                <p:cNvPr id="197" name="Rectangle 196">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8" name="Rectangle 197">
                  <a:extLst>
                    <a:ext uri="{FF2B5EF4-FFF2-40B4-BE49-F238E27FC236}">
                      <a16:creationId xmlns:a16="http://schemas.microsoft.com/office/drawing/2014/main" id="{B178607C-6364-4AF5-9A8F-706BE7D18B98}"/>
                    </a:ext>
                  </a:extLst>
                </p:cNvPr>
                <p:cNvSpPr/>
                <p:nvPr/>
              </p:nvSpPr>
              <p:spPr>
                <a:xfrm>
                  <a:off x="4541104" y="5108971"/>
                  <a:ext cx="155462"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215" name="Group 214"/>
            <p:cNvGrpSpPr/>
            <p:nvPr/>
          </p:nvGrpSpPr>
          <p:grpSpPr>
            <a:xfrm>
              <a:off x="11517634" y="5119485"/>
              <a:ext cx="369564" cy="1125074"/>
              <a:chOff x="4541103" y="5108971"/>
              <a:chExt cx="369564" cy="1125074"/>
            </a:xfrm>
          </p:grpSpPr>
          <p:grpSp>
            <p:nvGrpSpPr>
              <p:cNvPr id="216" name="Group 215"/>
              <p:cNvGrpSpPr/>
              <p:nvPr/>
            </p:nvGrpSpPr>
            <p:grpSpPr>
              <a:xfrm>
                <a:off x="4541103" y="5108971"/>
                <a:ext cx="369564" cy="157630"/>
                <a:chOff x="4541103" y="5108971"/>
                <a:chExt cx="369564" cy="157630"/>
              </a:xfrm>
            </p:grpSpPr>
            <p:sp>
              <p:nvSpPr>
                <p:cNvPr id="229" name="Rectangle 228">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0" name="Rectangle 229">
                  <a:extLst>
                    <a:ext uri="{FF2B5EF4-FFF2-40B4-BE49-F238E27FC236}">
                      <a16:creationId xmlns:a16="http://schemas.microsoft.com/office/drawing/2014/main" id="{B178607C-6364-4AF5-9A8F-706BE7D18B98}"/>
                    </a:ext>
                  </a:extLst>
                </p:cNvPr>
                <p:cNvSpPr/>
                <p:nvPr/>
              </p:nvSpPr>
              <p:spPr>
                <a:xfrm>
                  <a:off x="4541103" y="5108971"/>
                  <a:ext cx="135479"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217" name="Group 216"/>
              <p:cNvGrpSpPr/>
              <p:nvPr/>
            </p:nvGrpSpPr>
            <p:grpSpPr>
              <a:xfrm>
                <a:off x="4541103" y="5350250"/>
                <a:ext cx="369564" cy="157630"/>
                <a:chOff x="4541103" y="5108971"/>
                <a:chExt cx="369564" cy="157630"/>
              </a:xfrm>
            </p:grpSpPr>
            <p:sp>
              <p:nvSpPr>
                <p:cNvPr id="227" name="Rectangle 226">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8" name="Rectangle 227">
                  <a:extLst>
                    <a:ext uri="{FF2B5EF4-FFF2-40B4-BE49-F238E27FC236}">
                      <a16:creationId xmlns:a16="http://schemas.microsoft.com/office/drawing/2014/main" id="{B178607C-6364-4AF5-9A8F-706BE7D18B98}"/>
                    </a:ext>
                  </a:extLst>
                </p:cNvPr>
                <p:cNvSpPr/>
                <p:nvPr/>
              </p:nvSpPr>
              <p:spPr>
                <a:xfrm>
                  <a:off x="4541103" y="5108971"/>
                  <a:ext cx="135479"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218" name="Group 217"/>
              <p:cNvGrpSpPr/>
              <p:nvPr/>
            </p:nvGrpSpPr>
            <p:grpSpPr>
              <a:xfrm>
                <a:off x="4541103" y="5591529"/>
                <a:ext cx="369564" cy="157630"/>
                <a:chOff x="4541103" y="5108971"/>
                <a:chExt cx="369564" cy="157630"/>
              </a:xfrm>
            </p:grpSpPr>
            <p:sp>
              <p:nvSpPr>
                <p:cNvPr id="225" name="Rectangle 224">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6" name="Rectangle 225">
                  <a:extLst>
                    <a:ext uri="{FF2B5EF4-FFF2-40B4-BE49-F238E27FC236}">
                      <a16:creationId xmlns:a16="http://schemas.microsoft.com/office/drawing/2014/main" id="{B178607C-6364-4AF5-9A8F-706BE7D18B98}"/>
                    </a:ext>
                  </a:extLst>
                </p:cNvPr>
                <p:cNvSpPr/>
                <p:nvPr/>
              </p:nvSpPr>
              <p:spPr>
                <a:xfrm>
                  <a:off x="4541103" y="5108971"/>
                  <a:ext cx="135479"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219" name="Group 218"/>
              <p:cNvGrpSpPr/>
              <p:nvPr/>
            </p:nvGrpSpPr>
            <p:grpSpPr>
              <a:xfrm>
                <a:off x="4541103" y="5832809"/>
                <a:ext cx="369564" cy="157630"/>
                <a:chOff x="4541103" y="5108971"/>
                <a:chExt cx="369564" cy="157630"/>
              </a:xfrm>
            </p:grpSpPr>
            <p:sp>
              <p:nvSpPr>
                <p:cNvPr id="223" name="Rectangle 222">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4" name="Rectangle 223">
                  <a:extLst>
                    <a:ext uri="{FF2B5EF4-FFF2-40B4-BE49-F238E27FC236}">
                      <a16:creationId xmlns:a16="http://schemas.microsoft.com/office/drawing/2014/main" id="{B178607C-6364-4AF5-9A8F-706BE7D18B98}"/>
                    </a:ext>
                  </a:extLst>
                </p:cNvPr>
                <p:cNvSpPr/>
                <p:nvPr/>
              </p:nvSpPr>
              <p:spPr>
                <a:xfrm>
                  <a:off x="4541103" y="5108971"/>
                  <a:ext cx="135479"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220" name="Group 219"/>
              <p:cNvGrpSpPr/>
              <p:nvPr/>
            </p:nvGrpSpPr>
            <p:grpSpPr>
              <a:xfrm>
                <a:off x="4541103" y="6076415"/>
                <a:ext cx="369564" cy="157630"/>
                <a:chOff x="4541103" y="5108971"/>
                <a:chExt cx="369564" cy="157630"/>
              </a:xfrm>
            </p:grpSpPr>
            <p:sp>
              <p:nvSpPr>
                <p:cNvPr id="221" name="Rectangle 220">
                  <a:extLst>
                    <a:ext uri="{FF2B5EF4-FFF2-40B4-BE49-F238E27FC236}">
                      <a16:creationId xmlns:a16="http://schemas.microsoft.com/office/drawing/2014/main" id="{73B1A079-1411-4C14-84DD-AEB0B4DF2B43}"/>
                    </a:ext>
                  </a:extLst>
                </p:cNvPr>
                <p:cNvSpPr/>
                <p:nvPr/>
              </p:nvSpPr>
              <p:spPr>
                <a:xfrm>
                  <a:off x="4541104" y="5108971"/>
                  <a:ext cx="369563" cy="15763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2" name="Rectangle 221">
                  <a:extLst>
                    <a:ext uri="{FF2B5EF4-FFF2-40B4-BE49-F238E27FC236}">
                      <a16:creationId xmlns:a16="http://schemas.microsoft.com/office/drawing/2014/main" id="{B178607C-6364-4AF5-9A8F-706BE7D18B98}"/>
                    </a:ext>
                  </a:extLst>
                </p:cNvPr>
                <p:cNvSpPr/>
                <p:nvPr/>
              </p:nvSpPr>
              <p:spPr>
                <a:xfrm>
                  <a:off x="4541103" y="5108971"/>
                  <a:ext cx="135479" cy="1576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spTree>
    <p:extLst>
      <p:ext uri="{BB962C8B-B14F-4D97-AF65-F5344CB8AC3E}">
        <p14:creationId xmlns:p14="http://schemas.microsoft.com/office/powerpoint/2010/main" val="20265655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4"/>
          <p:cNvSpPr>
            <a:spLocks noGrp="1"/>
          </p:cNvSpPr>
          <p:nvPr>
            <p:ph type="body" sz="quarter" idx="12"/>
          </p:nvPr>
        </p:nvSpPr>
        <p:spPr/>
        <p:txBody>
          <a:bodyPr/>
          <a:lstStyle/>
          <a:p>
            <a:endParaRPr lang="en-US"/>
          </a:p>
        </p:txBody>
      </p:sp>
      <p:sp>
        <p:nvSpPr>
          <p:cNvPr id="14" name="Text Placeholder 13"/>
          <p:cNvSpPr>
            <a:spLocks noGrp="1"/>
          </p:cNvSpPr>
          <p:nvPr>
            <p:ph type="body" sz="quarter" idx="11"/>
          </p:nvPr>
        </p:nvSpPr>
        <p:spPr/>
        <p:txBody>
          <a:bodyPr/>
          <a:lstStyle/>
          <a:p>
            <a:endParaRPr lang="en-US"/>
          </a:p>
        </p:txBody>
      </p:sp>
      <p:sp>
        <p:nvSpPr>
          <p:cNvPr id="12" name="Title 11"/>
          <p:cNvSpPr>
            <a:spLocks noGrp="1"/>
          </p:cNvSpPr>
          <p:nvPr>
            <p:ph type="title"/>
          </p:nvPr>
        </p:nvSpPr>
        <p:spPr>
          <a:xfrm>
            <a:off x="269239" y="-9028"/>
            <a:ext cx="11617961" cy="875167"/>
          </a:xfrm>
        </p:spPr>
        <p:txBody>
          <a:bodyPr/>
          <a:lstStyle/>
          <a:p>
            <a:endParaRPr lang="en-US"/>
          </a:p>
        </p:txBody>
      </p:sp>
      <p:sp>
        <p:nvSpPr>
          <p:cNvPr id="9" name="Rectangle 8"/>
          <p:cNvSpPr/>
          <p:nvPr/>
        </p:nvSpPr>
        <p:spPr>
          <a:xfrm>
            <a:off x="2209800" y="1268726"/>
            <a:ext cx="9677400" cy="1031650"/>
          </a:xfrm>
          <a:prstGeom prst="rect">
            <a:avLst/>
          </a:prstGeom>
          <a:noFill/>
        </p:spPr>
        <p:txBody>
          <a:bodyPr lIns="0"/>
          <a:lstStyle/>
          <a:p>
            <a:pPr marL="285750" indent="-285750">
              <a:spcBef>
                <a:spcPts val="1200"/>
              </a:spcBef>
              <a:buClr>
                <a:schemeClr val="tx1"/>
              </a:buClr>
              <a:buSzPct val="90000"/>
              <a:buFont typeface="Wingdings" panose="05000000000000000000" pitchFamily="2" charset="2"/>
              <a:buChar char="§"/>
            </a:pPr>
            <a:r>
              <a:rPr lang="en-US" sz="1600">
                <a:latin typeface="Arial" panose="020B0604020202020204" pitchFamily="34" charset="0"/>
                <a:ea typeface="Roboto" charset="0"/>
                <a:cs typeface="Arial" panose="020B0604020202020204" pitchFamily="34" charset="0"/>
              </a:rPr>
              <a:t>Lorem ipsum</a:t>
            </a:r>
          </a:p>
          <a:p>
            <a:pPr lvl="1" indent="-169863">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r>
              <a:rPr lang="en-US" sz="1400"/>
              <a:t> </a:t>
            </a:r>
            <a:r>
              <a:rPr lang="en-US" sz="1400" err="1"/>
              <a:t>irure</a:t>
            </a:r>
            <a:r>
              <a:rPr lang="en-US" sz="1400"/>
              <a:t> dolor in </a:t>
            </a:r>
            <a:r>
              <a:rPr lang="en-US" sz="1400" err="1"/>
              <a:t>reprehenderit</a:t>
            </a:r>
            <a:endParaRPr lang="en-US" sz="1400">
              <a:latin typeface="Arial" panose="020B0604020202020204" pitchFamily="34" charset="0"/>
              <a:ea typeface="Roboto" charset="0"/>
              <a:cs typeface="Arial" panose="020B0604020202020204" pitchFamily="34" charset="0"/>
            </a:endParaRPr>
          </a:p>
        </p:txBody>
      </p:sp>
      <p:sp>
        <p:nvSpPr>
          <p:cNvPr id="13" name="Rectangle 12"/>
          <p:cNvSpPr/>
          <p:nvPr/>
        </p:nvSpPr>
        <p:spPr>
          <a:xfrm>
            <a:off x="269239" y="1268726"/>
            <a:ext cx="1697583" cy="10316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accent5"/>
                </a:solidFill>
              </a:rPr>
              <a:t>Lorem ipsum </a:t>
            </a:r>
            <a:endParaRPr lang="en-US" b="1">
              <a:solidFill>
                <a:schemeClr val="accent5"/>
              </a:solidFill>
              <a:latin typeface="Arial" panose="020B0604020202020204" pitchFamily="34" charset="0"/>
              <a:cs typeface="Arial" panose="020B0604020202020204" pitchFamily="34" charset="0"/>
            </a:endParaRPr>
          </a:p>
        </p:txBody>
      </p:sp>
      <p:sp>
        <p:nvSpPr>
          <p:cNvPr id="16" name="Rectangle 15"/>
          <p:cNvSpPr/>
          <p:nvPr/>
        </p:nvSpPr>
        <p:spPr>
          <a:xfrm>
            <a:off x="2209800" y="2541759"/>
            <a:ext cx="9677400" cy="1031650"/>
          </a:xfrm>
          <a:prstGeom prst="rect">
            <a:avLst/>
          </a:prstGeom>
          <a:noFill/>
        </p:spPr>
        <p:txBody>
          <a:bodyPr lIns="0"/>
          <a:lstStyle/>
          <a:p>
            <a:pPr marL="285750" indent="-285750">
              <a:spcBef>
                <a:spcPts val="1200"/>
              </a:spcBef>
              <a:buClr>
                <a:schemeClr val="tx1"/>
              </a:buClr>
              <a:buSzPct val="90000"/>
              <a:buFont typeface="Wingdings" panose="05000000000000000000" pitchFamily="2" charset="2"/>
              <a:buChar char="§"/>
            </a:pPr>
            <a:r>
              <a:rPr lang="en-US" sz="1600">
                <a:latin typeface="Arial" panose="020B0604020202020204" pitchFamily="34" charset="0"/>
                <a:ea typeface="Roboto" charset="0"/>
                <a:cs typeface="Arial" panose="020B0604020202020204" pitchFamily="34" charset="0"/>
              </a:rPr>
              <a:t>Lorem ipsum</a:t>
            </a:r>
          </a:p>
          <a:p>
            <a:pPr lvl="1" indent="-169863">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r>
              <a:rPr lang="en-US" sz="1400"/>
              <a:t> </a:t>
            </a:r>
            <a:r>
              <a:rPr lang="en-US" sz="1400" err="1"/>
              <a:t>irure</a:t>
            </a:r>
            <a:r>
              <a:rPr lang="en-US" sz="1400"/>
              <a:t> dolor in </a:t>
            </a:r>
            <a:r>
              <a:rPr lang="en-US" sz="1400" err="1"/>
              <a:t>reprehenderit</a:t>
            </a:r>
            <a:endParaRPr lang="en-US" sz="1400">
              <a:latin typeface="Arial" panose="020B0604020202020204" pitchFamily="34" charset="0"/>
              <a:ea typeface="Roboto" charset="0"/>
              <a:cs typeface="Arial" panose="020B0604020202020204" pitchFamily="34" charset="0"/>
            </a:endParaRPr>
          </a:p>
        </p:txBody>
      </p:sp>
      <p:sp>
        <p:nvSpPr>
          <p:cNvPr id="17" name="Rectangle 16"/>
          <p:cNvSpPr/>
          <p:nvPr/>
        </p:nvSpPr>
        <p:spPr>
          <a:xfrm>
            <a:off x="269239" y="2541759"/>
            <a:ext cx="1697583" cy="10316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accent5"/>
                </a:solidFill>
              </a:rPr>
              <a:t>Lorem ipsum </a:t>
            </a:r>
            <a:endParaRPr lang="en-US" b="1">
              <a:solidFill>
                <a:schemeClr val="accent5"/>
              </a:solidFill>
              <a:latin typeface="Arial" panose="020B0604020202020204" pitchFamily="34" charset="0"/>
              <a:cs typeface="Arial" panose="020B0604020202020204" pitchFamily="34" charset="0"/>
            </a:endParaRPr>
          </a:p>
        </p:txBody>
      </p:sp>
      <p:sp>
        <p:nvSpPr>
          <p:cNvPr id="18" name="Rectangle 17"/>
          <p:cNvSpPr/>
          <p:nvPr/>
        </p:nvSpPr>
        <p:spPr>
          <a:xfrm>
            <a:off x="2209800" y="3820248"/>
            <a:ext cx="9677400" cy="1031650"/>
          </a:xfrm>
          <a:prstGeom prst="rect">
            <a:avLst/>
          </a:prstGeom>
          <a:noFill/>
        </p:spPr>
        <p:txBody>
          <a:bodyPr lIns="0"/>
          <a:lstStyle/>
          <a:p>
            <a:pPr marL="285750" indent="-285750">
              <a:spcBef>
                <a:spcPts val="1200"/>
              </a:spcBef>
              <a:buClr>
                <a:schemeClr val="tx1"/>
              </a:buClr>
              <a:buSzPct val="90000"/>
              <a:buFont typeface="Wingdings" panose="05000000000000000000" pitchFamily="2" charset="2"/>
              <a:buChar char="§"/>
            </a:pPr>
            <a:r>
              <a:rPr lang="en-US" sz="1600">
                <a:latin typeface="Arial" panose="020B0604020202020204" pitchFamily="34" charset="0"/>
                <a:ea typeface="Roboto" charset="0"/>
                <a:cs typeface="Arial" panose="020B0604020202020204" pitchFamily="34" charset="0"/>
              </a:rPr>
              <a:t>Lorem ipsum</a:t>
            </a:r>
          </a:p>
          <a:p>
            <a:pPr lvl="1" indent="-169863">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r>
              <a:rPr lang="en-US" sz="1400"/>
              <a:t> </a:t>
            </a:r>
            <a:r>
              <a:rPr lang="en-US" sz="1400" err="1"/>
              <a:t>irure</a:t>
            </a:r>
            <a:r>
              <a:rPr lang="en-US" sz="1400"/>
              <a:t> dolor in </a:t>
            </a:r>
            <a:r>
              <a:rPr lang="en-US" sz="1400" err="1"/>
              <a:t>reprehenderit</a:t>
            </a:r>
            <a:endParaRPr lang="en-US" sz="1400">
              <a:latin typeface="Arial" panose="020B0604020202020204" pitchFamily="34" charset="0"/>
              <a:ea typeface="Roboto" charset="0"/>
              <a:cs typeface="Arial" panose="020B0604020202020204" pitchFamily="34" charset="0"/>
            </a:endParaRPr>
          </a:p>
        </p:txBody>
      </p:sp>
      <p:sp>
        <p:nvSpPr>
          <p:cNvPr id="19" name="Rectangle 18"/>
          <p:cNvSpPr/>
          <p:nvPr/>
        </p:nvSpPr>
        <p:spPr>
          <a:xfrm>
            <a:off x="269239" y="3820248"/>
            <a:ext cx="1697583" cy="10316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accent5"/>
                </a:solidFill>
              </a:rPr>
              <a:t>Lorem ipsum </a:t>
            </a:r>
            <a:endParaRPr lang="en-US" b="1">
              <a:solidFill>
                <a:schemeClr val="accent5"/>
              </a:solidFill>
              <a:latin typeface="Arial" panose="020B0604020202020204" pitchFamily="34" charset="0"/>
              <a:cs typeface="Arial" panose="020B0604020202020204" pitchFamily="34" charset="0"/>
            </a:endParaRPr>
          </a:p>
        </p:txBody>
      </p:sp>
      <p:cxnSp>
        <p:nvCxnSpPr>
          <p:cNvPr id="3" name="Straight Connector 2"/>
          <p:cNvCxnSpPr/>
          <p:nvPr/>
        </p:nvCxnSpPr>
        <p:spPr>
          <a:xfrm>
            <a:off x="269238" y="2438400"/>
            <a:ext cx="11622024" cy="0"/>
          </a:xfrm>
          <a:prstGeom prst="line">
            <a:avLst/>
          </a:prstGeom>
          <a:ln>
            <a:solidFill>
              <a:schemeClr val="tx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69238" y="3675530"/>
            <a:ext cx="11622024" cy="0"/>
          </a:xfrm>
          <a:prstGeom prst="line">
            <a:avLst/>
          </a:prstGeom>
          <a:ln>
            <a:solidFill>
              <a:schemeClr val="tx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81666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6" name="Text Placeholder 5"/>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a:lstStyle/>
          <a:p>
            <a:r>
              <a:rPr lang="en-US"/>
              <a:t>Recognition</a:t>
            </a:r>
          </a:p>
        </p:txBody>
      </p:sp>
      <p:pic>
        <p:nvPicPr>
          <p:cNvPr id="27" name="Graphic 4">
            <a:extLst>
              <a:ext uri="{FF2B5EF4-FFF2-40B4-BE49-F238E27FC236}">
                <a16:creationId xmlns:a16="http://schemas.microsoft.com/office/drawing/2014/main" id="{FC3972E8-C452-46E3-9267-993FCF6580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6371" y="840184"/>
            <a:ext cx="1257300" cy="2198991"/>
          </a:xfrm>
          <a:prstGeom prst="rect">
            <a:avLst/>
          </a:prstGeom>
        </p:spPr>
      </p:pic>
      <p:grpSp>
        <p:nvGrpSpPr>
          <p:cNvPr id="28" name="Group 27">
            <a:extLst>
              <a:ext uri="{FF2B5EF4-FFF2-40B4-BE49-F238E27FC236}">
                <a16:creationId xmlns:a16="http://schemas.microsoft.com/office/drawing/2014/main" id="{D949D37F-6774-4D7C-A09E-CB41341BB654}"/>
              </a:ext>
            </a:extLst>
          </p:cNvPr>
          <p:cNvGrpSpPr/>
          <p:nvPr/>
        </p:nvGrpSpPr>
        <p:grpSpPr>
          <a:xfrm>
            <a:off x="596900" y="1849652"/>
            <a:ext cx="2209822" cy="3004599"/>
            <a:chOff x="990578" y="2762261"/>
            <a:chExt cx="1807708" cy="2457862"/>
          </a:xfrm>
        </p:grpSpPr>
        <p:sp>
          <p:nvSpPr>
            <p:cNvPr id="29" name="Freeform: Shape 11">
              <a:extLst>
                <a:ext uri="{FF2B5EF4-FFF2-40B4-BE49-F238E27FC236}">
                  <a16:creationId xmlns:a16="http://schemas.microsoft.com/office/drawing/2014/main" id="{2EC77142-57D5-473B-9F0C-666961A2DF1B}"/>
                </a:ext>
              </a:extLst>
            </p:cNvPr>
            <p:cNvSpPr/>
            <p:nvPr/>
          </p:nvSpPr>
          <p:spPr>
            <a:xfrm>
              <a:off x="990578" y="3743653"/>
              <a:ext cx="990600" cy="1476375"/>
            </a:xfrm>
            <a:custGeom>
              <a:avLst/>
              <a:gdLst>
                <a:gd name="connsiteX0" fmla="*/ 484273 w 990600"/>
                <a:gd name="connsiteY0" fmla="*/ 1463104 h 1476375"/>
                <a:gd name="connsiteX1" fmla="*/ 364544 w 990600"/>
                <a:gd name="connsiteY1" fmla="*/ 1159638 h 1476375"/>
                <a:gd name="connsiteX2" fmla="*/ 327491 w 990600"/>
                <a:gd name="connsiteY2" fmla="*/ 1145922 h 1476375"/>
                <a:gd name="connsiteX3" fmla="*/ 38979 w 990600"/>
                <a:gd name="connsiteY3" fmla="*/ 1298322 h 1476375"/>
                <a:gd name="connsiteX4" fmla="*/ 1736 w 990600"/>
                <a:gd name="connsiteY4" fmla="*/ 1265651 h 1476375"/>
                <a:gd name="connsiteX5" fmla="*/ 463604 w 990600"/>
                <a:gd name="connsiteY5" fmla="*/ 17304 h 1476375"/>
                <a:gd name="connsiteX6" fmla="*/ 497703 w 990600"/>
                <a:gd name="connsiteY6" fmla="*/ 1683 h 1476375"/>
                <a:gd name="connsiteX7" fmla="*/ 979954 w 990600"/>
                <a:gd name="connsiteY7" fmla="*/ 180087 h 1476375"/>
                <a:gd name="connsiteX8" fmla="*/ 995575 w 990600"/>
                <a:gd name="connsiteY8" fmla="*/ 214186 h 1476375"/>
                <a:gd name="connsiteX9" fmla="*/ 533708 w 990600"/>
                <a:gd name="connsiteY9" fmla="*/ 1462533 h 1476375"/>
                <a:gd name="connsiteX10" fmla="*/ 484273 w 990600"/>
                <a:gd name="connsiteY10" fmla="*/ 1463104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484273" y="1463104"/>
                  </a:moveTo>
                  <a:lnTo>
                    <a:pt x="364544" y="1159638"/>
                  </a:lnTo>
                  <a:cubicBezTo>
                    <a:pt x="358733" y="1144969"/>
                    <a:pt x="341493" y="1138588"/>
                    <a:pt x="327491" y="1145922"/>
                  </a:cubicBezTo>
                  <a:lnTo>
                    <a:pt x="38979" y="1298322"/>
                  </a:lnTo>
                  <a:cubicBezTo>
                    <a:pt x="17453" y="1309656"/>
                    <a:pt x="-6741" y="1288511"/>
                    <a:pt x="1736" y="1265651"/>
                  </a:cubicBezTo>
                  <a:lnTo>
                    <a:pt x="463604" y="17304"/>
                  </a:lnTo>
                  <a:cubicBezTo>
                    <a:pt x="468652" y="3588"/>
                    <a:pt x="483892" y="-3460"/>
                    <a:pt x="497703" y="1683"/>
                  </a:cubicBezTo>
                  <a:lnTo>
                    <a:pt x="979954" y="180087"/>
                  </a:lnTo>
                  <a:cubicBezTo>
                    <a:pt x="993670" y="185135"/>
                    <a:pt x="1000718" y="200375"/>
                    <a:pt x="995575" y="214186"/>
                  </a:cubicBezTo>
                  <a:lnTo>
                    <a:pt x="533708" y="1462533"/>
                  </a:lnTo>
                  <a:cubicBezTo>
                    <a:pt x="525326" y="1485297"/>
                    <a:pt x="493131" y="1485679"/>
                    <a:pt x="484273" y="1463104"/>
                  </a:cubicBezTo>
                  <a:close/>
                </a:path>
              </a:pathLst>
            </a:custGeom>
            <a:solidFill>
              <a:schemeClr val="tx2"/>
            </a:solidFill>
            <a:ln w="9525" cap="flat">
              <a:noFill/>
              <a:prstDash val="solid"/>
              <a:miter/>
            </a:ln>
          </p:spPr>
          <p:txBody>
            <a:bodyPr rtlCol="0" anchor="ctr"/>
            <a:lstStyle/>
            <a:p>
              <a:endParaRPr lang="en-US"/>
            </a:p>
          </p:txBody>
        </p:sp>
        <p:sp>
          <p:nvSpPr>
            <p:cNvPr id="30" name="Freeform: Shape 12">
              <a:extLst>
                <a:ext uri="{FF2B5EF4-FFF2-40B4-BE49-F238E27FC236}">
                  <a16:creationId xmlns:a16="http://schemas.microsoft.com/office/drawing/2014/main" id="{EF34416B-694B-45BF-A419-23AB0766834E}"/>
                </a:ext>
              </a:extLst>
            </p:cNvPr>
            <p:cNvSpPr/>
            <p:nvPr/>
          </p:nvSpPr>
          <p:spPr>
            <a:xfrm>
              <a:off x="1057983" y="3845193"/>
              <a:ext cx="857250" cy="1266825"/>
            </a:xfrm>
            <a:custGeom>
              <a:avLst/>
              <a:gdLst>
                <a:gd name="connsiteX0" fmla="*/ 443729 w 857250"/>
                <a:gd name="connsiteY0" fmla="*/ 1275363 h 1266825"/>
                <a:gd name="connsiteX1" fmla="*/ 424679 w 857250"/>
                <a:gd name="connsiteY1" fmla="*/ 1262409 h 1266825"/>
                <a:gd name="connsiteX2" fmla="*/ 308664 w 857250"/>
                <a:gd name="connsiteY2" fmla="*/ 968467 h 1266825"/>
                <a:gd name="connsiteX3" fmla="*/ 30153 w 857250"/>
                <a:gd name="connsiteY3" fmla="*/ 1116486 h 1266825"/>
                <a:gd name="connsiteX4" fmla="*/ 7007 w 857250"/>
                <a:gd name="connsiteY4" fmla="*/ 1113724 h 1266825"/>
                <a:gd name="connsiteX5" fmla="*/ 1292 w 857250"/>
                <a:gd name="connsiteY5" fmla="*/ 1091149 h 1266825"/>
                <a:gd name="connsiteX6" fmla="*/ 400104 w 857250"/>
                <a:gd name="connsiteY6" fmla="*/ 13396 h 1266825"/>
                <a:gd name="connsiteX7" fmla="*/ 410772 w 857250"/>
                <a:gd name="connsiteY7" fmla="*/ 1870 h 1266825"/>
                <a:gd name="connsiteX8" fmla="*/ 426488 w 857250"/>
                <a:gd name="connsiteY8" fmla="*/ 1299 h 1266825"/>
                <a:gd name="connsiteX9" fmla="*/ 849684 w 857250"/>
                <a:gd name="connsiteY9" fmla="*/ 157890 h 1266825"/>
                <a:gd name="connsiteX10" fmla="*/ 861209 w 857250"/>
                <a:gd name="connsiteY10" fmla="*/ 168558 h 1266825"/>
                <a:gd name="connsiteX11" fmla="*/ 861781 w 857250"/>
                <a:gd name="connsiteY11" fmla="*/ 184274 h 1266825"/>
                <a:gd name="connsiteX12" fmla="*/ 462969 w 857250"/>
                <a:gd name="connsiteY12" fmla="*/ 1262028 h 1266825"/>
                <a:gd name="connsiteX13" fmla="*/ 443919 w 857250"/>
                <a:gd name="connsiteY13" fmla="*/ 1275458 h 1266825"/>
                <a:gd name="connsiteX14" fmla="*/ 443729 w 857250"/>
                <a:gd name="connsiteY14" fmla="*/ 1275363 h 1266825"/>
                <a:gd name="connsiteX15" fmla="*/ 444205 w 857250"/>
                <a:gd name="connsiteY15" fmla="*/ 1254694 h 1266825"/>
                <a:gd name="connsiteX16" fmla="*/ 434394 w 857250"/>
                <a:gd name="connsiteY16" fmla="*/ 1258504 h 1266825"/>
                <a:gd name="connsiteX17" fmla="*/ 444205 w 857250"/>
                <a:gd name="connsiteY17" fmla="*/ 1254694 h 1266825"/>
                <a:gd name="connsiteX18" fmla="*/ 444205 w 857250"/>
                <a:gd name="connsiteY18" fmla="*/ 1254694 h 1266825"/>
                <a:gd name="connsiteX19" fmla="*/ 309236 w 857250"/>
                <a:gd name="connsiteY19" fmla="*/ 947703 h 1266825"/>
                <a:gd name="connsiteX20" fmla="*/ 316379 w 857250"/>
                <a:gd name="connsiteY20" fmla="*/ 948941 h 1266825"/>
                <a:gd name="connsiteX21" fmla="*/ 328381 w 857250"/>
                <a:gd name="connsiteY21" fmla="*/ 960657 h 1266825"/>
                <a:gd name="connsiteX22" fmla="*/ 443824 w 857250"/>
                <a:gd name="connsiteY22" fmla="*/ 1253170 h 1266825"/>
                <a:gd name="connsiteX23" fmla="*/ 842064 w 857250"/>
                <a:gd name="connsiteY23" fmla="*/ 176845 h 1266825"/>
                <a:gd name="connsiteX24" fmla="*/ 419249 w 857250"/>
                <a:gd name="connsiteY24" fmla="*/ 21016 h 1266825"/>
                <a:gd name="connsiteX25" fmla="*/ 21676 w 857250"/>
                <a:gd name="connsiteY25" fmla="*/ 1097055 h 1266825"/>
                <a:gd name="connsiteX26" fmla="*/ 299615 w 857250"/>
                <a:gd name="connsiteY26" fmla="*/ 950084 h 1266825"/>
                <a:gd name="connsiteX27" fmla="*/ 309236 w 857250"/>
                <a:gd name="connsiteY27" fmla="*/ 94770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7250" h="1266825">
                  <a:moveTo>
                    <a:pt x="443729" y="1275363"/>
                  </a:moveTo>
                  <a:cubicBezTo>
                    <a:pt x="435251" y="1275363"/>
                    <a:pt x="427727" y="1270315"/>
                    <a:pt x="424679" y="1262409"/>
                  </a:cubicBezTo>
                  <a:lnTo>
                    <a:pt x="308664" y="968467"/>
                  </a:lnTo>
                  <a:lnTo>
                    <a:pt x="30153" y="1116486"/>
                  </a:lnTo>
                  <a:cubicBezTo>
                    <a:pt x="22533" y="1120486"/>
                    <a:pt x="13484" y="1119439"/>
                    <a:pt x="7007" y="1113724"/>
                  </a:cubicBezTo>
                  <a:cubicBezTo>
                    <a:pt x="530" y="1108104"/>
                    <a:pt x="-1660" y="1099246"/>
                    <a:pt x="1292" y="1091149"/>
                  </a:cubicBezTo>
                  <a:lnTo>
                    <a:pt x="400104" y="13396"/>
                  </a:lnTo>
                  <a:cubicBezTo>
                    <a:pt x="402009" y="8252"/>
                    <a:pt x="405819" y="4156"/>
                    <a:pt x="410772" y="1870"/>
                  </a:cubicBezTo>
                  <a:cubicBezTo>
                    <a:pt x="415725" y="-416"/>
                    <a:pt x="421345" y="-606"/>
                    <a:pt x="426488" y="1299"/>
                  </a:cubicBezTo>
                  <a:lnTo>
                    <a:pt x="849684" y="157890"/>
                  </a:lnTo>
                  <a:cubicBezTo>
                    <a:pt x="854828" y="159795"/>
                    <a:pt x="858923" y="163605"/>
                    <a:pt x="861209" y="168558"/>
                  </a:cubicBezTo>
                  <a:cubicBezTo>
                    <a:pt x="863495" y="173511"/>
                    <a:pt x="863686" y="179131"/>
                    <a:pt x="861781" y="184274"/>
                  </a:cubicBezTo>
                  <a:lnTo>
                    <a:pt x="462969" y="1262028"/>
                  </a:lnTo>
                  <a:cubicBezTo>
                    <a:pt x="460016" y="1270124"/>
                    <a:pt x="452492" y="1275363"/>
                    <a:pt x="443919" y="1275458"/>
                  </a:cubicBezTo>
                  <a:cubicBezTo>
                    <a:pt x="443919" y="1275363"/>
                    <a:pt x="443824" y="1275363"/>
                    <a:pt x="443729" y="1275363"/>
                  </a:cubicBezTo>
                  <a:close/>
                  <a:moveTo>
                    <a:pt x="444205" y="1254694"/>
                  </a:moveTo>
                  <a:lnTo>
                    <a:pt x="434394" y="1258504"/>
                  </a:lnTo>
                  <a:lnTo>
                    <a:pt x="444205" y="1254694"/>
                  </a:lnTo>
                  <a:cubicBezTo>
                    <a:pt x="444300" y="1254694"/>
                    <a:pt x="444300" y="1254694"/>
                    <a:pt x="444205" y="1254694"/>
                  </a:cubicBezTo>
                  <a:close/>
                  <a:moveTo>
                    <a:pt x="309236" y="947703"/>
                  </a:moveTo>
                  <a:cubicBezTo>
                    <a:pt x="311617" y="947703"/>
                    <a:pt x="314093" y="948084"/>
                    <a:pt x="316379" y="948941"/>
                  </a:cubicBezTo>
                  <a:cubicBezTo>
                    <a:pt x="321809" y="950941"/>
                    <a:pt x="326190" y="955228"/>
                    <a:pt x="328381" y="960657"/>
                  </a:cubicBezTo>
                  <a:lnTo>
                    <a:pt x="443824" y="1253170"/>
                  </a:lnTo>
                  <a:lnTo>
                    <a:pt x="842064" y="176845"/>
                  </a:lnTo>
                  <a:lnTo>
                    <a:pt x="419249" y="21016"/>
                  </a:lnTo>
                  <a:lnTo>
                    <a:pt x="21676" y="1097055"/>
                  </a:lnTo>
                  <a:lnTo>
                    <a:pt x="299615" y="950084"/>
                  </a:lnTo>
                  <a:cubicBezTo>
                    <a:pt x="302663" y="948560"/>
                    <a:pt x="305902" y="947703"/>
                    <a:pt x="309236" y="947703"/>
                  </a:cubicBezTo>
                  <a:close/>
                </a:path>
              </a:pathLst>
            </a:custGeom>
            <a:solidFill>
              <a:srgbClr val="FFFFFF"/>
            </a:solidFill>
            <a:ln w="9525" cap="flat">
              <a:noFill/>
              <a:prstDash val="solid"/>
              <a:miter/>
            </a:ln>
          </p:spPr>
          <p:txBody>
            <a:bodyPr rtlCol="0" anchor="ctr"/>
            <a:lstStyle/>
            <a:p>
              <a:endParaRPr lang="en-US"/>
            </a:p>
          </p:txBody>
        </p:sp>
        <p:sp>
          <p:nvSpPr>
            <p:cNvPr id="31" name="Freeform: Shape 13">
              <a:extLst>
                <a:ext uri="{FF2B5EF4-FFF2-40B4-BE49-F238E27FC236}">
                  <a16:creationId xmlns:a16="http://schemas.microsoft.com/office/drawing/2014/main" id="{C352F05D-766A-4732-91DD-A1C2B6D51BF6}"/>
                </a:ext>
              </a:extLst>
            </p:cNvPr>
            <p:cNvSpPr/>
            <p:nvPr/>
          </p:nvSpPr>
          <p:spPr>
            <a:xfrm>
              <a:off x="1807686" y="3743748"/>
              <a:ext cx="990600" cy="1476375"/>
            </a:xfrm>
            <a:custGeom>
              <a:avLst/>
              <a:gdLst>
                <a:gd name="connsiteX0" fmla="*/ 513081 w 990600"/>
                <a:gd name="connsiteY0" fmla="*/ 1463009 h 1476375"/>
                <a:gd name="connsiteX1" fmla="*/ 632810 w 990600"/>
                <a:gd name="connsiteY1" fmla="*/ 1159542 h 1476375"/>
                <a:gd name="connsiteX2" fmla="*/ 669862 w 990600"/>
                <a:gd name="connsiteY2" fmla="*/ 1145826 h 1476375"/>
                <a:gd name="connsiteX3" fmla="*/ 958279 w 990600"/>
                <a:gd name="connsiteY3" fmla="*/ 1298322 h 1476375"/>
                <a:gd name="connsiteX4" fmla="*/ 995522 w 990600"/>
                <a:gd name="connsiteY4" fmla="*/ 1265651 h 1476375"/>
                <a:gd name="connsiteX5" fmla="*/ 533655 w 990600"/>
                <a:gd name="connsiteY5" fmla="*/ 17304 h 1476375"/>
                <a:gd name="connsiteX6" fmla="*/ 499555 w 990600"/>
                <a:gd name="connsiteY6" fmla="*/ 1683 h 1476375"/>
                <a:gd name="connsiteX7" fmla="*/ 17304 w 990600"/>
                <a:gd name="connsiteY7" fmla="*/ 180087 h 1476375"/>
                <a:gd name="connsiteX8" fmla="*/ 1683 w 990600"/>
                <a:gd name="connsiteY8" fmla="*/ 214186 h 1476375"/>
                <a:gd name="connsiteX9" fmla="*/ 463551 w 990600"/>
                <a:gd name="connsiteY9" fmla="*/ 1462533 h 1476375"/>
                <a:gd name="connsiteX10" fmla="*/ 513081 w 990600"/>
                <a:gd name="connsiteY10" fmla="*/ 1463009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513081" y="1463009"/>
                  </a:moveTo>
                  <a:lnTo>
                    <a:pt x="632810" y="1159542"/>
                  </a:lnTo>
                  <a:cubicBezTo>
                    <a:pt x="638620" y="1144874"/>
                    <a:pt x="655860" y="1138492"/>
                    <a:pt x="669862" y="1145826"/>
                  </a:cubicBezTo>
                  <a:lnTo>
                    <a:pt x="958279" y="1298322"/>
                  </a:lnTo>
                  <a:cubicBezTo>
                    <a:pt x="979806" y="1309656"/>
                    <a:pt x="1003999" y="1288511"/>
                    <a:pt x="995522" y="1265651"/>
                  </a:cubicBezTo>
                  <a:lnTo>
                    <a:pt x="533655" y="17304"/>
                  </a:lnTo>
                  <a:cubicBezTo>
                    <a:pt x="528606" y="3588"/>
                    <a:pt x="513366" y="-3460"/>
                    <a:pt x="499555" y="1683"/>
                  </a:cubicBezTo>
                  <a:lnTo>
                    <a:pt x="17304" y="180087"/>
                  </a:lnTo>
                  <a:cubicBezTo>
                    <a:pt x="3588" y="185135"/>
                    <a:pt x="-3460" y="200375"/>
                    <a:pt x="1683" y="214186"/>
                  </a:cubicBezTo>
                  <a:lnTo>
                    <a:pt x="463551" y="1462533"/>
                  </a:lnTo>
                  <a:cubicBezTo>
                    <a:pt x="472028" y="1485202"/>
                    <a:pt x="504127" y="1485583"/>
                    <a:pt x="513081" y="1463009"/>
                  </a:cubicBezTo>
                  <a:close/>
                </a:path>
              </a:pathLst>
            </a:custGeom>
            <a:solidFill>
              <a:schemeClr val="tx2"/>
            </a:solidFill>
            <a:ln w="9525" cap="flat">
              <a:noFill/>
              <a:prstDash val="solid"/>
              <a:miter/>
            </a:ln>
          </p:spPr>
          <p:txBody>
            <a:bodyPr rtlCol="0" anchor="ctr"/>
            <a:lstStyle/>
            <a:p>
              <a:endParaRPr lang="en-US"/>
            </a:p>
          </p:txBody>
        </p:sp>
        <p:sp>
          <p:nvSpPr>
            <p:cNvPr id="32" name="Freeform: Shape 15">
              <a:extLst>
                <a:ext uri="{FF2B5EF4-FFF2-40B4-BE49-F238E27FC236}">
                  <a16:creationId xmlns:a16="http://schemas.microsoft.com/office/drawing/2014/main" id="{F1B4AF68-3B99-4EDC-BE87-FF1A5C3DC432}"/>
                </a:ext>
              </a:extLst>
            </p:cNvPr>
            <p:cNvSpPr/>
            <p:nvPr/>
          </p:nvSpPr>
          <p:spPr>
            <a:xfrm>
              <a:off x="1874587" y="3845098"/>
              <a:ext cx="857250" cy="1266825"/>
            </a:xfrm>
            <a:custGeom>
              <a:avLst/>
              <a:gdLst>
                <a:gd name="connsiteX0" fmla="*/ 419319 w 857250"/>
                <a:gd name="connsiteY0" fmla="*/ 1275458 h 1266825"/>
                <a:gd name="connsiteX1" fmla="*/ 419128 w 857250"/>
                <a:gd name="connsiteY1" fmla="*/ 1275458 h 1266825"/>
                <a:gd name="connsiteX2" fmla="*/ 400078 w 857250"/>
                <a:gd name="connsiteY2" fmla="*/ 1262028 h 1266825"/>
                <a:gd name="connsiteX3" fmla="*/ 1267 w 857250"/>
                <a:gd name="connsiteY3" fmla="*/ 184274 h 1266825"/>
                <a:gd name="connsiteX4" fmla="*/ 13363 w 857250"/>
                <a:gd name="connsiteY4" fmla="*/ 157890 h 1266825"/>
                <a:gd name="connsiteX5" fmla="*/ 436559 w 857250"/>
                <a:gd name="connsiteY5" fmla="*/ 1299 h 1266825"/>
                <a:gd name="connsiteX6" fmla="*/ 452275 w 857250"/>
                <a:gd name="connsiteY6" fmla="*/ 1870 h 1266825"/>
                <a:gd name="connsiteX7" fmla="*/ 462944 w 857250"/>
                <a:gd name="connsiteY7" fmla="*/ 13396 h 1266825"/>
                <a:gd name="connsiteX8" fmla="*/ 861660 w 857250"/>
                <a:gd name="connsiteY8" fmla="*/ 1091149 h 1266825"/>
                <a:gd name="connsiteX9" fmla="*/ 855945 w 857250"/>
                <a:gd name="connsiteY9" fmla="*/ 1113724 h 1266825"/>
                <a:gd name="connsiteX10" fmla="*/ 832799 w 857250"/>
                <a:gd name="connsiteY10" fmla="*/ 1116486 h 1266825"/>
                <a:gd name="connsiteX11" fmla="*/ 553431 w 857250"/>
                <a:gd name="connsiteY11" fmla="*/ 968848 h 1266825"/>
                <a:gd name="connsiteX12" fmla="*/ 438274 w 857250"/>
                <a:gd name="connsiteY12" fmla="*/ 1262504 h 1266825"/>
                <a:gd name="connsiteX13" fmla="*/ 419319 w 857250"/>
                <a:gd name="connsiteY13" fmla="*/ 1275458 h 1266825"/>
                <a:gd name="connsiteX14" fmla="*/ 418748 w 857250"/>
                <a:gd name="connsiteY14" fmla="*/ 1254789 h 1266825"/>
                <a:gd name="connsiteX15" fmla="*/ 418748 w 857250"/>
                <a:gd name="connsiteY15" fmla="*/ 1254789 h 1266825"/>
                <a:gd name="connsiteX16" fmla="*/ 428558 w 857250"/>
                <a:gd name="connsiteY16" fmla="*/ 1258599 h 1266825"/>
                <a:gd name="connsiteX17" fmla="*/ 418748 w 857250"/>
                <a:gd name="connsiteY17" fmla="*/ 1254789 h 1266825"/>
                <a:gd name="connsiteX18" fmla="*/ 443131 w 857250"/>
                <a:gd name="connsiteY18" fmla="*/ 20825 h 1266825"/>
                <a:gd name="connsiteX19" fmla="*/ 20698 w 857250"/>
                <a:gd name="connsiteY19" fmla="*/ 177702 h 1266825"/>
                <a:gd name="connsiteX20" fmla="*/ 419224 w 857250"/>
                <a:gd name="connsiteY20" fmla="*/ 1253265 h 1266825"/>
                <a:gd name="connsiteX21" fmla="*/ 534667 w 857250"/>
                <a:gd name="connsiteY21" fmla="*/ 960752 h 1266825"/>
                <a:gd name="connsiteX22" fmla="*/ 546668 w 857250"/>
                <a:gd name="connsiteY22" fmla="*/ 949036 h 1266825"/>
                <a:gd name="connsiteX23" fmla="*/ 563337 w 857250"/>
                <a:gd name="connsiteY23" fmla="*/ 950179 h 1266825"/>
                <a:gd name="connsiteX24" fmla="*/ 841277 w 857250"/>
                <a:gd name="connsiteY24" fmla="*/ 1097150 h 1266825"/>
                <a:gd name="connsiteX25" fmla="*/ 443131 w 857250"/>
                <a:gd name="connsiteY25" fmla="*/ 20825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250" h="1266825">
                  <a:moveTo>
                    <a:pt x="419319" y="1275458"/>
                  </a:moveTo>
                  <a:cubicBezTo>
                    <a:pt x="419224" y="1275458"/>
                    <a:pt x="419128" y="1275458"/>
                    <a:pt x="419128" y="1275458"/>
                  </a:cubicBezTo>
                  <a:cubicBezTo>
                    <a:pt x="410556" y="1275363"/>
                    <a:pt x="403031" y="1270124"/>
                    <a:pt x="400078" y="1262028"/>
                  </a:cubicBezTo>
                  <a:lnTo>
                    <a:pt x="1267" y="184274"/>
                  </a:lnTo>
                  <a:cubicBezTo>
                    <a:pt x="-2639" y="173701"/>
                    <a:pt x="2791" y="161795"/>
                    <a:pt x="13363" y="157890"/>
                  </a:cubicBezTo>
                  <a:lnTo>
                    <a:pt x="436559" y="1299"/>
                  </a:lnTo>
                  <a:cubicBezTo>
                    <a:pt x="441703" y="-606"/>
                    <a:pt x="447323" y="-416"/>
                    <a:pt x="452275" y="1870"/>
                  </a:cubicBezTo>
                  <a:cubicBezTo>
                    <a:pt x="457228" y="4156"/>
                    <a:pt x="461039" y="8252"/>
                    <a:pt x="462944" y="13396"/>
                  </a:cubicBezTo>
                  <a:lnTo>
                    <a:pt x="861660" y="1091149"/>
                  </a:lnTo>
                  <a:cubicBezTo>
                    <a:pt x="864613" y="1099150"/>
                    <a:pt x="862422" y="1108009"/>
                    <a:pt x="855945" y="1113724"/>
                  </a:cubicBezTo>
                  <a:cubicBezTo>
                    <a:pt x="849468" y="1119343"/>
                    <a:pt x="840419" y="1120391"/>
                    <a:pt x="832799" y="1116486"/>
                  </a:cubicBezTo>
                  <a:lnTo>
                    <a:pt x="553431" y="968848"/>
                  </a:lnTo>
                  <a:lnTo>
                    <a:pt x="438274" y="1262504"/>
                  </a:lnTo>
                  <a:cubicBezTo>
                    <a:pt x="435226" y="1270410"/>
                    <a:pt x="427796" y="1275458"/>
                    <a:pt x="419319" y="1275458"/>
                  </a:cubicBezTo>
                  <a:close/>
                  <a:moveTo>
                    <a:pt x="418748" y="1254789"/>
                  </a:moveTo>
                  <a:cubicBezTo>
                    <a:pt x="418748" y="1254789"/>
                    <a:pt x="418748" y="1254789"/>
                    <a:pt x="418748" y="1254789"/>
                  </a:cubicBezTo>
                  <a:lnTo>
                    <a:pt x="428558" y="1258599"/>
                  </a:lnTo>
                  <a:lnTo>
                    <a:pt x="418748" y="1254789"/>
                  </a:lnTo>
                  <a:close/>
                  <a:moveTo>
                    <a:pt x="443131" y="20825"/>
                  </a:moveTo>
                  <a:lnTo>
                    <a:pt x="20698" y="177702"/>
                  </a:lnTo>
                  <a:lnTo>
                    <a:pt x="419224" y="1253265"/>
                  </a:lnTo>
                  <a:lnTo>
                    <a:pt x="534667" y="960752"/>
                  </a:lnTo>
                  <a:cubicBezTo>
                    <a:pt x="536762" y="955323"/>
                    <a:pt x="541144" y="951037"/>
                    <a:pt x="546668" y="949036"/>
                  </a:cubicBezTo>
                  <a:cubicBezTo>
                    <a:pt x="552098" y="947036"/>
                    <a:pt x="558194" y="947417"/>
                    <a:pt x="563337" y="950179"/>
                  </a:cubicBezTo>
                  <a:lnTo>
                    <a:pt x="841277" y="1097150"/>
                  </a:lnTo>
                  <a:lnTo>
                    <a:pt x="443131" y="20825"/>
                  </a:lnTo>
                  <a:close/>
                </a:path>
              </a:pathLst>
            </a:custGeom>
            <a:solidFill>
              <a:srgbClr val="FFFFFF"/>
            </a:solidFill>
            <a:ln w="9525" cap="flat">
              <a:noFill/>
              <a:prstDash val="solid"/>
              <a:miter/>
            </a:ln>
          </p:spPr>
          <p:txBody>
            <a:bodyPr rtlCol="0" anchor="ctr"/>
            <a:lstStyle/>
            <a:p>
              <a:endParaRPr lang="en-US"/>
            </a:p>
          </p:txBody>
        </p:sp>
        <p:sp>
          <p:nvSpPr>
            <p:cNvPr id="33" name="Freeform: Shape 17">
              <a:extLst>
                <a:ext uri="{FF2B5EF4-FFF2-40B4-BE49-F238E27FC236}">
                  <a16:creationId xmlns:a16="http://schemas.microsoft.com/office/drawing/2014/main" id="{76C9C591-B8C4-4EFA-BA0D-FA3D81F1E019}"/>
                </a:ext>
              </a:extLst>
            </p:cNvPr>
            <p:cNvSpPr/>
            <p:nvPr/>
          </p:nvSpPr>
          <p:spPr>
            <a:xfrm>
              <a:off x="1028795" y="2762261"/>
              <a:ext cx="1704975" cy="1704975"/>
            </a:xfrm>
            <a:custGeom>
              <a:avLst/>
              <a:gdLst>
                <a:gd name="connsiteX0" fmla="*/ 1707642 w 1704975"/>
                <a:gd name="connsiteY0" fmla="*/ 853821 h 1704975"/>
                <a:gd name="connsiteX1" fmla="*/ 853821 w 1704975"/>
                <a:gd name="connsiteY1" fmla="*/ 1707642 h 1704975"/>
                <a:gd name="connsiteX2" fmla="*/ 0 w 1704975"/>
                <a:gd name="connsiteY2" fmla="*/ 853821 h 1704975"/>
                <a:gd name="connsiteX3" fmla="*/ 853821 w 1704975"/>
                <a:gd name="connsiteY3" fmla="*/ 0 h 1704975"/>
                <a:gd name="connsiteX4" fmla="*/ 1707642 w 1704975"/>
                <a:gd name="connsiteY4" fmla="*/ 853821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75" h="1704975">
                  <a:moveTo>
                    <a:pt x="1707642" y="853821"/>
                  </a:moveTo>
                  <a:cubicBezTo>
                    <a:pt x="1707642" y="1325373"/>
                    <a:pt x="1325373" y="1707642"/>
                    <a:pt x="853821" y="1707642"/>
                  </a:cubicBezTo>
                  <a:cubicBezTo>
                    <a:pt x="382269" y="1707642"/>
                    <a:pt x="0" y="1325373"/>
                    <a:pt x="0" y="853821"/>
                  </a:cubicBezTo>
                  <a:cubicBezTo>
                    <a:pt x="0" y="382269"/>
                    <a:pt x="382269" y="0"/>
                    <a:pt x="853821" y="0"/>
                  </a:cubicBezTo>
                  <a:cubicBezTo>
                    <a:pt x="1325373" y="0"/>
                    <a:pt x="1707642" y="382269"/>
                    <a:pt x="1707642" y="853821"/>
                  </a:cubicBezTo>
                  <a:close/>
                </a:path>
              </a:pathLst>
            </a:custGeom>
            <a:solidFill>
              <a:schemeClr val="tx2"/>
            </a:solidFill>
            <a:ln w="76200" cap="flat">
              <a:solidFill>
                <a:schemeClr val="accent5"/>
              </a:solidFill>
              <a:prstDash val="solid"/>
              <a:miter/>
            </a:ln>
          </p:spPr>
          <p:txBody>
            <a:bodyPr rtlCol="0" anchor="ctr"/>
            <a:lstStyle/>
            <a:p>
              <a:pPr algn="ctr"/>
              <a:r>
                <a:rPr lang="en-US" sz="2000">
                  <a:solidFill>
                    <a:schemeClr val="accent5"/>
                  </a:solidFill>
                </a:rPr>
                <a:t>Absolute </a:t>
              </a:r>
              <a:br>
                <a:rPr lang="en-US" sz="2000">
                  <a:solidFill>
                    <a:schemeClr val="accent5"/>
                  </a:solidFill>
                </a:rPr>
              </a:br>
              <a:r>
                <a:rPr lang="en-US" sz="2000">
                  <a:solidFill>
                    <a:schemeClr val="accent5"/>
                  </a:solidFill>
                </a:rPr>
                <a:t>Integrity</a:t>
              </a:r>
            </a:p>
          </p:txBody>
        </p:sp>
      </p:grpSp>
      <p:sp>
        <p:nvSpPr>
          <p:cNvPr id="44" name="Rectangle 43"/>
          <p:cNvSpPr/>
          <p:nvPr/>
        </p:nvSpPr>
        <p:spPr>
          <a:xfrm>
            <a:off x="6781800" y="3396103"/>
            <a:ext cx="2121408" cy="2651876"/>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chemeClr val="tx1"/>
                </a:solidFill>
              </a:rPr>
              <a:t>Picture space</a:t>
            </a:r>
          </a:p>
        </p:txBody>
      </p:sp>
      <p:sp>
        <p:nvSpPr>
          <p:cNvPr id="45" name="Rectangle 44"/>
          <p:cNvSpPr/>
          <p:nvPr/>
        </p:nvSpPr>
        <p:spPr>
          <a:xfrm>
            <a:off x="9296400" y="3396103"/>
            <a:ext cx="2121408" cy="2651876"/>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chemeClr val="tx1"/>
                </a:solidFill>
              </a:rPr>
              <a:t>Picture space</a:t>
            </a:r>
            <a:endParaRPr lang="en-US" err="1">
              <a:solidFill>
                <a:schemeClr val="tx1"/>
              </a:solidFill>
            </a:endParaRPr>
          </a:p>
        </p:txBody>
      </p:sp>
      <p:sp>
        <p:nvSpPr>
          <p:cNvPr id="47" name="Rectangle 46"/>
          <p:cNvSpPr/>
          <p:nvPr/>
        </p:nvSpPr>
        <p:spPr>
          <a:xfrm>
            <a:off x="6781800" y="3396103"/>
            <a:ext cx="4636008" cy="2651876"/>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aphicFrame>
        <p:nvGraphicFramePr>
          <p:cNvPr id="53"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1050738"/>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spTree>
    <p:extLst>
      <p:ext uri="{BB962C8B-B14F-4D97-AF65-F5344CB8AC3E}">
        <p14:creationId xmlns:p14="http://schemas.microsoft.com/office/powerpoint/2010/main" val="15236013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6" name="Text Placeholder 5"/>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a:lstStyle/>
          <a:p>
            <a:r>
              <a:rPr lang="en-US"/>
              <a:t>Recognition</a:t>
            </a:r>
          </a:p>
        </p:txBody>
      </p:sp>
      <p:graphicFrame>
        <p:nvGraphicFramePr>
          <p:cNvPr id="19"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3864865"/>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cxnSp>
        <p:nvCxnSpPr>
          <p:cNvPr id="20" name="Straight Connector 19">
            <a:extLst>
              <a:ext uri="{FF2B5EF4-FFF2-40B4-BE49-F238E27FC236}">
                <a16:creationId xmlns:a16="http://schemas.microsoft.com/office/drawing/2014/main" id="{240A78A4-DAF5-427E-B072-173A57C61A97}"/>
              </a:ext>
            </a:extLst>
          </p:cNvPr>
          <p:cNvCxnSpPr>
            <a:cxnSpLocks/>
          </p:cNvCxnSpPr>
          <p:nvPr/>
        </p:nvCxnSpPr>
        <p:spPr>
          <a:xfrm>
            <a:off x="3505200" y="3654552"/>
            <a:ext cx="8534400"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7" name="Graphic 4">
            <a:extLst>
              <a:ext uri="{FF2B5EF4-FFF2-40B4-BE49-F238E27FC236}">
                <a16:creationId xmlns:a16="http://schemas.microsoft.com/office/drawing/2014/main" id="{FC3972E8-C452-46E3-9267-993FCF6580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6371" y="840184"/>
            <a:ext cx="1257300" cy="2198991"/>
          </a:xfrm>
          <a:prstGeom prst="rect">
            <a:avLst/>
          </a:prstGeom>
        </p:spPr>
      </p:pic>
      <p:grpSp>
        <p:nvGrpSpPr>
          <p:cNvPr id="28" name="Group 27">
            <a:extLst>
              <a:ext uri="{FF2B5EF4-FFF2-40B4-BE49-F238E27FC236}">
                <a16:creationId xmlns:a16="http://schemas.microsoft.com/office/drawing/2014/main" id="{D949D37F-6774-4D7C-A09E-CB41341BB654}"/>
              </a:ext>
            </a:extLst>
          </p:cNvPr>
          <p:cNvGrpSpPr/>
          <p:nvPr/>
        </p:nvGrpSpPr>
        <p:grpSpPr>
          <a:xfrm>
            <a:off x="596900" y="1849652"/>
            <a:ext cx="2209822" cy="3004599"/>
            <a:chOff x="990578" y="2762261"/>
            <a:chExt cx="1807708" cy="2457862"/>
          </a:xfrm>
        </p:grpSpPr>
        <p:sp>
          <p:nvSpPr>
            <p:cNvPr id="29" name="Freeform: Shape 11">
              <a:extLst>
                <a:ext uri="{FF2B5EF4-FFF2-40B4-BE49-F238E27FC236}">
                  <a16:creationId xmlns:a16="http://schemas.microsoft.com/office/drawing/2014/main" id="{2EC77142-57D5-473B-9F0C-666961A2DF1B}"/>
                </a:ext>
              </a:extLst>
            </p:cNvPr>
            <p:cNvSpPr/>
            <p:nvPr/>
          </p:nvSpPr>
          <p:spPr>
            <a:xfrm>
              <a:off x="990578" y="3743653"/>
              <a:ext cx="990600" cy="1476375"/>
            </a:xfrm>
            <a:custGeom>
              <a:avLst/>
              <a:gdLst>
                <a:gd name="connsiteX0" fmla="*/ 484273 w 990600"/>
                <a:gd name="connsiteY0" fmla="*/ 1463104 h 1476375"/>
                <a:gd name="connsiteX1" fmla="*/ 364544 w 990600"/>
                <a:gd name="connsiteY1" fmla="*/ 1159638 h 1476375"/>
                <a:gd name="connsiteX2" fmla="*/ 327491 w 990600"/>
                <a:gd name="connsiteY2" fmla="*/ 1145922 h 1476375"/>
                <a:gd name="connsiteX3" fmla="*/ 38979 w 990600"/>
                <a:gd name="connsiteY3" fmla="*/ 1298322 h 1476375"/>
                <a:gd name="connsiteX4" fmla="*/ 1736 w 990600"/>
                <a:gd name="connsiteY4" fmla="*/ 1265651 h 1476375"/>
                <a:gd name="connsiteX5" fmla="*/ 463604 w 990600"/>
                <a:gd name="connsiteY5" fmla="*/ 17304 h 1476375"/>
                <a:gd name="connsiteX6" fmla="*/ 497703 w 990600"/>
                <a:gd name="connsiteY6" fmla="*/ 1683 h 1476375"/>
                <a:gd name="connsiteX7" fmla="*/ 979954 w 990600"/>
                <a:gd name="connsiteY7" fmla="*/ 180087 h 1476375"/>
                <a:gd name="connsiteX8" fmla="*/ 995575 w 990600"/>
                <a:gd name="connsiteY8" fmla="*/ 214186 h 1476375"/>
                <a:gd name="connsiteX9" fmla="*/ 533708 w 990600"/>
                <a:gd name="connsiteY9" fmla="*/ 1462533 h 1476375"/>
                <a:gd name="connsiteX10" fmla="*/ 484273 w 990600"/>
                <a:gd name="connsiteY10" fmla="*/ 1463104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484273" y="1463104"/>
                  </a:moveTo>
                  <a:lnTo>
                    <a:pt x="364544" y="1159638"/>
                  </a:lnTo>
                  <a:cubicBezTo>
                    <a:pt x="358733" y="1144969"/>
                    <a:pt x="341493" y="1138588"/>
                    <a:pt x="327491" y="1145922"/>
                  </a:cubicBezTo>
                  <a:lnTo>
                    <a:pt x="38979" y="1298322"/>
                  </a:lnTo>
                  <a:cubicBezTo>
                    <a:pt x="17453" y="1309656"/>
                    <a:pt x="-6741" y="1288511"/>
                    <a:pt x="1736" y="1265651"/>
                  </a:cubicBezTo>
                  <a:lnTo>
                    <a:pt x="463604" y="17304"/>
                  </a:lnTo>
                  <a:cubicBezTo>
                    <a:pt x="468652" y="3588"/>
                    <a:pt x="483892" y="-3460"/>
                    <a:pt x="497703" y="1683"/>
                  </a:cubicBezTo>
                  <a:lnTo>
                    <a:pt x="979954" y="180087"/>
                  </a:lnTo>
                  <a:cubicBezTo>
                    <a:pt x="993670" y="185135"/>
                    <a:pt x="1000718" y="200375"/>
                    <a:pt x="995575" y="214186"/>
                  </a:cubicBezTo>
                  <a:lnTo>
                    <a:pt x="533708" y="1462533"/>
                  </a:lnTo>
                  <a:cubicBezTo>
                    <a:pt x="525326" y="1485297"/>
                    <a:pt x="493131" y="1485679"/>
                    <a:pt x="484273" y="1463104"/>
                  </a:cubicBezTo>
                  <a:close/>
                </a:path>
              </a:pathLst>
            </a:custGeom>
            <a:solidFill>
              <a:schemeClr val="tx2"/>
            </a:solidFill>
            <a:ln w="9525" cap="flat">
              <a:noFill/>
              <a:prstDash val="solid"/>
              <a:miter/>
            </a:ln>
          </p:spPr>
          <p:txBody>
            <a:bodyPr rtlCol="0" anchor="ctr"/>
            <a:lstStyle/>
            <a:p>
              <a:endParaRPr lang="en-US"/>
            </a:p>
          </p:txBody>
        </p:sp>
        <p:sp>
          <p:nvSpPr>
            <p:cNvPr id="30" name="Freeform: Shape 12">
              <a:extLst>
                <a:ext uri="{FF2B5EF4-FFF2-40B4-BE49-F238E27FC236}">
                  <a16:creationId xmlns:a16="http://schemas.microsoft.com/office/drawing/2014/main" id="{EF34416B-694B-45BF-A419-23AB0766834E}"/>
                </a:ext>
              </a:extLst>
            </p:cNvPr>
            <p:cNvSpPr/>
            <p:nvPr/>
          </p:nvSpPr>
          <p:spPr>
            <a:xfrm>
              <a:off x="1057983" y="3845193"/>
              <a:ext cx="857250" cy="1266825"/>
            </a:xfrm>
            <a:custGeom>
              <a:avLst/>
              <a:gdLst>
                <a:gd name="connsiteX0" fmla="*/ 443729 w 857250"/>
                <a:gd name="connsiteY0" fmla="*/ 1275363 h 1266825"/>
                <a:gd name="connsiteX1" fmla="*/ 424679 w 857250"/>
                <a:gd name="connsiteY1" fmla="*/ 1262409 h 1266825"/>
                <a:gd name="connsiteX2" fmla="*/ 308664 w 857250"/>
                <a:gd name="connsiteY2" fmla="*/ 968467 h 1266825"/>
                <a:gd name="connsiteX3" fmla="*/ 30153 w 857250"/>
                <a:gd name="connsiteY3" fmla="*/ 1116486 h 1266825"/>
                <a:gd name="connsiteX4" fmla="*/ 7007 w 857250"/>
                <a:gd name="connsiteY4" fmla="*/ 1113724 h 1266825"/>
                <a:gd name="connsiteX5" fmla="*/ 1292 w 857250"/>
                <a:gd name="connsiteY5" fmla="*/ 1091149 h 1266825"/>
                <a:gd name="connsiteX6" fmla="*/ 400104 w 857250"/>
                <a:gd name="connsiteY6" fmla="*/ 13396 h 1266825"/>
                <a:gd name="connsiteX7" fmla="*/ 410772 w 857250"/>
                <a:gd name="connsiteY7" fmla="*/ 1870 h 1266825"/>
                <a:gd name="connsiteX8" fmla="*/ 426488 w 857250"/>
                <a:gd name="connsiteY8" fmla="*/ 1299 h 1266825"/>
                <a:gd name="connsiteX9" fmla="*/ 849684 w 857250"/>
                <a:gd name="connsiteY9" fmla="*/ 157890 h 1266825"/>
                <a:gd name="connsiteX10" fmla="*/ 861209 w 857250"/>
                <a:gd name="connsiteY10" fmla="*/ 168558 h 1266825"/>
                <a:gd name="connsiteX11" fmla="*/ 861781 w 857250"/>
                <a:gd name="connsiteY11" fmla="*/ 184274 h 1266825"/>
                <a:gd name="connsiteX12" fmla="*/ 462969 w 857250"/>
                <a:gd name="connsiteY12" fmla="*/ 1262028 h 1266825"/>
                <a:gd name="connsiteX13" fmla="*/ 443919 w 857250"/>
                <a:gd name="connsiteY13" fmla="*/ 1275458 h 1266825"/>
                <a:gd name="connsiteX14" fmla="*/ 443729 w 857250"/>
                <a:gd name="connsiteY14" fmla="*/ 1275363 h 1266825"/>
                <a:gd name="connsiteX15" fmla="*/ 444205 w 857250"/>
                <a:gd name="connsiteY15" fmla="*/ 1254694 h 1266825"/>
                <a:gd name="connsiteX16" fmla="*/ 434394 w 857250"/>
                <a:gd name="connsiteY16" fmla="*/ 1258504 h 1266825"/>
                <a:gd name="connsiteX17" fmla="*/ 444205 w 857250"/>
                <a:gd name="connsiteY17" fmla="*/ 1254694 h 1266825"/>
                <a:gd name="connsiteX18" fmla="*/ 444205 w 857250"/>
                <a:gd name="connsiteY18" fmla="*/ 1254694 h 1266825"/>
                <a:gd name="connsiteX19" fmla="*/ 309236 w 857250"/>
                <a:gd name="connsiteY19" fmla="*/ 947703 h 1266825"/>
                <a:gd name="connsiteX20" fmla="*/ 316379 w 857250"/>
                <a:gd name="connsiteY20" fmla="*/ 948941 h 1266825"/>
                <a:gd name="connsiteX21" fmla="*/ 328381 w 857250"/>
                <a:gd name="connsiteY21" fmla="*/ 960657 h 1266825"/>
                <a:gd name="connsiteX22" fmla="*/ 443824 w 857250"/>
                <a:gd name="connsiteY22" fmla="*/ 1253170 h 1266825"/>
                <a:gd name="connsiteX23" fmla="*/ 842064 w 857250"/>
                <a:gd name="connsiteY23" fmla="*/ 176845 h 1266825"/>
                <a:gd name="connsiteX24" fmla="*/ 419249 w 857250"/>
                <a:gd name="connsiteY24" fmla="*/ 21016 h 1266825"/>
                <a:gd name="connsiteX25" fmla="*/ 21676 w 857250"/>
                <a:gd name="connsiteY25" fmla="*/ 1097055 h 1266825"/>
                <a:gd name="connsiteX26" fmla="*/ 299615 w 857250"/>
                <a:gd name="connsiteY26" fmla="*/ 950084 h 1266825"/>
                <a:gd name="connsiteX27" fmla="*/ 309236 w 857250"/>
                <a:gd name="connsiteY27" fmla="*/ 94770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7250" h="1266825">
                  <a:moveTo>
                    <a:pt x="443729" y="1275363"/>
                  </a:moveTo>
                  <a:cubicBezTo>
                    <a:pt x="435251" y="1275363"/>
                    <a:pt x="427727" y="1270315"/>
                    <a:pt x="424679" y="1262409"/>
                  </a:cubicBezTo>
                  <a:lnTo>
                    <a:pt x="308664" y="968467"/>
                  </a:lnTo>
                  <a:lnTo>
                    <a:pt x="30153" y="1116486"/>
                  </a:lnTo>
                  <a:cubicBezTo>
                    <a:pt x="22533" y="1120486"/>
                    <a:pt x="13484" y="1119439"/>
                    <a:pt x="7007" y="1113724"/>
                  </a:cubicBezTo>
                  <a:cubicBezTo>
                    <a:pt x="530" y="1108104"/>
                    <a:pt x="-1660" y="1099246"/>
                    <a:pt x="1292" y="1091149"/>
                  </a:cubicBezTo>
                  <a:lnTo>
                    <a:pt x="400104" y="13396"/>
                  </a:lnTo>
                  <a:cubicBezTo>
                    <a:pt x="402009" y="8252"/>
                    <a:pt x="405819" y="4156"/>
                    <a:pt x="410772" y="1870"/>
                  </a:cubicBezTo>
                  <a:cubicBezTo>
                    <a:pt x="415725" y="-416"/>
                    <a:pt x="421345" y="-606"/>
                    <a:pt x="426488" y="1299"/>
                  </a:cubicBezTo>
                  <a:lnTo>
                    <a:pt x="849684" y="157890"/>
                  </a:lnTo>
                  <a:cubicBezTo>
                    <a:pt x="854828" y="159795"/>
                    <a:pt x="858923" y="163605"/>
                    <a:pt x="861209" y="168558"/>
                  </a:cubicBezTo>
                  <a:cubicBezTo>
                    <a:pt x="863495" y="173511"/>
                    <a:pt x="863686" y="179131"/>
                    <a:pt x="861781" y="184274"/>
                  </a:cubicBezTo>
                  <a:lnTo>
                    <a:pt x="462969" y="1262028"/>
                  </a:lnTo>
                  <a:cubicBezTo>
                    <a:pt x="460016" y="1270124"/>
                    <a:pt x="452492" y="1275363"/>
                    <a:pt x="443919" y="1275458"/>
                  </a:cubicBezTo>
                  <a:cubicBezTo>
                    <a:pt x="443919" y="1275363"/>
                    <a:pt x="443824" y="1275363"/>
                    <a:pt x="443729" y="1275363"/>
                  </a:cubicBezTo>
                  <a:close/>
                  <a:moveTo>
                    <a:pt x="444205" y="1254694"/>
                  </a:moveTo>
                  <a:lnTo>
                    <a:pt x="434394" y="1258504"/>
                  </a:lnTo>
                  <a:lnTo>
                    <a:pt x="444205" y="1254694"/>
                  </a:lnTo>
                  <a:cubicBezTo>
                    <a:pt x="444300" y="1254694"/>
                    <a:pt x="444300" y="1254694"/>
                    <a:pt x="444205" y="1254694"/>
                  </a:cubicBezTo>
                  <a:close/>
                  <a:moveTo>
                    <a:pt x="309236" y="947703"/>
                  </a:moveTo>
                  <a:cubicBezTo>
                    <a:pt x="311617" y="947703"/>
                    <a:pt x="314093" y="948084"/>
                    <a:pt x="316379" y="948941"/>
                  </a:cubicBezTo>
                  <a:cubicBezTo>
                    <a:pt x="321809" y="950941"/>
                    <a:pt x="326190" y="955228"/>
                    <a:pt x="328381" y="960657"/>
                  </a:cubicBezTo>
                  <a:lnTo>
                    <a:pt x="443824" y="1253170"/>
                  </a:lnTo>
                  <a:lnTo>
                    <a:pt x="842064" y="176845"/>
                  </a:lnTo>
                  <a:lnTo>
                    <a:pt x="419249" y="21016"/>
                  </a:lnTo>
                  <a:lnTo>
                    <a:pt x="21676" y="1097055"/>
                  </a:lnTo>
                  <a:lnTo>
                    <a:pt x="299615" y="950084"/>
                  </a:lnTo>
                  <a:cubicBezTo>
                    <a:pt x="302663" y="948560"/>
                    <a:pt x="305902" y="947703"/>
                    <a:pt x="309236" y="947703"/>
                  </a:cubicBezTo>
                  <a:close/>
                </a:path>
              </a:pathLst>
            </a:custGeom>
            <a:solidFill>
              <a:srgbClr val="FFFFFF"/>
            </a:solidFill>
            <a:ln w="9525" cap="flat">
              <a:noFill/>
              <a:prstDash val="solid"/>
              <a:miter/>
            </a:ln>
          </p:spPr>
          <p:txBody>
            <a:bodyPr rtlCol="0" anchor="ctr"/>
            <a:lstStyle/>
            <a:p>
              <a:endParaRPr lang="en-US"/>
            </a:p>
          </p:txBody>
        </p:sp>
        <p:sp>
          <p:nvSpPr>
            <p:cNvPr id="31" name="Freeform: Shape 13">
              <a:extLst>
                <a:ext uri="{FF2B5EF4-FFF2-40B4-BE49-F238E27FC236}">
                  <a16:creationId xmlns:a16="http://schemas.microsoft.com/office/drawing/2014/main" id="{C352F05D-766A-4732-91DD-A1C2B6D51BF6}"/>
                </a:ext>
              </a:extLst>
            </p:cNvPr>
            <p:cNvSpPr/>
            <p:nvPr/>
          </p:nvSpPr>
          <p:spPr>
            <a:xfrm>
              <a:off x="1807686" y="3743748"/>
              <a:ext cx="990600" cy="1476375"/>
            </a:xfrm>
            <a:custGeom>
              <a:avLst/>
              <a:gdLst>
                <a:gd name="connsiteX0" fmla="*/ 513081 w 990600"/>
                <a:gd name="connsiteY0" fmla="*/ 1463009 h 1476375"/>
                <a:gd name="connsiteX1" fmla="*/ 632810 w 990600"/>
                <a:gd name="connsiteY1" fmla="*/ 1159542 h 1476375"/>
                <a:gd name="connsiteX2" fmla="*/ 669862 w 990600"/>
                <a:gd name="connsiteY2" fmla="*/ 1145826 h 1476375"/>
                <a:gd name="connsiteX3" fmla="*/ 958279 w 990600"/>
                <a:gd name="connsiteY3" fmla="*/ 1298322 h 1476375"/>
                <a:gd name="connsiteX4" fmla="*/ 995522 w 990600"/>
                <a:gd name="connsiteY4" fmla="*/ 1265651 h 1476375"/>
                <a:gd name="connsiteX5" fmla="*/ 533655 w 990600"/>
                <a:gd name="connsiteY5" fmla="*/ 17304 h 1476375"/>
                <a:gd name="connsiteX6" fmla="*/ 499555 w 990600"/>
                <a:gd name="connsiteY6" fmla="*/ 1683 h 1476375"/>
                <a:gd name="connsiteX7" fmla="*/ 17304 w 990600"/>
                <a:gd name="connsiteY7" fmla="*/ 180087 h 1476375"/>
                <a:gd name="connsiteX8" fmla="*/ 1683 w 990600"/>
                <a:gd name="connsiteY8" fmla="*/ 214186 h 1476375"/>
                <a:gd name="connsiteX9" fmla="*/ 463551 w 990600"/>
                <a:gd name="connsiteY9" fmla="*/ 1462533 h 1476375"/>
                <a:gd name="connsiteX10" fmla="*/ 513081 w 990600"/>
                <a:gd name="connsiteY10" fmla="*/ 1463009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513081" y="1463009"/>
                  </a:moveTo>
                  <a:lnTo>
                    <a:pt x="632810" y="1159542"/>
                  </a:lnTo>
                  <a:cubicBezTo>
                    <a:pt x="638620" y="1144874"/>
                    <a:pt x="655860" y="1138492"/>
                    <a:pt x="669862" y="1145826"/>
                  </a:cubicBezTo>
                  <a:lnTo>
                    <a:pt x="958279" y="1298322"/>
                  </a:lnTo>
                  <a:cubicBezTo>
                    <a:pt x="979806" y="1309656"/>
                    <a:pt x="1003999" y="1288511"/>
                    <a:pt x="995522" y="1265651"/>
                  </a:cubicBezTo>
                  <a:lnTo>
                    <a:pt x="533655" y="17304"/>
                  </a:lnTo>
                  <a:cubicBezTo>
                    <a:pt x="528606" y="3588"/>
                    <a:pt x="513366" y="-3460"/>
                    <a:pt x="499555" y="1683"/>
                  </a:cubicBezTo>
                  <a:lnTo>
                    <a:pt x="17304" y="180087"/>
                  </a:lnTo>
                  <a:cubicBezTo>
                    <a:pt x="3588" y="185135"/>
                    <a:pt x="-3460" y="200375"/>
                    <a:pt x="1683" y="214186"/>
                  </a:cubicBezTo>
                  <a:lnTo>
                    <a:pt x="463551" y="1462533"/>
                  </a:lnTo>
                  <a:cubicBezTo>
                    <a:pt x="472028" y="1485202"/>
                    <a:pt x="504127" y="1485583"/>
                    <a:pt x="513081" y="1463009"/>
                  </a:cubicBezTo>
                  <a:close/>
                </a:path>
              </a:pathLst>
            </a:custGeom>
            <a:solidFill>
              <a:schemeClr val="tx2"/>
            </a:solidFill>
            <a:ln w="9525" cap="flat">
              <a:noFill/>
              <a:prstDash val="solid"/>
              <a:miter/>
            </a:ln>
          </p:spPr>
          <p:txBody>
            <a:bodyPr rtlCol="0" anchor="ctr"/>
            <a:lstStyle/>
            <a:p>
              <a:endParaRPr lang="en-US"/>
            </a:p>
          </p:txBody>
        </p:sp>
        <p:sp>
          <p:nvSpPr>
            <p:cNvPr id="32" name="Freeform: Shape 15">
              <a:extLst>
                <a:ext uri="{FF2B5EF4-FFF2-40B4-BE49-F238E27FC236}">
                  <a16:creationId xmlns:a16="http://schemas.microsoft.com/office/drawing/2014/main" id="{F1B4AF68-3B99-4EDC-BE87-FF1A5C3DC432}"/>
                </a:ext>
              </a:extLst>
            </p:cNvPr>
            <p:cNvSpPr/>
            <p:nvPr/>
          </p:nvSpPr>
          <p:spPr>
            <a:xfrm>
              <a:off x="1874587" y="3845098"/>
              <a:ext cx="857250" cy="1266825"/>
            </a:xfrm>
            <a:custGeom>
              <a:avLst/>
              <a:gdLst>
                <a:gd name="connsiteX0" fmla="*/ 419319 w 857250"/>
                <a:gd name="connsiteY0" fmla="*/ 1275458 h 1266825"/>
                <a:gd name="connsiteX1" fmla="*/ 419128 w 857250"/>
                <a:gd name="connsiteY1" fmla="*/ 1275458 h 1266825"/>
                <a:gd name="connsiteX2" fmla="*/ 400078 w 857250"/>
                <a:gd name="connsiteY2" fmla="*/ 1262028 h 1266825"/>
                <a:gd name="connsiteX3" fmla="*/ 1267 w 857250"/>
                <a:gd name="connsiteY3" fmla="*/ 184274 h 1266825"/>
                <a:gd name="connsiteX4" fmla="*/ 13363 w 857250"/>
                <a:gd name="connsiteY4" fmla="*/ 157890 h 1266825"/>
                <a:gd name="connsiteX5" fmla="*/ 436559 w 857250"/>
                <a:gd name="connsiteY5" fmla="*/ 1299 h 1266825"/>
                <a:gd name="connsiteX6" fmla="*/ 452275 w 857250"/>
                <a:gd name="connsiteY6" fmla="*/ 1870 h 1266825"/>
                <a:gd name="connsiteX7" fmla="*/ 462944 w 857250"/>
                <a:gd name="connsiteY7" fmla="*/ 13396 h 1266825"/>
                <a:gd name="connsiteX8" fmla="*/ 861660 w 857250"/>
                <a:gd name="connsiteY8" fmla="*/ 1091149 h 1266825"/>
                <a:gd name="connsiteX9" fmla="*/ 855945 w 857250"/>
                <a:gd name="connsiteY9" fmla="*/ 1113724 h 1266825"/>
                <a:gd name="connsiteX10" fmla="*/ 832799 w 857250"/>
                <a:gd name="connsiteY10" fmla="*/ 1116486 h 1266825"/>
                <a:gd name="connsiteX11" fmla="*/ 553431 w 857250"/>
                <a:gd name="connsiteY11" fmla="*/ 968848 h 1266825"/>
                <a:gd name="connsiteX12" fmla="*/ 438274 w 857250"/>
                <a:gd name="connsiteY12" fmla="*/ 1262504 h 1266825"/>
                <a:gd name="connsiteX13" fmla="*/ 419319 w 857250"/>
                <a:gd name="connsiteY13" fmla="*/ 1275458 h 1266825"/>
                <a:gd name="connsiteX14" fmla="*/ 418748 w 857250"/>
                <a:gd name="connsiteY14" fmla="*/ 1254789 h 1266825"/>
                <a:gd name="connsiteX15" fmla="*/ 418748 w 857250"/>
                <a:gd name="connsiteY15" fmla="*/ 1254789 h 1266825"/>
                <a:gd name="connsiteX16" fmla="*/ 428558 w 857250"/>
                <a:gd name="connsiteY16" fmla="*/ 1258599 h 1266825"/>
                <a:gd name="connsiteX17" fmla="*/ 418748 w 857250"/>
                <a:gd name="connsiteY17" fmla="*/ 1254789 h 1266825"/>
                <a:gd name="connsiteX18" fmla="*/ 443131 w 857250"/>
                <a:gd name="connsiteY18" fmla="*/ 20825 h 1266825"/>
                <a:gd name="connsiteX19" fmla="*/ 20698 w 857250"/>
                <a:gd name="connsiteY19" fmla="*/ 177702 h 1266825"/>
                <a:gd name="connsiteX20" fmla="*/ 419224 w 857250"/>
                <a:gd name="connsiteY20" fmla="*/ 1253265 h 1266825"/>
                <a:gd name="connsiteX21" fmla="*/ 534667 w 857250"/>
                <a:gd name="connsiteY21" fmla="*/ 960752 h 1266825"/>
                <a:gd name="connsiteX22" fmla="*/ 546668 w 857250"/>
                <a:gd name="connsiteY22" fmla="*/ 949036 h 1266825"/>
                <a:gd name="connsiteX23" fmla="*/ 563337 w 857250"/>
                <a:gd name="connsiteY23" fmla="*/ 950179 h 1266825"/>
                <a:gd name="connsiteX24" fmla="*/ 841277 w 857250"/>
                <a:gd name="connsiteY24" fmla="*/ 1097150 h 1266825"/>
                <a:gd name="connsiteX25" fmla="*/ 443131 w 857250"/>
                <a:gd name="connsiteY25" fmla="*/ 20825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250" h="1266825">
                  <a:moveTo>
                    <a:pt x="419319" y="1275458"/>
                  </a:moveTo>
                  <a:cubicBezTo>
                    <a:pt x="419224" y="1275458"/>
                    <a:pt x="419128" y="1275458"/>
                    <a:pt x="419128" y="1275458"/>
                  </a:cubicBezTo>
                  <a:cubicBezTo>
                    <a:pt x="410556" y="1275363"/>
                    <a:pt x="403031" y="1270124"/>
                    <a:pt x="400078" y="1262028"/>
                  </a:cubicBezTo>
                  <a:lnTo>
                    <a:pt x="1267" y="184274"/>
                  </a:lnTo>
                  <a:cubicBezTo>
                    <a:pt x="-2639" y="173701"/>
                    <a:pt x="2791" y="161795"/>
                    <a:pt x="13363" y="157890"/>
                  </a:cubicBezTo>
                  <a:lnTo>
                    <a:pt x="436559" y="1299"/>
                  </a:lnTo>
                  <a:cubicBezTo>
                    <a:pt x="441703" y="-606"/>
                    <a:pt x="447323" y="-416"/>
                    <a:pt x="452275" y="1870"/>
                  </a:cubicBezTo>
                  <a:cubicBezTo>
                    <a:pt x="457228" y="4156"/>
                    <a:pt x="461039" y="8252"/>
                    <a:pt x="462944" y="13396"/>
                  </a:cubicBezTo>
                  <a:lnTo>
                    <a:pt x="861660" y="1091149"/>
                  </a:lnTo>
                  <a:cubicBezTo>
                    <a:pt x="864613" y="1099150"/>
                    <a:pt x="862422" y="1108009"/>
                    <a:pt x="855945" y="1113724"/>
                  </a:cubicBezTo>
                  <a:cubicBezTo>
                    <a:pt x="849468" y="1119343"/>
                    <a:pt x="840419" y="1120391"/>
                    <a:pt x="832799" y="1116486"/>
                  </a:cubicBezTo>
                  <a:lnTo>
                    <a:pt x="553431" y="968848"/>
                  </a:lnTo>
                  <a:lnTo>
                    <a:pt x="438274" y="1262504"/>
                  </a:lnTo>
                  <a:cubicBezTo>
                    <a:pt x="435226" y="1270410"/>
                    <a:pt x="427796" y="1275458"/>
                    <a:pt x="419319" y="1275458"/>
                  </a:cubicBezTo>
                  <a:close/>
                  <a:moveTo>
                    <a:pt x="418748" y="1254789"/>
                  </a:moveTo>
                  <a:cubicBezTo>
                    <a:pt x="418748" y="1254789"/>
                    <a:pt x="418748" y="1254789"/>
                    <a:pt x="418748" y="1254789"/>
                  </a:cubicBezTo>
                  <a:lnTo>
                    <a:pt x="428558" y="1258599"/>
                  </a:lnTo>
                  <a:lnTo>
                    <a:pt x="418748" y="1254789"/>
                  </a:lnTo>
                  <a:close/>
                  <a:moveTo>
                    <a:pt x="443131" y="20825"/>
                  </a:moveTo>
                  <a:lnTo>
                    <a:pt x="20698" y="177702"/>
                  </a:lnTo>
                  <a:lnTo>
                    <a:pt x="419224" y="1253265"/>
                  </a:lnTo>
                  <a:lnTo>
                    <a:pt x="534667" y="960752"/>
                  </a:lnTo>
                  <a:cubicBezTo>
                    <a:pt x="536762" y="955323"/>
                    <a:pt x="541144" y="951037"/>
                    <a:pt x="546668" y="949036"/>
                  </a:cubicBezTo>
                  <a:cubicBezTo>
                    <a:pt x="552098" y="947036"/>
                    <a:pt x="558194" y="947417"/>
                    <a:pt x="563337" y="950179"/>
                  </a:cubicBezTo>
                  <a:lnTo>
                    <a:pt x="841277" y="1097150"/>
                  </a:lnTo>
                  <a:lnTo>
                    <a:pt x="443131" y="20825"/>
                  </a:lnTo>
                  <a:close/>
                </a:path>
              </a:pathLst>
            </a:custGeom>
            <a:solidFill>
              <a:srgbClr val="FFFFFF"/>
            </a:solidFill>
            <a:ln w="9525" cap="flat">
              <a:noFill/>
              <a:prstDash val="solid"/>
              <a:miter/>
            </a:ln>
          </p:spPr>
          <p:txBody>
            <a:bodyPr rtlCol="0" anchor="ctr"/>
            <a:lstStyle/>
            <a:p>
              <a:endParaRPr lang="en-US"/>
            </a:p>
          </p:txBody>
        </p:sp>
        <p:sp>
          <p:nvSpPr>
            <p:cNvPr id="33" name="Freeform: Shape 17">
              <a:extLst>
                <a:ext uri="{FF2B5EF4-FFF2-40B4-BE49-F238E27FC236}">
                  <a16:creationId xmlns:a16="http://schemas.microsoft.com/office/drawing/2014/main" id="{76C9C591-B8C4-4EFA-BA0D-FA3D81F1E019}"/>
                </a:ext>
              </a:extLst>
            </p:cNvPr>
            <p:cNvSpPr/>
            <p:nvPr/>
          </p:nvSpPr>
          <p:spPr>
            <a:xfrm>
              <a:off x="1028795" y="2762261"/>
              <a:ext cx="1704975" cy="1704975"/>
            </a:xfrm>
            <a:custGeom>
              <a:avLst/>
              <a:gdLst>
                <a:gd name="connsiteX0" fmla="*/ 1707642 w 1704975"/>
                <a:gd name="connsiteY0" fmla="*/ 853821 h 1704975"/>
                <a:gd name="connsiteX1" fmla="*/ 853821 w 1704975"/>
                <a:gd name="connsiteY1" fmla="*/ 1707642 h 1704975"/>
                <a:gd name="connsiteX2" fmla="*/ 0 w 1704975"/>
                <a:gd name="connsiteY2" fmla="*/ 853821 h 1704975"/>
                <a:gd name="connsiteX3" fmla="*/ 853821 w 1704975"/>
                <a:gd name="connsiteY3" fmla="*/ 0 h 1704975"/>
                <a:gd name="connsiteX4" fmla="*/ 1707642 w 1704975"/>
                <a:gd name="connsiteY4" fmla="*/ 853821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75" h="1704975">
                  <a:moveTo>
                    <a:pt x="1707642" y="853821"/>
                  </a:moveTo>
                  <a:cubicBezTo>
                    <a:pt x="1707642" y="1325373"/>
                    <a:pt x="1325373" y="1707642"/>
                    <a:pt x="853821" y="1707642"/>
                  </a:cubicBezTo>
                  <a:cubicBezTo>
                    <a:pt x="382269" y="1707642"/>
                    <a:pt x="0" y="1325373"/>
                    <a:pt x="0" y="853821"/>
                  </a:cubicBezTo>
                  <a:cubicBezTo>
                    <a:pt x="0" y="382269"/>
                    <a:pt x="382269" y="0"/>
                    <a:pt x="853821" y="0"/>
                  </a:cubicBezTo>
                  <a:cubicBezTo>
                    <a:pt x="1325373" y="0"/>
                    <a:pt x="1707642" y="382269"/>
                    <a:pt x="1707642" y="853821"/>
                  </a:cubicBezTo>
                  <a:close/>
                </a:path>
              </a:pathLst>
            </a:custGeom>
            <a:solidFill>
              <a:schemeClr val="tx2"/>
            </a:solidFill>
            <a:ln w="76200" cap="flat">
              <a:solidFill>
                <a:schemeClr val="accent5"/>
              </a:solidFill>
              <a:prstDash val="solid"/>
              <a:miter/>
            </a:ln>
          </p:spPr>
          <p:txBody>
            <a:bodyPr rtlCol="0" anchor="ctr"/>
            <a:lstStyle/>
            <a:p>
              <a:pPr algn="ctr"/>
              <a:r>
                <a:rPr lang="en-US" sz="2000">
                  <a:solidFill>
                    <a:schemeClr val="accent5"/>
                  </a:solidFill>
                </a:rPr>
                <a:t>Absolute </a:t>
              </a:r>
              <a:br>
                <a:rPr lang="en-US" sz="2000">
                  <a:solidFill>
                    <a:schemeClr val="accent5"/>
                  </a:solidFill>
                </a:rPr>
              </a:br>
              <a:r>
                <a:rPr lang="en-US" sz="2000">
                  <a:solidFill>
                    <a:schemeClr val="accent5"/>
                  </a:solidFill>
                </a:rPr>
                <a:t>Integrity</a:t>
              </a:r>
            </a:p>
          </p:txBody>
        </p:sp>
      </p:grpSp>
      <p:graphicFrame>
        <p:nvGraphicFramePr>
          <p:cNvPr id="36"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1050738"/>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sp>
        <p:nvSpPr>
          <p:cNvPr id="3" name="Rectangle 2"/>
          <p:cNvSpPr/>
          <p:nvPr/>
        </p:nvSpPr>
        <p:spPr>
          <a:xfrm>
            <a:off x="3755720" y="1830541"/>
            <a:ext cx="1256894" cy="1571118"/>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Picture space</a:t>
            </a:r>
          </a:p>
        </p:txBody>
      </p:sp>
      <p:sp>
        <p:nvSpPr>
          <p:cNvPr id="21" name="Rectangle 20"/>
          <p:cNvSpPr/>
          <p:nvPr/>
        </p:nvSpPr>
        <p:spPr>
          <a:xfrm>
            <a:off x="5099377" y="1830541"/>
            <a:ext cx="1256894" cy="1571118"/>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Picture space</a:t>
            </a:r>
            <a:endParaRPr lang="en-US" sz="1400" err="1">
              <a:solidFill>
                <a:schemeClr val="tx1"/>
              </a:solidFill>
            </a:endParaRPr>
          </a:p>
        </p:txBody>
      </p:sp>
      <p:sp>
        <p:nvSpPr>
          <p:cNvPr id="22" name="Rectangle 21"/>
          <p:cNvSpPr/>
          <p:nvPr/>
        </p:nvSpPr>
        <p:spPr>
          <a:xfrm>
            <a:off x="3755720" y="4655946"/>
            <a:ext cx="1256894" cy="1571118"/>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Picture space</a:t>
            </a:r>
            <a:endParaRPr lang="en-US" sz="1400" err="1">
              <a:solidFill>
                <a:schemeClr val="tx1"/>
              </a:solidFill>
            </a:endParaRPr>
          </a:p>
        </p:txBody>
      </p:sp>
      <p:sp>
        <p:nvSpPr>
          <p:cNvPr id="24" name="Rectangle 23"/>
          <p:cNvSpPr/>
          <p:nvPr/>
        </p:nvSpPr>
        <p:spPr>
          <a:xfrm>
            <a:off x="5099377" y="4655946"/>
            <a:ext cx="1256894" cy="1571118"/>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Picture space</a:t>
            </a:r>
            <a:endParaRPr lang="en-US" sz="1400" err="1">
              <a:solidFill>
                <a:schemeClr val="tx1"/>
              </a:solidFill>
            </a:endParaRPr>
          </a:p>
        </p:txBody>
      </p:sp>
      <p:sp>
        <p:nvSpPr>
          <p:cNvPr id="4" name="Rectangle 3"/>
          <p:cNvSpPr/>
          <p:nvPr/>
        </p:nvSpPr>
        <p:spPr>
          <a:xfrm>
            <a:off x="3755720" y="1830541"/>
            <a:ext cx="2600551" cy="1571118"/>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34" name="Rectangle 33"/>
          <p:cNvSpPr/>
          <p:nvPr/>
        </p:nvSpPr>
        <p:spPr>
          <a:xfrm>
            <a:off x="3755719" y="4655946"/>
            <a:ext cx="2600551" cy="1571118"/>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Tree>
    <p:extLst>
      <p:ext uri="{BB962C8B-B14F-4D97-AF65-F5344CB8AC3E}">
        <p14:creationId xmlns:p14="http://schemas.microsoft.com/office/powerpoint/2010/main" val="36634431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41516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6" name="Text Placeholder 5"/>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a:lstStyle/>
          <a:p>
            <a:r>
              <a:rPr lang="en-US"/>
              <a:t>Recognition</a:t>
            </a:r>
          </a:p>
        </p:txBody>
      </p:sp>
      <p:pic>
        <p:nvPicPr>
          <p:cNvPr id="5" name="Graphic 4">
            <a:extLst>
              <a:ext uri="{FF2B5EF4-FFF2-40B4-BE49-F238E27FC236}">
                <a16:creationId xmlns:a16="http://schemas.microsoft.com/office/drawing/2014/main" id="{FC3972E8-C452-46E3-9267-993FCF6580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6371" y="840184"/>
            <a:ext cx="1257300" cy="2198991"/>
          </a:xfrm>
          <a:prstGeom prst="rect">
            <a:avLst/>
          </a:prstGeom>
        </p:spPr>
      </p:pic>
      <p:grpSp>
        <p:nvGrpSpPr>
          <p:cNvPr id="11" name="Group 10">
            <a:extLst>
              <a:ext uri="{FF2B5EF4-FFF2-40B4-BE49-F238E27FC236}">
                <a16:creationId xmlns:a16="http://schemas.microsoft.com/office/drawing/2014/main" id="{D949D37F-6774-4D7C-A09E-CB41341BB654}"/>
              </a:ext>
            </a:extLst>
          </p:cNvPr>
          <p:cNvGrpSpPr/>
          <p:nvPr/>
        </p:nvGrpSpPr>
        <p:grpSpPr>
          <a:xfrm>
            <a:off x="596900" y="1849652"/>
            <a:ext cx="2209822" cy="3004599"/>
            <a:chOff x="990578" y="2762261"/>
            <a:chExt cx="1807708" cy="2457862"/>
          </a:xfrm>
        </p:grpSpPr>
        <p:sp>
          <p:nvSpPr>
            <p:cNvPr id="12" name="Freeform: Shape 11">
              <a:extLst>
                <a:ext uri="{FF2B5EF4-FFF2-40B4-BE49-F238E27FC236}">
                  <a16:creationId xmlns:a16="http://schemas.microsoft.com/office/drawing/2014/main" id="{2EC77142-57D5-473B-9F0C-666961A2DF1B}"/>
                </a:ext>
              </a:extLst>
            </p:cNvPr>
            <p:cNvSpPr/>
            <p:nvPr/>
          </p:nvSpPr>
          <p:spPr>
            <a:xfrm>
              <a:off x="990578" y="3743653"/>
              <a:ext cx="990600" cy="1476375"/>
            </a:xfrm>
            <a:custGeom>
              <a:avLst/>
              <a:gdLst>
                <a:gd name="connsiteX0" fmla="*/ 484273 w 990600"/>
                <a:gd name="connsiteY0" fmla="*/ 1463104 h 1476375"/>
                <a:gd name="connsiteX1" fmla="*/ 364544 w 990600"/>
                <a:gd name="connsiteY1" fmla="*/ 1159638 h 1476375"/>
                <a:gd name="connsiteX2" fmla="*/ 327491 w 990600"/>
                <a:gd name="connsiteY2" fmla="*/ 1145922 h 1476375"/>
                <a:gd name="connsiteX3" fmla="*/ 38979 w 990600"/>
                <a:gd name="connsiteY3" fmla="*/ 1298322 h 1476375"/>
                <a:gd name="connsiteX4" fmla="*/ 1736 w 990600"/>
                <a:gd name="connsiteY4" fmla="*/ 1265651 h 1476375"/>
                <a:gd name="connsiteX5" fmla="*/ 463604 w 990600"/>
                <a:gd name="connsiteY5" fmla="*/ 17304 h 1476375"/>
                <a:gd name="connsiteX6" fmla="*/ 497703 w 990600"/>
                <a:gd name="connsiteY6" fmla="*/ 1683 h 1476375"/>
                <a:gd name="connsiteX7" fmla="*/ 979954 w 990600"/>
                <a:gd name="connsiteY7" fmla="*/ 180087 h 1476375"/>
                <a:gd name="connsiteX8" fmla="*/ 995575 w 990600"/>
                <a:gd name="connsiteY8" fmla="*/ 214186 h 1476375"/>
                <a:gd name="connsiteX9" fmla="*/ 533708 w 990600"/>
                <a:gd name="connsiteY9" fmla="*/ 1462533 h 1476375"/>
                <a:gd name="connsiteX10" fmla="*/ 484273 w 990600"/>
                <a:gd name="connsiteY10" fmla="*/ 1463104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484273" y="1463104"/>
                  </a:moveTo>
                  <a:lnTo>
                    <a:pt x="364544" y="1159638"/>
                  </a:lnTo>
                  <a:cubicBezTo>
                    <a:pt x="358733" y="1144969"/>
                    <a:pt x="341493" y="1138588"/>
                    <a:pt x="327491" y="1145922"/>
                  </a:cubicBezTo>
                  <a:lnTo>
                    <a:pt x="38979" y="1298322"/>
                  </a:lnTo>
                  <a:cubicBezTo>
                    <a:pt x="17453" y="1309656"/>
                    <a:pt x="-6741" y="1288511"/>
                    <a:pt x="1736" y="1265651"/>
                  </a:cubicBezTo>
                  <a:lnTo>
                    <a:pt x="463604" y="17304"/>
                  </a:lnTo>
                  <a:cubicBezTo>
                    <a:pt x="468652" y="3588"/>
                    <a:pt x="483892" y="-3460"/>
                    <a:pt x="497703" y="1683"/>
                  </a:cubicBezTo>
                  <a:lnTo>
                    <a:pt x="979954" y="180087"/>
                  </a:lnTo>
                  <a:cubicBezTo>
                    <a:pt x="993670" y="185135"/>
                    <a:pt x="1000718" y="200375"/>
                    <a:pt x="995575" y="214186"/>
                  </a:cubicBezTo>
                  <a:lnTo>
                    <a:pt x="533708" y="1462533"/>
                  </a:lnTo>
                  <a:cubicBezTo>
                    <a:pt x="525326" y="1485297"/>
                    <a:pt x="493131" y="1485679"/>
                    <a:pt x="484273" y="1463104"/>
                  </a:cubicBezTo>
                  <a:close/>
                </a:path>
              </a:pathLst>
            </a:custGeom>
            <a:solidFill>
              <a:schemeClr val="tx2"/>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EF34416B-694B-45BF-A419-23AB0766834E}"/>
                </a:ext>
              </a:extLst>
            </p:cNvPr>
            <p:cNvSpPr/>
            <p:nvPr/>
          </p:nvSpPr>
          <p:spPr>
            <a:xfrm>
              <a:off x="1057983" y="3845193"/>
              <a:ext cx="857250" cy="1266825"/>
            </a:xfrm>
            <a:custGeom>
              <a:avLst/>
              <a:gdLst>
                <a:gd name="connsiteX0" fmla="*/ 443729 w 857250"/>
                <a:gd name="connsiteY0" fmla="*/ 1275363 h 1266825"/>
                <a:gd name="connsiteX1" fmla="*/ 424679 w 857250"/>
                <a:gd name="connsiteY1" fmla="*/ 1262409 h 1266825"/>
                <a:gd name="connsiteX2" fmla="*/ 308664 w 857250"/>
                <a:gd name="connsiteY2" fmla="*/ 968467 h 1266825"/>
                <a:gd name="connsiteX3" fmla="*/ 30153 w 857250"/>
                <a:gd name="connsiteY3" fmla="*/ 1116486 h 1266825"/>
                <a:gd name="connsiteX4" fmla="*/ 7007 w 857250"/>
                <a:gd name="connsiteY4" fmla="*/ 1113724 h 1266825"/>
                <a:gd name="connsiteX5" fmla="*/ 1292 w 857250"/>
                <a:gd name="connsiteY5" fmla="*/ 1091149 h 1266825"/>
                <a:gd name="connsiteX6" fmla="*/ 400104 w 857250"/>
                <a:gd name="connsiteY6" fmla="*/ 13396 h 1266825"/>
                <a:gd name="connsiteX7" fmla="*/ 410772 w 857250"/>
                <a:gd name="connsiteY7" fmla="*/ 1870 h 1266825"/>
                <a:gd name="connsiteX8" fmla="*/ 426488 w 857250"/>
                <a:gd name="connsiteY8" fmla="*/ 1299 h 1266825"/>
                <a:gd name="connsiteX9" fmla="*/ 849684 w 857250"/>
                <a:gd name="connsiteY9" fmla="*/ 157890 h 1266825"/>
                <a:gd name="connsiteX10" fmla="*/ 861209 w 857250"/>
                <a:gd name="connsiteY10" fmla="*/ 168558 h 1266825"/>
                <a:gd name="connsiteX11" fmla="*/ 861781 w 857250"/>
                <a:gd name="connsiteY11" fmla="*/ 184274 h 1266825"/>
                <a:gd name="connsiteX12" fmla="*/ 462969 w 857250"/>
                <a:gd name="connsiteY12" fmla="*/ 1262028 h 1266825"/>
                <a:gd name="connsiteX13" fmla="*/ 443919 w 857250"/>
                <a:gd name="connsiteY13" fmla="*/ 1275458 h 1266825"/>
                <a:gd name="connsiteX14" fmla="*/ 443729 w 857250"/>
                <a:gd name="connsiteY14" fmla="*/ 1275363 h 1266825"/>
                <a:gd name="connsiteX15" fmla="*/ 444205 w 857250"/>
                <a:gd name="connsiteY15" fmla="*/ 1254694 h 1266825"/>
                <a:gd name="connsiteX16" fmla="*/ 434394 w 857250"/>
                <a:gd name="connsiteY16" fmla="*/ 1258504 h 1266825"/>
                <a:gd name="connsiteX17" fmla="*/ 444205 w 857250"/>
                <a:gd name="connsiteY17" fmla="*/ 1254694 h 1266825"/>
                <a:gd name="connsiteX18" fmla="*/ 444205 w 857250"/>
                <a:gd name="connsiteY18" fmla="*/ 1254694 h 1266825"/>
                <a:gd name="connsiteX19" fmla="*/ 309236 w 857250"/>
                <a:gd name="connsiteY19" fmla="*/ 947703 h 1266825"/>
                <a:gd name="connsiteX20" fmla="*/ 316379 w 857250"/>
                <a:gd name="connsiteY20" fmla="*/ 948941 h 1266825"/>
                <a:gd name="connsiteX21" fmla="*/ 328381 w 857250"/>
                <a:gd name="connsiteY21" fmla="*/ 960657 h 1266825"/>
                <a:gd name="connsiteX22" fmla="*/ 443824 w 857250"/>
                <a:gd name="connsiteY22" fmla="*/ 1253170 h 1266825"/>
                <a:gd name="connsiteX23" fmla="*/ 842064 w 857250"/>
                <a:gd name="connsiteY23" fmla="*/ 176845 h 1266825"/>
                <a:gd name="connsiteX24" fmla="*/ 419249 w 857250"/>
                <a:gd name="connsiteY24" fmla="*/ 21016 h 1266825"/>
                <a:gd name="connsiteX25" fmla="*/ 21676 w 857250"/>
                <a:gd name="connsiteY25" fmla="*/ 1097055 h 1266825"/>
                <a:gd name="connsiteX26" fmla="*/ 299615 w 857250"/>
                <a:gd name="connsiteY26" fmla="*/ 950084 h 1266825"/>
                <a:gd name="connsiteX27" fmla="*/ 309236 w 857250"/>
                <a:gd name="connsiteY27" fmla="*/ 94770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7250" h="1266825">
                  <a:moveTo>
                    <a:pt x="443729" y="1275363"/>
                  </a:moveTo>
                  <a:cubicBezTo>
                    <a:pt x="435251" y="1275363"/>
                    <a:pt x="427727" y="1270315"/>
                    <a:pt x="424679" y="1262409"/>
                  </a:cubicBezTo>
                  <a:lnTo>
                    <a:pt x="308664" y="968467"/>
                  </a:lnTo>
                  <a:lnTo>
                    <a:pt x="30153" y="1116486"/>
                  </a:lnTo>
                  <a:cubicBezTo>
                    <a:pt x="22533" y="1120486"/>
                    <a:pt x="13484" y="1119439"/>
                    <a:pt x="7007" y="1113724"/>
                  </a:cubicBezTo>
                  <a:cubicBezTo>
                    <a:pt x="530" y="1108104"/>
                    <a:pt x="-1660" y="1099246"/>
                    <a:pt x="1292" y="1091149"/>
                  </a:cubicBezTo>
                  <a:lnTo>
                    <a:pt x="400104" y="13396"/>
                  </a:lnTo>
                  <a:cubicBezTo>
                    <a:pt x="402009" y="8252"/>
                    <a:pt x="405819" y="4156"/>
                    <a:pt x="410772" y="1870"/>
                  </a:cubicBezTo>
                  <a:cubicBezTo>
                    <a:pt x="415725" y="-416"/>
                    <a:pt x="421345" y="-606"/>
                    <a:pt x="426488" y="1299"/>
                  </a:cubicBezTo>
                  <a:lnTo>
                    <a:pt x="849684" y="157890"/>
                  </a:lnTo>
                  <a:cubicBezTo>
                    <a:pt x="854828" y="159795"/>
                    <a:pt x="858923" y="163605"/>
                    <a:pt x="861209" y="168558"/>
                  </a:cubicBezTo>
                  <a:cubicBezTo>
                    <a:pt x="863495" y="173511"/>
                    <a:pt x="863686" y="179131"/>
                    <a:pt x="861781" y="184274"/>
                  </a:cubicBezTo>
                  <a:lnTo>
                    <a:pt x="462969" y="1262028"/>
                  </a:lnTo>
                  <a:cubicBezTo>
                    <a:pt x="460016" y="1270124"/>
                    <a:pt x="452492" y="1275363"/>
                    <a:pt x="443919" y="1275458"/>
                  </a:cubicBezTo>
                  <a:cubicBezTo>
                    <a:pt x="443919" y="1275363"/>
                    <a:pt x="443824" y="1275363"/>
                    <a:pt x="443729" y="1275363"/>
                  </a:cubicBezTo>
                  <a:close/>
                  <a:moveTo>
                    <a:pt x="444205" y="1254694"/>
                  </a:moveTo>
                  <a:lnTo>
                    <a:pt x="434394" y="1258504"/>
                  </a:lnTo>
                  <a:lnTo>
                    <a:pt x="444205" y="1254694"/>
                  </a:lnTo>
                  <a:cubicBezTo>
                    <a:pt x="444300" y="1254694"/>
                    <a:pt x="444300" y="1254694"/>
                    <a:pt x="444205" y="1254694"/>
                  </a:cubicBezTo>
                  <a:close/>
                  <a:moveTo>
                    <a:pt x="309236" y="947703"/>
                  </a:moveTo>
                  <a:cubicBezTo>
                    <a:pt x="311617" y="947703"/>
                    <a:pt x="314093" y="948084"/>
                    <a:pt x="316379" y="948941"/>
                  </a:cubicBezTo>
                  <a:cubicBezTo>
                    <a:pt x="321809" y="950941"/>
                    <a:pt x="326190" y="955228"/>
                    <a:pt x="328381" y="960657"/>
                  </a:cubicBezTo>
                  <a:lnTo>
                    <a:pt x="443824" y="1253170"/>
                  </a:lnTo>
                  <a:lnTo>
                    <a:pt x="842064" y="176845"/>
                  </a:lnTo>
                  <a:lnTo>
                    <a:pt x="419249" y="21016"/>
                  </a:lnTo>
                  <a:lnTo>
                    <a:pt x="21676" y="1097055"/>
                  </a:lnTo>
                  <a:lnTo>
                    <a:pt x="299615" y="950084"/>
                  </a:lnTo>
                  <a:cubicBezTo>
                    <a:pt x="302663" y="948560"/>
                    <a:pt x="305902" y="947703"/>
                    <a:pt x="309236" y="947703"/>
                  </a:cubicBezTo>
                  <a:close/>
                </a:path>
              </a:pathLst>
            </a:custGeom>
            <a:solidFill>
              <a:srgbClr val="FFFFFF"/>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C352F05D-766A-4732-91DD-A1C2B6D51BF6}"/>
                </a:ext>
              </a:extLst>
            </p:cNvPr>
            <p:cNvSpPr/>
            <p:nvPr/>
          </p:nvSpPr>
          <p:spPr>
            <a:xfrm>
              <a:off x="1807686" y="3743748"/>
              <a:ext cx="990600" cy="1476375"/>
            </a:xfrm>
            <a:custGeom>
              <a:avLst/>
              <a:gdLst>
                <a:gd name="connsiteX0" fmla="*/ 513081 w 990600"/>
                <a:gd name="connsiteY0" fmla="*/ 1463009 h 1476375"/>
                <a:gd name="connsiteX1" fmla="*/ 632810 w 990600"/>
                <a:gd name="connsiteY1" fmla="*/ 1159542 h 1476375"/>
                <a:gd name="connsiteX2" fmla="*/ 669862 w 990600"/>
                <a:gd name="connsiteY2" fmla="*/ 1145826 h 1476375"/>
                <a:gd name="connsiteX3" fmla="*/ 958279 w 990600"/>
                <a:gd name="connsiteY3" fmla="*/ 1298322 h 1476375"/>
                <a:gd name="connsiteX4" fmla="*/ 995522 w 990600"/>
                <a:gd name="connsiteY4" fmla="*/ 1265651 h 1476375"/>
                <a:gd name="connsiteX5" fmla="*/ 533655 w 990600"/>
                <a:gd name="connsiteY5" fmla="*/ 17304 h 1476375"/>
                <a:gd name="connsiteX6" fmla="*/ 499555 w 990600"/>
                <a:gd name="connsiteY6" fmla="*/ 1683 h 1476375"/>
                <a:gd name="connsiteX7" fmla="*/ 17304 w 990600"/>
                <a:gd name="connsiteY7" fmla="*/ 180087 h 1476375"/>
                <a:gd name="connsiteX8" fmla="*/ 1683 w 990600"/>
                <a:gd name="connsiteY8" fmla="*/ 214186 h 1476375"/>
                <a:gd name="connsiteX9" fmla="*/ 463551 w 990600"/>
                <a:gd name="connsiteY9" fmla="*/ 1462533 h 1476375"/>
                <a:gd name="connsiteX10" fmla="*/ 513081 w 990600"/>
                <a:gd name="connsiteY10" fmla="*/ 1463009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513081" y="1463009"/>
                  </a:moveTo>
                  <a:lnTo>
                    <a:pt x="632810" y="1159542"/>
                  </a:lnTo>
                  <a:cubicBezTo>
                    <a:pt x="638620" y="1144874"/>
                    <a:pt x="655860" y="1138492"/>
                    <a:pt x="669862" y="1145826"/>
                  </a:cubicBezTo>
                  <a:lnTo>
                    <a:pt x="958279" y="1298322"/>
                  </a:lnTo>
                  <a:cubicBezTo>
                    <a:pt x="979806" y="1309656"/>
                    <a:pt x="1003999" y="1288511"/>
                    <a:pt x="995522" y="1265651"/>
                  </a:cubicBezTo>
                  <a:lnTo>
                    <a:pt x="533655" y="17304"/>
                  </a:lnTo>
                  <a:cubicBezTo>
                    <a:pt x="528606" y="3588"/>
                    <a:pt x="513366" y="-3460"/>
                    <a:pt x="499555" y="1683"/>
                  </a:cubicBezTo>
                  <a:lnTo>
                    <a:pt x="17304" y="180087"/>
                  </a:lnTo>
                  <a:cubicBezTo>
                    <a:pt x="3588" y="185135"/>
                    <a:pt x="-3460" y="200375"/>
                    <a:pt x="1683" y="214186"/>
                  </a:cubicBezTo>
                  <a:lnTo>
                    <a:pt x="463551" y="1462533"/>
                  </a:lnTo>
                  <a:cubicBezTo>
                    <a:pt x="472028" y="1485202"/>
                    <a:pt x="504127" y="1485583"/>
                    <a:pt x="513081" y="1463009"/>
                  </a:cubicBezTo>
                  <a:close/>
                </a:path>
              </a:pathLst>
            </a:custGeom>
            <a:solidFill>
              <a:schemeClr val="tx2"/>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F1B4AF68-3B99-4EDC-BE87-FF1A5C3DC432}"/>
                </a:ext>
              </a:extLst>
            </p:cNvPr>
            <p:cNvSpPr/>
            <p:nvPr/>
          </p:nvSpPr>
          <p:spPr>
            <a:xfrm>
              <a:off x="1874587" y="3845098"/>
              <a:ext cx="857250" cy="1266825"/>
            </a:xfrm>
            <a:custGeom>
              <a:avLst/>
              <a:gdLst>
                <a:gd name="connsiteX0" fmla="*/ 419319 w 857250"/>
                <a:gd name="connsiteY0" fmla="*/ 1275458 h 1266825"/>
                <a:gd name="connsiteX1" fmla="*/ 419128 w 857250"/>
                <a:gd name="connsiteY1" fmla="*/ 1275458 h 1266825"/>
                <a:gd name="connsiteX2" fmla="*/ 400078 w 857250"/>
                <a:gd name="connsiteY2" fmla="*/ 1262028 h 1266825"/>
                <a:gd name="connsiteX3" fmla="*/ 1267 w 857250"/>
                <a:gd name="connsiteY3" fmla="*/ 184274 h 1266825"/>
                <a:gd name="connsiteX4" fmla="*/ 13363 w 857250"/>
                <a:gd name="connsiteY4" fmla="*/ 157890 h 1266825"/>
                <a:gd name="connsiteX5" fmla="*/ 436559 w 857250"/>
                <a:gd name="connsiteY5" fmla="*/ 1299 h 1266825"/>
                <a:gd name="connsiteX6" fmla="*/ 452275 w 857250"/>
                <a:gd name="connsiteY6" fmla="*/ 1870 h 1266825"/>
                <a:gd name="connsiteX7" fmla="*/ 462944 w 857250"/>
                <a:gd name="connsiteY7" fmla="*/ 13396 h 1266825"/>
                <a:gd name="connsiteX8" fmla="*/ 861660 w 857250"/>
                <a:gd name="connsiteY8" fmla="*/ 1091149 h 1266825"/>
                <a:gd name="connsiteX9" fmla="*/ 855945 w 857250"/>
                <a:gd name="connsiteY9" fmla="*/ 1113724 h 1266825"/>
                <a:gd name="connsiteX10" fmla="*/ 832799 w 857250"/>
                <a:gd name="connsiteY10" fmla="*/ 1116486 h 1266825"/>
                <a:gd name="connsiteX11" fmla="*/ 553431 w 857250"/>
                <a:gd name="connsiteY11" fmla="*/ 968848 h 1266825"/>
                <a:gd name="connsiteX12" fmla="*/ 438274 w 857250"/>
                <a:gd name="connsiteY12" fmla="*/ 1262504 h 1266825"/>
                <a:gd name="connsiteX13" fmla="*/ 419319 w 857250"/>
                <a:gd name="connsiteY13" fmla="*/ 1275458 h 1266825"/>
                <a:gd name="connsiteX14" fmla="*/ 418748 w 857250"/>
                <a:gd name="connsiteY14" fmla="*/ 1254789 h 1266825"/>
                <a:gd name="connsiteX15" fmla="*/ 418748 w 857250"/>
                <a:gd name="connsiteY15" fmla="*/ 1254789 h 1266825"/>
                <a:gd name="connsiteX16" fmla="*/ 428558 w 857250"/>
                <a:gd name="connsiteY16" fmla="*/ 1258599 h 1266825"/>
                <a:gd name="connsiteX17" fmla="*/ 418748 w 857250"/>
                <a:gd name="connsiteY17" fmla="*/ 1254789 h 1266825"/>
                <a:gd name="connsiteX18" fmla="*/ 443131 w 857250"/>
                <a:gd name="connsiteY18" fmla="*/ 20825 h 1266825"/>
                <a:gd name="connsiteX19" fmla="*/ 20698 w 857250"/>
                <a:gd name="connsiteY19" fmla="*/ 177702 h 1266825"/>
                <a:gd name="connsiteX20" fmla="*/ 419224 w 857250"/>
                <a:gd name="connsiteY20" fmla="*/ 1253265 h 1266825"/>
                <a:gd name="connsiteX21" fmla="*/ 534667 w 857250"/>
                <a:gd name="connsiteY21" fmla="*/ 960752 h 1266825"/>
                <a:gd name="connsiteX22" fmla="*/ 546668 w 857250"/>
                <a:gd name="connsiteY22" fmla="*/ 949036 h 1266825"/>
                <a:gd name="connsiteX23" fmla="*/ 563337 w 857250"/>
                <a:gd name="connsiteY23" fmla="*/ 950179 h 1266825"/>
                <a:gd name="connsiteX24" fmla="*/ 841277 w 857250"/>
                <a:gd name="connsiteY24" fmla="*/ 1097150 h 1266825"/>
                <a:gd name="connsiteX25" fmla="*/ 443131 w 857250"/>
                <a:gd name="connsiteY25" fmla="*/ 20825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250" h="1266825">
                  <a:moveTo>
                    <a:pt x="419319" y="1275458"/>
                  </a:moveTo>
                  <a:cubicBezTo>
                    <a:pt x="419224" y="1275458"/>
                    <a:pt x="419128" y="1275458"/>
                    <a:pt x="419128" y="1275458"/>
                  </a:cubicBezTo>
                  <a:cubicBezTo>
                    <a:pt x="410556" y="1275363"/>
                    <a:pt x="403031" y="1270124"/>
                    <a:pt x="400078" y="1262028"/>
                  </a:cubicBezTo>
                  <a:lnTo>
                    <a:pt x="1267" y="184274"/>
                  </a:lnTo>
                  <a:cubicBezTo>
                    <a:pt x="-2639" y="173701"/>
                    <a:pt x="2791" y="161795"/>
                    <a:pt x="13363" y="157890"/>
                  </a:cubicBezTo>
                  <a:lnTo>
                    <a:pt x="436559" y="1299"/>
                  </a:lnTo>
                  <a:cubicBezTo>
                    <a:pt x="441703" y="-606"/>
                    <a:pt x="447323" y="-416"/>
                    <a:pt x="452275" y="1870"/>
                  </a:cubicBezTo>
                  <a:cubicBezTo>
                    <a:pt x="457228" y="4156"/>
                    <a:pt x="461039" y="8252"/>
                    <a:pt x="462944" y="13396"/>
                  </a:cubicBezTo>
                  <a:lnTo>
                    <a:pt x="861660" y="1091149"/>
                  </a:lnTo>
                  <a:cubicBezTo>
                    <a:pt x="864613" y="1099150"/>
                    <a:pt x="862422" y="1108009"/>
                    <a:pt x="855945" y="1113724"/>
                  </a:cubicBezTo>
                  <a:cubicBezTo>
                    <a:pt x="849468" y="1119343"/>
                    <a:pt x="840419" y="1120391"/>
                    <a:pt x="832799" y="1116486"/>
                  </a:cubicBezTo>
                  <a:lnTo>
                    <a:pt x="553431" y="968848"/>
                  </a:lnTo>
                  <a:lnTo>
                    <a:pt x="438274" y="1262504"/>
                  </a:lnTo>
                  <a:cubicBezTo>
                    <a:pt x="435226" y="1270410"/>
                    <a:pt x="427796" y="1275458"/>
                    <a:pt x="419319" y="1275458"/>
                  </a:cubicBezTo>
                  <a:close/>
                  <a:moveTo>
                    <a:pt x="418748" y="1254789"/>
                  </a:moveTo>
                  <a:cubicBezTo>
                    <a:pt x="418748" y="1254789"/>
                    <a:pt x="418748" y="1254789"/>
                    <a:pt x="418748" y="1254789"/>
                  </a:cubicBezTo>
                  <a:lnTo>
                    <a:pt x="428558" y="1258599"/>
                  </a:lnTo>
                  <a:lnTo>
                    <a:pt x="418748" y="1254789"/>
                  </a:lnTo>
                  <a:close/>
                  <a:moveTo>
                    <a:pt x="443131" y="20825"/>
                  </a:moveTo>
                  <a:lnTo>
                    <a:pt x="20698" y="177702"/>
                  </a:lnTo>
                  <a:lnTo>
                    <a:pt x="419224" y="1253265"/>
                  </a:lnTo>
                  <a:lnTo>
                    <a:pt x="534667" y="960752"/>
                  </a:lnTo>
                  <a:cubicBezTo>
                    <a:pt x="536762" y="955323"/>
                    <a:pt x="541144" y="951037"/>
                    <a:pt x="546668" y="949036"/>
                  </a:cubicBezTo>
                  <a:cubicBezTo>
                    <a:pt x="552098" y="947036"/>
                    <a:pt x="558194" y="947417"/>
                    <a:pt x="563337" y="950179"/>
                  </a:cubicBezTo>
                  <a:lnTo>
                    <a:pt x="841277" y="1097150"/>
                  </a:lnTo>
                  <a:lnTo>
                    <a:pt x="443131" y="20825"/>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6C9C591-B8C4-4EFA-BA0D-FA3D81F1E019}"/>
                </a:ext>
              </a:extLst>
            </p:cNvPr>
            <p:cNvSpPr/>
            <p:nvPr/>
          </p:nvSpPr>
          <p:spPr>
            <a:xfrm>
              <a:off x="1028795" y="2762261"/>
              <a:ext cx="1704975" cy="1704975"/>
            </a:xfrm>
            <a:custGeom>
              <a:avLst/>
              <a:gdLst>
                <a:gd name="connsiteX0" fmla="*/ 1707642 w 1704975"/>
                <a:gd name="connsiteY0" fmla="*/ 853821 h 1704975"/>
                <a:gd name="connsiteX1" fmla="*/ 853821 w 1704975"/>
                <a:gd name="connsiteY1" fmla="*/ 1707642 h 1704975"/>
                <a:gd name="connsiteX2" fmla="*/ 0 w 1704975"/>
                <a:gd name="connsiteY2" fmla="*/ 853821 h 1704975"/>
                <a:gd name="connsiteX3" fmla="*/ 853821 w 1704975"/>
                <a:gd name="connsiteY3" fmla="*/ 0 h 1704975"/>
                <a:gd name="connsiteX4" fmla="*/ 1707642 w 1704975"/>
                <a:gd name="connsiteY4" fmla="*/ 853821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75" h="1704975">
                  <a:moveTo>
                    <a:pt x="1707642" y="853821"/>
                  </a:moveTo>
                  <a:cubicBezTo>
                    <a:pt x="1707642" y="1325373"/>
                    <a:pt x="1325373" y="1707642"/>
                    <a:pt x="853821" y="1707642"/>
                  </a:cubicBezTo>
                  <a:cubicBezTo>
                    <a:pt x="382269" y="1707642"/>
                    <a:pt x="0" y="1325373"/>
                    <a:pt x="0" y="853821"/>
                  </a:cubicBezTo>
                  <a:cubicBezTo>
                    <a:pt x="0" y="382269"/>
                    <a:pt x="382269" y="0"/>
                    <a:pt x="853821" y="0"/>
                  </a:cubicBezTo>
                  <a:cubicBezTo>
                    <a:pt x="1325373" y="0"/>
                    <a:pt x="1707642" y="382269"/>
                    <a:pt x="1707642" y="853821"/>
                  </a:cubicBezTo>
                  <a:close/>
                </a:path>
              </a:pathLst>
            </a:custGeom>
            <a:solidFill>
              <a:schemeClr val="tx2"/>
            </a:solidFill>
            <a:ln w="76200" cap="flat">
              <a:solidFill>
                <a:schemeClr val="accent5"/>
              </a:solidFill>
              <a:prstDash val="solid"/>
              <a:miter/>
            </a:ln>
          </p:spPr>
          <p:txBody>
            <a:bodyPr rtlCol="0" anchor="ctr"/>
            <a:lstStyle/>
            <a:p>
              <a:pPr algn="ctr"/>
              <a:r>
                <a:rPr lang="en-US" sz="2000">
                  <a:solidFill>
                    <a:schemeClr val="accent5"/>
                  </a:solidFill>
                </a:rPr>
                <a:t>Absolute </a:t>
              </a:r>
              <a:br>
                <a:rPr lang="en-US" sz="2000">
                  <a:solidFill>
                    <a:schemeClr val="accent5"/>
                  </a:solidFill>
                </a:rPr>
              </a:br>
              <a:r>
                <a:rPr lang="en-US" sz="2000">
                  <a:solidFill>
                    <a:schemeClr val="accent5"/>
                  </a:solidFill>
                </a:rPr>
                <a:t>Integrity</a:t>
              </a:r>
            </a:p>
          </p:txBody>
        </p:sp>
      </p:grpSp>
      <p:graphicFrame>
        <p:nvGraphicFramePr>
          <p:cNvPr id="23"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3864865"/>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cxnSp>
        <p:nvCxnSpPr>
          <p:cNvPr id="24" name="Straight Connector 23">
            <a:extLst>
              <a:ext uri="{FF2B5EF4-FFF2-40B4-BE49-F238E27FC236}">
                <a16:creationId xmlns:a16="http://schemas.microsoft.com/office/drawing/2014/main" id="{240A78A4-DAF5-427E-B072-173A57C61A97}"/>
              </a:ext>
            </a:extLst>
          </p:cNvPr>
          <p:cNvCxnSpPr>
            <a:cxnSpLocks/>
          </p:cNvCxnSpPr>
          <p:nvPr/>
        </p:nvCxnSpPr>
        <p:spPr>
          <a:xfrm>
            <a:off x="3505200" y="3654552"/>
            <a:ext cx="8534400"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1050738"/>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spTree>
    <p:extLst>
      <p:ext uri="{BB962C8B-B14F-4D97-AF65-F5344CB8AC3E}">
        <p14:creationId xmlns:p14="http://schemas.microsoft.com/office/powerpoint/2010/main" val="31152114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503550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a:lstStyle/>
          <a:p>
            <a:r>
              <a:rPr lang="en-US"/>
              <a:t>Recognition</a:t>
            </a:r>
          </a:p>
        </p:txBody>
      </p:sp>
      <p:pic>
        <p:nvPicPr>
          <p:cNvPr id="11" name="Graphic 10">
            <a:extLst>
              <a:ext uri="{FF2B5EF4-FFF2-40B4-BE49-F238E27FC236}">
                <a16:creationId xmlns:a16="http://schemas.microsoft.com/office/drawing/2014/main" id="{BFAF2397-1B18-4191-8389-D5756152F6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6371" y="840184"/>
            <a:ext cx="1257300" cy="2198991"/>
          </a:xfrm>
          <a:prstGeom prst="rect">
            <a:avLst/>
          </a:prstGeom>
        </p:spPr>
      </p:pic>
      <p:grpSp>
        <p:nvGrpSpPr>
          <p:cNvPr id="12" name="Group 11">
            <a:extLst>
              <a:ext uri="{FF2B5EF4-FFF2-40B4-BE49-F238E27FC236}">
                <a16:creationId xmlns:a16="http://schemas.microsoft.com/office/drawing/2014/main" id="{6857D302-9F2E-42F3-94B5-D972C84489E2}"/>
              </a:ext>
            </a:extLst>
          </p:cNvPr>
          <p:cNvGrpSpPr/>
          <p:nvPr/>
        </p:nvGrpSpPr>
        <p:grpSpPr>
          <a:xfrm>
            <a:off x="596900" y="1849652"/>
            <a:ext cx="2209822" cy="3004599"/>
            <a:chOff x="990578" y="2762261"/>
            <a:chExt cx="1807708" cy="2457862"/>
          </a:xfrm>
        </p:grpSpPr>
        <p:sp>
          <p:nvSpPr>
            <p:cNvPr id="13" name="Freeform: Shape 12">
              <a:extLst>
                <a:ext uri="{FF2B5EF4-FFF2-40B4-BE49-F238E27FC236}">
                  <a16:creationId xmlns:a16="http://schemas.microsoft.com/office/drawing/2014/main" id="{11B6E641-27CA-4D91-A685-6C1CCD3D0CCF}"/>
                </a:ext>
              </a:extLst>
            </p:cNvPr>
            <p:cNvSpPr/>
            <p:nvPr/>
          </p:nvSpPr>
          <p:spPr>
            <a:xfrm>
              <a:off x="990578" y="3743653"/>
              <a:ext cx="990600" cy="1476375"/>
            </a:xfrm>
            <a:custGeom>
              <a:avLst/>
              <a:gdLst>
                <a:gd name="connsiteX0" fmla="*/ 484273 w 990600"/>
                <a:gd name="connsiteY0" fmla="*/ 1463104 h 1476375"/>
                <a:gd name="connsiteX1" fmla="*/ 364544 w 990600"/>
                <a:gd name="connsiteY1" fmla="*/ 1159638 h 1476375"/>
                <a:gd name="connsiteX2" fmla="*/ 327491 w 990600"/>
                <a:gd name="connsiteY2" fmla="*/ 1145922 h 1476375"/>
                <a:gd name="connsiteX3" fmla="*/ 38979 w 990600"/>
                <a:gd name="connsiteY3" fmla="*/ 1298322 h 1476375"/>
                <a:gd name="connsiteX4" fmla="*/ 1736 w 990600"/>
                <a:gd name="connsiteY4" fmla="*/ 1265651 h 1476375"/>
                <a:gd name="connsiteX5" fmla="*/ 463604 w 990600"/>
                <a:gd name="connsiteY5" fmla="*/ 17304 h 1476375"/>
                <a:gd name="connsiteX6" fmla="*/ 497703 w 990600"/>
                <a:gd name="connsiteY6" fmla="*/ 1683 h 1476375"/>
                <a:gd name="connsiteX7" fmla="*/ 979954 w 990600"/>
                <a:gd name="connsiteY7" fmla="*/ 180087 h 1476375"/>
                <a:gd name="connsiteX8" fmla="*/ 995575 w 990600"/>
                <a:gd name="connsiteY8" fmla="*/ 214186 h 1476375"/>
                <a:gd name="connsiteX9" fmla="*/ 533708 w 990600"/>
                <a:gd name="connsiteY9" fmla="*/ 1462533 h 1476375"/>
                <a:gd name="connsiteX10" fmla="*/ 484273 w 990600"/>
                <a:gd name="connsiteY10" fmla="*/ 1463104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484273" y="1463104"/>
                  </a:moveTo>
                  <a:lnTo>
                    <a:pt x="364544" y="1159638"/>
                  </a:lnTo>
                  <a:cubicBezTo>
                    <a:pt x="358733" y="1144969"/>
                    <a:pt x="341493" y="1138588"/>
                    <a:pt x="327491" y="1145922"/>
                  </a:cubicBezTo>
                  <a:lnTo>
                    <a:pt x="38979" y="1298322"/>
                  </a:lnTo>
                  <a:cubicBezTo>
                    <a:pt x="17453" y="1309656"/>
                    <a:pt x="-6741" y="1288511"/>
                    <a:pt x="1736" y="1265651"/>
                  </a:cubicBezTo>
                  <a:lnTo>
                    <a:pt x="463604" y="17304"/>
                  </a:lnTo>
                  <a:cubicBezTo>
                    <a:pt x="468652" y="3588"/>
                    <a:pt x="483892" y="-3460"/>
                    <a:pt x="497703" y="1683"/>
                  </a:cubicBezTo>
                  <a:lnTo>
                    <a:pt x="979954" y="180087"/>
                  </a:lnTo>
                  <a:cubicBezTo>
                    <a:pt x="993670" y="185135"/>
                    <a:pt x="1000718" y="200375"/>
                    <a:pt x="995575" y="214186"/>
                  </a:cubicBezTo>
                  <a:lnTo>
                    <a:pt x="533708" y="1462533"/>
                  </a:lnTo>
                  <a:cubicBezTo>
                    <a:pt x="525326" y="1485297"/>
                    <a:pt x="493131" y="1485679"/>
                    <a:pt x="484273" y="1463104"/>
                  </a:cubicBezTo>
                  <a:close/>
                </a:path>
              </a:pathLst>
            </a:custGeom>
            <a:solidFill>
              <a:schemeClr val="tx1"/>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CFDDB60-B50C-4B3A-9FD0-655A0F4D9E6F}"/>
                </a:ext>
              </a:extLst>
            </p:cNvPr>
            <p:cNvSpPr/>
            <p:nvPr/>
          </p:nvSpPr>
          <p:spPr>
            <a:xfrm>
              <a:off x="1057983" y="3845193"/>
              <a:ext cx="857250" cy="1266825"/>
            </a:xfrm>
            <a:custGeom>
              <a:avLst/>
              <a:gdLst>
                <a:gd name="connsiteX0" fmla="*/ 443729 w 857250"/>
                <a:gd name="connsiteY0" fmla="*/ 1275363 h 1266825"/>
                <a:gd name="connsiteX1" fmla="*/ 424679 w 857250"/>
                <a:gd name="connsiteY1" fmla="*/ 1262409 h 1266825"/>
                <a:gd name="connsiteX2" fmla="*/ 308664 w 857250"/>
                <a:gd name="connsiteY2" fmla="*/ 968467 h 1266825"/>
                <a:gd name="connsiteX3" fmla="*/ 30153 w 857250"/>
                <a:gd name="connsiteY3" fmla="*/ 1116486 h 1266825"/>
                <a:gd name="connsiteX4" fmla="*/ 7007 w 857250"/>
                <a:gd name="connsiteY4" fmla="*/ 1113724 h 1266825"/>
                <a:gd name="connsiteX5" fmla="*/ 1292 w 857250"/>
                <a:gd name="connsiteY5" fmla="*/ 1091149 h 1266825"/>
                <a:gd name="connsiteX6" fmla="*/ 400104 w 857250"/>
                <a:gd name="connsiteY6" fmla="*/ 13396 h 1266825"/>
                <a:gd name="connsiteX7" fmla="*/ 410772 w 857250"/>
                <a:gd name="connsiteY7" fmla="*/ 1870 h 1266825"/>
                <a:gd name="connsiteX8" fmla="*/ 426488 w 857250"/>
                <a:gd name="connsiteY8" fmla="*/ 1299 h 1266825"/>
                <a:gd name="connsiteX9" fmla="*/ 849684 w 857250"/>
                <a:gd name="connsiteY9" fmla="*/ 157890 h 1266825"/>
                <a:gd name="connsiteX10" fmla="*/ 861209 w 857250"/>
                <a:gd name="connsiteY10" fmla="*/ 168558 h 1266825"/>
                <a:gd name="connsiteX11" fmla="*/ 861781 w 857250"/>
                <a:gd name="connsiteY11" fmla="*/ 184274 h 1266825"/>
                <a:gd name="connsiteX12" fmla="*/ 462969 w 857250"/>
                <a:gd name="connsiteY12" fmla="*/ 1262028 h 1266825"/>
                <a:gd name="connsiteX13" fmla="*/ 443919 w 857250"/>
                <a:gd name="connsiteY13" fmla="*/ 1275458 h 1266825"/>
                <a:gd name="connsiteX14" fmla="*/ 443729 w 857250"/>
                <a:gd name="connsiteY14" fmla="*/ 1275363 h 1266825"/>
                <a:gd name="connsiteX15" fmla="*/ 444205 w 857250"/>
                <a:gd name="connsiteY15" fmla="*/ 1254694 h 1266825"/>
                <a:gd name="connsiteX16" fmla="*/ 434394 w 857250"/>
                <a:gd name="connsiteY16" fmla="*/ 1258504 h 1266825"/>
                <a:gd name="connsiteX17" fmla="*/ 444205 w 857250"/>
                <a:gd name="connsiteY17" fmla="*/ 1254694 h 1266825"/>
                <a:gd name="connsiteX18" fmla="*/ 444205 w 857250"/>
                <a:gd name="connsiteY18" fmla="*/ 1254694 h 1266825"/>
                <a:gd name="connsiteX19" fmla="*/ 309236 w 857250"/>
                <a:gd name="connsiteY19" fmla="*/ 947703 h 1266825"/>
                <a:gd name="connsiteX20" fmla="*/ 316379 w 857250"/>
                <a:gd name="connsiteY20" fmla="*/ 948941 h 1266825"/>
                <a:gd name="connsiteX21" fmla="*/ 328381 w 857250"/>
                <a:gd name="connsiteY21" fmla="*/ 960657 h 1266825"/>
                <a:gd name="connsiteX22" fmla="*/ 443824 w 857250"/>
                <a:gd name="connsiteY22" fmla="*/ 1253170 h 1266825"/>
                <a:gd name="connsiteX23" fmla="*/ 842064 w 857250"/>
                <a:gd name="connsiteY23" fmla="*/ 176845 h 1266825"/>
                <a:gd name="connsiteX24" fmla="*/ 419249 w 857250"/>
                <a:gd name="connsiteY24" fmla="*/ 21016 h 1266825"/>
                <a:gd name="connsiteX25" fmla="*/ 21676 w 857250"/>
                <a:gd name="connsiteY25" fmla="*/ 1097055 h 1266825"/>
                <a:gd name="connsiteX26" fmla="*/ 299615 w 857250"/>
                <a:gd name="connsiteY26" fmla="*/ 950084 h 1266825"/>
                <a:gd name="connsiteX27" fmla="*/ 309236 w 857250"/>
                <a:gd name="connsiteY27" fmla="*/ 94770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7250" h="1266825">
                  <a:moveTo>
                    <a:pt x="443729" y="1275363"/>
                  </a:moveTo>
                  <a:cubicBezTo>
                    <a:pt x="435251" y="1275363"/>
                    <a:pt x="427727" y="1270315"/>
                    <a:pt x="424679" y="1262409"/>
                  </a:cubicBezTo>
                  <a:lnTo>
                    <a:pt x="308664" y="968467"/>
                  </a:lnTo>
                  <a:lnTo>
                    <a:pt x="30153" y="1116486"/>
                  </a:lnTo>
                  <a:cubicBezTo>
                    <a:pt x="22533" y="1120486"/>
                    <a:pt x="13484" y="1119439"/>
                    <a:pt x="7007" y="1113724"/>
                  </a:cubicBezTo>
                  <a:cubicBezTo>
                    <a:pt x="530" y="1108104"/>
                    <a:pt x="-1660" y="1099246"/>
                    <a:pt x="1292" y="1091149"/>
                  </a:cubicBezTo>
                  <a:lnTo>
                    <a:pt x="400104" y="13396"/>
                  </a:lnTo>
                  <a:cubicBezTo>
                    <a:pt x="402009" y="8252"/>
                    <a:pt x="405819" y="4156"/>
                    <a:pt x="410772" y="1870"/>
                  </a:cubicBezTo>
                  <a:cubicBezTo>
                    <a:pt x="415725" y="-416"/>
                    <a:pt x="421345" y="-606"/>
                    <a:pt x="426488" y="1299"/>
                  </a:cubicBezTo>
                  <a:lnTo>
                    <a:pt x="849684" y="157890"/>
                  </a:lnTo>
                  <a:cubicBezTo>
                    <a:pt x="854828" y="159795"/>
                    <a:pt x="858923" y="163605"/>
                    <a:pt x="861209" y="168558"/>
                  </a:cubicBezTo>
                  <a:cubicBezTo>
                    <a:pt x="863495" y="173511"/>
                    <a:pt x="863686" y="179131"/>
                    <a:pt x="861781" y="184274"/>
                  </a:cubicBezTo>
                  <a:lnTo>
                    <a:pt x="462969" y="1262028"/>
                  </a:lnTo>
                  <a:cubicBezTo>
                    <a:pt x="460016" y="1270124"/>
                    <a:pt x="452492" y="1275363"/>
                    <a:pt x="443919" y="1275458"/>
                  </a:cubicBezTo>
                  <a:cubicBezTo>
                    <a:pt x="443919" y="1275363"/>
                    <a:pt x="443824" y="1275363"/>
                    <a:pt x="443729" y="1275363"/>
                  </a:cubicBezTo>
                  <a:close/>
                  <a:moveTo>
                    <a:pt x="444205" y="1254694"/>
                  </a:moveTo>
                  <a:lnTo>
                    <a:pt x="434394" y="1258504"/>
                  </a:lnTo>
                  <a:lnTo>
                    <a:pt x="444205" y="1254694"/>
                  </a:lnTo>
                  <a:cubicBezTo>
                    <a:pt x="444300" y="1254694"/>
                    <a:pt x="444300" y="1254694"/>
                    <a:pt x="444205" y="1254694"/>
                  </a:cubicBezTo>
                  <a:close/>
                  <a:moveTo>
                    <a:pt x="309236" y="947703"/>
                  </a:moveTo>
                  <a:cubicBezTo>
                    <a:pt x="311617" y="947703"/>
                    <a:pt x="314093" y="948084"/>
                    <a:pt x="316379" y="948941"/>
                  </a:cubicBezTo>
                  <a:cubicBezTo>
                    <a:pt x="321809" y="950941"/>
                    <a:pt x="326190" y="955228"/>
                    <a:pt x="328381" y="960657"/>
                  </a:cubicBezTo>
                  <a:lnTo>
                    <a:pt x="443824" y="1253170"/>
                  </a:lnTo>
                  <a:lnTo>
                    <a:pt x="842064" y="176845"/>
                  </a:lnTo>
                  <a:lnTo>
                    <a:pt x="419249" y="21016"/>
                  </a:lnTo>
                  <a:lnTo>
                    <a:pt x="21676" y="1097055"/>
                  </a:lnTo>
                  <a:lnTo>
                    <a:pt x="299615" y="950084"/>
                  </a:lnTo>
                  <a:cubicBezTo>
                    <a:pt x="302663" y="948560"/>
                    <a:pt x="305902" y="947703"/>
                    <a:pt x="309236" y="947703"/>
                  </a:cubicBezTo>
                  <a:close/>
                </a:path>
              </a:pathLst>
            </a:custGeom>
            <a:solidFill>
              <a:srgbClr val="FFFFFF"/>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8A6B0EC-3D36-4588-B185-702ECB9C52DB}"/>
                </a:ext>
              </a:extLst>
            </p:cNvPr>
            <p:cNvSpPr/>
            <p:nvPr/>
          </p:nvSpPr>
          <p:spPr>
            <a:xfrm>
              <a:off x="1807686" y="3743748"/>
              <a:ext cx="990600" cy="1476375"/>
            </a:xfrm>
            <a:custGeom>
              <a:avLst/>
              <a:gdLst>
                <a:gd name="connsiteX0" fmla="*/ 513081 w 990600"/>
                <a:gd name="connsiteY0" fmla="*/ 1463009 h 1476375"/>
                <a:gd name="connsiteX1" fmla="*/ 632810 w 990600"/>
                <a:gd name="connsiteY1" fmla="*/ 1159542 h 1476375"/>
                <a:gd name="connsiteX2" fmla="*/ 669862 w 990600"/>
                <a:gd name="connsiteY2" fmla="*/ 1145826 h 1476375"/>
                <a:gd name="connsiteX3" fmla="*/ 958279 w 990600"/>
                <a:gd name="connsiteY3" fmla="*/ 1298322 h 1476375"/>
                <a:gd name="connsiteX4" fmla="*/ 995522 w 990600"/>
                <a:gd name="connsiteY4" fmla="*/ 1265651 h 1476375"/>
                <a:gd name="connsiteX5" fmla="*/ 533655 w 990600"/>
                <a:gd name="connsiteY5" fmla="*/ 17304 h 1476375"/>
                <a:gd name="connsiteX6" fmla="*/ 499555 w 990600"/>
                <a:gd name="connsiteY6" fmla="*/ 1683 h 1476375"/>
                <a:gd name="connsiteX7" fmla="*/ 17304 w 990600"/>
                <a:gd name="connsiteY7" fmla="*/ 180087 h 1476375"/>
                <a:gd name="connsiteX8" fmla="*/ 1683 w 990600"/>
                <a:gd name="connsiteY8" fmla="*/ 214186 h 1476375"/>
                <a:gd name="connsiteX9" fmla="*/ 463551 w 990600"/>
                <a:gd name="connsiteY9" fmla="*/ 1462533 h 1476375"/>
                <a:gd name="connsiteX10" fmla="*/ 513081 w 990600"/>
                <a:gd name="connsiteY10" fmla="*/ 1463009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513081" y="1463009"/>
                  </a:moveTo>
                  <a:lnTo>
                    <a:pt x="632810" y="1159542"/>
                  </a:lnTo>
                  <a:cubicBezTo>
                    <a:pt x="638620" y="1144874"/>
                    <a:pt x="655860" y="1138492"/>
                    <a:pt x="669862" y="1145826"/>
                  </a:cubicBezTo>
                  <a:lnTo>
                    <a:pt x="958279" y="1298322"/>
                  </a:lnTo>
                  <a:cubicBezTo>
                    <a:pt x="979806" y="1309656"/>
                    <a:pt x="1003999" y="1288511"/>
                    <a:pt x="995522" y="1265651"/>
                  </a:cubicBezTo>
                  <a:lnTo>
                    <a:pt x="533655" y="17304"/>
                  </a:lnTo>
                  <a:cubicBezTo>
                    <a:pt x="528606" y="3588"/>
                    <a:pt x="513366" y="-3460"/>
                    <a:pt x="499555" y="1683"/>
                  </a:cubicBezTo>
                  <a:lnTo>
                    <a:pt x="17304" y="180087"/>
                  </a:lnTo>
                  <a:cubicBezTo>
                    <a:pt x="3588" y="185135"/>
                    <a:pt x="-3460" y="200375"/>
                    <a:pt x="1683" y="214186"/>
                  </a:cubicBezTo>
                  <a:lnTo>
                    <a:pt x="463551" y="1462533"/>
                  </a:lnTo>
                  <a:cubicBezTo>
                    <a:pt x="472028" y="1485202"/>
                    <a:pt x="504127" y="1485583"/>
                    <a:pt x="513081" y="1463009"/>
                  </a:cubicBezTo>
                  <a:close/>
                </a:path>
              </a:pathLst>
            </a:custGeom>
            <a:solidFill>
              <a:schemeClr val="tx1"/>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BF70B84-FBCC-4BBE-AB81-D813D208B8AB}"/>
                </a:ext>
              </a:extLst>
            </p:cNvPr>
            <p:cNvSpPr/>
            <p:nvPr/>
          </p:nvSpPr>
          <p:spPr>
            <a:xfrm>
              <a:off x="1874587" y="3845098"/>
              <a:ext cx="857250" cy="1266825"/>
            </a:xfrm>
            <a:custGeom>
              <a:avLst/>
              <a:gdLst>
                <a:gd name="connsiteX0" fmla="*/ 419319 w 857250"/>
                <a:gd name="connsiteY0" fmla="*/ 1275458 h 1266825"/>
                <a:gd name="connsiteX1" fmla="*/ 419128 w 857250"/>
                <a:gd name="connsiteY1" fmla="*/ 1275458 h 1266825"/>
                <a:gd name="connsiteX2" fmla="*/ 400078 w 857250"/>
                <a:gd name="connsiteY2" fmla="*/ 1262028 h 1266825"/>
                <a:gd name="connsiteX3" fmla="*/ 1267 w 857250"/>
                <a:gd name="connsiteY3" fmla="*/ 184274 h 1266825"/>
                <a:gd name="connsiteX4" fmla="*/ 13363 w 857250"/>
                <a:gd name="connsiteY4" fmla="*/ 157890 h 1266825"/>
                <a:gd name="connsiteX5" fmla="*/ 436559 w 857250"/>
                <a:gd name="connsiteY5" fmla="*/ 1299 h 1266825"/>
                <a:gd name="connsiteX6" fmla="*/ 452275 w 857250"/>
                <a:gd name="connsiteY6" fmla="*/ 1870 h 1266825"/>
                <a:gd name="connsiteX7" fmla="*/ 462944 w 857250"/>
                <a:gd name="connsiteY7" fmla="*/ 13396 h 1266825"/>
                <a:gd name="connsiteX8" fmla="*/ 861660 w 857250"/>
                <a:gd name="connsiteY8" fmla="*/ 1091149 h 1266825"/>
                <a:gd name="connsiteX9" fmla="*/ 855945 w 857250"/>
                <a:gd name="connsiteY9" fmla="*/ 1113724 h 1266825"/>
                <a:gd name="connsiteX10" fmla="*/ 832799 w 857250"/>
                <a:gd name="connsiteY10" fmla="*/ 1116486 h 1266825"/>
                <a:gd name="connsiteX11" fmla="*/ 553431 w 857250"/>
                <a:gd name="connsiteY11" fmla="*/ 968848 h 1266825"/>
                <a:gd name="connsiteX12" fmla="*/ 438274 w 857250"/>
                <a:gd name="connsiteY12" fmla="*/ 1262504 h 1266825"/>
                <a:gd name="connsiteX13" fmla="*/ 419319 w 857250"/>
                <a:gd name="connsiteY13" fmla="*/ 1275458 h 1266825"/>
                <a:gd name="connsiteX14" fmla="*/ 418748 w 857250"/>
                <a:gd name="connsiteY14" fmla="*/ 1254789 h 1266825"/>
                <a:gd name="connsiteX15" fmla="*/ 418748 w 857250"/>
                <a:gd name="connsiteY15" fmla="*/ 1254789 h 1266825"/>
                <a:gd name="connsiteX16" fmla="*/ 428558 w 857250"/>
                <a:gd name="connsiteY16" fmla="*/ 1258599 h 1266825"/>
                <a:gd name="connsiteX17" fmla="*/ 418748 w 857250"/>
                <a:gd name="connsiteY17" fmla="*/ 1254789 h 1266825"/>
                <a:gd name="connsiteX18" fmla="*/ 443131 w 857250"/>
                <a:gd name="connsiteY18" fmla="*/ 20825 h 1266825"/>
                <a:gd name="connsiteX19" fmla="*/ 20698 w 857250"/>
                <a:gd name="connsiteY19" fmla="*/ 177702 h 1266825"/>
                <a:gd name="connsiteX20" fmla="*/ 419224 w 857250"/>
                <a:gd name="connsiteY20" fmla="*/ 1253265 h 1266825"/>
                <a:gd name="connsiteX21" fmla="*/ 534667 w 857250"/>
                <a:gd name="connsiteY21" fmla="*/ 960752 h 1266825"/>
                <a:gd name="connsiteX22" fmla="*/ 546668 w 857250"/>
                <a:gd name="connsiteY22" fmla="*/ 949036 h 1266825"/>
                <a:gd name="connsiteX23" fmla="*/ 563337 w 857250"/>
                <a:gd name="connsiteY23" fmla="*/ 950179 h 1266825"/>
                <a:gd name="connsiteX24" fmla="*/ 841277 w 857250"/>
                <a:gd name="connsiteY24" fmla="*/ 1097150 h 1266825"/>
                <a:gd name="connsiteX25" fmla="*/ 443131 w 857250"/>
                <a:gd name="connsiteY25" fmla="*/ 20825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250" h="1266825">
                  <a:moveTo>
                    <a:pt x="419319" y="1275458"/>
                  </a:moveTo>
                  <a:cubicBezTo>
                    <a:pt x="419224" y="1275458"/>
                    <a:pt x="419128" y="1275458"/>
                    <a:pt x="419128" y="1275458"/>
                  </a:cubicBezTo>
                  <a:cubicBezTo>
                    <a:pt x="410556" y="1275363"/>
                    <a:pt x="403031" y="1270124"/>
                    <a:pt x="400078" y="1262028"/>
                  </a:cubicBezTo>
                  <a:lnTo>
                    <a:pt x="1267" y="184274"/>
                  </a:lnTo>
                  <a:cubicBezTo>
                    <a:pt x="-2639" y="173701"/>
                    <a:pt x="2791" y="161795"/>
                    <a:pt x="13363" y="157890"/>
                  </a:cubicBezTo>
                  <a:lnTo>
                    <a:pt x="436559" y="1299"/>
                  </a:lnTo>
                  <a:cubicBezTo>
                    <a:pt x="441703" y="-606"/>
                    <a:pt x="447323" y="-416"/>
                    <a:pt x="452275" y="1870"/>
                  </a:cubicBezTo>
                  <a:cubicBezTo>
                    <a:pt x="457228" y="4156"/>
                    <a:pt x="461039" y="8252"/>
                    <a:pt x="462944" y="13396"/>
                  </a:cubicBezTo>
                  <a:lnTo>
                    <a:pt x="861660" y="1091149"/>
                  </a:lnTo>
                  <a:cubicBezTo>
                    <a:pt x="864613" y="1099150"/>
                    <a:pt x="862422" y="1108009"/>
                    <a:pt x="855945" y="1113724"/>
                  </a:cubicBezTo>
                  <a:cubicBezTo>
                    <a:pt x="849468" y="1119343"/>
                    <a:pt x="840419" y="1120391"/>
                    <a:pt x="832799" y="1116486"/>
                  </a:cubicBezTo>
                  <a:lnTo>
                    <a:pt x="553431" y="968848"/>
                  </a:lnTo>
                  <a:lnTo>
                    <a:pt x="438274" y="1262504"/>
                  </a:lnTo>
                  <a:cubicBezTo>
                    <a:pt x="435226" y="1270410"/>
                    <a:pt x="427796" y="1275458"/>
                    <a:pt x="419319" y="1275458"/>
                  </a:cubicBezTo>
                  <a:close/>
                  <a:moveTo>
                    <a:pt x="418748" y="1254789"/>
                  </a:moveTo>
                  <a:cubicBezTo>
                    <a:pt x="418748" y="1254789"/>
                    <a:pt x="418748" y="1254789"/>
                    <a:pt x="418748" y="1254789"/>
                  </a:cubicBezTo>
                  <a:lnTo>
                    <a:pt x="428558" y="1258599"/>
                  </a:lnTo>
                  <a:lnTo>
                    <a:pt x="418748" y="1254789"/>
                  </a:lnTo>
                  <a:close/>
                  <a:moveTo>
                    <a:pt x="443131" y="20825"/>
                  </a:moveTo>
                  <a:lnTo>
                    <a:pt x="20698" y="177702"/>
                  </a:lnTo>
                  <a:lnTo>
                    <a:pt x="419224" y="1253265"/>
                  </a:lnTo>
                  <a:lnTo>
                    <a:pt x="534667" y="960752"/>
                  </a:lnTo>
                  <a:cubicBezTo>
                    <a:pt x="536762" y="955323"/>
                    <a:pt x="541144" y="951037"/>
                    <a:pt x="546668" y="949036"/>
                  </a:cubicBezTo>
                  <a:cubicBezTo>
                    <a:pt x="552098" y="947036"/>
                    <a:pt x="558194" y="947417"/>
                    <a:pt x="563337" y="950179"/>
                  </a:cubicBezTo>
                  <a:lnTo>
                    <a:pt x="841277" y="1097150"/>
                  </a:lnTo>
                  <a:lnTo>
                    <a:pt x="443131" y="20825"/>
                  </a:lnTo>
                  <a:close/>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1BAAEB5-5A1D-4524-A23E-C4EE389F9B04}"/>
                </a:ext>
              </a:extLst>
            </p:cNvPr>
            <p:cNvSpPr/>
            <p:nvPr/>
          </p:nvSpPr>
          <p:spPr>
            <a:xfrm>
              <a:off x="1028795" y="2762261"/>
              <a:ext cx="1704975" cy="1704975"/>
            </a:xfrm>
            <a:custGeom>
              <a:avLst/>
              <a:gdLst>
                <a:gd name="connsiteX0" fmla="*/ 1707642 w 1704975"/>
                <a:gd name="connsiteY0" fmla="*/ 853821 h 1704975"/>
                <a:gd name="connsiteX1" fmla="*/ 853821 w 1704975"/>
                <a:gd name="connsiteY1" fmla="*/ 1707642 h 1704975"/>
                <a:gd name="connsiteX2" fmla="*/ 0 w 1704975"/>
                <a:gd name="connsiteY2" fmla="*/ 853821 h 1704975"/>
                <a:gd name="connsiteX3" fmla="*/ 853821 w 1704975"/>
                <a:gd name="connsiteY3" fmla="*/ 0 h 1704975"/>
                <a:gd name="connsiteX4" fmla="*/ 1707642 w 1704975"/>
                <a:gd name="connsiteY4" fmla="*/ 853821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75" h="1704975">
                  <a:moveTo>
                    <a:pt x="1707642" y="853821"/>
                  </a:moveTo>
                  <a:cubicBezTo>
                    <a:pt x="1707642" y="1325373"/>
                    <a:pt x="1325373" y="1707642"/>
                    <a:pt x="853821" y="1707642"/>
                  </a:cubicBezTo>
                  <a:cubicBezTo>
                    <a:pt x="382269" y="1707642"/>
                    <a:pt x="0" y="1325373"/>
                    <a:pt x="0" y="853821"/>
                  </a:cubicBezTo>
                  <a:cubicBezTo>
                    <a:pt x="0" y="382269"/>
                    <a:pt x="382269" y="0"/>
                    <a:pt x="853821" y="0"/>
                  </a:cubicBezTo>
                  <a:cubicBezTo>
                    <a:pt x="1325373" y="0"/>
                    <a:pt x="1707642" y="382269"/>
                    <a:pt x="1707642" y="853821"/>
                  </a:cubicBezTo>
                  <a:close/>
                </a:path>
              </a:pathLst>
            </a:custGeom>
            <a:solidFill>
              <a:schemeClr val="tx1"/>
            </a:solidFill>
            <a:ln w="76200" cap="flat">
              <a:solidFill>
                <a:schemeClr val="accent5"/>
              </a:solidFill>
              <a:prstDash val="solid"/>
              <a:miter/>
            </a:ln>
          </p:spPr>
          <p:txBody>
            <a:bodyPr rtlCol="0" anchor="ctr"/>
            <a:lstStyle/>
            <a:p>
              <a:pPr algn="ctr"/>
              <a:r>
                <a:rPr lang="en-US" sz="2000">
                  <a:solidFill>
                    <a:schemeClr val="accent5"/>
                  </a:solidFill>
                </a:rPr>
                <a:t>Innovation </a:t>
              </a:r>
              <a:br>
                <a:rPr lang="en-US" sz="2000">
                  <a:solidFill>
                    <a:schemeClr val="accent5"/>
                  </a:solidFill>
                </a:rPr>
              </a:br>
              <a:r>
                <a:rPr lang="en-US" sz="2000">
                  <a:solidFill>
                    <a:schemeClr val="accent5"/>
                  </a:solidFill>
                </a:rPr>
                <a:t>and Adaptability</a:t>
              </a:r>
            </a:p>
          </p:txBody>
        </p:sp>
      </p:grpSp>
      <p:graphicFrame>
        <p:nvGraphicFramePr>
          <p:cNvPr id="17"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3864865"/>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cxnSp>
        <p:nvCxnSpPr>
          <p:cNvPr id="20" name="Straight Connector 19">
            <a:extLst>
              <a:ext uri="{FF2B5EF4-FFF2-40B4-BE49-F238E27FC236}">
                <a16:creationId xmlns:a16="http://schemas.microsoft.com/office/drawing/2014/main" id="{240A78A4-DAF5-427E-B072-173A57C61A97}"/>
              </a:ext>
            </a:extLst>
          </p:cNvPr>
          <p:cNvCxnSpPr>
            <a:cxnSpLocks/>
          </p:cNvCxnSpPr>
          <p:nvPr/>
        </p:nvCxnSpPr>
        <p:spPr>
          <a:xfrm>
            <a:off x="3505200" y="3654552"/>
            <a:ext cx="8534400"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1"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1050738"/>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spTree>
    <p:extLst>
      <p:ext uri="{BB962C8B-B14F-4D97-AF65-F5344CB8AC3E}">
        <p14:creationId xmlns:p14="http://schemas.microsoft.com/office/powerpoint/2010/main" val="29351545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4248972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a:lstStyle/>
          <a:p>
            <a:r>
              <a:rPr lang="en-US"/>
              <a:t>Recognition</a:t>
            </a:r>
          </a:p>
        </p:txBody>
      </p:sp>
      <p:pic>
        <p:nvPicPr>
          <p:cNvPr id="12" name="Graphic 11">
            <a:extLst>
              <a:ext uri="{FF2B5EF4-FFF2-40B4-BE49-F238E27FC236}">
                <a16:creationId xmlns:a16="http://schemas.microsoft.com/office/drawing/2014/main" id="{C4A5BE67-CE8E-4567-A308-8A5EC33098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6371" y="840184"/>
            <a:ext cx="1257300" cy="2198991"/>
          </a:xfrm>
          <a:prstGeom prst="rect">
            <a:avLst/>
          </a:prstGeom>
        </p:spPr>
      </p:pic>
      <p:grpSp>
        <p:nvGrpSpPr>
          <p:cNvPr id="13" name="Group 12">
            <a:extLst>
              <a:ext uri="{FF2B5EF4-FFF2-40B4-BE49-F238E27FC236}">
                <a16:creationId xmlns:a16="http://schemas.microsoft.com/office/drawing/2014/main" id="{7268861F-007C-4767-AC14-C0FA0A733995}"/>
              </a:ext>
            </a:extLst>
          </p:cNvPr>
          <p:cNvGrpSpPr/>
          <p:nvPr/>
        </p:nvGrpSpPr>
        <p:grpSpPr>
          <a:xfrm>
            <a:off x="596900" y="1828800"/>
            <a:ext cx="2209822" cy="3025452"/>
            <a:chOff x="990578" y="2745203"/>
            <a:chExt cx="1807708" cy="2474920"/>
          </a:xfrm>
        </p:grpSpPr>
        <p:sp>
          <p:nvSpPr>
            <p:cNvPr id="14" name="Freeform: Shape 13">
              <a:extLst>
                <a:ext uri="{FF2B5EF4-FFF2-40B4-BE49-F238E27FC236}">
                  <a16:creationId xmlns:a16="http://schemas.microsoft.com/office/drawing/2014/main" id="{27ECBBCD-9559-47BE-B406-442514058C37}"/>
                </a:ext>
              </a:extLst>
            </p:cNvPr>
            <p:cNvSpPr/>
            <p:nvPr/>
          </p:nvSpPr>
          <p:spPr>
            <a:xfrm>
              <a:off x="990578" y="3743653"/>
              <a:ext cx="990600" cy="1476375"/>
            </a:xfrm>
            <a:custGeom>
              <a:avLst/>
              <a:gdLst>
                <a:gd name="connsiteX0" fmla="*/ 484273 w 990600"/>
                <a:gd name="connsiteY0" fmla="*/ 1463104 h 1476375"/>
                <a:gd name="connsiteX1" fmla="*/ 364544 w 990600"/>
                <a:gd name="connsiteY1" fmla="*/ 1159638 h 1476375"/>
                <a:gd name="connsiteX2" fmla="*/ 327491 w 990600"/>
                <a:gd name="connsiteY2" fmla="*/ 1145922 h 1476375"/>
                <a:gd name="connsiteX3" fmla="*/ 38979 w 990600"/>
                <a:gd name="connsiteY3" fmla="*/ 1298322 h 1476375"/>
                <a:gd name="connsiteX4" fmla="*/ 1736 w 990600"/>
                <a:gd name="connsiteY4" fmla="*/ 1265651 h 1476375"/>
                <a:gd name="connsiteX5" fmla="*/ 463604 w 990600"/>
                <a:gd name="connsiteY5" fmla="*/ 17304 h 1476375"/>
                <a:gd name="connsiteX6" fmla="*/ 497703 w 990600"/>
                <a:gd name="connsiteY6" fmla="*/ 1683 h 1476375"/>
                <a:gd name="connsiteX7" fmla="*/ 979954 w 990600"/>
                <a:gd name="connsiteY7" fmla="*/ 180087 h 1476375"/>
                <a:gd name="connsiteX8" fmla="*/ 995575 w 990600"/>
                <a:gd name="connsiteY8" fmla="*/ 214186 h 1476375"/>
                <a:gd name="connsiteX9" fmla="*/ 533708 w 990600"/>
                <a:gd name="connsiteY9" fmla="*/ 1462533 h 1476375"/>
                <a:gd name="connsiteX10" fmla="*/ 484273 w 990600"/>
                <a:gd name="connsiteY10" fmla="*/ 1463104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484273" y="1463104"/>
                  </a:moveTo>
                  <a:lnTo>
                    <a:pt x="364544" y="1159638"/>
                  </a:lnTo>
                  <a:cubicBezTo>
                    <a:pt x="358733" y="1144969"/>
                    <a:pt x="341493" y="1138588"/>
                    <a:pt x="327491" y="1145922"/>
                  </a:cubicBezTo>
                  <a:lnTo>
                    <a:pt x="38979" y="1298322"/>
                  </a:lnTo>
                  <a:cubicBezTo>
                    <a:pt x="17453" y="1309656"/>
                    <a:pt x="-6741" y="1288511"/>
                    <a:pt x="1736" y="1265651"/>
                  </a:cubicBezTo>
                  <a:lnTo>
                    <a:pt x="463604" y="17304"/>
                  </a:lnTo>
                  <a:cubicBezTo>
                    <a:pt x="468652" y="3588"/>
                    <a:pt x="483892" y="-3460"/>
                    <a:pt x="497703" y="1683"/>
                  </a:cubicBezTo>
                  <a:lnTo>
                    <a:pt x="979954" y="180087"/>
                  </a:lnTo>
                  <a:cubicBezTo>
                    <a:pt x="993670" y="185135"/>
                    <a:pt x="1000718" y="200375"/>
                    <a:pt x="995575" y="214186"/>
                  </a:cubicBezTo>
                  <a:lnTo>
                    <a:pt x="533708" y="1462533"/>
                  </a:lnTo>
                  <a:cubicBezTo>
                    <a:pt x="525326" y="1485297"/>
                    <a:pt x="493131" y="1485679"/>
                    <a:pt x="484273" y="1463104"/>
                  </a:cubicBezTo>
                  <a:close/>
                </a:path>
              </a:pathLst>
            </a:custGeom>
            <a:solidFill>
              <a:srgbClr val="FF791E"/>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854CE289-6740-48E7-A948-A5338734F8DC}"/>
                </a:ext>
              </a:extLst>
            </p:cNvPr>
            <p:cNvSpPr/>
            <p:nvPr/>
          </p:nvSpPr>
          <p:spPr>
            <a:xfrm>
              <a:off x="1057983" y="3845193"/>
              <a:ext cx="857250" cy="1266825"/>
            </a:xfrm>
            <a:custGeom>
              <a:avLst/>
              <a:gdLst>
                <a:gd name="connsiteX0" fmla="*/ 443729 w 857250"/>
                <a:gd name="connsiteY0" fmla="*/ 1275363 h 1266825"/>
                <a:gd name="connsiteX1" fmla="*/ 424679 w 857250"/>
                <a:gd name="connsiteY1" fmla="*/ 1262409 h 1266825"/>
                <a:gd name="connsiteX2" fmla="*/ 308664 w 857250"/>
                <a:gd name="connsiteY2" fmla="*/ 968467 h 1266825"/>
                <a:gd name="connsiteX3" fmla="*/ 30153 w 857250"/>
                <a:gd name="connsiteY3" fmla="*/ 1116486 h 1266825"/>
                <a:gd name="connsiteX4" fmla="*/ 7007 w 857250"/>
                <a:gd name="connsiteY4" fmla="*/ 1113724 h 1266825"/>
                <a:gd name="connsiteX5" fmla="*/ 1292 w 857250"/>
                <a:gd name="connsiteY5" fmla="*/ 1091149 h 1266825"/>
                <a:gd name="connsiteX6" fmla="*/ 400104 w 857250"/>
                <a:gd name="connsiteY6" fmla="*/ 13396 h 1266825"/>
                <a:gd name="connsiteX7" fmla="*/ 410772 w 857250"/>
                <a:gd name="connsiteY7" fmla="*/ 1870 h 1266825"/>
                <a:gd name="connsiteX8" fmla="*/ 426488 w 857250"/>
                <a:gd name="connsiteY8" fmla="*/ 1299 h 1266825"/>
                <a:gd name="connsiteX9" fmla="*/ 849684 w 857250"/>
                <a:gd name="connsiteY9" fmla="*/ 157890 h 1266825"/>
                <a:gd name="connsiteX10" fmla="*/ 861209 w 857250"/>
                <a:gd name="connsiteY10" fmla="*/ 168558 h 1266825"/>
                <a:gd name="connsiteX11" fmla="*/ 861781 w 857250"/>
                <a:gd name="connsiteY11" fmla="*/ 184274 h 1266825"/>
                <a:gd name="connsiteX12" fmla="*/ 462969 w 857250"/>
                <a:gd name="connsiteY12" fmla="*/ 1262028 h 1266825"/>
                <a:gd name="connsiteX13" fmla="*/ 443919 w 857250"/>
                <a:gd name="connsiteY13" fmla="*/ 1275458 h 1266825"/>
                <a:gd name="connsiteX14" fmla="*/ 443729 w 857250"/>
                <a:gd name="connsiteY14" fmla="*/ 1275363 h 1266825"/>
                <a:gd name="connsiteX15" fmla="*/ 444205 w 857250"/>
                <a:gd name="connsiteY15" fmla="*/ 1254694 h 1266825"/>
                <a:gd name="connsiteX16" fmla="*/ 434394 w 857250"/>
                <a:gd name="connsiteY16" fmla="*/ 1258504 h 1266825"/>
                <a:gd name="connsiteX17" fmla="*/ 444205 w 857250"/>
                <a:gd name="connsiteY17" fmla="*/ 1254694 h 1266825"/>
                <a:gd name="connsiteX18" fmla="*/ 444205 w 857250"/>
                <a:gd name="connsiteY18" fmla="*/ 1254694 h 1266825"/>
                <a:gd name="connsiteX19" fmla="*/ 309236 w 857250"/>
                <a:gd name="connsiteY19" fmla="*/ 947703 h 1266825"/>
                <a:gd name="connsiteX20" fmla="*/ 316379 w 857250"/>
                <a:gd name="connsiteY20" fmla="*/ 948941 h 1266825"/>
                <a:gd name="connsiteX21" fmla="*/ 328381 w 857250"/>
                <a:gd name="connsiteY21" fmla="*/ 960657 h 1266825"/>
                <a:gd name="connsiteX22" fmla="*/ 443824 w 857250"/>
                <a:gd name="connsiteY22" fmla="*/ 1253170 h 1266825"/>
                <a:gd name="connsiteX23" fmla="*/ 842064 w 857250"/>
                <a:gd name="connsiteY23" fmla="*/ 176845 h 1266825"/>
                <a:gd name="connsiteX24" fmla="*/ 419249 w 857250"/>
                <a:gd name="connsiteY24" fmla="*/ 21016 h 1266825"/>
                <a:gd name="connsiteX25" fmla="*/ 21676 w 857250"/>
                <a:gd name="connsiteY25" fmla="*/ 1097055 h 1266825"/>
                <a:gd name="connsiteX26" fmla="*/ 299615 w 857250"/>
                <a:gd name="connsiteY26" fmla="*/ 950084 h 1266825"/>
                <a:gd name="connsiteX27" fmla="*/ 309236 w 857250"/>
                <a:gd name="connsiteY27" fmla="*/ 94770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7250" h="1266825">
                  <a:moveTo>
                    <a:pt x="443729" y="1275363"/>
                  </a:moveTo>
                  <a:cubicBezTo>
                    <a:pt x="435251" y="1275363"/>
                    <a:pt x="427727" y="1270315"/>
                    <a:pt x="424679" y="1262409"/>
                  </a:cubicBezTo>
                  <a:lnTo>
                    <a:pt x="308664" y="968467"/>
                  </a:lnTo>
                  <a:lnTo>
                    <a:pt x="30153" y="1116486"/>
                  </a:lnTo>
                  <a:cubicBezTo>
                    <a:pt x="22533" y="1120486"/>
                    <a:pt x="13484" y="1119439"/>
                    <a:pt x="7007" y="1113724"/>
                  </a:cubicBezTo>
                  <a:cubicBezTo>
                    <a:pt x="530" y="1108104"/>
                    <a:pt x="-1660" y="1099246"/>
                    <a:pt x="1292" y="1091149"/>
                  </a:cubicBezTo>
                  <a:lnTo>
                    <a:pt x="400104" y="13396"/>
                  </a:lnTo>
                  <a:cubicBezTo>
                    <a:pt x="402009" y="8252"/>
                    <a:pt x="405819" y="4156"/>
                    <a:pt x="410772" y="1870"/>
                  </a:cubicBezTo>
                  <a:cubicBezTo>
                    <a:pt x="415725" y="-416"/>
                    <a:pt x="421345" y="-606"/>
                    <a:pt x="426488" y="1299"/>
                  </a:cubicBezTo>
                  <a:lnTo>
                    <a:pt x="849684" y="157890"/>
                  </a:lnTo>
                  <a:cubicBezTo>
                    <a:pt x="854828" y="159795"/>
                    <a:pt x="858923" y="163605"/>
                    <a:pt x="861209" y="168558"/>
                  </a:cubicBezTo>
                  <a:cubicBezTo>
                    <a:pt x="863495" y="173511"/>
                    <a:pt x="863686" y="179131"/>
                    <a:pt x="861781" y="184274"/>
                  </a:cubicBezTo>
                  <a:lnTo>
                    <a:pt x="462969" y="1262028"/>
                  </a:lnTo>
                  <a:cubicBezTo>
                    <a:pt x="460016" y="1270124"/>
                    <a:pt x="452492" y="1275363"/>
                    <a:pt x="443919" y="1275458"/>
                  </a:cubicBezTo>
                  <a:cubicBezTo>
                    <a:pt x="443919" y="1275363"/>
                    <a:pt x="443824" y="1275363"/>
                    <a:pt x="443729" y="1275363"/>
                  </a:cubicBezTo>
                  <a:close/>
                  <a:moveTo>
                    <a:pt x="444205" y="1254694"/>
                  </a:moveTo>
                  <a:lnTo>
                    <a:pt x="434394" y="1258504"/>
                  </a:lnTo>
                  <a:lnTo>
                    <a:pt x="444205" y="1254694"/>
                  </a:lnTo>
                  <a:cubicBezTo>
                    <a:pt x="444300" y="1254694"/>
                    <a:pt x="444300" y="1254694"/>
                    <a:pt x="444205" y="1254694"/>
                  </a:cubicBezTo>
                  <a:close/>
                  <a:moveTo>
                    <a:pt x="309236" y="947703"/>
                  </a:moveTo>
                  <a:cubicBezTo>
                    <a:pt x="311617" y="947703"/>
                    <a:pt x="314093" y="948084"/>
                    <a:pt x="316379" y="948941"/>
                  </a:cubicBezTo>
                  <a:cubicBezTo>
                    <a:pt x="321809" y="950941"/>
                    <a:pt x="326190" y="955228"/>
                    <a:pt x="328381" y="960657"/>
                  </a:cubicBezTo>
                  <a:lnTo>
                    <a:pt x="443824" y="1253170"/>
                  </a:lnTo>
                  <a:lnTo>
                    <a:pt x="842064" y="176845"/>
                  </a:lnTo>
                  <a:lnTo>
                    <a:pt x="419249" y="21016"/>
                  </a:lnTo>
                  <a:lnTo>
                    <a:pt x="21676" y="1097055"/>
                  </a:lnTo>
                  <a:lnTo>
                    <a:pt x="299615" y="950084"/>
                  </a:lnTo>
                  <a:cubicBezTo>
                    <a:pt x="302663" y="948560"/>
                    <a:pt x="305902" y="947703"/>
                    <a:pt x="309236" y="947703"/>
                  </a:cubicBez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BF916E7A-3307-45EB-87DB-D2EEC375AC4D}"/>
                </a:ext>
              </a:extLst>
            </p:cNvPr>
            <p:cNvSpPr/>
            <p:nvPr/>
          </p:nvSpPr>
          <p:spPr>
            <a:xfrm>
              <a:off x="1807686" y="3743748"/>
              <a:ext cx="990600" cy="1476375"/>
            </a:xfrm>
            <a:custGeom>
              <a:avLst/>
              <a:gdLst>
                <a:gd name="connsiteX0" fmla="*/ 513081 w 990600"/>
                <a:gd name="connsiteY0" fmla="*/ 1463009 h 1476375"/>
                <a:gd name="connsiteX1" fmla="*/ 632810 w 990600"/>
                <a:gd name="connsiteY1" fmla="*/ 1159542 h 1476375"/>
                <a:gd name="connsiteX2" fmla="*/ 669862 w 990600"/>
                <a:gd name="connsiteY2" fmla="*/ 1145826 h 1476375"/>
                <a:gd name="connsiteX3" fmla="*/ 958279 w 990600"/>
                <a:gd name="connsiteY3" fmla="*/ 1298322 h 1476375"/>
                <a:gd name="connsiteX4" fmla="*/ 995522 w 990600"/>
                <a:gd name="connsiteY4" fmla="*/ 1265651 h 1476375"/>
                <a:gd name="connsiteX5" fmla="*/ 533655 w 990600"/>
                <a:gd name="connsiteY5" fmla="*/ 17304 h 1476375"/>
                <a:gd name="connsiteX6" fmla="*/ 499555 w 990600"/>
                <a:gd name="connsiteY6" fmla="*/ 1683 h 1476375"/>
                <a:gd name="connsiteX7" fmla="*/ 17304 w 990600"/>
                <a:gd name="connsiteY7" fmla="*/ 180087 h 1476375"/>
                <a:gd name="connsiteX8" fmla="*/ 1683 w 990600"/>
                <a:gd name="connsiteY8" fmla="*/ 214186 h 1476375"/>
                <a:gd name="connsiteX9" fmla="*/ 463551 w 990600"/>
                <a:gd name="connsiteY9" fmla="*/ 1462533 h 1476375"/>
                <a:gd name="connsiteX10" fmla="*/ 513081 w 990600"/>
                <a:gd name="connsiteY10" fmla="*/ 1463009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513081" y="1463009"/>
                  </a:moveTo>
                  <a:lnTo>
                    <a:pt x="632810" y="1159542"/>
                  </a:lnTo>
                  <a:cubicBezTo>
                    <a:pt x="638620" y="1144874"/>
                    <a:pt x="655860" y="1138492"/>
                    <a:pt x="669862" y="1145826"/>
                  </a:cubicBezTo>
                  <a:lnTo>
                    <a:pt x="958279" y="1298322"/>
                  </a:lnTo>
                  <a:cubicBezTo>
                    <a:pt x="979806" y="1309656"/>
                    <a:pt x="1003999" y="1288511"/>
                    <a:pt x="995522" y="1265651"/>
                  </a:cubicBezTo>
                  <a:lnTo>
                    <a:pt x="533655" y="17304"/>
                  </a:lnTo>
                  <a:cubicBezTo>
                    <a:pt x="528606" y="3588"/>
                    <a:pt x="513366" y="-3460"/>
                    <a:pt x="499555" y="1683"/>
                  </a:cubicBezTo>
                  <a:lnTo>
                    <a:pt x="17304" y="180087"/>
                  </a:lnTo>
                  <a:cubicBezTo>
                    <a:pt x="3588" y="185135"/>
                    <a:pt x="-3460" y="200375"/>
                    <a:pt x="1683" y="214186"/>
                  </a:cubicBezTo>
                  <a:lnTo>
                    <a:pt x="463551" y="1462533"/>
                  </a:lnTo>
                  <a:cubicBezTo>
                    <a:pt x="472028" y="1485202"/>
                    <a:pt x="504127" y="1485583"/>
                    <a:pt x="513081" y="1463009"/>
                  </a:cubicBezTo>
                  <a:close/>
                </a:path>
              </a:pathLst>
            </a:custGeom>
            <a:solidFill>
              <a:srgbClr val="FF791E"/>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92C34655-681E-4A36-BB81-8E98FBDFF2F8}"/>
                </a:ext>
              </a:extLst>
            </p:cNvPr>
            <p:cNvSpPr/>
            <p:nvPr/>
          </p:nvSpPr>
          <p:spPr>
            <a:xfrm>
              <a:off x="1874587" y="3845098"/>
              <a:ext cx="857250" cy="1266825"/>
            </a:xfrm>
            <a:custGeom>
              <a:avLst/>
              <a:gdLst>
                <a:gd name="connsiteX0" fmla="*/ 419319 w 857250"/>
                <a:gd name="connsiteY0" fmla="*/ 1275458 h 1266825"/>
                <a:gd name="connsiteX1" fmla="*/ 419128 w 857250"/>
                <a:gd name="connsiteY1" fmla="*/ 1275458 h 1266825"/>
                <a:gd name="connsiteX2" fmla="*/ 400078 w 857250"/>
                <a:gd name="connsiteY2" fmla="*/ 1262028 h 1266825"/>
                <a:gd name="connsiteX3" fmla="*/ 1267 w 857250"/>
                <a:gd name="connsiteY3" fmla="*/ 184274 h 1266825"/>
                <a:gd name="connsiteX4" fmla="*/ 13363 w 857250"/>
                <a:gd name="connsiteY4" fmla="*/ 157890 h 1266825"/>
                <a:gd name="connsiteX5" fmla="*/ 436559 w 857250"/>
                <a:gd name="connsiteY5" fmla="*/ 1299 h 1266825"/>
                <a:gd name="connsiteX6" fmla="*/ 452275 w 857250"/>
                <a:gd name="connsiteY6" fmla="*/ 1870 h 1266825"/>
                <a:gd name="connsiteX7" fmla="*/ 462944 w 857250"/>
                <a:gd name="connsiteY7" fmla="*/ 13396 h 1266825"/>
                <a:gd name="connsiteX8" fmla="*/ 861660 w 857250"/>
                <a:gd name="connsiteY8" fmla="*/ 1091149 h 1266825"/>
                <a:gd name="connsiteX9" fmla="*/ 855945 w 857250"/>
                <a:gd name="connsiteY9" fmla="*/ 1113724 h 1266825"/>
                <a:gd name="connsiteX10" fmla="*/ 832799 w 857250"/>
                <a:gd name="connsiteY10" fmla="*/ 1116486 h 1266825"/>
                <a:gd name="connsiteX11" fmla="*/ 553431 w 857250"/>
                <a:gd name="connsiteY11" fmla="*/ 968848 h 1266825"/>
                <a:gd name="connsiteX12" fmla="*/ 438274 w 857250"/>
                <a:gd name="connsiteY12" fmla="*/ 1262504 h 1266825"/>
                <a:gd name="connsiteX13" fmla="*/ 419319 w 857250"/>
                <a:gd name="connsiteY13" fmla="*/ 1275458 h 1266825"/>
                <a:gd name="connsiteX14" fmla="*/ 418748 w 857250"/>
                <a:gd name="connsiteY14" fmla="*/ 1254789 h 1266825"/>
                <a:gd name="connsiteX15" fmla="*/ 418748 w 857250"/>
                <a:gd name="connsiteY15" fmla="*/ 1254789 h 1266825"/>
                <a:gd name="connsiteX16" fmla="*/ 428558 w 857250"/>
                <a:gd name="connsiteY16" fmla="*/ 1258599 h 1266825"/>
                <a:gd name="connsiteX17" fmla="*/ 418748 w 857250"/>
                <a:gd name="connsiteY17" fmla="*/ 1254789 h 1266825"/>
                <a:gd name="connsiteX18" fmla="*/ 443131 w 857250"/>
                <a:gd name="connsiteY18" fmla="*/ 20825 h 1266825"/>
                <a:gd name="connsiteX19" fmla="*/ 20698 w 857250"/>
                <a:gd name="connsiteY19" fmla="*/ 177702 h 1266825"/>
                <a:gd name="connsiteX20" fmla="*/ 419224 w 857250"/>
                <a:gd name="connsiteY20" fmla="*/ 1253265 h 1266825"/>
                <a:gd name="connsiteX21" fmla="*/ 534667 w 857250"/>
                <a:gd name="connsiteY21" fmla="*/ 960752 h 1266825"/>
                <a:gd name="connsiteX22" fmla="*/ 546668 w 857250"/>
                <a:gd name="connsiteY22" fmla="*/ 949036 h 1266825"/>
                <a:gd name="connsiteX23" fmla="*/ 563337 w 857250"/>
                <a:gd name="connsiteY23" fmla="*/ 950179 h 1266825"/>
                <a:gd name="connsiteX24" fmla="*/ 841277 w 857250"/>
                <a:gd name="connsiteY24" fmla="*/ 1097150 h 1266825"/>
                <a:gd name="connsiteX25" fmla="*/ 443131 w 857250"/>
                <a:gd name="connsiteY25" fmla="*/ 20825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250" h="1266825">
                  <a:moveTo>
                    <a:pt x="419319" y="1275458"/>
                  </a:moveTo>
                  <a:cubicBezTo>
                    <a:pt x="419224" y="1275458"/>
                    <a:pt x="419128" y="1275458"/>
                    <a:pt x="419128" y="1275458"/>
                  </a:cubicBezTo>
                  <a:cubicBezTo>
                    <a:pt x="410556" y="1275363"/>
                    <a:pt x="403031" y="1270124"/>
                    <a:pt x="400078" y="1262028"/>
                  </a:cubicBezTo>
                  <a:lnTo>
                    <a:pt x="1267" y="184274"/>
                  </a:lnTo>
                  <a:cubicBezTo>
                    <a:pt x="-2639" y="173701"/>
                    <a:pt x="2791" y="161795"/>
                    <a:pt x="13363" y="157890"/>
                  </a:cubicBezTo>
                  <a:lnTo>
                    <a:pt x="436559" y="1299"/>
                  </a:lnTo>
                  <a:cubicBezTo>
                    <a:pt x="441703" y="-606"/>
                    <a:pt x="447323" y="-416"/>
                    <a:pt x="452275" y="1870"/>
                  </a:cubicBezTo>
                  <a:cubicBezTo>
                    <a:pt x="457228" y="4156"/>
                    <a:pt x="461039" y="8252"/>
                    <a:pt x="462944" y="13396"/>
                  </a:cubicBezTo>
                  <a:lnTo>
                    <a:pt x="861660" y="1091149"/>
                  </a:lnTo>
                  <a:cubicBezTo>
                    <a:pt x="864613" y="1099150"/>
                    <a:pt x="862422" y="1108009"/>
                    <a:pt x="855945" y="1113724"/>
                  </a:cubicBezTo>
                  <a:cubicBezTo>
                    <a:pt x="849468" y="1119343"/>
                    <a:pt x="840419" y="1120391"/>
                    <a:pt x="832799" y="1116486"/>
                  </a:cubicBezTo>
                  <a:lnTo>
                    <a:pt x="553431" y="968848"/>
                  </a:lnTo>
                  <a:lnTo>
                    <a:pt x="438274" y="1262504"/>
                  </a:lnTo>
                  <a:cubicBezTo>
                    <a:pt x="435226" y="1270410"/>
                    <a:pt x="427796" y="1275458"/>
                    <a:pt x="419319" y="1275458"/>
                  </a:cubicBezTo>
                  <a:close/>
                  <a:moveTo>
                    <a:pt x="418748" y="1254789"/>
                  </a:moveTo>
                  <a:cubicBezTo>
                    <a:pt x="418748" y="1254789"/>
                    <a:pt x="418748" y="1254789"/>
                    <a:pt x="418748" y="1254789"/>
                  </a:cubicBezTo>
                  <a:lnTo>
                    <a:pt x="428558" y="1258599"/>
                  </a:lnTo>
                  <a:lnTo>
                    <a:pt x="418748" y="1254789"/>
                  </a:lnTo>
                  <a:close/>
                  <a:moveTo>
                    <a:pt x="443131" y="20825"/>
                  </a:moveTo>
                  <a:lnTo>
                    <a:pt x="20698" y="177702"/>
                  </a:lnTo>
                  <a:lnTo>
                    <a:pt x="419224" y="1253265"/>
                  </a:lnTo>
                  <a:lnTo>
                    <a:pt x="534667" y="960752"/>
                  </a:lnTo>
                  <a:cubicBezTo>
                    <a:pt x="536762" y="955323"/>
                    <a:pt x="541144" y="951037"/>
                    <a:pt x="546668" y="949036"/>
                  </a:cubicBezTo>
                  <a:cubicBezTo>
                    <a:pt x="552098" y="947036"/>
                    <a:pt x="558194" y="947417"/>
                    <a:pt x="563337" y="950179"/>
                  </a:cubicBezTo>
                  <a:lnTo>
                    <a:pt x="841277" y="1097150"/>
                  </a:lnTo>
                  <a:lnTo>
                    <a:pt x="443131" y="20825"/>
                  </a:lnTo>
                  <a:close/>
                </a:path>
              </a:pathLst>
            </a:custGeom>
            <a:solidFill>
              <a:srgbClr val="FFFFFF"/>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DFE95E71-4B28-4741-AAFD-12E0FCF487CD}"/>
                </a:ext>
              </a:extLst>
            </p:cNvPr>
            <p:cNvSpPr/>
            <p:nvPr/>
          </p:nvSpPr>
          <p:spPr>
            <a:xfrm>
              <a:off x="1028795" y="2745203"/>
              <a:ext cx="1704975" cy="1704975"/>
            </a:xfrm>
            <a:custGeom>
              <a:avLst/>
              <a:gdLst>
                <a:gd name="connsiteX0" fmla="*/ 1707642 w 1704975"/>
                <a:gd name="connsiteY0" fmla="*/ 853821 h 1704975"/>
                <a:gd name="connsiteX1" fmla="*/ 853821 w 1704975"/>
                <a:gd name="connsiteY1" fmla="*/ 1707642 h 1704975"/>
                <a:gd name="connsiteX2" fmla="*/ 0 w 1704975"/>
                <a:gd name="connsiteY2" fmla="*/ 853821 h 1704975"/>
                <a:gd name="connsiteX3" fmla="*/ 853821 w 1704975"/>
                <a:gd name="connsiteY3" fmla="*/ 0 h 1704975"/>
                <a:gd name="connsiteX4" fmla="*/ 1707642 w 1704975"/>
                <a:gd name="connsiteY4" fmla="*/ 853821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75" h="1704975">
                  <a:moveTo>
                    <a:pt x="1707642" y="853821"/>
                  </a:moveTo>
                  <a:cubicBezTo>
                    <a:pt x="1707642" y="1325373"/>
                    <a:pt x="1325373" y="1707642"/>
                    <a:pt x="853821" y="1707642"/>
                  </a:cubicBezTo>
                  <a:cubicBezTo>
                    <a:pt x="382269" y="1707642"/>
                    <a:pt x="0" y="1325373"/>
                    <a:pt x="0" y="853821"/>
                  </a:cubicBezTo>
                  <a:cubicBezTo>
                    <a:pt x="0" y="382269"/>
                    <a:pt x="382269" y="0"/>
                    <a:pt x="853821" y="0"/>
                  </a:cubicBezTo>
                  <a:cubicBezTo>
                    <a:pt x="1325373" y="0"/>
                    <a:pt x="1707642" y="382269"/>
                    <a:pt x="1707642" y="853821"/>
                  </a:cubicBezTo>
                  <a:close/>
                </a:path>
              </a:pathLst>
            </a:custGeom>
            <a:solidFill>
              <a:srgbClr val="FF791E"/>
            </a:solidFill>
            <a:ln w="76200" cap="flat">
              <a:solidFill>
                <a:schemeClr val="accent5"/>
              </a:solidFill>
              <a:prstDash val="solid"/>
              <a:miter/>
            </a:ln>
          </p:spPr>
          <p:txBody>
            <a:bodyPr rtlCol="0" anchor="ctr"/>
            <a:lstStyle/>
            <a:p>
              <a:pPr algn="ctr"/>
              <a:r>
                <a:rPr lang="en-US" sz="2000">
                  <a:solidFill>
                    <a:schemeClr val="accent5"/>
                  </a:solidFill>
                </a:rPr>
                <a:t>Customer </a:t>
              </a:r>
              <a:br>
                <a:rPr lang="en-US" sz="2000">
                  <a:solidFill>
                    <a:schemeClr val="accent5"/>
                  </a:solidFill>
                </a:rPr>
              </a:br>
              <a:r>
                <a:rPr lang="en-US" sz="2000">
                  <a:solidFill>
                    <a:schemeClr val="accent5"/>
                  </a:solidFill>
                </a:rPr>
                <a:t>First</a:t>
              </a:r>
            </a:p>
          </p:txBody>
        </p:sp>
      </p:grpSp>
      <p:graphicFrame>
        <p:nvGraphicFramePr>
          <p:cNvPr id="17"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3864865"/>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cxnSp>
        <p:nvCxnSpPr>
          <p:cNvPr id="21" name="Straight Connector 20">
            <a:extLst>
              <a:ext uri="{FF2B5EF4-FFF2-40B4-BE49-F238E27FC236}">
                <a16:creationId xmlns:a16="http://schemas.microsoft.com/office/drawing/2014/main" id="{240A78A4-DAF5-427E-B072-173A57C61A97}"/>
              </a:ext>
            </a:extLst>
          </p:cNvPr>
          <p:cNvCxnSpPr>
            <a:cxnSpLocks/>
          </p:cNvCxnSpPr>
          <p:nvPr/>
        </p:nvCxnSpPr>
        <p:spPr>
          <a:xfrm>
            <a:off x="3505200" y="3654552"/>
            <a:ext cx="8534400"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2"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1050738"/>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spTree>
    <p:extLst>
      <p:ext uri="{BB962C8B-B14F-4D97-AF65-F5344CB8AC3E}">
        <p14:creationId xmlns:p14="http://schemas.microsoft.com/office/powerpoint/2010/main" val="16596064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778052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a:lstStyle/>
          <a:p>
            <a:r>
              <a:rPr lang="en-US"/>
              <a:t>Recognition</a:t>
            </a:r>
          </a:p>
        </p:txBody>
      </p:sp>
      <p:pic>
        <p:nvPicPr>
          <p:cNvPr id="11" name="Graphic 10">
            <a:extLst>
              <a:ext uri="{FF2B5EF4-FFF2-40B4-BE49-F238E27FC236}">
                <a16:creationId xmlns:a16="http://schemas.microsoft.com/office/drawing/2014/main" id="{3002EE71-622C-4A49-8F24-CDA4BEBACE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6371" y="840184"/>
            <a:ext cx="1257300" cy="2198991"/>
          </a:xfrm>
          <a:prstGeom prst="rect">
            <a:avLst/>
          </a:prstGeom>
        </p:spPr>
      </p:pic>
      <p:grpSp>
        <p:nvGrpSpPr>
          <p:cNvPr id="12" name="Group 11">
            <a:extLst>
              <a:ext uri="{FF2B5EF4-FFF2-40B4-BE49-F238E27FC236}">
                <a16:creationId xmlns:a16="http://schemas.microsoft.com/office/drawing/2014/main" id="{0E2DD02F-6908-4284-8388-C905B080EF04}"/>
              </a:ext>
            </a:extLst>
          </p:cNvPr>
          <p:cNvGrpSpPr/>
          <p:nvPr/>
        </p:nvGrpSpPr>
        <p:grpSpPr>
          <a:xfrm>
            <a:off x="596900" y="1849652"/>
            <a:ext cx="2209822" cy="3004599"/>
            <a:chOff x="990578" y="2762261"/>
            <a:chExt cx="1807708" cy="2457862"/>
          </a:xfrm>
        </p:grpSpPr>
        <p:sp>
          <p:nvSpPr>
            <p:cNvPr id="13" name="Freeform: Shape 12">
              <a:extLst>
                <a:ext uri="{FF2B5EF4-FFF2-40B4-BE49-F238E27FC236}">
                  <a16:creationId xmlns:a16="http://schemas.microsoft.com/office/drawing/2014/main" id="{C2F4C0E9-1622-4D7B-BD32-852E1DB92C8B}"/>
                </a:ext>
              </a:extLst>
            </p:cNvPr>
            <p:cNvSpPr/>
            <p:nvPr/>
          </p:nvSpPr>
          <p:spPr>
            <a:xfrm>
              <a:off x="990578" y="3743653"/>
              <a:ext cx="990600" cy="1476375"/>
            </a:xfrm>
            <a:custGeom>
              <a:avLst/>
              <a:gdLst>
                <a:gd name="connsiteX0" fmla="*/ 484273 w 990600"/>
                <a:gd name="connsiteY0" fmla="*/ 1463104 h 1476375"/>
                <a:gd name="connsiteX1" fmla="*/ 364544 w 990600"/>
                <a:gd name="connsiteY1" fmla="*/ 1159638 h 1476375"/>
                <a:gd name="connsiteX2" fmla="*/ 327491 w 990600"/>
                <a:gd name="connsiteY2" fmla="*/ 1145922 h 1476375"/>
                <a:gd name="connsiteX3" fmla="*/ 38979 w 990600"/>
                <a:gd name="connsiteY3" fmla="*/ 1298322 h 1476375"/>
                <a:gd name="connsiteX4" fmla="*/ 1736 w 990600"/>
                <a:gd name="connsiteY4" fmla="*/ 1265651 h 1476375"/>
                <a:gd name="connsiteX5" fmla="*/ 463604 w 990600"/>
                <a:gd name="connsiteY5" fmla="*/ 17304 h 1476375"/>
                <a:gd name="connsiteX6" fmla="*/ 497703 w 990600"/>
                <a:gd name="connsiteY6" fmla="*/ 1683 h 1476375"/>
                <a:gd name="connsiteX7" fmla="*/ 979954 w 990600"/>
                <a:gd name="connsiteY7" fmla="*/ 180087 h 1476375"/>
                <a:gd name="connsiteX8" fmla="*/ 995575 w 990600"/>
                <a:gd name="connsiteY8" fmla="*/ 214186 h 1476375"/>
                <a:gd name="connsiteX9" fmla="*/ 533708 w 990600"/>
                <a:gd name="connsiteY9" fmla="*/ 1462533 h 1476375"/>
                <a:gd name="connsiteX10" fmla="*/ 484273 w 990600"/>
                <a:gd name="connsiteY10" fmla="*/ 1463104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484273" y="1463104"/>
                  </a:moveTo>
                  <a:lnTo>
                    <a:pt x="364544" y="1159638"/>
                  </a:lnTo>
                  <a:cubicBezTo>
                    <a:pt x="358733" y="1144969"/>
                    <a:pt x="341493" y="1138588"/>
                    <a:pt x="327491" y="1145922"/>
                  </a:cubicBezTo>
                  <a:lnTo>
                    <a:pt x="38979" y="1298322"/>
                  </a:lnTo>
                  <a:cubicBezTo>
                    <a:pt x="17453" y="1309656"/>
                    <a:pt x="-6741" y="1288511"/>
                    <a:pt x="1736" y="1265651"/>
                  </a:cubicBezTo>
                  <a:lnTo>
                    <a:pt x="463604" y="17304"/>
                  </a:lnTo>
                  <a:cubicBezTo>
                    <a:pt x="468652" y="3588"/>
                    <a:pt x="483892" y="-3460"/>
                    <a:pt x="497703" y="1683"/>
                  </a:cubicBezTo>
                  <a:lnTo>
                    <a:pt x="979954" y="180087"/>
                  </a:lnTo>
                  <a:cubicBezTo>
                    <a:pt x="993670" y="185135"/>
                    <a:pt x="1000718" y="200375"/>
                    <a:pt x="995575" y="214186"/>
                  </a:cubicBezTo>
                  <a:lnTo>
                    <a:pt x="533708" y="1462533"/>
                  </a:lnTo>
                  <a:cubicBezTo>
                    <a:pt x="525326" y="1485297"/>
                    <a:pt x="493131" y="1485679"/>
                    <a:pt x="484273" y="1463104"/>
                  </a:cubicBezTo>
                  <a:close/>
                </a:path>
              </a:pathLst>
            </a:custGeom>
            <a:solidFill>
              <a:schemeClr val="accent2"/>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07FCBFAE-0E43-4852-9F78-7B163CA46CC4}"/>
                </a:ext>
              </a:extLst>
            </p:cNvPr>
            <p:cNvSpPr/>
            <p:nvPr/>
          </p:nvSpPr>
          <p:spPr>
            <a:xfrm>
              <a:off x="1057983" y="3845193"/>
              <a:ext cx="857250" cy="1266825"/>
            </a:xfrm>
            <a:custGeom>
              <a:avLst/>
              <a:gdLst>
                <a:gd name="connsiteX0" fmla="*/ 443729 w 857250"/>
                <a:gd name="connsiteY0" fmla="*/ 1275363 h 1266825"/>
                <a:gd name="connsiteX1" fmla="*/ 424679 w 857250"/>
                <a:gd name="connsiteY1" fmla="*/ 1262409 h 1266825"/>
                <a:gd name="connsiteX2" fmla="*/ 308664 w 857250"/>
                <a:gd name="connsiteY2" fmla="*/ 968467 h 1266825"/>
                <a:gd name="connsiteX3" fmla="*/ 30153 w 857250"/>
                <a:gd name="connsiteY3" fmla="*/ 1116486 h 1266825"/>
                <a:gd name="connsiteX4" fmla="*/ 7007 w 857250"/>
                <a:gd name="connsiteY4" fmla="*/ 1113724 h 1266825"/>
                <a:gd name="connsiteX5" fmla="*/ 1292 w 857250"/>
                <a:gd name="connsiteY5" fmla="*/ 1091149 h 1266825"/>
                <a:gd name="connsiteX6" fmla="*/ 400104 w 857250"/>
                <a:gd name="connsiteY6" fmla="*/ 13396 h 1266825"/>
                <a:gd name="connsiteX7" fmla="*/ 410772 w 857250"/>
                <a:gd name="connsiteY7" fmla="*/ 1870 h 1266825"/>
                <a:gd name="connsiteX8" fmla="*/ 426488 w 857250"/>
                <a:gd name="connsiteY8" fmla="*/ 1299 h 1266825"/>
                <a:gd name="connsiteX9" fmla="*/ 849684 w 857250"/>
                <a:gd name="connsiteY9" fmla="*/ 157890 h 1266825"/>
                <a:gd name="connsiteX10" fmla="*/ 861209 w 857250"/>
                <a:gd name="connsiteY10" fmla="*/ 168558 h 1266825"/>
                <a:gd name="connsiteX11" fmla="*/ 861781 w 857250"/>
                <a:gd name="connsiteY11" fmla="*/ 184274 h 1266825"/>
                <a:gd name="connsiteX12" fmla="*/ 462969 w 857250"/>
                <a:gd name="connsiteY12" fmla="*/ 1262028 h 1266825"/>
                <a:gd name="connsiteX13" fmla="*/ 443919 w 857250"/>
                <a:gd name="connsiteY13" fmla="*/ 1275458 h 1266825"/>
                <a:gd name="connsiteX14" fmla="*/ 443729 w 857250"/>
                <a:gd name="connsiteY14" fmla="*/ 1275363 h 1266825"/>
                <a:gd name="connsiteX15" fmla="*/ 444205 w 857250"/>
                <a:gd name="connsiteY15" fmla="*/ 1254694 h 1266825"/>
                <a:gd name="connsiteX16" fmla="*/ 434394 w 857250"/>
                <a:gd name="connsiteY16" fmla="*/ 1258504 h 1266825"/>
                <a:gd name="connsiteX17" fmla="*/ 444205 w 857250"/>
                <a:gd name="connsiteY17" fmla="*/ 1254694 h 1266825"/>
                <a:gd name="connsiteX18" fmla="*/ 444205 w 857250"/>
                <a:gd name="connsiteY18" fmla="*/ 1254694 h 1266825"/>
                <a:gd name="connsiteX19" fmla="*/ 309236 w 857250"/>
                <a:gd name="connsiteY19" fmla="*/ 947703 h 1266825"/>
                <a:gd name="connsiteX20" fmla="*/ 316379 w 857250"/>
                <a:gd name="connsiteY20" fmla="*/ 948941 h 1266825"/>
                <a:gd name="connsiteX21" fmla="*/ 328381 w 857250"/>
                <a:gd name="connsiteY21" fmla="*/ 960657 h 1266825"/>
                <a:gd name="connsiteX22" fmla="*/ 443824 w 857250"/>
                <a:gd name="connsiteY22" fmla="*/ 1253170 h 1266825"/>
                <a:gd name="connsiteX23" fmla="*/ 842064 w 857250"/>
                <a:gd name="connsiteY23" fmla="*/ 176845 h 1266825"/>
                <a:gd name="connsiteX24" fmla="*/ 419249 w 857250"/>
                <a:gd name="connsiteY24" fmla="*/ 21016 h 1266825"/>
                <a:gd name="connsiteX25" fmla="*/ 21676 w 857250"/>
                <a:gd name="connsiteY25" fmla="*/ 1097055 h 1266825"/>
                <a:gd name="connsiteX26" fmla="*/ 299615 w 857250"/>
                <a:gd name="connsiteY26" fmla="*/ 950084 h 1266825"/>
                <a:gd name="connsiteX27" fmla="*/ 309236 w 857250"/>
                <a:gd name="connsiteY27" fmla="*/ 94770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7250" h="1266825">
                  <a:moveTo>
                    <a:pt x="443729" y="1275363"/>
                  </a:moveTo>
                  <a:cubicBezTo>
                    <a:pt x="435251" y="1275363"/>
                    <a:pt x="427727" y="1270315"/>
                    <a:pt x="424679" y="1262409"/>
                  </a:cubicBezTo>
                  <a:lnTo>
                    <a:pt x="308664" y="968467"/>
                  </a:lnTo>
                  <a:lnTo>
                    <a:pt x="30153" y="1116486"/>
                  </a:lnTo>
                  <a:cubicBezTo>
                    <a:pt x="22533" y="1120486"/>
                    <a:pt x="13484" y="1119439"/>
                    <a:pt x="7007" y="1113724"/>
                  </a:cubicBezTo>
                  <a:cubicBezTo>
                    <a:pt x="530" y="1108104"/>
                    <a:pt x="-1660" y="1099246"/>
                    <a:pt x="1292" y="1091149"/>
                  </a:cubicBezTo>
                  <a:lnTo>
                    <a:pt x="400104" y="13396"/>
                  </a:lnTo>
                  <a:cubicBezTo>
                    <a:pt x="402009" y="8252"/>
                    <a:pt x="405819" y="4156"/>
                    <a:pt x="410772" y="1870"/>
                  </a:cubicBezTo>
                  <a:cubicBezTo>
                    <a:pt x="415725" y="-416"/>
                    <a:pt x="421345" y="-606"/>
                    <a:pt x="426488" y="1299"/>
                  </a:cubicBezTo>
                  <a:lnTo>
                    <a:pt x="849684" y="157890"/>
                  </a:lnTo>
                  <a:cubicBezTo>
                    <a:pt x="854828" y="159795"/>
                    <a:pt x="858923" y="163605"/>
                    <a:pt x="861209" y="168558"/>
                  </a:cubicBezTo>
                  <a:cubicBezTo>
                    <a:pt x="863495" y="173511"/>
                    <a:pt x="863686" y="179131"/>
                    <a:pt x="861781" y="184274"/>
                  </a:cubicBezTo>
                  <a:lnTo>
                    <a:pt x="462969" y="1262028"/>
                  </a:lnTo>
                  <a:cubicBezTo>
                    <a:pt x="460016" y="1270124"/>
                    <a:pt x="452492" y="1275363"/>
                    <a:pt x="443919" y="1275458"/>
                  </a:cubicBezTo>
                  <a:cubicBezTo>
                    <a:pt x="443919" y="1275363"/>
                    <a:pt x="443824" y="1275363"/>
                    <a:pt x="443729" y="1275363"/>
                  </a:cubicBezTo>
                  <a:close/>
                  <a:moveTo>
                    <a:pt x="444205" y="1254694"/>
                  </a:moveTo>
                  <a:lnTo>
                    <a:pt x="434394" y="1258504"/>
                  </a:lnTo>
                  <a:lnTo>
                    <a:pt x="444205" y="1254694"/>
                  </a:lnTo>
                  <a:cubicBezTo>
                    <a:pt x="444300" y="1254694"/>
                    <a:pt x="444300" y="1254694"/>
                    <a:pt x="444205" y="1254694"/>
                  </a:cubicBezTo>
                  <a:close/>
                  <a:moveTo>
                    <a:pt x="309236" y="947703"/>
                  </a:moveTo>
                  <a:cubicBezTo>
                    <a:pt x="311617" y="947703"/>
                    <a:pt x="314093" y="948084"/>
                    <a:pt x="316379" y="948941"/>
                  </a:cubicBezTo>
                  <a:cubicBezTo>
                    <a:pt x="321809" y="950941"/>
                    <a:pt x="326190" y="955228"/>
                    <a:pt x="328381" y="960657"/>
                  </a:cubicBezTo>
                  <a:lnTo>
                    <a:pt x="443824" y="1253170"/>
                  </a:lnTo>
                  <a:lnTo>
                    <a:pt x="842064" y="176845"/>
                  </a:lnTo>
                  <a:lnTo>
                    <a:pt x="419249" y="21016"/>
                  </a:lnTo>
                  <a:lnTo>
                    <a:pt x="21676" y="1097055"/>
                  </a:lnTo>
                  <a:lnTo>
                    <a:pt x="299615" y="950084"/>
                  </a:lnTo>
                  <a:cubicBezTo>
                    <a:pt x="302663" y="948560"/>
                    <a:pt x="305902" y="947703"/>
                    <a:pt x="309236" y="947703"/>
                  </a:cubicBezTo>
                  <a:close/>
                </a:path>
              </a:pathLst>
            </a:custGeom>
            <a:solidFill>
              <a:srgbClr val="FFFFFF"/>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C0E41902-35B9-462A-9EC2-923BFCE383DC}"/>
                </a:ext>
              </a:extLst>
            </p:cNvPr>
            <p:cNvSpPr/>
            <p:nvPr/>
          </p:nvSpPr>
          <p:spPr>
            <a:xfrm>
              <a:off x="1807686" y="3743748"/>
              <a:ext cx="990600" cy="1476375"/>
            </a:xfrm>
            <a:custGeom>
              <a:avLst/>
              <a:gdLst>
                <a:gd name="connsiteX0" fmla="*/ 513081 w 990600"/>
                <a:gd name="connsiteY0" fmla="*/ 1463009 h 1476375"/>
                <a:gd name="connsiteX1" fmla="*/ 632810 w 990600"/>
                <a:gd name="connsiteY1" fmla="*/ 1159542 h 1476375"/>
                <a:gd name="connsiteX2" fmla="*/ 669862 w 990600"/>
                <a:gd name="connsiteY2" fmla="*/ 1145826 h 1476375"/>
                <a:gd name="connsiteX3" fmla="*/ 958279 w 990600"/>
                <a:gd name="connsiteY3" fmla="*/ 1298322 h 1476375"/>
                <a:gd name="connsiteX4" fmla="*/ 995522 w 990600"/>
                <a:gd name="connsiteY4" fmla="*/ 1265651 h 1476375"/>
                <a:gd name="connsiteX5" fmla="*/ 533655 w 990600"/>
                <a:gd name="connsiteY5" fmla="*/ 17304 h 1476375"/>
                <a:gd name="connsiteX6" fmla="*/ 499555 w 990600"/>
                <a:gd name="connsiteY6" fmla="*/ 1683 h 1476375"/>
                <a:gd name="connsiteX7" fmla="*/ 17304 w 990600"/>
                <a:gd name="connsiteY7" fmla="*/ 180087 h 1476375"/>
                <a:gd name="connsiteX8" fmla="*/ 1683 w 990600"/>
                <a:gd name="connsiteY8" fmla="*/ 214186 h 1476375"/>
                <a:gd name="connsiteX9" fmla="*/ 463551 w 990600"/>
                <a:gd name="connsiteY9" fmla="*/ 1462533 h 1476375"/>
                <a:gd name="connsiteX10" fmla="*/ 513081 w 990600"/>
                <a:gd name="connsiteY10" fmla="*/ 1463009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513081" y="1463009"/>
                  </a:moveTo>
                  <a:lnTo>
                    <a:pt x="632810" y="1159542"/>
                  </a:lnTo>
                  <a:cubicBezTo>
                    <a:pt x="638620" y="1144874"/>
                    <a:pt x="655860" y="1138492"/>
                    <a:pt x="669862" y="1145826"/>
                  </a:cubicBezTo>
                  <a:lnTo>
                    <a:pt x="958279" y="1298322"/>
                  </a:lnTo>
                  <a:cubicBezTo>
                    <a:pt x="979806" y="1309656"/>
                    <a:pt x="1003999" y="1288511"/>
                    <a:pt x="995522" y="1265651"/>
                  </a:cubicBezTo>
                  <a:lnTo>
                    <a:pt x="533655" y="17304"/>
                  </a:lnTo>
                  <a:cubicBezTo>
                    <a:pt x="528606" y="3588"/>
                    <a:pt x="513366" y="-3460"/>
                    <a:pt x="499555" y="1683"/>
                  </a:cubicBezTo>
                  <a:lnTo>
                    <a:pt x="17304" y="180087"/>
                  </a:lnTo>
                  <a:cubicBezTo>
                    <a:pt x="3588" y="185135"/>
                    <a:pt x="-3460" y="200375"/>
                    <a:pt x="1683" y="214186"/>
                  </a:cubicBezTo>
                  <a:lnTo>
                    <a:pt x="463551" y="1462533"/>
                  </a:lnTo>
                  <a:cubicBezTo>
                    <a:pt x="472028" y="1485202"/>
                    <a:pt x="504127" y="1485583"/>
                    <a:pt x="513081" y="1463009"/>
                  </a:cubicBezTo>
                  <a:close/>
                </a:path>
              </a:pathLst>
            </a:custGeom>
            <a:solidFill>
              <a:schemeClr val="accent2"/>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2249A0D0-B7CB-4E10-8949-86CD2D7C5FFC}"/>
                </a:ext>
              </a:extLst>
            </p:cNvPr>
            <p:cNvSpPr/>
            <p:nvPr/>
          </p:nvSpPr>
          <p:spPr>
            <a:xfrm>
              <a:off x="1874587" y="3845098"/>
              <a:ext cx="857250" cy="1266825"/>
            </a:xfrm>
            <a:custGeom>
              <a:avLst/>
              <a:gdLst>
                <a:gd name="connsiteX0" fmla="*/ 419319 w 857250"/>
                <a:gd name="connsiteY0" fmla="*/ 1275458 h 1266825"/>
                <a:gd name="connsiteX1" fmla="*/ 419128 w 857250"/>
                <a:gd name="connsiteY1" fmla="*/ 1275458 h 1266825"/>
                <a:gd name="connsiteX2" fmla="*/ 400078 w 857250"/>
                <a:gd name="connsiteY2" fmla="*/ 1262028 h 1266825"/>
                <a:gd name="connsiteX3" fmla="*/ 1267 w 857250"/>
                <a:gd name="connsiteY3" fmla="*/ 184274 h 1266825"/>
                <a:gd name="connsiteX4" fmla="*/ 13363 w 857250"/>
                <a:gd name="connsiteY4" fmla="*/ 157890 h 1266825"/>
                <a:gd name="connsiteX5" fmla="*/ 436559 w 857250"/>
                <a:gd name="connsiteY5" fmla="*/ 1299 h 1266825"/>
                <a:gd name="connsiteX6" fmla="*/ 452275 w 857250"/>
                <a:gd name="connsiteY6" fmla="*/ 1870 h 1266825"/>
                <a:gd name="connsiteX7" fmla="*/ 462944 w 857250"/>
                <a:gd name="connsiteY7" fmla="*/ 13396 h 1266825"/>
                <a:gd name="connsiteX8" fmla="*/ 861660 w 857250"/>
                <a:gd name="connsiteY8" fmla="*/ 1091149 h 1266825"/>
                <a:gd name="connsiteX9" fmla="*/ 855945 w 857250"/>
                <a:gd name="connsiteY9" fmla="*/ 1113724 h 1266825"/>
                <a:gd name="connsiteX10" fmla="*/ 832799 w 857250"/>
                <a:gd name="connsiteY10" fmla="*/ 1116486 h 1266825"/>
                <a:gd name="connsiteX11" fmla="*/ 553431 w 857250"/>
                <a:gd name="connsiteY11" fmla="*/ 968848 h 1266825"/>
                <a:gd name="connsiteX12" fmla="*/ 438274 w 857250"/>
                <a:gd name="connsiteY12" fmla="*/ 1262504 h 1266825"/>
                <a:gd name="connsiteX13" fmla="*/ 419319 w 857250"/>
                <a:gd name="connsiteY13" fmla="*/ 1275458 h 1266825"/>
                <a:gd name="connsiteX14" fmla="*/ 418748 w 857250"/>
                <a:gd name="connsiteY14" fmla="*/ 1254789 h 1266825"/>
                <a:gd name="connsiteX15" fmla="*/ 418748 w 857250"/>
                <a:gd name="connsiteY15" fmla="*/ 1254789 h 1266825"/>
                <a:gd name="connsiteX16" fmla="*/ 428558 w 857250"/>
                <a:gd name="connsiteY16" fmla="*/ 1258599 h 1266825"/>
                <a:gd name="connsiteX17" fmla="*/ 418748 w 857250"/>
                <a:gd name="connsiteY17" fmla="*/ 1254789 h 1266825"/>
                <a:gd name="connsiteX18" fmla="*/ 443131 w 857250"/>
                <a:gd name="connsiteY18" fmla="*/ 20825 h 1266825"/>
                <a:gd name="connsiteX19" fmla="*/ 20698 w 857250"/>
                <a:gd name="connsiteY19" fmla="*/ 177702 h 1266825"/>
                <a:gd name="connsiteX20" fmla="*/ 419224 w 857250"/>
                <a:gd name="connsiteY20" fmla="*/ 1253265 h 1266825"/>
                <a:gd name="connsiteX21" fmla="*/ 534667 w 857250"/>
                <a:gd name="connsiteY21" fmla="*/ 960752 h 1266825"/>
                <a:gd name="connsiteX22" fmla="*/ 546668 w 857250"/>
                <a:gd name="connsiteY22" fmla="*/ 949036 h 1266825"/>
                <a:gd name="connsiteX23" fmla="*/ 563337 w 857250"/>
                <a:gd name="connsiteY23" fmla="*/ 950179 h 1266825"/>
                <a:gd name="connsiteX24" fmla="*/ 841277 w 857250"/>
                <a:gd name="connsiteY24" fmla="*/ 1097150 h 1266825"/>
                <a:gd name="connsiteX25" fmla="*/ 443131 w 857250"/>
                <a:gd name="connsiteY25" fmla="*/ 20825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250" h="1266825">
                  <a:moveTo>
                    <a:pt x="419319" y="1275458"/>
                  </a:moveTo>
                  <a:cubicBezTo>
                    <a:pt x="419224" y="1275458"/>
                    <a:pt x="419128" y="1275458"/>
                    <a:pt x="419128" y="1275458"/>
                  </a:cubicBezTo>
                  <a:cubicBezTo>
                    <a:pt x="410556" y="1275363"/>
                    <a:pt x="403031" y="1270124"/>
                    <a:pt x="400078" y="1262028"/>
                  </a:cubicBezTo>
                  <a:lnTo>
                    <a:pt x="1267" y="184274"/>
                  </a:lnTo>
                  <a:cubicBezTo>
                    <a:pt x="-2639" y="173701"/>
                    <a:pt x="2791" y="161795"/>
                    <a:pt x="13363" y="157890"/>
                  </a:cubicBezTo>
                  <a:lnTo>
                    <a:pt x="436559" y="1299"/>
                  </a:lnTo>
                  <a:cubicBezTo>
                    <a:pt x="441703" y="-606"/>
                    <a:pt x="447323" y="-416"/>
                    <a:pt x="452275" y="1870"/>
                  </a:cubicBezTo>
                  <a:cubicBezTo>
                    <a:pt x="457228" y="4156"/>
                    <a:pt x="461039" y="8252"/>
                    <a:pt x="462944" y="13396"/>
                  </a:cubicBezTo>
                  <a:lnTo>
                    <a:pt x="861660" y="1091149"/>
                  </a:lnTo>
                  <a:cubicBezTo>
                    <a:pt x="864613" y="1099150"/>
                    <a:pt x="862422" y="1108009"/>
                    <a:pt x="855945" y="1113724"/>
                  </a:cubicBezTo>
                  <a:cubicBezTo>
                    <a:pt x="849468" y="1119343"/>
                    <a:pt x="840419" y="1120391"/>
                    <a:pt x="832799" y="1116486"/>
                  </a:cubicBezTo>
                  <a:lnTo>
                    <a:pt x="553431" y="968848"/>
                  </a:lnTo>
                  <a:lnTo>
                    <a:pt x="438274" y="1262504"/>
                  </a:lnTo>
                  <a:cubicBezTo>
                    <a:pt x="435226" y="1270410"/>
                    <a:pt x="427796" y="1275458"/>
                    <a:pt x="419319" y="1275458"/>
                  </a:cubicBezTo>
                  <a:close/>
                  <a:moveTo>
                    <a:pt x="418748" y="1254789"/>
                  </a:moveTo>
                  <a:cubicBezTo>
                    <a:pt x="418748" y="1254789"/>
                    <a:pt x="418748" y="1254789"/>
                    <a:pt x="418748" y="1254789"/>
                  </a:cubicBezTo>
                  <a:lnTo>
                    <a:pt x="428558" y="1258599"/>
                  </a:lnTo>
                  <a:lnTo>
                    <a:pt x="418748" y="1254789"/>
                  </a:lnTo>
                  <a:close/>
                  <a:moveTo>
                    <a:pt x="443131" y="20825"/>
                  </a:moveTo>
                  <a:lnTo>
                    <a:pt x="20698" y="177702"/>
                  </a:lnTo>
                  <a:lnTo>
                    <a:pt x="419224" y="1253265"/>
                  </a:lnTo>
                  <a:lnTo>
                    <a:pt x="534667" y="960752"/>
                  </a:lnTo>
                  <a:cubicBezTo>
                    <a:pt x="536762" y="955323"/>
                    <a:pt x="541144" y="951037"/>
                    <a:pt x="546668" y="949036"/>
                  </a:cubicBezTo>
                  <a:cubicBezTo>
                    <a:pt x="552098" y="947036"/>
                    <a:pt x="558194" y="947417"/>
                    <a:pt x="563337" y="950179"/>
                  </a:cubicBezTo>
                  <a:lnTo>
                    <a:pt x="841277" y="1097150"/>
                  </a:lnTo>
                  <a:lnTo>
                    <a:pt x="443131" y="20825"/>
                  </a:lnTo>
                  <a:close/>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A7D49DE-04B8-4251-9083-1364DE74A555}"/>
                </a:ext>
              </a:extLst>
            </p:cNvPr>
            <p:cNvSpPr/>
            <p:nvPr/>
          </p:nvSpPr>
          <p:spPr>
            <a:xfrm>
              <a:off x="1028795" y="2762261"/>
              <a:ext cx="1704975" cy="1704975"/>
            </a:xfrm>
            <a:custGeom>
              <a:avLst/>
              <a:gdLst>
                <a:gd name="connsiteX0" fmla="*/ 1707642 w 1704975"/>
                <a:gd name="connsiteY0" fmla="*/ 853821 h 1704975"/>
                <a:gd name="connsiteX1" fmla="*/ 853821 w 1704975"/>
                <a:gd name="connsiteY1" fmla="*/ 1707642 h 1704975"/>
                <a:gd name="connsiteX2" fmla="*/ 0 w 1704975"/>
                <a:gd name="connsiteY2" fmla="*/ 853821 h 1704975"/>
                <a:gd name="connsiteX3" fmla="*/ 853821 w 1704975"/>
                <a:gd name="connsiteY3" fmla="*/ 0 h 1704975"/>
                <a:gd name="connsiteX4" fmla="*/ 1707642 w 1704975"/>
                <a:gd name="connsiteY4" fmla="*/ 853821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75" h="1704975">
                  <a:moveTo>
                    <a:pt x="1707642" y="853821"/>
                  </a:moveTo>
                  <a:cubicBezTo>
                    <a:pt x="1707642" y="1325373"/>
                    <a:pt x="1325373" y="1707642"/>
                    <a:pt x="853821" y="1707642"/>
                  </a:cubicBezTo>
                  <a:cubicBezTo>
                    <a:pt x="382269" y="1707642"/>
                    <a:pt x="0" y="1325373"/>
                    <a:pt x="0" y="853821"/>
                  </a:cubicBezTo>
                  <a:cubicBezTo>
                    <a:pt x="0" y="382269"/>
                    <a:pt x="382269" y="0"/>
                    <a:pt x="853821" y="0"/>
                  </a:cubicBezTo>
                  <a:cubicBezTo>
                    <a:pt x="1325373" y="0"/>
                    <a:pt x="1707642" y="382269"/>
                    <a:pt x="1707642" y="853821"/>
                  </a:cubicBezTo>
                  <a:close/>
                </a:path>
              </a:pathLst>
            </a:custGeom>
            <a:solidFill>
              <a:schemeClr val="accent2"/>
            </a:solidFill>
            <a:ln w="76200" cap="flat">
              <a:solidFill>
                <a:schemeClr val="accent5"/>
              </a:solidFill>
              <a:prstDash val="solid"/>
              <a:miter/>
            </a:ln>
          </p:spPr>
          <p:txBody>
            <a:bodyPr rtlCol="0" anchor="ctr"/>
            <a:lstStyle/>
            <a:p>
              <a:pPr algn="ctr"/>
              <a:r>
                <a:rPr lang="en-US" sz="2000">
                  <a:solidFill>
                    <a:schemeClr val="accent5"/>
                  </a:solidFill>
                </a:rPr>
                <a:t>Accountability </a:t>
              </a:r>
              <a:br>
                <a:rPr lang="en-US" sz="2000">
                  <a:solidFill>
                    <a:schemeClr val="accent5"/>
                  </a:solidFill>
                </a:rPr>
              </a:br>
              <a:r>
                <a:rPr lang="en-US" sz="2000">
                  <a:solidFill>
                    <a:schemeClr val="accent5"/>
                  </a:solidFill>
                </a:rPr>
                <a:t>for </a:t>
              </a:r>
              <a:br>
                <a:rPr lang="en-US" sz="2000">
                  <a:solidFill>
                    <a:schemeClr val="accent5"/>
                  </a:solidFill>
                </a:rPr>
              </a:br>
              <a:r>
                <a:rPr lang="en-US" sz="2000">
                  <a:solidFill>
                    <a:schemeClr val="accent5"/>
                  </a:solidFill>
                </a:rPr>
                <a:t>Performance</a:t>
              </a:r>
            </a:p>
          </p:txBody>
        </p:sp>
      </p:grpSp>
      <p:graphicFrame>
        <p:nvGraphicFramePr>
          <p:cNvPr id="17"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3864865"/>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cxnSp>
        <p:nvCxnSpPr>
          <p:cNvPr id="20" name="Straight Connector 19">
            <a:extLst>
              <a:ext uri="{FF2B5EF4-FFF2-40B4-BE49-F238E27FC236}">
                <a16:creationId xmlns:a16="http://schemas.microsoft.com/office/drawing/2014/main" id="{240A78A4-DAF5-427E-B072-173A57C61A97}"/>
              </a:ext>
            </a:extLst>
          </p:cNvPr>
          <p:cNvCxnSpPr>
            <a:cxnSpLocks/>
          </p:cNvCxnSpPr>
          <p:nvPr/>
        </p:nvCxnSpPr>
        <p:spPr>
          <a:xfrm>
            <a:off x="3505200" y="3654552"/>
            <a:ext cx="8534400"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1"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1050738"/>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spTree>
    <p:extLst>
      <p:ext uri="{BB962C8B-B14F-4D97-AF65-F5344CB8AC3E}">
        <p14:creationId xmlns:p14="http://schemas.microsoft.com/office/powerpoint/2010/main" val="30704770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846226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a:lstStyle/>
          <a:p>
            <a:r>
              <a:rPr lang="en-US"/>
              <a:t>Recognition</a:t>
            </a:r>
          </a:p>
        </p:txBody>
      </p:sp>
      <p:pic>
        <p:nvPicPr>
          <p:cNvPr id="11" name="Graphic 10">
            <a:extLst>
              <a:ext uri="{FF2B5EF4-FFF2-40B4-BE49-F238E27FC236}">
                <a16:creationId xmlns:a16="http://schemas.microsoft.com/office/drawing/2014/main" id="{A074CD85-E26A-41A3-8200-2F380626C0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6371" y="840184"/>
            <a:ext cx="1257300" cy="2198991"/>
          </a:xfrm>
          <a:prstGeom prst="rect">
            <a:avLst/>
          </a:prstGeom>
        </p:spPr>
      </p:pic>
      <p:grpSp>
        <p:nvGrpSpPr>
          <p:cNvPr id="12" name="Group 11">
            <a:extLst>
              <a:ext uri="{FF2B5EF4-FFF2-40B4-BE49-F238E27FC236}">
                <a16:creationId xmlns:a16="http://schemas.microsoft.com/office/drawing/2014/main" id="{B6F6D51B-DA0E-4A43-A72E-025A5CFA69E1}"/>
              </a:ext>
            </a:extLst>
          </p:cNvPr>
          <p:cNvGrpSpPr/>
          <p:nvPr/>
        </p:nvGrpSpPr>
        <p:grpSpPr>
          <a:xfrm>
            <a:off x="596900" y="1849652"/>
            <a:ext cx="2209822" cy="3004599"/>
            <a:chOff x="990578" y="2762261"/>
            <a:chExt cx="1807708" cy="2457862"/>
          </a:xfrm>
        </p:grpSpPr>
        <p:sp>
          <p:nvSpPr>
            <p:cNvPr id="13" name="Freeform: Shape 12">
              <a:extLst>
                <a:ext uri="{FF2B5EF4-FFF2-40B4-BE49-F238E27FC236}">
                  <a16:creationId xmlns:a16="http://schemas.microsoft.com/office/drawing/2014/main" id="{9FA945B0-5B99-42D2-9C2E-DB4D3B5094E2}"/>
                </a:ext>
              </a:extLst>
            </p:cNvPr>
            <p:cNvSpPr/>
            <p:nvPr/>
          </p:nvSpPr>
          <p:spPr>
            <a:xfrm>
              <a:off x="990578" y="3743653"/>
              <a:ext cx="990600" cy="1476375"/>
            </a:xfrm>
            <a:custGeom>
              <a:avLst/>
              <a:gdLst>
                <a:gd name="connsiteX0" fmla="*/ 484273 w 990600"/>
                <a:gd name="connsiteY0" fmla="*/ 1463104 h 1476375"/>
                <a:gd name="connsiteX1" fmla="*/ 364544 w 990600"/>
                <a:gd name="connsiteY1" fmla="*/ 1159638 h 1476375"/>
                <a:gd name="connsiteX2" fmla="*/ 327491 w 990600"/>
                <a:gd name="connsiteY2" fmla="*/ 1145922 h 1476375"/>
                <a:gd name="connsiteX3" fmla="*/ 38979 w 990600"/>
                <a:gd name="connsiteY3" fmla="*/ 1298322 h 1476375"/>
                <a:gd name="connsiteX4" fmla="*/ 1736 w 990600"/>
                <a:gd name="connsiteY4" fmla="*/ 1265651 h 1476375"/>
                <a:gd name="connsiteX5" fmla="*/ 463604 w 990600"/>
                <a:gd name="connsiteY5" fmla="*/ 17304 h 1476375"/>
                <a:gd name="connsiteX6" fmla="*/ 497703 w 990600"/>
                <a:gd name="connsiteY6" fmla="*/ 1683 h 1476375"/>
                <a:gd name="connsiteX7" fmla="*/ 979954 w 990600"/>
                <a:gd name="connsiteY7" fmla="*/ 180087 h 1476375"/>
                <a:gd name="connsiteX8" fmla="*/ 995575 w 990600"/>
                <a:gd name="connsiteY8" fmla="*/ 214186 h 1476375"/>
                <a:gd name="connsiteX9" fmla="*/ 533708 w 990600"/>
                <a:gd name="connsiteY9" fmla="*/ 1462533 h 1476375"/>
                <a:gd name="connsiteX10" fmla="*/ 484273 w 990600"/>
                <a:gd name="connsiteY10" fmla="*/ 1463104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484273" y="1463104"/>
                  </a:moveTo>
                  <a:lnTo>
                    <a:pt x="364544" y="1159638"/>
                  </a:lnTo>
                  <a:cubicBezTo>
                    <a:pt x="358733" y="1144969"/>
                    <a:pt x="341493" y="1138588"/>
                    <a:pt x="327491" y="1145922"/>
                  </a:cubicBezTo>
                  <a:lnTo>
                    <a:pt x="38979" y="1298322"/>
                  </a:lnTo>
                  <a:cubicBezTo>
                    <a:pt x="17453" y="1309656"/>
                    <a:pt x="-6741" y="1288511"/>
                    <a:pt x="1736" y="1265651"/>
                  </a:cubicBezTo>
                  <a:lnTo>
                    <a:pt x="463604" y="17304"/>
                  </a:lnTo>
                  <a:cubicBezTo>
                    <a:pt x="468652" y="3588"/>
                    <a:pt x="483892" y="-3460"/>
                    <a:pt x="497703" y="1683"/>
                  </a:cubicBezTo>
                  <a:lnTo>
                    <a:pt x="979954" y="180087"/>
                  </a:lnTo>
                  <a:cubicBezTo>
                    <a:pt x="993670" y="185135"/>
                    <a:pt x="1000718" y="200375"/>
                    <a:pt x="995575" y="214186"/>
                  </a:cubicBezTo>
                  <a:lnTo>
                    <a:pt x="533708" y="1462533"/>
                  </a:lnTo>
                  <a:cubicBezTo>
                    <a:pt x="525326" y="1485297"/>
                    <a:pt x="493131" y="1485679"/>
                    <a:pt x="484273" y="1463104"/>
                  </a:cubicBezTo>
                  <a:close/>
                </a:path>
              </a:pathLst>
            </a:custGeom>
            <a:solidFill>
              <a:srgbClr val="C00000"/>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423C4630-EB1E-4639-B93C-6DC78E408FD5}"/>
                </a:ext>
              </a:extLst>
            </p:cNvPr>
            <p:cNvSpPr/>
            <p:nvPr/>
          </p:nvSpPr>
          <p:spPr>
            <a:xfrm>
              <a:off x="1057983" y="3845193"/>
              <a:ext cx="857250" cy="1266825"/>
            </a:xfrm>
            <a:custGeom>
              <a:avLst/>
              <a:gdLst>
                <a:gd name="connsiteX0" fmla="*/ 443729 w 857250"/>
                <a:gd name="connsiteY0" fmla="*/ 1275363 h 1266825"/>
                <a:gd name="connsiteX1" fmla="*/ 424679 w 857250"/>
                <a:gd name="connsiteY1" fmla="*/ 1262409 h 1266825"/>
                <a:gd name="connsiteX2" fmla="*/ 308664 w 857250"/>
                <a:gd name="connsiteY2" fmla="*/ 968467 h 1266825"/>
                <a:gd name="connsiteX3" fmla="*/ 30153 w 857250"/>
                <a:gd name="connsiteY3" fmla="*/ 1116486 h 1266825"/>
                <a:gd name="connsiteX4" fmla="*/ 7007 w 857250"/>
                <a:gd name="connsiteY4" fmla="*/ 1113724 h 1266825"/>
                <a:gd name="connsiteX5" fmla="*/ 1292 w 857250"/>
                <a:gd name="connsiteY5" fmla="*/ 1091149 h 1266825"/>
                <a:gd name="connsiteX6" fmla="*/ 400104 w 857250"/>
                <a:gd name="connsiteY6" fmla="*/ 13396 h 1266825"/>
                <a:gd name="connsiteX7" fmla="*/ 410772 w 857250"/>
                <a:gd name="connsiteY7" fmla="*/ 1870 h 1266825"/>
                <a:gd name="connsiteX8" fmla="*/ 426488 w 857250"/>
                <a:gd name="connsiteY8" fmla="*/ 1299 h 1266825"/>
                <a:gd name="connsiteX9" fmla="*/ 849684 w 857250"/>
                <a:gd name="connsiteY9" fmla="*/ 157890 h 1266825"/>
                <a:gd name="connsiteX10" fmla="*/ 861209 w 857250"/>
                <a:gd name="connsiteY10" fmla="*/ 168558 h 1266825"/>
                <a:gd name="connsiteX11" fmla="*/ 861781 w 857250"/>
                <a:gd name="connsiteY11" fmla="*/ 184274 h 1266825"/>
                <a:gd name="connsiteX12" fmla="*/ 462969 w 857250"/>
                <a:gd name="connsiteY12" fmla="*/ 1262028 h 1266825"/>
                <a:gd name="connsiteX13" fmla="*/ 443919 w 857250"/>
                <a:gd name="connsiteY13" fmla="*/ 1275458 h 1266825"/>
                <a:gd name="connsiteX14" fmla="*/ 443729 w 857250"/>
                <a:gd name="connsiteY14" fmla="*/ 1275363 h 1266825"/>
                <a:gd name="connsiteX15" fmla="*/ 444205 w 857250"/>
                <a:gd name="connsiteY15" fmla="*/ 1254694 h 1266825"/>
                <a:gd name="connsiteX16" fmla="*/ 434394 w 857250"/>
                <a:gd name="connsiteY16" fmla="*/ 1258504 h 1266825"/>
                <a:gd name="connsiteX17" fmla="*/ 444205 w 857250"/>
                <a:gd name="connsiteY17" fmla="*/ 1254694 h 1266825"/>
                <a:gd name="connsiteX18" fmla="*/ 444205 w 857250"/>
                <a:gd name="connsiteY18" fmla="*/ 1254694 h 1266825"/>
                <a:gd name="connsiteX19" fmla="*/ 309236 w 857250"/>
                <a:gd name="connsiteY19" fmla="*/ 947703 h 1266825"/>
                <a:gd name="connsiteX20" fmla="*/ 316379 w 857250"/>
                <a:gd name="connsiteY20" fmla="*/ 948941 h 1266825"/>
                <a:gd name="connsiteX21" fmla="*/ 328381 w 857250"/>
                <a:gd name="connsiteY21" fmla="*/ 960657 h 1266825"/>
                <a:gd name="connsiteX22" fmla="*/ 443824 w 857250"/>
                <a:gd name="connsiteY22" fmla="*/ 1253170 h 1266825"/>
                <a:gd name="connsiteX23" fmla="*/ 842064 w 857250"/>
                <a:gd name="connsiteY23" fmla="*/ 176845 h 1266825"/>
                <a:gd name="connsiteX24" fmla="*/ 419249 w 857250"/>
                <a:gd name="connsiteY24" fmla="*/ 21016 h 1266825"/>
                <a:gd name="connsiteX25" fmla="*/ 21676 w 857250"/>
                <a:gd name="connsiteY25" fmla="*/ 1097055 h 1266825"/>
                <a:gd name="connsiteX26" fmla="*/ 299615 w 857250"/>
                <a:gd name="connsiteY26" fmla="*/ 950084 h 1266825"/>
                <a:gd name="connsiteX27" fmla="*/ 309236 w 857250"/>
                <a:gd name="connsiteY27" fmla="*/ 94770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7250" h="1266825">
                  <a:moveTo>
                    <a:pt x="443729" y="1275363"/>
                  </a:moveTo>
                  <a:cubicBezTo>
                    <a:pt x="435251" y="1275363"/>
                    <a:pt x="427727" y="1270315"/>
                    <a:pt x="424679" y="1262409"/>
                  </a:cubicBezTo>
                  <a:lnTo>
                    <a:pt x="308664" y="968467"/>
                  </a:lnTo>
                  <a:lnTo>
                    <a:pt x="30153" y="1116486"/>
                  </a:lnTo>
                  <a:cubicBezTo>
                    <a:pt x="22533" y="1120486"/>
                    <a:pt x="13484" y="1119439"/>
                    <a:pt x="7007" y="1113724"/>
                  </a:cubicBezTo>
                  <a:cubicBezTo>
                    <a:pt x="530" y="1108104"/>
                    <a:pt x="-1660" y="1099246"/>
                    <a:pt x="1292" y="1091149"/>
                  </a:cubicBezTo>
                  <a:lnTo>
                    <a:pt x="400104" y="13396"/>
                  </a:lnTo>
                  <a:cubicBezTo>
                    <a:pt x="402009" y="8252"/>
                    <a:pt x="405819" y="4156"/>
                    <a:pt x="410772" y="1870"/>
                  </a:cubicBezTo>
                  <a:cubicBezTo>
                    <a:pt x="415725" y="-416"/>
                    <a:pt x="421345" y="-606"/>
                    <a:pt x="426488" y="1299"/>
                  </a:cubicBezTo>
                  <a:lnTo>
                    <a:pt x="849684" y="157890"/>
                  </a:lnTo>
                  <a:cubicBezTo>
                    <a:pt x="854828" y="159795"/>
                    <a:pt x="858923" y="163605"/>
                    <a:pt x="861209" y="168558"/>
                  </a:cubicBezTo>
                  <a:cubicBezTo>
                    <a:pt x="863495" y="173511"/>
                    <a:pt x="863686" y="179131"/>
                    <a:pt x="861781" y="184274"/>
                  </a:cubicBezTo>
                  <a:lnTo>
                    <a:pt x="462969" y="1262028"/>
                  </a:lnTo>
                  <a:cubicBezTo>
                    <a:pt x="460016" y="1270124"/>
                    <a:pt x="452492" y="1275363"/>
                    <a:pt x="443919" y="1275458"/>
                  </a:cubicBezTo>
                  <a:cubicBezTo>
                    <a:pt x="443919" y="1275363"/>
                    <a:pt x="443824" y="1275363"/>
                    <a:pt x="443729" y="1275363"/>
                  </a:cubicBezTo>
                  <a:close/>
                  <a:moveTo>
                    <a:pt x="444205" y="1254694"/>
                  </a:moveTo>
                  <a:lnTo>
                    <a:pt x="434394" y="1258504"/>
                  </a:lnTo>
                  <a:lnTo>
                    <a:pt x="444205" y="1254694"/>
                  </a:lnTo>
                  <a:cubicBezTo>
                    <a:pt x="444300" y="1254694"/>
                    <a:pt x="444300" y="1254694"/>
                    <a:pt x="444205" y="1254694"/>
                  </a:cubicBezTo>
                  <a:close/>
                  <a:moveTo>
                    <a:pt x="309236" y="947703"/>
                  </a:moveTo>
                  <a:cubicBezTo>
                    <a:pt x="311617" y="947703"/>
                    <a:pt x="314093" y="948084"/>
                    <a:pt x="316379" y="948941"/>
                  </a:cubicBezTo>
                  <a:cubicBezTo>
                    <a:pt x="321809" y="950941"/>
                    <a:pt x="326190" y="955228"/>
                    <a:pt x="328381" y="960657"/>
                  </a:cubicBezTo>
                  <a:lnTo>
                    <a:pt x="443824" y="1253170"/>
                  </a:lnTo>
                  <a:lnTo>
                    <a:pt x="842064" y="176845"/>
                  </a:lnTo>
                  <a:lnTo>
                    <a:pt x="419249" y="21016"/>
                  </a:lnTo>
                  <a:lnTo>
                    <a:pt x="21676" y="1097055"/>
                  </a:lnTo>
                  <a:lnTo>
                    <a:pt x="299615" y="950084"/>
                  </a:lnTo>
                  <a:cubicBezTo>
                    <a:pt x="302663" y="948560"/>
                    <a:pt x="305902" y="947703"/>
                    <a:pt x="309236" y="947703"/>
                  </a:cubicBezTo>
                  <a:close/>
                </a:path>
              </a:pathLst>
            </a:custGeom>
            <a:solidFill>
              <a:srgbClr val="FFFFFF"/>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D80187E6-9959-4800-8FD9-C50ECC473D18}"/>
                </a:ext>
              </a:extLst>
            </p:cNvPr>
            <p:cNvSpPr/>
            <p:nvPr/>
          </p:nvSpPr>
          <p:spPr>
            <a:xfrm>
              <a:off x="1807686" y="3743748"/>
              <a:ext cx="990600" cy="1476375"/>
            </a:xfrm>
            <a:custGeom>
              <a:avLst/>
              <a:gdLst>
                <a:gd name="connsiteX0" fmla="*/ 513081 w 990600"/>
                <a:gd name="connsiteY0" fmla="*/ 1463009 h 1476375"/>
                <a:gd name="connsiteX1" fmla="*/ 632810 w 990600"/>
                <a:gd name="connsiteY1" fmla="*/ 1159542 h 1476375"/>
                <a:gd name="connsiteX2" fmla="*/ 669862 w 990600"/>
                <a:gd name="connsiteY2" fmla="*/ 1145826 h 1476375"/>
                <a:gd name="connsiteX3" fmla="*/ 958279 w 990600"/>
                <a:gd name="connsiteY3" fmla="*/ 1298322 h 1476375"/>
                <a:gd name="connsiteX4" fmla="*/ 995522 w 990600"/>
                <a:gd name="connsiteY4" fmla="*/ 1265651 h 1476375"/>
                <a:gd name="connsiteX5" fmla="*/ 533655 w 990600"/>
                <a:gd name="connsiteY5" fmla="*/ 17304 h 1476375"/>
                <a:gd name="connsiteX6" fmla="*/ 499555 w 990600"/>
                <a:gd name="connsiteY6" fmla="*/ 1683 h 1476375"/>
                <a:gd name="connsiteX7" fmla="*/ 17304 w 990600"/>
                <a:gd name="connsiteY7" fmla="*/ 180087 h 1476375"/>
                <a:gd name="connsiteX8" fmla="*/ 1683 w 990600"/>
                <a:gd name="connsiteY8" fmla="*/ 214186 h 1476375"/>
                <a:gd name="connsiteX9" fmla="*/ 463551 w 990600"/>
                <a:gd name="connsiteY9" fmla="*/ 1462533 h 1476375"/>
                <a:gd name="connsiteX10" fmla="*/ 513081 w 990600"/>
                <a:gd name="connsiteY10" fmla="*/ 1463009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513081" y="1463009"/>
                  </a:moveTo>
                  <a:lnTo>
                    <a:pt x="632810" y="1159542"/>
                  </a:lnTo>
                  <a:cubicBezTo>
                    <a:pt x="638620" y="1144874"/>
                    <a:pt x="655860" y="1138492"/>
                    <a:pt x="669862" y="1145826"/>
                  </a:cubicBezTo>
                  <a:lnTo>
                    <a:pt x="958279" y="1298322"/>
                  </a:lnTo>
                  <a:cubicBezTo>
                    <a:pt x="979806" y="1309656"/>
                    <a:pt x="1003999" y="1288511"/>
                    <a:pt x="995522" y="1265651"/>
                  </a:cubicBezTo>
                  <a:lnTo>
                    <a:pt x="533655" y="17304"/>
                  </a:lnTo>
                  <a:cubicBezTo>
                    <a:pt x="528606" y="3588"/>
                    <a:pt x="513366" y="-3460"/>
                    <a:pt x="499555" y="1683"/>
                  </a:cubicBezTo>
                  <a:lnTo>
                    <a:pt x="17304" y="180087"/>
                  </a:lnTo>
                  <a:cubicBezTo>
                    <a:pt x="3588" y="185135"/>
                    <a:pt x="-3460" y="200375"/>
                    <a:pt x="1683" y="214186"/>
                  </a:cubicBezTo>
                  <a:lnTo>
                    <a:pt x="463551" y="1462533"/>
                  </a:lnTo>
                  <a:cubicBezTo>
                    <a:pt x="472028" y="1485202"/>
                    <a:pt x="504127" y="1485583"/>
                    <a:pt x="513081" y="1463009"/>
                  </a:cubicBezTo>
                  <a:close/>
                </a:path>
              </a:pathLst>
            </a:custGeom>
            <a:solidFill>
              <a:srgbClr val="C00000"/>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E875D0C5-3F28-4998-B7E4-361062C353F3}"/>
                </a:ext>
              </a:extLst>
            </p:cNvPr>
            <p:cNvSpPr/>
            <p:nvPr/>
          </p:nvSpPr>
          <p:spPr>
            <a:xfrm>
              <a:off x="1874587" y="3845098"/>
              <a:ext cx="857250" cy="1266825"/>
            </a:xfrm>
            <a:custGeom>
              <a:avLst/>
              <a:gdLst>
                <a:gd name="connsiteX0" fmla="*/ 419319 w 857250"/>
                <a:gd name="connsiteY0" fmla="*/ 1275458 h 1266825"/>
                <a:gd name="connsiteX1" fmla="*/ 419128 w 857250"/>
                <a:gd name="connsiteY1" fmla="*/ 1275458 h 1266825"/>
                <a:gd name="connsiteX2" fmla="*/ 400078 w 857250"/>
                <a:gd name="connsiteY2" fmla="*/ 1262028 h 1266825"/>
                <a:gd name="connsiteX3" fmla="*/ 1267 w 857250"/>
                <a:gd name="connsiteY3" fmla="*/ 184274 h 1266825"/>
                <a:gd name="connsiteX4" fmla="*/ 13363 w 857250"/>
                <a:gd name="connsiteY4" fmla="*/ 157890 h 1266825"/>
                <a:gd name="connsiteX5" fmla="*/ 436559 w 857250"/>
                <a:gd name="connsiteY5" fmla="*/ 1299 h 1266825"/>
                <a:gd name="connsiteX6" fmla="*/ 452275 w 857250"/>
                <a:gd name="connsiteY6" fmla="*/ 1870 h 1266825"/>
                <a:gd name="connsiteX7" fmla="*/ 462944 w 857250"/>
                <a:gd name="connsiteY7" fmla="*/ 13396 h 1266825"/>
                <a:gd name="connsiteX8" fmla="*/ 861660 w 857250"/>
                <a:gd name="connsiteY8" fmla="*/ 1091149 h 1266825"/>
                <a:gd name="connsiteX9" fmla="*/ 855945 w 857250"/>
                <a:gd name="connsiteY9" fmla="*/ 1113724 h 1266825"/>
                <a:gd name="connsiteX10" fmla="*/ 832799 w 857250"/>
                <a:gd name="connsiteY10" fmla="*/ 1116486 h 1266825"/>
                <a:gd name="connsiteX11" fmla="*/ 553431 w 857250"/>
                <a:gd name="connsiteY11" fmla="*/ 968848 h 1266825"/>
                <a:gd name="connsiteX12" fmla="*/ 438274 w 857250"/>
                <a:gd name="connsiteY12" fmla="*/ 1262504 h 1266825"/>
                <a:gd name="connsiteX13" fmla="*/ 419319 w 857250"/>
                <a:gd name="connsiteY13" fmla="*/ 1275458 h 1266825"/>
                <a:gd name="connsiteX14" fmla="*/ 418748 w 857250"/>
                <a:gd name="connsiteY14" fmla="*/ 1254789 h 1266825"/>
                <a:gd name="connsiteX15" fmla="*/ 418748 w 857250"/>
                <a:gd name="connsiteY15" fmla="*/ 1254789 h 1266825"/>
                <a:gd name="connsiteX16" fmla="*/ 428558 w 857250"/>
                <a:gd name="connsiteY16" fmla="*/ 1258599 h 1266825"/>
                <a:gd name="connsiteX17" fmla="*/ 418748 w 857250"/>
                <a:gd name="connsiteY17" fmla="*/ 1254789 h 1266825"/>
                <a:gd name="connsiteX18" fmla="*/ 443131 w 857250"/>
                <a:gd name="connsiteY18" fmla="*/ 20825 h 1266825"/>
                <a:gd name="connsiteX19" fmla="*/ 20698 w 857250"/>
                <a:gd name="connsiteY19" fmla="*/ 177702 h 1266825"/>
                <a:gd name="connsiteX20" fmla="*/ 419224 w 857250"/>
                <a:gd name="connsiteY20" fmla="*/ 1253265 h 1266825"/>
                <a:gd name="connsiteX21" fmla="*/ 534667 w 857250"/>
                <a:gd name="connsiteY21" fmla="*/ 960752 h 1266825"/>
                <a:gd name="connsiteX22" fmla="*/ 546668 w 857250"/>
                <a:gd name="connsiteY22" fmla="*/ 949036 h 1266825"/>
                <a:gd name="connsiteX23" fmla="*/ 563337 w 857250"/>
                <a:gd name="connsiteY23" fmla="*/ 950179 h 1266825"/>
                <a:gd name="connsiteX24" fmla="*/ 841277 w 857250"/>
                <a:gd name="connsiteY24" fmla="*/ 1097150 h 1266825"/>
                <a:gd name="connsiteX25" fmla="*/ 443131 w 857250"/>
                <a:gd name="connsiteY25" fmla="*/ 20825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250" h="1266825">
                  <a:moveTo>
                    <a:pt x="419319" y="1275458"/>
                  </a:moveTo>
                  <a:cubicBezTo>
                    <a:pt x="419224" y="1275458"/>
                    <a:pt x="419128" y="1275458"/>
                    <a:pt x="419128" y="1275458"/>
                  </a:cubicBezTo>
                  <a:cubicBezTo>
                    <a:pt x="410556" y="1275363"/>
                    <a:pt x="403031" y="1270124"/>
                    <a:pt x="400078" y="1262028"/>
                  </a:cubicBezTo>
                  <a:lnTo>
                    <a:pt x="1267" y="184274"/>
                  </a:lnTo>
                  <a:cubicBezTo>
                    <a:pt x="-2639" y="173701"/>
                    <a:pt x="2791" y="161795"/>
                    <a:pt x="13363" y="157890"/>
                  </a:cubicBezTo>
                  <a:lnTo>
                    <a:pt x="436559" y="1299"/>
                  </a:lnTo>
                  <a:cubicBezTo>
                    <a:pt x="441703" y="-606"/>
                    <a:pt x="447323" y="-416"/>
                    <a:pt x="452275" y="1870"/>
                  </a:cubicBezTo>
                  <a:cubicBezTo>
                    <a:pt x="457228" y="4156"/>
                    <a:pt x="461039" y="8252"/>
                    <a:pt x="462944" y="13396"/>
                  </a:cubicBezTo>
                  <a:lnTo>
                    <a:pt x="861660" y="1091149"/>
                  </a:lnTo>
                  <a:cubicBezTo>
                    <a:pt x="864613" y="1099150"/>
                    <a:pt x="862422" y="1108009"/>
                    <a:pt x="855945" y="1113724"/>
                  </a:cubicBezTo>
                  <a:cubicBezTo>
                    <a:pt x="849468" y="1119343"/>
                    <a:pt x="840419" y="1120391"/>
                    <a:pt x="832799" y="1116486"/>
                  </a:cubicBezTo>
                  <a:lnTo>
                    <a:pt x="553431" y="968848"/>
                  </a:lnTo>
                  <a:lnTo>
                    <a:pt x="438274" y="1262504"/>
                  </a:lnTo>
                  <a:cubicBezTo>
                    <a:pt x="435226" y="1270410"/>
                    <a:pt x="427796" y="1275458"/>
                    <a:pt x="419319" y="1275458"/>
                  </a:cubicBezTo>
                  <a:close/>
                  <a:moveTo>
                    <a:pt x="418748" y="1254789"/>
                  </a:moveTo>
                  <a:cubicBezTo>
                    <a:pt x="418748" y="1254789"/>
                    <a:pt x="418748" y="1254789"/>
                    <a:pt x="418748" y="1254789"/>
                  </a:cubicBezTo>
                  <a:lnTo>
                    <a:pt x="428558" y="1258599"/>
                  </a:lnTo>
                  <a:lnTo>
                    <a:pt x="418748" y="1254789"/>
                  </a:lnTo>
                  <a:close/>
                  <a:moveTo>
                    <a:pt x="443131" y="20825"/>
                  </a:moveTo>
                  <a:lnTo>
                    <a:pt x="20698" y="177702"/>
                  </a:lnTo>
                  <a:lnTo>
                    <a:pt x="419224" y="1253265"/>
                  </a:lnTo>
                  <a:lnTo>
                    <a:pt x="534667" y="960752"/>
                  </a:lnTo>
                  <a:cubicBezTo>
                    <a:pt x="536762" y="955323"/>
                    <a:pt x="541144" y="951037"/>
                    <a:pt x="546668" y="949036"/>
                  </a:cubicBezTo>
                  <a:cubicBezTo>
                    <a:pt x="552098" y="947036"/>
                    <a:pt x="558194" y="947417"/>
                    <a:pt x="563337" y="950179"/>
                  </a:cubicBezTo>
                  <a:lnTo>
                    <a:pt x="841277" y="1097150"/>
                  </a:lnTo>
                  <a:lnTo>
                    <a:pt x="443131" y="20825"/>
                  </a:lnTo>
                  <a:close/>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7FB3597-5CE0-4531-833F-8CBB40A7A876}"/>
                </a:ext>
              </a:extLst>
            </p:cNvPr>
            <p:cNvSpPr/>
            <p:nvPr/>
          </p:nvSpPr>
          <p:spPr>
            <a:xfrm>
              <a:off x="1028795" y="2762261"/>
              <a:ext cx="1704975" cy="1704975"/>
            </a:xfrm>
            <a:custGeom>
              <a:avLst/>
              <a:gdLst>
                <a:gd name="connsiteX0" fmla="*/ 1707642 w 1704975"/>
                <a:gd name="connsiteY0" fmla="*/ 853821 h 1704975"/>
                <a:gd name="connsiteX1" fmla="*/ 853821 w 1704975"/>
                <a:gd name="connsiteY1" fmla="*/ 1707642 h 1704975"/>
                <a:gd name="connsiteX2" fmla="*/ 0 w 1704975"/>
                <a:gd name="connsiteY2" fmla="*/ 853821 h 1704975"/>
                <a:gd name="connsiteX3" fmla="*/ 853821 w 1704975"/>
                <a:gd name="connsiteY3" fmla="*/ 0 h 1704975"/>
                <a:gd name="connsiteX4" fmla="*/ 1707642 w 1704975"/>
                <a:gd name="connsiteY4" fmla="*/ 853821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75" h="1704975">
                  <a:moveTo>
                    <a:pt x="1707642" y="853821"/>
                  </a:moveTo>
                  <a:cubicBezTo>
                    <a:pt x="1707642" y="1325373"/>
                    <a:pt x="1325373" y="1707642"/>
                    <a:pt x="853821" y="1707642"/>
                  </a:cubicBezTo>
                  <a:cubicBezTo>
                    <a:pt x="382269" y="1707642"/>
                    <a:pt x="0" y="1325373"/>
                    <a:pt x="0" y="853821"/>
                  </a:cubicBezTo>
                  <a:cubicBezTo>
                    <a:pt x="0" y="382269"/>
                    <a:pt x="382269" y="0"/>
                    <a:pt x="853821" y="0"/>
                  </a:cubicBezTo>
                  <a:cubicBezTo>
                    <a:pt x="1325373" y="0"/>
                    <a:pt x="1707642" y="382269"/>
                    <a:pt x="1707642" y="853821"/>
                  </a:cubicBezTo>
                  <a:close/>
                </a:path>
              </a:pathLst>
            </a:custGeom>
            <a:solidFill>
              <a:srgbClr val="C00000"/>
            </a:solidFill>
            <a:ln w="76200" cap="flat">
              <a:solidFill>
                <a:schemeClr val="accent5"/>
              </a:solidFill>
              <a:prstDash val="solid"/>
              <a:miter/>
            </a:ln>
          </p:spPr>
          <p:txBody>
            <a:bodyPr rtlCol="0" anchor="ctr"/>
            <a:lstStyle/>
            <a:p>
              <a:pPr algn="ctr"/>
              <a:r>
                <a:rPr lang="en-US" sz="2000">
                  <a:solidFill>
                    <a:schemeClr val="accent5"/>
                  </a:solidFill>
                </a:rPr>
                <a:t>Respect</a:t>
              </a:r>
              <a:br>
                <a:rPr lang="en-US" sz="2000">
                  <a:solidFill>
                    <a:schemeClr val="accent5"/>
                  </a:solidFill>
                </a:rPr>
              </a:br>
              <a:r>
                <a:rPr lang="en-US" sz="2000">
                  <a:solidFill>
                    <a:schemeClr val="accent5"/>
                  </a:solidFill>
                </a:rPr>
                <a:t>and</a:t>
              </a:r>
              <a:br>
                <a:rPr lang="en-US" sz="2000">
                  <a:solidFill>
                    <a:schemeClr val="accent5"/>
                  </a:solidFill>
                </a:rPr>
              </a:br>
              <a:r>
                <a:rPr lang="en-US" sz="2000">
                  <a:solidFill>
                    <a:schemeClr val="accent5"/>
                  </a:solidFill>
                </a:rPr>
                <a:t>Teamwork</a:t>
              </a:r>
            </a:p>
          </p:txBody>
        </p:sp>
      </p:grpSp>
      <p:graphicFrame>
        <p:nvGraphicFramePr>
          <p:cNvPr id="17"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3864865"/>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cxnSp>
        <p:nvCxnSpPr>
          <p:cNvPr id="20" name="Straight Connector 19">
            <a:extLst>
              <a:ext uri="{FF2B5EF4-FFF2-40B4-BE49-F238E27FC236}">
                <a16:creationId xmlns:a16="http://schemas.microsoft.com/office/drawing/2014/main" id="{240A78A4-DAF5-427E-B072-173A57C61A97}"/>
              </a:ext>
            </a:extLst>
          </p:cNvPr>
          <p:cNvCxnSpPr>
            <a:cxnSpLocks/>
          </p:cNvCxnSpPr>
          <p:nvPr/>
        </p:nvCxnSpPr>
        <p:spPr>
          <a:xfrm>
            <a:off x="3505200" y="3654552"/>
            <a:ext cx="8534400"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1"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1050738"/>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spTree>
    <p:extLst>
      <p:ext uri="{BB962C8B-B14F-4D97-AF65-F5344CB8AC3E}">
        <p14:creationId xmlns:p14="http://schemas.microsoft.com/office/powerpoint/2010/main" val="8756543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510214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a:lstStyle/>
          <a:p>
            <a:r>
              <a:rPr lang="en-US"/>
              <a:t>Recognition</a:t>
            </a:r>
          </a:p>
        </p:txBody>
      </p:sp>
      <p:pic>
        <p:nvPicPr>
          <p:cNvPr id="11" name="Graphic 10">
            <a:extLst>
              <a:ext uri="{FF2B5EF4-FFF2-40B4-BE49-F238E27FC236}">
                <a16:creationId xmlns:a16="http://schemas.microsoft.com/office/drawing/2014/main" id="{066D1006-B73D-4B93-AB22-E3AD23BE1C5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6371" y="840184"/>
            <a:ext cx="1257300" cy="2198991"/>
          </a:xfrm>
          <a:prstGeom prst="rect">
            <a:avLst/>
          </a:prstGeom>
        </p:spPr>
      </p:pic>
      <p:grpSp>
        <p:nvGrpSpPr>
          <p:cNvPr id="12" name="Group 11">
            <a:extLst>
              <a:ext uri="{FF2B5EF4-FFF2-40B4-BE49-F238E27FC236}">
                <a16:creationId xmlns:a16="http://schemas.microsoft.com/office/drawing/2014/main" id="{88006A51-926D-4A72-BC91-C64AD182A25F}"/>
              </a:ext>
            </a:extLst>
          </p:cNvPr>
          <p:cNvGrpSpPr/>
          <p:nvPr/>
        </p:nvGrpSpPr>
        <p:grpSpPr>
          <a:xfrm>
            <a:off x="596900" y="1849652"/>
            <a:ext cx="2209822" cy="3004599"/>
            <a:chOff x="990578" y="2762261"/>
            <a:chExt cx="1807708" cy="2457862"/>
          </a:xfrm>
        </p:grpSpPr>
        <p:sp>
          <p:nvSpPr>
            <p:cNvPr id="13" name="Freeform: Shape 12">
              <a:extLst>
                <a:ext uri="{FF2B5EF4-FFF2-40B4-BE49-F238E27FC236}">
                  <a16:creationId xmlns:a16="http://schemas.microsoft.com/office/drawing/2014/main" id="{B0A4B71E-5B48-4CCA-9EBA-E0204CDB16E1}"/>
                </a:ext>
              </a:extLst>
            </p:cNvPr>
            <p:cNvSpPr/>
            <p:nvPr/>
          </p:nvSpPr>
          <p:spPr>
            <a:xfrm>
              <a:off x="990578" y="3743653"/>
              <a:ext cx="990600" cy="1476375"/>
            </a:xfrm>
            <a:custGeom>
              <a:avLst/>
              <a:gdLst>
                <a:gd name="connsiteX0" fmla="*/ 484273 w 990600"/>
                <a:gd name="connsiteY0" fmla="*/ 1463104 h 1476375"/>
                <a:gd name="connsiteX1" fmla="*/ 364544 w 990600"/>
                <a:gd name="connsiteY1" fmla="*/ 1159638 h 1476375"/>
                <a:gd name="connsiteX2" fmla="*/ 327491 w 990600"/>
                <a:gd name="connsiteY2" fmla="*/ 1145922 h 1476375"/>
                <a:gd name="connsiteX3" fmla="*/ 38979 w 990600"/>
                <a:gd name="connsiteY3" fmla="*/ 1298322 h 1476375"/>
                <a:gd name="connsiteX4" fmla="*/ 1736 w 990600"/>
                <a:gd name="connsiteY4" fmla="*/ 1265651 h 1476375"/>
                <a:gd name="connsiteX5" fmla="*/ 463604 w 990600"/>
                <a:gd name="connsiteY5" fmla="*/ 17304 h 1476375"/>
                <a:gd name="connsiteX6" fmla="*/ 497703 w 990600"/>
                <a:gd name="connsiteY6" fmla="*/ 1683 h 1476375"/>
                <a:gd name="connsiteX7" fmla="*/ 979954 w 990600"/>
                <a:gd name="connsiteY7" fmla="*/ 180087 h 1476375"/>
                <a:gd name="connsiteX8" fmla="*/ 995575 w 990600"/>
                <a:gd name="connsiteY8" fmla="*/ 214186 h 1476375"/>
                <a:gd name="connsiteX9" fmla="*/ 533708 w 990600"/>
                <a:gd name="connsiteY9" fmla="*/ 1462533 h 1476375"/>
                <a:gd name="connsiteX10" fmla="*/ 484273 w 990600"/>
                <a:gd name="connsiteY10" fmla="*/ 1463104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484273" y="1463104"/>
                  </a:moveTo>
                  <a:lnTo>
                    <a:pt x="364544" y="1159638"/>
                  </a:lnTo>
                  <a:cubicBezTo>
                    <a:pt x="358733" y="1144969"/>
                    <a:pt x="341493" y="1138588"/>
                    <a:pt x="327491" y="1145922"/>
                  </a:cubicBezTo>
                  <a:lnTo>
                    <a:pt x="38979" y="1298322"/>
                  </a:lnTo>
                  <a:cubicBezTo>
                    <a:pt x="17453" y="1309656"/>
                    <a:pt x="-6741" y="1288511"/>
                    <a:pt x="1736" y="1265651"/>
                  </a:cubicBezTo>
                  <a:lnTo>
                    <a:pt x="463604" y="17304"/>
                  </a:lnTo>
                  <a:cubicBezTo>
                    <a:pt x="468652" y="3588"/>
                    <a:pt x="483892" y="-3460"/>
                    <a:pt x="497703" y="1683"/>
                  </a:cubicBezTo>
                  <a:lnTo>
                    <a:pt x="979954" y="180087"/>
                  </a:lnTo>
                  <a:cubicBezTo>
                    <a:pt x="993670" y="185135"/>
                    <a:pt x="1000718" y="200375"/>
                    <a:pt x="995575" y="214186"/>
                  </a:cubicBezTo>
                  <a:lnTo>
                    <a:pt x="533708" y="1462533"/>
                  </a:lnTo>
                  <a:cubicBezTo>
                    <a:pt x="525326" y="1485297"/>
                    <a:pt x="493131" y="1485679"/>
                    <a:pt x="484273" y="1463104"/>
                  </a:cubicBezTo>
                  <a:close/>
                </a:path>
              </a:pathLst>
            </a:custGeom>
            <a:solidFill>
              <a:srgbClr val="AB8422"/>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8506217C-FD08-4E59-899F-2199AF78A757}"/>
                </a:ext>
              </a:extLst>
            </p:cNvPr>
            <p:cNvSpPr/>
            <p:nvPr/>
          </p:nvSpPr>
          <p:spPr>
            <a:xfrm>
              <a:off x="1057983" y="3845193"/>
              <a:ext cx="857250" cy="1266825"/>
            </a:xfrm>
            <a:custGeom>
              <a:avLst/>
              <a:gdLst>
                <a:gd name="connsiteX0" fmla="*/ 443729 w 857250"/>
                <a:gd name="connsiteY0" fmla="*/ 1275363 h 1266825"/>
                <a:gd name="connsiteX1" fmla="*/ 424679 w 857250"/>
                <a:gd name="connsiteY1" fmla="*/ 1262409 h 1266825"/>
                <a:gd name="connsiteX2" fmla="*/ 308664 w 857250"/>
                <a:gd name="connsiteY2" fmla="*/ 968467 h 1266825"/>
                <a:gd name="connsiteX3" fmla="*/ 30153 w 857250"/>
                <a:gd name="connsiteY3" fmla="*/ 1116486 h 1266825"/>
                <a:gd name="connsiteX4" fmla="*/ 7007 w 857250"/>
                <a:gd name="connsiteY4" fmla="*/ 1113724 h 1266825"/>
                <a:gd name="connsiteX5" fmla="*/ 1292 w 857250"/>
                <a:gd name="connsiteY5" fmla="*/ 1091149 h 1266825"/>
                <a:gd name="connsiteX6" fmla="*/ 400104 w 857250"/>
                <a:gd name="connsiteY6" fmla="*/ 13396 h 1266825"/>
                <a:gd name="connsiteX7" fmla="*/ 410772 w 857250"/>
                <a:gd name="connsiteY7" fmla="*/ 1870 h 1266825"/>
                <a:gd name="connsiteX8" fmla="*/ 426488 w 857250"/>
                <a:gd name="connsiteY8" fmla="*/ 1299 h 1266825"/>
                <a:gd name="connsiteX9" fmla="*/ 849684 w 857250"/>
                <a:gd name="connsiteY9" fmla="*/ 157890 h 1266825"/>
                <a:gd name="connsiteX10" fmla="*/ 861209 w 857250"/>
                <a:gd name="connsiteY10" fmla="*/ 168558 h 1266825"/>
                <a:gd name="connsiteX11" fmla="*/ 861781 w 857250"/>
                <a:gd name="connsiteY11" fmla="*/ 184274 h 1266825"/>
                <a:gd name="connsiteX12" fmla="*/ 462969 w 857250"/>
                <a:gd name="connsiteY12" fmla="*/ 1262028 h 1266825"/>
                <a:gd name="connsiteX13" fmla="*/ 443919 w 857250"/>
                <a:gd name="connsiteY13" fmla="*/ 1275458 h 1266825"/>
                <a:gd name="connsiteX14" fmla="*/ 443729 w 857250"/>
                <a:gd name="connsiteY14" fmla="*/ 1275363 h 1266825"/>
                <a:gd name="connsiteX15" fmla="*/ 444205 w 857250"/>
                <a:gd name="connsiteY15" fmla="*/ 1254694 h 1266825"/>
                <a:gd name="connsiteX16" fmla="*/ 434394 w 857250"/>
                <a:gd name="connsiteY16" fmla="*/ 1258504 h 1266825"/>
                <a:gd name="connsiteX17" fmla="*/ 444205 w 857250"/>
                <a:gd name="connsiteY17" fmla="*/ 1254694 h 1266825"/>
                <a:gd name="connsiteX18" fmla="*/ 444205 w 857250"/>
                <a:gd name="connsiteY18" fmla="*/ 1254694 h 1266825"/>
                <a:gd name="connsiteX19" fmla="*/ 309236 w 857250"/>
                <a:gd name="connsiteY19" fmla="*/ 947703 h 1266825"/>
                <a:gd name="connsiteX20" fmla="*/ 316379 w 857250"/>
                <a:gd name="connsiteY20" fmla="*/ 948941 h 1266825"/>
                <a:gd name="connsiteX21" fmla="*/ 328381 w 857250"/>
                <a:gd name="connsiteY21" fmla="*/ 960657 h 1266825"/>
                <a:gd name="connsiteX22" fmla="*/ 443824 w 857250"/>
                <a:gd name="connsiteY22" fmla="*/ 1253170 h 1266825"/>
                <a:gd name="connsiteX23" fmla="*/ 842064 w 857250"/>
                <a:gd name="connsiteY23" fmla="*/ 176845 h 1266825"/>
                <a:gd name="connsiteX24" fmla="*/ 419249 w 857250"/>
                <a:gd name="connsiteY24" fmla="*/ 21016 h 1266825"/>
                <a:gd name="connsiteX25" fmla="*/ 21676 w 857250"/>
                <a:gd name="connsiteY25" fmla="*/ 1097055 h 1266825"/>
                <a:gd name="connsiteX26" fmla="*/ 299615 w 857250"/>
                <a:gd name="connsiteY26" fmla="*/ 950084 h 1266825"/>
                <a:gd name="connsiteX27" fmla="*/ 309236 w 857250"/>
                <a:gd name="connsiteY27" fmla="*/ 94770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7250" h="1266825">
                  <a:moveTo>
                    <a:pt x="443729" y="1275363"/>
                  </a:moveTo>
                  <a:cubicBezTo>
                    <a:pt x="435251" y="1275363"/>
                    <a:pt x="427727" y="1270315"/>
                    <a:pt x="424679" y="1262409"/>
                  </a:cubicBezTo>
                  <a:lnTo>
                    <a:pt x="308664" y="968467"/>
                  </a:lnTo>
                  <a:lnTo>
                    <a:pt x="30153" y="1116486"/>
                  </a:lnTo>
                  <a:cubicBezTo>
                    <a:pt x="22533" y="1120486"/>
                    <a:pt x="13484" y="1119439"/>
                    <a:pt x="7007" y="1113724"/>
                  </a:cubicBezTo>
                  <a:cubicBezTo>
                    <a:pt x="530" y="1108104"/>
                    <a:pt x="-1660" y="1099246"/>
                    <a:pt x="1292" y="1091149"/>
                  </a:cubicBezTo>
                  <a:lnTo>
                    <a:pt x="400104" y="13396"/>
                  </a:lnTo>
                  <a:cubicBezTo>
                    <a:pt x="402009" y="8252"/>
                    <a:pt x="405819" y="4156"/>
                    <a:pt x="410772" y="1870"/>
                  </a:cubicBezTo>
                  <a:cubicBezTo>
                    <a:pt x="415725" y="-416"/>
                    <a:pt x="421345" y="-606"/>
                    <a:pt x="426488" y="1299"/>
                  </a:cubicBezTo>
                  <a:lnTo>
                    <a:pt x="849684" y="157890"/>
                  </a:lnTo>
                  <a:cubicBezTo>
                    <a:pt x="854828" y="159795"/>
                    <a:pt x="858923" y="163605"/>
                    <a:pt x="861209" y="168558"/>
                  </a:cubicBezTo>
                  <a:cubicBezTo>
                    <a:pt x="863495" y="173511"/>
                    <a:pt x="863686" y="179131"/>
                    <a:pt x="861781" y="184274"/>
                  </a:cubicBezTo>
                  <a:lnTo>
                    <a:pt x="462969" y="1262028"/>
                  </a:lnTo>
                  <a:cubicBezTo>
                    <a:pt x="460016" y="1270124"/>
                    <a:pt x="452492" y="1275363"/>
                    <a:pt x="443919" y="1275458"/>
                  </a:cubicBezTo>
                  <a:cubicBezTo>
                    <a:pt x="443919" y="1275363"/>
                    <a:pt x="443824" y="1275363"/>
                    <a:pt x="443729" y="1275363"/>
                  </a:cubicBezTo>
                  <a:close/>
                  <a:moveTo>
                    <a:pt x="444205" y="1254694"/>
                  </a:moveTo>
                  <a:lnTo>
                    <a:pt x="434394" y="1258504"/>
                  </a:lnTo>
                  <a:lnTo>
                    <a:pt x="444205" y="1254694"/>
                  </a:lnTo>
                  <a:cubicBezTo>
                    <a:pt x="444300" y="1254694"/>
                    <a:pt x="444300" y="1254694"/>
                    <a:pt x="444205" y="1254694"/>
                  </a:cubicBezTo>
                  <a:close/>
                  <a:moveTo>
                    <a:pt x="309236" y="947703"/>
                  </a:moveTo>
                  <a:cubicBezTo>
                    <a:pt x="311617" y="947703"/>
                    <a:pt x="314093" y="948084"/>
                    <a:pt x="316379" y="948941"/>
                  </a:cubicBezTo>
                  <a:cubicBezTo>
                    <a:pt x="321809" y="950941"/>
                    <a:pt x="326190" y="955228"/>
                    <a:pt x="328381" y="960657"/>
                  </a:cubicBezTo>
                  <a:lnTo>
                    <a:pt x="443824" y="1253170"/>
                  </a:lnTo>
                  <a:lnTo>
                    <a:pt x="842064" y="176845"/>
                  </a:lnTo>
                  <a:lnTo>
                    <a:pt x="419249" y="21016"/>
                  </a:lnTo>
                  <a:lnTo>
                    <a:pt x="21676" y="1097055"/>
                  </a:lnTo>
                  <a:lnTo>
                    <a:pt x="299615" y="950084"/>
                  </a:lnTo>
                  <a:cubicBezTo>
                    <a:pt x="302663" y="948560"/>
                    <a:pt x="305902" y="947703"/>
                    <a:pt x="309236" y="947703"/>
                  </a:cubicBezTo>
                  <a:close/>
                </a:path>
              </a:pathLst>
            </a:custGeom>
            <a:solidFill>
              <a:srgbClr val="FFFFFF"/>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8FB4869-7DA6-4D4D-8591-6EBA9413F141}"/>
                </a:ext>
              </a:extLst>
            </p:cNvPr>
            <p:cNvSpPr/>
            <p:nvPr/>
          </p:nvSpPr>
          <p:spPr>
            <a:xfrm>
              <a:off x="1807686" y="3743748"/>
              <a:ext cx="990600" cy="1476375"/>
            </a:xfrm>
            <a:custGeom>
              <a:avLst/>
              <a:gdLst>
                <a:gd name="connsiteX0" fmla="*/ 513081 w 990600"/>
                <a:gd name="connsiteY0" fmla="*/ 1463009 h 1476375"/>
                <a:gd name="connsiteX1" fmla="*/ 632810 w 990600"/>
                <a:gd name="connsiteY1" fmla="*/ 1159542 h 1476375"/>
                <a:gd name="connsiteX2" fmla="*/ 669862 w 990600"/>
                <a:gd name="connsiteY2" fmla="*/ 1145826 h 1476375"/>
                <a:gd name="connsiteX3" fmla="*/ 958279 w 990600"/>
                <a:gd name="connsiteY3" fmla="*/ 1298322 h 1476375"/>
                <a:gd name="connsiteX4" fmla="*/ 995522 w 990600"/>
                <a:gd name="connsiteY4" fmla="*/ 1265651 h 1476375"/>
                <a:gd name="connsiteX5" fmla="*/ 533655 w 990600"/>
                <a:gd name="connsiteY5" fmla="*/ 17304 h 1476375"/>
                <a:gd name="connsiteX6" fmla="*/ 499555 w 990600"/>
                <a:gd name="connsiteY6" fmla="*/ 1683 h 1476375"/>
                <a:gd name="connsiteX7" fmla="*/ 17304 w 990600"/>
                <a:gd name="connsiteY7" fmla="*/ 180087 h 1476375"/>
                <a:gd name="connsiteX8" fmla="*/ 1683 w 990600"/>
                <a:gd name="connsiteY8" fmla="*/ 214186 h 1476375"/>
                <a:gd name="connsiteX9" fmla="*/ 463551 w 990600"/>
                <a:gd name="connsiteY9" fmla="*/ 1462533 h 1476375"/>
                <a:gd name="connsiteX10" fmla="*/ 513081 w 990600"/>
                <a:gd name="connsiteY10" fmla="*/ 1463009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476375">
                  <a:moveTo>
                    <a:pt x="513081" y="1463009"/>
                  </a:moveTo>
                  <a:lnTo>
                    <a:pt x="632810" y="1159542"/>
                  </a:lnTo>
                  <a:cubicBezTo>
                    <a:pt x="638620" y="1144874"/>
                    <a:pt x="655860" y="1138492"/>
                    <a:pt x="669862" y="1145826"/>
                  </a:cubicBezTo>
                  <a:lnTo>
                    <a:pt x="958279" y="1298322"/>
                  </a:lnTo>
                  <a:cubicBezTo>
                    <a:pt x="979806" y="1309656"/>
                    <a:pt x="1003999" y="1288511"/>
                    <a:pt x="995522" y="1265651"/>
                  </a:cubicBezTo>
                  <a:lnTo>
                    <a:pt x="533655" y="17304"/>
                  </a:lnTo>
                  <a:cubicBezTo>
                    <a:pt x="528606" y="3588"/>
                    <a:pt x="513366" y="-3460"/>
                    <a:pt x="499555" y="1683"/>
                  </a:cubicBezTo>
                  <a:lnTo>
                    <a:pt x="17304" y="180087"/>
                  </a:lnTo>
                  <a:cubicBezTo>
                    <a:pt x="3588" y="185135"/>
                    <a:pt x="-3460" y="200375"/>
                    <a:pt x="1683" y="214186"/>
                  </a:cubicBezTo>
                  <a:lnTo>
                    <a:pt x="463551" y="1462533"/>
                  </a:lnTo>
                  <a:cubicBezTo>
                    <a:pt x="472028" y="1485202"/>
                    <a:pt x="504127" y="1485583"/>
                    <a:pt x="513081" y="1463009"/>
                  </a:cubicBezTo>
                  <a:close/>
                </a:path>
              </a:pathLst>
            </a:custGeom>
            <a:solidFill>
              <a:srgbClr val="AB8422"/>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E04133C1-BB11-47C2-B78F-D391A316A20A}"/>
                </a:ext>
              </a:extLst>
            </p:cNvPr>
            <p:cNvSpPr/>
            <p:nvPr/>
          </p:nvSpPr>
          <p:spPr>
            <a:xfrm>
              <a:off x="1874587" y="3845098"/>
              <a:ext cx="857250" cy="1266825"/>
            </a:xfrm>
            <a:custGeom>
              <a:avLst/>
              <a:gdLst>
                <a:gd name="connsiteX0" fmla="*/ 419319 w 857250"/>
                <a:gd name="connsiteY0" fmla="*/ 1275458 h 1266825"/>
                <a:gd name="connsiteX1" fmla="*/ 419128 w 857250"/>
                <a:gd name="connsiteY1" fmla="*/ 1275458 h 1266825"/>
                <a:gd name="connsiteX2" fmla="*/ 400078 w 857250"/>
                <a:gd name="connsiteY2" fmla="*/ 1262028 h 1266825"/>
                <a:gd name="connsiteX3" fmla="*/ 1267 w 857250"/>
                <a:gd name="connsiteY3" fmla="*/ 184274 h 1266825"/>
                <a:gd name="connsiteX4" fmla="*/ 13363 w 857250"/>
                <a:gd name="connsiteY4" fmla="*/ 157890 h 1266825"/>
                <a:gd name="connsiteX5" fmla="*/ 436559 w 857250"/>
                <a:gd name="connsiteY5" fmla="*/ 1299 h 1266825"/>
                <a:gd name="connsiteX6" fmla="*/ 452275 w 857250"/>
                <a:gd name="connsiteY6" fmla="*/ 1870 h 1266825"/>
                <a:gd name="connsiteX7" fmla="*/ 462944 w 857250"/>
                <a:gd name="connsiteY7" fmla="*/ 13396 h 1266825"/>
                <a:gd name="connsiteX8" fmla="*/ 861660 w 857250"/>
                <a:gd name="connsiteY8" fmla="*/ 1091149 h 1266825"/>
                <a:gd name="connsiteX9" fmla="*/ 855945 w 857250"/>
                <a:gd name="connsiteY9" fmla="*/ 1113724 h 1266825"/>
                <a:gd name="connsiteX10" fmla="*/ 832799 w 857250"/>
                <a:gd name="connsiteY10" fmla="*/ 1116486 h 1266825"/>
                <a:gd name="connsiteX11" fmla="*/ 553431 w 857250"/>
                <a:gd name="connsiteY11" fmla="*/ 968848 h 1266825"/>
                <a:gd name="connsiteX12" fmla="*/ 438274 w 857250"/>
                <a:gd name="connsiteY12" fmla="*/ 1262504 h 1266825"/>
                <a:gd name="connsiteX13" fmla="*/ 419319 w 857250"/>
                <a:gd name="connsiteY13" fmla="*/ 1275458 h 1266825"/>
                <a:gd name="connsiteX14" fmla="*/ 418748 w 857250"/>
                <a:gd name="connsiteY14" fmla="*/ 1254789 h 1266825"/>
                <a:gd name="connsiteX15" fmla="*/ 418748 w 857250"/>
                <a:gd name="connsiteY15" fmla="*/ 1254789 h 1266825"/>
                <a:gd name="connsiteX16" fmla="*/ 428558 w 857250"/>
                <a:gd name="connsiteY16" fmla="*/ 1258599 h 1266825"/>
                <a:gd name="connsiteX17" fmla="*/ 418748 w 857250"/>
                <a:gd name="connsiteY17" fmla="*/ 1254789 h 1266825"/>
                <a:gd name="connsiteX18" fmla="*/ 443131 w 857250"/>
                <a:gd name="connsiteY18" fmla="*/ 20825 h 1266825"/>
                <a:gd name="connsiteX19" fmla="*/ 20698 w 857250"/>
                <a:gd name="connsiteY19" fmla="*/ 177702 h 1266825"/>
                <a:gd name="connsiteX20" fmla="*/ 419224 w 857250"/>
                <a:gd name="connsiteY20" fmla="*/ 1253265 h 1266825"/>
                <a:gd name="connsiteX21" fmla="*/ 534667 w 857250"/>
                <a:gd name="connsiteY21" fmla="*/ 960752 h 1266825"/>
                <a:gd name="connsiteX22" fmla="*/ 546668 w 857250"/>
                <a:gd name="connsiteY22" fmla="*/ 949036 h 1266825"/>
                <a:gd name="connsiteX23" fmla="*/ 563337 w 857250"/>
                <a:gd name="connsiteY23" fmla="*/ 950179 h 1266825"/>
                <a:gd name="connsiteX24" fmla="*/ 841277 w 857250"/>
                <a:gd name="connsiteY24" fmla="*/ 1097150 h 1266825"/>
                <a:gd name="connsiteX25" fmla="*/ 443131 w 857250"/>
                <a:gd name="connsiteY25" fmla="*/ 20825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250" h="1266825">
                  <a:moveTo>
                    <a:pt x="419319" y="1275458"/>
                  </a:moveTo>
                  <a:cubicBezTo>
                    <a:pt x="419224" y="1275458"/>
                    <a:pt x="419128" y="1275458"/>
                    <a:pt x="419128" y="1275458"/>
                  </a:cubicBezTo>
                  <a:cubicBezTo>
                    <a:pt x="410556" y="1275363"/>
                    <a:pt x="403031" y="1270124"/>
                    <a:pt x="400078" y="1262028"/>
                  </a:cubicBezTo>
                  <a:lnTo>
                    <a:pt x="1267" y="184274"/>
                  </a:lnTo>
                  <a:cubicBezTo>
                    <a:pt x="-2639" y="173701"/>
                    <a:pt x="2791" y="161795"/>
                    <a:pt x="13363" y="157890"/>
                  </a:cubicBezTo>
                  <a:lnTo>
                    <a:pt x="436559" y="1299"/>
                  </a:lnTo>
                  <a:cubicBezTo>
                    <a:pt x="441703" y="-606"/>
                    <a:pt x="447323" y="-416"/>
                    <a:pt x="452275" y="1870"/>
                  </a:cubicBezTo>
                  <a:cubicBezTo>
                    <a:pt x="457228" y="4156"/>
                    <a:pt x="461039" y="8252"/>
                    <a:pt x="462944" y="13396"/>
                  </a:cubicBezTo>
                  <a:lnTo>
                    <a:pt x="861660" y="1091149"/>
                  </a:lnTo>
                  <a:cubicBezTo>
                    <a:pt x="864613" y="1099150"/>
                    <a:pt x="862422" y="1108009"/>
                    <a:pt x="855945" y="1113724"/>
                  </a:cubicBezTo>
                  <a:cubicBezTo>
                    <a:pt x="849468" y="1119343"/>
                    <a:pt x="840419" y="1120391"/>
                    <a:pt x="832799" y="1116486"/>
                  </a:cubicBezTo>
                  <a:lnTo>
                    <a:pt x="553431" y="968848"/>
                  </a:lnTo>
                  <a:lnTo>
                    <a:pt x="438274" y="1262504"/>
                  </a:lnTo>
                  <a:cubicBezTo>
                    <a:pt x="435226" y="1270410"/>
                    <a:pt x="427796" y="1275458"/>
                    <a:pt x="419319" y="1275458"/>
                  </a:cubicBezTo>
                  <a:close/>
                  <a:moveTo>
                    <a:pt x="418748" y="1254789"/>
                  </a:moveTo>
                  <a:cubicBezTo>
                    <a:pt x="418748" y="1254789"/>
                    <a:pt x="418748" y="1254789"/>
                    <a:pt x="418748" y="1254789"/>
                  </a:cubicBezTo>
                  <a:lnTo>
                    <a:pt x="428558" y="1258599"/>
                  </a:lnTo>
                  <a:lnTo>
                    <a:pt x="418748" y="1254789"/>
                  </a:lnTo>
                  <a:close/>
                  <a:moveTo>
                    <a:pt x="443131" y="20825"/>
                  </a:moveTo>
                  <a:lnTo>
                    <a:pt x="20698" y="177702"/>
                  </a:lnTo>
                  <a:lnTo>
                    <a:pt x="419224" y="1253265"/>
                  </a:lnTo>
                  <a:lnTo>
                    <a:pt x="534667" y="960752"/>
                  </a:lnTo>
                  <a:cubicBezTo>
                    <a:pt x="536762" y="955323"/>
                    <a:pt x="541144" y="951037"/>
                    <a:pt x="546668" y="949036"/>
                  </a:cubicBezTo>
                  <a:cubicBezTo>
                    <a:pt x="552098" y="947036"/>
                    <a:pt x="558194" y="947417"/>
                    <a:pt x="563337" y="950179"/>
                  </a:cubicBezTo>
                  <a:lnTo>
                    <a:pt x="841277" y="1097150"/>
                  </a:lnTo>
                  <a:lnTo>
                    <a:pt x="443131" y="20825"/>
                  </a:lnTo>
                  <a:close/>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8A6CF73-AB8F-49F1-857D-E16F615A6A79}"/>
                </a:ext>
              </a:extLst>
            </p:cNvPr>
            <p:cNvSpPr/>
            <p:nvPr/>
          </p:nvSpPr>
          <p:spPr>
            <a:xfrm>
              <a:off x="1028795" y="2762261"/>
              <a:ext cx="1704975" cy="1704975"/>
            </a:xfrm>
            <a:custGeom>
              <a:avLst/>
              <a:gdLst>
                <a:gd name="connsiteX0" fmla="*/ 1707642 w 1704975"/>
                <a:gd name="connsiteY0" fmla="*/ 853821 h 1704975"/>
                <a:gd name="connsiteX1" fmla="*/ 853821 w 1704975"/>
                <a:gd name="connsiteY1" fmla="*/ 1707642 h 1704975"/>
                <a:gd name="connsiteX2" fmla="*/ 0 w 1704975"/>
                <a:gd name="connsiteY2" fmla="*/ 853821 h 1704975"/>
                <a:gd name="connsiteX3" fmla="*/ 853821 w 1704975"/>
                <a:gd name="connsiteY3" fmla="*/ 0 h 1704975"/>
                <a:gd name="connsiteX4" fmla="*/ 1707642 w 1704975"/>
                <a:gd name="connsiteY4" fmla="*/ 853821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75" h="1704975">
                  <a:moveTo>
                    <a:pt x="1707642" y="853821"/>
                  </a:moveTo>
                  <a:cubicBezTo>
                    <a:pt x="1707642" y="1325373"/>
                    <a:pt x="1325373" y="1707642"/>
                    <a:pt x="853821" y="1707642"/>
                  </a:cubicBezTo>
                  <a:cubicBezTo>
                    <a:pt x="382269" y="1707642"/>
                    <a:pt x="0" y="1325373"/>
                    <a:pt x="0" y="853821"/>
                  </a:cubicBezTo>
                  <a:cubicBezTo>
                    <a:pt x="0" y="382269"/>
                    <a:pt x="382269" y="0"/>
                    <a:pt x="853821" y="0"/>
                  </a:cubicBezTo>
                  <a:cubicBezTo>
                    <a:pt x="1325373" y="0"/>
                    <a:pt x="1707642" y="382269"/>
                    <a:pt x="1707642" y="853821"/>
                  </a:cubicBezTo>
                  <a:close/>
                </a:path>
              </a:pathLst>
            </a:custGeom>
            <a:solidFill>
              <a:srgbClr val="AB8422"/>
            </a:solidFill>
            <a:ln w="76200" cap="flat">
              <a:solidFill>
                <a:schemeClr val="accent5"/>
              </a:solidFill>
              <a:prstDash val="solid"/>
              <a:miter/>
            </a:ln>
          </p:spPr>
          <p:txBody>
            <a:bodyPr rtlCol="0" anchor="ctr"/>
            <a:lstStyle/>
            <a:p>
              <a:pPr algn="ctr"/>
              <a:r>
                <a:rPr lang="en-US" sz="2000">
                  <a:solidFill>
                    <a:schemeClr val="accent5"/>
                  </a:solidFill>
                </a:rPr>
                <a:t>Positive </a:t>
              </a:r>
              <a:br>
                <a:rPr lang="en-US" sz="2000">
                  <a:solidFill>
                    <a:schemeClr val="accent5"/>
                  </a:solidFill>
                </a:rPr>
              </a:br>
              <a:r>
                <a:rPr lang="en-US" sz="2000">
                  <a:solidFill>
                    <a:schemeClr val="accent5"/>
                  </a:solidFill>
                </a:rPr>
                <a:t>Energy</a:t>
              </a:r>
            </a:p>
          </p:txBody>
        </p:sp>
      </p:grpSp>
      <p:graphicFrame>
        <p:nvGraphicFramePr>
          <p:cNvPr id="17"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3864865"/>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cxnSp>
        <p:nvCxnSpPr>
          <p:cNvPr id="20" name="Straight Connector 19">
            <a:extLst>
              <a:ext uri="{FF2B5EF4-FFF2-40B4-BE49-F238E27FC236}">
                <a16:creationId xmlns:a16="http://schemas.microsoft.com/office/drawing/2014/main" id="{240A78A4-DAF5-427E-B072-173A57C61A97}"/>
              </a:ext>
            </a:extLst>
          </p:cNvPr>
          <p:cNvCxnSpPr>
            <a:cxnSpLocks/>
          </p:cNvCxnSpPr>
          <p:nvPr/>
        </p:nvCxnSpPr>
        <p:spPr>
          <a:xfrm>
            <a:off x="3505200" y="3654552"/>
            <a:ext cx="8534400"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1" name="Table 17">
            <a:extLst>
              <a:ext uri="{FF2B5EF4-FFF2-40B4-BE49-F238E27FC236}">
                <a16:creationId xmlns:a16="http://schemas.microsoft.com/office/drawing/2014/main" id="{54F4F345-72E0-4453-BBF5-116862DFDF10}"/>
              </a:ext>
            </a:extLst>
          </p:cNvPr>
          <p:cNvGraphicFramePr>
            <a:graphicFrameLocks noGrp="1"/>
          </p:cNvGraphicFramePr>
          <p:nvPr/>
        </p:nvGraphicFramePr>
        <p:xfrm>
          <a:off x="3581400" y="1050738"/>
          <a:ext cx="8229600" cy="1950720"/>
        </p:xfrm>
        <a:graphic>
          <a:graphicData uri="http://schemas.openxmlformats.org/drawingml/2006/table">
            <a:tbl>
              <a:tblPr firstRow="1" bandRow="1">
                <a:tableStyleId>{073A0DAA-6AF3-43AB-8588-CEC1D06C72B9}</a:tableStyleId>
              </a:tblPr>
              <a:tblGrid>
                <a:gridCol w="3200400">
                  <a:extLst>
                    <a:ext uri="{9D8B030D-6E8A-4147-A177-3AD203B41FA5}">
                      <a16:colId xmlns:a16="http://schemas.microsoft.com/office/drawing/2014/main" val="1481960092"/>
                    </a:ext>
                  </a:extLst>
                </a:gridCol>
                <a:gridCol w="5029200">
                  <a:extLst>
                    <a:ext uri="{9D8B030D-6E8A-4147-A177-3AD203B41FA5}">
                      <a16:colId xmlns:a16="http://schemas.microsoft.com/office/drawing/2014/main" val="312077661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Arial" panose="020B0604020202020204" pitchFamily="34" charset="0"/>
                          <a:ea typeface="Roboto" panose="02000000000000000000" pitchFamily="2" charset="0"/>
                          <a:cs typeface="Arial" panose="020B0604020202020204" pitchFamily="34" charset="0"/>
                        </a:rPr>
                        <a:t>Segment – Loca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1600" b="0" kern="1200">
                          <a:solidFill>
                            <a:schemeClr val="tx1"/>
                          </a:solidFill>
                          <a:latin typeface="+mn-lt"/>
                          <a:ea typeface="+mn-ea"/>
                          <a:cs typeface="+mn-cs"/>
                        </a:rPr>
                        <a:t>Lorem ipsum dolor sit </a:t>
                      </a:r>
                      <a:r>
                        <a:rPr lang="en-US" sz="1600" b="0" kern="1200" err="1">
                          <a:solidFill>
                            <a:schemeClr val="tx1"/>
                          </a:solidFill>
                          <a:latin typeface="+mn-lt"/>
                          <a:ea typeface="+mn-ea"/>
                          <a:cs typeface="+mn-cs"/>
                        </a:rPr>
                        <a:t>ame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onsecte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dipiscing</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ed</a:t>
                      </a:r>
                      <a:r>
                        <a:rPr lang="en-US" sz="1600" b="0" kern="1200">
                          <a:solidFill>
                            <a:schemeClr val="tx1"/>
                          </a:solidFill>
                          <a:latin typeface="+mn-lt"/>
                          <a:ea typeface="+mn-ea"/>
                          <a:cs typeface="+mn-cs"/>
                        </a:rPr>
                        <a:t> do </a:t>
                      </a:r>
                      <a:r>
                        <a:rPr lang="en-US" sz="1600" b="0" kern="1200" err="1">
                          <a:solidFill>
                            <a:schemeClr val="tx1"/>
                          </a:solidFill>
                          <a:latin typeface="+mn-lt"/>
                          <a:ea typeface="+mn-ea"/>
                          <a:cs typeface="+mn-cs"/>
                        </a:rPr>
                        <a:t>eiusmod</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tempo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ncididu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labore</a:t>
                      </a:r>
                      <a:r>
                        <a:rPr lang="en-US" sz="1600" b="0" kern="1200">
                          <a:solidFill>
                            <a:schemeClr val="tx1"/>
                          </a:solidFill>
                          <a:latin typeface="+mn-lt"/>
                          <a:ea typeface="+mn-ea"/>
                          <a:cs typeface="+mn-cs"/>
                        </a:rPr>
                        <a:t> e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magna </a:t>
                      </a:r>
                      <a:r>
                        <a:rPr lang="en-US" sz="1600" b="0" kern="1200" err="1">
                          <a:solidFill>
                            <a:schemeClr val="tx1"/>
                          </a:solidFill>
                          <a:latin typeface="+mn-lt"/>
                          <a:ea typeface="+mn-ea"/>
                          <a:cs typeface="+mn-cs"/>
                        </a:rPr>
                        <a:t>aliqu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U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nim</a:t>
                      </a:r>
                      <a:r>
                        <a:rPr lang="en-US" sz="1600" b="0" kern="1200">
                          <a:solidFill>
                            <a:schemeClr val="tx1"/>
                          </a:solidFill>
                          <a:latin typeface="+mn-lt"/>
                          <a:ea typeface="+mn-ea"/>
                          <a:cs typeface="+mn-cs"/>
                        </a:rPr>
                        <a:t> ad minim </a:t>
                      </a:r>
                      <a:r>
                        <a:rPr lang="en-US" sz="1600" b="0" kern="1200" err="1">
                          <a:solidFill>
                            <a:schemeClr val="tx1"/>
                          </a:solidFill>
                          <a:latin typeface="+mn-lt"/>
                          <a:ea typeface="+mn-ea"/>
                          <a:cs typeface="+mn-cs"/>
                        </a:rPr>
                        <a:t>veniam</a:t>
                      </a:r>
                      <a:r>
                        <a:rPr lang="en-US" sz="1600" b="0" kern="1200">
                          <a:solidFill>
                            <a:schemeClr val="tx1"/>
                          </a:solidFill>
                          <a:latin typeface="+mn-lt"/>
                          <a:ea typeface="+mn-ea"/>
                          <a:cs typeface="+mn-cs"/>
                        </a:rPr>
                        <a:t>.</a:t>
                      </a:r>
                    </a:p>
                    <a:p>
                      <a:pPr marL="0" algn="l" defTabSz="914400" rtl="0" eaLnBrk="1" latinLnBrk="0" hangingPunct="1"/>
                      <a:endParaRPr lang="en-US" sz="1600" b="0" kern="1200">
                        <a:solidFill>
                          <a:schemeClr val="tx1"/>
                        </a:solidFill>
                        <a:latin typeface="+mn-lt"/>
                        <a:ea typeface="+mn-ea"/>
                        <a:cs typeface="+mn-cs"/>
                      </a:endParaRPr>
                    </a:p>
                    <a:p>
                      <a:pPr marL="0" algn="l" defTabSz="914400" rtl="0" eaLnBrk="1" latinLnBrk="0" hangingPunct="1"/>
                      <a:r>
                        <a:rPr lang="en-US" sz="1600" b="0" kern="1200" err="1">
                          <a:solidFill>
                            <a:schemeClr val="tx1"/>
                          </a:solidFill>
                          <a:latin typeface="+mn-lt"/>
                          <a:ea typeface="+mn-ea"/>
                          <a:cs typeface="+mn-cs"/>
                        </a:rPr>
                        <a:t>Duis</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au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irure</a:t>
                      </a:r>
                      <a:r>
                        <a:rPr lang="en-US" sz="1600" b="0" kern="1200">
                          <a:solidFill>
                            <a:schemeClr val="tx1"/>
                          </a:solidFill>
                          <a:latin typeface="+mn-lt"/>
                          <a:ea typeface="+mn-ea"/>
                          <a:cs typeface="+mn-cs"/>
                        </a:rPr>
                        <a:t> dolor in </a:t>
                      </a:r>
                      <a:r>
                        <a:rPr lang="en-US" sz="1600" b="0" kern="1200" err="1">
                          <a:solidFill>
                            <a:schemeClr val="tx1"/>
                          </a:solidFill>
                          <a:latin typeface="+mn-lt"/>
                          <a:ea typeface="+mn-ea"/>
                          <a:cs typeface="+mn-cs"/>
                        </a:rPr>
                        <a:t>reprehenderit</a:t>
                      </a:r>
                      <a:r>
                        <a:rPr lang="en-US" sz="1600" b="0" kern="1200">
                          <a:solidFill>
                            <a:schemeClr val="tx1"/>
                          </a:solidFill>
                          <a:latin typeface="+mn-lt"/>
                          <a:ea typeface="+mn-ea"/>
                          <a:cs typeface="+mn-cs"/>
                        </a:rPr>
                        <a:t> in </a:t>
                      </a:r>
                      <a:r>
                        <a:rPr lang="en-US" sz="1600" b="0" kern="1200" err="1">
                          <a:solidFill>
                            <a:schemeClr val="tx1"/>
                          </a:solidFill>
                          <a:latin typeface="+mn-lt"/>
                          <a:ea typeface="+mn-ea"/>
                          <a:cs typeface="+mn-cs"/>
                        </a:rPr>
                        <a:t>voluptat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veli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ss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illum</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dolore</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u</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fugi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nulla</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pariat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Excepteur</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i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occaeca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cupidatat</a:t>
                      </a:r>
                      <a:r>
                        <a:rPr lang="en-US" sz="1600" b="0" kern="1200">
                          <a:solidFill>
                            <a:schemeClr val="tx1"/>
                          </a:solidFill>
                          <a:latin typeface="+mn-lt"/>
                          <a:ea typeface="+mn-ea"/>
                          <a:cs typeface="+mn-cs"/>
                        </a:rPr>
                        <a:t> non </a:t>
                      </a:r>
                      <a:r>
                        <a:rPr lang="en-US" sz="1600" b="0" kern="1200" err="1">
                          <a:solidFill>
                            <a:schemeClr val="tx1"/>
                          </a:solidFill>
                          <a:latin typeface="+mn-lt"/>
                          <a:ea typeface="+mn-ea"/>
                          <a:cs typeface="+mn-cs"/>
                        </a:rPr>
                        <a:t>proident</a:t>
                      </a:r>
                      <a:r>
                        <a:rPr lang="en-US" sz="1600" b="0" kern="1200">
                          <a:solidFill>
                            <a:schemeClr val="tx1"/>
                          </a:solidFill>
                          <a:latin typeface="+mn-lt"/>
                          <a:ea typeface="+mn-ea"/>
                          <a:cs typeface="+mn-cs"/>
                        </a:rPr>
                        <a:t>, </a:t>
                      </a:r>
                      <a:r>
                        <a:rPr lang="en-US" sz="1600" b="0" kern="1200" err="1">
                          <a:solidFill>
                            <a:schemeClr val="tx1"/>
                          </a:solidFill>
                          <a:latin typeface="+mn-lt"/>
                          <a:ea typeface="+mn-ea"/>
                          <a:cs typeface="+mn-cs"/>
                        </a:rPr>
                        <a:t>sunt</a:t>
                      </a:r>
                      <a:r>
                        <a:rPr lang="en-US" sz="1600" b="0" kern="1200">
                          <a:solidFill>
                            <a:schemeClr val="tx1"/>
                          </a:solidFill>
                          <a:latin typeface="+mn-lt"/>
                          <a:ea typeface="+mn-ea"/>
                          <a:cs typeface="+mn-cs"/>
                        </a:rPr>
                        <a:t> in culpa qui </a:t>
                      </a:r>
                      <a:r>
                        <a:rPr lang="en-US" sz="1600" b="0" kern="1200" err="1">
                          <a:solidFill>
                            <a:schemeClr val="tx1"/>
                          </a:solidFill>
                          <a:latin typeface="+mn-lt"/>
                          <a:ea typeface="+mn-ea"/>
                          <a:cs typeface="+mn-cs"/>
                        </a:rPr>
                        <a:t>officia</a:t>
                      </a:r>
                      <a:endParaRPr lang="en-US" sz="1600" b="0" kern="1200">
                        <a:solidFill>
                          <a:schemeClr val="tx1"/>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591366"/>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solidFill>
                            <a:schemeClr val="tx1"/>
                          </a:solidFill>
                          <a:latin typeface="Arial" panose="020B0604020202020204" pitchFamily="34" charset="0"/>
                          <a:ea typeface="Roboto" panose="02000000000000000000" pitchFamily="2" charset="0"/>
                          <a:cs typeface="Arial" panose="020B0604020202020204" pitchFamily="34" charset="0"/>
                        </a:rPr>
                        <a:t>Rene </a:t>
                      </a:r>
                      <a:r>
                        <a:rPr lang="en-US" err="1">
                          <a:solidFill>
                            <a:schemeClr val="tx1"/>
                          </a:solidFill>
                          <a:latin typeface="Arial" panose="020B0604020202020204" pitchFamily="34" charset="0"/>
                          <a:ea typeface="Roboto" panose="02000000000000000000" pitchFamily="2" charset="0"/>
                          <a:cs typeface="Arial" panose="020B0604020202020204" pitchFamily="34" charset="0"/>
                        </a:rPr>
                        <a:t>Arnaux</a:t>
                      </a:r>
                      <a:endParaRPr kumimoji="0" lang="en-US" sz="12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95000"/>
                      </a:schemeClr>
                    </a:solidFill>
                  </a:tcPr>
                </a:tc>
                <a:extLst>
                  <a:ext uri="{0D108BD9-81ED-4DB2-BD59-A6C34878D82A}">
                    <a16:rowId xmlns:a16="http://schemas.microsoft.com/office/drawing/2014/main" val="13331290"/>
                  </a:ext>
                </a:extLst>
              </a:tr>
            </a:tbl>
          </a:graphicData>
        </a:graphic>
      </p:graphicFrame>
    </p:spTree>
    <p:extLst>
      <p:ext uri="{BB962C8B-B14F-4D97-AF65-F5344CB8AC3E}">
        <p14:creationId xmlns:p14="http://schemas.microsoft.com/office/powerpoint/2010/main" val="6410927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400249591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1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Rectangle 1"/>
          <p:cNvSpPr/>
          <p:nvPr/>
        </p:nvSpPr>
        <p:spPr>
          <a:xfrm>
            <a:off x="1524000" y="1544320"/>
            <a:ext cx="9144000" cy="28956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
        <p:nvSpPr>
          <p:cNvPr id="13" name="Text Placeholder 1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grpSp>
        <p:nvGrpSpPr>
          <p:cNvPr id="17" name="Group 16"/>
          <p:cNvGrpSpPr>
            <a:grpSpLocks noChangeAspect="1"/>
          </p:cNvGrpSpPr>
          <p:nvPr/>
        </p:nvGrpSpPr>
        <p:grpSpPr bwMode="gray">
          <a:xfrm>
            <a:off x="1836669" y="1710693"/>
            <a:ext cx="3388598" cy="1980000"/>
            <a:chOff x="236680" y="1501996"/>
            <a:chExt cx="6583681" cy="3846923"/>
          </a:xfrm>
          <a:solidFill>
            <a:schemeClr val="tx1">
              <a:lumMod val="60000"/>
              <a:lumOff val="40000"/>
            </a:schemeClr>
          </a:solidFill>
        </p:grpSpPr>
        <p:sp>
          <p:nvSpPr>
            <p:cNvPr id="41" name="Freeform 7"/>
            <p:cNvSpPr>
              <a:spLocks noEditPoints="1"/>
            </p:cNvSpPr>
            <p:nvPr/>
          </p:nvSpPr>
          <p:spPr bwMode="gray">
            <a:xfrm>
              <a:off x="800638" y="1560515"/>
              <a:ext cx="1606930" cy="1923462"/>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2" name="Freeform 8"/>
            <p:cNvSpPr>
              <a:spLocks noEditPoints="1"/>
            </p:cNvSpPr>
            <p:nvPr/>
          </p:nvSpPr>
          <p:spPr bwMode="gray">
            <a:xfrm>
              <a:off x="2046913" y="1501996"/>
              <a:ext cx="1091710" cy="1499842"/>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3" name="Freeform 9"/>
            <p:cNvSpPr>
              <a:spLocks noEditPoints="1"/>
            </p:cNvSpPr>
            <p:nvPr/>
          </p:nvSpPr>
          <p:spPr bwMode="gray">
            <a:xfrm>
              <a:off x="236680" y="2527333"/>
              <a:ext cx="1911885" cy="1400617"/>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4" name="Freeform 10"/>
            <p:cNvSpPr>
              <a:spLocks/>
            </p:cNvSpPr>
            <p:nvPr/>
          </p:nvSpPr>
          <p:spPr bwMode="gray">
            <a:xfrm>
              <a:off x="1235095" y="3673524"/>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5" name="Freeform 11"/>
            <p:cNvSpPr>
              <a:spLocks/>
            </p:cNvSpPr>
            <p:nvPr/>
          </p:nvSpPr>
          <p:spPr bwMode="gray">
            <a:xfrm>
              <a:off x="1825508" y="3852894"/>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6" name="Freeform 12"/>
            <p:cNvSpPr>
              <a:spLocks/>
            </p:cNvSpPr>
            <p:nvPr/>
          </p:nvSpPr>
          <p:spPr bwMode="gray">
            <a:xfrm>
              <a:off x="1743352" y="393558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7" name="Freeform 13"/>
            <p:cNvSpPr>
              <a:spLocks/>
            </p:cNvSpPr>
            <p:nvPr/>
          </p:nvSpPr>
          <p:spPr bwMode="gray">
            <a:xfrm>
              <a:off x="1687653" y="394703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8" name="Freeform 14"/>
            <p:cNvSpPr>
              <a:spLocks/>
            </p:cNvSpPr>
            <p:nvPr/>
          </p:nvSpPr>
          <p:spPr bwMode="gray">
            <a:xfrm>
              <a:off x="2926967" y="2753773"/>
              <a:ext cx="193556" cy="123397"/>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9" name="Freeform 15"/>
            <p:cNvSpPr>
              <a:spLocks/>
            </p:cNvSpPr>
            <p:nvPr/>
          </p:nvSpPr>
          <p:spPr bwMode="gray">
            <a:xfrm>
              <a:off x="1726643" y="4005550"/>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16"/>
            <p:cNvSpPr>
              <a:spLocks/>
            </p:cNvSpPr>
            <p:nvPr/>
          </p:nvSpPr>
          <p:spPr bwMode="gray">
            <a:xfrm>
              <a:off x="1740567" y="397883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17"/>
            <p:cNvSpPr>
              <a:spLocks/>
            </p:cNvSpPr>
            <p:nvPr/>
          </p:nvSpPr>
          <p:spPr bwMode="gray">
            <a:xfrm>
              <a:off x="1941085" y="3935582"/>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18"/>
            <p:cNvSpPr>
              <a:spLocks/>
            </p:cNvSpPr>
            <p:nvPr/>
          </p:nvSpPr>
          <p:spPr bwMode="gray">
            <a:xfrm>
              <a:off x="1771202" y="399664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3" name="Freeform 19"/>
            <p:cNvSpPr>
              <a:spLocks/>
            </p:cNvSpPr>
            <p:nvPr/>
          </p:nvSpPr>
          <p:spPr bwMode="gray">
            <a:xfrm>
              <a:off x="2012103" y="391014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20"/>
            <p:cNvSpPr>
              <a:spLocks/>
            </p:cNvSpPr>
            <p:nvPr/>
          </p:nvSpPr>
          <p:spPr bwMode="gray">
            <a:xfrm>
              <a:off x="2058053" y="3910140"/>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21"/>
            <p:cNvSpPr>
              <a:spLocks/>
            </p:cNvSpPr>
            <p:nvPr/>
          </p:nvSpPr>
          <p:spPr bwMode="gray">
            <a:xfrm>
              <a:off x="1804622" y="4061523"/>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22"/>
            <p:cNvSpPr>
              <a:spLocks/>
            </p:cNvSpPr>
            <p:nvPr/>
          </p:nvSpPr>
          <p:spPr bwMode="gray">
            <a:xfrm>
              <a:off x="2144389" y="393431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23"/>
            <p:cNvSpPr>
              <a:spLocks/>
            </p:cNvSpPr>
            <p:nvPr/>
          </p:nvSpPr>
          <p:spPr bwMode="gray">
            <a:xfrm>
              <a:off x="1857536" y="4086966"/>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24"/>
            <p:cNvSpPr>
              <a:spLocks/>
            </p:cNvSpPr>
            <p:nvPr/>
          </p:nvSpPr>
          <p:spPr bwMode="gray">
            <a:xfrm>
              <a:off x="2237685" y="4066612"/>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Freeform 25"/>
            <p:cNvSpPr>
              <a:spLocks/>
            </p:cNvSpPr>
            <p:nvPr/>
          </p:nvSpPr>
          <p:spPr bwMode="gray">
            <a:xfrm>
              <a:off x="2032989" y="4043714"/>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26"/>
            <p:cNvSpPr>
              <a:spLocks/>
            </p:cNvSpPr>
            <p:nvPr/>
          </p:nvSpPr>
          <p:spPr bwMode="gray">
            <a:xfrm>
              <a:off x="1893741" y="422562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7"/>
            <p:cNvSpPr>
              <a:spLocks/>
            </p:cNvSpPr>
            <p:nvPr/>
          </p:nvSpPr>
          <p:spPr bwMode="gray">
            <a:xfrm>
              <a:off x="1928554" y="4039897"/>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Freeform 28"/>
            <p:cNvSpPr>
              <a:spLocks/>
            </p:cNvSpPr>
            <p:nvPr/>
          </p:nvSpPr>
          <p:spPr bwMode="gray">
            <a:xfrm>
              <a:off x="3176222" y="3141772"/>
              <a:ext cx="80764" cy="105587"/>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3" name="Freeform 29"/>
            <p:cNvSpPr>
              <a:spLocks/>
            </p:cNvSpPr>
            <p:nvPr/>
          </p:nvSpPr>
          <p:spPr bwMode="gray">
            <a:xfrm>
              <a:off x="2251610" y="410732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4" name="Freeform 30"/>
            <p:cNvSpPr>
              <a:spLocks noEditPoints="1"/>
            </p:cNvSpPr>
            <p:nvPr/>
          </p:nvSpPr>
          <p:spPr bwMode="gray">
            <a:xfrm>
              <a:off x="3219388" y="3040002"/>
              <a:ext cx="178238" cy="246794"/>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5" name="Freeform 31"/>
            <p:cNvSpPr>
              <a:spLocks/>
            </p:cNvSpPr>
            <p:nvPr/>
          </p:nvSpPr>
          <p:spPr bwMode="gray">
            <a:xfrm>
              <a:off x="2311487" y="414802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Freeform 32"/>
            <p:cNvSpPr>
              <a:spLocks/>
            </p:cNvSpPr>
            <p:nvPr/>
          </p:nvSpPr>
          <p:spPr bwMode="gray">
            <a:xfrm>
              <a:off x="2376934" y="415311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7" name="Freeform 33"/>
            <p:cNvSpPr>
              <a:spLocks noEditPoints="1"/>
            </p:cNvSpPr>
            <p:nvPr/>
          </p:nvSpPr>
          <p:spPr bwMode="gray">
            <a:xfrm>
              <a:off x="3457504" y="1863281"/>
              <a:ext cx="473445" cy="1195803"/>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Freeform 34"/>
            <p:cNvSpPr>
              <a:spLocks/>
            </p:cNvSpPr>
            <p:nvPr/>
          </p:nvSpPr>
          <p:spPr bwMode="gray">
            <a:xfrm>
              <a:off x="1885386" y="4249798"/>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9" name="Freeform 35"/>
            <p:cNvSpPr>
              <a:spLocks/>
            </p:cNvSpPr>
            <p:nvPr/>
          </p:nvSpPr>
          <p:spPr bwMode="gray">
            <a:xfrm>
              <a:off x="3192932" y="3475070"/>
              <a:ext cx="62663" cy="110676"/>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Freeform 36"/>
            <p:cNvSpPr>
              <a:spLocks/>
            </p:cNvSpPr>
            <p:nvPr/>
          </p:nvSpPr>
          <p:spPr bwMode="gray">
            <a:xfrm>
              <a:off x="3431047" y="3195202"/>
              <a:ext cx="66839" cy="71239"/>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Freeform 37"/>
            <p:cNvSpPr>
              <a:spLocks/>
            </p:cNvSpPr>
            <p:nvPr/>
          </p:nvSpPr>
          <p:spPr bwMode="gray">
            <a:xfrm>
              <a:off x="3412944" y="3246086"/>
              <a:ext cx="68233" cy="5215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Freeform 38"/>
            <p:cNvSpPr>
              <a:spLocks noEditPoints="1"/>
            </p:cNvSpPr>
            <p:nvPr/>
          </p:nvSpPr>
          <p:spPr bwMode="gray">
            <a:xfrm>
              <a:off x="3279266" y="3256264"/>
              <a:ext cx="260395" cy="235345"/>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3" name="Freeform 39"/>
            <p:cNvSpPr>
              <a:spLocks/>
            </p:cNvSpPr>
            <p:nvPr/>
          </p:nvSpPr>
          <p:spPr bwMode="gray">
            <a:xfrm>
              <a:off x="3198502" y="3438179"/>
              <a:ext cx="225583" cy="167921"/>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40"/>
            <p:cNvSpPr>
              <a:spLocks noEditPoints="1"/>
            </p:cNvSpPr>
            <p:nvPr/>
          </p:nvSpPr>
          <p:spPr bwMode="gray">
            <a:xfrm>
              <a:off x="3513202" y="3065444"/>
              <a:ext cx="80764" cy="86505"/>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5" name="Freeform 41"/>
            <p:cNvSpPr>
              <a:spLocks/>
            </p:cNvSpPr>
            <p:nvPr/>
          </p:nvSpPr>
          <p:spPr bwMode="gray">
            <a:xfrm>
              <a:off x="3471428" y="3281707"/>
              <a:ext cx="13925" cy="17810"/>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Freeform 42"/>
            <p:cNvSpPr>
              <a:spLocks/>
            </p:cNvSpPr>
            <p:nvPr/>
          </p:nvSpPr>
          <p:spPr bwMode="gray">
            <a:xfrm>
              <a:off x="3567510" y="2643096"/>
              <a:ext cx="235331" cy="496132"/>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Freeform 43"/>
            <p:cNvSpPr>
              <a:spLocks/>
            </p:cNvSpPr>
            <p:nvPr/>
          </p:nvSpPr>
          <p:spPr bwMode="gray">
            <a:xfrm>
              <a:off x="3127484" y="3608644"/>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44"/>
            <p:cNvSpPr>
              <a:spLocks noEditPoints="1"/>
            </p:cNvSpPr>
            <p:nvPr/>
          </p:nvSpPr>
          <p:spPr bwMode="gray">
            <a:xfrm>
              <a:off x="3474213" y="3150676"/>
              <a:ext cx="165706" cy="202269"/>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45"/>
            <p:cNvSpPr>
              <a:spLocks/>
            </p:cNvSpPr>
            <p:nvPr/>
          </p:nvSpPr>
          <p:spPr bwMode="gray">
            <a:xfrm>
              <a:off x="3057860" y="3771477"/>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0" name="Freeform 46"/>
            <p:cNvSpPr>
              <a:spLocks/>
            </p:cNvSpPr>
            <p:nvPr/>
          </p:nvSpPr>
          <p:spPr bwMode="gray">
            <a:xfrm>
              <a:off x="3474213" y="3341497"/>
              <a:ext cx="82157" cy="45796"/>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1" name="Freeform 47"/>
            <p:cNvSpPr>
              <a:spLocks/>
            </p:cNvSpPr>
            <p:nvPr/>
          </p:nvSpPr>
          <p:spPr bwMode="gray">
            <a:xfrm>
              <a:off x="2101222" y="441263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Freeform 48"/>
            <p:cNvSpPr>
              <a:spLocks/>
            </p:cNvSpPr>
            <p:nvPr/>
          </p:nvSpPr>
          <p:spPr bwMode="gray">
            <a:xfrm>
              <a:off x="3745747" y="2599843"/>
              <a:ext cx="192163" cy="399449"/>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3" name="Freeform 49"/>
            <p:cNvSpPr>
              <a:spLocks/>
            </p:cNvSpPr>
            <p:nvPr/>
          </p:nvSpPr>
          <p:spPr bwMode="gray">
            <a:xfrm>
              <a:off x="3538269" y="3312237"/>
              <a:ext cx="143427" cy="63607"/>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Freeform 50"/>
            <p:cNvSpPr>
              <a:spLocks/>
            </p:cNvSpPr>
            <p:nvPr/>
          </p:nvSpPr>
          <p:spPr bwMode="gray">
            <a:xfrm>
              <a:off x="3589790" y="3257537"/>
              <a:ext cx="119754" cy="64879"/>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51"/>
            <p:cNvSpPr>
              <a:spLocks/>
            </p:cNvSpPr>
            <p:nvPr/>
          </p:nvSpPr>
          <p:spPr bwMode="gray">
            <a:xfrm>
              <a:off x="3056467" y="3779109"/>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Freeform 52"/>
            <p:cNvSpPr>
              <a:spLocks noEditPoints="1"/>
            </p:cNvSpPr>
            <p:nvPr/>
          </p:nvSpPr>
          <p:spPr bwMode="gray">
            <a:xfrm>
              <a:off x="3623209" y="3157038"/>
              <a:ext cx="182416" cy="152656"/>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7" name="Freeform 53"/>
            <p:cNvSpPr>
              <a:spLocks/>
            </p:cNvSpPr>
            <p:nvPr/>
          </p:nvSpPr>
          <p:spPr bwMode="gray">
            <a:xfrm>
              <a:off x="3062037" y="4015726"/>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Freeform 54"/>
            <p:cNvSpPr>
              <a:spLocks/>
            </p:cNvSpPr>
            <p:nvPr/>
          </p:nvSpPr>
          <p:spPr bwMode="gray">
            <a:xfrm>
              <a:off x="3049505" y="3964842"/>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9" name="Freeform 55"/>
            <p:cNvSpPr>
              <a:spLocks/>
            </p:cNvSpPr>
            <p:nvPr/>
          </p:nvSpPr>
          <p:spPr bwMode="gray">
            <a:xfrm>
              <a:off x="3747141" y="3056540"/>
              <a:ext cx="132287" cy="72512"/>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Freeform 56"/>
            <p:cNvSpPr>
              <a:spLocks/>
            </p:cNvSpPr>
            <p:nvPr/>
          </p:nvSpPr>
          <p:spPr bwMode="gray">
            <a:xfrm>
              <a:off x="3791701" y="3010742"/>
              <a:ext cx="87727" cy="62335"/>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1" name="Freeform 57"/>
            <p:cNvSpPr>
              <a:spLocks/>
            </p:cNvSpPr>
            <p:nvPr/>
          </p:nvSpPr>
          <p:spPr bwMode="gray">
            <a:xfrm>
              <a:off x="3609285" y="3363123"/>
              <a:ext cx="58484" cy="3562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Freeform 58"/>
            <p:cNvSpPr>
              <a:spLocks/>
            </p:cNvSpPr>
            <p:nvPr/>
          </p:nvSpPr>
          <p:spPr bwMode="gray">
            <a:xfrm>
              <a:off x="3064822" y="4036081"/>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3" name="Freeform 59"/>
            <p:cNvSpPr>
              <a:spLocks noEditPoints="1"/>
            </p:cNvSpPr>
            <p:nvPr/>
          </p:nvSpPr>
          <p:spPr bwMode="gray">
            <a:xfrm>
              <a:off x="3485353" y="3358035"/>
              <a:ext cx="218621" cy="232800"/>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4" name="Freeform 60"/>
            <p:cNvSpPr>
              <a:spLocks/>
            </p:cNvSpPr>
            <p:nvPr/>
          </p:nvSpPr>
          <p:spPr bwMode="gray">
            <a:xfrm>
              <a:off x="3747141" y="3107424"/>
              <a:ext cx="107222" cy="73784"/>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Freeform 61"/>
            <p:cNvSpPr>
              <a:spLocks/>
            </p:cNvSpPr>
            <p:nvPr/>
          </p:nvSpPr>
          <p:spPr bwMode="gray">
            <a:xfrm>
              <a:off x="3209642" y="3583201"/>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Freeform 62"/>
            <p:cNvSpPr>
              <a:spLocks/>
            </p:cNvSpPr>
            <p:nvPr/>
          </p:nvSpPr>
          <p:spPr bwMode="gray">
            <a:xfrm>
              <a:off x="3674732" y="3294428"/>
              <a:ext cx="103044" cy="44525"/>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7" name="Freeform 63"/>
            <p:cNvSpPr>
              <a:spLocks/>
            </p:cNvSpPr>
            <p:nvPr/>
          </p:nvSpPr>
          <p:spPr bwMode="gray">
            <a:xfrm>
              <a:off x="2227938" y="457546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Freeform 64"/>
            <p:cNvSpPr>
              <a:spLocks/>
            </p:cNvSpPr>
            <p:nvPr/>
          </p:nvSpPr>
          <p:spPr bwMode="gray">
            <a:xfrm>
              <a:off x="3662199" y="3321143"/>
              <a:ext cx="123932" cy="69967"/>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9" name="Freeform 65"/>
            <p:cNvSpPr>
              <a:spLocks noEditPoints="1"/>
            </p:cNvSpPr>
            <p:nvPr/>
          </p:nvSpPr>
          <p:spPr bwMode="gray">
            <a:xfrm>
              <a:off x="3613463" y="3372028"/>
              <a:ext cx="107222" cy="97955"/>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0" name="Freeform 66"/>
            <p:cNvSpPr>
              <a:spLocks noEditPoints="1"/>
            </p:cNvSpPr>
            <p:nvPr/>
          </p:nvSpPr>
          <p:spPr bwMode="gray">
            <a:xfrm>
              <a:off x="2021849" y="416202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Freeform 67"/>
            <p:cNvSpPr>
              <a:spLocks/>
            </p:cNvSpPr>
            <p:nvPr/>
          </p:nvSpPr>
          <p:spPr bwMode="gray">
            <a:xfrm>
              <a:off x="3094065" y="4036081"/>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Freeform 68"/>
            <p:cNvSpPr>
              <a:spLocks/>
            </p:cNvSpPr>
            <p:nvPr/>
          </p:nvSpPr>
          <p:spPr bwMode="gray">
            <a:xfrm>
              <a:off x="3145587" y="3818545"/>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3" name="Freeform 69"/>
            <p:cNvSpPr>
              <a:spLocks/>
            </p:cNvSpPr>
            <p:nvPr/>
          </p:nvSpPr>
          <p:spPr bwMode="gray">
            <a:xfrm>
              <a:off x="3653844" y="3402559"/>
              <a:ext cx="69624" cy="62335"/>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Freeform 70"/>
            <p:cNvSpPr>
              <a:spLocks/>
            </p:cNvSpPr>
            <p:nvPr/>
          </p:nvSpPr>
          <p:spPr bwMode="gray">
            <a:xfrm>
              <a:off x="3788916" y="3115057"/>
              <a:ext cx="172668" cy="13739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Freeform 71"/>
            <p:cNvSpPr>
              <a:spLocks/>
            </p:cNvSpPr>
            <p:nvPr/>
          </p:nvSpPr>
          <p:spPr bwMode="gray">
            <a:xfrm>
              <a:off x="3126093" y="4081876"/>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Freeform 72"/>
            <p:cNvSpPr>
              <a:spLocks/>
            </p:cNvSpPr>
            <p:nvPr/>
          </p:nvSpPr>
          <p:spPr bwMode="gray">
            <a:xfrm>
              <a:off x="3503456" y="3579385"/>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7" name="Freeform 73"/>
            <p:cNvSpPr>
              <a:spLocks/>
            </p:cNvSpPr>
            <p:nvPr/>
          </p:nvSpPr>
          <p:spPr bwMode="gray">
            <a:xfrm>
              <a:off x="3702582" y="3443268"/>
              <a:ext cx="34813" cy="38164"/>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Freeform 74"/>
            <p:cNvSpPr>
              <a:spLocks/>
            </p:cNvSpPr>
            <p:nvPr/>
          </p:nvSpPr>
          <p:spPr bwMode="gray">
            <a:xfrm>
              <a:off x="3736002" y="3328776"/>
              <a:ext cx="171276" cy="109403"/>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9" name="Freeform 75"/>
            <p:cNvSpPr>
              <a:spLocks/>
            </p:cNvSpPr>
            <p:nvPr/>
          </p:nvSpPr>
          <p:spPr bwMode="gray">
            <a:xfrm>
              <a:off x="3709543" y="3380933"/>
              <a:ext cx="73803" cy="99226"/>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Freeform 76"/>
            <p:cNvSpPr>
              <a:spLocks/>
            </p:cNvSpPr>
            <p:nvPr/>
          </p:nvSpPr>
          <p:spPr bwMode="gray">
            <a:xfrm>
              <a:off x="3768029" y="3221916"/>
              <a:ext cx="328627" cy="198452"/>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77"/>
            <p:cNvSpPr>
              <a:spLocks/>
            </p:cNvSpPr>
            <p:nvPr/>
          </p:nvSpPr>
          <p:spPr bwMode="gray">
            <a:xfrm>
              <a:off x="3158119" y="4107319"/>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2" name="Freeform 78"/>
            <p:cNvSpPr>
              <a:spLocks noEditPoints="1"/>
            </p:cNvSpPr>
            <p:nvPr/>
          </p:nvSpPr>
          <p:spPr bwMode="gray">
            <a:xfrm>
              <a:off x="3727647" y="2134244"/>
              <a:ext cx="2910298" cy="1361179"/>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3" name="Freeform 79"/>
            <p:cNvSpPr>
              <a:spLocks/>
            </p:cNvSpPr>
            <p:nvPr/>
          </p:nvSpPr>
          <p:spPr bwMode="gray">
            <a:xfrm>
              <a:off x="3265341" y="3994100"/>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4" name="Freeform 80"/>
            <p:cNvSpPr>
              <a:spLocks/>
            </p:cNvSpPr>
            <p:nvPr/>
          </p:nvSpPr>
          <p:spPr bwMode="gray">
            <a:xfrm>
              <a:off x="3717897" y="3464893"/>
              <a:ext cx="32028" cy="66151"/>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5" name="Freeform 81"/>
            <p:cNvSpPr>
              <a:spLocks/>
            </p:cNvSpPr>
            <p:nvPr/>
          </p:nvSpPr>
          <p:spPr bwMode="gray">
            <a:xfrm>
              <a:off x="3740177" y="3469981"/>
              <a:ext cx="44559" cy="3562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6" name="Freeform 82"/>
            <p:cNvSpPr>
              <a:spLocks/>
            </p:cNvSpPr>
            <p:nvPr/>
          </p:nvSpPr>
          <p:spPr bwMode="gray">
            <a:xfrm>
              <a:off x="3211033" y="4070428"/>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7" name="Freeform 83"/>
            <p:cNvSpPr>
              <a:spLocks/>
            </p:cNvSpPr>
            <p:nvPr/>
          </p:nvSpPr>
          <p:spPr bwMode="gray">
            <a:xfrm>
              <a:off x="3772206" y="3425458"/>
              <a:ext cx="112792" cy="71239"/>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8" name="Freeform 84"/>
            <p:cNvSpPr>
              <a:spLocks/>
            </p:cNvSpPr>
            <p:nvPr/>
          </p:nvSpPr>
          <p:spPr bwMode="gray">
            <a:xfrm>
              <a:off x="3851578" y="3324959"/>
              <a:ext cx="62663" cy="72512"/>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Freeform 85"/>
            <p:cNvSpPr>
              <a:spLocks/>
            </p:cNvSpPr>
            <p:nvPr/>
          </p:nvSpPr>
          <p:spPr bwMode="gray">
            <a:xfrm>
              <a:off x="2304525" y="477646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86"/>
            <p:cNvSpPr>
              <a:spLocks/>
            </p:cNvSpPr>
            <p:nvPr/>
          </p:nvSpPr>
          <p:spPr bwMode="gray">
            <a:xfrm>
              <a:off x="3369777" y="3846532"/>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1" name="Freeform 87"/>
            <p:cNvSpPr>
              <a:spLocks noEditPoints="1"/>
            </p:cNvSpPr>
            <p:nvPr/>
          </p:nvSpPr>
          <p:spPr bwMode="gray">
            <a:xfrm>
              <a:off x="3733217" y="3485247"/>
              <a:ext cx="118362" cy="142478"/>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2" name="Freeform 88"/>
            <p:cNvSpPr>
              <a:spLocks/>
            </p:cNvSpPr>
            <p:nvPr/>
          </p:nvSpPr>
          <p:spPr bwMode="gray">
            <a:xfrm>
              <a:off x="3536875" y="3663346"/>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3" name="Freeform 89"/>
            <p:cNvSpPr>
              <a:spLocks/>
            </p:cNvSpPr>
            <p:nvPr/>
          </p:nvSpPr>
          <p:spPr bwMode="gray">
            <a:xfrm>
              <a:off x="3308506" y="4061522"/>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4" name="Freeform 90"/>
            <p:cNvSpPr>
              <a:spLocks/>
            </p:cNvSpPr>
            <p:nvPr/>
          </p:nvSpPr>
          <p:spPr bwMode="gray">
            <a:xfrm>
              <a:off x="3365600" y="4062794"/>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Freeform 91"/>
            <p:cNvSpPr>
              <a:spLocks/>
            </p:cNvSpPr>
            <p:nvPr/>
          </p:nvSpPr>
          <p:spPr bwMode="gray">
            <a:xfrm>
              <a:off x="3382310" y="4041170"/>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6" name="Freeform 92"/>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7" name="Freeform 93"/>
            <p:cNvSpPr>
              <a:spLocks/>
            </p:cNvSpPr>
            <p:nvPr/>
          </p:nvSpPr>
          <p:spPr bwMode="gray">
            <a:xfrm>
              <a:off x="3415729" y="4016999"/>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8" name="Freeform 94"/>
            <p:cNvSpPr>
              <a:spLocks/>
            </p:cNvSpPr>
            <p:nvPr/>
          </p:nvSpPr>
          <p:spPr bwMode="gray">
            <a:xfrm>
              <a:off x="3951837" y="3612460"/>
              <a:ext cx="41775" cy="22898"/>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9" name="Freeform 95"/>
            <p:cNvSpPr>
              <a:spLocks/>
            </p:cNvSpPr>
            <p:nvPr/>
          </p:nvSpPr>
          <p:spPr bwMode="gray">
            <a:xfrm>
              <a:off x="3816766" y="3695149"/>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0" name="Freeform 96"/>
            <p:cNvSpPr>
              <a:spLocks/>
            </p:cNvSpPr>
            <p:nvPr/>
          </p:nvSpPr>
          <p:spPr bwMode="gray">
            <a:xfrm>
              <a:off x="3612070" y="3847805"/>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Freeform 97"/>
            <p:cNvSpPr>
              <a:spLocks/>
            </p:cNvSpPr>
            <p:nvPr/>
          </p:nvSpPr>
          <p:spPr bwMode="gray">
            <a:xfrm>
              <a:off x="3522951" y="4028447"/>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Freeform 98"/>
            <p:cNvSpPr>
              <a:spLocks/>
            </p:cNvSpPr>
            <p:nvPr/>
          </p:nvSpPr>
          <p:spPr bwMode="gray">
            <a:xfrm>
              <a:off x="4096655" y="3440723"/>
              <a:ext cx="122539" cy="57246"/>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Freeform 99"/>
            <p:cNvSpPr>
              <a:spLocks/>
            </p:cNvSpPr>
            <p:nvPr/>
          </p:nvSpPr>
          <p:spPr bwMode="gray">
            <a:xfrm>
              <a:off x="4003359" y="3635359"/>
              <a:ext cx="27850" cy="330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4" name="Freeform 100"/>
            <p:cNvSpPr>
              <a:spLocks/>
            </p:cNvSpPr>
            <p:nvPr/>
          </p:nvSpPr>
          <p:spPr bwMode="gray">
            <a:xfrm>
              <a:off x="4013106" y="3578114"/>
              <a:ext cx="128109" cy="104314"/>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Freeform 101"/>
            <p:cNvSpPr>
              <a:spLocks/>
            </p:cNvSpPr>
            <p:nvPr/>
          </p:nvSpPr>
          <p:spPr bwMode="gray">
            <a:xfrm>
              <a:off x="3988041" y="3664617"/>
              <a:ext cx="27850" cy="71239"/>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6" name="Freeform 102"/>
            <p:cNvSpPr>
              <a:spLocks/>
            </p:cNvSpPr>
            <p:nvPr/>
          </p:nvSpPr>
          <p:spPr bwMode="gray">
            <a:xfrm>
              <a:off x="3527127" y="4210361"/>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Freeform 103"/>
            <p:cNvSpPr>
              <a:spLocks noEditPoints="1"/>
            </p:cNvSpPr>
            <p:nvPr/>
          </p:nvSpPr>
          <p:spPr bwMode="gray">
            <a:xfrm>
              <a:off x="1992608" y="4546204"/>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8" name="Freeform 104"/>
            <p:cNvSpPr>
              <a:spLocks/>
            </p:cNvSpPr>
            <p:nvPr/>
          </p:nvSpPr>
          <p:spPr bwMode="gray">
            <a:xfrm>
              <a:off x="3628779" y="4064067"/>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9" name="Freeform 105"/>
            <p:cNvSpPr>
              <a:spLocks/>
            </p:cNvSpPr>
            <p:nvPr/>
          </p:nvSpPr>
          <p:spPr bwMode="gray">
            <a:xfrm>
              <a:off x="4003359" y="3662074"/>
              <a:ext cx="79372" cy="80144"/>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0" name="Freeform 106"/>
            <p:cNvSpPr>
              <a:spLocks noEditPoints="1"/>
            </p:cNvSpPr>
            <p:nvPr/>
          </p:nvSpPr>
          <p:spPr bwMode="gray">
            <a:xfrm>
              <a:off x="2028813" y="4622531"/>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1" name="Freeform 107"/>
            <p:cNvSpPr>
              <a:spLocks/>
            </p:cNvSpPr>
            <p:nvPr/>
          </p:nvSpPr>
          <p:spPr bwMode="gray">
            <a:xfrm>
              <a:off x="4157925" y="3492880"/>
              <a:ext cx="58484" cy="53430"/>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2" name="Freeform 108"/>
            <p:cNvSpPr>
              <a:spLocks/>
            </p:cNvSpPr>
            <p:nvPr/>
          </p:nvSpPr>
          <p:spPr bwMode="gray">
            <a:xfrm>
              <a:off x="3570295" y="4188737"/>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3" name="Freeform 109"/>
            <p:cNvSpPr>
              <a:spLocks noEditPoints="1"/>
            </p:cNvSpPr>
            <p:nvPr/>
          </p:nvSpPr>
          <p:spPr bwMode="gray">
            <a:xfrm>
              <a:off x="4180206" y="3480159"/>
              <a:ext cx="104437" cy="77601"/>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4" name="Freeform 110"/>
            <p:cNvSpPr>
              <a:spLocks/>
            </p:cNvSpPr>
            <p:nvPr/>
          </p:nvSpPr>
          <p:spPr bwMode="gray">
            <a:xfrm>
              <a:off x="4213625" y="3135411"/>
              <a:ext cx="743588" cy="372734"/>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5" name="Freeform 111"/>
            <p:cNvSpPr>
              <a:spLocks/>
            </p:cNvSpPr>
            <p:nvPr/>
          </p:nvSpPr>
          <p:spPr bwMode="gray">
            <a:xfrm>
              <a:off x="4071590" y="3578114"/>
              <a:ext cx="178238" cy="166649"/>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6" name="Freeform 112"/>
            <p:cNvSpPr>
              <a:spLocks/>
            </p:cNvSpPr>
            <p:nvPr/>
          </p:nvSpPr>
          <p:spPr bwMode="gray">
            <a:xfrm>
              <a:off x="3762460" y="3874519"/>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7" name="Freeform 113"/>
            <p:cNvSpPr>
              <a:spLocks/>
            </p:cNvSpPr>
            <p:nvPr/>
          </p:nvSpPr>
          <p:spPr bwMode="gray">
            <a:xfrm>
              <a:off x="3999181" y="3683699"/>
              <a:ext cx="387111" cy="31040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8" name="Freeform 114"/>
            <p:cNvSpPr>
              <a:spLocks/>
            </p:cNvSpPr>
            <p:nvPr/>
          </p:nvSpPr>
          <p:spPr bwMode="gray">
            <a:xfrm>
              <a:off x="3588398" y="4159476"/>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9" name="Freeform 115"/>
            <p:cNvSpPr>
              <a:spLocks/>
            </p:cNvSpPr>
            <p:nvPr/>
          </p:nvSpPr>
          <p:spPr bwMode="gray">
            <a:xfrm>
              <a:off x="4169066" y="3527228"/>
              <a:ext cx="349514" cy="29131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0" name="Freeform 116"/>
            <p:cNvSpPr>
              <a:spLocks/>
            </p:cNvSpPr>
            <p:nvPr/>
          </p:nvSpPr>
          <p:spPr bwMode="gray">
            <a:xfrm>
              <a:off x="4213625" y="3726951"/>
              <a:ext cx="34813" cy="27987"/>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1" name="Freeform 117"/>
            <p:cNvSpPr>
              <a:spLocks/>
            </p:cNvSpPr>
            <p:nvPr/>
          </p:nvSpPr>
          <p:spPr bwMode="gray">
            <a:xfrm>
              <a:off x="4029816" y="3943214"/>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2" name="Freeform 118"/>
            <p:cNvSpPr>
              <a:spLocks/>
            </p:cNvSpPr>
            <p:nvPr/>
          </p:nvSpPr>
          <p:spPr bwMode="gray">
            <a:xfrm>
              <a:off x="4323631" y="3461077"/>
              <a:ext cx="257610" cy="160289"/>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3" name="Freeform 119"/>
            <p:cNvSpPr>
              <a:spLocks noEditPoints="1"/>
            </p:cNvSpPr>
            <p:nvPr/>
          </p:nvSpPr>
          <p:spPr bwMode="gray">
            <a:xfrm>
              <a:off x="3581435" y="4323583"/>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4" name="Freeform 120"/>
            <p:cNvSpPr>
              <a:spLocks/>
            </p:cNvSpPr>
            <p:nvPr/>
          </p:nvSpPr>
          <p:spPr bwMode="gray">
            <a:xfrm>
              <a:off x="4387686" y="3394926"/>
              <a:ext cx="311917" cy="190819"/>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5" name="Freeform 121"/>
            <p:cNvSpPr>
              <a:spLocks/>
            </p:cNvSpPr>
            <p:nvPr/>
          </p:nvSpPr>
          <p:spPr bwMode="gray">
            <a:xfrm>
              <a:off x="3967155" y="3999187"/>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6" name="Freeform 122"/>
            <p:cNvSpPr>
              <a:spLocks/>
            </p:cNvSpPr>
            <p:nvPr/>
          </p:nvSpPr>
          <p:spPr bwMode="gray">
            <a:xfrm>
              <a:off x="3904492" y="4181102"/>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7" name="Freeform 123"/>
            <p:cNvSpPr>
              <a:spLocks/>
            </p:cNvSpPr>
            <p:nvPr/>
          </p:nvSpPr>
          <p:spPr bwMode="gray">
            <a:xfrm>
              <a:off x="3890567" y="4267607"/>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8" name="Freeform 124"/>
            <p:cNvSpPr>
              <a:spLocks/>
            </p:cNvSpPr>
            <p:nvPr/>
          </p:nvSpPr>
          <p:spPr bwMode="gray">
            <a:xfrm>
              <a:off x="3891960" y="4289235"/>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9" name="Freeform 125"/>
            <p:cNvSpPr>
              <a:spLocks/>
            </p:cNvSpPr>
            <p:nvPr/>
          </p:nvSpPr>
          <p:spPr bwMode="gray">
            <a:xfrm>
              <a:off x="4143999" y="3926678"/>
              <a:ext cx="187986" cy="109403"/>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0" name="Freeform 126"/>
            <p:cNvSpPr>
              <a:spLocks/>
            </p:cNvSpPr>
            <p:nvPr/>
          </p:nvSpPr>
          <p:spPr bwMode="gray">
            <a:xfrm>
              <a:off x="4291604" y="3799463"/>
              <a:ext cx="13925" cy="30532"/>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1" name="Freeform 127"/>
            <p:cNvSpPr>
              <a:spLocks/>
            </p:cNvSpPr>
            <p:nvPr/>
          </p:nvSpPr>
          <p:spPr bwMode="gray">
            <a:xfrm>
              <a:off x="4127290" y="4034807"/>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2" name="Freeform 128"/>
            <p:cNvSpPr>
              <a:spLocks/>
            </p:cNvSpPr>
            <p:nvPr/>
          </p:nvSpPr>
          <p:spPr bwMode="gray">
            <a:xfrm>
              <a:off x="4297174" y="3800735"/>
              <a:ext cx="96082" cy="71239"/>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3" name="Freeform 129"/>
            <p:cNvSpPr>
              <a:spLocks/>
            </p:cNvSpPr>
            <p:nvPr/>
          </p:nvSpPr>
          <p:spPr bwMode="gray">
            <a:xfrm>
              <a:off x="3972725" y="4172197"/>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4" name="Freeform 130"/>
            <p:cNvSpPr>
              <a:spLocks/>
            </p:cNvSpPr>
            <p:nvPr/>
          </p:nvSpPr>
          <p:spPr bwMode="gray">
            <a:xfrm>
              <a:off x="3766636" y="4385917"/>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5" name="Freeform 131"/>
            <p:cNvSpPr>
              <a:spLocks/>
            </p:cNvSpPr>
            <p:nvPr/>
          </p:nvSpPr>
          <p:spPr bwMode="gray">
            <a:xfrm>
              <a:off x="3581435" y="4534755"/>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6" name="Freeform 132"/>
            <p:cNvSpPr>
              <a:spLocks/>
            </p:cNvSpPr>
            <p:nvPr/>
          </p:nvSpPr>
          <p:spPr bwMode="gray">
            <a:xfrm>
              <a:off x="3900315" y="4266336"/>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7" name="Freeform 133"/>
            <p:cNvSpPr>
              <a:spLocks noEditPoints="1"/>
            </p:cNvSpPr>
            <p:nvPr/>
          </p:nvSpPr>
          <p:spPr bwMode="gray">
            <a:xfrm>
              <a:off x="4309706" y="3795647"/>
              <a:ext cx="146212" cy="171738"/>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8" name="Freeform 134"/>
            <p:cNvSpPr>
              <a:spLocks/>
            </p:cNvSpPr>
            <p:nvPr/>
          </p:nvSpPr>
          <p:spPr bwMode="gray">
            <a:xfrm>
              <a:off x="4465665" y="3556486"/>
              <a:ext cx="260395" cy="180642"/>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9" name="Freeform 135"/>
            <p:cNvSpPr>
              <a:spLocks/>
            </p:cNvSpPr>
            <p:nvPr/>
          </p:nvSpPr>
          <p:spPr bwMode="gray">
            <a:xfrm>
              <a:off x="4113365" y="4047528"/>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Freeform 136"/>
            <p:cNvSpPr>
              <a:spLocks/>
            </p:cNvSpPr>
            <p:nvPr/>
          </p:nvSpPr>
          <p:spPr bwMode="gray">
            <a:xfrm>
              <a:off x="4595167" y="3497968"/>
              <a:ext cx="136463" cy="94137"/>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Freeform 137"/>
            <p:cNvSpPr>
              <a:spLocks/>
            </p:cNvSpPr>
            <p:nvPr/>
          </p:nvSpPr>
          <p:spPr bwMode="gray">
            <a:xfrm>
              <a:off x="4628586" y="3450900"/>
              <a:ext cx="199126" cy="8777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Freeform 138"/>
            <p:cNvSpPr>
              <a:spLocks/>
            </p:cNvSpPr>
            <p:nvPr/>
          </p:nvSpPr>
          <p:spPr bwMode="gray">
            <a:xfrm>
              <a:off x="3727647" y="4548748"/>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Freeform 139"/>
            <p:cNvSpPr>
              <a:spLocks/>
            </p:cNvSpPr>
            <p:nvPr/>
          </p:nvSpPr>
          <p:spPr bwMode="gray">
            <a:xfrm>
              <a:off x="3826513" y="4511857"/>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4" name="Freeform 140"/>
            <p:cNvSpPr>
              <a:spLocks/>
            </p:cNvSpPr>
            <p:nvPr/>
          </p:nvSpPr>
          <p:spPr bwMode="gray">
            <a:xfrm>
              <a:off x="4474020" y="3585746"/>
              <a:ext cx="304955" cy="25569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5" name="Freeform 141"/>
            <p:cNvSpPr>
              <a:spLocks/>
            </p:cNvSpPr>
            <p:nvPr/>
          </p:nvSpPr>
          <p:spPr bwMode="gray">
            <a:xfrm>
              <a:off x="3962977" y="4408815"/>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6" name="Freeform 142"/>
            <p:cNvSpPr>
              <a:spLocks noEditPoints="1"/>
            </p:cNvSpPr>
            <p:nvPr/>
          </p:nvSpPr>
          <p:spPr bwMode="gray">
            <a:xfrm>
              <a:off x="3628779" y="4626349"/>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7" name="Freeform 143"/>
            <p:cNvSpPr>
              <a:spLocks/>
            </p:cNvSpPr>
            <p:nvPr/>
          </p:nvSpPr>
          <p:spPr bwMode="gray">
            <a:xfrm>
              <a:off x="3918418" y="4422808"/>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Freeform 144"/>
            <p:cNvSpPr>
              <a:spLocks/>
            </p:cNvSpPr>
            <p:nvPr/>
          </p:nvSpPr>
          <p:spPr bwMode="gray">
            <a:xfrm>
              <a:off x="3859934" y="4747200"/>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Freeform 145"/>
            <p:cNvSpPr>
              <a:spLocks/>
            </p:cNvSpPr>
            <p:nvPr/>
          </p:nvSpPr>
          <p:spPr bwMode="gray">
            <a:xfrm>
              <a:off x="3926773" y="4692500"/>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Freeform 147"/>
            <p:cNvSpPr>
              <a:spLocks/>
            </p:cNvSpPr>
            <p:nvPr/>
          </p:nvSpPr>
          <p:spPr bwMode="gray">
            <a:xfrm>
              <a:off x="4965567" y="3230821"/>
              <a:ext cx="580668" cy="25569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1" name="Freeform 149"/>
            <p:cNvSpPr>
              <a:spLocks/>
            </p:cNvSpPr>
            <p:nvPr/>
          </p:nvSpPr>
          <p:spPr bwMode="gray">
            <a:xfrm>
              <a:off x="4193925" y="4385916"/>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2" name="Freeform 150"/>
            <p:cNvSpPr>
              <a:spLocks/>
            </p:cNvSpPr>
            <p:nvPr/>
          </p:nvSpPr>
          <p:spPr bwMode="gray">
            <a:xfrm>
              <a:off x="4823534" y="3715504"/>
              <a:ext cx="148997" cy="77601"/>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3" name="Freeform 151"/>
            <p:cNvSpPr>
              <a:spLocks/>
            </p:cNvSpPr>
            <p:nvPr/>
          </p:nvSpPr>
          <p:spPr bwMode="gray">
            <a:xfrm>
              <a:off x="4982279" y="3757483"/>
              <a:ext cx="58484" cy="30532"/>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4" name="Freeform 152"/>
            <p:cNvSpPr>
              <a:spLocks/>
            </p:cNvSpPr>
            <p:nvPr/>
          </p:nvSpPr>
          <p:spPr bwMode="gray">
            <a:xfrm>
              <a:off x="4968352" y="3794375"/>
              <a:ext cx="83549" cy="96682"/>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5" name="Freeform 153"/>
            <p:cNvSpPr>
              <a:spLocks/>
            </p:cNvSpPr>
            <p:nvPr/>
          </p:nvSpPr>
          <p:spPr bwMode="gray">
            <a:xfrm>
              <a:off x="4816573" y="4085692"/>
              <a:ext cx="40383" cy="63607"/>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6" name="Freeform 154"/>
            <p:cNvSpPr>
              <a:spLocks/>
            </p:cNvSpPr>
            <p:nvPr/>
          </p:nvSpPr>
          <p:spPr bwMode="gray">
            <a:xfrm>
              <a:off x="5042155" y="3754939"/>
              <a:ext cx="162922" cy="32439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7" name="Freeform 155"/>
            <p:cNvSpPr>
              <a:spLocks/>
            </p:cNvSpPr>
            <p:nvPr/>
          </p:nvSpPr>
          <p:spPr bwMode="gray">
            <a:xfrm>
              <a:off x="5186975" y="3863070"/>
              <a:ext cx="135072" cy="152656"/>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8" name="Freeform 156"/>
            <p:cNvSpPr>
              <a:spLocks/>
            </p:cNvSpPr>
            <p:nvPr/>
          </p:nvSpPr>
          <p:spPr bwMode="gray">
            <a:xfrm>
              <a:off x="5138237" y="3901234"/>
              <a:ext cx="147603" cy="254426"/>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9" name="Freeform 157"/>
            <p:cNvSpPr>
              <a:spLocks/>
            </p:cNvSpPr>
            <p:nvPr/>
          </p:nvSpPr>
          <p:spPr bwMode="gray">
            <a:xfrm>
              <a:off x="5228749" y="4003006"/>
              <a:ext cx="94689" cy="72512"/>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0" name="Freeform 158"/>
            <p:cNvSpPr>
              <a:spLocks/>
            </p:cNvSpPr>
            <p:nvPr/>
          </p:nvSpPr>
          <p:spPr bwMode="gray">
            <a:xfrm>
              <a:off x="5221786" y="3849078"/>
              <a:ext cx="133678" cy="25824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1" name="Freeform 159"/>
            <p:cNvSpPr>
              <a:spLocks noEditPoints="1"/>
            </p:cNvSpPr>
            <p:nvPr/>
          </p:nvSpPr>
          <p:spPr bwMode="gray">
            <a:xfrm>
              <a:off x="5188366" y="4132762"/>
              <a:ext cx="343944" cy="103043"/>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2" name="Freeform 160"/>
            <p:cNvSpPr>
              <a:spLocks noEditPoints="1"/>
            </p:cNvSpPr>
            <p:nvPr/>
          </p:nvSpPr>
          <p:spPr bwMode="gray">
            <a:xfrm>
              <a:off x="5099247" y="4155661"/>
              <a:ext cx="832707" cy="265876"/>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3" name="Freeform 161"/>
            <p:cNvSpPr>
              <a:spLocks/>
            </p:cNvSpPr>
            <p:nvPr/>
          </p:nvSpPr>
          <p:spPr bwMode="gray">
            <a:xfrm>
              <a:off x="5625607" y="3455989"/>
              <a:ext cx="114184" cy="11830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4" name="Freeform 162"/>
            <p:cNvSpPr>
              <a:spLocks/>
            </p:cNvSpPr>
            <p:nvPr/>
          </p:nvSpPr>
          <p:spPr bwMode="gray">
            <a:xfrm>
              <a:off x="5659027" y="3552671"/>
              <a:ext cx="62663" cy="89049"/>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5" name="Freeform 163"/>
            <p:cNvSpPr>
              <a:spLocks/>
            </p:cNvSpPr>
            <p:nvPr/>
          </p:nvSpPr>
          <p:spPr bwMode="gray">
            <a:xfrm>
              <a:off x="5549019" y="3816002"/>
              <a:ext cx="33420" cy="58518"/>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164"/>
            <p:cNvSpPr>
              <a:spLocks/>
            </p:cNvSpPr>
            <p:nvPr/>
          </p:nvSpPr>
          <p:spPr bwMode="gray">
            <a:xfrm>
              <a:off x="5441799" y="4164565"/>
              <a:ext cx="20888" cy="16539"/>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65"/>
            <p:cNvSpPr>
              <a:spLocks noEditPoints="1"/>
            </p:cNvSpPr>
            <p:nvPr/>
          </p:nvSpPr>
          <p:spPr bwMode="gray">
            <a:xfrm>
              <a:off x="5720296" y="3398742"/>
              <a:ext cx="292423" cy="309129"/>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8" name="Freeform 166"/>
            <p:cNvSpPr>
              <a:spLocks noEditPoints="1"/>
            </p:cNvSpPr>
            <p:nvPr/>
          </p:nvSpPr>
          <p:spPr bwMode="gray">
            <a:xfrm>
              <a:off x="5497499" y="3934309"/>
              <a:ext cx="168491" cy="222624"/>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9" name="Freeform 167"/>
            <p:cNvSpPr>
              <a:spLocks noEditPoints="1"/>
            </p:cNvSpPr>
            <p:nvPr/>
          </p:nvSpPr>
          <p:spPr bwMode="gray">
            <a:xfrm>
              <a:off x="5423697" y="4430440"/>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0" name="Freeform 168"/>
            <p:cNvSpPr>
              <a:spLocks noEditPoints="1"/>
            </p:cNvSpPr>
            <p:nvPr/>
          </p:nvSpPr>
          <p:spPr bwMode="gray">
            <a:xfrm>
              <a:off x="5927777" y="4294323"/>
              <a:ext cx="208874" cy="133574"/>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1" name="Freeform 169"/>
            <p:cNvSpPr>
              <a:spLocks noEditPoints="1"/>
            </p:cNvSpPr>
            <p:nvPr/>
          </p:nvSpPr>
          <p:spPr bwMode="gray">
            <a:xfrm>
              <a:off x="6395652" y="4860421"/>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2" name="Freeform 170"/>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3" name="Freeform 6"/>
            <p:cNvSpPr>
              <a:spLocks/>
            </p:cNvSpPr>
            <p:nvPr/>
          </p:nvSpPr>
          <p:spPr bwMode="gray">
            <a:xfrm>
              <a:off x="6637945" y="2645642"/>
              <a:ext cx="182416" cy="184460"/>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4" name="Freeform 22"/>
            <p:cNvSpPr>
              <a:spLocks/>
            </p:cNvSpPr>
            <p:nvPr/>
          </p:nvSpPr>
          <p:spPr bwMode="gray">
            <a:xfrm>
              <a:off x="5339719" y="3907448"/>
              <a:ext cx="43156" cy="32881"/>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5" name="Freeform 13"/>
            <p:cNvSpPr>
              <a:spLocks/>
            </p:cNvSpPr>
            <p:nvPr/>
          </p:nvSpPr>
          <p:spPr bwMode="gray">
            <a:xfrm>
              <a:off x="4604913" y="3592104"/>
              <a:ext cx="533323" cy="523482"/>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6" name="Freeform 23"/>
            <p:cNvSpPr>
              <a:spLocks/>
            </p:cNvSpPr>
            <p:nvPr/>
          </p:nvSpPr>
          <p:spPr bwMode="gray">
            <a:xfrm>
              <a:off x="4707956" y="3192162"/>
              <a:ext cx="1106861" cy="712383"/>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l="42936" t="49162"/>
          <a:stretch/>
        </p:blipFill>
        <p:spPr>
          <a:xfrm>
            <a:off x="5434059" y="2238432"/>
            <a:ext cx="4790512" cy="3132615"/>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r="57539" b="45603"/>
          <a:stretch/>
        </p:blipFill>
        <p:spPr>
          <a:xfrm>
            <a:off x="4849292" y="4391956"/>
            <a:ext cx="1311837" cy="1233565"/>
          </a:xfrm>
          <a:prstGeom prst="rect">
            <a:avLst/>
          </a:prstGeom>
        </p:spPr>
      </p:pic>
      <p:sp>
        <p:nvSpPr>
          <p:cNvPr id="210" name="Rectangle 209">
            <a:extLst>
              <a:ext uri="{FF2B5EF4-FFF2-40B4-BE49-F238E27FC236}">
                <a16:creationId xmlns:a16="http://schemas.microsoft.com/office/drawing/2014/main" id="{19976663-18BF-2F43-BD8B-71D43A575608}"/>
              </a:ext>
            </a:extLst>
          </p:cNvPr>
          <p:cNvSpPr/>
          <p:nvPr/>
        </p:nvSpPr>
        <p:spPr>
          <a:xfrm>
            <a:off x="1828800" y="2742215"/>
            <a:ext cx="2253822" cy="307777"/>
          </a:xfrm>
          <a:prstGeom prst="rect">
            <a:avLst/>
          </a:prstGeom>
        </p:spPr>
        <p:txBody>
          <a:bodyPr wrap="none" lIns="0" tIns="0" rIns="0" bIns="0">
            <a:spAutoFit/>
          </a:bodyPr>
          <a:lstStyle/>
          <a:p>
            <a:r>
              <a:rPr lang="en-US" sz="2000" b="1" cap="all">
                <a:solidFill>
                  <a:srgbClr val="FFFFFF"/>
                </a:solidFill>
                <a:latin typeface="Arial" panose="020B0604020202020204" pitchFamily="34" charset="0"/>
                <a:ea typeface="Roboto" panose="02000000000000000000" pitchFamily="2" charset="0"/>
                <a:cs typeface="Arial" panose="020B0604020202020204" pitchFamily="34" charset="0"/>
              </a:rPr>
              <a:t>Text Goes Here</a:t>
            </a:r>
          </a:p>
        </p:txBody>
      </p:sp>
      <p:sp>
        <p:nvSpPr>
          <p:cNvPr id="211" name="Rectangle 210">
            <a:extLst>
              <a:ext uri="{FF2B5EF4-FFF2-40B4-BE49-F238E27FC236}">
                <a16:creationId xmlns:a16="http://schemas.microsoft.com/office/drawing/2014/main" id="{E1B366C1-2BEE-0843-A828-BAFC8F7820A7}"/>
              </a:ext>
            </a:extLst>
          </p:cNvPr>
          <p:cNvSpPr/>
          <p:nvPr/>
        </p:nvSpPr>
        <p:spPr>
          <a:xfrm>
            <a:off x="1848577" y="3100826"/>
            <a:ext cx="2745547" cy="1206484"/>
          </a:xfrm>
          <a:prstGeom prst="rect">
            <a:avLst/>
          </a:prstGeom>
        </p:spPr>
        <p:txBody>
          <a:bodyPr wrap="square" lIns="0" tIns="0" rIns="0" bIns="0">
            <a:spAutoFit/>
          </a:bodyPr>
          <a:lstStyle/>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Dratat quat ad gui is molup tasioi</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natur acesto dolore noneta huild</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quasit. Sundah avel sequin foryip ais experipdo lorem ipsum.</a:t>
            </a:r>
          </a:p>
        </p:txBody>
      </p:sp>
      <p:sp>
        <p:nvSpPr>
          <p:cNvPr id="212" name="Rectangle 211">
            <a:extLst>
              <a:ext uri="{FF2B5EF4-FFF2-40B4-BE49-F238E27FC236}">
                <a16:creationId xmlns:a16="http://schemas.microsoft.com/office/drawing/2014/main" id="{113FE46C-48CE-B741-AD01-273C8AD6FDE4}"/>
              </a:ext>
            </a:extLst>
          </p:cNvPr>
          <p:cNvSpPr/>
          <p:nvPr/>
        </p:nvSpPr>
        <p:spPr>
          <a:xfrm>
            <a:off x="7381876" y="5112735"/>
            <a:ext cx="2112501" cy="215444"/>
          </a:xfrm>
          <a:prstGeom prst="rect">
            <a:avLst/>
          </a:prstGeom>
        </p:spPr>
        <p:txBody>
          <a:bodyPr wrap="none" lIns="0" tIns="0" rIns="0" bIns="0">
            <a:spAutoFit/>
          </a:bodyPr>
          <a:lstStyle/>
          <a:p>
            <a:r>
              <a:rPr lang="en-US" sz="1400" b="1">
                <a:solidFill>
                  <a:schemeClr val="bg2"/>
                </a:solidFill>
                <a:latin typeface="Arial" panose="020B0604020202020204" pitchFamily="34" charset="0"/>
                <a:ea typeface="Roboto" panose="02000000000000000000" pitchFamily="2" charset="0"/>
                <a:cs typeface="Arial" panose="020B0604020202020204" pitchFamily="34" charset="0"/>
              </a:rPr>
              <a:t>United States of America</a:t>
            </a:r>
          </a:p>
        </p:txBody>
      </p:sp>
      <p:sp>
        <p:nvSpPr>
          <p:cNvPr id="213" name="Rectangle 212">
            <a:extLst>
              <a:ext uri="{FF2B5EF4-FFF2-40B4-BE49-F238E27FC236}">
                <a16:creationId xmlns:a16="http://schemas.microsoft.com/office/drawing/2014/main" id="{79067EF4-DB2A-2641-91B6-2F2D59CB752C}"/>
              </a:ext>
            </a:extLst>
          </p:cNvPr>
          <p:cNvSpPr/>
          <p:nvPr/>
        </p:nvSpPr>
        <p:spPr>
          <a:xfrm>
            <a:off x="7378700" y="5405774"/>
            <a:ext cx="2745547" cy="553998"/>
          </a:xfrm>
          <a:prstGeom prst="rect">
            <a:avLst/>
          </a:prstGeom>
        </p:spPr>
        <p:txBody>
          <a:bodyPr wrap="square" lIns="0" tIns="0" rIns="0" bIns="0">
            <a:spAutoFit/>
          </a:bodyPr>
          <a:lstStyle/>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Dratat quat ad gui is molup tasioi natur acesto</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natur acesto dolore noneta huilda vel seq uodi.</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Sundah quasitavel sequin.</a:t>
            </a:r>
          </a:p>
        </p:txBody>
      </p:sp>
      <p:cxnSp>
        <p:nvCxnSpPr>
          <p:cNvPr id="10" name="Straight Connector 9"/>
          <p:cNvCxnSpPr/>
          <p:nvPr/>
        </p:nvCxnSpPr>
        <p:spPr>
          <a:xfrm>
            <a:off x="6974120" y="3860801"/>
            <a:ext cx="0" cy="2084865"/>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6929120" y="3799840"/>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71040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24000" y="1544320"/>
            <a:ext cx="9144000" cy="28956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
        <p:nvSpPr>
          <p:cNvPr id="207" name="Freeform 7">
            <a:extLst>
              <a:ext uri="{FF2B5EF4-FFF2-40B4-BE49-F238E27FC236}">
                <a16:creationId xmlns:a16="http://schemas.microsoft.com/office/drawing/2014/main" id="{F7F0792B-2772-44E5-BA6C-02D6E84D0C10}"/>
              </a:ext>
            </a:extLst>
          </p:cNvPr>
          <p:cNvSpPr>
            <a:spLocks noEditPoints="1"/>
          </p:cNvSpPr>
          <p:nvPr/>
        </p:nvSpPr>
        <p:spPr bwMode="gray">
          <a:xfrm>
            <a:off x="6248400" y="1191480"/>
            <a:ext cx="3063344" cy="3666763"/>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solidFill>
            <a:schemeClr val="bg2"/>
          </a:solidFill>
          <a:ln w="3175">
            <a:no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aphicFrame>
        <p:nvGraphicFramePr>
          <p:cNvPr id="12" name="Object 11"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1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13" name="Text Placeholder 1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grpSp>
        <p:nvGrpSpPr>
          <p:cNvPr id="17" name="Group 16"/>
          <p:cNvGrpSpPr>
            <a:grpSpLocks noChangeAspect="1"/>
          </p:cNvGrpSpPr>
          <p:nvPr/>
        </p:nvGrpSpPr>
        <p:grpSpPr bwMode="gray">
          <a:xfrm>
            <a:off x="1836669" y="1710693"/>
            <a:ext cx="3388598" cy="1980000"/>
            <a:chOff x="236680" y="1501996"/>
            <a:chExt cx="6583681" cy="3846923"/>
          </a:xfrm>
          <a:solidFill>
            <a:schemeClr val="tx1">
              <a:lumMod val="60000"/>
              <a:lumOff val="40000"/>
            </a:schemeClr>
          </a:solidFill>
        </p:grpSpPr>
        <p:sp>
          <p:nvSpPr>
            <p:cNvPr id="41" name="Freeform 7"/>
            <p:cNvSpPr>
              <a:spLocks noEditPoints="1"/>
            </p:cNvSpPr>
            <p:nvPr/>
          </p:nvSpPr>
          <p:spPr bwMode="gray">
            <a:xfrm>
              <a:off x="800638" y="1560515"/>
              <a:ext cx="1606930" cy="1923462"/>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2" name="Freeform 8"/>
            <p:cNvSpPr>
              <a:spLocks noEditPoints="1"/>
            </p:cNvSpPr>
            <p:nvPr/>
          </p:nvSpPr>
          <p:spPr bwMode="gray">
            <a:xfrm>
              <a:off x="2046913" y="1501996"/>
              <a:ext cx="1091710" cy="1499842"/>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3" name="Freeform 9"/>
            <p:cNvSpPr>
              <a:spLocks noEditPoints="1"/>
            </p:cNvSpPr>
            <p:nvPr/>
          </p:nvSpPr>
          <p:spPr bwMode="gray">
            <a:xfrm>
              <a:off x="236680" y="2527333"/>
              <a:ext cx="1911885" cy="1400617"/>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4" name="Freeform 10"/>
            <p:cNvSpPr>
              <a:spLocks/>
            </p:cNvSpPr>
            <p:nvPr/>
          </p:nvSpPr>
          <p:spPr bwMode="gray">
            <a:xfrm>
              <a:off x="1235095" y="3673524"/>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5" name="Freeform 11"/>
            <p:cNvSpPr>
              <a:spLocks/>
            </p:cNvSpPr>
            <p:nvPr/>
          </p:nvSpPr>
          <p:spPr bwMode="gray">
            <a:xfrm>
              <a:off x="1825508" y="3852894"/>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6" name="Freeform 12"/>
            <p:cNvSpPr>
              <a:spLocks/>
            </p:cNvSpPr>
            <p:nvPr/>
          </p:nvSpPr>
          <p:spPr bwMode="gray">
            <a:xfrm>
              <a:off x="1743352" y="393558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7" name="Freeform 13"/>
            <p:cNvSpPr>
              <a:spLocks/>
            </p:cNvSpPr>
            <p:nvPr/>
          </p:nvSpPr>
          <p:spPr bwMode="gray">
            <a:xfrm>
              <a:off x="1687653" y="394703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8" name="Freeform 14"/>
            <p:cNvSpPr>
              <a:spLocks/>
            </p:cNvSpPr>
            <p:nvPr/>
          </p:nvSpPr>
          <p:spPr bwMode="gray">
            <a:xfrm>
              <a:off x="2926967" y="2753773"/>
              <a:ext cx="193556" cy="123397"/>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9" name="Freeform 15"/>
            <p:cNvSpPr>
              <a:spLocks/>
            </p:cNvSpPr>
            <p:nvPr/>
          </p:nvSpPr>
          <p:spPr bwMode="gray">
            <a:xfrm>
              <a:off x="1726643" y="4005550"/>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16"/>
            <p:cNvSpPr>
              <a:spLocks/>
            </p:cNvSpPr>
            <p:nvPr/>
          </p:nvSpPr>
          <p:spPr bwMode="gray">
            <a:xfrm>
              <a:off x="1740567" y="397883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17"/>
            <p:cNvSpPr>
              <a:spLocks/>
            </p:cNvSpPr>
            <p:nvPr/>
          </p:nvSpPr>
          <p:spPr bwMode="gray">
            <a:xfrm>
              <a:off x="1941085" y="3935582"/>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18"/>
            <p:cNvSpPr>
              <a:spLocks/>
            </p:cNvSpPr>
            <p:nvPr/>
          </p:nvSpPr>
          <p:spPr bwMode="gray">
            <a:xfrm>
              <a:off x="1771202" y="399664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3" name="Freeform 19"/>
            <p:cNvSpPr>
              <a:spLocks/>
            </p:cNvSpPr>
            <p:nvPr/>
          </p:nvSpPr>
          <p:spPr bwMode="gray">
            <a:xfrm>
              <a:off x="2012103" y="391014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20"/>
            <p:cNvSpPr>
              <a:spLocks/>
            </p:cNvSpPr>
            <p:nvPr/>
          </p:nvSpPr>
          <p:spPr bwMode="gray">
            <a:xfrm>
              <a:off x="2058053" y="3910140"/>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21"/>
            <p:cNvSpPr>
              <a:spLocks/>
            </p:cNvSpPr>
            <p:nvPr/>
          </p:nvSpPr>
          <p:spPr bwMode="gray">
            <a:xfrm>
              <a:off x="1804622" y="4061523"/>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22"/>
            <p:cNvSpPr>
              <a:spLocks/>
            </p:cNvSpPr>
            <p:nvPr/>
          </p:nvSpPr>
          <p:spPr bwMode="gray">
            <a:xfrm>
              <a:off x="2144389" y="393431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23"/>
            <p:cNvSpPr>
              <a:spLocks/>
            </p:cNvSpPr>
            <p:nvPr/>
          </p:nvSpPr>
          <p:spPr bwMode="gray">
            <a:xfrm>
              <a:off x="1857536" y="4086966"/>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24"/>
            <p:cNvSpPr>
              <a:spLocks/>
            </p:cNvSpPr>
            <p:nvPr/>
          </p:nvSpPr>
          <p:spPr bwMode="gray">
            <a:xfrm>
              <a:off x="2237685" y="4066612"/>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Freeform 25"/>
            <p:cNvSpPr>
              <a:spLocks/>
            </p:cNvSpPr>
            <p:nvPr/>
          </p:nvSpPr>
          <p:spPr bwMode="gray">
            <a:xfrm>
              <a:off x="2032989" y="4043714"/>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26"/>
            <p:cNvSpPr>
              <a:spLocks/>
            </p:cNvSpPr>
            <p:nvPr/>
          </p:nvSpPr>
          <p:spPr bwMode="gray">
            <a:xfrm>
              <a:off x="1893741" y="422562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7"/>
            <p:cNvSpPr>
              <a:spLocks/>
            </p:cNvSpPr>
            <p:nvPr/>
          </p:nvSpPr>
          <p:spPr bwMode="gray">
            <a:xfrm>
              <a:off x="1928554" y="4039897"/>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Freeform 28"/>
            <p:cNvSpPr>
              <a:spLocks/>
            </p:cNvSpPr>
            <p:nvPr/>
          </p:nvSpPr>
          <p:spPr bwMode="gray">
            <a:xfrm>
              <a:off x="3176222" y="3141772"/>
              <a:ext cx="80764" cy="105587"/>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3" name="Freeform 29"/>
            <p:cNvSpPr>
              <a:spLocks/>
            </p:cNvSpPr>
            <p:nvPr/>
          </p:nvSpPr>
          <p:spPr bwMode="gray">
            <a:xfrm>
              <a:off x="2251610" y="410732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4" name="Freeform 30"/>
            <p:cNvSpPr>
              <a:spLocks noEditPoints="1"/>
            </p:cNvSpPr>
            <p:nvPr/>
          </p:nvSpPr>
          <p:spPr bwMode="gray">
            <a:xfrm>
              <a:off x="3219388" y="3040002"/>
              <a:ext cx="178238" cy="246794"/>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5" name="Freeform 31"/>
            <p:cNvSpPr>
              <a:spLocks/>
            </p:cNvSpPr>
            <p:nvPr/>
          </p:nvSpPr>
          <p:spPr bwMode="gray">
            <a:xfrm>
              <a:off x="2311487" y="414802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Freeform 32"/>
            <p:cNvSpPr>
              <a:spLocks/>
            </p:cNvSpPr>
            <p:nvPr/>
          </p:nvSpPr>
          <p:spPr bwMode="gray">
            <a:xfrm>
              <a:off x="2376934" y="415311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7" name="Freeform 33"/>
            <p:cNvSpPr>
              <a:spLocks noEditPoints="1"/>
            </p:cNvSpPr>
            <p:nvPr/>
          </p:nvSpPr>
          <p:spPr bwMode="gray">
            <a:xfrm>
              <a:off x="3457504" y="1863281"/>
              <a:ext cx="473445" cy="1195803"/>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Freeform 34"/>
            <p:cNvSpPr>
              <a:spLocks/>
            </p:cNvSpPr>
            <p:nvPr/>
          </p:nvSpPr>
          <p:spPr bwMode="gray">
            <a:xfrm>
              <a:off x="1885386" y="4249798"/>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9" name="Freeform 35"/>
            <p:cNvSpPr>
              <a:spLocks/>
            </p:cNvSpPr>
            <p:nvPr/>
          </p:nvSpPr>
          <p:spPr bwMode="gray">
            <a:xfrm>
              <a:off x="3192932" y="3475070"/>
              <a:ext cx="62663" cy="110676"/>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Freeform 36"/>
            <p:cNvSpPr>
              <a:spLocks/>
            </p:cNvSpPr>
            <p:nvPr/>
          </p:nvSpPr>
          <p:spPr bwMode="gray">
            <a:xfrm>
              <a:off x="3431047" y="3195202"/>
              <a:ext cx="66839" cy="71239"/>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Freeform 37"/>
            <p:cNvSpPr>
              <a:spLocks/>
            </p:cNvSpPr>
            <p:nvPr/>
          </p:nvSpPr>
          <p:spPr bwMode="gray">
            <a:xfrm>
              <a:off x="3412944" y="3246086"/>
              <a:ext cx="68233" cy="5215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Freeform 38"/>
            <p:cNvSpPr>
              <a:spLocks noEditPoints="1"/>
            </p:cNvSpPr>
            <p:nvPr/>
          </p:nvSpPr>
          <p:spPr bwMode="gray">
            <a:xfrm>
              <a:off x="3279266" y="3256264"/>
              <a:ext cx="260395" cy="235345"/>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3" name="Freeform 39"/>
            <p:cNvSpPr>
              <a:spLocks/>
            </p:cNvSpPr>
            <p:nvPr/>
          </p:nvSpPr>
          <p:spPr bwMode="gray">
            <a:xfrm>
              <a:off x="3198502" y="3438179"/>
              <a:ext cx="225583" cy="167921"/>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40"/>
            <p:cNvSpPr>
              <a:spLocks noEditPoints="1"/>
            </p:cNvSpPr>
            <p:nvPr/>
          </p:nvSpPr>
          <p:spPr bwMode="gray">
            <a:xfrm>
              <a:off x="3513202" y="3065444"/>
              <a:ext cx="80764" cy="86505"/>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5" name="Freeform 41"/>
            <p:cNvSpPr>
              <a:spLocks/>
            </p:cNvSpPr>
            <p:nvPr/>
          </p:nvSpPr>
          <p:spPr bwMode="gray">
            <a:xfrm>
              <a:off x="3471428" y="3281707"/>
              <a:ext cx="13925" cy="17810"/>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Freeform 42"/>
            <p:cNvSpPr>
              <a:spLocks/>
            </p:cNvSpPr>
            <p:nvPr/>
          </p:nvSpPr>
          <p:spPr bwMode="gray">
            <a:xfrm>
              <a:off x="3567510" y="2643096"/>
              <a:ext cx="235331" cy="496132"/>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Freeform 43"/>
            <p:cNvSpPr>
              <a:spLocks/>
            </p:cNvSpPr>
            <p:nvPr/>
          </p:nvSpPr>
          <p:spPr bwMode="gray">
            <a:xfrm>
              <a:off x="3127484" y="3608644"/>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44"/>
            <p:cNvSpPr>
              <a:spLocks noEditPoints="1"/>
            </p:cNvSpPr>
            <p:nvPr/>
          </p:nvSpPr>
          <p:spPr bwMode="gray">
            <a:xfrm>
              <a:off x="3474213" y="3150676"/>
              <a:ext cx="165706" cy="202269"/>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45"/>
            <p:cNvSpPr>
              <a:spLocks/>
            </p:cNvSpPr>
            <p:nvPr/>
          </p:nvSpPr>
          <p:spPr bwMode="gray">
            <a:xfrm>
              <a:off x="3057860" y="3771477"/>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0" name="Freeform 46"/>
            <p:cNvSpPr>
              <a:spLocks/>
            </p:cNvSpPr>
            <p:nvPr/>
          </p:nvSpPr>
          <p:spPr bwMode="gray">
            <a:xfrm>
              <a:off x="3474213" y="3341497"/>
              <a:ext cx="82157" cy="45796"/>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1" name="Freeform 47"/>
            <p:cNvSpPr>
              <a:spLocks/>
            </p:cNvSpPr>
            <p:nvPr/>
          </p:nvSpPr>
          <p:spPr bwMode="gray">
            <a:xfrm>
              <a:off x="2101222" y="441263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Freeform 48"/>
            <p:cNvSpPr>
              <a:spLocks/>
            </p:cNvSpPr>
            <p:nvPr/>
          </p:nvSpPr>
          <p:spPr bwMode="gray">
            <a:xfrm>
              <a:off x="3745747" y="2599843"/>
              <a:ext cx="192163" cy="399449"/>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3" name="Freeform 49"/>
            <p:cNvSpPr>
              <a:spLocks/>
            </p:cNvSpPr>
            <p:nvPr/>
          </p:nvSpPr>
          <p:spPr bwMode="gray">
            <a:xfrm>
              <a:off x="3538269" y="3312237"/>
              <a:ext cx="143427" cy="63607"/>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Freeform 50"/>
            <p:cNvSpPr>
              <a:spLocks/>
            </p:cNvSpPr>
            <p:nvPr/>
          </p:nvSpPr>
          <p:spPr bwMode="gray">
            <a:xfrm>
              <a:off x="3589790" y="3257537"/>
              <a:ext cx="119754" cy="64879"/>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51"/>
            <p:cNvSpPr>
              <a:spLocks/>
            </p:cNvSpPr>
            <p:nvPr/>
          </p:nvSpPr>
          <p:spPr bwMode="gray">
            <a:xfrm>
              <a:off x="3056467" y="3779109"/>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Freeform 52"/>
            <p:cNvSpPr>
              <a:spLocks noEditPoints="1"/>
            </p:cNvSpPr>
            <p:nvPr/>
          </p:nvSpPr>
          <p:spPr bwMode="gray">
            <a:xfrm>
              <a:off x="3623209" y="3157038"/>
              <a:ext cx="182416" cy="152656"/>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7" name="Freeform 53"/>
            <p:cNvSpPr>
              <a:spLocks/>
            </p:cNvSpPr>
            <p:nvPr/>
          </p:nvSpPr>
          <p:spPr bwMode="gray">
            <a:xfrm>
              <a:off x="3062037" y="4015726"/>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Freeform 54"/>
            <p:cNvSpPr>
              <a:spLocks/>
            </p:cNvSpPr>
            <p:nvPr/>
          </p:nvSpPr>
          <p:spPr bwMode="gray">
            <a:xfrm>
              <a:off x="3049505" y="3964842"/>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9" name="Freeform 55"/>
            <p:cNvSpPr>
              <a:spLocks/>
            </p:cNvSpPr>
            <p:nvPr/>
          </p:nvSpPr>
          <p:spPr bwMode="gray">
            <a:xfrm>
              <a:off x="3747141" y="3056540"/>
              <a:ext cx="132287" cy="72512"/>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Freeform 56"/>
            <p:cNvSpPr>
              <a:spLocks/>
            </p:cNvSpPr>
            <p:nvPr/>
          </p:nvSpPr>
          <p:spPr bwMode="gray">
            <a:xfrm>
              <a:off x="3791701" y="3010742"/>
              <a:ext cx="87727" cy="62335"/>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1" name="Freeform 57"/>
            <p:cNvSpPr>
              <a:spLocks/>
            </p:cNvSpPr>
            <p:nvPr/>
          </p:nvSpPr>
          <p:spPr bwMode="gray">
            <a:xfrm>
              <a:off x="3609285" y="3363123"/>
              <a:ext cx="58484" cy="3562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Freeform 58"/>
            <p:cNvSpPr>
              <a:spLocks/>
            </p:cNvSpPr>
            <p:nvPr/>
          </p:nvSpPr>
          <p:spPr bwMode="gray">
            <a:xfrm>
              <a:off x="3064822" y="4036081"/>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3" name="Freeform 59"/>
            <p:cNvSpPr>
              <a:spLocks noEditPoints="1"/>
            </p:cNvSpPr>
            <p:nvPr/>
          </p:nvSpPr>
          <p:spPr bwMode="gray">
            <a:xfrm>
              <a:off x="3485353" y="3358035"/>
              <a:ext cx="218621" cy="232800"/>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4" name="Freeform 60"/>
            <p:cNvSpPr>
              <a:spLocks/>
            </p:cNvSpPr>
            <p:nvPr/>
          </p:nvSpPr>
          <p:spPr bwMode="gray">
            <a:xfrm>
              <a:off x="3747141" y="3107424"/>
              <a:ext cx="107222" cy="73784"/>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Freeform 61"/>
            <p:cNvSpPr>
              <a:spLocks/>
            </p:cNvSpPr>
            <p:nvPr/>
          </p:nvSpPr>
          <p:spPr bwMode="gray">
            <a:xfrm>
              <a:off x="3209642" y="3583201"/>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Freeform 62"/>
            <p:cNvSpPr>
              <a:spLocks/>
            </p:cNvSpPr>
            <p:nvPr/>
          </p:nvSpPr>
          <p:spPr bwMode="gray">
            <a:xfrm>
              <a:off x="3674732" y="3294428"/>
              <a:ext cx="103044" cy="44525"/>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7" name="Freeform 63"/>
            <p:cNvSpPr>
              <a:spLocks/>
            </p:cNvSpPr>
            <p:nvPr/>
          </p:nvSpPr>
          <p:spPr bwMode="gray">
            <a:xfrm>
              <a:off x="2227938" y="457546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Freeform 64"/>
            <p:cNvSpPr>
              <a:spLocks/>
            </p:cNvSpPr>
            <p:nvPr/>
          </p:nvSpPr>
          <p:spPr bwMode="gray">
            <a:xfrm>
              <a:off x="3662199" y="3321143"/>
              <a:ext cx="123932" cy="69967"/>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9" name="Freeform 65"/>
            <p:cNvSpPr>
              <a:spLocks noEditPoints="1"/>
            </p:cNvSpPr>
            <p:nvPr/>
          </p:nvSpPr>
          <p:spPr bwMode="gray">
            <a:xfrm>
              <a:off x="3613463" y="3372028"/>
              <a:ext cx="107222" cy="97955"/>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0" name="Freeform 66"/>
            <p:cNvSpPr>
              <a:spLocks noEditPoints="1"/>
            </p:cNvSpPr>
            <p:nvPr/>
          </p:nvSpPr>
          <p:spPr bwMode="gray">
            <a:xfrm>
              <a:off x="2021849" y="416202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Freeform 67"/>
            <p:cNvSpPr>
              <a:spLocks/>
            </p:cNvSpPr>
            <p:nvPr/>
          </p:nvSpPr>
          <p:spPr bwMode="gray">
            <a:xfrm>
              <a:off x="3094065" y="4036081"/>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Freeform 68"/>
            <p:cNvSpPr>
              <a:spLocks/>
            </p:cNvSpPr>
            <p:nvPr/>
          </p:nvSpPr>
          <p:spPr bwMode="gray">
            <a:xfrm>
              <a:off x="3145587" y="3818545"/>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3" name="Freeform 69"/>
            <p:cNvSpPr>
              <a:spLocks/>
            </p:cNvSpPr>
            <p:nvPr/>
          </p:nvSpPr>
          <p:spPr bwMode="gray">
            <a:xfrm>
              <a:off x="3653844" y="3402559"/>
              <a:ext cx="69624" cy="62335"/>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Freeform 70"/>
            <p:cNvSpPr>
              <a:spLocks/>
            </p:cNvSpPr>
            <p:nvPr/>
          </p:nvSpPr>
          <p:spPr bwMode="gray">
            <a:xfrm>
              <a:off x="3788916" y="3115057"/>
              <a:ext cx="172668" cy="13739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Freeform 71"/>
            <p:cNvSpPr>
              <a:spLocks/>
            </p:cNvSpPr>
            <p:nvPr/>
          </p:nvSpPr>
          <p:spPr bwMode="gray">
            <a:xfrm>
              <a:off x="3126093" y="4081876"/>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Freeform 72"/>
            <p:cNvSpPr>
              <a:spLocks/>
            </p:cNvSpPr>
            <p:nvPr/>
          </p:nvSpPr>
          <p:spPr bwMode="gray">
            <a:xfrm>
              <a:off x="3503456" y="3579385"/>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7" name="Freeform 73"/>
            <p:cNvSpPr>
              <a:spLocks/>
            </p:cNvSpPr>
            <p:nvPr/>
          </p:nvSpPr>
          <p:spPr bwMode="gray">
            <a:xfrm>
              <a:off x="3702582" y="3443268"/>
              <a:ext cx="34813" cy="38164"/>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Freeform 74"/>
            <p:cNvSpPr>
              <a:spLocks/>
            </p:cNvSpPr>
            <p:nvPr/>
          </p:nvSpPr>
          <p:spPr bwMode="gray">
            <a:xfrm>
              <a:off x="3736002" y="3328776"/>
              <a:ext cx="171276" cy="109403"/>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9" name="Freeform 75"/>
            <p:cNvSpPr>
              <a:spLocks/>
            </p:cNvSpPr>
            <p:nvPr/>
          </p:nvSpPr>
          <p:spPr bwMode="gray">
            <a:xfrm>
              <a:off x="3709543" y="3380933"/>
              <a:ext cx="73803" cy="99226"/>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Freeform 76"/>
            <p:cNvSpPr>
              <a:spLocks/>
            </p:cNvSpPr>
            <p:nvPr/>
          </p:nvSpPr>
          <p:spPr bwMode="gray">
            <a:xfrm>
              <a:off x="3768029" y="3221916"/>
              <a:ext cx="328627" cy="198452"/>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77"/>
            <p:cNvSpPr>
              <a:spLocks/>
            </p:cNvSpPr>
            <p:nvPr/>
          </p:nvSpPr>
          <p:spPr bwMode="gray">
            <a:xfrm>
              <a:off x="3158119" y="4107319"/>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2" name="Freeform 78"/>
            <p:cNvSpPr>
              <a:spLocks noEditPoints="1"/>
            </p:cNvSpPr>
            <p:nvPr/>
          </p:nvSpPr>
          <p:spPr bwMode="gray">
            <a:xfrm>
              <a:off x="3727647" y="2134244"/>
              <a:ext cx="2910298" cy="1361179"/>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3" name="Freeform 79"/>
            <p:cNvSpPr>
              <a:spLocks/>
            </p:cNvSpPr>
            <p:nvPr/>
          </p:nvSpPr>
          <p:spPr bwMode="gray">
            <a:xfrm>
              <a:off x="3265341" y="3994100"/>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4" name="Freeform 80"/>
            <p:cNvSpPr>
              <a:spLocks/>
            </p:cNvSpPr>
            <p:nvPr/>
          </p:nvSpPr>
          <p:spPr bwMode="gray">
            <a:xfrm>
              <a:off x="3717897" y="3464893"/>
              <a:ext cx="32028" cy="66151"/>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5" name="Freeform 81"/>
            <p:cNvSpPr>
              <a:spLocks/>
            </p:cNvSpPr>
            <p:nvPr/>
          </p:nvSpPr>
          <p:spPr bwMode="gray">
            <a:xfrm>
              <a:off x="3740177" y="3469981"/>
              <a:ext cx="44559" cy="3562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6" name="Freeform 82"/>
            <p:cNvSpPr>
              <a:spLocks/>
            </p:cNvSpPr>
            <p:nvPr/>
          </p:nvSpPr>
          <p:spPr bwMode="gray">
            <a:xfrm>
              <a:off x="3211033" y="4070428"/>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7" name="Freeform 83"/>
            <p:cNvSpPr>
              <a:spLocks/>
            </p:cNvSpPr>
            <p:nvPr/>
          </p:nvSpPr>
          <p:spPr bwMode="gray">
            <a:xfrm>
              <a:off x="3772206" y="3425458"/>
              <a:ext cx="112792" cy="71239"/>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8" name="Freeform 84"/>
            <p:cNvSpPr>
              <a:spLocks/>
            </p:cNvSpPr>
            <p:nvPr/>
          </p:nvSpPr>
          <p:spPr bwMode="gray">
            <a:xfrm>
              <a:off x="3851578" y="3324959"/>
              <a:ext cx="62663" cy="72512"/>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Freeform 85"/>
            <p:cNvSpPr>
              <a:spLocks/>
            </p:cNvSpPr>
            <p:nvPr/>
          </p:nvSpPr>
          <p:spPr bwMode="gray">
            <a:xfrm>
              <a:off x="2304525" y="477646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86"/>
            <p:cNvSpPr>
              <a:spLocks/>
            </p:cNvSpPr>
            <p:nvPr/>
          </p:nvSpPr>
          <p:spPr bwMode="gray">
            <a:xfrm>
              <a:off x="3369777" y="3846532"/>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1" name="Freeform 87"/>
            <p:cNvSpPr>
              <a:spLocks noEditPoints="1"/>
            </p:cNvSpPr>
            <p:nvPr/>
          </p:nvSpPr>
          <p:spPr bwMode="gray">
            <a:xfrm>
              <a:off x="3733217" y="3485247"/>
              <a:ext cx="118362" cy="142478"/>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2" name="Freeform 88"/>
            <p:cNvSpPr>
              <a:spLocks/>
            </p:cNvSpPr>
            <p:nvPr/>
          </p:nvSpPr>
          <p:spPr bwMode="gray">
            <a:xfrm>
              <a:off x="3536875" y="3663346"/>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3" name="Freeform 89"/>
            <p:cNvSpPr>
              <a:spLocks/>
            </p:cNvSpPr>
            <p:nvPr/>
          </p:nvSpPr>
          <p:spPr bwMode="gray">
            <a:xfrm>
              <a:off x="3308506" y="4061522"/>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4" name="Freeform 90"/>
            <p:cNvSpPr>
              <a:spLocks/>
            </p:cNvSpPr>
            <p:nvPr/>
          </p:nvSpPr>
          <p:spPr bwMode="gray">
            <a:xfrm>
              <a:off x="3365600" y="4062794"/>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Freeform 91"/>
            <p:cNvSpPr>
              <a:spLocks/>
            </p:cNvSpPr>
            <p:nvPr/>
          </p:nvSpPr>
          <p:spPr bwMode="gray">
            <a:xfrm>
              <a:off x="3382310" y="4041170"/>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6" name="Freeform 92"/>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7" name="Freeform 93"/>
            <p:cNvSpPr>
              <a:spLocks/>
            </p:cNvSpPr>
            <p:nvPr/>
          </p:nvSpPr>
          <p:spPr bwMode="gray">
            <a:xfrm>
              <a:off x="3415729" y="4016999"/>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8" name="Freeform 94"/>
            <p:cNvSpPr>
              <a:spLocks/>
            </p:cNvSpPr>
            <p:nvPr/>
          </p:nvSpPr>
          <p:spPr bwMode="gray">
            <a:xfrm>
              <a:off x="3951837" y="3612460"/>
              <a:ext cx="41775" cy="22898"/>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9" name="Freeform 95"/>
            <p:cNvSpPr>
              <a:spLocks/>
            </p:cNvSpPr>
            <p:nvPr/>
          </p:nvSpPr>
          <p:spPr bwMode="gray">
            <a:xfrm>
              <a:off x="3816766" y="3695149"/>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0" name="Freeform 96"/>
            <p:cNvSpPr>
              <a:spLocks/>
            </p:cNvSpPr>
            <p:nvPr/>
          </p:nvSpPr>
          <p:spPr bwMode="gray">
            <a:xfrm>
              <a:off x="3612070" y="3847805"/>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Freeform 97"/>
            <p:cNvSpPr>
              <a:spLocks/>
            </p:cNvSpPr>
            <p:nvPr/>
          </p:nvSpPr>
          <p:spPr bwMode="gray">
            <a:xfrm>
              <a:off x="3522951" y="4028447"/>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Freeform 98"/>
            <p:cNvSpPr>
              <a:spLocks/>
            </p:cNvSpPr>
            <p:nvPr/>
          </p:nvSpPr>
          <p:spPr bwMode="gray">
            <a:xfrm>
              <a:off x="4096655" y="3440723"/>
              <a:ext cx="122539" cy="57246"/>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Freeform 99"/>
            <p:cNvSpPr>
              <a:spLocks/>
            </p:cNvSpPr>
            <p:nvPr/>
          </p:nvSpPr>
          <p:spPr bwMode="gray">
            <a:xfrm>
              <a:off x="4003359" y="3635359"/>
              <a:ext cx="27850" cy="330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4" name="Freeform 100"/>
            <p:cNvSpPr>
              <a:spLocks/>
            </p:cNvSpPr>
            <p:nvPr/>
          </p:nvSpPr>
          <p:spPr bwMode="gray">
            <a:xfrm>
              <a:off x="4013106" y="3578114"/>
              <a:ext cx="128109" cy="104314"/>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Freeform 101"/>
            <p:cNvSpPr>
              <a:spLocks/>
            </p:cNvSpPr>
            <p:nvPr/>
          </p:nvSpPr>
          <p:spPr bwMode="gray">
            <a:xfrm>
              <a:off x="3988041" y="3664617"/>
              <a:ext cx="27850" cy="71239"/>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6" name="Freeform 102"/>
            <p:cNvSpPr>
              <a:spLocks/>
            </p:cNvSpPr>
            <p:nvPr/>
          </p:nvSpPr>
          <p:spPr bwMode="gray">
            <a:xfrm>
              <a:off x="3527127" y="4210361"/>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Freeform 103"/>
            <p:cNvSpPr>
              <a:spLocks noEditPoints="1"/>
            </p:cNvSpPr>
            <p:nvPr/>
          </p:nvSpPr>
          <p:spPr bwMode="gray">
            <a:xfrm>
              <a:off x="1992608" y="4546204"/>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8" name="Freeform 104"/>
            <p:cNvSpPr>
              <a:spLocks/>
            </p:cNvSpPr>
            <p:nvPr/>
          </p:nvSpPr>
          <p:spPr bwMode="gray">
            <a:xfrm>
              <a:off x="3628779" y="4064067"/>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9" name="Freeform 105"/>
            <p:cNvSpPr>
              <a:spLocks/>
            </p:cNvSpPr>
            <p:nvPr/>
          </p:nvSpPr>
          <p:spPr bwMode="gray">
            <a:xfrm>
              <a:off x="4003359" y="3662074"/>
              <a:ext cx="79372" cy="80144"/>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0" name="Freeform 106"/>
            <p:cNvSpPr>
              <a:spLocks noEditPoints="1"/>
            </p:cNvSpPr>
            <p:nvPr/>
          </p:nvSpPr>
          <p:spPr bwMode="gray">
            <a:xfrm>
              <a:off x="2028813" y="4622531"/>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1" name="Freeform 107"/>
            <p:cNvSpPr>
              <a:spLocks/>
            </p:cNvSpPr>
            <p:nvPr/>
          </p:nvSpPr>
          <p:spPr bwMode="gray">
            <a:xfrm>
              <a:off x="4157925" y="3492880"/>
              <a:ext cx="58484" cy="53430"/>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2" name="Freeform 108"/>
            <p:cNvSpPr>
              <a:spLocks/>
            </p:cNvSpPr>
            <p:nvPr/>
          </p:nvSpPr>
          <p:spPr bwMode="gray">
            <a:xfrm>
              <a:off x="3570295" y="4188737"/>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3" name="Freeform 109"/>
            <p:cNvSpPr>
              <a:spLocks noEditPoints="1"/>
            </p:cNvSpPr>
            <p:nvPr/>
          </p:nvSpPr>
          <p:spPr bwMode="gray">
            <a:xfrm>
              <a:off x="4180206" y="3480159"/>
              <a:ext cx="104437" cy="77601"/>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4" name="Freeform 110"/>
            <p:cNvSpPr>
              <a:spLocks/>
            </p:cNvSpPr>
            <p:nvPr/>
          </p:nvSpPr>
          <p:spPr bwMode="gray">
            <a:xfrm>
              <a:off x="4213625" y="3135411"/>
              <a:ext cx="743588" cy="372734"/>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5" name="Freeform 111"/>
            <p:cNvSpPr>
              <a:spLocks/>
            </p:cNvSpPr>
            <p:nvPr/>
          </p:nvSpPr>
          <p:spPr bwMode="gray">
            <a:xfrm>
              <a:off x="4071590" y="3578114"/>
              <a:ext cx="178238" cy="166649"/>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6" name="Freeform 112"/>
            <p:cNvSpPr>
              <a:spLocks/>
            </p:cNvSpPr>
            <p:nvPr/>
          </p:nvSpPr>
          <p:spPr bwMode="gray">
            <a:xfrm>
              <a:off x="3762460" y="3874519"/>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7" name="Freeform 113"/>
            <p:cNvSpPr>
              <a:spLocks/>
            </p:cNvSpPr>
            <p:nvPr/>
          </p:nvSpPr>
          <p:spPr bwMode="gray">
            <a:xfrm>
              <a:off x="3999181" y="3683699"/>
              <a:ext cx="387111" cy="31040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8" name="Freeform 114"/>
            <p:cNvSpPr>
              <a:spLocks/>
            </p:cNvSpPr>
            <p:nvPr/>
          </p:nvSpPr>
          <p:spPr bwMode="gray">
            <a:xfrm>
              <a:off x="3588398" y="4159476"/>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9" name="Freeform 115"/>
            <p:cNvSpPr>
              <a:spLocks/>
            </p:cNvSpPr>
            <p:nvPr/>
          </p:nvSpPr>
          <p:spPr bwMode="gray">
            <a:xfrm>
              <a:off x="4169066" y="3527228"/>
              <a:ext cx="349514" cy="29131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0" name="Freeform 116"/>
            <p:cNvSpPr>
              <a:spLocks/>
            </p:cNvSpPr>
            <p:nvPr/>
          </p:nvSpPr>
          <p:spPr bwMode="gray">
            <a:xfrm>
              <a:off x="4213625" y="3726951"/>
              <a:ext cx="34813" cy="27987"/>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1" name="Freeform 117"/>
            <p:cNvSpPr>
              <a:spLocks/>
            </p:cNvSpPr>
            <p:nvPr/>
          </p:nvSpPr>
          <p:spPr bwMode="gray">
            <a:xfrm>
              <a:off x="4029816" y="3943214"/>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2" name="Freeform 118"/>
            <p:cNvSpPr>
              <a:spLocks/>
            </p:cNvSpPr>
            <p:nvPr/>
          </p:nvSpPr>
          <p:spPr bwMode="gray">
            <a:xfrm>
              <a:off x="4323631" y="3461077"/>
              <a:ext cx="257610" cy="160289"/>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3" name="Freeform 119"/>
            <p:cNvSpPr>
              <a:spLocks noEditPoints="1"/>
            </p:cNvSpPr>
            <p:nvPr/>
          </p:nvSpPr>
          <p:spPr bwMode="gray">
            <a:xfrm>
              <a:off x="3581435" y="4323583"/>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4" name="Freeform 120"/>
            <p:cNvSpPr>
              <a:spLocks/>
            </p:cNvSpPr>
            <p:nvPr/>
          </p:nvSpPr>
          <p:spPr bwMode="gray">
            <a:xfrm>
              <a:off x="4387686" y="3394926"/>
              <a:ext cx="311917" cy="190819"/>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5" name="Freeform 121"/>
            <p:cNvSpPr>
              <a:spLocks/>
            </p:cNvSpPr>
            <p:nvPr/>
          </p:nvSpPr>
          <p:spPr bwMode="gray">
            <a:xfrm>
              <a:off x="3967155" y="3999187"/>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6" name="Freeform 122"/>
            <p:cNvSpPr>
              <a:spLocks/>
            </p:cNvSpPr>
            <p:nvPr/>
          </p:nvSpPr>
          <p:spPr bwMode="gray">
            <a:xfrm>
              <a:off x="3904492" y="4181102"/>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7" name="Freeform 123"/>
            <p:cNvSpPr>
              <a:spLocks/>
            </p:cNvSpPr>
            <p:nvPr/>
          </p:nvSpPr>
          <p:spPr bwMode="gray">
            <a:xfrm>
              <a:off x="3890567" y="4267607"/>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8" name="Freeform 124"/>
            <p:cNvSpPr>
              <a:spLocks/>
            </p:cNvSpPr>
            <p:nvPr/>
          </p:nvSpPr>
          <p:spPr bwMode="gray">
            <a:xfrm>
              <a:off x="3891960" y="4289235"/>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9" name="Freeform 125"/>
            <p:cNvSpPr>
              <a:spLocks/>
            </p:cNvSpPr>
            <p:nvPr/>
          </p:nvSpPr>
          <p:spPr bwMode="gray">
            <a:xfrm>
              <a:off x="4143999" y="3926678"/>
              <a:ext cx="187986" cy="109403"/>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0" name="Freeform 126"/>
            <p:cNvSpPr>
              <a:spLocks/>
            </p:cNvSpPr>
            <p:nvPr/>
          </p:nvSpPr>
          <p:spPr bwMode="gray">
            <a:xfrm>
              <a:off x="4291604" y="3799463"/>
              <a:ext cx="13925" cy="30532"/>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1" name="Freeform 127"/>
            <p:cNvSpPr>
              <a:spLocks/>
            </p:cNvSpPr>
            <p:nvPr/>
          </p:nvSpPr>
          <p:spPr bwMode="gray">
            <a:xfrm>
              <a:off x="4127290" y="4034807"/>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2" name="Freeform 128"/>
            <p:cNvSpPr>
              <a:spLocks/>
            </p:cNvSpPr>
            <p:nvPr/>
          </p:nvSpPr>
          <p:spPr bwMode="gray">
            <a:xfrm>
              <a:off x="4297174" y="3800735"/>
              <a:ext cx="96082" cy="71239"/>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3" name="Freeform 129"/>
            <p:cNvSpPr>
              <a:spLocks/>
            </p:cNvSpPr>
            <p:nvPr/>
          </p:nvSpPr>
          <p:spPr bwMode="gray">
            <a:xfrm>
              <a:off x="3972725" y="4172197"/>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4" name="Freeform 130"/>
            <p:cNvSpPr>
              <a:spLocks/>
            </p:cNvSpPr>
            <p:nvPr/>
          </p:nvSpPr>
          <p:spPr bwMode="gray">
            <a:xfrm>
              <a:off x="3766636" y="4385917"/>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5" name="Freeform 131"/>
            <p:cNvSpPr>
              <a:spLocks/>
            </p:cNvSpPr>
            <p:nvPr/>
          </p:nvSpPr>
          <p:spPr bwMode="gray">
            <a:xfrm>
              <a:off x="3581435" y="4534755"/>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6" name="Freeform 132"/>
            <p:cNvSpPr>
              <a:spLocks/>
            </p:cNvSpPr>
            <p:nvPr/>
          </p:nvSpPr>
          <p:spPr bwMode="gray">
            <a:xfrm>
              <a:off x="3900315" y="4266336"/>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7" name="Freeform 133"/>
            <p:cNvSpPr>
              <a:spLocks noEditPoints="1"/>
            </p:cNvSpPr>
            <p:nvPr/>
          </p:nvSpPr>
          <p:spPr bwMode="gray">
            <a:xfrm>
              <a:off x="4309706" y="3795647"/>
              <a:ext cx="146212" cy="171738"/>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8" name="Freeform 134"/>
            <p:cNvSpPr>
              <a:spLocks/>
            </p:cNvSpPr>
            <p:nvPr/>
          </p:nvSpPr>
          <p:spPr bwMode="gray">
            <a:xfrm>
              <a:off x="4465665" y="3556486"/>
              <a:ext cx="260395" cy="180642"/>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9" name="Freeform 135"/>
            <p:cNvSpPr>
              <a:spLocks/>
            </p:cNvSpPr>
            <p:nvPr/>
          </p:nvSpPr>
          <p:spPr bwMode="gray">
            <a:xfrm>
              <a:off x="4113365" y="4047528"/>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Freeform 136"/>
            <p:cNvSpPr>
              <a:spLocks/>
            </p:cNvSpPr>
            <p:nvPr/>
          </p:nvSpPr>
          <p:spPr bwMode="gray">
            <a:xfrm>
              <a:off x="4595167" y="3497968"/>
              <a:ext cx="136463" cy="94137"/>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Freeform 137"/>
            <p:cNvSpPr>
              <a:spLocks/>
            </p:cNvSpPr>
            <p:nvPr/>
          </p:nvSpPr>
          <p:spPr bwMode="gray">
            <a:xfrm>
              <a:off x="4628586" y="3450900"/>
              <a:ext cx="199126" cy="8777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Freeform 138"/>
            <p:cNvSpPr>
              <a:spLocks/>
            </p:cNvSpPr>
            <p:nvPr/>
          </p:nvSpPr>
          <p:spPr bwMode="gray">
            <a:xfrm>
              <a:off x="3727647" y="4548748"/>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Freeform 139"/>
            <p:cNvSpPr>
              <a:spLocks/>
            </p:cNvSpPr>
            <p:nvPr/>
          </p:nvSpPr>
          <p:spPr bwMode="gray">
            <a:xfrm>
              <a:off x="3826513" y="4511857"/>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4" name="Freeform 140"/>
            <p:cNvSpPr>
              <a:spLocks/>
            </p:cNvSpPr>
            <p:nvPr/>
          </p:nvSpPr>
          <p:spPr bwMode="gray">
            <a:xfrm>
              <a:off x="4474020" y="3585746"/>
              <a:ext cx="304955" cy="25569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5" name="Freeform 141"/>
            <p:cNvSpPr>
              <a:spLocks/>
            </p:cNvSpPr>
            <p:nvPr/>
          </p:nvSpPr>
          <p:spPr bwMode="gray">
            <a:xfrm>
              <a:off x="3962977" y="4408815"/>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6" name="Freeform 142"/>
            <p:cNvSpPr>
              <a:spLocks noEditPoints="1"/>
            </p:cNvSpPr>
            <p:nvPr/>
          </p:nvSpPr>
          <p:spPr bwMode="gray">
            <a:xfrm>
              <a:off x="3628779" y="4626349"/>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7" name="Freeform 143"/>
            <p:cNvSpPr>
              <a:spLocks/>
            </p:cNvSpPr>
            <p:nvPr/>
          </p:nvSpPr>
          <p:spPr bwMode="gray">
            <a:xfrm>
              <a:off x="3918418" y="4422808"/>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Freeform 144"/>
            <p:cNvSpPr>
              <a:spLocks/>
            </p:cNvSpPr>
            <p:nvPr/>
          </p:nvSpPr>
          <p:spPr bwMode="gray">
            <a:xfrm>
              <a:off x="3859934" y="4747200"/>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Freeform 145"/>
            <p:cNvSpPr>
              <a:spLocks/>
            </p:cNvSpPr>
            <p:nvPr/>
          </p:nvSpPr>
          <p:spPr bwMode="gray">
            <a:xfrm>
              <a:off x="3926773" y="4692500"/>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Freeform 147"/>
            <p:cNvSpPr>
              <a:spLocks/>
            </p:cNvSpPr>
            <p:nvPr/>
          </p:nvSpPr>
          <p:spPr bwMode="gray">
            <a:xfrm>
              <a:off x="4965567" y="3230821"/>
              <a:ext cx="580668" cy="25569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1" name="Freeform 149"/>
            <p:cNvSpPr>
              <a:spLocks/>
            </p:cNvSpPr>
            <p:nvPr/>
          </p:nvSpPr>
          <p:spPr bwMode="gray">
            <a:xfrm>
              <a:off x="4193925" y="4385916"/>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2" name="Freeform 150"/>
            <p:cNvSpPr>
              <a:spLocks/>
            </p:cNvSpPr>
            <p:nvPr/>
          </p:nvSpPr>
          <p:spPr bwMode="gray">
            <a:xfrm>
              <a:off x="4823534" y="3715504"/>
              <a:ext cx="148997" cy="77601"/>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3" name="Freeform 151"/>
            <p:cNvSpPr>
              <a:spLocks/>
            </p:cNvSpPr>
            <p:nvPr/>
          </p:nvSpPr>
          <p:spPr bwMode="gray">
            <a:xfrm>
              <a:off x="4982279" y="3757483"/>
              <a:ext cx="58484" cy="30532"/>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4" name="Freeform 152"/>
            <p:cNvSpPr>
              <a:spLocks/>
            </p:cNvSpPr>
            <p:nvPr/>
          </p:nvSpPr>
          <p:spPr bwMode="gray">
            <a:xfrm>
              <a:off x="4968352" y="3794375"/>
              <a:ext cx="83549" cy="96682"/>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5" name="Freeform 153"/>
            <p:cNvSpPr>
              <a:spLocks/>
            </p:cNvSpPr>
            <p:nvPr/>
          </p:nvSpPr>
          <p:spPr bwMode="gray">
            <a:xfrm>
              <a:off x="4816573" y="4085692"/>
              <a:ext cx="40383" cy="63607"/>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6" name="Freeform 154"/>
            <p:cNvSpPr>
              <a:spLocks/>
            </p:cNvSpPr>
            <p:nvPr/>
          </p:nvSpPr>
          <p:spPr bwMode="gray">
            <a:xfrm>
              <a:off x="5042155" y="3754939"/>
              <a:ext cx="162922" cy="32439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7" name="Freeform 155"/>
            <p:cNvSpPr>
              <a:spLocks/>
            </p:cNvSpPr>
            <p:nvPr/>
          </p:nvSpPr>
          <p:spPr bwMode="gray">
            <a:xfrm>
              <a:off x="5186975" y="3863070"/>
              <a:ext cx="135072" cy="152656"/>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8" name="Freeform 156"/>
            <p:cNvSpPr>
              <a:spLocks/>
            </p:cNvSpPr>
            <p:nvPr/>
          </p:nvSpPr>
          <p:spPr bwMode="gray">
            <a:xfrm>
              <a:off x="5138237" y="3901234"/>
              <a:ext cx="147603" cy="254426"/>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9" name="Freeform 157"/>
            <p:cNvSpPr>
              <a:spLocks/>
            </p:cNvSpPr>
            <p:nvPr/>
          </p:nvSpPr>
          <p:spPr bwMode="gray">
            <a:xfrm>
              <a:off x="5228749" y="4003006"/>
              <a:ext cx="94689" cy="72512"/>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0" name="Freeform 158"/>
            <p:cNvSpPr>
              <a:spLocks/>
            </p:cNvSpPr>
            <p:nvPr/>
          </p:nvSpPr>
          <p:spPr bwMode="gray">
            <a:xfrm>
              <a:off x="5221786" y="3849078"/>
              <a:ext cx="133678" cy="25824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1" name="Freeform 159"/>
            <p:cNvSpPr>
              <a:spLocks noEditPoints="1"/>
            </p:cNvSpPr>
            <p:nvPr/>
          </p:nvSpPr>
          <p:spPr bwMode="gray">
            <a:xfrm>
              <a:off x="5188366" y="4132762"/>
              <a:ext cx="343944" cy="103043"/>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2" name="Freeform 160"/>
            <p:cNvSpPr>
              <a:spLocks noEditPoints="1"/>
            </p:cNvSpPr>
            <p:nvPr/>
          </p:nvSpPr>
          <p:spPr bwMode="gray">
            <a:xfrm>
              <a:off x="5099247" y="4155661"/>
              <a:ext cx="832707" cy="265876"/>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3" name="Freeform 161"/>
            <p:cNvSpPr>
              <a:spLocks/>
            </p:cNvSpPr>
            <p:nvPr/>
          </p:nvSpPr>
          <p:spPr bwMode="gray">
            <a:xfrm>
              <a:off x="5625607" y="3455989"/>
              <a:ext cx="114184" cy="11830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4" name="Freeform 162"/>
            <p:cNvSpPr>
              <a:spLocks/>
            </p:cNvSpPr>
            <p:nvPr/>
          </p:nvSpPr>
          <p:spPr bwMode="gray">
            <a:xfrm>
              <a:off x="5659027" y="3552671"/>
              <a:ext cx="62663" cy="89049"/>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5" name="Freeform 163"/>
            <p:cNvSpPr>
              <a:spLocks/>
            </p:cNvSpPr>
            <p:nvPr/>
          </p:nvSpPr>
          <p:spPr bwMode="gray">
            <a:xfrm>
              <a:off x="5549019" y="3816002"/>
              <a:ext cx="33420" cy="58518"/>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164"/>
            <p:cNvSpPr>
              <a:spLocks/>
            </p:cNvSpPr>
            <p:nvPr/>
          </p:nvSpPr>
          <p:spPr bwMode="gray">
            <a:xfrm>
              <a:off x="5441799" y="4164565"/>
              <a:ext cx="20888" cy="16539"/>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65"/>
            <p:cNvSpPr>
              <a:spLocks noEditPoints="1"/>
            </p:cNvSpPr>
            <p:nvPr/>
          </p:nvSpPr>
          <p:spPr bwMode="gray">
            <a:xfrm>
              <a:off x="5720296" y="3398742"/>
              <a:ext cx="292423" cy="309129"/>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8" name="Freeform 166"/>
            <p:cNvSpPr>
              <a:spLocks noEditPoints="1"/>
            </p:cNvSpPr>
            <p:nvPr/>
          </p:nvSpPr>
          <p:spPr bwMode="gray">
            <a:xfrm>
              <a:off x="5497499" y="3934309"/>
              <a:ext cx="168491" cy="222624"/>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9" name="Freeform 167"/>
            <p:cNvSpPr>
              <a:spLocks noEditPoints="1"/>
            </p:cNvSpPr>
            <p:nvPr/>
          </p:nvSpPr>
          <p:spPr bwMode="gray">
            <a:xfrm>
              <a:off x="5423697" y="4430440"/>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0" name="Freeform 168"/>
            <p:cNvSpPr>
              <a:spLocks noEditPoints="1"/>
            </p:cNvSpPr>
            <p:nvPr/>
          </p:nvSpPr>
          <p:spPr bwMode="gray">
            <a:xfrm>
              <a:off x="5927777" y="4294323"/>
              <a:ext cx="208874" cy="133574"/>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1" name="Freeform 169"/>
            <p:cNvSpPr>
              <a:spLocks noEditPoints="1"/>
            </p:cNvSpPr>
            <p:nvPr/>
          </p:nvSpPr>
          <p:spPr bwMode="gray">
            <a:xfrm>
              <a:off x="6395652" y="4860421"/>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2" name="Freeform 170"/>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3" name="Freeform 6"/>
            <p:cNvSpPr>
              <a:spLocks/>
            </p:cNvSpPr>
            <p:nvPr/>
          </p:nvSpPr>
          <p:spPr bwMode="gray">
            <a:xfrm>
              <a:off x="6637945" y="2645642"/>
              <a:ext cx="182416" cy="184460"/>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4" name="Freeform 22"/>
            <p:cNvSpPr>
              <a:spLocks/>
            </p:cNvSpPr>
            <p:nvPr/>
          </p:nvSpPr>
          <p:spPr bwMode="gray">
            <a:xfrm>
              <a:off x="5339719" y="3907448"/>
              <a:ext cx="43156" cy="32881"/>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5" name="Freeform 13"/>
            <p:cNvSpPr>
              <a:spLocks/>
            </p:cNvSpPr>
            <p:nvPr/>
          </p:nvSpPr>
          <p:spPr bwMode="gray">
            <a:xfrm>
              <a:off x="4604913" y="3592104"/>
              <a:ext cx="533323" cy="523482"/>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6" name="Freeform 23"/>
            <p:cNvSpPr>
              <a:spLocks/>
            </p:cNvSpPr>
            <p:nvPr/>
          </p:nvSpPr>
          <p:spPr bwMode="gray">
            <a:xfrm>
              <a:off x="4707956" y="3192162"/>
              <a:ext cx="1106861" cy="712383"/>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210" name="Rectangle 209">
            <a:extLst>
              <a:ext uri="{FF2B5EF4-FFF2-40B4-BE49-F238E27FC236}">
                <a16:creationId xmlns:a16="http://schemas.microsoft.com/office/drawing/2014/main" id="{19976663-18BF-2F43-BD8B-71D43A575608}"/>
              </a:ext>
            </a:extLst>
          </p:cNvPr>
          <p:cNvSpPr/>
          <p:nvPr/>
        </p:nvSpPr>
        <p:spPr>
          <a:xfrm>
            <a:off x="1828800" y="2742215"/>
            <a:ext cx="2253822" cy="307777"/>
          </a:xfrm>
          <a:prstGeom prst="rect">
            <a:avLst/>
          </a:prstGeom>
        </p:spPr>
        <p:txBody>
          <a:bodyPr wrap="none" lIns="0" tIns="0" rIns="0" bIns="0">
            <a:spAutoFit/>
          </a:bodyPr>
          <a:lstStyle/>
          <a:p>
            <a:r>
              <a:rPr lang="en-US" sz="2000" b="1" cap="all">
                <a:solidFill>
                  <a:srgbClr val="FFFFFF"/>
                </a:solidFill>
                <a:latin typeface="Arial" panose="020B0604020202020204" pitchFamily="34" charset="0"/>
                <a:ea typeface="Roboto" panose="02000000000000000000" pitchFamily="2" charset="0"/>
                <a:cs typeface="Arial" panose="020B0604020202020204" pitchFamily="34" charset="0"/>
              </a:rPr>
              <a:t>Text Goes Here</a:t>
            </a:r>
          </a:p>
        </p:txBody>
      </p:sp>
      <p:sp>
        <p:nvSpPr>
          <p:cNvPr id="211" name="Rectangle 210">
            <a:extLst>
              <a:ext uri="{FF2B5EF4-FFF2-40B4-BE49-F238E27FC236}">
                <a16:creationId xmlns:a16="http://schemas.microsoft.com/office/drawing/2014/main" id="{E1B366C1-2BEE-0843-A828-BAFC8F7820A7}"/>
              </a:ext>
            </a:extLst>
          </p:cNvPr>
          <p:cNvSpPr/>
          <p:nvPr/>
        </p:nvSpPr>
        <p:spPr>
          <a:xfrm>
            <a:off x="1848577" y="3100826"/>
            <a:ext cx="2745547" cy="1206484"/>
          </a:xfrm>
          <a:prstGeom prst="rect">
            <a:avLst/>
          </a:prstGeom>
        </p:spPr>
        <p:txBody>
          <a:bodyPr wrap="square" lIns="0" tIns="0" rIns="0" bIns="0">
            <a:spAutoFit/>
          </a:bodyPr>
          <a:lstStyle/>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Dratat quat ad gui is molup tasioi</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natur acesto dolore noneta huild</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quasit. Sundah avel sequin foryip ais experipdo lorem ipsum.</a:t>
            </a:r>
          </a:p>
        </p:txBody>
      </p:sp>
      <p:sp>
        <p:nvSpPr>
          <p:cNvPr id="212" name="Rectangle 211">
            <a:extLst>
              <a:ext uri="{FF2B5EF4-FFF2-40B4-BE49-F238E27FC236}">
                <a16:creationId xmlns:a16="http://schemas.microsoft.com/office/drawing/2014/main" id="{113FE46C-48CE-B741-AD01-273C8AD6FDE4}"/>
              </a:ext>
            </a:extLst>
          </p:cNvPr>
          <p:cNvSpPr/>
          <p:nvPr/>
        </p:nvSpPr>
        <p:spPr>
          <a:xfrm>
            <a:off x="7381876" y="5112735"/>
            <a:ext cx="646011" cy="215444"/>
          </a:xfrm>
          <a:prstGeom prst="rect">
            <a:avLst/>
          </a:prstGeom>
        </p:spPr>
        <p:txBody>
          <a:bodyPr wrap="none" lIns="0" tIns="0" rIns="0" bIns="0">
            <a:spAutoFit/>
          </a:bodyPr>
          <a:lstStyle/>
          <a:p>
            <a:r>
              <a:rPr lang="en-US" sz="1400" b="1">
                <a:solidFill>
                  <a:schemeClr val="bg2"/>
                </a:solidFill>
                <a:latin typeface="Arial" panose="020B0604020202020204" pitchFamily="34" charset="0"/>
                <a:ea typeface="Roboto" panose="02000000000000000000" pitchFamily="2" charset="0"/>
                <a:cs typeface="Arial" panose="020B0604020202020204" pitchFamily="34" charset="0"/>
              </a:rPr>
              <a:t>Canada</a:t>
            </a:r>
          </a:p>
        </p:txBody>
      </p:sp>
      <p:sp>
        <p:nvSpPr>
          <p:cNvPr id="213" name="Rectangle 212">
            <a:extLst>
              <a:ext uri="{FF2B5EF4-FFF2-40B4-BE49-F238E27FC236}">
                <a16:creationId xmlns:a16="http://schemas.microsoft.com/office/drawing/2014/main" id="{79067EF4-DB2A-2641-91B6-2F2D59CB752C}"/>
              </a:ext>
            </a:extLst>
          </p:cNvPr>
          <p:cNvSpPr/>
          <p:nvPr/>
        </p:nvSpPr>
        <p:spPr>
          <a:xfrm>
            <a:off x="7378700" y="5405774"/>
            <a:ext cx="2745547" cy="553998"/>
          </a:xfrm>
          <a:prstGeom prst="rect">
            <a:avLst/>
          </a:prstGeom>
        </p:spPr>
        <p:txBody>
          <a:bodyPr wrap="square" lIns="0" tIns="0" rIns="0" bIns="0">
            <a:spAutoFit/>
          </a:bodyPr>
          <a:lstStyle/>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Dratat quat ad gui is molup tasioi natur acesto</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natur acesto dolore noneta huilda vel seq uodi.</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Sundah quasitavel sequin.</a:t>
            </a:r>
          </a:p>
        </p:txBody>
      </p:sp>
      <p:cxnSp>
        <p:nvCxnSpPr>
          <p:cNvPr id="10" name="Straight Connector 9"/>
          <p:cNvCxnSpPr/>
          <p:nvPr/>
        </p:nvCxnSpPr>
        <p:spPr>
          <a:xfrm>
            <a:off x="6974120" y="3860801"/>
            <a:ext cx="0" cy="2084865"/>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6929120" y="3799840"/>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7342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2873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2"/>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5" name="Title 4"/>
          <p:cNvSpPr>
            <a:spLocks noGrp="1"/>
          </p:cNvSpPr>
          <p:nvPr>
            <p:ph type="title"/>
          </p:nvPr>
        </p:nvSpPr>
        <p:spPr>
          <a:xfrm>
            <a:off x="269239" y="-9028"/>
            <a:ext cx="11617961" cy="875167"/>
          </a:xfrm>
        </p:spPr>
        <p:txBody>
          <a:bodyPr/>
          <a:lstStyle/>
          <a:p>
            <a:endParaRPr lang="en-US"/>
          </a:p>
        </p:txBody>
      </p:sp>
      <p:graphicFrame>
        <p:nvGraphicFramePr>
          <p:cNvPr id="7" name="Content Placeholder 5"/>
          <p:cNvGraphicFramePr>
            <a:graphicFrameLocks noGrp="1"/>
          </p:cNvGraphicFramePr>
          <p:nvPr>
            <p:ph sz="half" idx="4294967295"/>
            <p:extLst>
              <p:ext uri="{D42A27DB-BD31-4B8C-83A1-F6EECF244321}">
                <p14:modId xmlns:p14="http://schemas.microsoft.com/office/powerpoint/2010/main" val="1871563225"/>
              </p:ext>
            </p:extLst>
          </p:nvPr>
        </p:nvGraphicFramePr>
        <p:xfrm>
          <a:off x="6494927" y="1219200"/>
          <a:ext cx="5392273" cy="3846664"/>
        </p:xfrm>
        <a:graphic>
          <a:graphicData uri="http://schemas.openxmlformats.org/drawingml/2006/table">
            <a:tbl>
              <a:tblPr>
                <a:tableStyleId>{5C22544A-7EE6-4342-B048-85BDC9FD1C3A}</a:tableStyleId>
              </a:tblPr>
              <a:tblGrid>
                <a:gridCol w="789115">
                  <a:extLst>
                    <a:ext uri="{9D8B030D-6E8A-4147-A177-3AD203B41FA5}">
                      <a16:colId xmlns:a16="http://schemas.microsoft.com/office/drawing/2014/main" val="20001"/>
                    </a:ext>
                  </a:extLst>
                </a:gridCol>
                <a:gridCol w="657594">
                  <a:extLst>
                    <a:ext uri="{9D8B030D-6E8A-4147-A177-3AD203B41FA5}">
                      <a16:colId xmlns:a16="http://schemas.microsoft.com/office/drawing/2014/main" val="20002"/>
                    </a:ext>
                  </a:extLst>
                </a:gridCol>
                <a:gridCol w="657594">
                  <a:extLst>
                    <a:ext uri="{9D8B030D-6E8A-4147-A177-3AD203B41FA5}">
                      <a16:colId xmlns:a16="http://schemas.microsoft.com/office/drawing/2014/main" val="20003"/>
                    </a:ext>
                  </a:extLst>
                </a:gridCol>
                <a:gridCol w="657594">
                  <a:extLst>
                    <a:ext uri="{9D8B030D-6E8A-4147-A177-3AD203B41FA5}">
                      <a16:colId xmlns:a16="http://schemas.microsoft.com/office/drawing/2014/main" val="20004"/>
                    </a:ext>
                  </a:extLst>
                </a:gridCol>
                <a:gridCol w="657594">
                  <a:extLst>
                    <a:ext uri="{9D8B030D-6E8A-4147-A177-3AD203B41FA5}">
                      <a16:colId xmlns:a16="http://schemas.microsoft.com/office/drawing/2014/main" val="20005"/>
                    </a:ext>
                  </a:extLst>
                </a:gridCol>
                <a:gridCol w="657594">
                  <a:extLst>
                    <a:ext uri="{9D8B030D-6E8A-4147-A177-3AD203B41FA5}">
                      <a16:colId xmlns:a16="http://schemas.microsoft.com/office/drawing/2014/main" val="20006"/>
                    </a:ext>
                  </a:extLst>
                </a:gridCol>
                <a:gridCol w="657594">
                  <a:extLst>
                    <a:ext uri="{9D8B030D-6E8A-4147-A177-3AD203B41FA5}">
                      <a16:colId xmlns:a16="http://schemas.microsoft.com/office/drawing/2014/main" val="20007"/>
                    </a:ext>
                  </a:extLst>
                </a:gridCol>
                <a:gridCol w="657594">
                  <a:extLst>
                    <a:ext uri="{9D8B030D-6E8A-4147-A177-3AD203B41FA5}">
                      <a16:colId xmlns:a16="http://schemas.microsoft.com/office/drawing/2014/main" val="20008"/>
                    </a:ext>
                  </a:extLst>
                </a:gridCol>
              </a:tblGrid>
              <a:tr h="403354">
                <a:tc>
                  <a:txBody>
                    <a:bodyPr/>
                    <a:lstStyle/>
                    <a:p>
                      <a:pPr marL="0" marR="0" indent="0" algn="ctr" defTabSz="909177" rtl="0" eaLnBrk="1" fontAlgn="b" latinLnBrk="0" hangingPunct="1">
                        <a:lnSpc>
                          <a:spcPct val="100000"/>
                        </a:lnSpc>
                        <a:spcBef>
                          <a:spcPts val="0"/>
                        </a:spcBef>
                        <a:spcAft>
                          <a:spcPts val="0"/>
                        </a:spcAft>
                        <a:buClrTx/>
                        <a:buSzTx/>
                        <a:buFontTx/>
                        <a:buNone/>
                        <a:tabLst/>
                        <a:defRPr/>
                      </a:pPr>
                      <a:r>
                        <a:rPr lang="en-US" sz="900" b="1">
                          <a:solidFill>
                            <a:schemeClr val="accent5"/>
                          </a:solidFill>
                        </a:rPr>
                        <a:t>Lorem</a:t>
                      </a:r>
                      <a:endParaRPr lang="en-GB" sz="900" b="1" i="0" u="none" strike="noStrike">
                        <a:solidFill>
                          <a:srgbClr val="FFFFFF"/>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fontAlgn="b"/>
                      <a:r>
                        <a:rPr lang="en-US" sz="900" b="1">
                          <a:solidFill>
                            <a:schemeClr val="accent5"/>
                          </a:solidFill>
                        </a:rPr>
                        <a:t>Lorem</a:t>
                      </a:r>
                      <a:endParaRPr lang="en-GB" sz="900" b="1" i="0" u="none" strike="noStrike">
                        <a:solidFill>
                          <a:srgbClr val="FFFFFF"/>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fontAlgn="b"/>
                      <a:r>
                        <a:rPr lang="en-US" sz="900" b="1">
                          <a:solidFill>
                            <a:schemeClr val="accent5"/>
                          </a:solidFill>
                        </a:rPr>
                        <a:t>Lorem</a:t>
                      </a:r>
                      <a:endParaRPr lang="en-GB" sz="900" b="0" i="0" u="none" strike="noStrike" baseline="70000">
                        <a:solidFill>
                          <a:srgbClr val="FFFFFF"/>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fontAlgn="b"/>
                      <a:r>
                        <a:rPr lang="en-US" sz="900" b="1">
                          <a:solidFill>
                            <a:schemeClr val="accent5"/>
                          </a:solidFill>
                        </a:rPr>
                        <a:t>Lorem</a:t>
                      </a:r>
                      <a:endParaRPr lang="en-GB" sz="900" b="1" i="0" u="none" strike="noStrike">
                        <a:solidFill>
                          <a:srgbClr val="FFFFFF"/>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fontAlgn="b"/>
                      <a:r>
                        <a:rPr lang="en-US" sz="900" b="1">
                          <a:solidFill>
                            <a:schemeClr val="accent5"/>
                          </a:solidFill>
                        </a:rPr>
                        <a:t>Lorem</a:t>
                      </a:r>
                      <a:endParaRPr lang="en-GB" sz="900" b="1" i="0" u="none" strike="noStrike">
                        <a:solidFill>
                          <a:srgbClr val="FFFFFF"/>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fontAlgn="b"/>
                      <a:r>
                        <a:rPr lang="en-US" sz="900" b="1">
                          <a:solidFill>
                            <a:schemeClr val="accent5"/>
                          </a:solidFill>
                        </a:rPr>
                        <a:t>Lorem</a:t>
                      </a:r>
                      <a:endParaRPr lang="en-GB" sz="900" b="1" i="0" u="none" strike="noStrike">
                        <a:solidFill>
                          <a:srgbClr val="FFFFFF"/>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fontAlgn="b"/>
                      <a:r>
                        <a:rPr lang="en-US" sz="900" b="1">
                          <a:solidFill>
                            <a:schemeClr val="accent5"/>
                          </a:solidFill>
                        </a:rPr>
                        <a:t>Lorem</a:t>
                      </a:r>
                      <a:endParaRPr lang="en-GB" sz="900" b="1" i="0" u="none" strike="noStrike">
                        <a:solidFill>
                          <a:srgbClr val="FFFFFF"/>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fontAlgn="b"/>
                      <a:r>
                        <a:rPr lang="en-US" sz="900" b="1">
                          <a:solidFill>
                            <a:schemeClr val="accent5"/>
                          </a:solidFill>
                        </a:rPr>
                        <a:t>Lorem</a:t>
                      </a:r>
                      <a:endParaRPr lang="en-GB" sz="900" b="1" i="0" u="none" strike="noStrike">
                        <a:solidFill>
                          <a:srgbClr val="FFFFFF"/>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0000"/>
                  </a:ext>
                </a:extLst>
              </a:tr>
              <a:tr h="344331">
                <a:tc>
                  <a:txBody>
                    <a:bodyPr/>
                    <a:lstStyle/>
                    <a:p>
                      <a:pPr algn="l" fontAlgn="b"/>
                      <a:endParaRPr lang="en-GB" sz="900" b="0" i="0" u="none" strike="noStrike">
                        <a:solidFill>
                          <a:srgbClr val="595959"/>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rgbClr val="595959"/>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rgbClr val="595959"/>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rgbClr val="595959"/>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rgbClr val="595959"/>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rgbClr val="595959"/>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rgbClr val="595959"/>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rgbClr val="595959"/>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1"/>
                  </a:ext>
                </a:extLst>
              </a:tr>
              <a:tr h="344331">
                <a:tc>
                  <a:txBody>
                    <a:bodyPr/>
                    <a:lstStyle/>
                    <a:p>
                      <a:pPr marL="119063" indent="0" algn="l"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4331">
                <a:tc>
                  <a:txBody>
                    <a:bodyPr/>
                    <a:lstStyle/>
                    <a:p>
                      <a:pPr algn="l"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3"/>
                  </a:ext>
                </a:extLst>
              </a:tr>
              <a:tr h="344331">
                <a:tc>
                  <a:txBody>
                    <a:bodyPr/>
                    <a:lstStyle/>
                    <a:p>
                      <a:pPr marL="0" marR="0" indent="119063" algn="l" defTabSz="909177" rtl="0" eaLnBrk="1" fontAlgn="b" latinLnBrk="0" hangingPunct="1">
                        <a:lnSpc>
                          <a:spcPct val="100000"/>
                        </a:lnSpc>
                        <a:spcBef>
                          <a:spcPts val="0"/>
                        </a:spcBef>
                        <a:spcAft>
                          <a:spcPts val="0"/>
                        </a:spcAft>
                        <a:buClrTx/>
                        <a:buSzTx/>
                        <a:buFontTx/>
                        <a:buNone/>
                        <a:tabLst/>
                        <a:defRPr/>
                      </a:pPr>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4331">
                <a:tc>
                  <a:txBody>
                    <a:bodyPr/>
                    <a:lstStyle/>
                    <a:p>
                      <a:pPr algn="l"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5"/>
                  </a:ext>
                </a:extLst>
              </a:tr>
              <a:tr h="344331">
                <a:tc>
                  <a:txBody>
                    <a:bodyPr/>
                    <a:lstStyle/>
                    <a:p>
                      <a:pPr marL="119063" indent="0" algn="l"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44331">
                <a:tc>
                  <a:txBody>
                    <a:bodyPr/>
                    <a:lstStyle/>
                    <a:p>
                      <a:pPr algn="l"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7"/>
                  </a:ext>
                </a:extLst>
              </a:tr>
              <a:tr h="344331">
                <a:tc>
                  <a:txBody>
                    <a:bodyPr/>
                    <a:lstStyle/>
                    <a:p>
                      <a:pPr marL="0" marR="0" indent="119063" algn="l" defTabSz="909177" rtl="0" eaLnBrk="1" fontAlgn="b" latinLnBrk="0" hangingPunct="1">
                        <a:lnSpc>
                          <a:spcPct val="100000"/>
                        </a:lnSpc>
                        <a:spcBef>
                          <a:spcPts val="0"/>
                        </a:spcBef>
                        <a:spcAft>
                          <a:spcPts val="0"/>
                        </a:spcAft>
                        <a:buClrTx/>
                        <a:buSzTx/>
                        <a:buFontTx/>
                        <a:buNone/>
                        <a:tabLst/>
                        <a:defRPr/>
                      </a:pPr>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44331">
                <a:tc>
                  <a:txBody>
                    <a:bodyPr/>
                    <a:lstStyle/>
                    <a:p>
                      <a:pPr algn="l"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
                      <a:endParaRPr lang="en-GB" sz="900" b="1"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9"/>
                  </a:ext>
                </a:extLst>
              </a:tr>
              <a:tr h="344331">
                <a:tc>
                  <a:txBody>
                    <a:bodyPr/>
                    <a:lstStyle/>
                    <a:p>
                      <a:pPr marL="119063" indent="0" algn="l"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srgbClr val="BFBFBF"/>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900" b="0" i="0" u="none" strike="noStrike">
                        <a:solidFill>
                          <a:schemeClr val="tx1">
                            <a:lumMod val="50000"/>
                          </a:schemeClr>
                        </a:solidFill>
                        <a:effectLst/>
                        <a:latin typeface="Arial" panose="020B0604020202020204" pitchFamily="34" charset="0"/>
                        <a:cs typeface="Arial" panose="020B0604020202020204" pitchFamily="34" charset="0"/>
                      </a:endParaRPr>
                    </a:p>
                  </a:txBody>
                  <a:tcPr marT="0" marB="0" anchor="ctr">
                    <a:lnL w="6350" cap="flat" cmpd="sng" algn="ctr">
                      <a:solidFill>
                        <a:prstClr val="white">
                          <a:lumMod val="75000"/>
                        </a:prstClr>
                      </a:solidFill>
                      <a:prstDash val="solid"/>
                      <a:round/>
                      <a:headEnd type="none" w="med" len="med"/>
                      <a:tailEnd type="none" w="med" len="med"/>
                    </a:lnL>
                    <a:lnR w="6350" cap="flat" cmpd="sng" algn="ctr">
                      <a:solidFill>
                        <a:prstClr val="white">
                          <a:lumMod val="75000"/>
                        </a:prstClr>
                      </a:solidFill>
                      <a:prstDash val="solid"/>
                      <a:round/>
                      <a:headEnd type="none" w="med" len="med"/>
                      <a:tailEnd type="none" w="med" len="med"/>
                    </a:lnR>
                    <a:lnT w="6350" cap="flat" cmpd="sng" algn="ctr">
                      <a:solidFill>
                        <a:prstClr val="white">
                          <a:lumMod val="75000"/>
                        </a:prstClr>
                      </a:solidFill>
                      <a:prstDash val="solid"/>
                      <a:round/>
                      <a:headEnd type="none" w="med" len="med"/>
                      <a:tailEnd type="none" w="med" len="med"/>
                    </a:lnT>
                    <a:lnB w="635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8" name="Rectangle 7"/>
          <p:cNvSpPr/>
          <p:nvPr/>
        </p:nvSpPr>
        <p:spPr>
          <a:xfrm>
            <a:off x="269239" y="1219200"/>
            <a:ext cx="5401611" cy="447675"/>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accent5"/>
                </a:solidFill>
              </a:rPr>
              <a:t>Lorem ipsum </a:t>
            </a:r>
            <a:endParaRPr lang="en-US" b="1">
              <a:solidFill>
                <a:schemeClr val="accent5"/>
              </a:solidFill>
              <a:latin typeface="Arial" panose="020B0604020202020204" pitchFamily="34" charset="0"/>
              <a:cs typeface="Arial" panose="020B0604020202020204" pitchFamily="34" charset="0"/>
            </a:endParaRPr>
          </a:p>
        </p:txBody>
      </p:sp>
      <p:sp>
        <p:nvSpPr>
          <p:cNvPr id="9" name="Rectangle 8"/>
          <p:cNvSpPr/>
          <p:nvPr/>
        </p:nvSpPr>
        <p:spPr>
          <a:xfrm>
            <a:off x="269239" y="1784551"/>
            <a:ext cx="5401611" cy="1608978"/>
          </a:xfrm>
          <a:prstGeom prst="rect">
            <a:avLst/>
          </a:prstGeom>
          <a:noFill/>
        </p:spPr>
        <p:txBody>
          <a:bodyPr lIns="0"/>
          <a:lstStyle/>
          <a:p>
            <a:pPr marL="285750" indent="-285750">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ipsum</a:t>
            </a:r>
          </a:p>
          <a:p>
            <a:pPr lvl="1" indent="-169863">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r>
              <a:rPr lang="en-US" sz="1400"/>
              <a:t> </a:t>
            </a:r>
            <a:r>
              <a:rPr lang="en-US" sz="1400" err="1"/>
              <a:t>irure</a:t>
            </a:r>
            <a:r>
              <a:rPr lang="en-US" sz="1400"/>
              <a:t> dolor in </a:t>
            </a:r>
            <a:r>
              <a:rPr lang="en-US" sz="1400" err="1"/>
              <a:t>reprehenderit</a:t>
            </a:r>
            <a:endParaRPr lang="en-US" sz="1400">
              <a:latin typeface="Arial" panose="020B0604020202020204" pitchFamily="34" charset="0"/>
              <a:ea typeface="Roboto" charset="0"/>
              <a:cs typeface="Arial" panose="020B0604020202020204" pitchFamily="34" charset="0"/>
            </a:endParaRPr>
          </a:p>
        </p:txBody>
      </p:sp>
      <p:cxnSp>
        <p:nvCxnSpPr>
          <p:cNvPr id="10" name="Straight Connector 9"/>
          <p:cNvCxnSpPr/>
          <p:nvPr/>
        </p:nvCxnSpPr>
        <p:spPr bwMode="auto">
          <a:xfrm flipH="1">
            <a:off x="6074664" y="968375"/>
            <a:ext cx="9525" cy="4930775"/>
          </a:xfrm>
          <a:prstGeom prst="line">
            <a:avLst/>
          </a:prstGeom>
          <a:solidFill>
            <a:schemeClr val="accent1"/>
          </a:solidFill>
          <a:ln w="12700" cap="flat" cmpd="sng" algn="ctr">
            <a:solidFill>
              <a:srgbClr val="08080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985988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01085789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1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Rectangle 1"/>
          <p:cNvSpPr/>
          <p:nvPr/>
        </p:nvSpPr>
        <p:spPr>
          <a:xfrm>
            <a:off x="1524000" y="1544320"/>
            <a:ext cx="9144000" cy="28956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
        <p:nvSpPr>
          <p:cNvPr id="6" name="Text Placeholder 5"/>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grpSp>
        <p:nvGrpSpPr>
          <p:cNvPr id="17" name="Group 16"/>
          <p:cNvGrpSpPr>
            <a:grpSpLocks noChangeAspect="1"/>
          </p:cNvGrpSpPr>
          <p:nvPr/>
        </p:nvGrpSpPr>
        <p:grpSpPr bwMode="gray">
          <a:xfrm>
            <a:off x="1836669" y="1710693"/>
            <a:ext cx="3388598" cy="1980000"/>
            <a:chOff x="236680" y="1501996"/>
            <a:chExt cx="6583681" cy="3846923"/>
          </a:xfrm>
          <a:solidFill>
            <a:schemeClr val="tx1">
              <a:lumMod val="60000"/>
              <a:lumOff val="40000"/>
            </a:schemeClr>
          </a:solidFill>
        </p:grpSpPr>
        <p:sp>
          <p:nvSpPr>
            <p:cNvPr id="41" name="Freeform 7"/>
            <p:cNvSpPr>
              <a:spLocks noEditPoints="1"/>
            </p:cNvSpPr>
            <p:nvPr/>
          </p:nvSpPr>
          <p:spPr bwMode="gray">
            <a:xfrm>
              <a:off x="800638" y="1560515"/>
              <a:ext cx="1606930" cy="1923462"/>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2" name="Freeform 8"/>
            <p:cNvSpPr>
              <a:spLocks noEditPoints="1"/>
            </p:cNvSpPr>
            <p:nvPr/>
          </p:nvSpPr>
          <p:spPr bwMode="gray">
            <a:xfrm>
              <a:off x="2046913" y="1501996"/>
              <a:ext cx="1091710" cy="1499842"/>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3" name="Freeform 9"/>
            <p:cNvSpPr>
              <a:spLocks noEditPoints="1"/>
            </p:cNvSpPr>
            <p:nvPr/>
          </p:nvSpPr>
          <p:spPr bwMode="gray">
            <a:xfrm>
              <a:off x="236680" y="2527333"/>
              <a:ext cx="1911885" cy="1400617"/>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4" name="Freeform 10"/>
            <p:cNvSpPr>
              <a:spLocks/>
            </p:cNvSpPr>
            <p:nvPr/>
          </p:nvSpPr>
          <p:spPr bwMode="gray">
            <a:xfrm>
              <a:off x="1235095" y="3673524"/>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5" name="Freeform 11"/>
            <p:cNvSpPr>
              <a:spLocks/>
            </p:cNvSpPr>
            <p:nvPr/>
          </p:nvSpPr>
          <p:spPr bwMode="gray">
            <a:xfrm>
              <a:off x="1825508" y="3852894"/>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6" name="Freeform 12"/>
            <p:cNvSpPr>
              <a:spLocks/>
            </p:cNvSpPr>
            <p:nvPr/>
          </p:nvSpPr>
          <p:spPr bwMode="gray">
            <a:xfrm>
              <a:off x="1743352" y="393558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7" name="Freeform 13"/>
            <p:cNvSpPr>
              <a:spLocks/>
            </p:cNvSpPr>
            <p:nvPr/>
          </p:nvSpPr>
          <p:spPr bwMode="gray">
            <a:xfrm>
              <a:off x="1687653" y="394703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8" name="Freeform 14"/>
            <p:cNvSpPr>
              <a:spLocks/>
            </p:cNvSpPr>
            <p:nvPr/>
          </p:nvSpPr>
          <p:spPr bwMode="gray">
            <a:xfrm>
              <a:off x="2926967" y="2753773"/>
              <a:ext cx="193556" cy="123397"/>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9" name="Freeform 15"/>
            <p:cNvSpPr>
              <a:spLocks/>
            </p:cNvSpPr>
            <p:nvPr/>
          </p:nvSpPr>
          <p:spPr bwMode="gray">
            <a:xfrm>
              <a:off x="1726643" y="4005550"/>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16"/>
            <p:cNvSpPr>
              <a:spLocks/>
            </p:cNvSpPr>
            <p:nvPr/>
          </p:nvSpPr>
          <p:spPr bwMode="gray">
            <a:xfrm>
              <a:off x="1740567" y="397883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17"/>
            <p:cNvSpPr>
              <a:spLocks/>
            </p:cNvSpPr>
            <p:nvPr/>
          </p:nvSpPr>
          <p:spPr bwMode="gray">
            <a:xfrm>
              <a:off x="1941085" y="3935582"/>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18"/>
            <p:cNvSpPr>
              <a:spLocks/>
            </p:cNvSpPr>
            <p:nvPr/>
          </p:nvSpPr>
          <p:spPr bwMode="gray">
            <a:xfrm>
              <a:off x="1771202" y="399664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3" name="Freeform 19"/>
            <p:cNvSpPr>
              <a:spLocks/>
            </p:cNvSpPr>
            <p:nvPr/>
          </p:nvSpPr>
          <p:spPr bwMode="gray">
            <a:xfrm>
              <a:off x="2012103" y="391014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20"/>
            <p:cNvSpPr>
              <a:spLocks/>
            </p:cNvSpPr>
            <p:nvPr/>
          </p:nvSpPr>
          <p:spPr bwMode="gray">
            <a:xfrm>
              <a:off x="2058053" y="3910140"/>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21"/>
            <p:cNvSpPr>
              <a:spLocks/>
            </p:cNvSpPr>
            <p:nvPr/>
          </p:nvSpPr>
          <p:spPr bwMode="gray">
            <a:xfrm>
              <a:off x="1804622" y="4061523"/>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22"/>
            <p:cNvSpPr>
              <a:spLocks/>
            </p:cNvSpPr>
            <p:nvPr/>
          </p:nvSpPr>
          <p:spPr bwMode="gray">
            <a:xfrm>
              <a:off x="2144389" y="393431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23"/>
            <p:cNvSpPr>
              <a:spLocks/>
            </p:cNvSpPr>
            <p:nvPr/>
          </p:nvSpPr>
          <p:spPr bwMode="gray">
            <a:xfrm>
              <a:off x="1857536" y="4086966"/>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24"/>
            <p:cNvSpPr>
              <a:spLocks/>
            </p:cNvSpPr>
            <p:nvPr/>
          </p:nvSpPr>
          <p:spPr bwMode="gray">
            <a:xfrm>
              <a:off x="2237685" y="4066612"/>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Freeform 25"/>
            <p:cNvSpPr>
              <a:spLocks/>
            </p:cNvSpPr>
            <p:nvPr/>
          </p:nvSpPr>
          <p:spPr bwMode="gray">
            <a:xfrm>
              <a:off x="2032989" y="4043714"/>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26"/>
            <p:cNvSpPr>
              <a:spLocks/>
            </p:cNvSpPr>
            <p:nvPr/>
          </p:nvSpPr>
          <p:spPr bwMode="gray">
            <a:xfrm>
              <a:off x="1893741" y="422562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7"/>
            <p:cNvSpPr>
              <a:spLocks/>
            </p:cNvSpPr>
            <p:nvPr/>
          </p:nvSpPr>
          <p:spPr bwMode="gray">
            <a:xfrm>
              <a:off x="1928554" y="4039897"/>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Freeform 28"/>
            <p:cNvSpPr>
              <a:spLocks/>
            </p:cNvSpPr>
            <p:nvPr/>
          </p:nvSpPr>
          <p:spPr bwMode="gray">
            <a:xfrm>
              <a:off x="3176222" y="3141772"/>
              <a:ext cx="80764" cy="105587"/>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3" name="Freeform 29"/>
            <p:cNvSpPr>
              <a:spLocks/>
            </p:cNvSpPr>
            <p:nvPr/>
          </p:nvSpPr>
          <p:spPr bwMode="gray">
            <a:xfrm>
              <a:off x="2251610" y="410732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4" name="Freeform 30"/>
            <p:cNvSpPr>
              <a:spLocks noEditPoints="1"/>
            </p:cNvSpPr>
            <p:nvPr/>
          </p:nvSpPr>
          <p:spPr bwMode="gray">
            <a:xfrm>
              <a:off x="3219388" y="3040002"/>
              <a:ext cx="178238" cy="246794"/>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5" name="Freeform 31"/>
            <p:cNvSpPr>
              <a:spLocks/>
            </p:cNvSpPr>
            <p:nvPr/>
          </p:nvSpPr>
          <p:spPr bwMode="gray">
            <a:xfrm>
              <a:off x="2311487" y="414802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Freeform 32"/>
            <p:cNvSpPr>
              <a:spLocks/>
            </p:cNvSpPr>
            <p:nvPr/>
          </p:nvSpPr>
          <p:spPr bwMode="gray">
            <a:xfrm>
              <a:off x="2376934" y="415311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7" name="Freeform 33"/>
            <p:cNvSpPr>
              <a:spLocks noEditPoints="1"/>
            </p:cNvSpPr>
            <p:nvPr/>
          </p:nvSpPr>
          <p:spPr bwMode="gray">
            <a:xfrm>
              <a:off x="3457504" y="1863281"/>
              <a:ext cx="473445" cy="1195803"/>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Freeform 34"/>
            <p:cNvSpPr>
              <a:spLocks/>
            </p:cNvSpPr>
            <p:nvPr/>
          </p:nvSpPr>
          <p:spPr bwMode="gray">
            <a:xfrm>
              <a:off x="1885386" y="4249798"/>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9" name="Freeform 35"/>
            <p:cNvSpPr>
              <a:spLocks/>
            </p:cNvSpPr>
            <p:nvPr/>
          </p:nvSpPr>
          <p:spPr bwMode="gray">
            <a:xfrm>
              <a:off x="3192932" y="3475070"/>
              <a:ext cx="62663" cy="110676"/>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Freeform 36"/>
            <p:cNvSpPr>
              <a:spLocks/>
            </p:cNvSpPr>
            <p:nvPr/>
          </p:nvSpPr>
          <p:spPr bwMode="gray">
            <a:xfrm>
              <a:off x="3431047" y="3195202"/>
              <a:ext cx="66839" cy="71239"/>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Freeform 37"/>
            <p:cNvSpPr>
              <a:spLocks/>
            </p:cNvSpPr>
            <p:nvPr/>
          </p:nvSpPr>
          <p:spPr bwMode="gray">
            <a:xfrm>
              <a:off x="3412944" y="3246086"/>
              <a:ext cx="68233" cy="5215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Freeform 38"/>
            <p:cNvSpPr>
              <a:spLocks noEditPoints="1"/>
            </p:cNvSpPr>
            <p:nvPr/>
          </p:nvSpPr>
          <p:spPr bwMode="gray">
            <a:xfrm>
              <a:off x="3279266" y="3256264"/>
              <a:ext cx="260395" cy="235345"/>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3" name="Freeform 39"/>
            <p:cNvSpPr>
              <a:spLocks/>
            </p:cNvSpPr>
            <p:nvPr/>
          </p:nvSpPr>
          <p:spPr bwMode="gray">
            <a:xfrm>
              <a:off x="3198502" y="3438179"/>
              <a:ext cx="225583" cy="167921"/>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40"/>
            <p:cNvSpPr>
              <a:spLocks noEditPoints="1"/>
            </p:cNvSpPr>
            <p:nvPr/>
          </p:nvSpPr>
          <p:spPr bwMode="gray">
            <a:xfrm>
              <a:off x="3513202" y="3065444"/>
              <a:ext cx="80764" cy="86505"/>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5" name="Freeform 41"/>
            <p:cNvSpPr>
              <a:spLocks/>
            </p:cNvSpPr>
            <p:nvPr/>
          </p:nvSpPr>
          <p:spPr bwMode="gray">
            <a:xfrm>
              <a:off x="3471428" y="3281707"/>
              <a:ext cx="13925" cy="17810"/>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Freeform 42"/>
            <p:cNvSpPr>
              <a:spLocks/>
            </p:cNvSpPr>
            <p:nvPr/>
          </p:nvSpPr>
          <p:spPr bwMode="gray">
            <a:xfrm>
              <a:off x="3567510" y="2643096"/>
              <a:ext cx="235331" cy="496132"/>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Freeform 43"/>
            <p:cNvSpPr>
              <a:spLocks/>
            </p:cNvSpPr>
            <p:nvPr/>
          </p:nvSpPr>
          <p:spPr bwMode="gray">
            <a:xfrm>
              <a:off x="3127484" y="3608644"/>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44"/>
            <p:cNvSpPr>
              <a:spLocks noEditPoints="1"/>
            </p:cNvSpPr>
            <p:nvPr/>
          </p:nvSpPr>
          <p:spPr bwMode="gray">
            <a:xfrm>
              <a:off x="3474213" y="3150676"/>
              <a:ext cx="165706" cy="202269"/>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45"/>
            <p:cNvSpPr>
              <a:spLocks/>
            </p:cNvSpPr>
            <p:nvPr/>
          </p:nvSpPr>
          <p:spPr bwMode="gray">
            <a:xfrm>
              <a:off x="3057860" y="3771477"/>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0" name="Freeform 46"/>
            <p:cNvSpPr>
              <a:spLocks/>
            </p:cNvSpPr>
            <p:nvPr/>
          </p:nvSpPr>
          <p:spPr bwMode="gray">
            <a:xfrm>
              <a:off x="3474213" y="3341497"/>
              <a:ext cx="82157" cy="45796"/>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1" name="Freeform 47"/>
            <p:cNvSpPr>
              <a:spLocks/>
            </p:cNvSpPr>
            <p:nvPr/>
          </p:nvSpPr>
          <p:spPr bwMode="gray">
            <a:xfrm>
              <a:off x="2101222" y="441263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Freeform 48"/>
            <p:cNvSpPr>
              <a:spLocks/>
            </p:cNvSpPr>
            <p:nvPr/>
          </p:nvSpPr>
          <p:spPr bwMode="gray">
            <a:xfrm>
              <a:off x="3745747" y="2599843"/>
              <a:ext cx="192163" cy="399449"/>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3" name="Freeform 49"/>
            <p:cNvSpPr>
              <a:spLocks/>
            </p:cNvSpPr>
            <p:nvPr/>
          </p:nvSpPr>
          <p:spPr bwMode="gray">
            <a:xfrm>
              <a:off x="3538269" y="3312237"/>
              <a:ext cx="143427" cy="63607"/>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Freeform 50"/>
            <p:cNvSpPr>
              <a:spLocks/>
            </p:cNvSpPr>
            <p:nvPr/>
          </p:nvSpPr>
          <p:spPr bwMode="gray">
            <a:xfrm>
              <a:off x="3589790" y="3257537"/>
              <a:ext cx="119754" cy="64879"/>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51"/>
            <p:cNvSpPr>
              <a:spLocks/>
            </p:cNvSpPr>
            <p:nvPr/>
          </p:nvSpPr>
          <p:spPr bwMode="gray">
            <a:xfrm>
              <a:off x="3056467" y="3779109"/>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Freeform 52"/>
            <p:cNvSpPr>
              <a:spLocks noEditPoints="1"/>
            </p:cNvSpPr>
            <p:nvPr/>
          </p:nvSpPr>
          <p:spPr bwMode="gray">
            <a:xfrm>
              <a:off x="3623209" y="3157038"/>
              <a:ext cx="182416" cy="152656"/>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7" name="Freeform 53"/>
            <p:cNvSpPr>
              <a:spLocks/>
            </p:cNvSpPr>
            <p:nvPr/>
          </p:nvSpPr>
          <p:spPr bwMode="gray">
            <a:xfrm>
              <a:off x="3062037" y="4015726"/>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Freeform 54"/>
            <p:cNvSpPr>
              <a:spLocks/>
            </p:cNvSpPr>
            <p:nvPr/>
          </p:nvSpPr>
          <p:spPr bwMode="gray">
            <a:xfrm>
              <a:off x="3049505" y="3964842"/>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9" name="Freeform 55"/>
            <p:cNvSpPr>
              <a:spLocks/>
            </p:cNvSpPr>
            <p:nvPr/>
          </p:nvSpPr>
          <p:spPr bwMode="gray">
            <a:xfrm>
              <a:off x="3747141" y="3056540"/>
              <a:ext cx="132287" cy="72512"/>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Freeform 56"/>
            <p:cNvSpPr>
              <a:spLocks/>
            </p:cNvSpPr>
            <p:nvPr/>
          </p:nvSpPr>
          <p:spPr bwMode="gray">
            <a:xfrm>
              <a:off x="3791701" y="3010742"/>
              <a:ext cx="87727" cy="62335"/>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1" name="Freeform 57"/>
            <p:cNvSpPr>
              <a:spLocks/>
            </p:cNvSpPr>
            <p:nvPr/>
          </p:nvSpPr>
          <p:spPr bwMode="gray">
            <a:xfrm>
              <a:off x="3609285" y="3363123"/>
              <a:ext cx="58484" cy="3562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Freeform 58"/>
            <p:cNvSpPr>
              <a:spLocks/>
            </p:cNvSpPr>
            <p:nvPr/>
          </p:nvSpPr>
          <p:spPr bwMode="gray">
            <a:xfrm>
              <a:off x="3064822" y="4036081"/>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3" name="Freeform 59"/>
            <p:cNvSpPr>
              <a:spLocks noEditPoints="1"/>
            </p:cNvSpPr>
            <p:nvPr/>
          </p:nvSpPr>
          <p:spPr bwMode="gray">
            <a:xfrm>
              <a:off x="3485353" y="3358035"/>
              <a:ext cx="218621" cy="232800"/>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4" name="Freeform 60"/>
            <p:cNvSpPr>
              <a:spLocks/>
            </p:cNvSpPr>
            <p:nvPr/>
          </p:nvSpPr>
          <p:spPr bwMode="gray">
            <a:xfrm>
              <a:off x="3747141" y="3107424"/>
              <a:ext cx="107222" cy="73784"/>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Freeform 61"/>
            <p:cNvSpPr>
              <a:spLocks/>
            </p:cNvSpPr>
            <p:nvPr/>
          </p:nvSpPr>
          <p:spPr bwMode="gray">
            <a:xfrm>
              <a:off x="3209642" y="3583201"/>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Freeform 62"/>
            <p:cNvSpPr>
              <a:spLocks/>
            </p:cNvSpPr>
            <p:nvPr/>
          </p:nvSpPr>
          <p:spPr bwMode="gray">
            <a:xfrm>
              <a:off x="3674732" y="3294428"/>
              <a:ext cx="103044" cy="44525"/>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7" name="Freeform 63"/>
            <p:cNvSpPr>
              <a:spLocks/>
            </p:cNvSpPr>
            <p:nvPr/>
          </p:nvSpPr>
          <p:spPr bwMode="gray">
            <a:xfrm>
              <a:off x="2227938" y="457546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Freeform 64"/>
            <p:cNvSpPr>
              <a:spLocks/>
            </p:cNvSpPr>
            <p:nvPr/>
          </p:nvSpPr>
          <p:spPr bwMode="gray">
            <a:xfrm>
              <a:off x="3662199" y="3321143"/>
              <a:ext cx="123932" cy="69967"/>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9" name="Freeform 65"/>
            <p:cNvSpPr>
              <a:spLocks noEditPoints="1"/>
            </p:cNvSpPr>
            <p:nvPr/>
          </p:nvSpPr>
          <p:spPr bwMode="gray">
            <a:xfrm>
              <a:off x="3613463" y="3372028"/>
              <a:ext cx="107222" cy="97955"/>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0" name="Freeform 66"/>
            <p:cNvSpPr>
              <a:spLocks noEditPoints="1"/>
            </p:cNvSpPr>
            <p:nvPr/>
          </p:nvSpPr>
          <p:spPr bwMode="gray">
            <a:xfrm>
              <a:off x="2021849" y="416202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Freeform 67"/>
            <p:cNvSpPr>
              <a:spLocks/>
            </p:cNvSpPr>
            <p:nvPr/>
          </p:nvSpPr>
          <p:spPr bwMode="gray">
            <a:xfrm>
              <a:off x="3094065" y="4036081"/>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Freeform 68"/>
            <p:cNvSpPr>
              <a:spLocks/>
            </p:cNvSpPr>
            <p:nvPr/>
          </p:nvSpPr>
          <p:spPr bwMode="gray">
            <a:xfrm>
              <a:off x="3145587" y="3818545"/>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3" name="Freeform 69"/>
            <p:cNvSpPr>
              <a:spLocks/>
            </p:cNvSpPr>
            <p:nvPr/>
          </p:nvSpPr>
          <p:spPr bwMode="gray">
            <a:xfrm>
              <a:off x="3653844" y="3402559"/>
              <a:ext cx="69624" cy="62335"/>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Freeform 70"/>
            <p:cNvSpPr>
              <a:spLocks/>
            </p:cNvSpPr>
            <p:nvPr/>
          </p:nvSpPr>
          <p:spPr bwMode="gray">
            <a:xfrm>
              <a:off x="3788916" y="3115057"/>
              <a:ext cx="172668" cy="13739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Freeform 71"/>
            <p:cNvSpPr>
              <a:spLocks/>
            </p:cNvSpPr>
            <p:nvPr/>
          </p:nvSpPr>
          <p:spPr bwMode="gray">
            <a:xfrm>
              <a:off x="3126093" y="4081876"/>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Freeform 72"/>
            <p:cNvSpPr>
              <a:spLocks/>
            </p:cNvSpPr>
            <p:nvPr/>
          </p:nvSpPr>
          <p:spPr bwMode="gray">
            <a:xfrm>
              <a:off x="3503456" y="3579385"/>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7" name="Freeform 73"/>
            <p:cNvSpPr>
              <a:spLocks/>
            </p:cNvSpPr>
            <p:nvPr/>
          </p:nvSpPr>
          <p:spPr bwMode="gray">
            <a:xfrm>
              <a:off x="3702582" y="3443268"/>
              <a:ext cx="34813" cy="38164"/>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Freeform 74"/>
            <p:cNvSpPr>
              <a:spLocks/>
            </p:cNvSpPr>
            <p:nvPr/>
          </p:nvSpPr>
          <p:spPr bwMode="gray">
            <a:xfrm>
              <a:off x="3736002" y="3328776"/>
              <a:ext cx="171276" cy="109403"/>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9" name="Freeform 75"/>
            <p:cNvSpPr>
              <a:spLocks/>
            </p:cNvSpPr>
            <p:nvPr/>
          </p:nvSpPr>
          <p:spPr bwMode="gray">
            <a:xfrm>
              <a:off x="3709543" y="3380933"/>
              <a:ext cx="73803" cy="99226"/>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Freeform 76"/>
            <p:cNvSpPr>
              <a:spLocks/>
            </p:cNvSpPr>
            <p:nvPr/>
          </p:nvSpPr>
          <p:spPr bwMode="gray">
            <a:xfrm>
              <a:off x="3768029" y="3221916"/>
              <a:ext cx="328627" cy="198452"/>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77"/>
            <p:cNvSpPr>
              <a:spLocks/>
            </p:cNvSpPr>
            <p:nvPr/>
          </p:nvSpPr>
          <p:spPr bwMode="gray">
            <a:xfrm>
              <a:off x="3158119" y="4107319"/>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2" name="Freeform 78"/>
            <p:cNvSpPr>
              <a:spLocks noEditPoints="1"/>
            </p:cNvSpPr>
            <p:nvPr/>
          </p:nvSpPr>
          <p:spPr bwMode="gray">
            <a:xfrm>
              <a:off x="3727647" y="2134244"/>
              <a:ext cx="2910298" cy="1361179"/>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3" name="Freeform 79"/>
            <p:cNvSpPr>
              <a:spLocks/>
            </p:cNvSpPr>
            <p:nvPr/>
          </p:nvSpPr>
          <p:spPr bwMode="gray">
            <a:xfrm>
              <a:off x="3265341" y="3994100"/>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4" name="Freeform 80"/>
            <p:cNvSpPr>
              <a:spLocks/>
            </p:cNvSpPr>
            <p:nvPr/>
          </p:nvSpPr>
          <p:spPr bwMode="gray">
            <a:xfrm>
              <a:off x="3717897" y="3464893"/>
              <a:ext cx="32028" cy="66151"/>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5" name="Freeform 81"/>
            <p:cNvSpPr>
              <a:spLocks/>
            </p:cNvSpPr>
            <p:nvPr/>
          </p:nvSpPr>
          <p:spPr bwMode="gray">
            <a:xfrm>
              <a:off x="3740177" y="3469981"/>
              <a:ext cx="44559" cy="3562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6" name="Freeform 82"/>
            <p:cNvSpPr>
              <a:spLocks/>
            </p:cNvSpPr>
            <p:nvPr/>
          </p:nvSpPr>
          <p:spPr bwMode="gray">
            <a:xfrm>
              <a:off x="3211033" y="4070428"/>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7" name="Freeform 83"/>
            <p:cNvSpPr>
              <a:spLocks/>
            </p:cNvSpPr>
            <p:nvPr/>
          </p:nvSpPr>
          <p:spPr bwMode="gray">
            <a:xfrm>
              <a:off x="3772206" y="3425458"/>
              <a:ext cx="112792" cy="71239"/>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8" name="Freeform 84"/>
            <p:cNvSpPr>
              <a:spLocks/>
            </p:cNvSpPr>
            <p:nvPr/>
          </p:nvSpPr>
          <p:spPr bwMode="gray">
            <a:xfrm>
              <a:off x="3851578" y="3324959"/>
              <a:ext cx="62663" cy="72512"/>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Freeform 85"/>
            <p:cNvSpPr>
              <a:spLocks/>
            </p:cNvSpPr>
            <p:nvPr/>
          </p:nvSpPr>
          <p:spPr bwMode="gray">
            <a:xfrm>
              <a:off x="2304525" y="477646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86"/>
            <p:cNvSpPr>
              <a:spLocks/>
            </p:cNvSpPr>
            <p:nvPr/>
          </p:nvSpPr>
          <p:spPr bwMode="gray">
            <a:xfrm>
              <a:off x="3369777" y="3846532"/>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1" name="Freeform 87"/>
            <p:cNvSpPr>
              <a:spLocks noEditPoints="1"/>
            </p:cNvSpPr>
            <p:nvPr/>
          </p:nvSpPr>
          <p:spPr bwMode="gray">
            <a:xfrm>
              <a:off x="3733217" y="3485247"/>
              <a:ext cx="118362" cy="142478"/>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2" name="Freeform 88"/>
            <p:cNvSpPr>
              <a:spLocks/>
            </p:cNvSpPr>
            <p:nvPr/>
          </p:nvSpPr>
          <p:spPr bwMode="gray">
            <a:xfrm>
              <a:off x="3536875" y="3663346"/>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3" name="Freeform 89"/>
            <p:cNvSpPr>
              <a:spLocks/>
            </p:cNvSpPr>
            <p:nvPr/>
          </p:nvSpPr>
          <p:spPr bwMode="gray">
            <a:xfrm>
              <a:off x="3308506" y="4061522"/>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4" name="Freeform 90"/>
            <p:cNvSpPr>
              <a:spLocks/>
            </p:cNvSpPr>
            <p:nvPr/>
          </p:nvSpPr>
          <p:spPr bwMode="gray">
            <a:xfrm>
              <a:off x="3365600" y="4062794"/>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Freeform 91"/>
            <p:cNvSpPr>
              <a:spLocks/>
            </p:cNvSpPr>
            <p:nvPr/>
          </p:nvSpPr>
          <p:spPr bwMode="gray">
            <a:xfrm>
              <a:off x="3382310" y="4041170"/>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6" name="Freeform 92"/>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7" name="Freeform 93"/>
            <p:cNvSpPr>
              <a:spLocks/>
            </p:cNvSpPr>
            <p:nvPr/>
          </p:nvSpPr>
          <p:spPr bwMode="gray">
            <a:xfrm>
              <a:off x="3415729" y="4016999"/>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8" name="Freeform 94"/>
            <p:cNvSpPr>
              <a:spLocks/>
            </p:cNvSpPr>
            <p:nvPr/>
          </p:nvSpPr>
          <p:spPr bwMode="gray">
            <a:xfrm>
              <a:off x="3951837" y="3612460"/>
              <a:ext cx="41775" cy="22898"/>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9" name="Freeform 95"/>
            <p:cNvSpPr>
              <a:spLocks/>
            </p:cNvSpPr>
            <p:nvPr/>
          </p:nvSpPr>
          <p:spPr bwMode="gray">
            <a:xfrm>
              <a:off x="3816766" y="3695149"/>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0" name="Freeform 96"/>
            <p:cNvSpPr>
              <a:spLocks/>
            </p:cNvSpPr>
            <p:nvPr/>
          </p:nvSpPr>
          <p:spPr bwMode="gray">
            <a:xfrm>
              <a:off x="3612070" y="3847805"/>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Freeform 97"/>
            <p:cNvSpPr>
              <a:spLocks/>
            </p:cNvSpPr>
            <p:nvPr/>
          </p:nvSpPr>
          <p:spPr bwMode="gray">
            <a:xfrm>
              <a:off x="3522951" y="4028447"/>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Freeform 98"/>
            <p:cNvSpPr>
              <a:spLocks/>
            </p:cNvSpPr>
            <p:nvPr/>
          </p:nvSpPr>
          <p:spPr bwMode="gray">
            <a:xfrm>
              <a:off x="4096655" y="3440723"/>
              <a:ext cx="122539" cy="57246"/>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Freeform 99"/>
            <p:cNvSpPr>
              <a:spLocks/>
            </p:cNvSpPr>
            <p:nvPr/>
          </p:nvSpPr>
          <p:spPr bwMode="gray">
            <a:xfrm>
              <a:off x="4003359" y="3635359"/>
              <a:ext cx="27850" cy="330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4" name="Freeform 100"/>
            <p:cNvSpPr>
              <a:spLocks/>
            </p:cNvSpPr>
            <p:nvPr/>
          </p:nvSpPr>
          <p:spPr bwMode="gray">
            <a:xfrm>
              <a:off x="4013106" y="3578114"/>
              <a:ext cx="128109" cy="104314"/>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Freeform 101"/>
            <p:cNvSpPr>
              <a:spLocks/>
            </p:cNvSpPr>
            <p:nvPr/>
          </p:nvSpPr>
          <p:spPr bwMode="gray">
            <a:xfrm>
              <a:off x="3988041" y="3664617"/>
              <a:ext cx="27850" cy="71239"/>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6" name="Freeform 102"/>
            <p:cNvSpPr>
              <a:spLocks/>
            </p:cNvSpPr>
            <p:nvPr/>
          </p:nvSpPr>
          <p:spPr bwMode="gray">
            <a:xfrm>
              <a:off x="3527127" y="4210361"/>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Freeform 103"/>
            <p:cNvSpPr>
              <a:spLocks noEditPoints="1"/>
            </p:cNvSpPr>
            <p:nvPr/>
          </p:nvSpPr>
          <p:spPr bwMode="gray">
            <a:xfrm>
              <a:off x="1992608" y="4546204"/>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8" name="Freeform 104"/>
            <p:cNvSpPr>
              <a:spLocks/>
            </p:cNvSpPr>
            <p:nvPr/>
          </p:nvSpPr>
          <p:spPr bwMode="gray">
            <a:xfrm>
              <a:off x="3628779" y="4064067"/>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9" name="Freeform 105"/>
            <p:cNvSpPr>
              <a:spLocks/>
            </p:cNvSpPr>
            <p:nvPr/>
          </p:nvSpPr>
          <p:spPr bwMode="gray">
            <a:xfrm>
              <a:off x="4003359" y="3662074"/>
              <a:ext cx="79372" cy="80144"/>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0" name="Freeform 106"/>
            <p:cNvSpPr>
              <a:spLocks noEditPoints="1"/>
            </p:cNvSpPr>
            <p:nvPr/>
          </p:nvSpPr>
          <p:spPr bwMode="gray">
            <a:xfrm>
              <a:off x="2028813" y="4622531"/>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1" name="Freeform 107"/>
            <p:cNvSpPr>
              <a:spLocks/>
            </p:cNvSpPr>
            <p:nvPr/>
          </p:nvSpPr>
          <p:spPr bwMode="gray">
            <a:xfrm>
              <a:off x="4157925" y="3492880"/>
              <a:ext cx="58484" cy="53430"/>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2" name="Freeform 108"/>
            <p:cNvSpPr>
              <a:spLocks/>
            </p:cNvSpPr>
            <p:nvPr/>
          </p:nvSpPr>
          <p:spPr bwMode="gray">
            <a:xfrm>
              <a:off x="3570295" y="4188737"/>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3" name="Freeform 109"/>
            <p:cNvSpPr>
              <a:spLocks noEditPoints="1"/>
            </p:cNvSpPr>
            <p:nvPr/>
          </p:nvSpPr>
          <p:spPr bwMode="gray">
            <a:xfrm>
              <a:off x="4180206" y="3480159"/>
              <a:ext cx="104437" cy="77601"/>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4" name="Freeform 110"/>
            <p:cNvSpPr>
              <a:spLocks/>
            </p:cNvSpPr>
            <p:nvPr/>
          </p:nvSpPr>
          <p:spPr bwMode="gray">
            <a:xfrm>
              <a:off x="4213625" y="3135411"/>
              <a:ext cx="743588" cy="372734"/>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5" name="Freeform 111"/>
            <p:cNvSpPr>
              <a:spLocks/>
            </p:cNvSpPr>
            <p:nvPr/>
          </p:nvSpPr>
          <p:spPr bwMode="gray">
            <a:xfrm>
              <a:off x="4071590" y="3578114"/>
              <a:ext cx="178238" cy="166649"/>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6" name="Freeform 112"/>
            <p:cNvSpPr>
              <a:spLocks/>
            </p:cNvSpPr>
            <p:nvPr/>
          </p:nvSpPr>
          <p:spPr bwMode="gray">
            <a:xfrm>
              <a:off x="3762460" y="3874519"/>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7" name="Freeform 113"/>
            <p:cNvSpPr>
              <a:spLocks/>
            </p:cNvSpPr>
            <p:nvPr/>
          </p:nvSpPr>
          <p:spPr bwMode="gray">
            <a:xfrm>
              <a:off x="3999181" y="3683699"/>
              <a:ext cx="387111" cy="31040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8" name="Freeform 114"/>
            <p:cNvSpPr>
              <a:spLocks/>
            </p:cNvSpPr>
            <p:nvPr/>
          </p:nvSpPr>
          <p:spPr bwMode="gray">
            <a:xfrm>
              <a:off x="3588398" y="4159476"/>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9" name="Freeform 115"/>
            <p:cNvSpPr>
              <a:spLocks/>
            </p:cNvSpPr>
            <p:nvPr/>
          </p:nvSpPr>
          <p:spPr bwMode="gray">
            <a:xfrm>
              <a:off x="4169066" y="3527228"/>
              <a:ext cx="349514" cy="29131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0" name="Freeform 116"/>
            <p:cNvSpPr>
              <a:spLocks/>
            </p:cNvSpPr>
            <p:nvPr/>
          </p:nvSpPr>
          <p:spPr bwMode="gray">
            <a:xfrm>
              <a:off x="4213625" y="3726951"/>
              <a:ext cx="34813" cy="27987"/>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1" name="Freeform 117"/>
            <p:cNvSpPr>
              <a:spLocks/>
            </p:cNvSpPr>
            <p:nvPr/>
          </p:nvSpPr>
          <p:spPr bwMode="gray">
            <a:xfrm>
              <a:off x="4029816" y="3943214"/>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2" name="Freeform 118"/>
            <p:cNvSpPr>
              <a:spLocks/>
            </p:cNvSpPr>
            <p:nvPr/>
          </p:nvSpPr>
          <p:spPr bwMode="gray">
            <a:xfrm>
              <a:off x="4323631" y="3461077"/>
              <a:ext cx="257610" cy="160289"/>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3" name="Freeform 119"/>
            <p:cNvSpPr>
              <a:spLocks noEditPoints="1"/>
            </p:cNvSpPr>
            <p:nvPr/>
          </p:nvSpPr>
          <p:spPr bwMode="gray">
            <a:xfrm>
              <a:off x="3581435" y="4323583"/>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4" name="Freeform 120"/>
            <p:cNvSpPr>
              <a:spLocks/>
            </p:cNvSpPr>
            <p:nvPr/>
          </p:nvSpPr>
          <p:spPr bwMode="gray">
            <a:xfrm>
              <a:off x="4387686" y="3394926"/>
              <a:ext cx="311917" cy="190819"/>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5" name="Freeform 121"/>
            <p:cNvSpPr>
              <a:spLocks/>
            </p:cNvSpPr>
            <p:nvPr/>
          </p:nvSpPr>
          <p:spPr bwMode="gray">
            <a:xfrm>
              <a:off x="3967155" y="3999187"/>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6" name="Freeform 122"/>
            <p:cNvSpPr>
              <a:spLocks/>
            </p:cNvSpPr>
            <p:nvPr/>
          </p:nvSpPr>
          <p:spPr bwMode="gray">
            <a:xfrm>
              <a:off x="3904492" y="4181102"/>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7" name="Freeform 123"/>
            <p:cNvSpPr>
              <a:spLocks/>
            </p:cNvSpPr>
            <p:nvPr/>
          </p:nvSpPr>
          <p:spPr bwMode="gray">
            <a:xfrm>
              <a:off x="3890567" y="4267607"/>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8" name="Freeform 124"/>
            <p:cNvSpPr>
              <a:spLocks/>
            </p:cNvSpPr>
            <p:nvPr/>
          </p:nvSpPr>
          <p:spPr bwMode="gray">
            <a:xfrm>
              <a:off x="3891960" y="4289235"/>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9" name="Freeform 125"/>
            <p:cNvSpPr>
              <a:spLocks/>
            </p:cNvSpPr>
            <p:nvPr/>
          </p:nvSpPr>
          <p:spPr bwMode="gray">
            <a:xfrm>
              <a:off x="4143999" y="3926678"/>
              <a:ext cx="187986" cy="109403"/>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0" name="Freeform 126"/>
            <p:cNvSpPr>
              <a:spLocks/>
            </p:cNvSpPr>
            <p:nvPr/>
          </p:nvSpPr>
          <p:spPr bwMode="gray">
            <a:xfrm>
              <a:off x="4291604" y="3799463"/>
              <a:ext cx="13925" cy="30532"/>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1" name="Freeform 127"/>
            <p:cNvSpPr>
              <a:spLocks/>
            </p:cNvSpPr>
            <p:nvPr/>
          </p:nvSpPr>
          <p:spPr bwMode="gray">
            <a:xfrm>
              <a:off x="4127290" y="4034807"/>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2" name="Freeform 128"/>
            <p:cNvSpPr>
              <a:spLocks/>
            </p:cNvSpPr>
            <p:nvPr/>
          </p:nvSpPr>
          <p:spPr bwMode="gray">
            <a:xfrm>
              <a:off x="4297174" y="3800735"/>
              <a:ext cx="96082" cy="71239"/>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3" name="Freeform 129"/>
            <p:cNvSpPr>
              <a:spLocks/>
            </p:cNvSpPr>
            <p:nvPr/>
          </p:nvSpPr>
          <p:spPr bwMode="gray">
            <a:xfrm>
              <a:off x="3972725" y="4172197"/>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4" name="Freeform 130"/>
            <p:cNvSpPr>
              <a:spLocks/>
            </p:cNvSpPr>
            <p:nvPr/>
          </p:nvSpPr>
          <p:spPr bwMode="gray">
            <a:xfrm>
              <a:off x="3766636" y="4385917"/>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5" name="Freeform 131"/>
            <p:cNvSpPr>
              <a:spLocks/>
            </p:cNvSpPr>
            <p:nvPr/>
          </p:nvSpPr>
          <p:spPr bwMode="gray">
            <a:xfrm>
              <a:off x="3581435" y="4534755"/>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6" name="Freeform 132"/>
            <p:cNvSpPr>
              <a:spLocks/>
            </p:cNvSpPr>
            <p:nvPr/>
          </p:nvSpPr>
          <p:spPr bwMode="gray">
            <a:xfrm>
              <a:off x="3900315" y="4266336"/>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7" name="Freeform 133"/>
            <p:cNvSpPr>
              <a:spLocks noEditPoints="1"/>
            </p:cNvSpPr>
            <p:nvPr/>
          </p:nvSpPr>
          <p:spPr bwMode="gray">
            <a:xfrm>
              <a:off x="4309706" y="3795647"/>
              <a:ext cx="146212" cy="171738"/>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8" name="Freeform 134"/>
            <p:cNvSpPr>
              <a:spLocks/>
            </p:cNvSpPr>
            <p:nvPr/>
          </p:nvSpPr>
          <p:spPr bwMode="gray">
            <a:xfrm>
              <a:off x="4465665" y="3556486"/>
              <a:ext cx="260395" cy="180642"/>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9" name="Freeform 135"/>
            <p:cNvSpPr>
              <a:spLocks/>
            </p:cNvSpPr>
            <p:nvPr/>
          </p:nvSpPr>
          <p:spPr bwMode="gray">
            <a:xfrm>
              <a:off x="4113365" y="4047528"/>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Freeform 136"/>
            <p:cNvSpPr>
              <a:spLocks/>
            </p:cNvSpPr>
            <p:nvPr/>
          </p:nvSpPr>
          <p:spPr bwMode="gray">
            <a:xfrm>
              <a:off x="4595167" y="3497968"/>
              <a:ext cx="136463" cy="94137"/>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Freeform 137"/>
            <p:cNvSpPr>
              <a:spLocks/>
            </p:cNvSpPr>
            <p:nvPr/>
          </p:nvSpPr>
          <p:spPr bwMode="gray">
            <a:xfrm>
              <a:off x="4628586" y="3450900"/>
              <a:ext cx="199126" cy="8777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Freeform 138"/>
            <p:cNvSpPr>
              <a:spLocks/>
            </p:cNvSpPr>
            <p:nvPr/>
          </p:nvSpPr>
          <p:spPr bwMode="gray">
            <a:xfrm>
              <a:off x="3727647" y="4548748"/>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Freeform 139"/>
            <p:cNvSpPr>
              <a:spLocks/>
            </p:cNvSpPr>
            <p:nvPr/>
          </p:nvSpPr>
          <p:spPr bwMode="gray">
            <a:xfrm>
              <a:off x="3826513" y="4511857"/>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4" name="Freeform 140"/>
            <p:cNvSpPr>
              <a:spLocks/>
            </p:cNvSpPr>
            <p:nvPr/>
          </p:nvSpPr>
          <p:spPr bwMode="gray">
            <a:xfrm>
              <a:off x="4474020" y="3585746"/>
              <a:ext cx="304955" cy="25569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5" name="Freeform 141"/>
            <p:cNvSpPr>
              <a:spLocks/>
            </p:cNvSpPr>
            <p:nvPr/>
          </p:nvSpPr>
          <p:spPr bwMode="gray">
            <a:xfrm>
              <a:off x="3962977" y="4408815"/>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6" name="Freeform 142"/>
            <p:cNvSpPr>
              <a:spLocks noEditPoints="1"/>
            </p:cNvSpPr>
            <p:nvPr/>
          </p:nvSpPr>
          <p:spPr bwMode="gray">
            <a:xfrm>
              <a:off x="3628779" y="4626349"/>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7" name="Freeform 143"/>
            <p:cNvSpPr>
              <a:spLocks/>
            </p:cNvSpPr>
            <p:nvPr/>
          </p:nvSpPr>
          <p:spPr bwMode="gray">
            <a:xfrm>
              <a:off x="3918418" y="4422808"/>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Freeform 144"/>
            <p:cNvSpPr>
              <a:spLocks/>
            </p:cNvSpPr>
            <p:nvPr/>
          </p:nvSpPr>
          <p:spPr bwMode="gray">
            <a:xfrm>
              <a:off x="3859934" y="4747200"/>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Freeform 145"/>
            <p:cNvSpPr>
              <a:spLocks/>
            </p:cNvSpPr>
            <p:nvPr/>
          </p:nvSpPr>
          <p:spPr bwMode="gray">
            <a:xfrm>
              <a:off x="3926773" y="4692500"/>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Freeform 147"/>
            <p:cNvSpPr>
              <a:spLocks/>
            </p:cNvSpPr>
            <p:nvPr/>
          </p:nvSpPr>
          <p:spPr bwMode="gray">
            <a:xfrm>
              <a:off x="4965567" y="3230821"/>
              <a:ext cx="580668" cy="25569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1" name="Freeform 149"/>
            <p:cNvSpPr>
              <a:spLocks/>
            </p:cNvSpPr>
            <p:nvPr/>
          </p:nvSpPr>
          <p:spPr bwMode="gray">
            <a:xfrm>
              <a:off x="4193925" y="4385916"/>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2" name="Freeform 150"/>
            <p:cNvSpPr>
              <a:spLocks/>
            </p:cNvSpPr>
            <p:nvPr/>
          </p:nvSpPr>
          <p:spPr bwMode="gray">
            <a:xfrm>
              <a:off x="4823534" y="3715504"/>
              <a:ext cx="148997" cy="77601"/>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3" name="Freeform 151"/>
            <p:cNvSpPr>
              <a:spLocks/>
            </p:cNvSpPr>
            <p:nvPr/>
          </p:nvSpPr>
          <p:spPr bwMode="gray">
            <a:xfrm>
              <a:off x="4982279" y="3757483"/>
              <a:ext cx="58484" cy="30532"/>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4" name="Freeform 152"/>
            <p:cNvSpPr>
              <a:spLocks/>
            </p:cNvSpPr>
            <p:nvPr/>
          </p:nvSpPr>
          <p:spPr bwMode="gray">
            <a:xfrm>
              <a:off x="4968352" y="3794375"/>
              <a:ext cx="83549" cy="96682"/>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5" name="Freeform 153"/>
            <p:cNvSpPr>
              <a:spLocks/>
            </p:cNvSpPr>
            <p:nvPr/>
          </p:nvSpPr>
          <p:spPr bwMode="gray">
            <a:xfrm>
              <a:off x="4816573" y="4085692"/>
              <a:ext cx="40383" cy="63607"/>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6" name="Freeform 154"/>
            <p:cNvSpPr>
              <a:spLocks/>
            </p:cNvSpPr>
            <p:nvPr/>
          </p:nvSpPr>
          <p:spPr bwMode="gray">
            <a:xfrm>
              <a:off x="5042155" y="3754939"/>
              <a:ext cx="162922" cy="32439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7" name="Freeform 155"/>
            <p:cNvSpPr>
              <a:spLocks/>
            </p:cNvSpPr>
            <p:nvPr/>
          </p:nvSpPr>
          <p:spPr bwMode="gray">
            <a:xfrm>
              <a:off x="5186975" y="3863070"/>
              <a:ext cx="135072" cy="152656"/>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8" name="Freeform 156"/>
            <p:cNvSpPr>
              <a:spLocks/>
            </p:cNvSpPr>
            <p:nvPr/>
          </p:nvSpPr>
          <p:spPr bwMode="gray">
            <a:xfrm>
              <a:off x="5138237" y="3901234"/>
              <a:ext cx="147603" cy="254426"/>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9" name="Freeform 157"/>
            <p:cNvSpPr>
              <a:spLocks/>
            </p:cNvSpPr>
            <p:nvPr/>
          </p:nvSpPr>
          <p:spPr bwMode="gray">
            <a:xfrm>
              <a:off x="5228749" y="4003006"/>
              <a:ext cx="94689" cy="72512"/>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0" name="Freeform 158"/>
            <p:cNvSpPr>
              <a:spLocks/>
            </p:cNvSpPr>
            <p:nvPr/>
          </p:nvSpPr>
          <p:spPr bwMode="gray">
            <a:xfrm>
              <a:off x="5221786" y="3849078"/>
              <a:ext cx="133678" cy="25824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1" name="Freeform 159"/>
            <p:cNvSpPr>
              <a:spLocks noEditPoints="1"/>
            </p:cNvSpPr>
            <p:nvPr/>
          </p:nvSpPr>
          <p:spPr bwMode="gray">
            <a:xfrm>
              <a:off x="5188366" y="4132762"/>
              <a:ext cx="343944" cy="103043"/>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2" name="Freeform 160"/>
            <p:cNvSpPr>
              <a:spLocks noEditPoints="1"/>
            </p:cNvSpPr>
            <p:nvPr/>
          </p:nvSpPr>
          <p:spPr bwMode="gray">
            <a:xfrm>
              <a:off x="5099247" y="4155661"/>
              <a:ext cx="832707" cy="265876"/>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3" name="Freeform 161"/>
            <p:cNvSpPr>
              <a:spLocks/>
            </p:cNvSpPr>
            <p:nvPr/>
          </p:nvSpPr>
          <p:spPr bwMode="gray">
            <a:xfrm>
              <a:off x="5625607" y="3455989"/>
              <a:ext cx="114184" cy="11830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4" name="Freeform 162"/>
            <p:cNvSpPr>
              <a:spLocks/>
            </p:cNvSpPr>
            <p:nvPr/>
          </p:nvSpPr>
          <p:spPr bwMode="gray">
            <a:xfrm>
              <a:off x="5659027" y="3552671"/>
              <a:ext cx="62663" cy="89049"/>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5" name="Freeform 163"/>
            <p:cNvSpPr>
              <a:spLocks/>
            </p:cNvSpPr>
            <p:nvPr/>
          </p:nvSpPr>
          <p:spPr bwMode="gray">
            <a:xfrm>
              <a:off x="5549019" y="3816002"/>
              <a:ext cx="33420" cy="58518"/>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164"/>
            <p:cNvSpPr>
              <a:spLocks/>
            </p:cNvSpPr>
            <p:nvPr/>
          </p:nvSpPr>
          <p:spPr bwMode="gray">
            <a:xfrm>
              <a:off x="5441799" y="4164565"/>
              <a:ext cx="20888" cy="16539"/>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65"/>
            <p:cNvSpPr>
              <a:spLocks noEditPoints="1"/>
            </p:cNvSpPr>
            <p:nvPr/>
          </p:nvSpPr>
          <p:spPr bwMode="gray">
            <a:xfrm>
              <a:off x="5720296" y="3398742"/>
              <a:ext cx="292423" cy="309129"/>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8" name="Freeform 166"/>
            <p:cNvSpPr>
              <a:spLocks noEditPoints="1"/>
            </p:cNvSpPr>
            <p:nvPr/>
          </p:nvSpPr>
          <p:spPr bwMode="gray">
            <a:xfrm>
              <a:off x="5497499" y="3934309"/>
              <a:ext cx="168491" cy="222624"/>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9" name="Freeform 167"/>
            <p:cNvSpPr>
              <a:spLocks noEditPoints="1"/>
            </p:cNvSpPr>
            <p:nvPr/>
          </p:nvSpPr>
          <p:spPr bwMode="gray">
            <a:xfrm>
              <a:off x="5423697" y="4430440"/>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0" name="Freeform 168"/>
            <p:cNvSpPr>
              <a:spLocks noEditPoints="1"/>
            </p:cNvSpPr>
            <p:nvPr/>
          </p:nvSpPr>
          <p:spPr bwMode="gray">
            <a:xfrm>
              <a:off x="5927777" y="4294323"/>
              <a:ext cx="208874" cy="133574"/>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1" name="Freeform 169"/>
            <p:cNvSpPr>
              <a:spLocks noEditPoints="1"/>
            </p:cNvSpPr>
            <p:nvPr/>
          </p:nvSpPr>
          <p:spPr bwMode="gray">
            <a:xfrm>
              <a:off x="6395652" y="4860421"/>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2" name="Freeform 170"/>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3" name="Freeform 6"/>
            <p:cNvSpPr>
              <a:spLocks/>
            </p:cNvSpPr>
            <p:nvPr/>
          </p:nvSpPr>
          <p:spPr bwMode="gray">
            <a:xfrm>
              <a:off x="6637945" y="2645642"/>
              <a:ext cx="182416" cy="184460"/>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4" name="Freeform 22"/>
            <p:cNvSpPr>
              <a:spLocks/>
            </p:cNvSpPr>
            <p:nvPr/>
          </p:nvSpPr>
          <p:spPr bwMode="gray">
            <a:xfrm>
              <a:off x="5339719" y="3907448"/>
              <a:ext cx="43156" cy="32881"/>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5" name="Freeform 13"/>
            <p:cNvSpPr>
              <a:spLocks/>
            </p:cNvSpPr>
            <p:nvPr/>
          </p:nvSpPr>
          <p:spPr bwMode="gray">
            <a:xfrm>
              <a:off x="4604913" y="3592104"/>
              <a:ext cx="533323" cy="523482"/>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6" name="Freeform 23"/>
            <p:cNvSpPr>
              <a:spLocks/>
            </p:cNvSpPr>
            <p:nvPr/>
          </p:nvSpPr>
          <p:spPr bwMode="gray">
            <a:xfrm>
              <a:off x="4707956" y="3192162"/>
              <a:ext cx="1106861" cy="712383"/>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210" name="Rectangle 209">
            <a:extLst>
              <a:ext uri="{FF2B5EF4-FFF2-40B4-BE49-F238E27FC236}">
                <a16:creationId xmlns:a16="http://schemas.microsoft.com/office/drawing/2014/main" id="{19976663-18BF-2F43-BD8B-71D43A575608}"/>
              </a:ext>
            </a:extLst>
          </p:cNvPr>
          <p:cNvSpPr/>
          <p:nvPr/>
        </p:nvSpPr>
        <p:spPr>
          <a:xfrm>
            <a:off x="1828800" y="2742215"/>
            <a:ext cx="2253822" cy="307777"/>
          </a:xfrm>
          <a:prstGeom prst="rect">
            <a:avLst/>
          </a:prstGeom>
        </p:spPr>
        <p:txBody>
          <a:bodyPr wrap="none" lIns="0" tIns="0" rIns="0" bIns="0">
            <a:spAutoFit/>
          </a:bodyPr>
          <a:lstStyle/>
          <a:p>
            <a:r>
              <a:rPr lang="en-US" sz="2000" b="1" cap="all">
                <a:solidFill>
                  <a:srgbClr val="FFFFFF"/>
                </a:solidFill>
                <a:latin typeface="Arial" panose="020B0604020202020204" pitchFamily="34" charset="0"/>
                <a:ea typeface="Roboto" panose="02000000000000000000" pitchFamily="2" charset="0"/>
                <a:cs typeface="Arial" panose="020B0604020202020204" pitchFamily="34" charset="0"/>
              </a:rPr>
              <a:t>Text Goes Here</a:t>
            </a:r>
          </a:p>
        </p:txBody>
      </p:sp>
      <p:sp>
        <p:nvSpPr>
          <p:cNvPr id="211" name="Rectangle 210">
            <a:extLst>
              <a:ext uri="{FF2B5EF4-FFF2-40B4-BE49-F238E27FC236}">
                <a16:creationId xmlns:a16="http://schemas.microsoft.com/office/drawing/2014/main" id="{E1B366C1-2BEE-0843-A828-BAFC8F7820A7}"/>
              </a:ext>
            </a:extLst>
          </p:cNvPr>
          <p:cNvSpPr/>
          <p:nvPr/>
        </p:nvSpPr>
        <p:spPr>
          <a:xfrm>
            <a:off x="1848577" y="3100826"/>
            <a:ext cx="2745547" cy="1206484"/>
          </a:xfrm>
          <a:prstGeom prst="rect">
            <a:avLst/>
          </a:prstGeom>
        </p:spPr>
        <p:txBody>
          <a:bodyPr wrap="square" lIns="0" tIns="0" rIns="0" bIns="0">
            <a:spAutoFit/>
          </a:bodyPr>
          <a:lstStyle/>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Dratat quat ad gui is molup tasioi</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natur acesto dolore noneta huild</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quasit. Sundah avel sequin foryip ais experipdo lorem ipsum.</a:t>
            </a:r>
          </a:p>
        </p:txBody>
      </p:sp>
      <p:sp>
        <p:nvSpPr>
          <p:cNvPr id="212" name="Rectangle 211">
            <a:extLst>
              <a:ext uri="{FF2B5EF4-FFF2-40B4-BE49-F238E27FC236}">
                <a16:creationId xmlns:a16="http://schemas.microsoft.com/office/drawing/2014/main" id="{113FE46C-48CE-B741-AD01-273C8AD6FDE4}"/>
              </a:ext>
            </a:extLst>
          </p:cNvPr>
          <p:cNvSpPr/>
          <p:nvPr/>
        </p:nvSpPr>
        <p:spPr>
          <a:xfrm>
            <a:off x="7381876" y="5112735"/>
            <a:ext cx="1177951" cy="215444"/>
          </a:xfrm>
          <a:prstGeom prst="rect">
            <a:avLst/>
          </a:prstGeom>
        </p:spPr>
        <p:txBody>
          <a:bodyPr wrap="none" lIns="0" tIns="0" rIns="0" bIns="0">
            <a:spAutoFit/>
          </a:bodyPr>
          <a:lstStyle/>
          <a:p>
            <a:r>
              <a:rPr lang="en-US" sz="1400" b="1">
                <a:solidFill>
                  <a:schemeClr val="bg2"/>
                </a:solidFill>
                <a:latin typeface="Arial" panose="020B0604020202020204" pitchFamily="34" charset="0"/>
                <a:ea typeface="Roboto" panose="02000000000000000000" pitchFamily="2" charset="0"/>
                <a:cs typeface="Arial" panose="020B0604020202020204" pitchFamily="34" charset="0"/>
              </a:rPr>
              <a:t>Latin America</a:t>
            </a:r>
          </a:p>
        </p:txBody>
      </p:sp>
      <p:sp>
        <p:nvSpPr>
          <p:cNvPr id="213" name="Rectangle 212">
            <a:extLst>
              <a:ext uri="{FF2B5EF4-FFF2-40B4-BE49-F238E27FC236}">
                <a16:creationId xmlns:a16="http://schemas.microsoft.com/office/drawing/2014/main" id="{79067EF4-DB2A-2641-91B6-2F2D59CB752C}"/>
              </a:ext>
            </a:extLst>
          </p:cNvPr>
          <p:cNvSpPr/>
          <p:nvPr/>
        </p:nvSpPr>
        <p:spPr>
          <a:xfrm>
            <a:off x="7378700" y="5405774"/>
            <a:ext cx="2745547" cy="553998"/>
          </a:xfrm>
          <a:prstGeom prst="rect">
            <a:avLst/>
          </a:prstGeom>
        </p:spPr>
        <p:txBody>
          <a:bodyPr wrap="square" lIns="0" tIns="0" rIns="0" bIns="0">
            <a:spAutoFit/>
          </a:bodyPr>
          <a:lstStyle/>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Dratat quat ad gui is molup tasioi natur acesto</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natur acesto dolore noneta huilda vel seq uodi.</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Sundah quasitavel sequin.</a:t>
            </a:r>
          </a:p>
        </p:txBody>
      </p:sp>
      <p:grpSp>
        <p:nvGrpSpPr>
          <p:cNvPr id="294" name="Group 293">
            <a:extLst>
              <a:ext uri="{FF2B5EF4-FFF2-40B4-BE49-F238E27FC236}">
                <a16:creationId xmlns:a16="http://schemas.microsoft.com/office/drawing/2014/main" id="{8CDB8ED9-1826-40B8-B9A9-051FF99EE929}"/>
              </a:ext>
            </a:extLst>
          </p:cNvPr>
          <p:cNvGrpSpPr/>
          <p:nvPr/>
        </p:nvGrpSpPr>
        <p:grpSpPr>
          <a:xfrm>
            <a:off x="3904392" y="1095123"/>
            <a:ext cx="4412832" cy="4938956"/>
            <a:chOff x="3515218" y="3663303"/>
            <a:chExt cx="1496923" cy="1675395"/>
          </a:xfrm>
          <a:solidFill>
            <a:schemeClr val="bg2"/>
          </a:solidFill>
        </p:grpSpPr>
        <p:sp>
          <p:nvSpPr>
            <p:cNvPr id="295" name="Freeform 10">
              <a:extLst>
                <a:ext uri="{FF2B5EF4-FFF2-40B4-BE49-F238E27FC236}">
                  <a16:creationId xmlns:a16="http://schemas.microsoft.com/office/drawing/2014/main" id="{3BD31631-76D3-43C3-9690-6A23D90D1E36}"/>
                </a:ext>
              </a:extLst>
            </p:cNvPr>
            <p:cNvSpPr>
              <a:spLocks/>
            </p:cNvSpPr>
            <p:nvPr/>
          </p:nvSpPr>
          <p:spPr bwMode="gray">
            <a:xfrm>
              <a:off x="3515218" y="3663303"/>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96" name="Freeform 11">
              <a:extLst>
                <a:ext uri="{FF2B5EF4-FFF2-40B4-BE49-F238E27FC236}">
                  <a16:creationId xmlns:a16="http://schemas.microsoft.com/office/drawing/2014/main" id="{252DD2F7-88FF-4CC5-8A33-CF4B33F3F78D}"/>
                </a:ext>
              </a:extLst>
            </p:cNvPr>
            <p:cNvSpPr>
              <a:spLocks/>
            </p:cNvSpPr>
            <p:nvPr/>
          </p:nvSpPr>
          <p:spPr bwMode="gray">
            <a:xfrm>
              <a:off x="4105631" y="3842673"/>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97" name="Freeform 12">
              <a:extLst>
                <a:ext uri="{FF2B5EF4-FFF2-40B4-BE49-F238E27FC236}">
                  <a16:creationId xmlns:a16="http://schemas.microsoft.com/office/drawing/2014/main" id="{03163235-62B8-4CA0-92D5-0BFBD0D1150E}"/>
                </a:ext>
              </a:extLst>
            </p:cNvPr>
            <p:cNvSpPr>
              <a:spLocks/>
            </p:cNvSpPr>
            <p:nvPr/>
          </p:nvSpPr>
          <p:spPr bwMode="gray">
            <a:xfrm>
              <a:off x="4023475" y="392536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98" name="Freeform 13">
              <a:extLst>
                <a:ext uri="{FF2B5EF4-FFF2-40B4-BE49-F238E27FC236}">
                  <a16:creationId xmlns:a16="http://schemas.microsoft.com/office/drawing/2014/main" id="{2E51E11B-B40D-4CBE-97AA-FE94635D554B}"/>
                </a:ext>
              </a:extLst>
            </p:cNvPr>
            <p:cNvSpPr>
              <a:spLocks/>
            </p:cNvSpPr>
            <p:nvPr/>
          </p:nvSpPr>
          <p:spPr bwMode="gray">
            <a:xfrm>
              <a:off x="3967776" y="393681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99" name="Freeform 15">
              <a:extLst>
                <a:ext uri="{FF2B5EF4-FFF2-40B4-BE49-F238E27FC236}">
                  <a16:creationId xmlns:a16="http://schemas.microsoft.com/office/drawing/2014/main" id="{1C8BB4FF-2D6C-410D-B6BC-38C84E307F78}"/>
                </a:ext>
              </a:extLst>
            </p:cNvPr>
            <p:cNvSpPr>
              <a:spLocks/>
            </p:cNvSpPr>
            <p:nvPr/>
          </p:nvSpPr>
          <p:spPr bwMode="gray">
            <a:xfrm>
              <a:off x="4006766" y="3995329"/>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0" name="Freeform 16">
              <a:extLst>
                <a:ext uri="{FF2B5EF4-FFF2-40B4-BE49-F238E27FC236}">
                  <a16:creationId xmlns:a16="http://schemas.microsoft.com/office/drawing/2014/main" id="{BC99D5E0-BA64-4CE0-A58A-9CFA27677BA8}"/>
                </a:ext>
              </a:extLst>
            </p:cNvPr>
            <p:cNvSpPr>
              <a:spLocks/>
            </p:cNvSpPr>
            <p:nvPr/>
          </p:nvSpPr>
          <p:spPr bwMode="gray">
            <a:xfrm>
              <a:off x="4020689" y="396861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1" name="Freeform 17">
              <a:extLst>
                <a:ext uri="{FF2B5EF4-FFF2-40B4-BE49-F238E27FC236}">
                  <a16:creationId xmlns:a16="http://schemas.microsoft.com/office/drawing/2014/main" id="{542DC288-878F-4830-8798-23F4010D58F4}"/>
                </a:ext>
              </a:extLst>
            </p:cNvPr>
            <p:cNvSpPr>
              <a:spLocks/>
            </p:cNvSpPr>
            <p:nvPr/>
          </p:nvSpPr>
          <p:spPr bwMode="gray">
            <a:xfrm>
              <a:off x="4221207" y="3925361"/>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2" name="Freeform 18">
              <a:extLst>
                <a:ext uri="{FF2B5EF4-FFF2-40B4-BE49-F238E27FC236}">
                  <a16:creationId xmlns:a16="http://schemas.microsoft.com/office/drawing/2014/main" id="{D93EF368-22C4-4764-9675-B7B1AD64DA4D}"/>
                </a:ext>
              </a:extLst>
            </p:cNvPr>
            <p:cNvSpPr>
              <a:spLocks/>
            </p:cNvSpPr>
            <p:nvPr/>
          </p:nvSpPr>
          <p:spPr bwMode="gray">
            <a:xfrm>
              <a:off x="4051324" y="398642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3" name="Freeform 19">
              <a:extLst>
                <a:ext uri="{FF2B5EF4-FFF2-40B4-BE49-F238E27FC236}">
                  <a16:creationId xmlns:a16="http://schemas.microsoft.com/office/drawing/2014/main" id="{D6ED647C-ADB5-4363-8D1B-164475FBED28}"/>
                </a:ext>
              </a:extLst>
            </p:cNvPr>
            <p:cNvSpPr>
              <a:spLocks/>
            </p:cNvSpPr>
            <p:nvPr/>
          </p:nvSpPr>
          <p:spPr bwMode="gray">
            <a:xfrm>
              <a:off x="4292226" y="389992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4" name="Freeform 20">
              <a:extLst>
                <a:ext uri="{FF2B5EF4-FFF2-40B4-BE49-F238E27FC236}">
                  <a16:creationId xmlns:a16="http://schemas.microsoft.com/office/drawing/2014/main" id="{59727682-D0CA-4821-AE33-F902918F8744}"/>
                </a:ext>
              </a:extLst>
            </p:cNvPr>
            <p:cNvSpPr>
              <a:spLocks/>
            </p:cNvSpPr>
            <p:nvPr/>
          </p:nvSpPr>
          <p:spPr bwMode="gray">
            <a:xfrm>
              <a:off x="4338175" y="3899919"/>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5" name="Freeform 21">
              <a:extLst>
                <a:ext uri="{FF2B5EF4-FFF2-40B4-BE49-F238E27FC236}">
                  <a16:creationId xmlns:a16="http://schemas.microsoft.com/office/drawing/2014/main" id="{8A857E53-0929-4072-955D-14113108DC7B}"/>
                </a:ext>
              </a:extLst>
            </p:cNvPr>
            <p:cNvSpPr>
              <a:spLocks/>
            </p:cNvSpPr>
            <p:nvPr/>
          </p:nvSpPr>
          <p:spPr bwMode="gray">
            <a:xfrm>
              <a:off x="4084744" y="4051302"/>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6" name="Freeform 22">
              <a:extLst>
                <a:ext uri="{FF2B5EF4-FFF2-40B4-BE49-F238E27FC236}">
                  <a16:creationId xmlns:a16="http://schemas.microsoft.com/office/drawing/2014/main" id="{4C1A398F-3C31-4470-9454-D8799D11D967}"/>
                </a:ext>
              </a:extLst>
            </p:cNvPr>
            <p:cNvSpPr>
              <a:spLocks/>
            </p:cNvSpPr>
            <p:nvPr/>
          </p:nvSpPr>
          <p:spPr bwMode="gray">
            <a:xfrm>
              <a:off x="4424511" y="392409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7" name="Freeform 23">
              <a:extLst>
                <a:ext uri="{FF2B5EF4-FFF2-40B4-BE49-F238E27FC236}">
                  <a16:creationId xmlns:a16="http://schemas.microsoft.com/office/drawing/2014/main" id="{012F7F5F-053D-4DF5-9FDE-A6F425AB8CF0}"/>
                </a:ext>
              </a:extLst>
            </p:cNvPr>
            <p:cNvSpPr>
              <a:spLocks/>
            </p:cNvSpPr>
            <p:nvPr/>
          </p:nvSpPr>
          <p:spPr bwMode="gray">
            <a:xfrm>
              <a:off x="4137659" y="4076745"/>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8" name="Freeform 24">
              <a:extLst>
                <a:ext uri="{FF2B5EF4-FFF2-40B4-BE49-F238E27FC236}">
                  <a16:creationId xmlns:a16="http://schemas.microsoft.com/office/drawing/2014/main" id="{8A67A43D-2F96-425B-8C77-8A47F4C31258}"/>
                </a:ext>
              </a:extLst>
            </p:cNvPr>
            <p:cNvSpPr>
              <a:spLocks/>
            </p:cNvSpPr>
            <p:nvPr/>
          </p:nvSpPr>
          <p:spPr bwMode="gray">
            <a:xfrm>
              <a:off x="4517807" y="4056391"/>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09" name="Freeform 25">
              <a:extLst>
                <a:ext uri="{FF2B5EF4-FFF2-40B4-BE49-F238E27FC236}">
                  <a16:creationId xmlns:a16="http://schemas.microsoft.com/office/drawing/2014/main" id="{60268AFA-63F3-46DD-9BAC-C6CE21ADBB5B}"/>
                </a:ext>
              </a:extLst>
            </p:cNvPr>
            <p:cNvSpPr>
              <a:spLocks/>
            </p:cNvSpPr>
            <p:nvPr/>
          </p:nvSpPr>
          <p:spPr bwMode="gray">
            <a:xfrm>
              <a:off x="4313112" y="4033493"/>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0" name="Freeform 26">
              <a:extLst>
                <a:ext uri="{FF2B5EF4-FFF2-40B4-BE49-F238E27FC236}">
                  <a16:creationId xmlns:a16="http://schemas.microsoft.com/office/drawing/2014/main" id="{743C953B-18A4-493A-B7B3-CB9ACBA21667}"/>
                </a:ext>
              </a:extLst>
            </p:cNvPr>
            <p:cNvSpPr>
              <a:spLocks/>
            </p:cNvSpPr>
            <p:nvPr/>
          </p:nvSpPr>
          <p:spPr bwMode="gray">
            <a:xfrm>
              <a:off x="4173864" y="421540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1" name="Freeform 27">
              <a:extLst>
                <a:ext uri="{FF2B5EF4-FFF2-40B4-BE49-F238E27FC236}">
                  <a16:creationId xmlns:a16="http://schemas.microsoft.com/office/drawing/2014/main" id="{1024AB92-65A1-4933-B151-A21A82F0B2FF}"/>
                </a:ext>
              </a:extLst>
            </p:cNvPr>
            <p:cNvSpPr>
              <a:spLocks/>
            </p:cNvSpPr>
            <p:nvPr/>
          </p:nvSpPr>
          <p:spPr bwMode="gray">
            <a:xfrm>
              <a:off x="4208676" y="4029676"/>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2" name="Freeform 29">
              <a:extLst>
                <a:ext uri="{FF2B5EF4-FFF2-40B4-BE49-F238E27FC236}">
                  <a16:creationId xmlns:a16="http://schemas.microsoft.com/office/drawing/2014/main" id="{19466E99-9159-442A-A4FC-20ACE26E25ED}"/>
                </a:ext>
              </a:extLst>
            </p:cNvPr>
            <p:cNvSpPr>
              <a:spLocks/>
            </p:cNvSpPr>
            <p:nvPr/>
          </p:nvSpPr>
          <p:spPr bwMode="gray">
            <a:xfrm>
              <a:off x="4531733" y="409710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3" name="Freeform 31">
              <a:extLst>
                <a:ext uri="{FF2B5EF4-FFF2-40B4-BE49-F238E27FC236}">
                  <a16:creationId xmlns:a16="http://schemas.microsoft.com/office/drawing/2014/main" id="{B8073787-63BF-4E0A-A6C0-B4A22B6F1E99}"/>
                </a:ext>
              </a:extLst>
            </p:cNvPr>
            <p:cNvSpPr>
              <a:spLocks/>
            </p:cNvSpPr>
            <p:nvPr/>
          </p:nvSpPr>
          <p:spPr bwMode="gray">
            <a:xfrm>
              <a:off x="4591609" y="413780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4" name="Freeform 32">
              <a:extLst>
                <a:ext uri="{FF2B5EF4-FFF2-40B4-BE49-F238E27FC236}">
                  <a16:creationId xmlns:a16="http://schemas.microsoft.com/office/drawing/2014/main" id="{94A3690F-D13A-4B53-8079-25997462244E}"/>
                </a:ext>
              </a:extLst>
            </p:cNvPr>
            <p:cNvSpPr>
              <a:spLocks/>
            </p:cNvSpPr>
            <p:nvPr/>
          </p:nvSpPr>
          <p:spPr bwMode="gray">
            <a:xfrm>
              <a:off x="4657057" y="414289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5" name="Freeform 34">
              <a:extLst>
                <a:ext uri="{FF2B5EF4-FFF2-40B4-BE49-F238E27FC236}">
                  <a16:creationId xmlns:a16="http://schemas.microsoft.com/office/drawing/2014/main" id="{06E58C13-CC11-4D1D-BE5B-BDD691EC1EDA}"/>
                </a:ext>
              </a:extLst>
            </p:cNvPr>
            <p:cNvSpPr>
              <a:spLocks/>
            </p:cNvSpPr>
            <p:nvPr/>
          </p:nvSpPr>
          <p:spPr bwMode="gray">
            <a:xfrm>
              <a:off x="4165508" y="4239577"/>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6" name="Freeform 47">
              <a:extLst>
                <a:ext uri="{FF2B5EF4-FFF2-40B4-BE49-F238E27FC236}">
                  <a16:creationId xmlns:a16="http://schemas.microsoft.com/office/drawing/2014/main" id="{83D40879-DD7D-4E8B-A749-8FDC6C4D6D38}"/>
                </a:ext>
              </a:extLst>
            </p:cNvPr>
            <p:cNvSpPr>
              <a:spLocks/>
            </p:cNvSpPr>
            <p:nvPr/>
          </p:nvSpPr>
          <p:spPr bwMode="gray">
            <a:xfrm>
              <a:off x="4381345" y="440241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7" name="Freeform 63">
              <a:extLst>
                <a:ext uri="{FF2B5EF4-FFF2-40B4-BE49-F238E27FC236}">
                  <a16:creationId xmlns:a16="http://schemas.microsoft.com/office/drawing/2014/main" id="{0800935B-746A-4A8C-8EFF-EBEC8439B738}"/>
                </a:ext>
              </a:extLst>
            </p:cNvPr>
            <p:cNvSpPr>
              <a:spLocks/>
            </p:cNvSpPr>
            <p:nvPr/>
          </p:nvSpPr>
          <p:spPr bwMode="gray">
            <a:xfrm>
              <a:off x="4508060" y="456524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8" name="Freeform 66">
              <a:extLst>
                <a:ext uri="{FF2B5EF4-FFF2-40B4-BE49-F238E27FC236}">
                  <a16:creationId xmlns:a16="http://schemas.microsoft.com/office/drawing/2014/main" id="{F0A15413-93ED-42D3-A830-01EC015EF6D1}"/>
                </a:ext>
              </a:extLst>
            </p:cNvPr>
            <p:cNvSpPr>
              <a:spLocks noEditPoints="1"/>
            </p:cNvSpPr>
            <p:nvPr/>
          </p:nvSpPr>
          <p:spPr bwMode="gray">
            <a:xfrm>
              <a:off x="4301972" y="415180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19" name="Freeform 85">
              <a:extLst>
                <a:ext uri="{FF2B5EF4-FFF2-40B4-BE49-F238E27FC236}">
                  <a16:creationId xmlns:a16="http://schemas.microsoft.com/office/drawing/2014/main" id="{666D3CAA-AF7C-49F2-BC84-5D53780D1739}"/>
                </a:ext>
              </a:extLst>
            </p:cNvPr>
            <p:cNvSpPr>
              <a:spLocks/>
            </p:cNvSpPr>
            <p:nvPr/>
          </p:nvSpPr>
          <p:spPr bwMode="gray">
            <a:xfrm>
              <a:off x="4584648" y="476624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20" name="Freeform 103">
              <a:extLst>
                <a:ext uri="{FF2B5EF4-FFF2-40B4-BE49-F238E27FC236}">
                  <a16:creationId xmlns:a16="http://schemas.microsoft.com/office/drawing/2014/main" id="{BD70B739-5C15-4E57-AEEA-E9BC7373C458}"/>
                </a:ext>
              </a:extLst>
            </p:cNvPr>
            <p:cNvSpPr>
              <a:spLocks noEditPoints="1"/>
            </p:cNvSpPr>
            <p:nvPr/>
          </p:nvSpPr>
          <p:spPr bwMode="gray">
            <a:xfrm>
              <a:off x="4272730" y="4535983"/>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21" name="Freeform 106">
              <a:extLst>
                <a:ext uri="{FF2B5EF4-FFF2-40B4-BE49-F238E27FC236}">
                  <a16:creationId xmlns:a16="http://schemas.microsoft.com/office/drawing/2014/main" id="{1DC98B8C-B976-4B94-9284-4A205B7DDC11}"/>
                </a:ext>
              </a:extLst>
            </p:cNvPr>
            <p:cNvSpPr>
              <a:spLocks noEditPoints="1"/>
            </p:cNvSpPr>
            <p:nvPr/>
          </p:nvSpPr>
          <p:spPr bwMode="gray">
            <a:xfrm>
              <a:off x="4308936" y="4612310"/>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18F4AA8F-B95E-4750-9438-FA8B7E147600}"/>
              </a:ext>
            </a:extLst>
          </p:cNvPr>
          <p:cNvGrpSpPr/>
          <p:nvPr/>
        </p:nvGrpSpPr>
        <p:grpSpPr>
          <a:xfrm>
            <a:off x="6929120" y="3799840"/>
            <a:ext cx="90000" cy="2145826"/>
            <a:chOff x="6929120" y="3799840"/>
            <a:chExt cx="90000" cy="2145826"/>
          </a:xfrm>
        </p:grpSpPr>
        <p:cxnSp>
          <p:nvCxnSpPr>
            <p:cNvPr id="10" name="Straight Connector 9"/>
            <p:cNvCxnSpPr/>
            <p:nvPr/>
          </p:nvCxnSpPr>
          <p:spPr>
            <a:xfrm>
              <a:off x="6974120" y="3860801"/>
              <a:ext cx="0" cy="2084865"/>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6929120" y="3799840"/>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2222968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22918723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1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Rectangle 1"/>
          <p:cNvSpPr/>
          <p:nvPr/>
        </p:nvSpPr>
        <p:spPr>
          <a:xfrm>
            <a:off x="1524000" y="1544320"/>
            <a:ext cx="9144000" cy="28956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
        <p:nvSpPr>
          <p:cNvPr id="6" name="Text Placeholder 5"/>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grpSp>
        <p:nvGrpSpPr>
          <p:cNvPr id="17" name="Group 16"/>
          <p:cNvGrpSpPr>
            <a:grpSpLocks noChangeAspect="1"/>
          </p:cNvGrpSpPr>
          <p:nvPr/>
        </p:nvGrpSpPr>
        <p:grpSpPr bwMode="gray">
          <a:xfrm>
            <a:off x="1836669" y="1710693"/>
            <a:ext cx="3388598" cy="1980000"/>
            <a:chOff x="236680" y="1501996"/>
            <a:chExt cx="6583681" cy="3846923"/>
          </a:xfrm>
          <a:solidFill>
            <a:schemeClr val="tx1">
              <a:lumMod val="60000"/>
              <a:lumOff val="40000"/>
            </a:schemeClr>
          </a:solidFill>
        </p:grpSpPr>
        <p:sp>
          <p:nvSpPr>
            <p:cNvPr id="41" name="Freeform 7"/>
            <p:cNvSpPr>
              <a:spLocks noEditPoints="1"/>
            </p:cNvSpPr>
            <p:nvPr/>
          </p:nvSpPr>
          <p:spPr bwMode="gray">
            <a:xfrm>
              <a:off x="800638" y="1560515"/>
              <a:ext cx="1606930" cy="1923462"/>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2" name="Freeform 8"/>
            <p:cNvSpPr>
              <a:spLocks noEditPoints="1"/>
            </p:cNvSpPr>
            <p:nvPr/>
          </p:nvSpPr>
          <p:spPr bwMode="gray">
            <a:xfrm>
              <a:off x="2046913" y="1501996"/>
              <a:ext cx="1091710" cy="1499842"/>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3" name="Freeform 9"/>
            <p:cNvSpPr>
              <a:spLocks noEditPoints="1"/>
            </p:cNvSpPr>
            <p:nvPr/>
          </p:nvSpPr>
          <p:spPr bwMode="gray">
            <a:xfrm>
              <a:off x="236680" y="2527333"/>
              <a:ext cx="1911885" cy="1400617"/>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4" name="Freeform 10"/>
            <p:cNvSpPr>
              <a:spLocks/>
            </p:cNvSpPr>
            <p:nvPr/>
          </p:nvSpPr>
          <p:spPr bwMode="gray">
            <a:xfrm>
              <a:off x="1235095" y="3673524"/>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5" name="Freeform 11"/>
            <p:cNvSpPr>
              <a:spLocks/>
            </p:cNvSpPr>
            <p:nvPr/>
          </p:nvSpPr>
          <p:spPr bwMode="gray">
            <a:xfrm>
              <a:off x="1825508" y="3852894"/>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6" name="Freeform 12"/>
            <p:cNvSpPr>
              <a:spLocks/>
            </p:cNvSpPr>
            <p:nvPr/>
          </p:nvSpPr>
          <p:spPr bwMode="gray">
            <a:xfrm>
              <a:off x="1743352" y="393558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7" name="Freeform 13"/>
            <p:cNvSpPr>
              <a:spLocks/>
            </p:cNvSpPr>
            <p:nvPr/>
          </p:nvSpPr>
          <p:spPr bwMode="gray">
            <a:xfrm>
              <a:off x="1687653" y="394703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8" name="Freeform 14"/>
            <p:cNvSpPr>
              <a:spLocks/>
            </p:cNvSpPr>
            <p:nvPr/>
          </p:nvSpPr>
          <p:spPr bwMode="gray">
            <a:xfrm>
              <a:off x="2926967" y="2753773"/>
              <a:ext cx="193556" cy="123397"/>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9" name="Freeform 15"/>
            <p:cNvSpPr>
              <a:spLocks/>
            </p:cNvSpPr>
            <p:nvPr/>
          </p:nvSpPr>
          <p:spPr bwMode="gray">
            <a:xfrm>
              <a:off x="1726643" y="4005550"/>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16"/>
            <p:cNvSpPr>
              <a:spLocks/>
            </p:cNvSpPr>
            <p:nvPr/>
          </p:nvSpPr>
          <p:spPr bwMode="gray">
            <a:xfrm>
              <a:off x="1740567" y="397883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17"/>
            <p:cNvSpPr>
              <a:spLocks/>
            </p:cNvSpPr>
            <p:nvPr/>
          </p:nvSpPr>
          <p:spPr bwMode="gray">
            <a:xfrm>
              <a:off x="1941085" y="3935582"/>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18"/>
            <p:cNvSpPr>
              <a:spLocks/>
            </p:cNvSpPr>
            <p:nvPr/>
          </p:nvSpPr>
          <p:spPr bwMode="gray">
            <a:xfrm>
              <a:off x="1771202" y="399664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3" name="Freeform 19"/>
            <p:cNvSpPr>
              <a:spLocks/>
            </p:cNvSpPr>
            <p:nvPr/>
          </p:nvSpPr>
          <p:spPr bwMode="gray">
            <a:xfrm>
              <a:off x="2012103" y="391014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20"/>
            <p:cNvSpPr>
              <a:spLocks/>
            </p:cNvSpPr>
            <p:nvPr/>
          </p:nvSpPr>
          <p:spPr bwMode="gray">
            <a:xfrm>
              <a:off x="2058053" y="3910140"/>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21"/>
            <p:cNvSpPr>
              <a:spLocks/>
            </p:cNvSpPr>
            <p:nvPr/>
          </p:nvSpPr>
          <p:spPr bwMode="gray">
            <a:xfrm>
              <a:off x="1804622" y="4061523"/>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22"/>
            <p:cNvSpPr>
              <a:spLocks/>
            </p:cNvSpPr>
            <p:nvPr/>
          </p:nvSpPr>
          <p:spPr bwMode="gray">
            <a:xfrm>
              <a:off x="2144389" y="393431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23"/>
            <p:cNvSpPr>
              <a:spLocks/>
            </p:cNvSpPr>
            <p:nvPr/>
          </p:nvSpPr>
          <p:spPr bwMode="gray">
            <a:xfrm>
              <a:off x="1857536" y="4086966"/>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24"/>
            <p:cNvSpPr>
              <a:spLocks/>
            </p:cNvSpPr>
            <p:nvPr/>
          </p:nvSpPr>
          <p:spPr bwMode="gray">
            <a:xfrm>
              <a:off x="2237685" y="4066612"/>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Freeform 25"/>
            <p:cNvSpPr>
              <a:spLocks/>
            </p:cNvSpPr>
            <p:nvPr/>
          </p:nvSpPr>
          <p:spPr bwMode="gray">
            <a:xfrm>
              <a:off x="2032989" y="4043714"/>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26"/>
            <p:cNvSpPr>
              <a:spLocks/>
            </p:cNvSpPr>
            <p:nvPr/>
          </p:nvSpPr>
          <p:spPr bwMode="gray">
            <a:xfrm>
              <a:off x="1893741" y="422562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7"/>
            <p:cNvSpPr>
              <a:spLocks/>
            </p:cNvSpPr>
            <p:nvPr/>
          </p:nvSpPr>
          <p:spPr bwMode="gray">
            <a:xfrm>
              <a:off x="1928554" y="4039897"/>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Freeform 28"/>
            <p:cNvSpPr>
              <a:spLocks/>
            </p:cNvSpPr>
            <p:nvPr/>
          </p:nvSpPr>
          <p:spPr bwMode="gray">
            <a:xfrm>
              <a:off x="3176222" y="3141772"/>
              <a:ext cx="80764" cy="105587"/>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3" name="Freeform 29"/>
            <p:cNvSpPr>
              <a:spLocks/>
            </p:cNvSpPr>
            <p:nvPr/>
          </p:nvSpPr>
          <p:spPr bwMode="gray">
            <a:xfrm>
              <a:off x="2251610" y="410732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4" name="Freeform 30"/>
            <p:cNvSpPr>
              <a:spLocks noEditPoints="1"/>
            </p:cNvSpPr>
            <p:nvPr/>
          </p:nvSpPr>
          <p:spPr bwMode="gray">
            <a:xfrm>
              <a:off x="3219388" y="3040002"/>
              <a:ext cx="178238" cy="246794"/>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5" name="Freeform 31"/>
            <p:cNvSpPr>
              <a:spLocks/>
            </p:cNvSpPr>
            <p:nvPr/>
          </p:nvSpPr>
          <p:spPr bwMode="gray">
            <a:xfrm>
              <a:off x="2311487" y="414802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Freeform 32"/>
            <p:cNvSpPr>
              <a:spLocks/>
            </p:cNvSpPr>
            <p:nvPr/>
          </p:nvSpPr>
          <p:spPr bwMode="gray">
            <a:xfrm>
              <a:off x="2376934" y="415311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7" name="Freeform 33"/>
            <p:cNvSpPr>
              <a:spLocks noEditPoints="1"/>
            </p:cNvSpPr>
            <p:nvPr/>
          </p:nvSpPr>
          <p:spPr bwMode="gray">
            <a:xfrm>
              <a:off x="3457504" y="1863281"/>
              <a:ext cx="473445" cy="1195803"/>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Freeform 34"/>
            <p:cNvSpPr>
              <a:spLocks/>
            </p:cNvSpPr>
            <p:nvPr/>
          </p:nvSpPr>
          <p:spPr bwMode="gray">
            <a:xfrm>
              <a:off x="1885386" y="4249798"/>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9" name="Freeform 35"/>
            <p:cNvSpPr>
              <a:spLocks/>
            </p:cNvSpPr>
            <p:nvPr/>
          </p:nvSpPr>
          <p:spPr bwMode="gray">
            <a:xfrm>
              <a:off x="3192932" y="3475070"/>
              <a:ext cx="62663" cy="110676"/>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Freeform 36"/>
            <p:cNvSpPr>
              <a:spLocks/>
            </p:cNvSpPr>
            <p:nvPr/>
          </p:nvSpPr>
          <p:spPr bwMode="gray">
            <a:xfrm>
              <a:off x="3431047" y="3195202"/>
              <a:ext cx="66839" cy="71239"/>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Freeform 37"/>
            <p:cNvSpPr>
              <a:spLocks/>
            </p:cNvSpPr>
            <p:nvPr/>
          </p:nvSpPr>
          <p:spPr bwMode="gray">
            <a:xfrm>
              <a:off x="3412944" y="3246086"/>
              <a:ext cx="68233" cy="5215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Freeform 38"/>
            <p:cNvSpPr>
              <a:spLocks noEditPoints="1"/>
            </p:cNvSpPr>
            <p:nvPr/>
          </p:nvSpPr>
          <p:spPr bwMode="gray">
            <a:xfrm>
              <a:off x="3279266" y="3256264"/>
              <a:ext cx="260395" cy="235345"/>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3" name="Freeform 39"/>
            <p:cNvSpPr>
              <a:spLocks/>
            </p:cNvSpPr>
            <p:nvPr/>
          </p:nvSpPr>
          <p:spPr bwMode="gray">
            <a:xfrm>
              <a:off x="3198502" y="3438179"/>
              <a:ext cx="225583" cy="167921"/>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40"/>
            <p:cNvSpPr>
              <a:spLocks noEditPoints="1"/>
            </p:cNvSpPr>
            <p:nvPr/>
          </p:nvSpPr>
          <p:spPr bwMode="gray">
            <a:xfrm>
              <a:off x="3513202" y="3065444"/>
              <a:ext cx="80764" cy="86505"/>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5" name="Freeform 41"/>
            <p:cNvSpPr>
              <a:spLocks/>
            </p:cNvSpPr>
            <p:nvPr/>
          </p:nvSpPr>
          <p:spPr bwMode="gray">
            <a:xfrm>
              <a:off x="3471428" y="3281707"/>
              <a:ext cx="13925" cy="17810"/>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Freeform 42"/>
            <p:cNvSpPr>
              <a:spLocks/>
            </p:cNvSpPr>
            <p:nvPr/>
          </p:nvSpPr>
          <p:spPr bwMode="gray">
            <a:xfrm>
              <a:off x="3567510" y="2643096"/>
              <a:ext cx="235331" cy="496132"/>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Freeform 43"/>
            <p:cNvSpPr>
              <a:spLocks/>
            </p:cNvSpPr>
            <p:nvPr/>
          </p:nvSpPr>
          <p:spPr bwMode="gray">
            <a:xfrm>
              <a:off x="3127484" y="3608644"/>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44"/>
            <p:cNvSpPr>
              <a:spLocks noEditPoints="1"/>
            </p:cNvSpPr>
            <p:nvPr/>
          </p:nvSpPr>
          <p:spPr bwMode="gray">
            <a:xfrm>
              <a:off x="3474213" y="3150676"/>
              <a:ext cx="165706" cy="202269"/>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45"/>
            <p:cNvSpPr>
              <a:spLocks/>
            </p:cNvSpPr>
            <p:nvPr/>
          </p:nvSpPr>
          <p:spPr bwMode="gray">
            <a:xfrm>
              <a:off x="3057860" y="3771477"/>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0" name="Freeform 46"/>
            <p:cNvSpPr>
              <a:spLocks/>
            </p:cNvSpPr>
            <p:nvPr/>
          </p:nvSpPr>
          <p:spPr bwMode="gray">
            <a:xfrm>
              <a:off x="3474213" y="3341497"/>
              <a:ext cx="82157" cy="45796"/>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1" name="Freeform 47"/>
            <p:cNvSpPr>
              <a:spLocks/>
            </p:cNvSpPr>
            <p:nvPr/>
          </p:nvSpPr>
          <p:spPr bwMode="gray">
            <a:xfrm>
              <a:off x="2101222" y="441263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Freeform 48"/>
            <p:cNvSpPr>
              <a:spLocks/>
            </p:cNvSpPr>
            <p:nvPr/>
          </p:nvSpPr>
          <p:spPr bwMode="gray">
            <a:xfrm>
              <a:off x="3745747" y="2599843"/>
              <a:ext cx="192163" cy="399449"/>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3" name="Freeform 49"/>
            <p:cNvSpPr>
              <a:spLocks/>
            </p:cNvSpPr>
            <p:nvPr/>
          </p:nvSpPr>
          <p:spPr bwMode="gray">
            <a:xfrm>
              <a:off x="3538269" y="3312237"/>
              <a:ext cx="143427" cy="63607"/>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Freeform 50"/>
            <p:cNvSpPr>
              <a:spLocks/>
            </p:cNvSpPr>
            <p:nvPr/>
          </p:nvSpPr>
          <p:spPr bwMode="gray">
            <a:xfrm>
              <a:off x="3589790" y="3257537"/>
              <a:ext cx="119754" cy="64879"/>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51"/>
            <p:cNvSpPr>
              <a:spLocks/>
            </p:cNvSpPr>
            <p:nvPr/>
          </p:nvSpPr>
          <p:spPr bwMode="gray">
            <a:xfrm>
              <a:off x="3056467" y="3779109"/>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Freeform 52"/>
            <p:cNvSpPr>
              <a:spLocks noEditPoints="1"/>
            </p:cNvSpPr>
            <p:nvPr/>
          </p:nvSpPr>
          <p:spPr bwMode="gray">
            <a:xfrm>
              <a:off x="3623209" y="3157038"/>
              <a:ext cx="182416" cy="152656"/>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7" name="Freeform 53"/>
            <p:cNvSpPr>
              <a:spLocks/>
            </p:cNvSpPr>
            <p:nvPr/>
          </p:nvSpPr>
          <p:spPr bwMode="gray">
            <a:xfrm>
              <a:off x="3062037" y="4015726"/>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Freeform 54"/>
            <p:cNvSpPr>
              <a:spLocks/>
            </p:cNvSpPr>
            <p:nvPr/>
          </p:nvSpPr>
          <p:spPr bwMode="gray">
            <a:xfrm>
              <a:off x="3049505" y="3964842"/>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9" name="Freeform 55"/>
            <p:cNvSpPr>
              <a:spLocks/>
            </p:cNvSpPr>
            <p:nvPr/>
          </p:nvSpPr>
          <p:spPr bwMode="gray">
            <a:xfrm>
              <a:off x="3747141" y="3056540"/>
              <a:ext cx="132287" cy="72512"/>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Freeform 56"/>
            <p:cNvSpPr>
              <a:spLocks/>
            </p:cNvSpPr>
            <p:nvPr/>
          </p:nvSpPr>
          <p:spPr bwMode="gray">
            <a:xfrm>
              <a:off x="3791701" y="3010742"/>
              <a:ext cx="87727" cy="62335"/>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1" name="Freeform 57"/>
            <p:cNvSpPr>
              <a:spLocks/>
            </p:cNvSpPr>
            <p:nvPr/>
          </p:nvSpPr>
          <p:spPr bwMode="gray">
            <a:xfrm>
              <a:off x="3609285" y="3363123"/>
              <a:ext cx="58484" cy="3562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Freeform 58"/>
            <p:cNvSpPr>
              <a:spLocks/>
            </p:cNvSpPr>
            <p:nvPr/>
          </p:nvSpPr>
          <p:spPr bwMode="gray">
            <a:xfrm>
              <a:off x="3064822" y="4036081"/>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3" name="Freeform 59"/>
            <p:cNvSpPr>
              <a:spLocks noEditPoints="1"/>
            </p:cNvSpPr>
            <p:nvPr/>
          </p:nvSpPr>
          <p:spPr bwMode="gray">
            <a:xfrm>
              <a:off x="3485353" y="3358035"/>
              <a:ext cx="218621" cy="232800"/>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4" name="Freeform 60"/>
            <p:cNvSpPr>
              <a:spLocks/>
            </p:cNvSpPr>
            <p:nvPr/>
          </p:nvSpPr>
          <p:spPr bwMode="gray">
            <a:xfrm>
              <a:off x="3747141" y="3107424"/>
              <a:ext cx="107222" cy="73784"/>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Freeform 61"/>
            <p:cNvSpPr>
              <a:spLocks/>
            </p:cNvSpPr>
            <p:nvPr/>
          </p:nvSpPr>
          <p:spPr bwMode="gray">
            <a:xfrm>
              <a:off x="3209642" y="3583201"/>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Freeform 62"/>
            <p:cNvSpPr>
              <a:spLocks/>
            </p:cNvSpPr>
            <p:nvPr/>
          </p:nvSpPr>
          <p:spPr bwMode="gray">
            <a:xfrm>
              <a:off x="3674732" y="3294428"/>
              <a:ext cx="103044" cy="44525"/>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7" name="Freeform 63"/>
            <p:cNvSpPr>
              <a:spLocks/>
            </p:cNvSpPr>
            <p:nvPr/>
          </p:nvSpPr>
          <p:spPr bwMode="gray">
            <a:xfrm>
              <a:off x="2227938" y="457546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Freeform 64"/>
            <p:cNvSpPr>
              <a:spLocks/>
            </p:cNvSpPr>
            <p:nvPr/>
          </p:nvSpPr>
          <p:spPr bwMode="gray">
            <a:xfrm>
              <a:off x="3662199" y="3321143"/>
              <a:ext cx="123932" cy="69967"/>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9" name="Freeform 65"/>
            <p:cNvSpPr>
              <a:spLocks noEditPoints="1"/>
            </p:cNvSpPr>
            <p:nvPr/>
          </p:nvSpPr>
          <p:spPr bwMode="gray">
            <a:xfrm>
              <a:off x="3613463" y="3372028"/>
              <a:ext cx="107222" cy="97955"/>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0" name="Freeform 66"/>
            <p:cNvSpPr>
              <a:spLocks noEditPoints="1"/>
            </p:cNvSpPr>
            <p:nvPr/>
          </p:nvSpPr>
          <p:spPr bwMode="gray">
            <a:xfrm>
              <a:off x="2021849" y="416202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Freeform 67"/>
            <p:cNvSpPr>
              <a:spLocks/>
            </p:cNvSpPr>
            <p:nvPr/>
          </p:nvSpPr>
          <p:spPr bwMode="gray">
            <a:xfrm>
              <a:off x="3094065" y="4036081"/>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Freeform 68"/>
            <p:cNvSpPr>
              <a:spLocks/>
            </p:cNvSpPr>
            <p:nvPr/>
          </p:nvSpPr>
          <p:spPr bwMode="gray">
            <a:xfrm>
              <a:off x="3145587" y="3818545"/>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3" name="Freeform 69"/>
            <p:cNvSpPr>
              <a:spLocks/>
            </p:cNvSpPr>
            <p:nvPr/>
          </p:nvSpPr>
          <p:spPr bwMode="gray">
            <a:xfrm>
              <a:off x="3653844" y="3402559"/>
              <a:ext cx="69624" cy="62335"/>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Freeform 70"/>
            <p:cNvSpPr>
              <a:spLocks/>
            </p:cNvSpPr>
            <p:nvPr/>
          </p:nvSpPr>
          <p:spPr bwMode="gray">
            <a:xfrm>
              <a:off x="3788916" y="3115057"/>
              <a:ext cx="172668" cy="13739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Freeform 71"/>
            <p:cNvSpPr>
              <a:spLocks/>
            </p:cNvSpPr>
            <p:nvPr/>
          </p:nvSpPr>
          <p:spPr bwMode="gray">
            <a:xfrm>
              <a:off x="3126093" y="4081876"/>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Freeform 72"/>
            <p:cNvSpPr>
              <a:spLocks/>
            </p:cNvSpPr>
            <p:nvPr/>
          </p:nvSpPr>
          <p:spPr bwMode="gray">
            <a:xfrm>
              <a:off x="3503456" y="3579385"/>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7" name="Freeform 73"/>
            <p:cNvSpPr>
              <a:spLocks/>
            </p:cNvSpPr>
            <p:nvPr/>
          </p:nvSpPr>
          <p:spPr bwMode="gray">
            <a:xfrm>
              <a:off x="3702582" y="3443268"/>
              <a:ext cx="34813" cy="38164"/>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Freeform 74"/>
            <p:cNvSpPr>
              <a:spLocks/>
            </p:cNvSpPr>
            <p:nvPr/>
          </p:nvSpPr>
          <p:spPr bwMode="gray">
            <a:xfrm>
              <a:off x="3736002" y="3328776"/>
              <a:ext cx="171276" cy="109403"/>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9" name="Freeform 75"/>
            <p:cNvSpPr>
              <a:spLocks/>
            </p:cNvSpPr>
            <p:nvPr/>
          </p:nvSpPr>
          <p:spPr bwMode="gray">
            <a:xfrm>
              <a:off x="3709543" y="3380933"/>
              <a:ext cx="73803" cy="99226"/>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Freeform 76"/>
            <p:cNvSpPr>
              <a:spLocks/>
            </p:cNvSpPr>
            <p:nvPr/>
          </p:nvSpPr>
          <p:spPr bwMode="gray">
            <a:xfrm>
              <a:off x="3768029" y="3221916"/>
              <a:ext cx="328627" cy="198452"/>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77"/>
            <p:cNvSpPr>
              <a:spLocks/>
            </p:cNvSpPr>
            <p:nvPr/>
          </p:nvSpPr>
          <p:spPr bwMode="gray">
            <a:xfrm>
              <a:off x="3158119" y="4107319"/>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2" name="Freeform 78"/>
            <p:cNvSpPr>
              <a:spLocks noEditPoints="1"/>
            </p:cNvSpPr>
            <p:nvPr/>
          </p:nvSpPr>
          <p:spPr bwMode="gray">
            <a:xfrm>
              <a:off x="3727647" y="2134244"/>
              <a:ext cx="2910298" cy="1361179"/>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3" name="Freeform 79"/>
            <p:cNvSpPr>
              <a:spLocks/>
            </p:cNvSpPr>
            <p:nvPr/>
          </p:nvSpPr>
          <p:spPr bwMode="gray">
            <a:xfrm>
              <a:off x="3265341" y="3994100"/>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4" name="Freeform 80"/>
            <p:cNvSpPr>
              <a:spLocks/>
            </p:cNvSpPr>
            <p:nvPr/>
          </p:nvSpPr>
          <p:spPr bwMode="gray">
            <a:xfrm>
              <a:off x="3717897" y="3464893"/>
              <a:ext cx="32028" cy="66151"/>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5" name="Freeform 81"/>
            <p:cNvSpPr>
              <a:spLocks/>
            </p:cNvSpPr>
            <p:nvPr/>
          </p:nvSpPr>
          <p:spPr bwMode="gray">
            <a:xfrm>
              <a:off x="3740177" y="3469981"/>
              <a:ext cx="44559" cy="3562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6" name="Freeform 82"/>
            <p:cNvSpPr>
              <a:spLocks/>
            </p:cNvSpPr>
            <p:nvPr/>
          </p:nvSpPr>
          <p:spPr bwMode="gray">
            <a:xfrm>
              <a:off x="3211033" y="4070428"/>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7" name="Freeform 83"/>
            <p:cNvSpPr>
              <a:spLocks/>
            </p:cNvSpPr>
            <p:nvPr/>
          </p:nvSpPr>
          <p:spPr bwMode="gray">
            <a:xfrm>
              <a:off x="3772206" y="3425458"/>
              <a:ext cx="112792" cy="71239"/>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8" name="Freeform 84"/>
            <p:cNvSpPr>
              <a:spLocks/>
            </p:cNvSpPr>
            <p:nvPr/>
          </p:nvSpPr>
          <p:spPr bwMode="gray">
            <a:xfrm>
              <a:off x="3851578" y="3324959"/>
              <a:ext cx="62663" cy="72512"/>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Freeform 85"/>
            <p:cNvSpPr>
              <a:spLocks/>
            </p:cNvSpPr>
            <p:nvPr/>
          </p:nvSpPr>
          <p:spPr bwMode="gray">
            <a:xfrm>
              <a:off x="2304525" y="477646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86"/>
            <p:cNvSpPr>
              <a:spLocks/>
            </p:cNvSpPr>
            <p:nvPr/>
          </p:nvSpPr>
          <p:spPr bwMode="gray">
            <a:xfrm>
              <a:off x="3369777" y="3846532"/>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1" name="Freeform 87"/>
            <p:cNvSpPr>
              <a:spLocks noEditPoints="1"/>
            </p:cNvSpPr>
            <p:nvPr/>
          </p:nvSpPr>
          <p:spPr bwMode="gray">
            <a:xfrm>
              <a:off x="3733217" y="3485247"/>
              <a:ext cx="118362" cy="142478"/>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2" name="Freeform 88"/>
            <p:cNvSpPr>
              <a:spLocks/>
            </p:cNvSpPr>
            <p:nvPr/>
          </p:nvSpPr>
          <p:spPr bwMode="gray">
            <a:xfrm>
              <a:off x="3536875" y="3663346"/>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3" name="Freeform 89"/>
            <p:cNvSpPr>
              <a:spLocks/>
            </p:cNvSpPr>
            <p:nvPr/>
          </p:nvSpPr>
          <p:spPr bwMode="gray">
            <a:xfrm>
              <a:off x="3308506" y="4061522"/>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4" name="Freeform 90"/>
            <p:cNvSpPr>
              <a:spLocks/>
            </p:cNvSpPr>
            <p:nvPr/>
          </p:nvSpPr>
          <p:spPr bwMode="gray">
            <a:xfrm>
              <a:off x="3365600" y="4062794"/>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Freeform 91"/>
            <p:cNvSpPr>
              <a:spLocks/>
            </p:cNvSpPr>
            <p:nvPr/>
          </p:nvSpPr>
          <p:spPr bwMode="gray">
            <a:xfrm>
              <a:off x="3382310" y="4041170"/>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6" name="Freeform 92"/>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7" name="Freeform 93"/>
            <p:cNvSpPr>
              <a:spLocks/>
            </p:cNvSpPr>
            <p:nvPr/>
          </p:nvSpPr>
          <p:spPr bwMode="gray">
            <a:xfrm>
              <a:off x="3415729" y="4016999"/>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8" name="Freeform 94"/>
            <p:cNvSpPr>
              <a:spLocks/>
            </p:cNvSpPr>
            <p:nvPr/>
          </p:nvSpPr>
          <p:spPr bwMode="gray">
            <a:xfrm>
              <a:off x="3951837" y="3612460"/>
              <a:ext cx="41775" cy="22898"/>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9" name="Freeform 95"/>
            <p:cNvSpPr>
              <a:spLocks/>
            </p:cNvSpPr>
            <p:nvPr/>
          </p:nvSpPr>
          <p:spPr bwMode="gray">
            <a:xfrm>
              <a:off x="3816766" y="3695149"/>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0" name="Freeform 96"/>
            <p:cNvSpPr>
              <a:spLocks/>
            </p:cNvSpPr>
            <p:nvPr/>
          </p:nvSpPr>
          <p:spPr bwMode="gray">
            <a:xfrm>
              <a:off x="3612070" y="3847805"/>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Freeform 97"/>
            <p:cNvSpPr>
              <a:spLocks/>
            </p:cNvSpPr>
            <p:nvPr/>
          </p:nvSpPr>
          <p:spPr bwMode="gray">
            <a:xfrm>
              <a:off x="3522951" y="4028447"/>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Freeform 98"/>
            <p:cNvSpPr>
              <a:spLocks/>
            </p:cNvSpPr>
            <p:nvPr/>
          </p:nvSpPr>
          <p:spPr bwMode="gray">
            <a:xfrm>
              <a:off x="4096655" y="3440723"/>
              <a:ext cx="122539" cy="57246"/>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Freeform 99"/>
            <p:cNvSpPr>
              <a:spLocks/>
            </p:cNvSpPr>
            <p:nvPr/>
          </p:nvSpPr>
          <p:spPr bwMode="gray">
            <a:xfrm>
              <a:off x="4003359" y="3635359"/>
              <a:ext cx="27850" cy="330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4" name="Freeform 100"/>
            <p:cNvSpPr>
              <a:spLocks/>
            </p:cNvSpPr>
            <p:nvPr/>
          </p:nvSpPr>
          <p:spPr bwMode="gray">
            <a:xfrm>
              <a:off x="4013106" y="3578114"/>
              <a:ext cx="128109" cy="104314"/>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Freeform 101"/>
            <p:cNvSpPr>
              <a:spLocks/>
            </p:cNvSpPr>
            <p:nvPr/>
          </p:nvSpPr>
          <p:spPr bwMode="gray">
            <a:xfrm>
              <a:off x="3988041" y="3664617"/>
              <a:ext cx="27850" cy="71239"/>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6" name="Freeform 102"/>
            <p:cNvSpPr>
              <a:spLocks/>
            </p:cNvSpPr>
            <p:nvPr/>
          </p:nvSpPr>
          <p:spPr bwMode="gray">
            <a:xfrm>
              <a:off x="3527127" y="4210361"/>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Freeform 103"/>
            <p:cNvSpPr>
              <a:spLocks noEditPoints="1"/>
            </p:cNvSpPr>
            <p:nvPr/>
          </p:nvSpPr>
          <p:spPr bwMode="gray">
            <a:xfrm>
              <a:off x="1992608" y="4546204"/>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8" name="Freeform 104"/>
            <p:cNvSpPr>
              <a:spLocks/>
            </p:cNvSpPr>
            <p:nvPr/>
          </p:nvSpPr>
          <p:spPr bwMode="gray">
            <a:xfrm>
              <a:off x="3628779" y="4064067"/>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9" name="Freeform 105"/>
            <p:cNvSpPr>
              <a:spLocks/>
            </p:cNvSpPr>
            <p:nvPr/>
          </p:nvSpPr>
          <p:spPr bwMode="gray">
            <a:xfrm>
              <a:off x="4003359" y="3662074"/>
              <a:ext cx="79372" cy="80144"/>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0" name="Freeform 106"/>
            <p:cNvSpPr>
              <a:spLocks noEditPoints="1"/>
            </p:cNvSpPr>
            <p:nvPr/>
          </p:nvSpPr>
          <p:spPr bwMode="gray">
            <a:xfrm>
              <a:off x="2028813" y="4622531"/>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1" name="Freeform 107"/>
            <p:cNvSpPr>
              <a:spLocks/>
            </p:cNvSpPr>
            <p:nvPr/>
          </p:nvSpPr>
          <p:spPr bwMode="gray">
            <a:xfrm>
              <a:off x="4157925" y="3492880"/>
              <a:ext cx="58484" cy="53430"/>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2" name="Freeform 108"/>
            <p:cNvSpPr>
              <a:spLocks/>
            </p:cNvSpPr>
            <p:nvPr/>
          </p:nvSpPr>
          <p:spPr bwMode="gray">
            <a:xfrm>
              <a:off x="3570295" y="4188737"/>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3" name="Freeform 109"/>
            <p:cNvSpPr>
              <a:spLocks noEditPoints="1"/>
            </p:cNvSpPr>
            <p:nvPr/>
          </p:nvSpPr>
          <p:spPr bwMode="gray">
            <a:xfrm>
              <a:off x="4180206" y="3480159"/>
              <a:ext cx="104437" cy="77601"/>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4" name="Freeform 110"/>
            <p:cNvSpPr>
              <a:spLocks/>
            </p:cNvSpPr>
            <p:nvPr/>
          </p:nvSpPr>
          <p:spPr bwMode="gray">
            <a:xfrm>
              <a:off x="4213625" y="3135411"/>
              <a:ext cx="743588" cy="372734"/>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5" name="Freeform 111"/>
            <p:cNvSpPr>
              <a:spLocks/>
            </p:cNvSpPr>
            <p:nvPr/>
          </p:nvSpPr>
          <p:spPr bwMode="gray">
            <a:xfrm>
              <a:off x="4071590" y="3578114"/>
              <a:ext cx="178238" cy="166649"/>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6" name="Freeform 112"/>
            <p:cNvSpPr>
              <a:spLocks/>
            </p:cNvSpPr>
            <p:nvPr/>
          </p:nvSpPr>
          <p:spPr bwMode="gray">
            <a:xfrm>
              <a:off x="3762460" y="3874519"/>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7" name="Freeform 113"/>
            <p:cNvSpPr>
              <a:spLocks/>
            </p:cNvSpPr>
            <p:nvPr/>
          </p:nvSpPr>
          <p:spPr bwMode="gray">
            <a:xfrm>
              <a:off x="3999181" y="3683699"/>
              <a:ext cx="387111" cy="31040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8" name="Freeform 114"/>
            <p:cNvSpPr>
              <a:spLocks/>
            </p:cNvSpPr>
            <p:nvPr/>
          </p:nvSpPr>
          <p:spPr bwMode="gray">
            <a:xfrm>
              <a:off x="3588398" y="4159476"/>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9" name="Freeform 115"/>
            <p:cNvSpPr>
              <a:spLocks/>
            </p:cNvSpPr>
            <p:nvPr/>
          </p:nvSpPr>
          <p:spPr bwMode="gray">
            <a:xfrm>
              <a:off x="4169066" y="3527228"/>
              <a:ext cx="349514" cy="29131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0" name="Freeform 116"/>
            <p:cNvSpPr>
              <a:spLocks/>
            </p:cNvSpPr>
            <p:nvPr/>
          </p:nvSpPr>
          <p:spPr bwMode="gray">
            <a:xfrm>
              <a:off x="4213625" y="3726951"/>
              <a:ext cx="34813" cy="27987"/>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1" name="Freeform 117"/>
            <p:cNvSpPr>
              <a:spLocks/>
            </p:cNvSpPr>
            <p:nvPr/>
          </p:nvSpPr>
          <p:spPr bwMode="gray">
            <a:xfrm>
              <a:off x="4029816" y="3943214"/>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2" name="Freeform 118"/>
            <p:cNvSpPr>
              <a:spLocks/>
            </p:cNvSpPr>
            <p:nvPr/>
          </p:nvSpPr>
          <p:spPr bwMode="gray">
            <a:xfrm>
              <a:off x="4323631" y="3461077"/>
              <a:ext cx="257610" cy="160289"/>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3" name="Freeform 119"/>
            <p:cNvSpPr>
              <a:spLocks noEditPoints="1"/>
            </p:cNvSpPr>
            <p:nvPr/>
          </p:nvSpPr>
          <p:spPr bwMode="gray">
            <a:xfrm>
              <a:off x="3581435" y="4323583"/>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4" name="Freeform 120"/>
            <p:cNvSpPr>
              <a:spLocks/>
            </p:cNvSpPr>
            <p:nvPr/>
          </p:nvSpPr>
          <p:spPr bwMode="gray">
            <a:xfrm>
              <a:off x="4387686" y="3394926"/>
              <a:ext cx="311917" cy="190819"/>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5" name="Freeform 121"/>
            <p:cNvSpPr>
              <a:spLocks/>
            </p:cNvSpPr>
            <p:nvPr/>
          </p:nvSpPr>
          <p:spPr bwMode="gray">
            <a:xfrm>
              <a:off x="3967155" y="3999187"/>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6" name="Freeform 122"/>
            <p:cNvSpPr>
              <a:spLocks/>
            </p:cNvSpPr>
            <p:nvPr/>
          </p:nvSpPr>
          <p:spPr bwMode="gray">
            <a:xfrm>
              <a:off x="3904492" y="4181102"/>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7" name="Freeform 123"/>
            <p:cNvSpPr>
              <a:spLocks/>
            </p:cNvSpPr>
            <p:nvPr/>
          </p:nvSpPr>
          <p:spPr bwMode="gray">
            <a:xfrm>
              <a:off x="3890567" y="4267607"/>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8" name="Freeform 124"/>
            <p:cNvSpPr>
              <a:spLocks/>
            </p:cNvSpPr>
            <p:nvPr/>
          </p:nvSpPr>
          <p:spPr bwMode="gray">
            <a:xfrm>
              <a:off x="3891960" y="4289235"/>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9" name="Freeform 125"/>
            <p:cNvSpPr>
              <a:spLocks/>
            </p:cNvSpPr>
            <p:nvPr/>
          </p:nvSpPr>
          <p:spPr bwMode="gray">
            <a:xfrm>
              <a:off x="4143999" y="3926678"/>
              <a:ext cx="187986" cy="109403"/>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0" name="Freeform 126"/>
            <p:cNvSpPr>
              <a:spLocks/>
            </p:cNvSpPr>
            <p:nvPr/>
          </p:nvSpPr>
          <p:spPr bwMode="gray">
            <a:xfrm>
              <a:off x="4291604" y="3799463"/>
              <a:ext cx="13925" cy="30532"/>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1" name="Freeform 127"/>
            <p:cNvSpPr>
              <a:spLocks/>
            </p:cNvSpPr>
            <p:nvPr/>
          </p:nvSpPr>
          <p:spPr bwMode="gray">
            <a:xfrm>
              <a:off x="4127290" y="4034807"/>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2" name="Freeform 128"/>
            <p:cNvSpPr>
              <a:spLocks/>
            </p:cNvSpPr>
            <p:nvPr/>
          </p:nvSpPr>
          <p:spPr bwMode="gray">
            <a:xfrm>
              <a:off x="4297174" y="3800735"/>
              <a:ext cx="96082" cy="71239"/>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3" name="Freeform 129"/>
            <p:cNvSpPr>
              <a:spLocks/>
            </p:cNvSpPr>
            <p:nvPr/>
          </p:nvSpPr>
          <p:spPr bwMode="gray">
            <a:xfrm>
              <a:off x="3972725" y="4172197"/>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4" name="Freeform 130"/>
            <p:cNvSpPr>
              <a:spLocks/>
            </p:cNvSpPr>
            <p:nvPr/>
          </p:nvSpPr>
          <p:spPr bwMode="gray">
            <a:xfrm>
              <a:off x="3766636" y="4385917"/>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5" name="Freeform 131"/>
            <p:cNvSpPr>
              <a:spLocks/>
            </p:cNvSpPr>
            <p:nvPr/>
          </p:nvSpPr>
          <p:spPr bwMode="gray">
            <a:xfrm>
              <a:off x="3581435" y="4534755"/>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6" name="Freeform 132"/>
            <p:cNvSpPr>
              <a:spLocks/>
            </p:cNvSpPr>
            <p:nvPr/>
          </p:nvSpPr>
          <p:spPr bwMode="gray">
            <a:xfrm>
              <a:off x="3900315" y="4266336"/>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7" name="Freeform 133"/>
            <p:cNvSpPr>
              <a:spLocks noEditPoints="1"/>
            </p:cNvSpPr>
            <p:nvPr/>
          </p:nvSpPr>
          <p:spPr bwMode="gray">
            <a:xfrm>
              <a:off x="4309706" y="3795647"/>
              <a:ext cx="146212" cy="171738"/>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8" name="Freeform 134"/>
            <p:cNvSpPr>
              <a:spLocks/>
            </p:cNvSpPr>
            <p:nvPr/>
          </p:nvSpPr>
          <p:spPr bwMode="gray">
            <a:xfrm>
              <a:off x="4465665" y="3556486"/>
              <a:ext cx="260395" cy="180642"/>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9" name="Freeform 135"/>
            <p:cNvSpPr>
              <a:spLocks/>
            </p:cNvSpPr>
            <p:nvPr/>
          </p:nvSpPr>
          <p:spPr bwMode="gray">
            <a:xfrm>
              <a:off x="4113365" y="4047528"/>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Freeform 136"/>
            <p:cNvSpPr>
              <a:spLocks/>
            </p:cNvSpPr>
            <p:nvPr/>
          </p:nvSpPr>
          <p:spPr bwMode="gray">
            <a:xfrm>
              <a:off x="4595167" y="3497968"/>
              <a:ext cx="136463" cy="94137"/>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Freeform 137"/>
            <p:cNvSpPr>
              <a:spLocks/>
            </p:cNvSpPr>
            <p:nvPr/>
          </p:nvSpPr>
          <p:spPr bwMode="gray">
            <a:xfrm>
              <a:off x="4628586" y="3450900"/>
              <a:ext cx="199126" cy="8777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Freeform 138"/>
            <p:cNvSpPr>
              <a:spLocks/>
            </p:cNvSpPr>
            <p:nvPr/>
          </p:nvSpPr>
          <p:spPr bwMode="gray">
            <a:xfrm>
              <a:off x="3727647" y="4548748"/>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Freeform 139"/>
            <p:cNvSpPr>
              <a:spLocks/>
            </p:cNvSpPr>
            <p:nvPr/>
          </p:nvSpPr>
          <p:spPr bwMode="gray">
            <a:xfrm>
              <a:off x="3826513" y="4511857"/>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4" name="Freeform 140"/>
            <p:cNvSpPr>
              <a:spLocks/>
            </p:cNvSpPr>
            <p:nvPr/>
          </p:nvSpPr>
          <p:spPr bwMode="gray">
            <a:xfrm>
              <a:off x="4474020" y="3585746"/>
              <a:ext cx="304955" cy="25569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5" name="Freeform 141"/>
            <p:cNvSpPr>
              <a:spLocks/>
            </p:cNvSpPr>
            <p:nvPr/>
          </p:nvSpPr>
          <p:spPr bwMode="gray">
            <a:xfrm>
              <a:off x="3962977" y="4408815"/>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6" name="Freeform 142"/>
            <p:cNvSpPr>
              <a:spLocks noEditPoints="1"/>
            </p:cNvSpPr>
            <p:nvPr/>
          </p:nvSpPr>
          <p:spPr bwMode="gray">
            <a:xfrm>
              <a:off x="3628779" y="4626349"/>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7" name="Freeform 143"/>
            <p:cNvSpPr>
              <a:spLocks/>
            </p:cNvSpPr>
            <p:nvPr/>
          </p:nvSpPr>
          <p:spPr bwMode="gray">
            <a:xfrm>
              <a:off x="3918418" y="4422808"/>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Freeform 144"/>
            <p:cNvSpPr>
              <a:spLocks/>
            </p:cNvSpPr>
            <p:nvPr/>
          </p:nvSpPr>
          <p:spPr bwMode="gray">
            <a:xfrm>
              <a:off x="3859934" y="4747200"/>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Freeform 145"/>
            <p:cNvSpPr>
              <a:spLocks/>
            </p:cNvSpPr>
            <p:nvPr/>
          </p:nvSpPr>
          <p:spPr bwMode="gray">
            <a:xfrm>
              <a:off x="3926773" y="4692500"/>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Freeform 147"/>
            <p:cNvSpPr>
              <a:spLocks/>
            </p:cNvSpPr>
            <p:nvPr/>
          </p:nvSpPr>
          <p:spPr bwMode="gray">
            <a:xfrm>
              <a:off x="4965567" y="3230821"/>
              <a:ext cx="580668" cy="25569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1" name="Freeform 149"/>
            <p:cNvSpPr>
              <a:spLocks/>
            </p:cNvSpPr>
            <p:nvPr/>
          </p:nvSpPr>
          <p:spPr bwMode="gray">
            <a:xfrm>
              <a:off x="4193925" y="4385916"/>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2" name="Freeform 150"/>
            <p:cNvSpPr>
              <a:spLocks/>
            </p:cNvSpPr>
            <p:nvPr/>
          </p:nvSpPr>
          <p:spPr bwMode="gray">
            <a:xfrm>
              <a:off x="4823534" y="3715504"/>
              <a:ext cx="148997" cy="77601"/>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3" name="Freeform 151"/>
            <p:cNvSpPr>
              <a:spLocks/>
            </p:cNvSpPr>
            <p:nvPr/>
          </p:nvSpPr>
          <p:spPr bwMode="gray">
            <a:xfrm>
              <a:off x="4982279" y="3757483"/>
              <a:ext cx="58484" cy="30532"/>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4" name="Freeform 152"/>
            <p:cNvSpPr>
              <a:spLocks/>
            </p:cNvSpPr>
            <p:nvPr/>
          </p:nvSpPr>
          <p:spPr bwMode="gray">
            <a:xfrm>
              <a:off x="4968352" y="3794375"/>
              <a:ext cx="83549" cy="96682"/>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5" name="Freeform 153"/>
            <p:cNvSpPr>
              <a:spLocks/>
            </p:cNvSpPr>
            <p:nvPr/>
          </p:nvSpPr>
          <p:spPr bwMode="gray">
            <a:xfrm>
              <a:off x="4816573" y="4085692"/>
              <a:ext cx="40383" cy="63607"/>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6" name="Freeform 154"/>
            <p:cNvSpPr>
              <a:spLocks/>
            </p:cNvSpPr>
            <p:nvPr/>
          </p:nvSpPr>
          <p:spPr bwMode="gray">
            <a:xfrm>
              <a:off x="5042155" y="3754939"/>
              <a:ext cx="162922" cy="32439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7" name="Freeform 155"/>
            <p:cNvSpPr>
              <a:spLocks/>
            </p:cNvSpPr>
            <p:nvPr/>
          </p:nvSpPr>
          <p:spPr bwMode="gray">
            <a:xfrm>
              <a:off x="5186975" y="3863070"/>
              <a:ext cx="135072" cy="152656"/>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8" name="Freeform 156"/>
            <p:cNvSpPr>
              <a:spLocks/>
            </p:cNvSpPr>
            <p:nvPr/>
          </p:nvSpPr>
          <p:spPr bwMode="gray">
            <a:xfrm>
              <a:off x="5138237" y="3901234"/>
              <a:ext cx="147603" cy="254426"/>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9" name="Freeform 157"/>
            <p:cNvSpPr>
              <a:spLocks/>
            </p:cNvSpPr>
            <p:nvPr/>
          </p:nvSpPr>
          <p:spPr bwMode="gray">
            <a:xfrm>
              <a:off x="5228749" y="4003006"/>
              <a:ext cx="94689" cy="72512"/>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0" name="Freeform 158"/>
            <p:cNvSpPr>
              <a:spLocks/>
            </p:cNvSpPr>
            <p:nvPr/>
          </p:nvSpPr>
          <p:spPr bwMode="gray">
            <a:xfrm>
              <a:off x="5221786" y="3849078"/>
              <a:ext cx="133678" cy="25824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1" name="Freeform 159"/>
            <p:cNvSpPr>
              <a:spLocks noEditPoints="1"/>
            </p:cNvSpPr>
            <p:nvPr/>
          </p:nvSpPr>
          <p:spPr bwMode="gray">
            <a:xfrm>
              <a:off x="5188366" y="4132762"/>
              <a:ext cx="343944" cy="103043"/>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2" name="Freeform 160"/>
            <p:cNvSpPr>
              <a:spLocks noEditPoints="1"/>
            </p:cNvSpPr>
            <p:nvPr/>
          </p:nvSpPr>
          <p:spPr bwMode="gray">
            <a:xfrm>
              <a:off x="5099247" y="4155661"/>
              <a:ext cx="832707" cy="265876"/>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3" name="Freeform 161"/>
            <p:cNvSpPr>
              <a:spLocks/>
            </p:cNvSpPr>
            <p:nvPr/>
          </p:nvSpPr>
          <p:spPr bwMode="gray">
            <a:xfrm>
              <a:off x="5625607" y="3455989"/>
              <a:ext cx="114184" cy="11830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4" name="Freeform 162"/>
            <p:cNvSpPr>
              <a:spLocks/>
            </p:cNvSpPr>
            <p:nvPr/>
          </p:nvSpPr>
          <p:spPr bwMode="gray">
            <a:xfrm>
              <a:off x="5659027" y="3552671"/>
              <a:ext cx="62663" cy="89049"/>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5" name="Freeform 163"/>
            <p:cNvSpPr>
              <a:spLocks/>
            </p:cNvSpPr>
            <p:nvPr/>
          </p:nvSpPr>
          <p:spPr bwMode="gray">
            <a:xfrm>
              <a:off x="5549019" y="3816002"/>
              <a:ext cx="33420" cy="58518"/>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164"/>
            <p:cNvSpPr>
              <a:spLocks/>
            </p:cNvSpPr>
            <p:nvPr/>
          </p:nvSpPr>
          <p:spPr bwMode="gray">
            <a:xfrm>
              <a:off x="5441799" y="4164565"/>
              <a:ext cx="20888" cy="16539"/>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65"/>
            <p:cNvSpPr>
              <a:spLocks noEditPoints="1"/>
            </p:cNvSpPr>
            <p:nvPr/>
          </p:nvSpPr>
          <p:spPr bwMode="gray">
            <a:xfrm>
              <a:off x="5720296" y="3398742"/>
              <a:ext cx="292423" cy="309129"/>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8" name="Freeform 166"/>
            <p:cNvSpPr>
              <a:spLocks noEditPoints="1"/>
            </p:cNvSpPr>
            <p:nvPr/>
          </p:nvSpPr>
          <p:spPr bwMode="gray">
            <a:xfrm>
              <a:off x="5497499" y="3934309"/>
              <a:ext cx="168491" cy="222624"/>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9" name="Freeform 167"/>
            <p:cNvSpPr>
              <a:spLocks noEditPoints="1"/>
            </p:cNvSpPr>
            <p:nvPr/>
          </p:nvSpPr>
          <p:spPr bwMode="gray">
            <a:xfrm>
              <a:off x="5423697" y="4430440"/>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0" name="Freeform 168"/>
            <p:cNvSpPr>
              <a:spLocks noEditPoints="1"/>
            </p:cNvSpPr>
            <p:nvPr/>
          </p:nvSpPr>
          <p:spPr bwMode="gray">
            <a:xfrm>
              <a:off x="5927777" y="4294323"/>
              <a:ext cx="208874" cy="133574"/>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1" name="Freeform 169"/>
            <p:cNvSpPr>
              <a:spLocks noEditPoints="1"/>
            </p:cNvSpPr>
            <p:nvPr/>
          </p:nvSpPr>
          <p:spPr bwMode="gray">
            <a:xfrm>
              <a:off x="6395652" y="4860421"/>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2" name="Freeform 170"/>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3" name="Freeform 6"/>
            <p:cNvSpPr>
              <a:spLocks/>
            </p:cNvSpPr>
            <p:nvPr/>
          </p:nvSpPr>
          <p:spPr bwMode="gray">
            <a:xfrm>
              <a:off x="6637945" y="2645642"/>
              <a:ext cx="182416" cy="184460"/>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4" name="Freeform 22"/>
            <p:cNvSpPr>
              <a:spLocks/>
            </p:cNvSpPr>
            <p:nvPr/>
          </p:nvSpPr>
          <p:spPr bwMode="gray">
            <a:xfrm>
              <a:off x="5339719" y="3907448"/>
              <a:ext cx="43156" cy="32881"/>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5" name="Freeform 13"/>
            <p:cNvSpPr>
              <a:spLocks/>
            </p:cNvSpPr>
            <p:nvPr/>
          </p:nvSpPr>
          <p:spPr bwMode="gray">
            <a:xfrm>
              <a:off x="4604913" y="3592104"/>
              <a:ext cx="533323" cy="523482"/>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6" name="Freeform 23"/>
            <p:cNvSpPr>
              <a:spLocks/>
            </p:cNvSpPr>
            <p:nvPr/>
          </p:nvSpPr>
          <p:spPr bwMode="gray">
            <a:xfrm>
              <a:off x="4707956" y="3192162"/>
              <a:ext cx="1106861" cy="712383"/>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210" name="Rectangle 209">
            <a:extLst>
              <a:ext uri="{FF2B5EF4-FFF2-40B4-BE49-F238E27FC236}">
                <a16:creationId xmlns:a16="http://schemas.microsoft.com/office/drawing/2014/main" id="{19976663-18BF-2F43-BD8B-71D43A575608}"/>
              </a:ext>
            </a:extLst>
          </p:cNvPr>
          <p:cNvSpPr/>
          <p:nvPr/>
        </p:nvSpPr>
        <p:spPr>
          <a:xfrm>
            <a:off x="1828800" y="2742215"/>
            <a:ext cx="2253822" cy="307777"/>
          </a:xfrm>
          <a:prstGeom prst="rect">
            <a:avLst/>
          </a:prstGeom>
        </p:spPr>
        <p:txBody>
          <a:bodyPr wrap="none" lIns="0" tIns="0" rIns="0" bIns="0">
            <a:spAutoFit/>
          </a:bodyPr>
          <a:lstStyle/>
          <a:p>
            <a:r>
              <a:rPr lang="en-US" sz="2000" b="1" cap="all">
                <a:solidFill>
                  <a:srgbClr val="FFFFFF"/>
                </a:solidFill>
                <a:latin typeface="Arial" panose="020B0604020202020204" pitchFamily="34" charset="0"/>
                <a:ea typeface="Roboto" panose="02000000000000000000" pitchFamily="2" charset="0"/>
                <a:cs typeface="Arial" panose="020B0604020202020204" pitchFamily="34" charset="0"/>
              </a:rPr>
              <a:t>Text Goes Here</a:t>
            </a:r>
          </a:p>
        </p:txBody>
      </p:sp>
      <p:sp>
        <p:nvSpPr>
          <p:cNvPr id="211" name="Rectangle 210">
            <a:extLst>
              <a:ext uri="{FF2B5EF4-FFF2-40B4-BE49-F238E27FC236}">
                <a16:creationId xmlns:a16="http://schemas.microsoft.com/office/drawing/2014/main" id="{E1B366C1-2BEE-0843-A828-BAFC8F7820A7}"/>
              </a:ext>
            </a:extLst>
          </p:cNvPr>
          <p:cNvSpPr/>
          <p:nvPr/>
        </p:nvSpPr>
        <p:spPr>
          <a:xfrm>
            <a:off x="1848577" y="3100826"/>
            <a:ext cx="2745547" cy="1206484"/>
          </a:xfrm>
          <a:prstGeom prst="rect">
            <a:avLst/>
          </a:prstGeom>
        </p:spPr>
        <p:txBody>
          <a:bodyPr wrap="square" lIns="0" tIns="0" rIns="0" bIns="0">
            <a:spAutoFit/>
          </a:bodyPr>
          <a:lstStyle/>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Dratat quat ad gui is molup tasioi</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natur acesto dolore noneta huild</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quasit. Sundah avel sequin foryip ais experipdo lorem ipsum.</a:t>
            </a:r>
          </a:p>
        </p:txBody>
      </p:sp>
      <p:sp>
        <p:nvSpPr>
          <p:cNvPr id="212" name="Rectangle 211">
            <a:extLst>
              <a:ext uri="{FF2B5EF4-FFF2-40B4-BE49-F238E27FC236}">
                <a16:creationId xmlns:a16="http://schemas.microsoft.com/office/drawing/2014/main" id="{113FE46C-48CE-B741-AD01-273C8AD6FDE4}"/>
              </a:ext>
            </a:extLst>
          </p:cNvPr>
          <p:cNvSpPr/>
          <p:nvPr/>
        </p:nvSpPr>
        <p:spPr>
          <a:xfrm>
            <a:off x="7381876" y="5112735"/>
            <a:ext cx="617157" cy="215444"/>
          </a:xfrm>
          <a:prstGeom prst="rect">
            <a:avLst/>
          </a:prstGeom>
        </p:spPr>
        <p:txBody>
          <a:bodyPr wrap="none" lIns="0" tIns="0" rIns="0" bIns="0">
            <a:spAutoFit/>
          </a:bodyPr>
          <a:lstStyle/>
          <a:p>
            <a:r>
              <a:rPr lang="en-US" sz="1400" b="1">
                <a:solidFill>
                  <a:schemeClr val="bg2"/>
                </a:solidFill>
                <a:latin typeface="Arial" panose="020B0604020202020204" pitchFamily="34" charset="0"/>
                <a:ea typeface="Roboto" panose="02000000000000000000" pitchFamily="2" charset="0"/>
                <a:cs typeface="Arial" panose="020B0604020202020204" pitchFamily="34" charset="0"/>
              </a:rPr>
              <a:t>Europe</a:t>
            </a:r>
          </a:p>
        </p:txBody>
      </p:sp>
      <p:sp>
        <p:nvSpPr>
          <p:cNvPr id="213" name="Rectangle 212">
            <a:extLst>
              <a:ext uri="{FF2B5EF4-FFF2-40B4-BE49-F238E27FC236}">
                <a16:creationId xmlns:a16="http://schemas.microsoft.com/office/drawing/2014/main" id="{79067EF4-DB2A-2641-91B6-2F2D59CB752C}"/>
              </a:ext>
            </a:extLst>
          </p:cNvPr>
          <p:cNvSpPr/>
          <p:nvPr/>
        </p:nvSpPr>
        <p:spPr>
          <a:xfrm>
            <a:off x="7378700" y="5405774"/>
            <a:ext cx="2745547" cy="553998"/>
          </a:xfrm>
          <a:prstGeom prst="rect">
            <a:avLst/>
          </a:prstGeom>
        </p:spPr>
        <p:txBody>
          <a:bodyPr wrap="square" lIns="0" tIns="0" rIns="0" bIns="0">
            <a:spAutoFit/>
          </a:bodyPr>
          <a:lstStyle/>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Dratat quat ad gui is molup tasioi natur acesto</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natur acesto dolore noneta huilda vel seq uodi.</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Sundah quasitavel sequin.</a:t>
            </a:r>
          </a:p>
        </p:txBody>
      </p:sp>
      <p:grpSp>
        <p:nvGrpSpPr>
          <p:cNvPr id="214" name="Group 342"/>
          <p:cNvGrpSpPr>
            <a:grpSpLocks noChangeAspect="1"/>
          </p:cNvGrpSpPr>
          <p:nvPr/>
        </p:nvGrpSpPr>
        <p:grpSpPr bwMode="auto">
          <a:xfrm>
            <a:off x="4921157" y="1119109"/>
            <a:ext cx="4266424" cy="3924000"/>
            <a:chOff x="921" y="597"/>
            <a:chExt cx="3414" cy="3140"/>
          </a:xfrm>
          <a:solidFill>
            <a:schemeClr val="bg2"/>
          </a:solidFill>
        </p:grpSpPr>
        <p:sp>
          <p:nvSpPr>
            <p:cNvPr id="215" name="Freeform 3"/>
            <p:cNvSpPr>
              <a:spLocks/>
            </p:cNvSpPr>
            <p:nvPr/>
          </p:nvSpPr>
          <p:spPr bwMode="auto">
            <a:xfrm>
              <a:off x="2823" y="2799"/>
              <a:ext cx="200" cy="283"/>
            </a:xfrm>
            <a:custGeom>
              <a:avLst/>
              <a:gdLst>
                <a:gd name="T0" fmla="*/ 156 w 200"/>
                <a:gd name="T1" fmla="*/ 240 h 283"/>
                <a:gd name="T2" fmla="*/ 179 w 200"/>
                <a:gd name="T3" fmla="*/ 239 h 283"/>
                <a:gd name="T4" fmla="*/ 181 w 200"/>
                <a:gd name="T5" fmla="*/ 221 h 283"/>
                <a:gd name="T6" fmla="*/ 183 w 200"/>
                <a:gd name="T7" fmla="*/ 202 h 283"/>
                <a:gd name="T8" fmla="*/ 200 w 200"/>
                <a:gd name="T9" fmla="*/ 185 h 283"/>
                <a:gd name="T10" fmla="*/ 188 w 200"/>
                <a:gd name="T11" fmla="*/ 167 h 283"/>
                <a:gd name="T12" fmla="*/ 167 w 200"/>
                <a:gd name="T13" fmla="*/ 142 h 283"/>
                <a:gd name="T14" fmla="*/ 175 w 200"/>
                <a:gd name="T15" fmla="*/ 117 h 283"/>
                <a:gd name="T16" fmla="*/ 171 w 200"/>
                <a:gd name="T17" fmla="*/ 108 h 283"/>
                <a:gd name="T18" fmla="*/ 171 w 200"/>
                <a:gd name="T19" fmla="*/ 93 h 283"/>
                <a:gd name="T20" fmla="*/ 171 w 200"/>
                <a:gd name="T21" fmla="*/ 89 h 283"/>
                <a:gd name="T22" fmla="*/ 154 w 200"/>
                <a:gd name="T23" fmla="*/ 100 h 283"/>
                <a:gd name="T24" fmla="*/ 144 w 200"/>
                <a:gd name="T25" fmla="*/ 91 h 283"/>
                <a:gd name="T26" fmla="*/ 119 w 200"/>
                <a:gd name="T27" fmla="*/ 85 h 283"/>
                <a:gd name="T28" fmla="*/ 123 w 200"/>
                <a:gd name="T29" fmla="*/ 77 h 283"/>
                <a:gd name="T30" fmla="*/ 117 w 200"/>
                <a:gd name="T31" fmla="*/ 68 h 283"/>
                <a:gd name="T32" fmla="*/ 117 w 200"/>
                <a:gd name="T33" fmla="*/ 58 h 283"/>
                <a:gd name="T34" fmla="*/ 100 w 200"/>
                <a:gd name="T35" fmla="*/ 52 h 283"/>
                <a:gd name="T36" fmla="*/ 85 w 200"/>
                <a:gd name="T37" fmla="*/ 33 h 283"/>
                <a:gd name="T38" fmla="*/ 75 w 200"/>
                <a:gd name="T39" fmla="*/ 16 h 283"/>
                <a:gd name="T40" fmla="*/ 54 w 200"/>
                <a:gd name="T41" fmla="*/ 0 h 283"/>
                <a:gd name="T42" fmla="*/ 31 w 200"/>
                <a:gd name="T43" fmla="*/ 2 h 283"/>
                <a:gd name="T44" fmla="*/ 19 w 200"/>
                <a:gd name="T45" fmla="*/ 16 h 283"/>
                <a:gd name="T46" fmla="*/ 8 w 200"/>
                <a:gd name="T47" fmla="*/ 19 h 283"/>
                <a:gd name="T48" fmla="*/ 6 w 200"/>
                <a:gd name="T49" fmla="*/ 35 h 283"/>
                <a:gd name="T50" fmla="*/ 8 w 200"/>
                <a:gd name="T51" fmla="*/ 46 h 283"/>
                <a:gd name="T52" fmla="*/ 12 w 200"/>
                <a:gd name="T53" fmla="*/ 48 h 283"/>
                <a:gd name="T54" fmla="*/ 15 w 200"/>
                <a:gd name="T55" fmla="*/ 58 h 283"/>
                <a:gd name="T56" fmla="*/ 31 w 200"/>
                <a:gd name="T57" fmla="*/ 68 h 283"/>
                <a:gd name="T58" fmla="*/ 15 w 200"/>
                <a:gd name="T59" fmla="*/ 71 h 283"/>
                <a:gd name="T60" fmla="*/ 15 w 200"/>
                <a:gd name="T61" fmla="*/ 89 h 283"/>
                <a:gd name="T62" fmla="*/ 31 w 200"/>
                <a:gd name="T63" fmla="*/ 89 h 283"/>
                <a:gd name="T64" fmla="*/ 23 w 200"/>
                <a:gd name="T65" fmla="*/ 116 h 283"/>
                <a:gd name="T66" fmla="*/ 31 w 200"/>
                <a:gd name="T67" fmla="*/ 127 h 283"/>
                <a:gd name="T68" fmla="*/ 40 w 200"/>
                <a:gd name="T69" fmla="*/ 137 h 283"/>
                <a:gd name="T70" fmla="*/ 46 w 200"/>
                <a:gd name="T71" fmla="*/ 141 h 283"/>
                <a:gd name="T72" fmla="*/ 31 w 200"/>
                <a:gd name="T73" fmla="*/ 146 h 283"/>
                <a:gd name="T74" fmla="*/ 37 w 200"/>
                <a:gd name="T75" fmla="*/ 169 h 283"/>
                <a:gd name="T76" fmla="*/ 21 w 200"/>
                <a:gd name="T77" fmla="*/ 173 h 283"/>
                <a:gd name="T78" fmla="*/ 25 w 200"/>
                <a:gd name="T79" fmla="*/ 194 h 283"/>
                <a:gd name="T80" fmla="*/ 8 w 200"/>
                <a:gd name="T81" fmla="*/ 208 h 283"/>
                <a:gd name="T82" fmla="*/ 0 w 200"/>
                <a:gd name="T83" fmla="*/ 223 h 283"/>
                <a:gd name="T84" fmla="*/ 6 w 200"/>
                <a:gd name="T85" fmla="*/ 248 h 283"/>
                <a:gd name="T86" fmla="*/ 17 w 200"/>
                <a:gd name="T87" fmla="*/ 258 h 283"/>
                <a:gd name="T88" fmla="*/ 37 w 200"/>
                <a:gd name="T89" fmla="*/ 277 h 283"/>
                <a:gd name="T90" fmla="*/ 48 w 200"/>
                <a:gd name="T91" fmla="*/ 275 h 283"/>
                <a:gd name="T92" fmla="*/ 58 w 200"/>
                <a:gd name="T93" fmla="*/ 229 h 283"/>
                <a:gd name="T94" fmla="*/ 63 w 200"/>
                <a:gd name="T95" fmla="*/ 240 h 283"/>
                <a:gd name="T96" fmla="*/ 85 w 200"/>
                <a:gd name="T97" fmla="*/ 248 h 283"/>
                <a:gd name="T98" fmla="*/ 104 w 200"/>
                <a:gd name="T99" fmla="*/ 269 h 283"/>
                <a:gd name="T100" fmla="*/ 110 w 200"/>
                <a:gd name="T101" fmla="*/ 262 h 283"/>
                <a:gd name="T102" fmla="*/ 133 w 200"/>
                <a:gd name="T103" fmla="*/ 25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 h="283">
                  <a:moveTo>
                    <a:pt x="146" y="246"/>
                  </a:moveTo>
                  <a:lnTo>
                    <a:pt x="152" y="246"/>
                  </a:lnTo>
                  <a:lnTo>
                    <a:pt x="156" y="240"/>
                  </a:lnTo>
                  <a:lnTo>
                    <a:pt x="167" y="240"/>
                  </a:lnTo>
                  <a:lnTo>
                    <a:pt x="177" y="237"/>
                  </a:lnTo>
                  <a:lnTo>
                    <a:pt x="179" y="239"/>
                  </a:lnTo>
                  <a:lnTo>
                    <a:pt x="183" y="237"/>
                  </a:lnTo>
                  <a:lnTo>
                    <a:pt x="186" y="227"/>
                  </a:lnTo>
                  <a:lnTo>
                    <a:pt x="181" y="221"/>
                  </a:lnTo>
                  <a:lnTo>
                    <a:pt x="183" y="210"/>
                  </a:lnTo>
                  <a:lnTo>
                    <a:pt x="179" y="206"/>
                  </a:lnTo>
                  <a:lnTo>
                    <a:pt x="183" y="202"/>
                  </a:lnTo>
                  <a:lnTo>
                    <a:pt x="192" y="198"/>
                  </a:lnTo>
                  <a:lnTo>
                    <a:pt x="192" y="192"/>
                  </a:lnTo>
                  <a:lnTo>
                    <a:pt x="200" y="185"/>
                  </a:lnTo>
                  <a:lnTo>
                    <a:pt x="200" y="179"/>
                  </a:lnTo>
                  <a:lnTo>
                    <a:pt x="196" y="177"/>
                  </a:lnTo>
                  <a:lnTo>
                    <a:pt x="188" y="167"/>
                  </a:lnTo>
                  <a:lnTo>
                    <a:pt x="179" y="164"/>
                  </a:lnTo>
                  <a:lnTo>
                    <a:pt x="175" y="152"/>
                  </a:lnTo>
                  <a:lnTo>
                    <a:pt x="167" y="142"/>
                  </a:lnTo>
                  <a:lnTo>
                    <a:pt x="167" y="129"/>
                  </a:lnTo>
                  <a:lnTo>
                    <a:pt x="177" y="123"/>
                  </a:lnTo>
                  <a:lnTo>
                    <a:pt x="175" y="117"/>
                  </a:lnTo>
                  <a:lnTo>
                    <a:pt x="177" y="114"/>
                  </a:lnTo>
                  <a:lnTo>
                    <a:pt x="177" y="110"/>
                  </a:lnTo>
                  <a:lnTo>
                    <a:pt x="171" y="108"/>
                  </a:lnTo>
                  <a:lnTo>
                    <a:pt x="165" y="98"/>
                  </a:lnTo>
                  <a:lnTo>
                    <a:pt x="169" y="98"/>
                  </a:lnTo>
                  <a:lnTo>
                    <a:pt x="171" y="93"/>
                  </a:lnTo>
                  <a:lnTo>
                    <a:pt x="179" y="93"/>
                  </a:lnTo>
                  <a:lnTo>
                    <a:pt x="177" y="89"/>
                  </a:lnTo>
                  <a:lnTo>
                    <a:pt x="171" y="89"/>
                  </a:lnTo>
                  <a:lnTo>
                    <a:pt x="163" y="83"/>
                  </a:lnTo>
                  <a:lnTo>
                    <a:pt x="158" y="87"/>
                  </a:lnTo>
                  <a:lnTo>
                    <a:pt x="154" y="100"/>
                  </a:lnTo>
                  <a:lnTo>
                    <a:pt x="150" y="98"/>
                  </a:lnTo>
                  <a:lnTo>
                    <a:pt x="146" y="94"/>
                  </a:lnTo>
                  <a:lnTo>
                    <a:pt x="144" y="91"/>
                  </a:lnTo>
                  <a:lnTo>
                    <a:pt x="129" y="91"/>
                  </a:lnTo>
                  <a:lnTo>
                    <a:pt x="127" y="85"/>
                  </a:lnTo>
                  <a:lnTo>
                    <a:pt x="119" y="85"/>
                  </a:lnTo>
                  <a:lnTo>
                    <a:pt x="115" y="83"/>
                  </a:lnTo>
                  <a:lnTo>
                    <a:pt x="115" y="79"/>
                  </a:lnTo>
                  <a:lnTo>
                    <a:pt x="123" y="77"/>
                  </a:lnTo>
                  <a:lnTo>
                    <a:pt x="123" y="73"/>
                  </a:lnTo>
                  <a:lnTo>
                    <a:pt x="115" y="69"/>
                  </a:lnTo>
                  <a:lnTo>
                    <a:pt x="117" y="68"/>
                  </a:lnTo>
                  <a:lnTo>
                    <a:pt x="117" y="64"/>
                  </a:lnTo>
                  <a:lnTo>
                    <a:pt x="121" y="62"/>
                  </a:lnTo>
                  <a:lnTo>
                    <a:pt x="117" y="58"/>
                  </a:lnTo>
                  <a:lnTo>
                    <a:pt x="110" y="56"/>
                  </a:lnTo>
                  <a:lnTo>
                    <a:pt x="104" y="52"/>
                  </a:lnTo>
                  <a:lnTo>
                    <a:pt x="100" y="52"/>
                  </a:lnTo>
                  <a:lnTo>
                    <a:pt x="87" y="43"/>
                  </a:lnTo>
                  <a:lnTo>
                    <a:pt x="88" y="39"/>
                  </a:lnTo>
                  <a:lnTo>
                    <a:pt x="85" y="33"/>
                  </a:lnTo>
                  <a:lnTo>
                    <a:pt x="85" y="23"/>
                  </a:lnTo>
                  <a:lnTo>
                    <a:pt x="83" y="25"/>
                  </a:lnTo>
                  <a:lnTo>
                    <a:pt x="75" y="16"/>
                  </a:lnTo>
                  <a:lnTo>
                    <a:pt x="65" y="12"/>
                  </a:lnTo>
                  <a:lnTo>
                    <a:pt x="60" y="4"/>
                  </a:lnTo>
                  <a:lnTo>
                    <a:pt x="54" y="0"/>
                  </a:lnTo>
                  <a:lnTo>
                    <a:pt x="40" y="4"/>
                  </a:lnTo>
                  <a:lnTo>
                    <a:pt x="37" y="2"/>
                  </a:lnTo>
                  <a:lnTo>
                    <a:pt x="31" y="2"/>
                  </a:lnTo>
                  <a:lnTo>
                    <a:pt x="27" y="8"/>
                  </a:lnTo>
                  <a:lnTo>
                    <a:pt x="21" y="14"/>
                  </a:lnTo>
                  <a:lnTo>
                    <a:pt x="19" y="16"/>
                  </a:lnTo>
                  <a:lnTo>
                    <a:pt x="15" y="16"/>
                  </a:lnTo>
                  <a:lnTo>
                    <a:pt x="12" y="14"/>
                  </a:lnTo>
                  <a:lnTo>
                    <a:pt x="8" y="19"/>
                  </a:lnTo>
                  <a:lnTo>
                    <a:pt x="0" y="21"/>
                  </a:lnTo>
                  <a:lnTo>
                    <a:pt x="8" y="31"/>
                  </a:lnTo>
                  <a:lnTo>
                    <a:pt x="6" y="35"/>
                  </a:lnTo>
                  <a:lnTo>
                    <a:pt x="8" y="37"/>
                  </a:lnTo>
                  <a:lnTo>
                    <a:pt x="6" y="44"/>
                  </a:lnTo>
                  <a:lnTo>
                    <a:pt x="8" y="46"/>
                  </a:lnTo>
                  <a:lnTo>
                    <a:pt x="12" y="44"/>
                  </a:lnTo>
                  <a:lnTo>
                    <a:pt x="15" y="46"/>
                  </a:lnTo>
                  <a:lnTo>
                    <a:pt x="12" y="48"/>
                  </a:lnTo>
                  <a:lnTo>
                    <a:pt x="14" y="54"/>
                  </a:lnTo>
                  <a:lnTo>
                    <a:pt x="10" y="56"/>
                  </a:lnTo>
                  <a:lnTo>
                    <a:pt x="15" y="58"/>
                  </a:lnTo>
                  <a:lnTo>
                    <a:pt x="17" y="62"/>
                  </a:lnTo>
                  <a:lnTo>
                    <a:pt x="29" y="64"/>
                  </a:lnTo>
                  <a:lnTo>
                    <a:pt x="31" y="68"/>
                  </a:lnTo>
                  <a:lnTo>
                    <a:pt x="19" y="66"/>
                  </a:lnTo>
                  <a:lnTo>
                    <a:pt x="19" y="69"/>
                  </a:lnTo>
                  <a:lnTo>
                    <a:pt x="15" y="71"/>
                  </a:lnTo>
                  <a:lnTo>
                    <a:pt x="19" y="83"/>
                  </a:lnTo>
                  <a:lnTo>
                    <a:pt x="14" y="87"/>
                  </a:lnTo>
                  <a:lnTo>
                    <a:pt x="15" y="89"/>
                  </a:lnTo>
                  <a:lnTo>
                    <a:pt x="21" y="85"/>
                  </a:lnTo>
                  <a:lnTo>
                    <a:pt x="29" y="87"/>
                  </a:lnTo>
                  <a:lnTo>
                    <a:pt x="31" y="89"/>
                  </a:lnTo>
                  <a:lnTo>
                    <a:pt x="29" y="98"/>
                  </a:lnTo>
                  <a:lnTo>
                    <a:pt x="21" y="112"/>
                  </a:lnTo>
                  <a:lnTo>
                    <a:pt x="23" y="116"/>
                  </a:lnTo>
                  <a:lnTo>
                    <a:pt x="21" y="121"/>
                  </a:lnTo>
                  <a:lnTo>
                    <a:pt x="25" y="125"/>
                  </a:lnTo>
                  <a:lnTo>
                    <a:pt x="31" y="127"/>
                  </a:lnTo>
                  <a:lnTo>
                    <a:pt x="33" y="131"/>
                  </a:lnTo>
                  <a:lnTo>
                    <a:pt x="38" y="133"/>
                  </a:lnTo>
                  <a:lnTo>
                    <a:pt x="40" y="137"/>
                  </a:lnTo>
                  <a:lnTo>
                    <a:pt x="44" y="141"/>
                  </a:lnTo>
                  <a:lnTo>
                    <a:pt x="44" y="139"/>
                  </a:lnTo>
                  <a:lnTo>
                    <a:pt x="46" y="141"/>
                  </a:lnTo>
                  <a:lnTo>
                    <a:pt x="42" y="146"/>
                  </a:lnTo>
                  <a:lnTo>
                    <a:pt x="29" y="142"/>
                  </a:lnTo>
                  <a:lnTo>
                    <a:pt x="31" y="146"/>
                  </a:lnTo>
                  <a:lnTo>
                    <a:pt x="42" y="158"/>
                  </a:lnTo>
                  <a:lnTo>
                    <a:pt x="44" y="171"/>
                  </a:lnTo>
                  <a:lnTo>
                    <a:pt x="37" y="169"/>
                  </a:lnTo>
                  <a:lnTo>
                    <a:pt x="31" y="175"/>
                  </a:lnTo>
                  <a:lnTo>
                    <a:pt x="25" y="177"/>
                  </a:lnTo>
                  <a:lnTo>
                    <a:pt x="21" y="173"/>
                  </a:lnTo>
                  <a:lnTo>
                    <a:pt x="19" y="177"/>
                  </a:lnTo>
                  <a:lnTo>
                    <a:pt x="27" y="189"/>
                  </a:lnTo>
                  <a:lnTo>
                    <a:pt x="25" y="194"/>
                  </a:lnTo>
                  <a:lnTo>
                    <a:pt x="19" y="187"/>
                  </a:lnTo>
                  <a:lnTo>
                    <a:pt x="10" y="194"/>
                  </a:lnTo>
                  <a:lnTo>
                    <a:pt x="8" y="208"/>
                  </a:lnTo>
                  <a:lnTo>
                    <a:pt x="4" y="212"/>
                  </a:lnTo>
                  <a:lnTo>
                    <a:pt x="2" y="214"/>
                  </a:lnTo>
                  <a:lnTo>
                    <a:pt x="0" y="223"/>
                  </a:lnTo>
                  <a:lnTo>
                    <a:pt x="8" y="235"/>
                  </a:lnTo>
                  <a:lnTo>
                    <a:pt x="2" y="240"/>
                  </a:lnTo>
                  <a:lnTo>
                    <a:pt x="6" y="248"/>
                  </a:lnTo>
                  <a:lnTo>
                    <a:pt x="8" y="252"/>
                  </a:lnTo>
                  <a:lnTo>
                    <a:pt x="14" y="252"/>
                  </a:lnTo>
                  <a:lnTo>
                    <a:pt x="17" y="258"/>
                  </a:lnTo>
                  <a:lnTo>
                    <a:pt x="23" y="258"/>
                  </a:lnTo>
                  <a:lnTo>
                    <a:pt x="37" y="271"/>
                  </a:lnTo>
                  <a:lnTo>
                    <a:pt x="37" y="277"/>
                  </a:lnTo>
                  <a:lnTo>
                    <a:pt x="48" y="283"/>
                  </a:lnTo>
                  <a:lnTo>
                    <a:pt x="46" y="277"/>
                  </a:lnTo>
                  <a:lnTo>
                    <a:pt x="48" y="275"/>
                  </a:lnTo>
                  <a:lnTo>
                    <a:pt x="48" y="265"/>
                  </a:lnTo>
                  <a:lnTo>
                    <a:pt x="42" y="262"/>
                  </a:lnTo>
                  <a:lnTo>
                    <a:pt x="58" y="229"/>
                  </a:lnTo>
                  <a:lnTo>
                    <a:pt x="62" y="233"/>
                  </a:lnTo>
                  <a:lnTo>
                    <a:pt x="62" y="239"/>
                  </a:lnTo>
                  <a:lnTo>
                    <a:pt x="63" y="240"/>
                  </a:lnTo>
                  <a:lnTo>
                    <a:pt x="75" y="235"/>
                  </a:lnTo>
                  <a:lnTo>
                    <a:pt x="79" y="237"/>
                  </a:lnTo>
                  <a:lnTo>
                    <a:pt x="85" y="248"/>
                  </a:lnTo>
                  <a:lnTo>
                    <a:pt x="88" y="248"/>
                  </a:lnTo>
                  <a:lnTo>
                    <a:pt x="98" y="254"/>
                  </a:lnTo>
                  <a:lnTo>
                    <a:pt x="104" y="269"/>
                  </a:lnTo>
                  <a:lnTo>
                    <a:pt x="102" y="277"/>
                  </a:lnTo>
                  <a:lnTo>
                    <a:pt x="110" y="275"/>
                  </a:lnTo>
                  <a:lnTo>
                    <a:pt x="110" y="262"/>
                  </a:lnTo>
                  <a:lnTo>
                    <a:pt x="123" y="252"/>
                  </a:lnTo>
                  <a:lnTo>
                    <a:pt x="133" y="258"/>
                  </a:lnTo>
                  <a:lnTo>
                    <a:pt x="133" y="254"/>
                  </a:lnTo>
                  <a:lnTo>
                    <a:pt x="138" y="246"/>
                  </a:lnTo>
                  <a:lnTo>
                    <a:pt x="146" y="24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16" name="Freeform 4"/>
            <p:cNvSpPr>
              <a:spLocks/>
            </p:cNvSpPr>
            <p:nvPr/>
          </p:nvSpPr>
          <p:spPr bwMode="auto">
            <a:xfrm>
              <a:off x="3127" y="2607"/>
              <a:ext cx="163" cy="188"/>
            </a:xfrm>
            <a:custGeom>
              <a:avLst/>
              <a:gdLst>
                <a:gd name="T0" fmla="*/ 5 w 163"/>
                <a:gd name="T1" fmla="*/ 21 h 188"/>
                <a:gd name="T2" fmla="*/ 36 w 163"/>
                <a:gd name="T3" fmla="*/ 58 h 188"/>
                <a:gd name="T4" fmla="*/ 46 w 163"/>
                <a:gd name="T5" fmla="*/ 65 h 188"/>
                <a:gd name="T6" fmla="*/ 53 w 163"/>
                <a:gd name="T7" fmla="*/ 75 h 188"/>
                <a:gd name="T8" fmla="*/ 73 w 163"/>
                <a:gd name="T9" fmla="*/ 92 h 188"/>
                <a:gd name="T10" fmla="*/ 84 w 163"/>
                <a:gd name="T11" fmla="*/ 115 h 188"/>
                <a:gd name="T12" fmla="*/ 86 w 163"/>
                <a:gd name="T13" fmla="*/ 125 h 188"/>
                <a:gd name="T14" fmla="*/ 82 w 163"/>
                <a:gd name="T15" fmla="*/ 140 h 188"/>
                <a:gd name="T16" fmla="*/ 88 w 163"/>
                <a:gd name="T17" fmla="*/ 165 h 188"/>
                <a:gd name="T18" fmla="*/ 90 w 163"/>
                <a:gd name="T19" fmla="*/ 181 h 188"/>
                <a:gd name="T20" fmla="*/ 98 w 163"/>
                <a:gd name="T21" fmla="*/ 188 h 188"/>
                <a:gd name="T22" fmla="*/ 109 w 163"/>
                <a:gd name="T23" fmla="*/ 183 h 188"/>
                <a:gd name="T24" fmla="*/ 105 w 163"/>
                <a:gd name="T25" fmla="*/ 173 h 188"/>
                <a:gd name="T26" fmla="*/ 113 w 163"/>
                <a:gd name="T27" fmla="*/ 152 h 188"/>
                <a:gd name="T28" fmla="*/ 123 w 163"/>
                <a:gd name="T29" fmla="*/ 135 h 188"/>
                <a:gd name="T30" fmla="*/ 115 w 163"/>
                <a:gd name="T31" fmla="*/ 121 h 188"/>
                <a:gd name="T32" fmla="*/ 127 w 163"/>
                <a:gd name="T33" fmla="*/ 121 h 188"/>
                <a:gd name="T34" fmla="*/ 130 w 163"/>
                <a:gd name="T35" fmla="*/ 114 h 188"/>
                <a:gd name="T36" fmla="*/ 144 w 163"/>
                <a:gd name="T37" fmla="*/ 117 h 188"/>
                <a:gd name="T38" fmla="*/ 153 w 163"/>
                <a:gd name="T39" fmla="*/ 117 h 188"/>
                <a:gd name="T40" fmla="*/ 155 w 163"/>
                <a:gd name="T41" fmla="*/ 102 h 188"/>
                <a:gd name="T42" fmla="*/ 151 w 163"/>
                <a:gd name="T43" fmla="*/ 87 h 188"/>
                <a:gd name="T44" fmla="*/ 134 w 163"/>
                <a:gd name="T45" fmla="*/ 73 h 188"/>
                <a:gd name="T46" fmla="*/ 125 w 163"/>
                <a:gd name="T47" fmla="*/ 58 h 188"/>
                <a:gd name="T48" fmla="*/ 123 w 163"/>
                <a:gd name="T49" fmla="*/ 62 h 188"/>
                <a:gd name="T50" fmla="*/ 107 w 163"/>
                <a:gd name="T51" fmla="*/ 48 h 188"/>
                <a:gd name="T52" fmla="*/ 107 w 163"/>
                <a:gd name="T53" fmla="*/ 31 h 188"/>
                <a:gd name="T54" fmla="*/ 103 w 163"/>
                <a:gd name="T55" fmla="*/ 19 h 188"/>
                <a:gd name="T56" fmla="*/ 92 w 163"/>
                <a:gd name="T57" fmla="*/ 19 h 188"/>
                <a:gd name="T58" fmla="*/ 77 w 163"/>
                <a:gd name="T59" fmla="*/ 14 h 188"/>
                <a:gd name="T60" fmla="*/ 69 w 163"/>
                <a:gd name="T61" fmla="*/ 10 h 188"/>
                <a:gd name="T62" fmla="*/ 55 w 163"/>
                <a:gd name="T63" fmla="*/ 8 h 188"/>
                <a:gd name="T64" fmla="*/ 32 w 163"/>
                <a:gd name="T65" fmla="*/ 2 h 188"/>
                <a:gd name="T66" fmla="*/ 25 w 163"/>
                <a:gd name="T67" fmla="*/ 4 h 188"/>
                <a:gd name="T68" fmla="*/ 5 w 163"/>
                <a:gd name="T69" fmla="*/ 1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 h="188">
                  <a:moveTo>
                    <a:pt x="0" y="21"/>
                  </a:moveTo>
                  <a:lnTo>
                    <a:pt x="5" y="21"/>
                  </a:lnTo>
                  <a:lnTo>
                    <a:pt x="17" y="27"/>
                  </a:lnTo>
                  <a:lnTo>
                    <a:pt x="36" y="58"/>
                  </a:lnTo>
                  <a:lnTo>
                    <a:pt x="42" y="64"/>
                  </a:lnTo>
                  <a:lnTo>
                    <a:pt x="46" y="65"/>
                  </a:lnTo>
                  <a:lnTo>
                    <a:pt x="48" y="71"/>
                  </a:lnTo>
                  <a:lnTo>
                    <a:pt x="53" y="75"/>
                  </a:lnTo>
                  <a:lnTo>
                    <a:pt x="59" y="85"/>
                  </a:lnTo>
                  <a:lnTo>
                    <a:pt x="73" y="92"/>
                  </a:lnTo>
                  <a:lnTo>
                    <a:pt x="77" y="100"/>
                  </a:lnTo>
                  <a:lnTo>
                    <a:pt x="84" y="115"/>
                  </a:lnTo>
                  <a:lnTo>
                    <a:pt x="84" y="121"/>
                  </a:lnTo>
                  <a:lnTo>
                    <a:pt x="86" y="125"/>
                  </a:lnTo>
                  <a:lnTo>
                    <a:pt x="86" y="135"/>
                  </a:lnTo>
                  <a:lnTo>
                    <a:pt x="82" y="140"/>
                  </a:lnTo>
                  <a:lnTo>
                    <a:pt x="84" y="148"/>
                  </a:lnTo>
                  <a:lnTo>
                    <a:pt x="88" y="165"/>
                  </a:lnTo>
                  <a:lnTo>
                    <a:pt x="92" y="177"/>
                  </a:lnTo>
                  <a:lnTo>
                    <a:pt x="90" y="181"/>
                  </a:lnTo>
                  <a:lnTo>
                    <a:pt x="94" y="183"/>
                  </a:lnTo>
                  <a:lnTo>
                    <a:pt x="98" y="188"/>
                  </a:lnTo>
                  <a:lnTo>
                    <a:pt x="100" y="183"/>
                  </a:lnTo>
                  <a:lnTo>
                    <a:pt x="109" y="183"/>
                  </a:lnTo>
                  <a:lnTo>
                    <a:pt x="109" y="177"/>
                  </a:lnTo>
                  <a:lnTo>
                    <a:pt x="105" y="173"/>
                  </a:lnTo>
                  <a:lnTo>
                    <a:pt x="115" y="160"/>
                  </a:lnTo>
                  <a:lnTo>
                    <a:pt x="113" y="152"/>
                  </a:lnTo>
                  <a:lnTo>
                    <a:pt x="121" y="146"/>
                  </a:lnTo>
                  <a:lnTo>
                    <a:pt x="123" y="135"/>
                  </a:lnTo>
                  <a:lnTo>
                    <a:pt x="117" y="131"/>
                  </a:lnTo>
                  <a:lnTo>
                    <a:pt x="115" y="121"/>
                  </a:lnTo>
                  <a:lnTo>
                    <a:pt x="125" y="112"/>
                  </a:lnTo>
                  <a:lnTo>
                    <a:pt x="127" y="121"/>
                  </a:lnTo>
                  <a:lnTo>
                    <a:pt x="130" y="119"/>
                  </a:lnTo>
                  <a:lnTo>
                    <a:pt x="130" y="114"/>
                  </a:lnTo>
                  <a:lnTo>
                    <a:pt x="136" y="112"/>
                  </a:lnTo>
                  <a:lnTo>
                    <a:pt x="144" y="117"/>
                  </a:lnTo>
                  <a:lnTo>
                    <a:pt x="148" y="110"/>
                  </a:lnTo>
                  <a:lnTo>
                    <a:pt x="153" y="117"/>
                  </a:lnTo>
                  <a:lnTo>
                    <a:pt x="163" y="110"/>
                  </a:lnTo>
                  <a:lnTo>
                    <a:pt x="155" y="102"/>
                  </a:lnTo>
                  <a:lnTo>
                    <a:pt x="153" y="96"/>
                  </a:lnTo>
                  <a:lnTo>
                    <a:pt x="151" y="87"/>
                  </a:lnTo>
                  <a:lnTo>
                    <a:pt x="134" y="83"/>
                  </a:lnTo>
                  <a:lnTo>
                    <a:pt x="134" y="73"/>
                  </a:lnTo>
                  <a:lnTo>
                    <a:pt x="128" y="58"/>
                  </a:lnTo>
                  <a:lnTo>
                    <a:pt x="125" y="58"/>
                  </a:lnTo>
                  <a:lnTo>
                    <a:pt x="125" y="62"/>
                  </a:lnTo>
                  <a:lnTo>
                    <a:pt x="123" y="62"/>
                  </a:lnTo>
                  <a:lnTo>
                    <a:pt x="111" y="54"/>
                  </a:lnTo>
                  <a:lnTo>
                    <a:pt x="107" y="48"/>
                  </a:lnTo>
                  <a:lnTo>
                    <a:pt x="109" y="33"/>
                  </a:lnTo>
                  <a:lnTo>
                    <a:pt x="107" y="31"/>
                  </a:lnTo>
                  <a:lnTo>
                    <a:pt x="109" y="25"/>
                  </a:lnTo>
                  <a:lnTo>
                    <a:pt x="103" y="19"/>
                  </a:lnTo>
                  <a:lnTo>
                    <a:pt x="98" y="23"/>
                  </a:lnTo>
                  <a:lnTo>
                    <a:pt x="92" y="19"/>
                  </a:lnTo>
                  <a:lnTo>
                    <a:pt x="88" y="14"/>
                  </a:lnTo>
                  <a:lnTo>
                    <a:pt x="77" y="14"/>
                  </a:lnTo>
                  <a:lnTo>
                    <a:pt x="75" y="19"/>
                  </a:lnTo>
                  <a:lnTo>
                    <a:pt x="69" y="10"/>
                  </a:lnTo>
                  <a:lnTo>
                    <a:pt x="63" y="14"/>
                  </a:lnTo>
                  <a:lnTo>
                    <a:pt x="55" y="8"/>
                  </a:lnTo>
                  <a:lnTo>
                    <a:pt x="34" y="0"/>
                  </a:lnTo>
                  <a:lnTo>
                    <a:pt x="32" y="2"/>
                  </a:lnTo>
                  <a:lnTo>
                    <a:pt x="28" y="6"/>
                  </a:lnTo>
                  <a:lnTo>
                    <a:pt x="25" y="4"/>
                  </a:lnTo>
                  <a:lnTo>
                    <a:pt x="21" y="10"/>
                  </a:lnTo>
                  <a:lnTo>
                    <a:pt x="5" y="10"/>
                  </a:lnTo>
                  <a:lnTo>
                    <a:pt x="0" y="2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17" name="Freeform 5"/>
            <p:cNvSpPr>
              <a:spLocks/>
            </p:cNvSpPr>
            <p:nvPr/>
          </p:nvSpPr>
          <p:spPr bwMode="auto">
            <a:xfrm>
              <a:off x="2865" y="3028"/>
              <a:ext cx="91" cy="192"/>
            </a:xfrm>
            <a:custGeom>
              <a:avLst/>
              <a:gdLst>
                <a:gd name="T0" fmla="*/ 64 w 91"/>
                <a:gd name="T1" fmla="*/ 182 h 192"/>
                <a:gd name="T2" fmla="*/ 60 w 91"/>
                <a:gd name="T3" fmla="*/ 169 h 192"/>
                <a:gd name="T4" fmla="*/ 66 w 91"/>
                <a:gd name="T5" fmla="*/ 163 h 192"/>
                <a:gd name="T6" fmla="*/ 75 w 91"/>
                <a:gd name="T7" fmla="*/ 161 h 192"/>
                <a:gd name="T8" fmla="*/ 79 w 91"/>
                <a:gd name="T9" fmla="*/ 138 h 192"/>
                <a:gd name="T10" fmla="*/ 87 w 91"/>
                <a:gd name="T11" fmla="*/ 136 h 192"/>
                <a:gd name="T12" fmla="*/ 91 w 91"/>
                <a:gd name="T13" fmla="*/ 121 h 192"/>
                <a:gd name="T14" fmla="*/ 85 w 91"/>
                <a:gd name="T15" fmla="*/ 111 h 192"/>
                <a:gd name="T16" fmla="*/ 79 w 91"/>
                <a:gd name="T17" fmla="*/ 106 h 192"/>
                <a:gd name="T18" fmla="*/ 73 w 91"/>
                <a:gd name="T19" fmla="*/ 108 h 192"/>
                <a:gd name="T20" fmla="*/ 66 w 91"/>
                <a:gd name="T21" fmla="*/ 98 h 192"/>
                <a:gd name="T22" fmla="*/ 62 w 91"/>
                <a:gd name="T23" fmla="*/ 77 h 192"/>
                <a:gd name="T24" fmla="*/ 60 w 91"/>
                <a:gd name="T25" fmla="*/ 65 h 192"/>
                <a:gd name="T26" fmla="*/ 60 w 91"/>
                <a:gd name="T27" fmla="*/ 48 h 192"/>
                <a:gd name="T28" fmla="*/ 56 w 91"/>
                <a:gd name="T29" fmla="*/ 25 h 192"/>
                <a:gd name="T30" fmla="*/ 43 w 91"/>
                <a:gd name="T31" fmla="*/ 19 h 192"/>
                <a:gd name="T32" fmla="*/ 33 w 91"/>
                <a:gd name="T33" fmla="*/ 6 h 192"/>
                <a:gd name="T34" fmla="*/ 20 w 91"/>
                <a:gd name="T35" fmla="*/ 10 h 192"/>
                <a:gd name="T36" fmla="*/ 16 w 91"/>
                <a:gd name="T37" fmla="*/ 0 h 192"/>
                <a:gd name="T38" fmla="*/ 6 w 91"/>
                <a:gd name="T39" fmla="*/ 36 h 192"/>
                <a:gd name="T40" fmla="*/ 4 w 91"/>
                <a:gd name="T41" fmla="*/ 48 h 192"/>
                <a:gd name="T42" fmla="*/ 12 w 91"/>
                <a:gd name="T43" fmla="*/ 54 h 192"/>
                <a:gd name="T44" fmla="*/ 14 w 91"/>
                <a:gd name="T45" fmla="*/ 60 h 192"/>
                <a:gd name="T46" fmla="*/ 18 w 91"/>
                <a:gd name="T47" fmla="*/ 69 h 192"/>
                <a:gd name="T48" fmla="*/ 10 w 91"/>
                <a:gd name="T49" fmla="*/ 71 h 192"/>
                <a:gd name="T50" fmla="*/ 8 w 91"/>
                <a:gd name="T51" fmla="*/ 83 h 192"/>
                <a:gd name="T52" fmla="*/ 16 w 91"/>
                <a:gd name="T53" fmla="*/ 92 h 192"/>
                <a:gd name="T54" fmla="*/ 14 w 91"/>
                <a:gd name="T55" fmla="*/ 108 h 192"/>
                <a:gd name="T56" fmla="*/ 12 w 91"/>
                <a:gd name="T57" fmla="*/ 115 h 192"/>
                <a:gd name="T58" fmla="*/ 14 w 91"/>
                <a:gd name="T59" fmla="*/ 138 h 192"/>
                <a:gd name="T60" fmla="*/ 16 w 91"/>
                <a:gd name="T61" fmla="*/ 136 h 192"/>
                <a:gd name="T62" fmla="*/ 14 w 91"/>
                <a:gd name="T63" fmla="*/ 138 h 192"/>
                <a:gd name="T64" fmla="*/ 20 w 91"/>
                <a:gd name="T65" fmla="*/ 150 h 192"/>
                <a:gd name="T66" fmla="*/ 12 w 91"/>
                <a:gd name="T67" fmla="*/ 146 h 192"/>
                <a:gd name="T68" fmla="*/ 14 w 91"/>
                <a:gd name="T69" fmla="*/ 154 h 192"/>
                <a:gd name="T70" fmla="*/ 37 w 91"/>
                <a:gd name="T71" fmla="*/ 167 h 192"/>
                <a:gd name="T72" fmla="*/ 43 w 91"/>
                <a:gd name="T73" fmla="*/ 177 h 192"/>
                <a:gd name="T74" fmla="*/ 46 w 91"/>
                <a:gd name="T75" fmla="*/ 186 h 192"/>
                <a:gd name="T76" fmla="*/ 58 w 91"/>
                <a:gd name="T77" fmla="*/ 192 h 192"/>
                <a:gd name="T78" fmla="*/ 60 w 91"/>
                <a:gd name="T79" fmla="*/ 18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 h="192">
                  <a:moveTo>
                    <a:pt x="60" y="181"/>
                  </a:moveTo>
                  <a:lnTo>
                    <a:pt x="64" y="182"/>
                  </a:lnTo>
                  <a:lnTo>
                    <a:pt x="66" y="179"/>
                  </a:lnTo>
                  <a:lnTo>
                    <a:pt x="60" y="169"/>
                  </a:lnTo>
                  <a:lnTo>
                    <a:pt x="64" y="169"/>
                  </a:lnTo>
                  <a:lnTo>
                    <a:pt x="66" y="163"/>
                  </a:lnTo>
                  <a:lnTo>
                    <a:pt x="73" y="161"/>
                  </a:lnTo>
                  <a:lnTo>
                    <a:pt x="75" y="161"/>
                  </a:lnTo>
                  <a:lnTo>
                    <a:pt x="79" y="146"/>
                  </a:lnTo>
                  <a:lnTo>
                    <a:pt x="79" y="138"/>
                  </a:lnTo>
                  <a:lnTo>
                    <a:pt x="81" y="136"/>
                  </a:lnTo>
                  <a:lnTo>
                    <a:pt x="87" y="136"/>
                  </a:lnTo>
                  <a:lnTo>
                    <a:pt x="91" y="127"/>
                  </a:lnTo>
                  <a:lnTo>
                    <a:pt x="91" y="121"/>
                  </a:lnTo>
                  <a:lnTo>
                    <a:pt x="85" y="117"/>
                  </a:lnTo>
                  <a:lnTo>
                    <a:pt x="85" y="111"/>
                  </a:lnTo>
                  <a:lnTo>
                    <a:pt x="83" y="108"/>
                  </a:lnTo>
                  <a:lnTo>
                    <a:pt x="79" y="106"/>
                  </a:lnTo>
                  <a:lnTo>
                    <a:pt x="77" y="108"/>
                  </a:lnTo>
                  <a:lnTo>
                    <a:pt x="73" y="108"/>
                  </a:lnTo>
                  <a:lnTo>
                    <a:pt x="70" y="98"/>
                  </a:lnTo>
                  <a:lnTo>
                    <a:pt x="66" y="98"/>
                  </a:lnTo>
                  <a:lnTo>
                    <a:pt x="60" y="84"/>
                  </a:lnTo>
                  <a:lnTo>
                    <a:pt x="62" y="77"/>
                  </a:lnTo>
                  <a:lnTo>
                    <a:pt x="56" y="69"/>
                  </a:lnTo>
                  <a:lnTo>
                    <a:pt x="60" y="65"/>
                  </a:lnTo>
                  <a:lnTo>
                    <a:pt x="58" y="58"/>
                  </a:lnTo>
                  <a:lnTo>
                    <a:pt x="60" y="48"/>
                  </a:lnTo>
                  <a:lnTo>
                    <a:pt x="62" y="40"/>
                  </a:lnTo>
                  <a:lnTo>
                    <a:pt x="56" y="25"/>
                  </a:lnTo>
                  <a:lnTo>
                    <a:pt x="46" y="19"/>
                  </a:lnTo>
                  <a:lnTo>
                    <a:pt x="43" y="19"/>
                  </a:lnTo>
                  <a:lnTo>
                    <a:pt x="37" y="8"/>
                  </a:lnTo>
                  <a:lnTo>
                    <a:pt x="33" y="6"/>
                  </a:lnTo>
                  <a:lnTo>
                    <a:pt x="21" y="11"/>
                  </a:lnTo>
                  <a:lnTo>
                    <a:pt x="20" y="10"/>
                  </a:lnTo>
                  <a:lnTo>
                    <a:pt x="20" y="4"/>
                  </a:lnTo>
                  <a:lnTo>
                    <a:pt x="16" y="0"/>
                  </a:lnTo>
                  <a:lnTo>
                    <a:pt x="0" y="33"/>
                  </a:lnTo>
                  <a:lnTo>
                    <a:pt x="6" y="36"/>
                  </a:lnTo>
                  <a:lnTo>
                    <a:pt x="6" y="46"/>
                  </a:lnTo>
                  <a:lnTo>
                    <a:pt x="4" y="48"/>
                  </a:lnTo>
                  <a:lnTo>
                    <a:pt x="6" y="54"/>
                  </a:lnTo>
                  <a:lnTo>
                    <a:pt x="12" y="54"/>
                  </a:lnTo>
                  <a:lnTo>
                    <a:pt x="16" y="56"/>
                  </a:lnTo>
                  <a:lnTo>
                    <a:pt x="14" y="60"/>
                  </a:lnTo>
                  <a:lnTo>
                    <a:pt x="16" y="65"/>
                  </a:lnTo>
                  <a:lnTo>
                    <a:pt x="18" y="69"/>
                  </a:lnTo>
                  <a:lnTo>
                    <a:pt x="16" y="71"/>
                  </a:lnTo>
                  <a:lnTo>
                    <a:pt x="10" y="71"/>
                  </a:lnTo>
                  <a:lnTo>
                    <a:pt x="14" y="75"/>
                  </a:lnTo>
                  <a:lnTo>
                    <a:pt x="8" y="83"/>
                  </a:lnTo>
                  <a:lnTo>
                    <a:pt x="10" y="88"/>
                  </a:lnTo>
                  <a:lnTo>
                    <a:pt x="16" y="92"/>
                  </a:lnTo>
                  <a:lnTo>
                    <a:pt x="12" y="100"/>
                  </a:lnTo>
                  <a:lnTo>
                    <a:pt x="14" y="108"/>
                  </a:lnTo>
                  <a:lnTo>
                    <a:pt x="14" y="115"/>
                  </a:lnTo>
                  <a:lnTo>
                    <a:pt x="12" y="115"/>
                  </a:lnTo>
                  <a:lnTo>
                    <a:pt x="10" y="133"/>
                  </a:lnTo>
                  <a:lnTo>
                    <a:pt x="14" y="138"/>
                  </a:lnTo>
                  <a:lnTo>
                    <a:pt x="14" y="136"/>
                  </a:lnTo>
                  <a:lnTo>
                    <a:pt x="16" y="136"/>
                  </a:lnTo>
                  <a:lnTo>
                    <a:pt x="16" y="140"/>
                  </a:lnTo>
                  <a:lnTo>
                    <a:pt x="14" y="138"/>
                  </a:lnTo>
                  <a:lnTo>
                    <a:pt x="20" y="144"/>
                  </a:lnTo>
                  <a:lnTo>
                    <a:pt x="20" y="150"/>
                  </a:lnTo>
                  <a:lnTo>
                    <a:pt x="18" y="152"/>
                  </a:lnTo>
                  <a:lnTo>
                    <a:pt x="12" y="146"/>
                  </a:lnTo>
                  <a:lnTo>
                    <a:pt x="10" y="146"/>
                  </a:lnTo>
                  <a:lnTo>
                    <a:pt x="14" y="154"/>
                  </a:lnTo>
                  <a:lnTo>
                    <a:pt x="20" y="159"/>
                  </a:lnTo>
                  <a:lnTo>
                    <a:pt x="37" y="167"/>
                  </a:lnTo>
                  <a:lnTo>
                    <a:pt x="43" y="175"/>
                  </a:lnTo>
                  <a:lnTo>
                    <a:pt x="43" y="177"/>
                  </a:lnTo>
                  <a:lnTo>
                    <a:pt x="46" y="179"/>
                  </a:lnTo>
                  <a:lnTo>
                    <a:pt x="46" y="186"/>
                  </a:lnTo>
                  <a:lnTo>
                    <a:pt x="48" y="190"/>
                  </a:lnTo>
                  <a:lnTo>
                    <a:pt x="58" y="192"/>
                  </a:lnTo>
                  <a:lnTo>
                    <a:pt x="62" y="186"/>
                  </a:lnTo>
                  <a:lnTo>
                    <a:pt x="60" y="18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18" name="Freeform 6"/>
            <p:cNvSpPr>
              <a:spLocks/>
            </p:cNvSpPr>
            <p:nvPr/>
          </p:nvSpPr>
          <p:spPr bwMode="auto">
            <a:xfrm>
              <a:off x="2913" y="3047"/>
              <a:ext cx="291" cy="369"/>
            </a:xfrm>
            <a:custGeom>
              <a:avLst/>
              <a:gdLst>
                <a:gd name="T0" fmla="*/ 200 w 291"/>
                <a:gd name="T1" fmla="*/ 235 h 369"/>
                <a:gd name="T2" fmla="*/ 221 w 291"/>
                <a:gd name="T3" fmla="*/ 252 h 369"/>
                <a:gd name="T4" fmla="*/ 208 w 291"/>
                <a:gd name="T5" fmla="*/ 231 h 369"/>
                <a:gd name="T6" fmla="*/ 169 w 291"/>
                <a:gd name="T7" fmla="*/ 206 h 369"/>
                <a:gd name="T8" fmla="*/ 146 w 291"/>
                <a:gd name="T9" fmla="*/ 210 h 369"/>
                <a:gd name="T10" fmla="*/ 175 w 291"/>
                <a:gd name="T11" fmla="*/ 229 h 369"/>
                <a:gd name="T12" fmla="*/ 154 w 291"/>
                <a:gd name="T13" fmla="*/ 223 h 369"/>
                <a:gd name="T14" fmla="*/ 127 w 291"/>
                <a:gd name="T15" fmla="*/ 208 h 369"/>
                <a:gd name="T16" fmla="*/ 137 w 291"/>
                <a:gd name="T17" fmla="*/ 190 h 369"/>
                <a:gd name="T18" fmla="*/ 148 w 291"/>
                <a:gd name="T19" fmla="*/ 192 h 369"/>
                <a:gd name="T20" fmla="*/ 125 w 291"/>
                <a:gd name="T21" fmla="*/ 140 h 369"/>
                <a:gd name="T22" fmla="*/ 121 w 291"/>
                <a:gd name="T23" fmla="*/ 104 h 369"/>
                <a:gd name="T24" fmla="*/ 129 w 291"/>
                <a:gd name="T25" fmla="*/ 112 h 369"/>
                <a:gd name="T26" fmla="*/ 154 w 291"/>
                <a:gd name="T27" fmla="*/ 123 h 369"/>
                <a:gd name="T28" fmla="*/ 183 w 291"/>
                <a:gd name="T29" fmla="*/ 121 h 369"/>
                <a:gd name="T30" fmla="*/ 196 w 291"/>
                <a:gd name="T31" fmla="*/ 119 h 369"/>
                <a:gd name="T32" fmla="*/ 171 w 291"/>
                <a:gd name="T33" fmla="*/ 98 h 369"/>
                <a:gd name="T34" fmla="*/ 181 w 291"/>
                <a:gd name="T35" fmla="*/ 83 h 369"/>
                <a:gd name="T36" fmla="*/ 214 w 291"/>
                <a:gd name="T37" fmla="*/ 69 h 369"/>
                <a:gd name="T38" fmla="*/ 250 w 291"/>
                <a:gd name="T39" fmla="*/ 62 h 369"/>
                <a:gd name="T40" fmla="*/ 283 w 291"/>
                <a:gd name="T41" fmla="*/ 46 h 369"/>
                <a:gd name="T42" fmla="*/ 267 w 291"/>
                <a:gd name="T43" fmla="*/ 0 h 369"/>
                <a:gd name="T44" fmla="*/ 242 w 291"/>
                <a:gd name="T45" fmla="*/ 33 h 369"/>
                <a:gd name="T46" fmla="*/ 198 w 291"/>
                <a:gd name="T47" fmla="*/ 33 h 369"/>
                <a:gd name="T48" fmla="*/ 173 w 291"/>
                <a:gd name="T49" fmla="*/ 29 h 369"/>
                <a:gd name="T50" fmla="*/ 144 w 291"/>
                <a:gd name="T51" fmla="*/ 42 h 369"/>
                <a:gd name="T52" fmla="*/ 116 w 291"/>
                <a:gd name="T53" fmla="*/ 64 h 369"/>
                <a:gd name="T54" fmla="*/ 81 w 291"/>
                <a:gd name="T55" fmla="*/ 69 h 369"/>
                <a:gd name="T56" fmla="*/ 37 w 291"/>
                <a:gd name="T57" fmla="*/ 98 h 369"/>
                <a:gd name="T58" fmla="*/ 27 w 291"/>
                <a:gd name="T59" fmla="*/ 142 h 369"/>
                <a:gd name="T60" fmla="*/ 12 w 291"/>
                <a:gd name="T61" fmla="*/ 162 h 369"/>
                <a:gd name="T62" fmla="*/ 23 w 291"/>
                <a:gd name="T63" fmla="*/ 196 h 369"/>
                <a:gd name="T64" fmla="*/ 58 w 291"/>
                <a:gd name="T65" fmla="*/ 212 h 369"/>
                <a:gd name="T66" fmla="*/ 43 w 291"/>
                <a:gd name="T67" fmla="*/ 227 h 369"/>
                <a:gd name="T68" fmla="*/ 60 w 291"/>
                <a:gd name="T69" fmla="*/ 248 h 369"/>
                <a:gd name="T70" fmla="*/ 87 w 291"/>
                <a:gd name="T71" fmla="*/ 248 h 369"/>
                <a:gd name="T72" fmla="*/ 116 w 291"/>
                <a:gd name="T73" fmla="*/ 244 h 369"/>
                <a:gd name="T74" fmla="*/ 143 w 291"/>
                <a:gd name="T75" fmla="*/ 246 h 369"/>
                <a:gd name="T76" fmla="*/ 158 w 291"/>
                <a:gd name="T77" fmla="*/ 260 h 369"/>
                <a:gd name="T78" fmla="*/ 121 w 291"/>
                <a:gd name="T79" fmla="*/ 258 h 369"/>
                <a:gd name="T80" fmla="*/ 75 w 291"/>
                <a:gd name="T81" fmla="*/ 261 h 369"/>
                <a:gd name="T82" fmla="*/ 73 w 291"/>
                <a:gd name="T83" fmla="*/ 288 h 369"/>
                <a:gd name="T84" fmla="*/ 91 w 291"/>
                <a:gd name="T85" fmla="*/ 327 h 369"/>
                <a:gd name="T86" fmla="*/ 112 w 291"/>
                <a:gd name="T87" fmla="*/ 342 h 369"/>
                <a:gd name="T88" fmla="*/ 137 w 291"/>
                <a:gd name="T89" fmla="*/ 359 h 369"/>
                <a:gd name="T90" fmla="*/ 154 w 291"/>
                <a:gd name="T91" fmla="*/ 340 h 369"/>
                <a:gd name="T92" fmla="*/ 168 w 291"/>
                <a:gd name="T93" fmla="*/ 350 h 369"/>
                <a:gd name="T94" fmla="*/ 148 w 291"/>
                <a:gd name="T95" fmla="*/ 304 h 369"/>
                <a:gd name="T96" fmla="*/ 166 w 291"/>
                <a:gd name="T97" fmla="*/ 300 h 369"/>
                <a:gd name="T98" fmla="*/ 183 w 291"/>
                <a:gd name="T99" fmla="*/ 296 h 369"/>
                <a:gd name="T100" fmla="*/ 164 w 291"/>
                <a:gd name="T101" fmla="*/ 281 h 369"/>
                <a:gd name="T102" fmla="*/ 162 w 291"/>
                <a:gd name="T103" fmla="*/ 265 h 369"/>
                <a:gd name="T104" fmla="*/ 189 w 291"/>
                <a:gd name="T105" fmla="*/ 263 h 369"/>
                <a:gd name="T106" fmla="*/ 204 w 291"/>
                <a:gd name="T107" fmla="*/ 263 h 369"/>
                <a:gd name="T108" fmla="*/ 198 w 291"/>
                <a:gd name="T109" fmla="*/ 238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1" h="369">
                  <a:moveTo>
                    <a:pt x="189" y="237"/>
                  </a:moveTo>
                  <a:lnTo>
                    <a:pt x="183" y="237"/>
                  </a:lnTo>
                  <a:lnTo>
                    <a:pt x="179" y="231"/>
                  </a:lnTo>
                  <a:lnTo>
                    <a:pt x="189" y="233"/>
                  </a:lnTo>
                  <a:lnTo>
                    <a:pt x="200" y="231"/>
                  </a:lnTo>
                  <a:lnTo>
                    <a:pt x="202" y="235"/>
                  </a:lnTo>
                  <a:lnTo>
                    <a:pt x="200" y="235"/>
                  </a:lnTo>
                  <a:lnTo>
                    <a:pt x="206" y="240"/>
                  </a:lnTo>
                  <a:lnTo>
                    <a:pt x="206" y="242"/>
                  </a:lnTo>
                  <a:lnTo>
                    <a:pt x="210" y="242"/>
                  </a:lnTo>
                  <a:lnTo>
                    <a:pt x="212" y="250"/>
                  </a:lnTo>
                  <a:lnTo>
                    <a:pt x="218" y="250"/>
                  </a:lnTo>
                  <a:lnTo>
                    <a:pt x="221" y="256"/>
                  </a:lnTo>
                  <a:lnTo>
                    <a:pt x="221" y="252"/>
                  </a:lnTo>
                  <a:lnTo>
                    <a:pt x="225" y="256"/>
                  </a:lnTo>
                  <a:lnTo>
                    <a:pt x="229" y="254"/>
                  </a:lnTo>
                  <a:lnTo>
                    <a:pt x="229" y="242"/>
                  </a:lnTo>
                  <a:lnTo>
                    <a:pt x="227" y="244"/>
                  </a:lnTo>
                  <a:lnTo>
                    <a:pt x="218" y="244"/>
                  </a:lnTo>
                  <a:lnTo>
                    <a:pt x="212" y="240"/>
                  </a:lnTo>
                  <a:lnTo>
                    <a:pt x="208" y="231"/>
                  </a:lnTo>
                  <a:lnTo>
                    <a:pt x="208" y="221"/>
                  </a:lnTo>
                  <a:lnTo>
                    <a:pt x="204" y="213"/>
                  </a:lnTo>
                  <a:lnTo>
                    <a:pt x="198" y="213"/>
                  </a:lnTo>
                  <a:lnTo>
                    <a:pt x="189" y="215"/>
                  </a:lnTo>
                  <a:lnTo>
                    <a:pt x="181" y="210"/>
                  </a:lnTo>
                  <a:lnTo>
                    <a:pt x="175" y="212"/>
                  </a:lnTo>
                  <a:lnTo>
                    <a:pt x="169" y="206"/>
                  </a:lnTo>
                  <a:lnTo>
                    <a:pt x="164" y="196"/>
                  </a:lnTo>
                  <a:lnTo>
                    <a:pt x="160" y="194"/>
                  </a:lnTo>
                  <a:lnTo>
                    <a:pt x="152" y="198"/>
                  </a:lnTo>
                  <a:lnTo>
                    <a:pt x="150" y="202"/>
                  </a:lnTo>
                  <a:lnTo>
                    <a:pt x="139" y="210"/>
                  </a:lnTo>
                  <a:lnTo>
                    <a:pt x="139" y="212"/>
                  </a:lnTo>
                  <a:lnTo>
                    <a:pt x="146" y="210"/>
                  </a:lnTo>
                  <a:lnTo>
                    <a:pt x="156" y="210"/>
                  </a:lnTo>
                  <a:lnTo>
                    <a:pt x="169" y="217"/>
                  </a:lnTo>
                  <a:lnTo>
                    <a:pt x="173" y="223"/>
                  </a:lnTo>
                  <a:lnTo>
                    <a:pt x="177" y="223"/>
                  </a:lnTo>
                  <a:lnTo>
                    <a:pt x="181" y="227"/>
                  </a:lnTo>
                  <a:lnTo>
                    <a:pt x="177" y="227"/>
                  </a:lnTo>
                  <a:lnTo>
                    <a:pt x="175" y="229"/>
                  </a:lnTo>
                  <a:lnTo>
                    <a:pt x="166" y="229"/>
                  </a:lnTo>
                  <a:lnTo>
                    <a:pt x="168" y="227"/>
                  </a:lnTo>
                  <a:lnTo>
                    <a:pt x="164" y="227"/>
                  </a:lnTo>
                  <a:lnTo>
                    <a:pt x="166" y="223"/>
                  </a:lnTo>
                  <a:lnTo>
                    <a:pt x="164" y="219"/>
                  </a:lnTo>
                  <a:lnTo>
                    <a:pt x="158" y="219"/>
                  </a:lnTo>
                  <a:lnTo>
                    <a:pt x="154" y="223"/>
                  </a:lnTo>
                  <a:lnTo>
                    <a:pt x="150" y="215"/>
                  </a:lnTo>
                  <a:lnTo>
                    <a:pt x="141" y="215"/>
                  </a:lnTo>
                  <a:lnTo>
                    <a:pt x="137" y="215"/>
                  </a:lnTo>
                  <a:lnTo>
                    <a:pt x="133" y="212"/>
                  </a:lnTo>
                  <a:lnTo>
                    <a:pt x="129" y="213"/>
                  </a:lnTo>
                  <a:lnTo>
                    <a:pt x="125" y="212"/>
                  </a:lnTo>
                  <a:lnTo>
                    <a:pt x="127" y="208"/>
                  </a:lnTo>
                  <a:lnTo>
                    <a:pt x="137" y="208"/>
                  </a:lnTo>
                  <a:lnTo>
                    <a:pt x="143" y="204"/>
                  </a:lnTo>
                  <a:lnTo>
                    <a:pt x="146" y="202"/>
                  </a:lnTo>
                  <a:lnTo>
                    <a:pt x="148" y="196"/>
                  </a:lnTo>
                  <a:lnTo>
                    <a:pt x="144" y="196"/>
                  </a:lnTo>
                  <a:lnTo>
                    <a:pt x="144" y="192"/>
                  </a:lnTo>
                  <a:lnTo>
                    <a:pt x="137" y="190"/>
                  </a:lnTo>
                  <a:lnTo>
                    <a:pt x="135" y="185"/>
                  </a:lnTo>
                  <a:lnTo>
                    <a:pt x="141" y="177"/>
                  </a:lnTo>
                  <a:lnTo>
                    <a:pt x="148" y="179"/>
                  </a:lnTo>
                  <a:lnTo>
                    <a:pt x="154" y="187"/>
                  </a:lnTo>
                  <a:lnTo>
                    <a:pt x="150" y="188"/>
                  </a:lnTo>
                  <a:lnTo>
                    <a:pt x="148" y="190"/>
                  </a:lnTo>
                  <a:lnTo>
                    <a:pt x="148" y="192"/>
                  </a:lnTo>
                  <a:lnTo>
                    <a:pt x="154" y="192"/>
                  </a:lnTo>
                  <a:lnTo>
                    <a:pt x="160" y="187"/>
                  </a:lnTo>
                  <a:lnTo>
                    <a:pt x="146" y="167"/>
                  </a:lnTo>
                  <a:lnTo>
                    <a:pt x="137" y="162"/>
                  </a:lnTo>
                  <a:lnTo>
                    <a:pt x="133" y="150"/>
                  </a:lnTo>
                  <a:lnTo>
                    <a:pt x="125" y="146"/>
                  </a:lnTo>
                  <a:lnTo>
                    <a:pt x="125" y="140"/>
                  </a:lnTo>
                  <a:lnTo>
                    <a:pt x="118" y="137"/>
                  </a:lnTo>
                  <a:lnTo>
                    <a:pt x="116" y="129"/>
                  </a:lnTo>
                  <a:lnTo>
                    <a:pt x="120" y="114"/>
                  </a:lnTo>
                  <a:lnTo>
                    <a:pt x="114" y="108"/>
                  </a:lnTo>
                  <a:lnTo>
                    <a:pt x="118" y="108"/>
                  </a:lnTo>
                  <a:lnTo>
                    <a:pt x="118" y="104"/>
                  </a:lnTo>
                  <a:lnTo>
                    <a:pt x="121" y="104"/>
                  </a:lnTo>
                  <a:lnTo>
                    <a:pt x="121" y="102"/>
                  </a:lnTo>
                  <a:lnTo>
                    <a:pt x="125" y="98"/>
                  </a:lnTo>
                  <a:lnTo>
                    <a:pt x="125" y="96"/>
                  </a:lnTo>
                  <a:lnTo>
                    <a:pt x="129" y="96"/>
                  </a:lnTo>
                  <a:lnTo>
                    <a:pt x="131" y="100"/>
                  </a:lnTo>
                  <a:lnTo>
                    <a:pt x="125" y="106"/>
                  </a:lnTo>
                  <a:lnTo>
                    <a:pt x="129" y="112"/>
                  </a:lnTo>
                  <a:lnTo>
                    <a:pt x="131" y="112"/>
                  </a:lnTo>
                  <a:lnTo>
                    <a:pt x="135" y="115"/>
                  </a:lnTo>
                  <a:lnTo>
                    <a:pt x="148" y="121"/>
                  </a:lnTo>
                  <a:lnTo>
                    <a:pt x="154" y="137"/>
                  </a:lnTo>
                  <a:lnTo>
                    <a:pt x="173" y="135"/>
                  </a:lnTo>
                  <a:lnTo>
                    <a:pt x="160" y="131"/>
                  </a:lnTo>
                  <a:lnTo>
                    <a:pt x="154" y="123"/>
                  </a:lnTo>
                  <a:lnTo>
                    <a:pt x="150" y="119"/>
                  </a:lnTo>
                  <a:lnTo>
                    <a:pt x="152" y="115"/>
                  </a:lnTo>
                  <a:lnTo>
                    <a:pt x="166" y="117"/>
                  </a:lnTo>
                  <a:lnTo>
                    <a:pt x="175" y="129"/>
                  </a:lnTo>
                  <a:lnTo>
                    <a:pt x="181" y="133"/>
                  </a:lnTo>
                  <a:lnTo>
                    <a:pt x="185" y="133"/>
                  </a:lnTo>
                  <a:lnTo>
                    <a:pt x="183" y="121"/>
                  </a:lnTo>
                  <a:lnTo>
                    <a:pt x="175" y="119"/>
                  </a:lnTo>
                  <a:lnTo>
                    <a:pt x="171" y="117"/>
                  </a:lnTo>
                  <a:lnTo>
                    <a:pt x="168" y="112"/>
                  </a:lnTo>
                  <a:lnTo>
                    <a:pt x="177" y="106"/>
                  </a:lnTo>
                  <a:lnTo>
                    <a:pt x="183" y="110"/>
                  </a:lnTo>
                  <a:lnTo>
                    <a:pt x="189" y="110"/>
                  </a:lnTo>
                  <a:lnTo>
                    <a:pt x="196" y="119"/>
                  </a:lnTo>
                  <a:lnTo>
                    <a:pt x="200" y="117"/>
                  </a:lnTo>
                  <a:lnTo>
                    <a:pt x="200" y="115"/>
                  </a:lnTo>
                  <a:lnTo>
                    <a:pt x="193" y="108"/>
                  </a:lnTo>
                  <a:lnTo>
                    <a:pt x="183" y="106"/>
                  </a:lnTo>
                  <a:lnTo>
                    <a:pt x="181" y="100"/>
                  </a:lnTo>
                  <a:lnTo>
                    <a:pt x="175" y="104"/>
                  </a:lnTo>
                  <a:lnTo>
                    <a:pt x="171" y="98"/>
                  </a:lnTo>
                  <a:lnTo>
                    <a:pt x="175" y="94"/>
                  </a:lnTo>
                  <a:lnTo>
                    <a:pt x="169" y="92"/>
                  </a:lnTo>
                  <a:lnTo>
                    <a:pt x="168" y="90"/>
                  </a:lnTo>
                  <a:lnTo>
                    <a:pt x="164" y="89"/>
                  </a:lnTo>
                  <a:lnTo>
                    <a:pt x="164" y="83"/>
                  </a:lnTo>
                  <a:lnTo>
                    <a:pt x="171" y="81"/>
                  </a:lnTo>
                  <a:lnTo>
                    <a:pt x="181" y="83"/>
                  </a:lnTo>
                  <a:lnTo>
                    <a:pt x="193" y="73"/>
                  </a:lnTo>
                  <a:lnTo>
                    <a:pt x="191" y="71"/>
                  </a:lnTo>
                  <a:lnTo>
                    <a:pt x="193" y="67"/>
                  </a:lnTo>
                  <a:lnTo>
                    <a:pt x="198" y="64"/>
                  </a:lnTo>
                  <a:lnTo>
                    <a:pt x="200" y="64"/>
                  </a:lnTo>
                  <a:lnTo>
                    <a:pt x="204" y="69"/>
                  </a:lnTo>
                  <a:lnTo>
                    <a:pt x="214" y="69"/>
                  </a:lnTo>
                  <a:lnTo>
                    <a:pt x="219" y="64"/>
                  </a:lnTo>
                  <a:lnTo>
                    <a:pt x="221" y="58"/>
                  </a:lnTo>
                  <a:lnTo>
                    <a:pt x="225" y="58"/>
                  </a:lnTo>
                  <a:lnTo>
                    <a:pt x="227" y="58"/>
                  </a:lnTo>
                  <a:lnTo>
                    <a:pt x="227" y="60"/>
                  </a:lnTo>
                  <a:lnTo>
                    <a:pt x="237" y="60"/>
                  </a:lnTo>
                  <a:lnTo>
                    <a:pt x="250" y="62"/>
                  </a:lnTo>
                  <a:lnTo>
                    <a:pt x="269" y="64"/>
                  </a:lnTo>
                  <a:lnTo>
                    <a:pt x="271" y="67"/>
                  </a:lnTo>
                  <a:lnTo>
                    <a:pt x="273" y="65"/>
                  </a:lnTo>
                  <a:lnTo>
                    <a:pt x="277" y="56"/>
                  </a:lnTo>
                  <a:lnTo>
                    <a:pt x="283" y="50"/>
                  </a:lnTo>
                  <a:lnTo>
                    <a:pt x="281" y="48"/>
                  </a:lnTo>
                  <a:lnTo>
                    <a:pt x="283" y="46"/>
                  </a:lnTo>
                  <a:lnTo>
                    <a:pt x="279" y="41"/>
                  </a:lnTo>
                  <a:lnTo>
                    <a:pt x="279" y="33"/>
                  </a:lnTo>
                  <a:lnTo>
                    <a:pt x="291" y="23"/>
                  </a:lnTo>
                  <a:lnTo>
                    <a:pt x="287" y="8"/>
                  </a:lnTo>
                  <a:lnTo>
                    <a:pt x="275" y="2"/>
                  </a:lnTo>
                  <a:lnTo>
                    <a:pt x="271" y="4"/>
                  </a:lnTo>
                  <a:lnTo>
                    <a:pt x="267" y="0"/>
                  </a:lnTo>
                  <a:lnTo>
                    <a:pt x="262" y="4"/>
                  </a:lnTo>
                  <a:lnTo>
                    <a:pt x="269" y="21"/>
                  </a:lnTo>
                  <a:lnTo>
                    <a:pt x="269" y="27"/>
                  </a:lnTo>
                  <a:lnTo>
                    <a:pt x="258" y="31"/>
                  </a:lnTo>
                  <a:lnTo>
                    <a:pt x="254" y="29"/>
                  </a:lnTo>
                  <a:lnTo>
                    <a:pt x="250" y="35"/>
                  </a:lnTo>
                  <a:lnTo>
                    <a:pt x="242" y="33"/>
                  </a:lnTo>
                  <a:lnTo>
                    <a:pt x="241" y="37"/>
                  </a:lnTo>
                  <a:lnTo>
                    <a:pt x="229" y="41"/>
                  </a:lnTo>
                  <a:lnTo>
                    <a:pt x="225" y="37"/>
                  </a:lnTo>
                  <a:lnTo>
                    <a:pt x="212" y="33"/>
                  </a:lnTo>
                  <a:lnTo>
                    <a:pt x="206" y="37"/>
                  </a:lnTo>
                  <a:lnTo>
                    <a:pt x="202" y="33"/>
                  </a:lnTo>
                  <a:lnTo>
                    <a:pt x="198" y="33"/>
                  </a:lnTo>
                  <a:lnTo>
                    <a:pt x="193" y="25"/>
                  </a:lnTo>
                  <a:lnTo>
                    <a:pt x="191" y="29"/>
                  </a:lnTo>
                  <a:lnTo>
                    <a:pt x="185" y="29"/>
                  </a:lnTo>
                  <a:lnTo>
                    <a:pt x="181" y="27"/>
                  </a:lnTo>
                  <a:lnTo>
                    <a:pt x="179" y="29"/>
                  </a:lnTo>
                  <a:lnTo>
                    <a:pt x="179" y="31"/>
                  </a:lnTo>
                  <a:lnTo>
                    <a:pt x="173" y="29"/>
                  </a:lnTo>
                  <a:lnTo>
                    <a:pt x="173" y="35"/>
                  </a:lnTo>
                  <a:lnTo>
                    <a:pt x="169" y="37"/>
                  </a:lnTo>
                  <a:lnTo>
                    <a:pt x="166" y="35"/>
                  </a:lnTo>
                  <a:lnTo>
                    <a:pt x="160" y="41"/>
                  </a:lnTo>
                  <a:lnTo>
                    <a:pt x="156" y="41"/>
                  </a:lnTo>
                  <a:lnTo>
                    <a:pt x="154" y="42"/>
                  </a:lnTo>
                  <a:lnTo>
                    <a:pt x="144" y="42"/>
                  </a:lnTo>
                  <a:lnTo>
                    <a:pt x="141" y="46"/>
                  </a:lnTo>
                  <a:lnTo>
                    <a:pt x="139" y="44"/>
                  </a:lnTo>
                  <a:lnTo>
                    <a:pt x="135" y="50"/>
                  </a:lnTo>
                  <a:lnTo>
                    <a:pt x="123" y="50"/>
                  </a:lnTo>
                  <a:lnTo>
                    <a:pt x="120" y="50"/>
                  </a:lnTo>
                  <a:lnTo>
                    <a:pt x="116" y="52"/>
                  </a:lnTo>
                  <a:lnTo>
                    <a:pt x="116" y="64"/>
                  </a:lnTo>
                  <a:lnTo>
                    <a:pt x="112" y="62"/>
                  </a:lnTo>
                  <a:lnTo>
                    <a:pt x="110" y="65"/>
                  </a:lnTo>
                  <a:lnTo>
                    <a:pt x="96" y="67"/>
                  </a:lnTo>
                  <a:lnTo>
                    <a:pt x="93" y="65"/>
                  </a:lnTo>
                  <a:lnTo>
                    <a:pt x="89" y="67"/>
                  </a:lnTo>
                  <a:lnTo>
                    <a:pt x="85" y="67"/>
                  </a:lnTo>
                  <a:lnTo>
                    <a:pt x="81" y="69"/>
                  </a:lnTo>
                  <a:lnTo>
                    <a:pt x="73" y="83"/>
                  </a:lnTo>
                  <a:lnTo>
                    <a:pt x="70" y="83"/>
                  </a:lnTo>
                  <a:lnTo>
                    <a:pt x="66" y="87"/>
                  </a:lnTo>
                  <a:lnTo>
                    <a:pt x="56" y="85"/>
                  </a:lnTo>
                  <a:lnTo>
                    <a:pt x="54" y="89"/>
                  </a:lnTo>
                  <a:lnTo>
                    <a:pt x="37" y="92"/>
                  </a:lnTo>
                  <a:lnTo>
                    <a:pt x="37" y="98"/>
                  </a:lnTo>
                  <a:lnTo>
                    <a:pt x="43" y="102"/>
                  </a:lnTo>
                  <a:lnTo>
                    <a:pt x="43" y="108"/>
                  </a:lnTo>
                  <a:lnTo>
                    <a:pt x="39" y="117"/>
                  </a:lnTo>
                  <a:lnTo>
                    <a:pt x="33" y="117"/>
                  </a:lnTo>
                  <a:lnTo>
                    <a:pt x="31" y="119"/>
                  </a:lnTo>
                  <a:lnTo>
                    <a:pt x="31" y="127"/>
                  </a:lnTo>
                  <a:lnTo>
                    <a:pt x="27" y="142"/>
                  </a:lnTo>
                  <a:lnTo>
                    <a:pt x="25" y="142"/>
                  </a:lnTo>
                  <a:lnTo>
                    <a:pt x="18" y="144"/>
                  </a:lnTo>
                  <a:lnTo>
                    <a:pt x="16" y="150"/>
                  </a:lnTo>
                  <a:lnTo>
                    <a:pt x="12" y="150"/>
                  </a:lnTo>
                  <a:lnTo>
                    <a:pt x="18" y="160"/>
                  </a:lnTo>
                  <a:lnTo>
                    <a:pt x="16" y="163"/>
                  </a:lnTo>
                  <a:lnTo>
                    <a:pt x="12" y="162"/>
                  </a:lnTo>
                  <a:lnTo>
                    <a:pt x="14" y="167"/>
                  </a:lnTo>
                  <a:lnTo>
                    <a:pt x="10" y="173"/>
                  </a:lnTo>
                  <a:lnTo>
                    <a:pt x="0" y="171"/>
                  </a:lnTo>
                  <a:lnTo>
                    <a:pt x="8" y="175"/>
                  </a:lnTo>
                  <a:lnTo>
                    <a:pt x="6" y="181"/>
                  </a:lnTo>
                  <a:lnTo>
                    <a:pt x="16" y="194"/>
                  </a:lnTo>
                  <a:lnTo>
                    <a:pt x="23" y="196"/>
                  </a:lnTo>
                  <a:lnTo>
                    <a:pt x="25" y="200"/>
                  </a:lnTo>
                  <a:lnTo>
                    <a:pt x="39" y="215"/>
                  </a:lnTo>
                  <a:lnTo>
                    <a:pt x="43" y="213"/>
                  </a:lnTo>
                  <a:lnTo>
                    <a:pt x="41" y="208"/>
                  </a:lnTo>
                  <a:lnTo>
                    <a:pt x="46" y="210"/>
                  </a:lnTo>
                  <a:lnTo>
                    <a:pt x="56" y="208"/>
                  </a:lnTo>
                  <a:lnTo>
                    <a:pt x="58" y="212"/>
                  </a:lnTo>
                  <a:lnTo>
                    <a:pt x="58" y="215"/>
                  </a:lnTo>
                  <a:lnTo>
                    <a:pt x="50" y="213"/>
                  </a:lnTo>
                  <a:lnTo>
                    <a:pt x="45" y="217"/>
                  </a:lnTo>
                  <a:lnTo>
                    <a:pt x="39" y="217"/>
                  </a:lnTo>
                  <a:lnTo>
                    <a:pt x="39" y="221"/>
                  </a:lnTo>
                  <a:lnTo>
                    <a:pt x="39" y="225"/>
                  </a:lnTo>
                  <a:lnTo>
                    <a:pt x="43" y="227"/>
                  </a:lnTo>
                  <a:lnTo>
                    <a:pt x="46" y="225"/>
                  </a:lnTo>
                  <a:lnTo>
                    <a:pt x="48" y="233"/>
                  </a:lnTo>
                  <a:lnTo>
                    <a:pt x="52" y="233"/>
                  </a:lnTo>
                  <a:lnTo>
                    <a:pt x="56" y="242"/>
                  </a:lnTo>
                  <a:lnTo>
                    <a:pt x="58" y="240"/>
                  </a:lnTo>
                  <a:lnTo>
                    <a:pt x="60" y="246"/>
                  </a:lnTo>
                  <a:lnTo>
                    <a:pt x="60" y="248"/>
                  </a:lnTo>
                  <a:lnTo>
                    <a:pt x="60" y="252"/>
                  </a:lnTo>
                  <a:lnTo>
                    <a:pt x="62" y="254"/>
                  </a:lnTo>
                  <a:lnTo>
                    <a:pt x="66" y="254"/>
                  </a:lnTo>
                  <a:lnTo>
                    <a:pt x="71" y="248"/>
                  </a:lnTo>
                  <a:lnTo>
                    <a:pt x="77" y="248"/>
                  </a:lnTo>
                  <a:lnTo>
                    <a:pt x="79" y="252"/>
                  </a:lnTo>
                  <a:lnTo>
                    <a:pt x="87" y="248"/>
                  </a:lnTo>
                  <a:lnTo>
                    <a:pt x="93" y="250"/>
                  </a:lnTo>
                  <a:lnTo>
                    <a:pt x="93" y="246"/>
                  </a:lnTo>
                  <a:lnTo>
                    <a:pt x="96" y="246"/>
                  </a:lnTo>
                  <a:lnTo>
                    <a:pt x="100" y="244"/>
                  </a:lnTo>
                  <a:lnTo>
                    <a:pt x="110" y="244"/>
                  </a:lnTo>
                  <a:lnTo>
                    <a:pt x="112" y="248"/>
                  </a:lnTo>
                  <a:lnTo>
                    <a:pt x="116" y="244"/>
                  </a:lnTo>
                  <a:lnTo>
                    <a:pt x="121" y="246"/>
                  </a:lnTo>
                  <a:lnTo>
                    <a:pt x="121" y="238"/>
                  </a:lnTo>
                  <a:lnTo>
                    <a:pt x="127" y="242"/>
                  </a:lnTo>
                  <a:lnTo>
                    <a:pt x="131" y="248"/>
                  </a:lnTo>
                  <a:lnTo>
                    <a:pt x="133" y="244"/>
                  </a:lnTo>
                  <a:lnTo>
                    <a:pt x="135" y="240"/>
                  </a:lnTo>
                  <a:lnTo>
                    <a:pt x="143" y="246"/>
                  </a:lnTo>
                  <a:lnTo>
                    <a:pt x="141" y="250"/>
                  </a:lnTo>
                  <a:lnTo>
                    <a:pt x="146" y="248"/>
                  </a:lnTo>
                  <a:lnTo>
                    <a:pt x="156" y="252"/>
                  </a:lnTo>
                  <a:lnTo>
                    <a:pt x="160" y="250"/>
                  </a:lnTo>
                  <a:lnTo>
                    <a:pt x="160" y="252"/>
                  </a:lnTo>
                  <a:lnTo>
                    <a:pt x="164" y="256"/>
                  </a:lnTo>
                  <a:lnTo>
                    <a:pt x="158" y="260"/>
                  </a:lnTo>
                  <a:lnTo>
                    <a:pt x="150" y="258"/>
                  </a:lnTo>
                  <a:lnTo>
                    <a:pt x="146" y="261"/>
                  </a:lnTo>
                  <a:lnTo>
                    <a:pt x="154" y="265"/>
                  </a:lnTo>
                  <a:lnTo>
                    <a:pt x="152" y="267"/>
                  </a:lnTo>
                  <a:lnTo>
                    <a:pt x="148" y="267"/>
                  </a:lnTo>
                  <a:lnTo>
                    <a:pt x="137" y="261"/>
                  </a:lnTo>
                  <a:lnTo>
                    <a:pt x="121" y="258"/>
                  </a:lnTo>
                  <a:lnTo>
                    <a:pt x="114" y="256"/>
                  </a:lnTo>
                  <a:lnTo>
                    <a:pt x="104" y="250"/>
                  </a:lnTo>
                  <a:lnTo>
                    <a:pt x="96" y="248"/>
                  </a:lnTo>
                  <a:lnTo>
                    <a:pt x="93" y="252"/>
                  </a:lnTo>
                  <a:lnTo>
                    <a:pt x="87" y="261"/>
                  </a:lnTo>
                  <a:lnTo>
                    <a:pt x="77" y="260"/>
                  </a:lnTo>
                  <a:lnTo>
                    <a:pt x="75" y="261"/>
                  </a:lnTo>
                  <a:lnTo>
                    <a:pt x="73" y="260"/>
                  </a:lnTo>
                  <a:lnTo>
                    <a:pt x="73" y="269"/>
                  </a:lnTo>
                  <a:lnTo>
                    <a:pt x="73" y="273"/>
                  </a:lnTo>
                  <a:lnTo>
                    <a:pt x="68" y="279"/>
                  </a:lnTo>
                  <a:lnTo>
                    <a:pt x="64" y="279"/>
                  </a:lnTo>
                  <a:lnTo>
                    <a:pt x="64" y="285"/>
                  </a:lnTo>
                  <a:lnTo>
                    <a:pt x="73" y="288"/>
                  </a:lnTo>
                  <a:lnTo>
                    <a:pt x="75" y="296"/>
                  </a:lnTo>
                  <a:lnTo>
                    <a:pt x="75" y="294"/>
                  </a:lnTo>
                  <a:lnTo>
                    <a:pt x="79" y="294"/>
                  </a:lnTo>
                  <a:lnTo>
                    <a:pt x="89" y="300"/>
                  </a:lnTo>
                  <a:lnTo>
                    <a:pt x="95" y="311"/>
                  </a:lnTo>
                  <a:lnTo>
                    <a:pt x="96" y="315"/>
                  </a:lnTo>
                  <a:lnTo>
                    <a:pt x="91" y="327"/>
                  </a:lnTo>
                  <a:lnTo>
                    <a:pt x="96" y="336"/>
                  </a:lnTo>
                  <a:lnTo>
                    <a:pt x="100" y="338"/>
                  </a:lnTo>
                  <a:lnTo>
                    <a:pt x="100" y="346"/>
                  </a:lnTo>
                  <a:lnTo>
                    <a:pt x="106" y="346"/>
                  </a:lnTo>
                  <a:lnTo>
                    <a:pt x="110" y="352"/>
                  </a:lnTo>
                  <a:lnTo>
                    <a:pt x="114" y="346"/>
                  </a:lnTo>
                  <a:lnTo>
                    <a:pt x="112" y="342"/>
                  </a:lnTo>
                  <a:lnTo>
                    <a:pt x="110" y="334"/>
                  </a:lnTo>
                  <a:lnTo>
                    <a:pt x="116" y="331"/>
                  </a:lnTo>
                  <a:lnTo>
                    <a:pt x="121" y="331"/>
                  </a:lnTo>
                  <a:lnTo>
                    <a:pt x="121" y="338"/>
                  </a:lnTo>
                  <a:lnTo>
                    <a:pt x="125" y="338"/>
                  </a:lnTo>
                  <a:lnTo>
                    <a:pt x="133" y="348"/>
                  </a:lnTo>
                  <a:lnTo>
                    <a:pt x="137" y="359"/>
                  </a:lnTo>
                  <a:lnTo>
                    <a:pt x="135" y="361"/>
                  </a:lnTo>
                  <a:lnTo>
                    <a:pt x="143" y="369"/>
                  </a:lnTo>
                  <a:lnTo>
                    <a:pt x="141" y="356"/>
                  </a:lnTo>
                  <a:lnTo>
                    <a:pt x="143" y="354"/>
                  </a:lnTo>
                  <a:lnTo>
                    <a:pt x="143" y="348"/>
                  </a:lnTo>
                  <a:lnTo>
                    <a:pt x="144" y="342"/>
                  </a:lnTo>
                  <a:lnTo>
                    <a:pt x="154" y="340"/>
                  </a:lnTo>
                  <a:lnTo>
                    <a:pt x="156" y="350"/>
                  </a:lnTo>
                  <a:lnTo>
                    <a:pt x="166" y="358"/>
                  </a:lnTo>
                  <a:lnTo>
                    <a:pt x="169" y="358"/>
                  </a:lnTo>
                  <a:lnTo>
                    <a:pt x="171" y="361"/>
                  </a:lnTo>
                  <a:lnTo>
                    <a:pt x="177" y="361"/>
                  </a:lnTo>
                  <a:lnTo>
                    <a:pt x="173" y="356"/>
                  </a:lnTo>
                  <a:lnTo>
                    <a:pt x="168" y="350"/>
                  </a:lnTo>
                  <a:lnTo>
                    <a:pt x="166" y="344"/>
                  </a:lnTo>
                  <a:lnTo>
                    <a:pt x="169" y="340"/>
                  </a:lnTo>
                  <a:lnTo>
                    <a:pt x="162" y="325"/>
                  </a:lnTo>
                  <a:lnTo>
                    <a:pt x="160" y="319"/>
                  </a:lnTo>
                  <a:lnTo>
                    <a:pt x="156" y="319"/>
                  </a:lnTo>
                  <a:lnTo>
                    <a:pt x="156" y="315"/>
                  </a:lnTo>
                  <a:lnTo>
                    <a:pt x="148" y="304"/>
                  </a:lnTo>
                  <a:lnTo>
                    <a:pt x="144" y="294"/>
                  </a:lnTo>
                  <a:lnTo>
                    <a:pt x="146" y="290"/>
                  </a:lnTo>
                  <a:lnTo>
                    <a:pt x="150" y="294"/>
                  </a:lnTo>
                  <a:lnTo>
                    <a:pt x="154" y="294"/>
                  </a:lnTo>
                  <a:lnTo>
                    <a:pt x="158" y="298"/>
                  </a:lnTo>
                  <a:lnTo>
                    <a:pt x="166" y="298"/>
                  </a:lnTo>
                  <a:lnTo>
                    <a:pt x="166" y="300"/>
                  </a:lnTo>
                  <a:lnTo>
                    <a:pt x="162" y="302"/>
                  </a:lnTo>
                  <a:lnTo>
                    <a:pt x="164" y="304"/>
                  </a:lnTo>
                  <a:lnTo>
                    <a:pt x="168" y="308"/>
                  </a:lnTo>
                  <a:lnTo>
                    <a:pt x="173" y="304"/>
                  </a:lnTo>
                  <a:lnTo>
                    <a:pt x="171" y="302"/>
                  </a:lnTo>
                  <a:lnTo>
                    <a:pt x="171" y="300"/>
                  </a:lnTo>
                  <a:lnTo>
                    <a:pt x="183" y="296"/>
                  </a:lnTo>
                  <a:lnTo>
                    <a:pt x="185" y="294"/>
                  </a:lnTo>
                  <a:lnTo>
                    <a:pt x="177" y="292"/>
                  </a:lnTo>
                  <a:lnTo>
                    <a:pt x="177" y="285"/>
                  </a:lnTo>
                  <a:lnTo>
                    <a:pt x="173" y="286"/>
                  </a:lnTo>
                  <a:lnTo>
                    <a:pt x="173" y="290"/>
                  </a:lnTo>
                  <a:lnTo>
                    <a:pt x="166" y="286"/>
                  </a:lnTo>
                  <a:lnTo>
                    <a:pt x="164" y="281"/>
                  </a:lnTo>
                  <a:lnTo>
                    <a:pt x="162" y="277"/>
                  </a:lnTo>
                  <a:lnTo>
                    <a:pt x="164" y="275"/>
                  </a:lnTo>
                  <a:lnTo>
                    <a:pt x="162" y="273"/>
                  </a:lnTo>
                  <a:lnTo>
                    <a:pt x="156" y="273"/>
                  </a:lnTo>
                  <a:lnTo>
                    <a:pt x="154" y="271"/>
                  </a:lnTo>
                  <a:lnTo>
                    <a:pt x="156" y="267"/>
                  </a:lnTo>
                  <a:lnTo>
                    <a:pt x="162" y="265"/>
                  </a:lnTo>
                  <a:lnTo>
                    <a:pt x="166" y="263"/>
                  </a:lnTo>
                  <a:lnTo>
                    <a:pt x="175" y="261"/>
                  </a:lnTo>
                  <a:lnTo>
                    <a:pt x="175" y="260"/>
                  </a:lnTo>
                  <a:lnTo>
                    <a:pt x="181" y="258"/>
                  </a:lnTo>
                  <a:lnTo>
                    <a:pt x="181" y="261"/>
                  </a:lnTo>
                  <a:lnTo>
                    <a:pt x="185" y="263"/>
                  </a:lnTo>
                  <a:lnTo>
                    <a:pt x="189" y="263"/>
                  </a:lnTo>
                  <a:lnTo>
                    <a:pt x="193" y="271"/>
                  </a:lnTo>
                  <a:lnTo>
                    <a:pt x="198" y="271"/>
                  </a:lnTo>
                  <a:lnTo>
                    <a:pt x="202" y="279"/>
                  </a:lnTo>
                  <a:lnTo>
                    <a:pt x="208" y="279"/>
                  </a:lnTo>
                  <a:lnTo>
                    <a:pt x="208" y="277"/>
                  </a:lnTo>
                  <a:lnTo>
                    <a:pt x="208" y="269"/>
                  </a:lnTo>
                  <a:lnTo>
                    <a:pt x="204" y="263"/>
                  </a:lnTo>
                  <a:lnTo>
                    <a:pt x="206" y="263"/>
                  </a:lnTo>
                  <a:lnTo>
                    <a:pt x="204" y="261"/>
                  </a:lnTo>
                  <a:lnTo>
                    <a:pt x="204" y="256"/>
                  </a:lnTo>
                  <a:lnTo>
                    <a:pt x="200" y="250"/>
                  </a:lnTo>
                  <a:lnTo>
                    <a:pt x="204" y="248"/>
                  </a:lnTo>
                  <a:lnTo>
                    <a:pt x="204" y="244"/>
                  </a:lnTo>
                  <a:lnTo>
                    <a:pt x="198" y="238"/>
                  </a:lnTo>
                  <a:lnTo>
                    <a:pt x="189" y="237"/>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19" name="Freeform 7"/>
            <p:cNvSpPr>
              <a:spLocks/>
            </p:cNvSpPr>
            <p:nvPr/>
          </p:nvSpPr>
          <p:spPr bwMode="auto">
            <a:xfrm>
              <a:off x="3115" y="3451"/>
              <a:ext cx="142" cy="42"/>
            </a:xfrm>
            <a:custGeom>
              <a:avLst/>
              <a:gdLst>
                <a:gd name="T0" fmla="*/ 100 w 142"/>
                <a:gd name="T1" fmla="*/ 11 h 42"/>
                <a:gd name="T2" fmla="*/ 77 w 142"/>
                <a:gd name="T3" fmla="*/ 13 h 42"/>
                <a:gd name="T4" fmla="*/ 73 w 142"/>
                <a:gd name="T5" fmla="*/ 7 h 42"/>
                <a:gd name="T6" fmla="*/ 69 w 142"/>
                <a:gd name="T7" fmla="*/ 9 h 42"/>
                <a:gd name="T8" fmla="*/ 58 w 142"/>
                <a:gd name="T9" fmla="*/ 9 h 42"/>
                <a:gd name="T10" fmla="*/ 40 w 142"/>
                <a:gd name="T11" fmla="*/ 17 h 42"/>
                <a:gd name="T12" fmla="*/ 37 w 142"/>
                <a:gd name="T13" fmla="*/ 17 h 42"/>
                <a:gd name="T14" fmla="*/ 35 w 142"/>
                <a:gd name="T15" fmla="*/ 11 h 42"/>
                <a:gd name="T16" fmla="*/ 31 w 142"/>
                <a:gd name="T17" fmla="*/ 13 h 42"/>
                <a:gd name="T18" fmla="*/ 27 w 142"/>
                <a:gd name="T19" fmla="*/ 9 h 42"/>
                <a:gd name="T20" fmla="*/ 33 w 142"/>
                <a:gd name="T21" fmla="*/ 9 h 42"/>
                <a:gd name="T22" fmla="*/ 33 w 142"/>
                <a:gd name="T23" fmla="*/ 5 h 42"/>
                <a:gd name="T24" fmla="*/ 31 w 142"/>
                <a:gd name="T25" fmla="*/ 4 h 42"/>
                <a:gd name="T26" fmla="*/ 25 w 142"/>
                <a:gd name="T27" fmla="*/ 5 h 42"/>
                <a:gd name="T28" fmla="*/ 23 w 142"/>
                <a:gd name="T29" fmla="*/ 9 h 42"/>
                <a:gd name="T30" fmla="*/ 14 w 142"/>
                <a:gd name="T31" fmla="*/ 9 h 42"/>
                <a:gd name="T32" fmla="*/ 8 w 142"/>
                <a:gd name="T33" fmla="*/ 0 h 42"/>
                <a:gd name="T34" fmla="*/ 8 w 142"/>
                <a:gd name="T35" fmla="*/ 5 h 42"/>
                <a:gd name="T36" fmla="*/ 10 w 142"/>
                <a:gd name="T37" fmla="*/ 9 h 42"/>
                <a:gd name="T38" fmla="*/ 8 w 142"/>
                <a:gd name="T39" fmla="*/ 13 h 42"/>
                <a:gd name="T40" fmla="*/ 4 w 142"/>
                <a:gd name="T41" fmla="*/ 11 h 42"/>
                <a:gd name="T42" fmla="*/ 2 w 142"/>
                <a:gd name="T43" fmla="*/ 5 h 42"/>
                <a:gd name="T44" fmla="*/ 0 w 142"/>
                <a:gd name="T45" fmla="*/ 7 h 42"/>
                <a:gd name="T46" fmla="*/ 2 w 142"/>
                <a:gd name="T47" fmla="*/ 27 h 42"/>
                <a:gd name="T48" fmla="*/ 6 w 142"/>
                <a:gd name="T49" fmla="*/ 30 h 42"/>
                <a:gd name="T50" fmla="*/ 17 w 142"/>
                <a:gd name="T51" fmla="*/ 28 h 42"/>
                <a:gd name="T52" fmla="*/ 39 w 142"/>
                <a:gd name="T53" fmla="*/ 28 h 42"/>
                <a:gd name="T54" fmla="*/ 44 w 142"/>
                <a:gd name="T55" fmla="*/ 27 h 42"/>
                <a:gd name="T56" fmla="*/ 56 w 142"/>
                <a:gd name="T57" fmla="*/ 30 h 42"/>
                <a:gd name="T58" fmla="*/ 62 w 142"/>
                <a:gd name="T59" fmla="*/ 30 h 42"/>
                <a:gd name="T60" fmla="*/ 65 w 142"/>
                <a:gd name="T61" fmla="*/ 34 h 42"/>
                <a:gd name="T62" fmla="*/ 65 w 142"/>
                <a:gd name="T63" fmla="*/ 40 h 42"/>
                <a:gd name="T64" fmla="*/ 65 w 142"/>
                <a:gd name="T65" fmla="*/ 42 h 42"/>
                <a:gd name="T66" fmla="*/ 106 w 142"/>
                <a:gd name="T67" fmla="*/ 30 h 42"/>
                <a:gd name="T68" fmla="*/ 114 w 142"/>
                <a:gd name="T69" fmla="*/ 27 h 42"/>
                <a:gd name="T70" fmla="*/ 119 w 142"/>
                <a:gd name="T71" fmla="*/ 28 h 42"/>
                <a:gd name="T72" fmla="*/ 125 w 142"/>
                <a:gd name="T73" fmla="*/ 25 h 42"/>
                <a:gd name="T74" fmla="*/ 135 w 142"/>
                <a:gd name="T75" fmla="*/ 25 h 42"/>
                <a:gd name="T76" fmla="*/ 140 w 142"/>
                <a:gd name="T77" fmla="*/ 19 h 42"/>
                <a:gd name="T78" fmla="*/ 142 w 142"/>
                <a:gd name="T79" fmla="*/ 11 h 42"/>
                <a:gd name="T80" fmla="*/ 139 w 142"/>
                <a:gd name="T81" fmla="*/ 11 h 42"/>
                <a:gd name="T82" fmla="*/ 139 w 142"/>
                <a:gd name="T83" fmla="*/ 5 h 42"/>
                <a:gd name="T84" fmla="*/ 135 w 142"/>
                <a:gd name="T85" fmla="*/ 13 h 42"/>
                <a:gd name="T86" fmla="*/ 127 w 142"/>
                <a:gd name="T87" fmla="*/ 11 h 42"/>
                <a:gd name="T88" fmla="*/ 115 w 142"/>
                <a:gd name="T89" fmla="*/ 21 h 42"/>
                <a:gd name="T90" fmla="*/ 114 w 142"/>
                <a:gd name="T91" fmla="*/ 19 h 42"/>
                <a:gd name="T92" fmla="*/ 112 w 142"/>
                <a:gd name="T93" fmla="*/ 15 h 42"/>
                <a:gd name="T94" fmla="*/ 114 w 142"/>
                <a:gd name="T95" fmla="*/ 7 h 42"/>
                <a:gd name="T96" fmla="*/ 106 w 142"/>
                <a:gd name="T97" fmla="*/ 7 h 42"/>
                <a:gd name="T98" fmla="*/ 100 w 142"/>
                <a:gd name="T99"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2" h="42">
                  <a:moveTo>
                    <a:pt x="100" y="11"/>
                  </a:moveTo>
                  <a:lnTo>
                    <a:pt x="77" y="13"/>
                  </a:lnTo>
                  <a:lnTo>
                    <a:pt x="73" y="7"/>
                  </a:lnTo>
                  <a:lnTo>
                    <a:pt x="69" y="9"/>
                  </a:lnTo>
                  <a:lnTo>
                    <a:pt x="58" y="9"/>
                  </a:lnTo>
                  <a:lnTo>
                    <a:pt x="40" y="17"/>
                  </a:lnTo>
                  <a:lnTo>
                    <a:pt x="37" y="17"/>
                  </a:lnTo>
                  <a:lnTo>
                    <a:pt x="35" y="11"/>
                  </a:lnTo>
                  <a:lnTo>
                    <a:pt x="31" y="13"/>
                  </a:lnTo>
                  <a:lnTo>
                    <a:pt x="27" y="9"/>
                  </a:lnTo>
                  <a:lnTo>
                    <a:pt x="33" y="9"/>
                  </a:lnTo>
                  <a:lnTo>
                    <a:pt x="33" y="5"/>
                  </a:lnTo>
                  <a:lnTo>
                    <a:pt x="31" y="4"/>
                  </a:lnTo>
                  <a:lnTo>
                    <a:pt x="25" y="5"/>
                  </a:lnTo>
                  <a:lnTo>
                    <a:pt x="23" y="9"/>
                  </a:lnTo>
                  <a:lnTo>
                    <a:pt x="14" y="9"/>
                  </a:lnTo>
                  <a:lnTo>
                    <a:pt x="8" y="0"/>
                  </a:lnTo>
                  <a:lnTo>
                    <a:pt x="8" y="5"/>
                  </a:lnTo>
                  <a:lnTo>
                    <a:pt x="10" y="9"/>
                  </a:lnTo>
                  <a:lnTo>
                    <a:pt x="8" y="13"/>
                  </a:lnTo>
                  <a:lnTo>
                    <a:pt x="4" y="11"/>
                  </a:lnTo>
                  <a:lnTo>
                    <a:pt x="2" y="5"/>
                  </a:lnTo>
                  <a:lnTo>
                    <a:pt x="0" y="7"/>
                  </a:lnTo>
                  <a:lnTo>
                    <a:pt x="2" y="27"/>
                  </a:lnTo>
                  <a:lnTo>
                    <a:pt x="6" y="30"/>
                  </a:lnTo>
                  <a:lnTo>
                    <a:pt x="17" y="28"/>
                  </a:lnTo>
                  <a:lnTo>
                    <a:pt x="39" y="28"/>
                  </a:lnTo>
                  <a:lnTo>
                    <a:pt x="44" y="27"/>
                  </a:lnTo>
                  <a:lnTo>
                    <a:pt x="56" y="30"/>
                  </a:lnTo>
                  <a:lnTo>
                    <a:pt x="62" y="30"/>
                  </a:lnTo>
                  <a:lnTo>
                    <a:pt x="65" y="34"/>
                  </a:lnTo>
                  <a:lnTo>
                    <a:pt x="65" y="40"/>
                  </a:lnTo>
                  <a:lnTo>
                    <a:pt x="65" y="42"/>
                  </a:lnTo>
                  <a:lnTo>
                    <a:pt x="106" y="30"/>
                  </a:lnTo>
                  <a:lnTo>
                    <a:pt x="114" y="27"/>
                  </a:lnTo>
                  <a:lnTo>
                    <a:pt x="119" y="28"/>
                  </a:lnTo>
                  <a:lnTo>
                    <a:pt x="125" y="25"/>
                  </a:lnTo>
                  <a:lnTo>
                    <a:pt x="135" y="25"/>
                  </a:lnTo>
                  <a:lnTo>
                    <a:pt x="140" y="19"/>
                  </a:lnTo>
                  <a:lnTo>
                    <a:pt x="142" y="11"/>
                  </a:lnTo>
                  <a:lnTo>
                    <a:pt x="139" y="11"/>
                  </a:lnTo>
                  <a:lnTo>
                    <a:pt x="139" y="5"/>
                  </a:lnTo>
                  <a:lnTo>
                    <a:pt x="135" y="13"/>
                  </a:lnTo>
                  <a:lnTo>
                    <a:pt x="127" y="11"/>
                  </a:lnTo>
                  <a:lnTo>
                    <a:pt x="115" y="21"/>
                  </a:lnTo>
                  <a:lnTo>
                    <a:pt x="114" y="19"/>
                  </a:lnTo>
                  <a:lnTo>
                    <a:pt x="112" y="15"/>
                  </a:lnTo>
                  <a:lnTo>
                    <a:pt x="114" y="7"/>
                  </a:lnTo>
                  <a:lnTo>
                    <a:pt x="106" y="7"/>
                  </a:lnTo>
                  <a:lnTo>
                    <a:pt x="100" y="1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0" name="Freeform 8"/>
            <p:cNvSpPr>
              <a:spLocks/>
            </p:cNvSpPr>
            <p:nvPr/>
          </p:nvSpPr>
          <p:spPr bwMode="auto">
            <a:xfrm>
              <a:off x="3190" y="3199"/>
              <a:ext cx="39" cy="25"/>
            </a:xfrm>
            <a:custGeom>
              <a:avLst/>
              <a:gdLst>
                <a:gd name="T0" fmla="*/ 15 w 39"/>
                <a:gd name="T1" fmla="*/ 4 h 25"/>
                <a:gd name="T2" fmla="*/ 2 w 39"/>
                <a:gd name="T3" fmla="*/ 10 h 25"/>
                <a:gd name="T4" fmla="*/ 0 w 39"/>
                <a:gd name="T5" fmla="*/ 15 h 25"/>
                <a:gd name="T6" fmla="*/ 8 w 39"/>
                <a:gd name="T7" fmla="*/ 19 h 25"/>
                <a:gd name="T8" fmla="*/ 14 w 39"/>
                <a:gd name="T9" fmla="*/ 21 h 25"/>
                <a:gd name="T10" fmla="*/ 15 w 39"/>
                <a:gd name="T11" fmla="*/ 13 h 25"/>
                <a:gd name="T12" fmla="*/ 21 w 39"/>
                <a:gd name="T13" fmla="*/ 11 h 25"/>
                <a:gd name="T14" fmla="*/ 21 w 39"/>
                <a:gd name="T15" fmla="*/ 13 h 25"/>
                <a:gd name="T16" fmla="*/ 14 w 39"/>
                <a:gd name="T17" fmla="*/ 21 h 25"/>
                <a:gd name="T18" fmla="*/ 31 w 39"/>
                <a:gd name="T19" fmla="*/ 25 h 25"/>
                <a:gd name="T20" fmla="*/ 37 w 39"/>
                <a:gd name="T21" fmla="*/ 23 h 25"/>
                <a:gd name="T22" fmla="*/ 31 w 39"/>
                <a:gd name="T23" fmla="*/ 17 h 25"/>
                <a:gd name="T24" fmla="*/ 31 w 39"/>
                <a:gd name="T25" fmla="*/ 15 h 25"/>
                <a:gd name="T26" fmla="*/ 39 w 39"/>
                <a:gd name="T27" fmla="*/ 19 h 25"/>
                <a:gd name="T28" fmla="*/ 35 w 39"/>
                <a:gd name="T29" fmla="*/ 11 h 25"/>
                <a:gd name="T30" fmla="*/ 31 w 39"/>
                <a:gd name="T31" fmla="*/ 10 h 25"/>
                <a:gd name="T32" fmla="*/ 25 w 39"/>
                <a:gd name="T33" fmla="*/ 6 h 25"/>
                <a:gd name="T34" fmla="*/ 27 w 39"/>
                <a:gd name="T35" fmla="*/ 4 h 25"/>
                <a:gd name="T36" fmla="*/ 27 w 39"/>
                <a:gd name="T37" fmla="*/ 2 h 25"/>
                <a:gd name="T38" fmla="*/ 23 w 39"/>
                <a:gd name="T39" fmla="*/ 0 h 25"/>
                <a:gd name="T40" fmla="*/ 15 w 39"/>
                <a:gd name="T41" fmla="*/ 2 h 25"/>
                <a:gd name="T42" fmla="*/ 15 w 39"/>
                <a:gd name="T4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25">
                  <a:moveTo>
                    <a:pt x="15" y="4"/>
                  </a:moveTo>
                  <a:lnTo>
                    <a:pt x="2" y="10"/>
                  </a:lnTo>
                  <a:lnTo>
                    <a:pt x="0" y="15"/>
                  </a:lnTo>
                  <a:lnTo>
                    <a:pt x="8" y="19"/>
                  </a:lnTo>
                  <a:lnTo>
                    <a:pt x="14" y="21"/>
                  </a:lnTo>
                  <a:lnTo>
                    <a:pt x="15" y="13"/>
                  </a:lnTo>
                  <a:lnTo>
                    <a:pt x="21" y="11"/>
                  </a:lnTo>
                  <a:lnTo>
                    <a:pt x="21" y="13"/>
                  </a:lnTo>
                  <a:lnTo>
                    <a:pt x="14" y="21"/>
                  </a:lnTo>
                  <a:lnTo>
                    <a:pt x="31" y="25"/>
                  </a:lnTo>
                  <a:lnTo>
                    <a:pt x="37" y="23"/>
                  </a:lnTo>
                  <a:lnTo>
                    <a:pt x="31" y="17"/>
                  </a:lnTo>
                  <a:lnTo>
                    <a:pt x="31" y="15"/>
                  </a:lnTo>
                  <a:lnTo>
                    <a:pt x="39" y="19"/>
                  </a:lnTo>
                  <a:lnTo>
                    <a:pt x="35" y="11"/>
                  </a:lnTo>
                  <a:lnTo>
                    <a:pt x="31" y="10"/>
                  </a:lnTo>
                  <a:lnTo>
                    <a:pt x="25" y="6"/>
                  </a:lnTo>
                  <a:lnTo>
                    <a:pt x="27" y="4"/>
                  </a:lnTo>
                  <a:lnTo>
                    <a:pt x="27" y="2"/>
                  </a:lnTo>
                  <a:lnTo>
                    <a:pt x="23" y="0"/>
                  </a:lnTo>
                  <a:lnTo>
                    <a:pt x="15" y="2"/>
                  </a:lnTo>
                  <a:lnTo>
                    <a:pt x="15"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1" name="Freeform 9"/>
            <p:cNvSpPr>
              <a:spLocks/>
            </p:cNvSpPr>
            <p:nvPr/>
          </p:nvSpPr>
          <p:spPr bwMode="auto">
            <a:xfrm>
              <a:off x="3313" y="3366"/>
              <a:ext cx="23" cy="39"/>
            </a:xfrm>
            <a:custGeom>
              <a:avLst/>
              <a:gdLst>
                <a:gd name="T0" fmla="*/ 14 w 23"/>
                <a:gd name="T1" fmla="*/ 33 h 39"/>
                <a:gd name="T2" fmla="*/ 21 w 23"/>
                <a:gd name="T3" fmla="*/ 27 h 39"/>
                <a:gd name="T4" fmla="*/ 23 w 23"/>
                <a:gd name="T5" fmla="*/ 0 h 39"/>
                <a:gd name="T6" fmla="*/ 10 w 23"/>
                <a:gd name="T7" fmla="*/ 12 h 39"/>
                <a:gd name="T8" fmla="*/ 0 w 23"/>
                <a:gd name="T9" fmla="*/ 25 h 39"/>
                <a:gd name="T10" fmla="*/ 6 w 23"/>
                <a:gd name="T11" fmla="*/ 29 h 39"/>
                <a:gd name="T12" fmla="*/ 6 w 23"/>
                <a:gd name="T13" fmla="*/ 39 h 39"/>
                <a:gd name="T14" fmla="*/ 14 w 23"/>
                <a:gd name="T15" fmla="*/ 33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9">
                  <a:moveTo>
                    <a:pt x="14" y="33"/>
                  </a:moveTo>
                  <a:lnTo>
                    <a:pt x="21" y="27"/>
                  </a:lnTo>
                  <a:lnTo>
                    <a:pt x="23" y="0"/>
                  </a:lnTo>
                  <a:lnTo>
                    <a:pt x="10" y="12"/>
                  </a:lnTo>
                  <a:lnTo>
                    <a:pt x="0" y="25"/>
                  </a:lnTo>
                  <a:lnTo>
                    <a:pt x="6" y="29"/>
                  </a:lnTo>
                  <a:lnTo>
                    <a:pt x="6" y="39"/>
                  </a:lnTo>
                  <a:lnTo>
                    <a:pt x="14" y="3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2" name="Freeform 10"/>
            <p:cNvSpPr>
              <a:spLocks/>
            </p:cNvSpPr>
            <p:nvPr/>
          </p:nvSpPr>
          <p:spPr bwMode="auto">
            <a:xfrm>
              <a:off x="3198" y="3251"/>
              <a:ext cx="17" cy="29"/>
            </a:xfrm>
            <a:custGeom>
              <a:avLst/>
              <a:gdLst>
                <a:gd name="T0" fmla="*/ 7 w 17"/>
                <a:gd name="T1" fmla="*/ 0 h 29"/>
                <a:gd name="T2" fmla="*/ 0 w 17"/>
                <a:gd name="T3" fmla="*/ 2 h 29"/>
                <a:gd name="T4" fmla="*/ 0 w 17"/>
                <a:gd name="T5" fmla="*/ 4 h 29"/>
                <a:gd name="T6" fmla="*/ 9 w 17"/>
                <a:gd name="T7" fmla="*/ 13 h 29"/>
                <a:gd name="T8" fmla="*/ 4 w 17"/>
                <a:gd name="T9" fmla="*/ 23 h 29"/>
                <a:gd name="T10" fmla="*/ 11 w 17"/>
                <a:gd name="T11" fmla="*/ 29 h 29"/>
                <a:gd name="T12" fmla="*/ 17 w 17"/>
                <a:gd name="T13" fmla="*/ 17 h 29"/>
                <a:gd name="T14" fmla="*/ 15 w 17"/>
                <a:gd name="T15" fmla="*/ 2 h 29"/>
                <a:gd name="T16" fmla="*/ 7 w 1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9">
                  <a:moveTo>
                    <a:pt x="7" y="0"/>
                  </a:moveTo>
                  <a:lnTo>
                    <a:pt x="0" y="2"/>
                  </a:lnTo>
                  <a:lnTo>
                    <a:pt x="0" y="4"/>
                  </a:lnTo>
                  <a:lnTo>
                    <a:pt x="9" y="13"/>
                  </a:lnTo>
                  <a:lnTo>
                    <a:pt x="4" y="23"/>
                  </a:lnTo>
                  <a:lnTo>
                    <a:pt x="11" y="29"/>
                  </a:lnTo>
                  <a:lnTo>
                    <a:pt x="17" y="17"/>
                  </a:lnTo>
                  <a:lnTo>
                    <a:pt x="15" y="2"/>
                  </a:lnTo>
                  <a:lnTo>
                    <a:pt x="7"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3" name="Freeform 11"/>
            <p:cNvSpPr>
              <a:spLocks/>
            </p:cNvSpPr>
            <p:nvPr/>
          </p:nvSpPr>
          <p:spPr bwMode="auto">
            <a:xfrm>
              <a:off x="2938" y="3293"/>
              <a:ext cx="23" cy="27"/>
            </a:xfrm>
            <a:custGeom>
              <a:avLst/>
              <a:gdLst>
                <a:gd name="T0" fmla="*/ 8 w 23"/>
                <a:gd name="T1" fmla="*/ 0 h 27"/>
                <a:gd name="T2" fmla="*/ 8 w 23"/>
                <a:gd name="T3" fmla="*/ 2 h 27"/>
                <a:gd name="T4" fmla="*/ 6 w 23"/>
                <a:gd name="T5" fmla="*/ 12 h 27"/>
                <a:gd name="T6" fmla="*/ 2 w 23"/>
                <a:gd name="T7" fmla="*/ 10 h 27"/>
                <a:gd name="T8" fmla="*/ 0 w 23"/>
                <a:gd name="T9" fmla="*/ 21 h 27"/>
                <a:gd name="T10" fmla="*/ 8 w 23"/>
                <a:gd name="T11" fmla="*/ 25 h 27"/>
                <a:gd name="T12" fmla="*/ 14 w 23"/>
                <a:gd name="T13" fmla="*/ 23 h 27"/>
                <a:gd name="T14" fmla="*/ 21 w 23"/>
                <a:gd name="T15" fmla="*/ 27 h 27"/>
                <a:gd name="T16" fmla="*/ 23 w 23"/>
                <a:gd name="T17" fmla="*/ 23 h 27"/>
                <a:gd name="T18" fmla="*/ 16 w 23"/>
                <a:gd name="T19" fmla="*/ 14 h 27"/>
                <a:gd name="T20" fmla="*/ 14 w 23"/>
                <a:gd name="T21" fmla="*/ 15 h 27"/>
                <a:gd name="T22" fmla="*/ 12 w 23"/>
                <a:gd name="T23" fmla="*/ 14 h 27"/>
                <a:gd name="T24" fmla="*/ 8 w 23"/>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7">
                  <a:moveTo>
                    <a:pt x="8" y="0"/>
                  </a:moveTo>
                  <a:lnTo>
                    <a:pt x="8" y="2"/>
                  </a:lnTo>
                  <a:lnTo>
                    <a:pt x="6" y="12"/>
                  </a:lnTo>
                  <a:lnTo>
                    <a:pt x="2" y="10"/>
                  </a:lnTo>
                  <a:lnTo>
                    <a:pt x="0" y="21"/>
                  </a:lnTo>
                  <a:lnTo>
                    <a:pt x="8" y="25"/>
                  </a:lnTo>
                  <a:lnTo>
                    <a:pt x="14" y="23"/>
                  </a:lnTo>
                  <a:lnTo>
                    <a:pt x="21" y="27"/>
                  </a:lnTo>
                  <a:lnTo>
                    <a:pt x="23" y="23"/>
                  </a:lnTo>
                  <a:lnTo>
                    <a:pt x="16" y="14"/>
                  </a:lnTo>
                  <a:lnTo>
                    <a:pt x="14" y="15"/>
                  </a:lnTo>
                  <a:lnTo>
                    <a:pt x="12" y="14"/>
                  </a:lnTo>
                  <a:lnTo>
                    <a:pt x="8"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4" name="Freeform 12"/>
            <p:cNvSpPr>
              <a:spLocks/>
            </p:cNvSpPr>
            <p:nvPr/>
          </p:nvSpPr>
          <p:spPr bwMode="auto">
            <a:xfrm>
              <a:off x="2894" y="3210"/>
              <a:ext cx="25" cy="27"/>
            </a:xfrm>
            <a:custGeom>
              <a:avLst/>
              <a:gdLst>
                <a:gd name="T0" fmla="*/ 14 w 25"/>
                <a:gd name="T1" fmla="*/ 24 h 27"/>
                <a:gd name="T2" fmla="*/ 25 w 25"/>
                <a:gd name="T3" fmla="*/ 27 h 27"/>
                <a:gd name="T4" fmla="*/ 23 w 25"/>
                <a:gd name="T5" fmla="*/ 24 h 27"/>
                <a:gd name="T6" fmla="*/ 21 w 25"/>
                <a:gd name="T7" fmla="*/ 25 h 27"/>
                <a:gd name="T8" fmla="*/ 16 w 25"/>
                <a:gd name="T9" fmla="*/ 24 h 27"/>
                <a:gd name="T10" fmla="*/ 16 w 25"/>
                <a:gd name="T11" fmla="*/ 14 h 27"/>
                <a:gd name="T12" fmla="*/ 12 w 25"/>
                <a:gd name="T13" fmla="*/ 12 h 27"/>
                <a:gd name="T14" fmla="*/ 10 w 25"/>
                <a:gd name="T15" fmla="*/ 8 h 27"/>
                <a:gd name="T16" fmla="*/ 14 w 25"/>
                <a:gd name="T17" fmla="*/ 6 h 27"/>
                <a:gd name="T18" fmla="*/ 16 w 25"/>
                <a:gd name="T19" fmla="*/ 2 h 27"/>
                <a:gd name="T20" fmla="*/ 10 w 25"/>
                <a:gd name="T21" fmla="*/ 0 h 27"/>
                <a:gd name="T22" fmla="*/ 2 w 25"/>
                <a:gd name="T23" fmla="*/ 2 h 27"/>
                <a:gd name="T24" fmla="*/ 0 w 25"/>
                <a:gd name="T25" fmla="*/ 6 h 27"/>
                <a:gd name="T26" fmla="*/ 12 w 25"/>
                <a:gd name="T27" fmla="*/ 18 h 27"/>
                <a:gd name="T28" fmla="*/ 14 w 25"/>
                <a:gd name="T29"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7">
                  <a:moveTo>
                    <a:pt x="14" y="24"/>
                  </a:moveTo>
                  <a:lnTo>
                    <a:pt x="25" y="27"/>
                  </a:lnTo>
                  <a:lnTo>
                    <a:pt x="23" y="24"/>
                  </a:lnTo>
                  <a:lnTo>
                    <a:pt x="21" y="25"/>
                  </a:lnTo>
                  <a:lnTo>
                    <a:pt x="16" y="24"/>
                  </a:lnTo>
                  <a:lnTo>
                    <a:pt x="16" y="14"/>
                  </a:lnTo>
                  <a:lnTo>
                    <a:pt x="12" y="12"/>
                  </a:lnTo>
                  <a:lnTo>
                    <a:pt x="10" y="8"/>
                  </a:lnTo>
                  <a:lnTo>
                    <a:pt x="14" y="6"/>
                  </a:lnTo>
                  <a:lnTo>
                    <a:pt x="16" y="2"/>
                  </a:lnTo>
                  <a:lnTo>
                    <a:pt x="10" y="0"/>
                  </a:lnTo>
                  <a:lnTo>
                    <a:pt x="2" y="2"/>
                  </a:lnTo>
                  <a:lnTo>
                    <a:pt x="0" y="6"/>
                  </a:lnTo>
                  <a:lnTo>
                    <a:pt x="12" y="18"/>
                  </a:lnTo>
                  <a:lnTo>
                    <a:pt x="14" y="2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5" name="Freeform 13"/>
            <p:cNvSpPr>
              <a:spLocks/>
            </p:cNvSpPr>
            <p:nvPr/>
          </p:nvSpPr>
          <p:spPr bwMode="auto">
            <a:xfrm>
              <a:off x="3146" y="3164"/>
              <a:ext cx="17" cy="16"/>
            </a:xfrm>
            <a:custGeom>
              <a:avLst/>
              <a:gdLst>
                <a:gd name="T0" fmla="*/ 9 w 17"/>
                <a:gd name="T1" fmla="*/ 10 h 16"/>
                <a:gd name="T2" fmla="*/ 15 w 17"/>
                <a:gd name="T3" fmla="*/ 16 h 16"/>
                <a:gd name="T4" fmla="*/ 13 w 17"/>
                <a:gd name="T5" fmla="*/ 10 h 16"/>
                <a:gd name="T6" fmla="*/ 17 w 17"/>
                <a:gd name="T7" fmla="*/ 0 h 16"/>
                <a:gd name="T8" fmla="*/ 15 w 17"/>
                <a:gd name="T9" fmla="*/ 0 h 16"/>
                <a:gd name="T10" fmla="*/ 11 w 17"/>
                <a:gd name="T11" fmla="*/ 6 h 16"/>
                <a:gd name="T12" fmla="*/ 8 w 17"/>
                <a:gd name="T13" fmla="*/ 2 h 16"/>
                <a:gd name="T14" fmla="*/ 0 w 17"/>
                <a:gd name="T15" fmla="*/ 6 h 16"/>
                <a:gd name="T16" fmla="*/ 2 w 17"/>
                <a:gd name="T17" fmla="*/ 16 h 16"/>
                <a:gd name="T18" fmla="*/ 9 w 17"/>
                <a:gd name="T19" fmla="*/ 16 h 16"/>
                <a:gd name="T20" fmla="*/ 8 w 17"/>
                <a:gd name="T21" fmla="*/ 14 h 16"/>
                <a:gd name="T22" fmla="*/ 9 w 17"/>
                <a:gd name="T23"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6">
                  <a:moveTo>
                    <a:pt x="9" y="10"/>
                  </a:moveTo>
                  <a:lnTo>
                    <a:pt x="15" y="16"/>
                  </a:lnTo>
                  <a:lnTo>
                    <a:pt x="13" y="10"/>
                  </a:lnTo>
                  <a:lnTo>
                    <a:pt x="17" y="0"/>
                  </a:lnTo>
                  <a:lnTo>
                    <a:pt x="15" y="0"/>
                  </a:lnTo>
                  <a:lnTo>
                    <a:pt x="11" y="6"/>
                  </a:lnTo>
                  <a:lnTo>
                    <a:pt x="8" y="2"/>
                  </a:lnTo>
                  <a:lnTo>
                    <a:pt x="0" y="6"/>
                  </a:lnTo>
                  <a:lnTo>
                    <a:pt x="2" y="16"/>
                  </a:lnTo>
                  <a:lnTo>
                    <a:pt x="9" y="16"/>
                  </a:lnTo>
                  <a:lnTo>
                    <a:pt x="8" y="14"/>
                  </a:lnTo>
                  <a:lnTo>
                    <a:pt x="9" y="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6" name="Freeform 14"/>
            <p:cNvSpPr>
              <a:spLocks/>
            </p:cNvSpPr>
            <p:nvPr/>
          </p:nvSpPr>
          <p:spPr bwMode="auto">
            <a:xfrm>
              <a:off x="3242" y="3293"/>
              <a:ext cx="23" cy="12"/>
            </a:xfrm>
            <a:custGeom>
              <a:avLst/>
              <a:gdLst>
                <a:gd name="T0" fmla="*/ 19 w 23"/>
                <a:gd name="T1" fmla="*/ 0 h 12"/>
                <a:gd name="T2" fmla="*/ 6 w 23"/>
                <a:gd name="T3" fmla="*/ 2 h 12"/>
                <a:gd name="T4" fmla="*/ 0 w 23"/>
                <a:gd name="T5" fmla="*/ 6 h 12"/>
                <a:gd name="T6" fmla="*/ 0 w 23"/>
                <a:gd name="T7" fmla="*/ 12 h 12"/>
                <a:gd name="T8" fmla="*/ 6 w 23"/>
                <a:gd name="T9" fmla="*/ 8 h 12"/>
                <a:gd name="T10" fmla="*/ 10 w 23"/>
                <a:gd name="T11" fmla="*/ 12 h 12"/>
                <a:gd name="T12" fmla="*/ 15 w 23"/>
                <a:gd name="T13" fmla="*/ 12 h 12"/>
                <a:gd name="T14" fmla="*/ 17 w 23"/>
                <a:gd name="T15" fmla="*/ 8 h 12"/>
                <a:gd name="T16" fmla="*/ 23 w 23"/>
                <a:gd name="T17" fmla="*/ 6 h 12"/>
                <a:gd name="T18" fmla="*/ 23 w 23"/>
                <a:gd name="T19" fmla="*/ 0 h 12"/>
                <a:gd name="T20" fmla="*/ 19 w 2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12">
                  <a:moveTo>
                    <a:pt x="19" y="0"/>
                  </a:moveTo>
                  <a:lnTo>
                    <a:pt x="6" y="2"/>
                  </a:lnTo>
                  <a:lnTo>
                    <a:pt x="0" y="6"/>
                  </a:lnTo>
                  <a:lnTo>
                    <a:pt x="0" y="12"/>
                  </a:lnTo>
                  <a:lnTo>
                    <a:pt x="6" y="8"/>
                  </a:lnTo>
                  <a:lnTo>
                    <a:pt x="10" y="12"/>
                  </a:lnTo>
                  <a:lnTo>
                    <a:pt x="15" y="12"/>
                  </a:lnTo>
                  <a:lnTo>
                    <a:pt x="17" y="8"/>
                  </a:lnTo>
                  <a:lnTo>
                    <a:pt x="23" y="6"/>
                  </a:lnTo>
                  <a:lnTo>
                    <a:pt x="23" y="0"/>
                  </a:lnTo>
                  <a:lnTo>
                    <a:pt x="19"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7" name="Freeform 15"/>
            <p:cNvSpPr>
              <a:spLocks/>
            </p:cNvSpPr>
            <p:nvPr/>
          </p:nvSpPr>
          <p:spPr bwMode="auto">
            <a:xfrm>
              <a:off x="2954" y="3328"/>
              <a:ext cx="19" cy="17"/>
            </a:xfrm>
            <a:custGeom>
              <a:avLst/>
              <a:gdLst>
                <a:gd name="T0" fmla="*/ 19 w 19"/>
                <a:gd name="T1" fmla="*/ 13 h 17"/>
                <a:gd name="T2" fmla="*/ 11 w 19"/>
                <a:gd name="T3" fmla="*/ 5 h 17"/>
                <a:gd name="T4" fmla="*/ 5 w 19"/>
                <a:gd name="T5" fmla="*/ 4 h 17"/>
                <a:gd name="T6" fmla="*/ 4 w 19"/>
                <a:gd name="T7" fmla="*/ 0 h 17"/>
                <a:gd name="T8" fmla="*/ 0 w 19"/>
                <a:gd name="T9" fmla="*/ 2 h 17"/>
                <a:gd name="T10" fmla="*/ 0 w 19"/>
                <a:gd name="T11" fmla="*/ 7 h 17"/>
                <a:gd name="T12" fmla="*/ 9 w 19"/>
                <a:gd name="T13" fmla="*/ 17 h 17"/>
                <a:gd name="T14" fmla="*/ 13 w 19"/>
                <a:gd name="T15" fmla="*/ 17 h 17"/>
                <a:gd name="T16" fmla="*/ 13 w 19"/>
                <a:gd name="T17" fmla="*/ 11 h 17"/>
                <a:gd name="T18" fmla="*/ 19 w 19"/>
                <a:gd name="T19"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7">
                  <a:moveTo>
                    <a:pt x="19" y="13"/>
                  </a:moveTo>
                  <a:lnTo>
                    <a:pt x="11" y="5"/>
                  </a:lnTo>
                  <a:lnTo>
                    <a:pt x="5" y="4"/>
                  </a:lnTo>
                  <a:lnTo>
                    <a:pt x="4" y="0"/>
                  </a:lnTo>
                  <a:lnTo>
                    <a:pt x="0" y="2"/>
                  </a:lnTo>
                  <a:lnTo>
                    <a:pt x="0" y="7"/>
                  </a:lnTo>
                  <a:lnTo>
                    <a:pt x="9" y="17"/>
                  </a:lnTo>
                  <a:lnTo>
                    <a:pt x="13" y="17"/>
                  </a:lnTo>
                  <a:lnTo>
                    <a:pt x="13" y="11"/>
                  </a:lnTo>
                  <a:lnTo>
                    <a:pt x="19" y="1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8" name="Freeform 16"/>
            <p:cNvSpPr>
              <a:spLocks/>
            </p:cNvSpPr>
            <p:nvPr/>
          </p:nvSpPr>
          <p:spPr bwMode="auto">
            <a:xfrm>
              <a:off x="3115" y="3120"/>
              <a:ext cx="12" cy="16"/>
            </a:xfrm>
            <a:custGeom>
              <a:avLst/>
              <a:gdLst>
                <a:gd name="T0" fmla="*/ 6 w 12"/>
                <a:gd name="T1" fmla="*/ 16 h 16"/>
                <a:gd name="T2" fmla="*/ 12 w 12"/>
                <a:gd name="T3" fmla="*/ 12 h 16"/>
                <a:gd name="T4" fmla="*/ 12 w 12"/>
                <a:gd name="T5" fmla="*/ 6 h 16"/>
                <a:gd name="T6" fmla="*/ 10 w 12"/>
                <a:gd name="T7" fmla="*/ 2 h 16"/>
                <a:gd name="T8" fmla="*/ 4 w 12"/>
                <a:gd name="T9" fmla="*/ 0 h 16"/>
                <a:gd name="T10" fmla="*/ 0 w 12"/>
                <a:gd name="T11" fmla="*/ 4 h 16"/>
                <a:gd name="T12" fmla="*/ 0 w 12"/>
                <a:gd name="T13" fmla="*/ 10 h 16"/>
                <a:gd name="T14" fmla="*/ 6 w 1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6">
                  <a:moveTo>
                    <a:pt x="6" y="16"/>
                  </a:moveTo>
                  <a:lnTo>
                    <a:pt x="12" y="12"/>
                  </a:lnTo>
                  <a:lnTo>
                    <a:pt x="12" y="6"/>
                  </a:lnTo>
                  <a:lnTo>
                    <a:pt x="10" y="2"/>
                  </a:lnTo>
                  <a:lnTo>
                    <a:pt x="4" y="0"/>
                  </a:lnTo>
                  <a:lnTo>
                    <a:pt x="0" y="4"/>
                  </a:lnTo>
                  <a:lnTo>
                    <a:pt x="0" y="10"/>
                  </a:lnTo>
                  <a:lnTo>
                    <a:pt x="6" y="1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29" name="Freeform 17"/>
            <p:cNvSpPr>
              <a:spLocks/>
            </p:cNvSpPr>
            <p:nvPr/>
          </p:nvSpPr>
          <p:spPr bwMode="auto">
            <a:xfrm>
              <a:off x="3188" y="3343"/>
              <a:ext cx="14" cy="19"/>
            </a:xfrm>
            <a:custGeom>
              <a:avLst/>
              <a:gdLst>
                <a:gd name="T0" fmla="*/ 8 w 14"/>
                <a:gd name="T1" fmla="*/ 19 h 19"/>
                <a:gd name="T2" fmla="*/ 12 w 14"/>
                <a:gd name="T3" fmla="*/ 15 h 19"/>
                <a:gd name="T4" fmla="*/ 14 w 14"/>
                <a:gd name="T5" fmla="*/ 8 h 19"/>
                <a:gd name="T6" fmla="*/ 10 w 14"/>
                <a:gd name="T7" fmla="*/ 0 h 19"/>
                <a:gd name="T8" fmla="*/ 0 w 14"/>
                <a:gd name="T9" fmla="*/ 10 h 19"/>
                <a:gd name="T10" fmla="*/ 8 w 14"/>
                <a:gd name="T11" fmla="*/ 19 h 19"/>
              </a:gdLst>
              <a:ahLst/>
              <a:cxnLst>
                <a:cxn ang="0">
                  <a:pos x="T0" y="T1"/>
                </a:cxn>
                <a:cxn ang="0">
                  <a:pos x="T2" y="T3"/>
                </a:cxn>
                <a:cxn ang="0">
                  <a:pos x="T4" y="T5"/>
                </a:cxn>
                <a:cxn ang="0">
                  <a:pos x="T6" y="T7"/>
                </a:cxn>
                <a:cxn ang="0">
                  <a:pos x="T8" y="T9"/>
                </a:cxn>
                <a:cxn ang="0">
                  <a:pos x="T10" y="T11"/>
                </a:cxn>
              </a:cxnLst>
              <a:rect l="0" t="0" r="r" b="b"/>
              <a:pathLst>
                <a:path w="14" h="19">
                  <a:moveTo>
                    <a:pt x="8" y="19"/>
                  </a:moveTo>
                  <a:lnTo>
                    <a:pt x="12" y="15"/>
                  </a:lnTo>
                  <a:lnTo>
                    <a:pt x="14" y="8"/>
                  </a:lnTo>
                  <a:lnTo>
                    <a:pt x="10" y="0"/>
                  </a:lnTo>
                  <a:lnTo>
                    <a:pt x="0" y="10"/>
                  </a:lnTo>
                  <a:lnTo>
                    <a:pt x="8" y="1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0" name="Freeform 18"/>
            <p:cNvSpPr>
              <a:spLocks/>
            </p:cNvSpPr>
            <p:nvPr/>
          </p:nvSpPr>
          <p:spPr bwMode="auto">
            <a:xfrm>
              <a:off x="3290" y="3412"/>
              <a:ext cx="8" cy="31"/>
            </a:xfrm>
            <a:custGeom>
              <a:avLst/>
              <a:gdLst>
                <a:gd name="T0" fmla="*/ 4 w 8"/>
                <a:gd name="T1" fmla="*/ 0 h 31"/>
                <a:gd name="T2" fmla="*/ 0 w 8"/>
                <a:gd name="T3" fmla="*/ 21 h 31"/>
                <a:gd name="T4" fmla="*/ 4 w 8"/>
                <a:gd name="T5" fmla="*/ 31 h 31"/>
                <a:gd name="T6" fmla="*/ 8 w 8"/>
                <a:gd name="T7" fmla="*/ 27 h 31"/>
                <a:gd name="T8" fmla="*/ 4 w 8"/>
                <a:gd name="T9" fmla="*/ 18 h 31"/>
                <a:gd name="T10" fmla="*/ 6 w 8"/>
                <a:gd name="T11" fmla="*/ 6 h 31"/>
                <a:gd name="T12" fmla="*/ 4 w 8"/>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8" h="31">
                  <a:moveTo>
                    <a:pt x="4" y="0"/>
                  </a:moveTo>
                  <a:lnTo>
                    <a:pt x="0" y="21"/>
                  </a:lnTo>
                  <a:lnTo>
                    <a:pt x="4" y="31"/>
                  </a:lnTo>
                  <a:lnTo>
                    <a:pt x="8" y="27"/>
                  </a:lnTo>
                  <a:lnTo>
                    <a:pt x="4" y="18"/>
                  </a:lnTo>
                  <a:lnTo>
                    <a:pt x="6" y="6"/>
                  </a:lnTo>
                  <a:lnTo>
                    <a:pt x="4"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1" name="Freeform 19"/>
            <p:cNvSpPr>
              <a:spLocks/>
            </p:cNvSpPr>
            <p:nvPr/>
          </p:nvSpPr>
          <p:spPr bwMode="auto">
            <a:xfrm>
              <a:off x="3269" y="3347"/>
              <a:ext cx="19" cy="17"/>
            </a:xfrm>
            <a:custGeom>
              <a:avLst/>
              <a:gdLst>
                <a:gd name="T0" fmla="*/ 19 w 19"/>
                <a:gd name="T1" fmla="*/ 2 h 17"/>
                <a:gd name="T2" fmla="*/ 15 w 19"/>
                <a:gd name="T3" fmla="*/ 0 h 17"/>
                <a:gd name="T4" fmla="*/ 11 w 19"/>
                <a:gd name="T5" fmla="*/ 2 h 17"/>
                <a:gd name="T6" fmla="*/ 0 w 19"/>
                <a:gd name="T7" fmla="*/ 11 h 17"/>
                <a:gd name="T8" fmla="*/ 4 w 19"/>
                <a:gd name="T9" fmla="*/ 17 h 17"/>
                <a:gd name="T10" fmla="*/ 4 w 19"/>
                <a:gd name="T11" fmla="*/ 13 h 17"/>
                <a:gd name="T12" fmla="*/ 9 w 19"/>
                <a:gd name="T13" fmla="*/ 11 h 17"/>
                <a:gd name="T14" fmla="*/ 19 w 19"/>
                <a:gd name="T15" fmla="*/ 4 h 17"/>
                <a:gd name="T16" fmla="*/ 19 w 19"/>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7">
                  <a:moveTo>
                    <a:pt x="19" y="2"/>
                  </a:moveTo>
                  <a:lnTo>
                    <a:pt x="15" y="0"/>
                  </a:lnTo>
                  <a:lnTo>
                    <a:pt x="11" y="2"/>
                  </a:lnTo>
                  <a:lnTo>
                    <a:pt x="0" y="11"/>
                  </a:lnTo>
                  <a:lnTo>
                    <a:pt x="4" y="17"/>
                  </a:lnTo>
                  <a:lnTo>
                    <a:pt x="4" y="13"/>
                  </a:lnTo>
                  <a:lnTo>
                    <a:pt x="9" y="11"/>
                  </a:lnTo>
                  <a:lnTo>
                    <a:pt x="19" y="4"/>
                  </a:lnTo>
                  <a:lnTo>
                    <a:pt x="19"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2" name="Freeform 20"/>
            <p:cNvSpPr>
              <a:spLocks/>
            </p:cNvSpPr>
            <p:nvPr/>
          </p:nvSpPr>
          <p:spPr bwMode="auto">
            <a:xfrm>
              <a:off x="3150" y="3299"/>
              <a:ext cx="15" cy="13"/>
            </a:xfrm>
            <a:custGeom>
              <a:avLst/>
              <a:gdLst>
                <a:gd name="T0" fmla="*/ 0 w 15"/>
                <a:gd name="T1" fmla="*/ 4 h 13"/>
                <a:gd name="T2" fmla="*/ 2 w 15"/>
                <a:gd name="T3" fmla="*/ 8 h 13"/>
                <a:gd name="T4" fmla="*/ 15 w 15"/>
                <a:gd name="T5" fmla="*/ 13 h 13"/>
                <a:gd name="T6" fmla="*/ 11 w 15"/>
                <a:gd name="T7" fmla="*/ 4 h 13"/>
                <a:gd name="T8" fmla="*/ 7 w 15"/>
                <a:gd name="T9" fmla="*/ 4 h 13"/>
                <a:gd name="T10" fmla="*/ 4 w 15"/>
                <a:gd name="T11" fmla="*/ 0 h 13"/>
                <a:gd name="T12" fmla="*/ 0 w 15"/>
                <a:gd name="T13" fmla="*/ 2 h 13"/>
                <a:gd name="T14" fmla="*/ 0 w 15"/>
                <a:gd name="T15" fmla="*/ 4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3">
                  <a:moveTo>
                    <a:pt x="0" y="4"/>
                  </a:moveTo>
                  <a:lnTo>
                    <a:pt x="2" y="8"/>
                  </a:lnTo>
                  <a:lnTo>
                    <a:pt x="15" y="13"/>
                  </a:lnTo>
                  <a:lnTo>
                    <a:pt x="11" y="4"/>
                  </a:lnTo>
                  <a:lnTo>
                    <a:pt x="7" y="4"/>
                  </a:lnTo>
                  <a:lnTo>
                    <a:pt x="4" y="0"/>
                  </a:lnTo>
                  <a:lnTo>
                    <a:pt x="0" y="2"/>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3" name="Freeform 21"/>
            <p:cNvSpPr>
              <a:spLocks/>
            </p:cNvSpPr>
            <p:nvPr/>
          </p:nvSpPr>
          <p:spPr bwMode="auto">
            <a:xfrm>
              <a:off x="3077" y="3414"/>
              <a:ext cx="9" cy="14"/>
            </a:xfrm>
            <a:custGeom>
              <a:avLst/>
              <a:gdLst>
                <a:gd name="T0" fmla="*/ 2 w 9"/>
                <a:gd name="T1" fmla="*/ 0 h 14"/>
                <a:gd name="T2" fmla="*/ 0 w 9"/>
                <a:gd name="T3" fmla="*/ 4 h 14"/>
                <a:gd name="T4" fmla="*/ 2 w 9"/>
                <a:gd name="T5" fmla="*/ 12 h 14"/>
                <a:gd name="T6" fmla="*/ 7 w 9"/>
                <a:gd name="T7" fmla="*/ 14 h 14"/>
                <a:gd name="T8" fmla="*/ 7 w 9"/>
                <a:gd name="T9" fmla="*/ 10 h 14"/>
                <a:gd name="T10" fmla="*/ 9 w 9"/>
                <a:gd name="T11" fmla="*/ 8 h 14"/>
                <a:gd name="T12" fmla="*/ 2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2" y="0"/>
                  </a:moveTo>
                  <a:lnTo>
                    <a:pt x="0" y="4"/>
                  </a:lnTo>
                  <a:lnTo>
                    <a:pt x="2" y="12"/>
                  </a:lnTo>
                  <a:lnTo>
                    <a:pt x="7" y="14"/>
                  </a:lnTo>
                  <a:lnTo>
                    <a:pt x="7" y="10"/>
                  </a:lnTo>
                  <a:lnTo>
                    <a:pt x="9" y="8"/>
                  </a:lnTo>
                  <a:lnTo>
                    <a:pt x="2"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4" name="Freeform 22"/>
            <p:cNvSpPr>
              <a:spLocks/>
            </p:cNvSpPr>
            <p:nvPr/>
          </p:nvSpPr>
          <p:spPr bwMode="auto">
            <a:xfrm>
              <a:off x="2944" y="3270"/>
              <a:ext cx="10" cy="17"/>
            </a:xfrm>
            <a:custGeom>
              <a:avLst/>
              <a:gdLst>
                <a:gd name="T0" fmla="*/ 6 w 10"/>
                <a:gd name="T1" fmla="*/ 0 h 17"/>
                <a:gd name="T2" fmla="*/ 2 w 10"/>
                <a:gd name="T3" fmla="*/ 4 h 17"/>
                <a:gd name="T4" fmla="*/ 0 w 10"/>
                <a:gd name="T5" fmla="*/ 17 h 17"/>
                <a:gd name="T6" fmla="*/ 4 w 10"/>
                <a:gd name="T7" fmla="*/ 14 h 17"/>
                <a:gd name="T8" fmla="*/ 6 w 10"/>
                <a:gd name="T9" fmla="*/ 17 h 17"/>
                <a:gd name="T10" fmla="*/ 10 w 10"/>
                <a:gd name="T11" fmla="*/ 14 h 17"/>
                <a:gd name="T12" fmla="*/ 6 w 1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0" h="17">
                  <a:moveTo>
                    <a:pt x="6" y="0"/>
                  </a:moveTo>
                  <a:lnTo>
                    <a:pt x="2" y="4"/>
                  </a:lnTo>
                  <a:lnTo>
                    <a:pt x="0" y="17"/>
                  </a:lnTo>
                  <a:lnTo>
                    <a:pt x="4" y="14"/>
                  </a:lnTo>
                  <a:lnTo>
                    <a:pt x="6" y="17"/>
                  </a:lnTo>
                  <a:lnTo>
                    <a:pt x="10" y="14"/>
                  </a:lnTo>
                  <a:lnTo>
                    <a:pt x="6"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5" name="Freeform 23"/>
            <p:cNvSpPr>
              <a:spLocks/>
            </p:cNvSpPr>
            <p:nvPr/>
          </p:nvSpPr>
          <p:spPr bwMode="auto">
            <a:xfrm>
              <a:off x="3129" y="3237"/>
              <a:ext cx="13" cy="14"/>
            </a:xfrm>
            <a:custGeom>
              <a:avLst/>
              <a:gdLst>
                <a:gd name="T0" fmla="*/ 0 w 13"/>
                <a:gd name="T1" fmla="*/ 0 h 14"/>
                <a:gd name="T2" fmla="*/ 0 w 13"/>
                <a:gd name="T3" fmla="*/ 6 h 14"/>
                <a:gd name="T4" fmla="*/ 5 w 13"/>
                <a:gd name="T5" fmla="*/ 10 h 14"/>
                <a:gd name="T6" fmla="*/ 7 w 13"/>
                <a:gd name="T7" fmla="*/ 14 h 14"/>
                <a:gd name="T8" fmla="*/ 13 w 13"/>
                <a:gd name="T9" fmla="*/ 10 h 14"/>
                <a:gd name="T10" fmla="*/ 11 w 13"/>
                <a:gd name="T11" fmla="*/ 8 h 14"/>
                <a:gd name="T12" fmla="*/ 5 w 13"/>
                <a:gd name="T13" fmla="*/ 4 h 14"/>
                <a:gd name="T14" fmla="*/ 7 w 13"/>
                <a:gd name="T15" fmla="*/ 0 h 14"/>
                <a:gd name="T16" fmla="*/ 0 w 1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0"/>
                  </a:moveTo>
                  <a:lnTo>
                    <a:pt x="0" y="6"/>
                  </a:lnTo>
                  <a:lnTo>
                    <a:pt x="5" y="10"/>
                  </a:lnTo>
                  <a:lnTo>
                    <a:pt x="7" y="14"/>
                  </a:lnTo>
                  <a:lnTo>
                    <a:pt x="13" y="10"/>
                  </a:lnTo>
                  <a:lnTo>
                    <a:pt x="11" y="8"/>
                  </a:lnTo>
                  <a:lnTo>
                    <a:pt x="5" y="4"/>
                  </a:lnTo>
                  <a:lnTo>
                    <a:pt x="7"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6" name="Freeform 24"/>
            <p:cNvSpPr>
              <a:spLocks/>
            </p:cNvSpPr>
            <p:nvPr/>
          </p:nvSpPr>
          <p:spPr bwMode="auto">
            <a:xfrm>
              <a:off x="3215" y="3305"/>
              <a:ext cx="17" cy="15"/>
            </a:xfrm>
            <a:custGeom>
              <a:avLst/>
              <a:gdLst>
                <a:gd name="T0" fmla="*/ 17 w 17"/>
                <a:gd name="T1" fmla="*/ 0 h 15"/>
                <a:gd name="T2" fmla="*/ 10 w 17"/>
                <a:gd name="T3" fmla="*/ 5 h 15"/>
                <a:gd name="T4" fmla="*/ 4 w 17"/>
                <a:gd name="T5" fmla="*/ 7 h 15"/>
                <a:gd name="T6" fmla="*/ 0 w 17"/>
                <a:gd name="T7" fmla="*/ 15 h 15"/>
                <a:gd name="T8" fmla="*/ 12 w 17"/>
                <a:gd name="T9" fmla="*/ 9 h 15"/>
                <a:gd name="T10" fmla="*/ 17 w 17"/>
                <a:gd name="T11" fmla="*/ 0 h 15"/>
              </a:gdLst>
              <a:ahLst/>
              <a:cxnLst>
                <a:cxn ang="0">
                  <a:pos x="T0" y="T1"/>
                </a:cxn>
                <a:cxn ang="0">
                  <a:pos x="T2" y="T3"/>
                </a:cxn>
                <a:cxn ang="0">
                  <a:pos x="T4" y="T5"/>
                </a:cxn>
                <a:cxn ang="0">
                  <a:pos x="T6" y="T7"/>
                </a:cxn>
                <a:cxn ang="0">
                  <a:pos x="T8" y="T9"/>
                </a:cxn>
                <a:cxn ang="0">
                  <a:pos x="T10" y="T11"/>
                </a:cxn>
              </a:cxnLst>
              <a:rect l="0" t="0" r="r" b="b"/>
              <a:pathLst>
                <a:path w="17" h="15">
                  <a:moveTo>
                    <a:pt x="17" y="0"/>
                  </a:moveTo>
                  <a:lnTo>
                    <a:pt x="10" y="5"/>
                  </a:lnTo>
                  <a:lnTo>
                    <a:pt x="4" y="7"/>
                  </a:lnTo>
                  <a:lnTo>
                    <a:pt x="0" y="15"/>
                  </a:lnTo>
                  <a:lnTo>
                    <a:pt x="12" y="9"/>
                  </a:lnTo>
                  <a:lnTo>
                    <a:pt x="17"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7" name="Freeform 25"/>
            <p:cNvSpPr>
              <a:spLocks/>
            </p:cNvSpPr>
            <p:nvPr/>
          </p:nvSpPr>
          <p:spPr bwMode="auto">
            <a:xfrm>
              <a:off x="3165" y="3316"/>
              <a:ext cx="14" cy="8"/>
            </a:xfrm>
            <a:custGeom>
              <a:avLst/>
              <a:gdLst>
                <a:gd name="T0" fmla="*/ 4 w 14"/>
                <a:gd name="T1" fmla="*/ 0 h 8"/>
                <a:gd name="T2" fmla="*/ 0 w 14"/>
                <a:gd name="T3" fmla="*/ 2 h 8"/>
                <a:gd name="T4" fmla="*/ 2 w 14"/>
                <a:gd name="T5" fmla="*/ 4 h 8"/>
                <a:gd name="T6" fmla="*/ 8 w 14"/>
                <a:gd name="T7" fmla="*/ 8 h 8"/>
                <a:gd name="T8" fmla="*/ 14 w 14"/>
                <a:gd name="T9" fmla="*/ 8 h 8"/>
                <a:gd name="T10" fmla="*/ 14 w 14"/>
                <a:gd name="T11" fmla="*/ 2 h 8"/>
                <a:gd name="T12" fmla="*/ 4 w 1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4" h="8">
                  <a:moveTo>
                    <a:pt x="4" y="0"/>
                  </a:moveTo>
                  <a:lnTo>
                    <a:pt x="0" y="2"/>
                  </a:lnTo>
                  <a:lnTo>
                    <a:pt x="2" y="4"/>
                  </a:lnTo>
                  <a:lnTo>
                    <a:pt x="8" y="8"/>
                  </a:lnTo>
                  <a:lnTo>
                    <a:pt x="14" y="8"/>
                  </a:lnTo>
                  <a:lnTo>
                    <a:pt x="14" y="2"/>
                  </a:lnTo>
                  <a:lnTo>
                    <a:pt x="4"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8" name="Freeform 26"/>
            <p:cNvSpPr>
              <a:spLocks/>
            </p:cNvSpPr>
            <p:nvPr/>
          </p:nvSpPr>
          <p:spPr bwMode="auto">
            <a:xfrm>
              <a:off x="3179" y="3349"/>
              <a:ext cx="7" cy="11"/>
            </a:xfrm>
            <a:custGeom>
              <a:avLst/>
              <a:gdLst>
                <a:gd name="T0" fmla="*/ 3 w 7"/>
                <a:gd name="T1" fmla="*/ 11 h 11"/>
                <a:gd name="T2" fmla="*/ 7 w 7"/>
                <a:gd name="T3" fmla="*/ 6 h 11"/>
                <a:gd name="T4" fmla="*/ 7 w 7"/>
                <a:gd name="T5" fmla="*/ 0 h 11"/>
                <a:gd name="T6" fmla="*/ 1 w 7"/>
                <a:gd name="T7" fmla="*/ 2 h 11"/>
                <a:gd name="T8" fmla="*/ 0 w 7"/>
                <a:gd name="T9" fmla="*/ 6 h 11"/>
                <a:gd name="T10" fmla="*/ 0 w 7"/>
                <a:gd name="T11" fmla="*/ 9 h 11"/>
                <a:gd name="T12" fmla="*/ 3 w 7"/>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3" y="11"/>
                  </a:moveTo>
                  <a:lnTo>
                    <a:pt x="7" y="6"/>
                  </a:lnTo>
                  <a:lnTo>
                    <a:pt x="7" y="0"/>
                  </a:lnTo>
                  <a:lnTo>
                    <a:pt x="1" y="2"/>
                  </a:lnTo>
                  <a:lnTo>
                    <a:pt x="0" y="6"/>
                  </a:lnTo>
                  <a:lnTo>
                    <a:pt x="0" y="9"/>
                  </a:lnTo>
                  <a:lnTo>
                    <a:pt x="3" y="1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39" name="Freeform 27"/>
            <p:cNvSpPr>
              <a:spLocks/>
            </p:cNvSpPr>
            <p:nvPr/>
          </p:nvSpPr>
          <p:spPr bwMode="auto">
            <a:xfrm>
              <a:off x="3142" y="3378"/>
              <a:ext cx="12" cy="9"/>
            </a:xfrm>
            <a:custGeom>
              <a:avLst/>
              <a:gdLst>
                <a:gd name="T0" fmla="*/ 2 w 12"/>
                <a:gd name="T1" fmla="*/ 3 h 9"/>
                <a:gd name="T2" fmla="*/ 0 w 12"/>
                <a:gd name="T3" fmla="*/ 9 h 9"/>
                <a:gd name="T4" fmla="*/ 2 w 12"/>
                <a:gd name="T5" fmla="*/ 9 h 9"/>
                <a:gd name="T6" fmla="*/ 12 w 12"/>
                <a:gd name="T7" fmla="*/ 5 h 9"/>
                <a:gd name="T8" fmla="*/ 12 w 12"/>
                <a:gd name="T9" fmla="*/ 3 h 9"/>
                <a:gd name="T10" fmla="*/ 12 w 12"/>
                <a:gd name="T11" fmla="*/ 0 h 9"/>
                <a:gd name="T12" fmla="*/ 8 w 12"/>
                <a:gd name="T13" fmla="*/ 2 h 9"/>
                <a:gd name="T14" fmla="*/ 4 w 12"/>
                <a:gd name="T15" fmla="*/ 2 h 9"/>
                <a:gd name="T16" fmla="*/ 6 w 12"/>
                <a:gd name="T17" fmla="*/ 3 h 9"/>
                <a:gd name="T18" fmla="*/ 8 w 12"/>
                <a:gd name="T19" fmla="*/ 5 h 9"/>
                <a:gd name="T20" fmla="*/ 4 w 12"/>
                <a:gd name="T21" fmla="*/ 3 h 9"/>
                <a:gd name="T22" fmla="*/ 2 w 12"/>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9">
                  <a:moveTo>
                    <a:pt x="2" y="3"/>
                  </a:moveTo>
                  <a:lnTo>
                    <a:pt x="0" y="9"/>
                  </a:lnTo>
                  <a:lnTo>
                    <a:pt x="2" y="9"/>
                  </a:lnTo>
                  <a:lnTo>
                    <a:pt x="12" y="5"/>
                  </a:lnTo>
                  <a:lnTo>
                    <a:pt x="12" y="3"/>
                  </a:lnTo>
                  <a:lnTo>
                    <a:pt x="12" y="0"/>
                  </a:lnTo>
                  <a:lnTo>
                    <a:pt x="8" y="2"/>
                  </a:lnTo>
                  <a:lnTo>
                    <a:pt x="4" y="2"/>
                  </a:lnTo>
                  <a:lnTo>
                    <a:pt x="6" y="3"/>
                  </a:lnTo>
                  <a:lnTo>
                    <a:pt x="8" y="5"/>
                  </a:lnTo>
                  <a:lnTo>
                    <a:pt x="4" y="3"/>
                  </a:lnTo>
                  <a:lnTo>
                    <a:pt x="2" y="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0" name="Freeform 28"/>
            <p:cNvSpPr>
              <a:spLocks/>
            </p:cNvSpPr>
            <p:nvPr/>
          </p:nvSpPr>
          <p:spPr bwMode="auto">
            <a:xfrm>
              <a:off x="3211" y="3357"/>
              <a:ext cx="16" cy="11"/>
            </a:xfrm>
            <a:custGeom>
              <a:avLst/>
              <a:gdLst>
                <a:gd name="T0" fmla="*/ 4 w 16"/>
                <a:gd name="T1" fmla="*/ 11 h 11"/>
                <a:gd name="T2" fmla="*/ 16 w 16"/>
                <a:gd name="T3" fmla="*/ 1 h 11"/>
                <a:gd name="T4" fmla="*/ 12 w 16"/>
                <a:gd name="T5" fmla="*/ 0 h 11"/>
                <a:gd name="T6" fmla="*/ 10 w 16"/>
                <a:gd name="T7" fmla="*/ 1 h 11"/>
                <a:gd name="T8" fmla="*/ 0 w 16"/>
                <a:gd name="T9" fmla="*/ 11 h 11"/>
                <a:gd name="T10" fmla="*/ 4 w 16"/>
                <a:gd name="T11" fmla="*/ 11 h 11"/>
              </a:gdLst>
              <a:ahLst/>
              <a:cxnLst>
                <a:cxn ang="0">
                  <a:pos x="T0" y="T1"/>
                </a:cxn>
                <a:cxn ang="0">
                  <a:pos x="T2" y="T3"/>
                </a:cxn>
                <a:cxn ang="0">
                  <a:pos x="T4" y="T5"/>
                </a:cxn>
                <a:cxn ang="0">
                  <a:pos x="T6" y="T7"/>
                </a:cxn>
                <a:cxn ang="0">
                  <a:pos x="T8" y="T9"/>
                </a:cxn>
                <a:cxn ang="0">
                  <a:pos x="T10" y="T11"/>
                </a:cxn>
              </a:cxnLst>
              <a:rect l="0" t="0" r="r" b="b"/>
              <a:pathLst>
                <a:path w="16" h="11">
                  <a:moveTo>
                    <a:pt x="4" y="11"/>
                  </a:moveTo>
                  <a:lnTo>
                    <a:pt x="16" y="1"/>
                  </a:lnTo>
                  <a:lnTo>
                    <a:pt x="12" y="0"/>
                  </a:lnTo>
                  <a:lnTo>
                    <a:pt x="10" y="1"/>
                  </a:lnTo>
                  <a:lnTo>
                    <a:pt x="0" y="11"/>
                  </a:lnTo>
                  <a:lnTo>
                    <a:pt x="4" y="1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1" name="Freeform 29"/>
            <p:cNvSpPr>
              <a:spLocks/>
            </p:cNvSpPr>
            <p:nvPr/>
          </p:nvSpPr>
          <p:spPr bwMode="auto">
            <a:xfrm>
              <a:off x="3159" y="3132"/>
              <a:ext cx="12" cy="7"/>
            </a:xfrm>
            <a:custGeom>
              <a:avLst/>
              <a:gdLst>
                <a:gd name="T0" fmla="*/ 0 w 12"/>
                <a:gd name="T1" fmla="*/ 4 h 7"/>
                <a:gd name="T2" fmla="*/ 6 w 12"/>
                <a:gd name="T3" fmla="*/ 7 h 7"/>
                <a:gd name="T4" fmla="*/ 12 w 12"/>
                <a:gd name="T5" fmla="*/ 5 h 7"/>
                <a:gd name="T6" fmla="*/ 12 w 12"/>
                <a:gd name="T7" fmla="*/ 2 h 7"/>
                <a:gd name="T8" fmla="*/ 8 w 12"/>
                <a:gd name="T9" fmla="*/ 0 h 7"/>
                <a:gd name="T10" fmla="*/ 0 w 12"/>
                <a:gd name="T11" fmla="*/ 4 h 7"/>
              </a:gdLst>
              <a:ahLst/>
              <a:cxnLst>
                <a:cxn ang="0">
                  <a:pos x="T0" y="T1"/>
                </a:cxn>
                <a:cxn ang="0">
                  <a:pos x="T2" y="T3"/>
                </a:cxn>
                <a:cxn ang="0">
                  <a:pos x="T4" y="T5"/>
                </a:cxn>
                <a:cxn ang="0">
                  <a:pos x="T6" y="T7"/>
                </a:cxn>
                <a:cxn ang="0">
                  <a:pos x="T8" y="T9"/>
                </a:cxn>
                <a:cxn ang="0">
                  <a:pos x="T10" y="T11"/>
                </a:cxn>
              </a:cxnLst>
              <a:rect l="0" t="0" r="r" b="b"/>
              <a:pathLst>
                <a:path w="12" h="7">
                  <a:moveTo>
                    <a:pt x="0" y="4"/>
                  </a:moveTo>
                  <a:lnTo>
                    <a:pt x="6" y="7"/>
                  </a:lnTo>
                  <a:lnTo>
                    <a:pt x="12" y="5"/>
                  </a:lnTo>
                  <a:lnTo>
                    <a:pt x="12" y="2"/>
                  </a:lnTo>
                  <a:lnTo>
                    <a:pt x="8" y="0"/>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2" name="Freeform 30"/>
            <p:cNvSpPr>
              <a:spLocks/>
            </p:cNvSpPr>
            <p:nvPr/>
          </p:nvSpPr>
          <p:spPr bwMode="auto">
            <a:xfrm>
              <a:off x="3132" y="3320"/>
              <a:ext cx="6" cy="12"/>
            </a:xfrm>
            <a:custGeom>
              <a:avLst/>
              <a:gdLst>
                <a:gd name="T0" fmla="*/ 4 w 6"/>
                <a:gd name="T1" fmla="*/ 0 h 12"/>
                <a:gd name="T2" fmla="*/ 0 w 6"/>
                <a:gd name="T3" fmla="*/ 0 h 12"/>
                <a:gd name="T4" fmla="*/ 0 w 6"/>
                <a:gd name="T5" fmla="*/ 6 h 12"/>
                <a:gd name="T6" fmla="*/ 0 w 6"/>
                <a:gd name="T7" fmla="*/ 12 h 12"/>
                <a:gd name="T8" fmla="*/ 6 w 6"/>
                <a:gd name="T9" fmla="*/ 6 h 12"/>
                <a:gd name="T10" fmla="*/ 6 w 6"/>
                <a:gd name="T11" fmla="*/ 2 h 12"/>
                <a:gd name="T12" fmla="*/ 4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4" y="0"/>
                  </a:moveTo>
                  <a:lnTo>
                    <a:pt x="0" y="0"/>
                  </a:lnTo>
                  <a:lnTo>
                    <a:pt x="0" y="6"/>
                  </a:lnTo>
                  <a:lnTo>
                    <a:pt x="0" y="12"/>
                  </a:lnTo>
                  <a:lnTo>
                    <a:pt x="6" y="6"/>
                  </a:lnTo>
                  <a:lnTo>
                    <a:pt x="6" y="2"/>
                  </a:lnTo>
                  <a:lnTo>
                    <a:pt x="4"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3" name="Freeform 31"/>
            <p:cNvSpPr>
              <a:spLocks/>
            </p:cNvSpPr>
            <p:nvPr/>
          </p:nvSpPr>
          <p:spPr bwMode="auto">
            <a:xfrm>
              <a:off x="2950" y="3291"/>
              <a:ext cx="8" cy="12"/>
            </a:xfrm>
            <a:custGeom>
              <a:avLst/>
              <a:gdLst>
                <a:gd name="T0" fmla="*/ 6 w 8"/>
                <a:gd name="T1" fmla="*/ 8 h 12"/>
                <a:gd name="T2" fmla="*/ 4 w 8"/>
                <a:gd name="T3" fmla="*/ 4 h 12"/>
                <a:gd name="T4" fmla="*/ 2 w 8"/>
                <a:gd name="T5" fmla="*/ 0 h 12"/>
                <a:gd name="T6" fmla="*/ 0 w 8"/>
                <a:gd name="T7" fmla="*/ 2 h 12"/>
                <a:gd name="T8" fmla="*/ 4 w 8"/>
                <a:gd name="T9" fmla="*/ 12 h 12"/>
                <a:gd name="T10" fmla="*/ 8 w 8"/>
                <a:gd name="T11" fmla="*/ 12 h 12"/>
                <a:gd name="T12" fmla="*/ 6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8"/>
                  </a:moveTo>
                  <a:lnTo>
                    <a:pt x="4" y="4"/>
                  </a:lnTo>
                  <a:lnTo>
                    <a:pt x="2" y="0"/>
                  </a:lnTo>
                  <a:lnTo>
                    <a:pt x="0" y="2"/>
                  </a:lnTo>
                  <a:lnTo>
                    <a:pt x="4" y="12"/>
                  </a:lnTo>
                  <a:lnTo>
                    <a:pt x="8" y="12"/>
                  </a:lnTo>
                  <a:lnTo>
                    <a:pt x="6"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4" name="Freeform 32"/>
            <p:cNvSpPr>
              <a:spLocks/>
            </p:cNvSpPr>
            <p:nvPr/>
          </p:nvSpPr>
          <p:spPr bwMode="auto">
            <a:xfrm>
              <a:off x="3188" y="3372"/>
              <a:ext cx="8" cy="8"/>
            </a:xfrm>
            <a:custGeom>
              <a:avLst/>
              <a:gdLst>
                <a:gd name="T0" fmla="*/ 6 w 8"/>
                <a:gd name="T1" fmla="*/ 8 h 8"/>
                <a:gd name="T2" fmla="*/ 8 w 8"/>
                <a:gd name="T3" fmla="*/ 2 h 8"/>
                <a:gd name="T4" fmla="*/ 0 w 8"/>
                <a:gd name="T5" fmla="*/ 0 h 8"/>
                <a:gd name="T6" fmla="*/ 0 w 8"/>
                <a:gd name="T7" fmla="*/ 4 h 8"/>
                <a:gd name="T8" fmla="*/ 6 w 8"/>
                <a:gd name="T9" fmla="*/ 8 h 8"/>
              </a:gdLst>
              <a:ahLst/>
              <a:cxnLst>
                <a:cxn ang="0">
                  <a:pos x="T0" y="T1"/>
                </a:cxn>
                <a:cxn ang="0">
                  <a:pos x="T2" y="T3"/>
                </a:cxn>
                <a:cxn ang="0">
                  <a:pos x="T4" y="T5"/>
                </a:cxn>
                <a:cxn ang="0">
                  <a:pos x="T6" y="T7"/>
                </a:cxn>
                <a:cxn ang="0">
                  <a:pos x="T8" y="T9"/>
                </a:cxn>
              </a:cxnLst>
              <a:rect l="0" t="0" r="r" b="b"/>
              <a:pathLst>
                <a:path w="8" h="8">
                  <a:moveTo>
                    <a:pt x="6" y="8"/>
                  </a:moveTo>
                  <a:lnTo>
                    <a:pt x="8" y="2"/>
                  </a:lnTo>
                  <a:lnTo>
                    <a:pt x="0" y="0"/>
                  </a:lnTo>
                  <a:lnTo>
                    <a:pt x="0" y="4"/>
                  </a:lnTo>
                  <a:lnTo>
                    <a:pt x="6"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5" name="Freeform 33"/>
            <p:cNvSpPr>
              <a:spLocks/>
            </p:cNvSpPr>
            <p:nvPr/>
          </p:nvSpPr>
          <p:spPr bwMode="auto">
            <a:xfrm>
              <a:off x="3144" y="3351"/>
              <a:ext cx="6" cy="6"/>
            </a:xfrm>
            <a:custGeom>
              <a:avLst/>
              <a:gdLst>
                <a:gd name="T0" fmla="*/ 2 w 6"/>
                <a:gd name="T1" fmla="*/ 0 h 6"/>
                <a:gd name="T2" fmla="*/ 0 w 6"/>
                <a:gd name="T3" fmla="*/ 0 h 6"/>
                <a:gd name="T4" fmla="*/ 0 w 6"/>
                <a:gd name="T5" fmla="*/ 6 h 6"/>
                <a:gd name="T6" fmla="*/ 4 w 6"/>
                <a:gd name="T7" fmla="*/ 6 h 6"/>
                <a:gd name="T8" fmla="*/ 6 w 6"/>
                <a:gd name="T9" fmla="*/ 4 h 6"/>
                <a:gd name="T10" fmla="*/ 4 w 6"/>
                <a:gd name="T11" fmla="*/ 0 h 6"/>
                <a:gd name="T12" fmla="*/ 2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2" y="0"/>
                  </a:moveTo>
                  <a:lnTo>
                    <a:pt x="0" y="0"/>
                  </a:lnTo>
                  <a:lnTo>
                    <a:pt x="0" y="6"/>
                  </a:lnTo>
                  <a:lnTo>
                    <a:pt x="4" y="6"/>
                  </a:lnTo>
                  <a:lnTo>
                    <a:pt x="6" y="4"/>
                  </a:lnTo>
                  <a:lnTo>
                    <a:pt x="4" y="0"/>
                  </a:lnTo>
                  <a:lnTo>
                    <a:pt x="2"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6" name="Freeform 34"/>
            <p:cNvSpPr>
              <a:spLocks/>
            </p:cNvSpPr>
            <p:nvPr/>
          </p:nvSpPr>
          <p:spPr bwMode="auto">
            <a:xfrm>
              <a:off x="3138" y="3333"/>
              <a:ext cx="6" cy="12"/>
            </a:xfrm>
            <a:custGeom>
              <a:avLst/>
              <a:gdLst>
                <a:gd name="T0" fmla="*/ 2 w 6"/>
                <a:gd name="T1" fmla="*/ 0 h 12"/>
                <a:gd name="T2" fmla="*/ 0 w 6"/>
                <a:gd name="T3" fmla="*/ 4 h 12"/>
                <a:gd name="T4" fmla="*/ 2 w 6"/>
                <a:gd name="T5" fmla="*/ 8 h 12"/>
                <a:gd name="T6" fmla="*/ 0 w 6"/>
                <a:gd name="T7" fmla="*/ 12 h 12"/>
                <a:gd name="T8" fmla="*/ 4 w 6"/>
                <a:gd name="T9" fmla="*/ 8 h 12"/>
                <a:gd name="T10" fmla="*/ 6 w 6"/>
                <a:gd name="T11" fmla="*/ 4 h 12"/>
                <a:gd name="T12" fmla="*/ 4 w 6"/>
                <a:gd name="T13" fmla="*/ 2 h 12"/>
                <a:gd name="T14" fmla="*/ 2 w 6"/>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2" y="0"/>
                  </a:moveTo>
                  <a:lnTo>
                    <a:pt x="0" y="4"/>
                  </a:lnTo>
                  <a:lnTo>
                    <a:pt x="2" y="8"/>
                  </a:lnTo>
                  <a:lnTo>
                    <a:pt x="0" y="12"/>
                  </a:lnTo>
                  <a:lnTo>
                    <a:pt x="4" y="8"/>
                  </a:lnTo>
                  <a:lnTo>
                    <a:pt x="6" y="4"/>
                  </a:lnTo>
                  <a:lnTo>
                    <a:pt x="4" y="2"/>
                  </a:lnTo>
                  <a:lnTo>
                    <a:pt x="2"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7" name="Freeform 35"/>
            <p:cNvSpPr>
              <a:spLocks/>
            </p:cNvSpPr>
            <p:nvPr/>
          </p:nvSpPr>
          <p:spPr bwMode="auto">
            <a:xfrm>
              <a:off x="3161" y="3328"/>
              <a:ext cx="6" cy="9"/>
            </a:xfrm>
            <a:custGeom>
              <a:avLst/>
              <a:gdLst>
                <a:gd name="T0" fmla="*/ 2 w 6"/>
                <a:gd name="T1" fmla="*/ 0 h 9"/>
                <a:gd name="T2" fmla="*/ 2 w 6"/>
                <a:gd name="T3" fmla="*/ 4 h 9"/>
                <a:gd name="T4" fmla="*/ 0 w 6"/>
                <a:gd name="T5" fmla="*/ 7 h 9"/>
                <a:gd name="T6" fmla="*/ 2 w 6"/>
                <a:gd name="T7" fmla="*/ 9 h 9"/>
                <a:gd name="T8" fmla="*/ 6 w 6"/>
                <a:gd name="T9" fmla="*/ 5 h 9"/>
                <a:gd name="T10" fmla="*/ 4 w 6"/>
                <a:gd name="T11" fmla="*/ 2 h 9"/>
                <a:gd name="T12" fmla="*/ 2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2" y="0"/>
                  </a:moveTo>
                  <a:lnTo>
                    <a:pt x="2" y="4"/>
                  </a:lnTo>
                  <a:lnTo>
                    <a:pt x="0" y="7"/>
                  </a:lnTo>
                  <a:lnTo>
                    <a:pt x="2" y="9"/>
                  </a:lnTo>
                  <a:lnTo>
                    <a:pt x="6" y="5"/>
                  </a:lnTo>
                  <a:lnTo>
                    <a:pt x="4" y="2"/>
                  </a:lnTo>
                  <a:lnTo>
                    <a:pt x="2"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8" name="Freeform 36"/>
            <p:cNvSpPr>
              <a:spLocks/>
            </p:cNvSpPr>
            <p:nvPr/>
          </p:nvSpPr>
          <p:spPr bwMode="auto">
            <a:xfrm>
              <a:off x="3155" y="3360"/>
              <a:ext cx="6" cy="8"/>
            </a:xfrm>
            <a:custGeom>
              <a:avLst/>
              <a:gdLst>
                <a:gd name="T0" fmla="*/ 0 w 6"/>
                <a:gd name="T1" fmla="*/ 0 h 8"/>
                <a:gd name="T2" fmla="*/ 4 w 6"/>
                <a:gd name="T3" fmla="*/ 8 h 8"/>
                <a:gd name="T4" fmla="*/ 6 w 6"/>
                <a:gd name="T5" fmla="*/ 4 h 8"/>
                <a:gd name="T6" fmla="*/ 4 w 6"/>
                <a:gd name="T7" fmla="*/ 0 h 8"/>
                <a:gd name="T8" fmla="*/ 0 w 6"/>
                <a:gd name="T9" fmla="*/ 0 h 8"/>
              </a:gdLst>
              <a:ahLst/>
              <a:cxnLst>
                <a:cxn ang="0">
                  <a:pos x="T0" y="T1"/>
                </a:cxn>
                <a:cxn ang="0">
                  <a:pos x="T2" y="T3"/>
                </a:cxn>
                <a:cxn ang="0">
                  <a:pos x="T4" y="T5"/>
                </a:cxn>
                <a:cxn ang="0">
                  <a:pos x="T6" y="T7"/>
                </a:cxn>
                <a:cxn ang="0">
                  <a:pos x="T8" y="T9"/>
                </a:cxn>
              </a:cxnLst>
              <a:rect l="0" t="0" r="r" b="b"/>
              <a:pathLst>
                <a:path w="6" h="8">
                  <a:moveTo>
                    <a:pt x="0" y="0"/>
                  </a:moveTo>
                  <a:lnTo>
                    <a:pt x="4" y="8"/>
                  </a:lnTo>
                  <a:lnTo>
                    <a:pt x="6" y="4"/>
                  </a:lnTo>
                  <a:lnTo>
                    <a:pt x="4"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49" name="Freeform 37"/>
            <p:cNvSpPr>
              <a:spLocks/>
            </p:cNvSpPr>
            <p:nvPr/>
          </p:nvSpPr>
          <p:spPr bwMode="auto">
            <a:xfrm>
              <a:off x="3088" y="3320"/>
              <a:ext cx="8" cy="8"/>
            </a:xfrm>
            <a:custGeom>
              <a:avLst/>
              <a:gdLst>
                <a:gd name="T0" fmla="*/ 8 w 8"/>
                <a:gd name="T1" fmla="*/ 0 h 8"/>
                <a:gd name="T2" fmla="*/ 0 w 8"/>
                <a:gd name="T3" fmla="*/ 2 h 8"/>
                <a:gd name="T4" fmla="*/ 6 w 8"/>
                <a:gd name="T5" fmla="*/ 8 h 8"/>
                <a:gd name="T6" fmla="*/ 8 w 8"/>
                <a:gd name="T7" fmla="*/ 6 h 8"/>
                <a:gd name="T8" fmla="*/ 8 w 8"/>
                <a:gd name="T9" fmla="*/ 0 h 8"/>
              </a:gdLst>
              <a:ahLst/>
              <a:cxnLst>
                <a:cxn ang="0">
                  <a:pos x="T0" y="T1"/>
                </a:cxn>
                <a:cxn ang="0">
                  <a:pos x="T2" y="T3"/>
                </a:cxn>
                <a:cxn ang="0">
                  <a:pos x="T4" y="T5"/>
                </a:cxn>
                <a:cxn ang="0">
                  <a:pos x="T6" y="T7"/>
                </a:cxn>
                <a:cxn ang="0">
                  <a:pos x="T8" y="T9"/>
                </a:cxn>
              </a:cxnLst>
              <a:rect l="0" t="0" r="r" b="b"/>
              <a:pathLst>
                <a:path w="8" h="8">
                  <a:moveTo>
                    <a:pt x="8" y="0"/>
                  </a:moveTo>
                  <a:lnTo>
                    <a:pt x="0" y="2"/>
                  </a:lnTo>
                  <a:lnTo>
                    <a:pt x="6" y="8"/>
                  </a:lnTo>
                  <a:lnTo>
                    <a:pt x="8" y="6"/>
                  </a:lnTo>
                  <a:lnTo>
                    <a:pt x="8"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50" name="Freeform 38"/>
            <p:cNvSpPr>
              <a:spLocks/>
            </p:cNvSpPr>
            <p:nvPr/>
          </p:nvSpPr>
          <p:spPr bwMode="auto">
            <a:xfrm>
              <a:off x="3090" y="3347"/>
              <a:ext cx="10" cy="6"/>
            </a:xfrm>
            <a:custGeom>
              <a:avLst/>
              <a:gdLst>
                <a:gd name="T0" fmla="*/ 10 w 10"/>
                <a:gd name="T1" fmla="*/ 0 h 6"/>
                <a:gd name="T2" fmla="*/ 8 w 10"/>
                <a:gd name="T3" fmla="*/ 0 h 6"/>
                <a:gd name="T4" fmla="*/ 0 w 10"/>
                <a:gd name="T5" fmla="*/ 6 h 6"/>
                <a:gd name="T6" fmla="*/ 8 w 10"/>
                <a:gd name="T7" fmla="*/ 4 h 6"/>
                <a:gd name="T8" fmla="*/ 8 w 10"/>
                <a:gd name="T9" fmla="*/ 2 h 6"/>
                <a:gd name="T10" fmla="*/ 10 w 10"/>
                <a:gd name="T11" fmla="*/ 0 h 6"/>
              </a:gdLst>
              <a:ahLst/>
              <a:cxnLst>
                <a:cxn ang="0">
                  <a:pos x="T0" y="T1"/>
                </a:cxn>
                <a:cxn ang="0">
                  <a:pos x="T2" y="T3"/>
                </a:cxn>
                <a:cxn ang="0">
                  <a:pos x="T4" y="T5"/>
                </a:cxn>
                <a:cxn ang="0">
                  <a:pos x="T6" y="T7"/>
                </a:cxn>
                <a:cxn ang="0">
                  <a:pos x="T8" y="T9"/>
                </a:cxn>
                <a:cxn ang="0">
                  <a:pos x="T10" y="T11"/>
                </a:cxn>
              </a:cxnLst>
              <a:rect l="0" t="0" r="r" b="b"/>
              <a:pathLst>
                <a:path w="10" h="6">
                  <a:moveTo>
                    <a:pt x="10" y="0"/>
                  </a:moveTo>
                  <a:lnTo>
                    <a:pt x="8" y="0"/>
                  </a:lnTo>
                  <a:lnTo>
                    <a:pt x="0" y="6"/>
                  </a:lnTo>
                  <a:lnTo>
                    <a:pt x="8" y="4"/>
                  </a:lnTo>
                  <a:lnTo>
                    <a:pt x="8" y="2"/>
                  </a:lnTo>
                  <a:lnTo>
                    <a:pt x="1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51" name="Freeform 39"/>
            <p:cNvSpPr>
              <a:spLocks/>
            </p:cNvSpPr>
            <p:nvPr/>
          </p:nvSpPr>
          <p:spPr bwMode="auto">
            <a:xfrm>
              <a:off x="2883" y="2628"/>
              <a:ext cx="407" cy="310"/>
            </a:xfrm>
            <a:custGeom>
              <a:avLst/>
              <a:gdLst>
                <a:gd name="T0" fmla="*/ 269 w 407"/>
                <a:gd name="T1" fmla="*/ 283 h 310"/>
                <a:gd name="T2" fmla="*/ 307 w 407"/>
                <a:gd name="T3" fmla="*/ 260 h 310"/>
                <a:gd name="T4" fmla="*/ 324 w 407"/>
                <a:gd name="T5" fmla="*/ 265 h 310"/>
                <a:gd name="T6" fmla="*/ 340 w 407"/>
                <a:gd name="T7" fmla="*/ 267 h 310"/>
                <a:gd name="T8" fmla="*/ 363 w 407"/>
                <a:gd name="T9" fmla="*/ 275 h 310"/>
                <a:gd name="T10" fmla="*/ 374 w 407"/>
                <a:gd name="T11" fmla="*/ 237 h 310"/>
                <a:gd name="T12" fmla="*/ 407 w 407"/>
                <a:gd name="T13" fmla="*/ 194 h 310"/>
                <a:gd name="T14" fmla="*/ 407 w 407"/>
                <a:gd name="T15" fmla="*/ 169 h 310"/>
                <a:gd name="T16" fmla="*/ 388 w 407"/>
                <a:gd name="T17" fmla="*/ 160 h 310"/>
                <a:gd name="T18" fmla="*/ 344 w 407"/>
                <a:gd name="T19" fmla="*/ 169 h 310"/>
                <a:gd name="T20" fmla="*/ 334 w 407"/>
                <a:gd name="T21" fmla="*/ 160 h 310"/>
                <a:gd name="T22" fmla="*/ 328 w 407"/>
                <a:gd name="T23" fmla="*/ 127 h 310"/>
                <a:gd name="T24" fmla="*/ 330 w 407"/>
                <a:gd name="T25" fmla="*/ 104 h 310"/>
                <a:gd name="T26" fmla="*/ 321 w 407"/>
                <a:gd name="T27" fmla="*/ 79 h 310"/>
                <a:gd name="T28" fmla="*/ 297 w 407"/>
                <a:gd name="T29" fmla="*/ 54 h 310"/>
                <a:gd name="T30" fmla="*/ 286 w 407"/>
                <a:gd name="T31" fmla="*/ 43 h 310"/>
                <a:gd name="T32" fmla="*/ 249 w 407"/>
                <a:gd name="T33" fmla="*/ 0 h 310"/>
                <a:gd name="T34" fmla="*/ 230 w 407"/>
                <a:gd name="T35" fmla="*/ 8 h 310"/>
                <a:gd name="T36" fmla="*/ 194 w 407"/>
                <a:gd name="T37" fmla="*/ 31 h 310"/>
                <a:gd name="T38" fmla="*/ 182 w 407"/>
                <a:gd name="T39" fmla="*/ 44 h 310"/>
                <a:gd name="T40" fmla="*/ 150 w 407"/>
                <a:gd name="T41" fmla="*/ 39 h 310"/>
                <a:gd name="T42" fmla="*/ 130 w 407"/>
                <a:gd name="T43" fmla="*/ 37 h 310"/>
                <a:gd name="T44" fmla="*/ 109 w 407"/>
                <a:gd name="T45" fmla="*/ 33 h 310"/>
                <a:gd name="T46" fmla="*/ 98 w 407"/>
                <a:gd name="T47" fmla="*/ 39 h 310"/>
                <a:gd name="T48" fmla="*/ 78 w 407"/>
                <a:gd name="T49" fmla="*/ 56 h 310"/>
                <a:gd name="T50" fmla="*/ 69 w 407"/>
                <a:gd name="T51" fmla="*/ 69 h 310"/>
                <a:gd name="T52" fmla="*/ 63 w 407"/>
                <a:gd name="T53" fmla="*/ 85 h 310"/>
                <a:gd name="T54" fmla="*/ 52 w 407"/>
                <a:gd name="T55" fmla="*/ 110 h 310"/>
                <a:gd name="T56" fmla="*/ 52 w 407"/>
                <a:gd name="T57" fmla="*/ 116 h 310"/>
                <a:gd name="T58" fmla="*/ 48 w 407"/>
                <a:gd name="T59" fmla="*/ 133 h 310"/>
                <a:gd name="T60" fmla="*/ 40 w 407"/>
                <a:gd name="T61" fmla="*/ 144 h 310"/>
                <a:gd name="T62" fmla="*/ 38 w 407"/>
                <a:gd name="T63" fmla="*/ 158 h 310"/>
                <a:gd name="T64" fmla="*/ 23 w 407"/>
                <a:gd name="T65" fmla="*/ 162 h 310"/>
                <a:gd name="T66" fmla="*/ 9 w 407"/>
                <a:gd name="T67" fmla="*/ 169 h 310"/>
                <a:gd name="T68" fmla="*/ 0 w 407"/>
                <a:gd name="T69" fmla="*/ 175 h 310"/>
                <a:gd name="T70" fmla="*/ 23 w 407"/>
                <a:gd name="T71" fmla="*/ 196 h 310"/>
                <a:gd name="T72" fmla="*/ 28 w 407"/>
                <a:gd name="T73" fmla="*/ 210 h 310"/>
                <a:gd name="T74" fmla="*/ 44 w 407"/>
                <a:gd name="T75" fmla="*/ 223 h 310"/>
                <a:gd name="T76" fmla="*/ 61 w 407"/>
                <a:gd name="T77" fmla="*/ 233 h 310"/>
                <a:gd name="T78" fmla="*/ 55 w 407"/>
                <a:gd name="T79" fmla="*/ 240 h 310"/>
                <a:gd name="T80" fmla="*/ 55 w 407"/>
                <a:gd name="T81" fmla="*/ 250 h 310"/>
                <a:gd name="T82" fmla="*/ 67 w 407"/>
                <a:gd name="T83" fmla="*/ 256 h 310"/>
                <a:gd name="T84" fmla="*/ 86 w 407"/>
                <a:gd name="T85" fmla="*/ 265 h 310"/>
                <a:gd name="T86" fmla="*/ 98 w 407"/>
                <a:gd name="T87" fmla="*/ 258 h 310"/>
                <a:gd name="T88" fmla="*/ 117 w 407"/>
                <a:gd name="T89" fmla="*/ 260 h 310"/>
                <a:gd name="T90" fmla="*/ 109 w 407"/>
                <a:gd name="T91" fmla="*/ 269 h 310"/>
                <a:gd name="T92" fmla="*/ 117 w 407"/>
                <a:gd name="T93" fmla="*/ 281 h 310"/>
                <a:gd name="T94" fmla="*/ 134 w 407"/>
                <a:gd name="T95" fmla="*/ 294 h 310"/>
                <a:gd name="T96" fmla="*/ 128 w 407"/>
                <a:gd name="T97" fmla="*/ 308 h 310"/>
                <a:gd name="T98" fmla="*/ 184 w 407"/>
                <a:gd name="T99" fmla="*/ 310 h 310"/>
                <a:gd name="T100" fmla="*/ 209 w 407"/>
                <a:gd name="T101" fmla="*/ 306 h 310"/>
                <a:gd name="T102" fmla="*/ 240 w 407"/>
                <a:gd name="T103"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310">
                  <a:moveTo>
                    <a:pt x="253" y="300"/>
                  </a:moveTo>
                  <a:lnTo>
                    <a:pt x="257" y="298"/>
                  </a:lnTo>
                  <a:lnTo>
                    <a:pt x="269" y="283"/>
                  </a:lnTo>
                  <a:lnTo>
                    <a:pt x="271" y="277"/>
                  </a:lnTo>
                  <a:lnTo>
                    <a:pt x="282" y="271"/>
                  </a:lnTo>
                  <a:lnTo>
                    <a:pt x="307" y="260"/>
                  </a:lnTo>
                  <a:lnTo>
                    <a:pt x="317" y="260"/>
                  </a:lnTo>
                  <a:lnTo>
                    <a:pt x="319" y="262"/>
                  </a:lnTo>
                  <a:lnTo>
                    <a:pt x="324" y="265"/>
                  </a:lnTo>
                  <a:lnTo>
                    <a:pt x="334" y="262"/>
                  </a:lnTo>
                  <a:lnTo>
                    <a:pt x="338" y="265"/>
                  </a:lnTo>
                  <a:lnTo>
                    <a:pt x="340" y="267"/>
                  </a:lnTo>
                  <a:lnTo>
                    <a:pt x="347" y="264"/>
                  </a:lnTo>
                  <a:lnTo>
                    <a:pt x="351" y="271"/>
                  </a:lnTo>
                  <a:lnTo>
                    <a:pt x="363" y="275"/>
                  </a:lnTo>
                  <a:lnTo>
                    <a:pt x="378" y="273"/>
                  </a:lnTo>
                  <a:lnTo>
                    <a:pt x="378" y="258"/>
                  </a:lnTo>
                  <a:lnTo>
                    <a:pt x="374" y="237"/>
                  </a:lnTo>
                  <a:lnTo>
                    <a:pt x="384" y="210"/>
                  </a:lnTo>
                  <a:lnTo>
                    <a:pt x="390" y="202"/>
                  </a:lnTo>
                  <a:lnTo>
                    <a:pt x="407" y="194"/>
                  </a:lnTo>
                  <a:lnTo>
                    <a:pt x="407" y="173"/>
                  </a:lnTo>
                  <a:lnTo>
                    <a:pt x="403" y="171"/>
                  </a:lnTo>
                  <a:lnTo>
                    <a:pt x="407" y="169"/>
                  </a:lnTo>
                  <a:lnTo>
                    <a:pt x="403" y="166"/>
                  </a:lnTo>
                  <a:lnTo>
                    <a:pt x="395" y="160"/>
                  </a:lnTo>
                  <a:lnTo>
                    <a:pt x="388" y="160"/>
                  </a:lnTo>
                  <a:lnTo>
                    <a:pt x="365" y="179"/>
                  </a:lnTo>
                  <a:lnTo>
                    <a:pt x="349" y="175"/>
                  </a:lnTo>
                  <a:lnTo>
                    <a:pt x="344" y="169"/>
                  </a:lnTo>
                  <a:lnTo>
                    <a:pt x="342" y="167"/>
                  </a:lnTo>
                  <a:lnTo>
                    <a:pt x="338" y="162"/>
                  </a:lnTo>
                  <a:lnTo>
                    <a:pt x="334" y="160"/>
                  </a:lnTo>
                  <a:lnTo>
                    <a:pt x="336" y="156"/>
                  </a:lnTo>
                  <a:lnTo>
                    <a:pt x="332" y="144"/>
                  </a:lnTo>
                  <a:lnTo>
                    <a:pt x="328" y="127"/>
                  </a:lnTo>
                  <a:lnTo>
                    <a:pt x="326" y="119"/>
                  </a:lnTo>
                  <a:lnTo>
                    <a:pt x="330" y="114"/>
                  </a:lnTo>
                  <a:lnTo>
                    <a:pt x="330" y="104"/>
                  </a:lnTo>
                  <a:lnTo>
                    <a:pt x="328" y="100"/>
                  </a:lnTo>
                  <a:lnTo>
                    <a:pt x="328" y="94"/>
                  </a:lnTo>
                  <a:lnTo>
                    <a:pt x="321" y="79"/>
                  </a:lnTo>
                  <a:lnTo>
                    <a:pt x="317" y="71"/>
                  </a:lnTo>
                  <a:lnTo>
                    <a:pt x="303" y="64"/>
                  </a:lnTo>
                  <a:lnTo>
                    <a:pt x="297" y="54"/>
                  </a:lnTo>
                  <a:lnTo>
                    <a:pt x="292" y="50"/>
                  </a:lnTo>
                  <a:lnTo>
                    <a:pt x="290" y="44"/>
                  </a:lnTo>
                  <a:lnTo>
                    <a:pt x="286" y="43"/>
                  </a:lnTo>
                  <a:lnTo>
                    <a:pt x="280" y="37"/>
                  </a:lnTo>
                  <a:lnTo>
                    <a:pt x="261" y="6"/>
                  </a:lnTo>
                  <a:lnTo>
                    <a:pt x="249" y="0"/>
                  </a:lnTo>
                  <a:lnTo>
                    <a:pt x="244" y="0"/>
                  </a:lnTo>
                  <a:lnTo>
                    <a:pt x="240" y="4"/>
                  </a:lnTo>
                  <a:lnTo>
                    <a:pt x="230" y="8"/>
                  </a:lnTo>
                  <a:lnTo>
                    <a:pt x="228" y="19"/>
                  </a:lnTo>
                  <a:lnTo>
                    <a:pt x="224" y="21"/>
                  </a:lnTo>
                  <a:lnTo>
                    <a:pt x="194" y="31"/>
                  </a:lnTo>
                  <a:lnTo>
                    <a:pt x="190" y="33"/>
                  </a:lnTo>
                  <a:lnTo>
                    <a:pt x="188" y="43"/>
                  </a:lnTo>
                  <a:lnTo>
                    <a:pt x="182" y="44"/>
                  </a:lnTo>
                  <a:lnTo>
                    <a:pt x="163" y="33"/>
                  </a:lnTo>
                  <a:lnTo>
                    <a:pt x="157" y="33"/>
                  </a:lnTo>
                  <a:lnTo>
                    <a:pt x="150" y="39"/>
                  </a:lnTo>
                  <a:lnTo>
                    <a:pt x="142" y="37"/>
                  </a:lnTo>
                  <a:lnTo>
                    <a:pt x="134" y="39"/>
                  </a:lnTo>
                  <a:lnTo>
                    <a:pt x="130" y="37"/>
                  </a:lnTo>
                  <a:lnTo>
                    <a:pt x="121" y="37"/>
                  </a:lnTo>
                  <a:lnTo>
                    <a:pt x="115" y="37"/>
                  </a:lnTo>
                  <a:lnTo>
                    <a:pt x="109" y="33"/>
                  </a:lnTo>
                  <a:lnTo>
                    <a:pt x="105" y="31"/>
                  </a:lnTo>
                  <a:lnTo>
                    <a:pt x="103" y="39"/>
                  </a:lnTo>
                  <a:lnTo>
                    <a:pt x="98" y="39"/>
                  </a:lnTo>
                  <a:lnTo>
                    <a:pt x="96" y="43"/>
                  </a:lnTo>
                  <a:lnTo>
                    <a:pt x="88" y="56"/>
                  </a:lnTo>
                  <a:lnTo>
                    <a:pt x="78" y="56"/>
                  </a:lnTo>
                  <a:lnTo>
                    <a:pt x="78" y="60"/>
                  </a:lnTo>
                  <a:lnTo>
                    <a:pt x="73" y="60"/>
                  </a:lnTo>
                  <a:lnTo>
                    <a:pt x="69" y="69"/>
                  </a:lnTo>
                  <a:lnTo>
                    <a:pt x="67" y="71"/>
                  </a:lnTo>
                  <a:lnTo>
                    <a:pt x="63" y="75"/>
                  </a:lnTo>
                  <a:lnTo>
                    <a:pt x="63" y="85"/>
                  </a:lnTo>
                  <a:lnTo>
                    <a:pt x="61" y="87"/>
                  </a:lnTo>
                  <a:lnTo>
                    <a:pt x="59" y="98"/>
                  </a:lnTo>
                  <a:lnTo>
                    <a:pt x="52" y="110"/>
                  </a:lnTo>
                  <a:lnTo>
                    <a:pt x="53" y="110"/>
                  </a:lnTo>
                  <a:lnTo>
                    <a:pt x="53" y="114"/>
                  </a:lnTo>
                  <a:lnTo>
                    <a:pt x="52" y="116"/>
                  </a:lnTo>
                  <a:lnTo>
                    <a:pt x="52" y="119"/>
                  </a:lnTo>
                  <a:lnTo>
                    <a:pt x="48" y="123"/>
                  </a:lnTo>
                  <a:lnTo>
                    <a:pt x="48" y="133"/>
                  </a:lnTo>
                  <a:lnTo>
                    <a:pt x="44" y="137"/>
                  </a:lnTo>
                  <a:lnTo>
                    <a:pt x="42" y="137"/>
                  </a:lnTo>
                  <a:lnTo>
                    <a:pt x="40" y="144"/>
                  </a:lnTo>
                  <a:lnTo>
                    <a:pt x="42" y="150"/>
                  </a:lnTo>
                  <a:lnTo>
                    <a:pt x="38" y="152"/>
                  </a:lnTo>
                  <a:lnTo>
                    <a:pt x="38" y="158"/>
                  </a:lnTo>
                  <a:lnTo>
                    <a:pt x="32" y="164"/>
                  </a:lnTo>
                  <a:lnTo>
                    <a:pt x="28" y="162"/>
                  </a:lnTo>
                  <a:lnTo>
                    <a:pt x="23" y="162"/>
                  </a:lnTo>
                  <a:lnTo>
                    <a:pt x="19" y="167"/>
                  </a:lnTo>
                  <a:lnTo>
                    <a:pt x="15" y="171"/>
                  </a:lnTo>
                  <a:lnTo>
                    <a:pt x="9" y="169"/>
                  </a:lnTo>
                  <a:lnTo>
                    <a:pt x="9" y="171"/>
                  </a:lnTo>
                  <a:lnTo>
                    <a:pt x="3" y="171"/>
                  </a:lnTo>
                  <a:lnTo>
                    <a:pt x="0" y="175"/>
                  </a:lnTo>
                  <a:lnTo>
                    <a:pt x="5" y="183"/>
                  </a:lnTo>
                  <a:lnTo>
                    <a:pt x="15" y="187"/>
                  </a:lnTo>
                  <a:lnTo>
                    <a:pt x="23" y="196"/>
                  </a:lnTo>
                  <a:lnTo>
                    <a:pt x="25" y="194"/>
                  </a:lnTo>
                  <a:lnTo>
                    <a:pt x="25" y="204"/>
                  </a:lnTo>
                  <a:lnTo>
                    <a:pt x="28" y="210"/>
                  </a:lnTo>
                  <a:lnTo>
                    <a:pt x="27" y="214"/>
                  </a:lnTo>
                  <a:lnTo>
                    <a:pt x="40" y="223"/>
                  </a:lnTo>
                  <a:lnTo>
                    <a:pt x="44" y="223"/>
                  </a:lnTo>
                  <a:lnTo>
                    <a:pt x="50" y="227"/>
                  </a:lnTo>
                  <a:lnTo>
                    <a:pt x="57" y="229"/>
                  </a:lnTo>
                  <a:lnTo>
                    <a:pt x="61" y="233"/>
                  </a:lnTo>
                  <a:lnTo>
                    <a:pt x="57" y="235"/>
                  </a:lnTo>
                  <a:lnTo>
                    <a:pt x="57" y="239"/>
                  </a:lnTo>
                  <a:lnTo>
                    <a:pt x="55" y="240"/>
                  </a:lnTo>
                  <a:lnTo>
                    <a:pt x="63" y="244"/>
                  </a:lnTo>
                  <a:lnTo>
                    <a:pt x="63" y="248"/>
                  </a:lnTo>
                  <a:lnTo>
                    <a:pt x="55" y="250"/>
                  </a:lnTo>
                  <a:lnTo>
                    <a:pt x="55" y="254"/>
                  </a:lnTo>
                  <a:lnTo>
                    <a:pt x="59" y="256"/>
                  </a:lnTo>
                  <a:lnTo>
                    <a:pt x="67" y="256"/>
                  </a:lnTo>
                  <a:lnTo>
                    <a:pt x="69" y="262"/>
                  </a:lnTo>
                  <a:lnTo>
                    <a:pt x="84" y="262"/>
                  </a:lnTo>
                  <a:lnTo>
                    <a:pt x="86" y="265"/>
                  </a:lnTo>
                  <a:lnTo>
                    <a:pt x="90" y="269"/>
                  </a:lnTo>
                  <a:lnTo>
                    <a:pt x="94" y="271"/>
                  </a:lnTo>
                  <a:lnTo>
                    <a:pt x="98" y="258"/>
                  </a:lnTo>
                  <a:lnTo>
                    <a:pt x="103" y="254"/>
                  </a:lnTo>
                  <a:lnTo>
                    <a:pt x="111" y="260"/>
                  </a:lnTo>
                  <a:lnTo>
                    <a:pt x="117" y="260"/>
                  </a:lnTo>
                  <a:lnTo>
                    <a:pt x="119" y="264"/>
                  </a:lnTo>
                  <a:lnTo>
                    <a:pt x="111" y="264"/>
                  </a:lnTo>
                  <a:lnTo>
                    <a:pt x="109" y="269"/>
                  </a:lnTo>
                  <a:lnTo>
                    <a:pt x="105" y="269"/>
                  </a:lnTo>
                  <a:lnTo>
                    <a:pt x="111" y="279"/>
                  </a:lnTo>
                  <a:lnTo>
                    <a:pt x="117" y="281"/>
                  </a:lnTo>
                  <a:lnTo>
                    <a:pt x="117" y="285"/>
                  </a:lnTo>
                  <a:lnTo>
                    <a:pt x="132" y="290"/>
                  </a:lnTo>
                  <a:lnTo>
                    <a:pt x="134" y="294"/>
                  </a:lnTo>
                  <a:lnTo>
                    <a:pt x="128" y="300"/>
                  </a:lnTo>
                  <a:lnTo>
                    <a:pt x="126" y="306"/>
                  </a:lnTo>
                  <a:lnTo>
                    <a:pt x="128" y="308"/>
                  </a:lnTo>
                  <a:lnTo>
                    <a:pt x="138" y="310"/>
                  </a:lnTo>
                  <a:lnTo>
                    <a:pt x="153" y="304"/>
                  </a:lnTo>
                  <a:lnTo>
                    <a:pt x="184" y="310"/>
                  </a:lnTo>
                  <a:lnTo>
                    <a:pt x="194" y="310"/>
                  </a:lnTo>
                  <a:lnTo>
                    <a:pt x="201" y="304"/>
                  </a:lnTo>
                  <a:lnTo>
                    <a:pt x="209" y="306"/>
                  </a:lnTo>
                  <a:lnTo>
                    <a:pt x="223" y="302"/>
                  </a:lnTo>
                  <a:lnTo>
                    <a:pt x="234" y="304"/>
                  </a:lnTo>
                  <a:lnTo>
                    <a:pt x="240" y="306"/>
                  </a:lnTo>
                  <a:lnTo>
                    <a:pt x="244" y="306"/>
                  </a:lnTo>
                  <a:lnTo>
                    <a:pt x="253" y="30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52" name="Freeform 40"/>
            <p:cNvSpPr>
              <a:spLocks/>
            </p:cNvSpPr>
            <p:nvPr/>
          </p:nvSpPr>
          <p:spPr bwMode="auto">
            <a:xfrm>
              <a:off x="2944" y="2307"/>
              <a:ext cx="707" cy="502"/>
            </a:xfrm>
            <a:custGeom>
              <a:avLst/>
              <a:gdLst>
                <a:gd name="T0" fmla="*/ 661 w 707"/>
                <a:gd name="T1" fmla="*/ 267 h 502"/>
                <a:gd name="T2" fmla="*/ 707 w 707"/>
                <a:gd name="T3" fmla="*/ 212 h 502"/>
                <a:gd name="T4" fmla="*/ 694 w 707"/>
                <a:gd name="T5" fmla="*/ 168 h 502"/>
                <a:gd name="T6" fmla="*/ 692 w 707"/>
                <a:gd name="T7" fmla="*/ 148 h 502"/>
                <a:gd name="T8" fmla="*/ 690 w 707"/>
                <a:gd name="T9" fmla="*/ 116 h 502"/>
                <a:gd name="T10" fmla="*/ 648 w 707"/>
                <a:gd name="T11" fmla="*/ 102 h 502"/>
                <a:gd name="T12" fmla="*/ 605 w 707"/>
                <a:gd name="T13" fmla="*/ 95 h 502"/>
                <a:gd name="T14" fmla="*/ 575 w 707"/>
                <a:gd name="T15" fmla="*/ 89 h 502"/>
                <a:gd name="T16" fmla="*/ 527 w 707"/>
                <a:gd name="T17" fmla="*/ 104 h 502"/>
                <a:gd name="T18" fmla="*/ 488 w 707"/>
                <a:gd name="T19" fmla="*/ 89 h 502"/>
                <a:gd name="T20" fmla="*/ 446 w 707"/>
                <a:gd name="T21" fmla="*/ 62 h 502"/>
                <a:gd name="T22" fmla="*/ 427 w 707"/>
                <a:gd name="T23" fmla="*/ 27 h 502"/>
                <a:gd name="T24" fmla="*/ 384 w 707"/>
                <a:gd name="T25" fmla="*/ 4 h 502"/>
                <a:gd name="T26" fmla="*/ 333 w 707"/>
                <a:gd name="T27" fmla="*/ 35 h 502"/>
                <a:gd name="T28" fmla="*/ 288 w 707"/>
                <a:gd name="T29" fmla="*/ 79 h 502"/>
                <a:gd name="T30" fmla="*/ 260 w 707"/>
                <a:gd name="T31" fmla="*/ 91 h 502"/>
                <a:gd name="T32" fmla="*/ 233 w 707"/>
                <a:gd name="T33" fmla="*/ 93 h 502"/>
                <a:gd name="T34" fmla="*/ 204 w 707"/>
                <a:gd name="T35" fmla="*/ 93 h 502"/>
                <a:gd name="T36" fmla="*/ 177 w 707"/>
                <a:gd name="T37" fmla="*/ 98 h 502"/>
                <a:gd name="T38" fmla="*/ 135 w 707"/>
                <a:gd name="T39" fmla="*/ 95 h 502"/>
                <a:gd name="T40" fmla="*/ 58 w 707"/>
                <a:gd name="T41" fmla="*/ 102 h 502"/>
                <a:gd name="T42" fmla="*/ 33 w 707"/>
                <a:gd name="T43" fmla="*/ 129 h 502"/>
                <a:gd name="T44" fmla="*/ 52 w 707"/>
                <a:gd name="T45" fmla="*/ 173 h 502"/>
                <a:gd name="T46" fmla="*/ 40 w 707"/>
                <a:gd name="T47" fmla="*/ 214 h 502"/>
                <a:gd name="T48" fmla="*/ 25 w 707"/>
                <a:gd name="T49" fmla="*/ 296 h 502"/>
                <a:gd name="T50" fmla="*/ 2 w 707"/>
                <a:gd name="T51" fmla="*/ 339 h 502"/>
                <a:gd name="T52" fmla="*/ 29 w 707"/>
                <a:gd name="T53" fmla="*/ 354 h 502"/>
                <a:gd name="T54" fmla="*/ 48 w 707"/>
                <a:gd name="T55" fmla="*/ 354 h 502"/>
                <a:gd name="T56" fmla="*/ 96 w 707"/>
                <a:gd name="T57" fmla="*/ 354 h 502"/>
                <a:gd name="T58" fmla="*/ 167 w 707"/>
                <a:gd name="T59" fmla="*/ 340 h 502"/>
                <a:gd name="T60" fmla="*/ 211 w 707"/>
                <a:gd name="T61" fmla="*/ 306 h 502"/>
                <a:gd name="T62" fmla="*/ 260 w 707"/>
                <a:gd name="T63" fmla="*/ 314 h 502"/>
                <a:gd name="T64" fmla="*/ 292 w 707"/>
                <a:gd name="T65" fmla="*/ 333 h 502"/>
                <a:gd name="T66" fmla="*/ 317 w 707"/>
                <a:gd name="T67" fmla="*/ 373 h 502"/>
                <a:gd name="T68" fmla="*/ 331 w 707"/>
                <a:gd name="T69" fmla="*/ 410 h 502"/>
                <a:gd name="T70" fmla="*/ 298 w 707"/>
                <a:gd name="T71" fmla="*/ 421 h 502"/>
                <a:gd name="T72" fmla="*/ 292 w 707"/>
                <a:gd name="T73" fmla="*/ 477 h 502"/>
                <a:gd name="T74" fmla="*/ 327 w 707"/>
                <a:gd name="T75" fmla="*/ 481 h 502"/>
                <a:gd name="T76" fmla="*/ 373 w 707"/>
                <a:gd name="T77" fmla="*/ 396 h 502"/>
                <a:gd name="T78" fmla="*/ 417 w 707"/>
                <a:gd name="T79" fmla="*/ 373 h 502"/>
                <a:gd name="T80" fmla="*/ 402 w 707"/>
                <a:gd name="T81" fmla="*/ 389 h 502"/>
                <a:gd name="T82" fmla="*/ 421 w 707"/>
                <a:gd name="T83" fmla="*/ 404 h 502"/>
                <a:gd name="T84" fmla="*/ 469 w 707"/>
                <a:gd name="T85" fmla="*/ 402 h 502"/>
                <a:gd name="T86" fmla="*/ 502 w 707"/>
                <a:gd name="T87" fmla="*/ 408 h 502"/>
                <a:gd name="T88" fmla="*/ 471 w 707"/>
                <a:gd name="T89" fmla="*/ 438 h 502"/>
                <a:gd name="T90" fmla="*/ 496 w 707"/>
                <a:gd name="T91" fmla="*/ 460 h 502"/>
                <a:gd name="T92" fmla="*/ 509 w 707"/>
                <a:gd name="T93" fmla="*/ 494 h 502"/>
                <a:gd name="T94" fmla="*/ 582 w 707"/>
                <a:gd name="T95" fmla="*/ 450 h 502"/>
                <a:gd name="T96" fmla="*/ 611 w 707"/>
                <a:gd name="T97" fmla="*/ 438 h 502"/>
                <a:gd name="T98" fmla="*/ 627 w 707"/>
                <a:gd name="T99" fmla="*/ 410 h 502"/>
                <a:gd name="T100" fmla="*/ 600 w 707"/>
                <a:gd name="T101" fmla="*/ 414 h 502"/>
                <a:gd name="T102" fmla="*/ 542 w 707"/>
                <a:gd name="T103" fmla="*/ 379 h 502"/>
                <a:gd name="T104" fmla="*/ 557 w 707"/>
                <a:gd name="T105" fmla="*/ 362 h 502"/>
                <a:gd name="T106" fmla="*/ 596 w 707"/>
                <a:gd name="T107" fmla="*/ 327 h 502"/>
                <a:gd name="T108" fmla="*/ 504 w 707"/>
                <a:gd name="T109" fmla="*/ 385 h 502"/>
                <a:gd name="T110" fmla="*/ 530 w 707"/>
                <a:gd name="T111" fmla="*/ 381 h 502"/>
                <a:gd name="T112" fmla="*/ 536 w 707"/>
                <a:gd name="T113" fmla="*/ 392 h 502"/>
                <a:gd name="T114" fmla="*/ 552 w 707"/>
                <a:gd name="T115" fmla="*/ 398 h 502"/>
                <a:gd name="T116" fmla="*/ 567 w 707"/>
                <a:gd name="T117" fmla="*/ 419 h 502"/>
                <a:gd name="T118" fmla="*/ 534 w 707"/>
                <a:gd name="T119" fmla="*/ 408 h 502"/>
                <a:gd name="T120" fmla="*/ 519 w 707"/>
                <a:gd name="T121" fmla="*/ 400 h 502"/>
                <a:gd name="T122" fmla="*/ 504 w 707"/>
                <a:gd name="T123" fmla="*/ 39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7" h="502">
                  <a:moveTo>
                    <a:pt x="619" y="308"/>
                  </a:moveTo>
                  <a:lnTo>
                    <a:pt x="627" y="302"/>
                  </a:lnTo>
                  <a:lnTo>
                    <a:pt x="630" y="306"/>
                  </a:lnTo>
                  <a:lnTo>
                    <a:pt x="636" y="289"/>
                  </a:lnTo>
                  <a:lnTo>
                    <a:pt x="661" y="279"/>
                  </a:lnTo>
                  <a:lnTo>
                    <a:pt x="659" y="273"/>
                  </a:lnTo>
                  <a:lnTo>
                    <a:pt x="661" y="267"/>
                  </a:lnTo>
                  <a:lnTo>
                    <a:pt x="657" y="266"/>
                  </a:lnTo>
                  <a:lnTo>
                    <a:pt x="655" y="246"/>
                  </a:lnTo>
                  <a:lnTo>
                    <a:pt x="671" y="237"/>
                  </a:lnTo>
                  <a:lnTo>
                    <a:pt x="671" y="225"/>
                  </a:lnTo>
                  <a:lnTo>
                    <a:pt x="678" y="221"/>
                  </a:lnTo>
                  <a:lnTo>
                    <a:pt x="705" y="216"/>
                  </a:lnTo>
                  <a:lnTo>
                    <a:pt x="707" y="212"/>
                  </a:lnTo>
                  <a:lnTo>
                    <a:pt x="703" y="202"/>
                  </a:lnTo>
                  <a:lnTo>
                    <a:pt x="705" y="200"/>
                  </a:lnTo>
                  <a:lnTo>
                    <a:pt x="703" y="196"/>
                  </a:lnTo>
                  <a:lnTo>
                    <a:pt x="707" y="183"/>
                  </a:lnTo>
                  <a:lnTo>
                    <a:pt x="700" y="183"/>
                  </a:lnTo>
                  <a:lnTo>
                    <a:pt x="702" y="179"/>
                  </a:lnTo>
                  <a:lnTo>
                    <a:pt x="694" y="168"/>
                  </a:lnTo>
                  <a:lnTo>
                    <a:pt x="686" y="169"/>
                  </a:lnTo>
                  <a:lnTo>
                    <a:pt x="686" y="158"/>
                  </a:lnTo>
                  <a:lnTo>
                    <a:pt x="688" y="152"/>
                  </a:lnTo>
                  <a:lnTo>
                    <a:pt x="694" y="152"/>
                  </a:lnTo>
                  <a:lnTo>
                    <a:pt x="696" y="148"/>
                  </a:lnTo>
                  <a:lnTo>
                    <a:pt x="694" y="144"/>
                  </a:lnTo>
                  <a:lnTo>
                    <a:pt x="692" y="148"/>
                  </a:lnTo>
                  <a:lnTo>
                    <a:pt x="684" y="148"/>
                  </a:lnTo>
                  <a:lnTo>
                    <a:pt x="680" y="144"/>
                  </a:lnTo>
                  <a:lnTo>
                    <a:pt x="678" y="141"/>
                  </a:lnTo>
                  <a:lnTo>
                    <a:pt x="688" y="137"/>
                  </a:lnTo>
                  <a:lnTo>
                    <a:pt x="686" y="131"/>
                  </a:lnTo>
                  <a:lnTo>
                    <a:pt x="692" y="121"/>
                  </a:lnTo>
                  <a:lnTo>
                    <a:pt x="690" y="116"/>
                  </a:lnTo>
                  <a:lnTo>
                    <a:pt x="682" y="110"/>
                  </a:lnTo>
                  <a:lnTo>
                    <a:pt x="682" y="100"/>
                  </a:lnTo>
                  <a:lnTo>
                    <a:pt x="678" y="102"/>
                  </a:lnTo>
                  <a:lnTo>
                    <a:pt x="671" y="108"/>
                  </a:lnTo>
                  <a:lnTo>
                    <a:pt x="665" y="106"/>
                  </a:lnTo>
                  <a:lnTo>
                    <a:pt x="659" y="100"/>
                  </a:lnTo>
                  <a:lnTo>
                    <a:pt x="648" y="102"/>
                  </a:lnTo>
                  <a:lnTo>
                    <a:pt x="642" y="96"/>
                  </a:lnTo>
                  <a:lnTo>
                    <a:pt x="634" y="102"/>
                  </a:lnTo>
                  <a:lnTo>
                    <a:pt x="623" y="98"/>
                  </a:lnTo>
                  <a:lnTo>
                    <a:pt x="621" y="96"/>
                  </a:lnTo>
                  <a:lnTo>
                    <a:pt x="615" y="100"/>
                  </a:lnTo>
                  <a:lnTo>
                    <a:pt x="609" y="98"/>
                  </a:lnTo>
                  <a:lnTo>
                    <a:pt x="605" y="95"/>
                  </a:lnTo>
                  <a:lnTo>
                    <a:pt x="600" y="96"/>
                  </a:lnTo>
                  <a:lnTo>
                    <a:pt x="604" y="104"/>
                  </a:lnTo>
                  <a:lnTo>
                    <a:pt x="598" y="108"/>
                  </a:lnTo>
                  <a:lnTo>
                    <a:pt x="592" y="102"/>
                  </a:lnTo>
                  <a:lnTo>
                    <a:pt x="582" y="100"/>
                  </a:lnTo>
                  <a:lnTo>
                    <a:pt x="577" y="95"/>
                  </a:lnTo>
                  <a:lnTo>
                    <a:pt x="575" y="89"/>
                  </a:lnTo>
                  <a:lnTo>
                    <a:pt x="569" y="87"/>
                  </a:lnTo>
                  <a:lnTo>
                    <a:pt x="567" y="81"/>
                  </a:lnTo>
                  <a:lnTo>
                    <a:pt x="544" y="98"/>
                  </a:lnTo>
                  <a:lnTo>
                    <a:pt x="538" y="106"/>
                  </a:lnTo>
                  <a:lnTo>
                    <a:pt x="536" y="102"/>
                  </a:lnTo>
                  <a:lnTo>
                    <a:pt x="529" y="100"/>
                  </a:lnTo>
                  <a:lnTo>
                    <a:pt x="527" y="104"/>
                  </a:lnTo>
                  <a:lnTo>
                    <a:pt x="519" y="98"/>
                  </a:lnTo>
                  <a:lnTo>
                    <a:pt x="511" y="98"/>
                  </a:lnTo>
                  <a:lnTo>
                    <a:pt x="506" y="100"/>
                  </a:lnTo>
                  <a:lnTo>
                    <a:pt x="502" y="108"/>
                  </a:lnTo>
                  <a:lnTo>
                    <a:pt x="490" y="100"/>
                  </a:lnTo>
                  <a:lnTo>
                    <a:pt x="486" y="93"/>
                  </a:lnTo>
                  <a:lnTo>
                    <a:pt x="488" y="89"/>
                  </a:lnTo>
                  <a:lnTo>
                    <a:pt x="477" y="73"/>
                  </a:lnTo>
                  <a:lnTo>
                    <a:pt x="479" y="68"/>
                  </a:lnTo>
                  <a:lnTo>
                    <a:pt x="471" y="70"/>
                  </a:lnTo>
                  <a:lnTo>
                    <a:pt x="465" y="60"/>
                  </a:lnTo>
                  <a:lnTo>
                    <a:pt x="461" y="60"/>
                  </a:lnTo>
                  <a:lnTo>
                    <a:pt x="452" y="66"/>
                  </a:lnTo>
                  <a:lnTo>
                    <a:pt x="446" y="62"/>
                  </a:lnTo>
                  <a:lnTo>
                    <a:pt x="431" y="66"/>
                  </a:lnTo>
                  <a:lnTo>
                    <a:pt x="432" y="58"/>
                  </a:lnTo>
                  <a:lnTo>
                    <a:pt x="429" y="56"/>
                  </a:lnTo>
                  <a:lnTo>
                    <a:pt x="427" y="48"/>
                  </a:lnTo>
                  <a:lnTo>
                    <a:pt x="419" y="41"/>
                  </a:lnTo>
                  <a:lnTo>
                    <a:pt x="431" y="33"/>
                  </a:lnTo>
                  <a:lnTo>
                    <a:pt x="427" y="27"/>
                  </a:lnTo>
                  <a:lnTo>
                    <a:pt x="415" y="23"/>
                  </a:lnTo>
                  <a:lnTo>
                    <a:pt x="411" y="10"/>
                  </a:lnTo>
                  <a:lnTo>
                    <a:pt x="398" y="0"/>
                  </a:lnTo>
                  <a:lnTo>
                    <a:pt x="394" y="2"/>
                  </a:lnTo>
                  <a:lnTo>
                    <a:pt x="388" y="8"/>
                  </a:lnTo>
                  <a:lnTo>
                    <a:pt x="386" y="2"/>
                  </a:lnTo>
                  <a:lnTo>
                    <a:pt x="384" y="4"/>
                  </a:lnTo>
                  <a:lnTo>
                    <a:pt x="375" y="6"/>
                  </a:lnTo>
                  <a:lnTo>
                    <a:pt x="367" y="16"/>
                  </a:lnTo>
                  <a:lnTo>
                    <a:pt x="346" y="16"/>
                  </a:lnTo>
                  <a:lnTo>
                    <a:pt x="348" y="27"/>
                  </a:lnTo>
                  <a:lnTo>
                    <a:pt x="344" y="33"/>
                  </a:lnTo>
                  <a:lnTo>
                    <a:pt x="334" y="39"/>
                  </a:lnTo>
                  <a:lnTo>
                    <a:pt x="333" y="35"/>
                  </a:lnTo>
                  <a:lnTo>
                    <a:pt x="329" y="35"/>
                  </a:lnTo>
                  <a:lnTo>
                    <a:pt x="313" y="39"/>
                  </a:lnTo>
                  <a:lnTo>
                    <a:pt x="310" y="45"/>
                  </a:lnTo>
                  <a:lnTo>
                    <a:pt x="298" y="45"/>
                  </a:lnTo>
                  <a:lnTo>
                    <a:pt x="300" y="48"/>
                  </a:lnTo>
                  <a:lnTo>
                    <a:pt x="294" y="54"/>
                  </a:lnTo>
                  <a:lnTo>
                    <a:pt x="288" y="79"/>
                  </a:lnTo>
                  <a:lnTo>
                    <a:pt x="296" y="91"/>
                  </a:lnTo>
                  <a:lnTo>
                    <a:pt x="296" y="100"/>
                  </a:lnTo>
                  <a:lnTo>
                    <a:pt x="288" y="98"/>
                  </a:lnTo>
                  <a:lnTo>
                    <a:pt x="285" y="93"/>
                  </a:lnTo>
                  <a:lnTo>
                    <a:pt x="277" y="89"/>
                  </a:lnTo>
                  <a:lnTo>
                    <a:pt x="267" y="95"/>
                  </a:lnTo>
                  <a:lnTo>
                    <a:pt x="260" y="91"/>
                  </a:lnTo>
                  <a:lnTo>
                    <a:pt x="254" y="96"/>
                  </a:lnTo>
                  <a:lnTo>
                    <a:pt x="254" y="100"/>
                  </a:lnTo>
                  <a:lnTo>
                    <a:pt x="248" y="102"/>
                  </a:lnTo>
                  <a:lnTo>
                    <a:pt x="242" y="96"/>
                  </a:lnTo>
                  <a:lnTo>
                    <a:pt x="240" y="89"/>
                  </a:lnTo>
                  <a:lnTo>
                    <a:pt x="235" y="87"/>
                  </a:lnTo>
                  <a:lnTo>
                    <a:pt x="233" y="93"/>
                  </a:lnTo>
                  <a:lnTo>
                    <a:pt x="227" y="95"/>
                  </a:lnTo>
                  <a:lnTo>
                    <a:pt x="225" y="104"/>
                  </a:lnTo>
                  <a:lnTo>
                    <a:pt x="221" y="102"/>
                  </a:lnTo>
                  <a:lnTo>
                    <a:pt x="219" y="95"/>
                  </a:lnTo>
                  <a:lnTo>
                    <a:pt x="213" y="96"/>
                  </a:lnTo>
                  <a:lnTo>
                    <a:pt x="210" y="100"/>
                  </a:lnTo>
                  <a:lnTo>
                    <a:pt x="204" y="93"/>
                  </a:lnTo>
                  <a:lnTo>
                    <a:pt x="198" y="98"/>
                  </a:lnTo>
                  <a:lnTo>
                    <a:pt x="190" y="98"/>
                  </a:lnTo>
                  <a:lnTo>
                    <a:pt x="187" y="108"/>
                  </a:lnTo>
                  <a:lnTo>
                    <a:pt x="185" y="106"/>
                  </a:lnTo>
                  <a:lnTo>
                    <a:pt x="185" y="102"/>
                  </a:lnTo>
                  <a:lnTo>
                    <a:pt x="185" y="100"/>
                  </a:lnTo>
                  <a:lnTo>
                    <a:pt x="177" y="98"/>
                  </a:lnTo>
                  <a:lnTo>
                    <a:pt x="169" y="102"/>
                  </a:lnTo>
                  <a:lnTo>
                    <a:pt x="169" y="98"/>
                  </a:lnTo>
                  <a:lnTo>
                    <a:pt x="165" y="98"/>
                  </a:lnTo>
                  <a:lnTo>
                    <a:pt x="163" y="93"/>
                  </a:lnTo>
                  <a:lnTo>
                    <a:pt x="154" y="96"/>
                  </a:lnTo>
                  <a:lnTo>
                    <a:pt x="142" y="93"/>
                  </a:lnTo>
                  <a:lnTo>
                    <a:pt x="135" y="95"/>
                  </a:lnTo>
                  <a:lnTo>
                    <a:pt x="135" y="93"/>
                  </a:lnTo>
                  <a:lnTo>
                    <a:pt x="125" y="93"/>
                  </a:lnTo>
                  <a:lnTo>
                    <a:pt x="121" y="91"/>
                  </a:lnTo>
                  <a:lnTo>
                    <a:pt x="100" y="93"/>
                  </a:lnTo>
                  <a:lnTo>
                    <a:pt x="87" y="93"/>
                  </a:lnTo>
                  <a:lnTo>
                    <a:pt x="75" y="98"/>
                  </a:lnTo>
                  <a:lnTo>
                    <a:pt x="58" y="102"/>
                  </a:lnTo>
                  <a:lnTo>
                    <a:pt x="54" y="112"/>
                  </a:lnTo>
                  <a:lnTo>
                    <a:pt x="46" y="121"/>
                  </a:lnTo>
                  <a:lnTo>
                    <a:pt x="44" y="123"/>
                  </a:lnTo>
                  <a:lnTo>
                    <a:pt x="40" y="121"/>
                  </a:lnTo>
                  <a:lnTo>
                    <a:pt x="33" y="121"/>
                  </a:lnTo>
                  <a:lnTo>
                    <a:pt x="31" y="125"/>
                  </a:lnTo>
                  <a:lnTo>
                    <a:pt x="33" y="129"/>
                  </a:lnTo>
                  <a:lnTo>
                    <a:pt x="31" y="129"/>
                  </a:lnTo>
                  <a:lnTo>
                    <a:pt x="35" y="137"/>
                  </a:lnTo>
                  <a:lnTo>
                    <a:pt x="35" y="144"/>
                  </a:lnTo>
                  <a:lnTo>
                    <a:pt x="44" y="152"/>
                  </a:lnTo>
                  <a:lnTo>
                    <a:pt x="48" y="162"/>
                  </a:lnTo>
                  <a:lnTo>
                    <a:pt x="58" y="169"/>
                  </a:lnTo>
                  <a:lnTo>
                    <a:pt x="52" y="173"/>
                  </a:lnTo>
                  <a:lnTo>
                    <a:pt x="50" y="175"/>
                  </a:lnTo>
                  <a:lnTo>
                    <a:pt x="58" y="185"/>
                  </a:lnTo>
                  <a:lnTo>
                    <a:pt x="60" y="191"/>
                  </a:lnTo>
                  <a:lnTo>
                    <a:pt x="56" y="194"/>
                  </a:lnTo>
                  <a:lnTo>
                    <a:pt x="56" y="200"/>
                  </a:lnTo>
                  <a:lnTo>
                    <a:pt x="46" y="202"/>
                  </a:lnTo>
                  <a:lnTo>
                    <a:pt x="40" y="214"/>
                  </a:lnTo>
                  <a:lnTo>
                    <a:pt x="27" y="231"/>
                  </a:lnTo>
                  <a:lnTo>
                    <a:pt x="12" y="260"/>
                  </a:lnTo>
                  <a:lnTo>
                    <a:pt x="12" y="264"/>
                  </a:lnTo>
                  <a:lnTo>
                    <a:pt x="17" y="279"/>
                  </a:lnTo>
                  <a:lnTo>
                    <a:pt x="17" y="287"/>
                  </a:lnTo>
                  <a:lnTo>
                    <a:pt x="25" y="291"/>
                  </a:lnTo>
                  <a:lnTo>
                    <a:pt x="25" y="296"/>
                  </a:lnTo>
                  <a:lnTo>
                    <a:pt x="12" y="292"/>
                  </a:lnTo>
                  <a:lnTo>
                    <a:pt x="12" y="298"/>
                  </a:lnTo>
                  <a:lnTo>
                    <a:pt x="10" y="300"/>
                  </a:lnTo>
                  <a:lnTo>
                    <a:pt x="6" y="308"/>
                  </a:lnTo>
                  <a:lnTo>
                    <a:pt x="6" y="319"/>
                  </a:lnTo>
                  <a:lnTo>
                    <a:pt x="0" y="327"/>
                  </a:lnTo>
                  <a:lnTo>
                    <a:pt x="2" y="339"/>
                  </a:lnTo>
                  <a:lnTo>
                    <a:pt x="6" y="339"/>
                  </a:lnTo>
                  <a:lnTo>
                    <a:pt x="6" y="340"/>
                  </a:lnTo>
                  <a:lnTo>
                    <a:pt x="8" y="340"/>
                  </a:lnTo>
                  <a:lnTo>
                    <a:pt x="12" y="348"/>
                  </a:lnTo>
                  <a:lnTo>
                    <a:pt x="15" y="346"/>
                  </a:lnTo>
                  <a:lnTo>
                    <a:pt x="23" y="356"/>
                  </a:lnTo>
                  <a:lnTo>
                    <a:pt x="29" y="354"/>
                  </a:lnTo>
                  <a:lnTo>
                    <a:pt x="33" y="358"/>
                  </a:lnTo>
                  <a:lnTo>
                    <a:pt x="33" y="362"/>
                  </a:lnTo>
                  <a:lnTo>
                    <a:pt x="35" y="364"/>
                  </a:lnTo>
                  <a:lnTo>
                    <a:pt x="37" y="360"/>
                  </a:lnTo>
                  <a:lnTo>
                    <a:pt x="42" y="360"/>
                  </a:lnTo>
                  <a:lnTo>
                    <a:pt x="44" y="352"/>
                  </a:lnTo>
                  <a:lnTo>
                    <a:pt x="48" y="354"/>
                  </a:lnTo>
                  <a:lnTo>
                    <a:pt x="54" y="358"/>
                  </a:lnTo>
                  <a:lnTo>
                    <a:pt x="60" y="358"/>
                  </a:lnTo>
                  <a:lnTo>
                    <a:pt x="69" y="358"/>
                  </a:lnTo>
                  <a:lnTo>
                    <a:pt x="73" y="360"/>
                  </a:lnTo>
                  <a:lnTo>
                    <a:pt x="81" y="358"/>
                  </a:lnTo>
                  <a:lnTo>
                    <a:pt x="89" y="360"/>
                  </a:lnTo>
                  <a:lnTo>
                    <a:pt x="96" y="354"/>
                  </a:lnTo>
                  <a:lnTo>
                    <a:pt x="102" y="354"/>
                  </a:lnTo>
                  <a:lnTo>
                    <a:pt x="121" y="365"/>
                  </a:lnTo>
                  <a:lnTo>
                    <a:pt x="127" y="364"/>
                  </a:lnTo>
                  <a:lnTo>
                    <a:pt x="129" y="354"/>
                  </a:lnTo>
                  <a:lnTo>
                    <a:pt x="133" y="352"/>
                  </a:lnTo>
                  <a:lnTo>
                    <a:pt x="163" y="342"/>
                  </a:lnTo>
                  <a:lnTo>
                    <a:pt x="167" y="340"/>
                  </a:lnTo>
                  <a:lnTo>
                    <a:pt x="169" y="329"/>
                  </a:lnTo>
                  <a:lnTo>
                    <a:pt x="179" y="325"/>
                  </a:lnTo>
                  <a:lnTo>
                    <a:pt x="183" y="321"/>
                  </a:lnTo>
                  <a:lnTo>
                    <a:pt x="188" y="310"/>
                  </a:lnTo>
                  <a:lnTo>
                    <a:pt x="204" y="310"/>
                  </a:lnTo>
                  <a:lnTo>
                    <a:pt x="208" y="304"/>
                  </a:lnTo>
                  <a:lnTo>
                    <a:pt x="211" y="306"/>
                  </a:lnTo>
                  <a:lnTo>
                    <a:pt x="215" y="302"/>
                  </a:lnTo>
                  <a:lnTo>
                    <a:pt x="217" y="300"/>
                  </a:lnTo>
                  <a:lnTo>
                    <a:pt x="238" y="308"/>
                  </a:lnTo>
                  <a:lnTo>
                    <a:pt x="246" y="314"/>
                  </a:lnTo>
                  <a:lnTo>
                    <a:pt x="252" y="310"/>
                  </a:lnTo>
                  <a:lnTo>
                    <a:pt x="258" y="319"/>
                  </a:lnTo>
                  <a:lnTo>
                    <a:pt x="260" y="314"/>
                  </a:lnTo>
                  <a:lnTo>
                    <a:pt x="271" y="314"/>
                  </a:lnTo>
                  <a:lnTo>
                    <a:pt x="275" y="319"/>
                  </a:lnTo>
                  <a:lnTo>
                    <a:pt x="281" y="323"/>
                  </a:lnTo>
                  <a:lnTo>
                    <a:pt x="286" y="319"/>
                  </a:lnTo>
                  <a:lnTo>
                    <a:pt x="292" y="325"/>
                  </a:lnTo>
                  <a:lnTo>
                    <a:pt x="290" y="331"/>
                  </a:lnTo>
                  <a:lnTo>
                    <a:pt x="292" y="333"/>
                  </a:lnTo>
                  <a:lnTo>
                    <a:pt x="290" y="348"/>
                  </a:lnTo>
                  <a:lnTo>
                    <a:pt x="294" y="354"/>
                  </a:lnTo>
                  <a:lnTo>
                    <a:pt x="306" y="362"/>
                  </a:lnTo>
                  <a:lnTo>
                    <a:pt x="308" y="362"/>
                  </a:lnTo>
                  <a:lnTo>
                    <a:pt x="308" y="358"/>
                  </a:lnTo>
                  <a:lnTo>
                    <a:pt x="311" y="358"/>
                  </a:lnTo>
                  <a:lnTo>
                    <a:pt x="317" y="373"/>
                  </a:lnTo>
                  <a:lnTo>
                    <a:pt x="317" y="383"/>
                  </a:lnTo>
                  <a:lnTo>
                    <a:pt x="334" y="387"/>
                  </a:lnTo>
                  <a:lnTo>
                    <a:pt x="336" y="396"/>
                  </a:lnTo>
                  <a:lnTo>
                    <a:pt x="338" y="402"/>
                  </a:lnTo>
                  <a:lnTo>
                    <a:pt x="346" y="410"/>
                  </a:lnTo>
                  <a:lnTo>
                    <a:pt x="336" y="417"/>
                  </a:lnTo>
                  <a:lnTo>
                    <a:pt x="331" y="410"/>
                  </a:lnTo>
                  <a:lnTo>
                    <a:pt x="327" y="417"/>
                  </a:lnTo>
                  <a:lnTo>
                    <a:pt x="319" y="412"/>
                  </a:lnTo>
                  <a:lnTo>
                    <a:pt x="313" y="414"/>
                  </a:lnTo>
                  <a:lnTo>
                    <a:pt x="313" y="419"/>
                  </a:lnTo>
                  <a:lnTo>
                    <a:pt x="310" y="421"/>
                  </a:lnTo>
                  <a:lnTo>
                    <a:pt x="308" y="412"/>
                  </a:lnTo>
                  <a:lnTo>
                    <a:pt x="298" y="421"/>
                  </a:lnTo>
                  <a:lnTo>
                    <a:pt x="300" y="431"/>
                  </a:lnTo>
                  <a:lnTo>
                    <a:pt x="306" y="435"/>
                  </a:lnTo>
                  <a:lnTo>
                    <a:pt x="304" y="446"/>
                  </a:lnTo>
                  <a:lnTo>
                    <a:pt x="296" y="452"/>
                  </a:lnTo>
                  <a:lnTo>
                    <a:pt x="298" y="460"/>
                  </a:lnTo>
                  <a:lnTo>
                    <a:pt x="288" y="473"/>
                  </a:lnTo>
                  <a:lnTo>
                    <a:pt x="292" y="477"/>
                  </a:lnTo>
                  <a:lnTo>
                    <a:pt x="292" y="483"/>
                  </a:lnTo>
                  <a:lnTo>
                    <a:pt x="283" y="483"/>
                  </a:lnTo>
                  <a:lnTo>
                    <a:pt x="281" y="488"/>
                  </a:lnTo>
                  <a:lnTo>
                    <a:pt x="283" y="490"/>
                  </a:lnTo>
                  <a:lnTo>
                    <a:pt x="288" y="496"/>
                  </a:lnTo>
                  <a:lnTo>
                    <a:pt x="304" y="500"/>
                  </a:lnTo>
                  <a:lnTo>
                    <a:pt x="327" y="481"/>
                  </a:lnTo>
                  <a:lnTo>
                    <a:pt x="334" y="481"/>
                  </a:lnTo>
                  <a:lnTo>
                    <a:pt x="342" y="487"/>
                  </a:lnTo>
                  <a:lnTo>
                    <a:pt x="346" y="490"/>
                  </a:lnTo>
                  <a:lnTo>
                    <a:pt x="342" y="467"/>
                  </a:lnTo>
                  <a:lnTo>
                    <a:pt x="359" y="444"/>
                  </a:lnTo>
                  <a:lnTo>
                    <a:pt x="373" y="408"/>
                  </a:lnTo>
                  <a:lnTo>
                    <a:pt x="373" y="396"/>
                  </a:lnTo>
                  <a:lnTo>
                    <a:pt x="386" y="389"/>
                  </a:lnTo>
                  <a:lnTo>
                    <a:pt x="404" y="385"/>
                  </a:lnTo>
                  <a:lnTo>
                    <a:pt x="406" y="381"/>
                  </a:lnTo>
                  <a:lnTo>
                    <a:pt x="413" y="383"/>
                  </a:lnTo>
                  <a:lnTo>
                    <a:pt x="415" y="379"/>
                  </a:lnTo>
                  <a:lnTo>
                    <a:pt x="408" y="352"/>
                  </a:lnTo>
                  <a:lnTo>
                    <a:pt x="417" y="373"/>
                  </a:lnTo>
                  <a:lnTo>
                    <a:pt x="421" y="379"/>
                  </a:lnTo>
                  <a:lnTo>
                    <a:pt x="427" y="383"/>
                  </a:lnTo>
                  <a:lnTo>
                    <a:pt x="431" y="379"/>
                  </a:lnTo>
                  <a:lnTo>
                    <a:pt x="438" y="381"/>
                  </a:lnTo>
                  <a:lnTo>
                    <a:pt x="438" y="387"/>
                  </a:lnTo>
                  <a:lnTo>
                    <a:pt x="415" y="389"/>
                  </a:lnTo>
                  <a:lnTo>
                    <a:pt x="402" y="389"/>
                  </a:lnTo>
                  <a:lnTo>
                    <a:pt x="409" y="396"/>
                  </a:lnTo>
                  <a:lnTo>
                    <a:pt x="409" y="390"/>
                  </a:lnTo>
                  <a:lnTo>
                    <a:pt x="415" y="390"/>
                  </a:lnTo>
                  <a:lnTo>
                    <a:pt x="423" y="390"/>
                  </a:lnTo>
                  <a:lnTo>
                    <a:pt x="427" y="394"/>
                  </a:lnTo>
                  <a:lnTo>
                    <a:pt x="415" y="402"/>
                  </a:lnTo>
                  <a:lnTo>
                    <a:pt x="421" y="404"/>
                  </a:lnTo>
                  <a:lnTo>
                    <a:pt x="421" y="400"/>
                  </a:lnTo>
                  <a:lnTo>
                    <a:pt x="434" y="406"/>
                  </a:lnTo>
                  <a:lnTo>
                    <a:pt x="438" y="404"/>
                  </a:lnTo>
                  <a:lnTo>
                    <a:pt x="438" y="410"/>
                  </a:lnTo>
                  <a:lnTo>
                    <a:pt x="450" y="410"/>
                  </a:lnTo>
                  <a:lnTo>
                    <a:pt x="459" y="404"/>
                  </a:lnTo>
                  <a:lnTo>
                    <a:pt x="469" y="402"/>
                  </a:lnTo>
                  <a:lnTo>
                    <a:pt x="469" y="398"/>
                  </a:lnTo>
                  <a:lnTo>
                    <a:pt x="492" y="402"/>
                  </a:lnTo>
                  <a:lnTo>
                    <a:pt x="492" y="392"/>
                  </a:lnTo>
                  <a:lnTo>
                    <a:pt x="494" y="394"/>
                  </a:lnTo>
                  <a:lnTo>
                    <a:pt x="498" y="406"/>
                  </a:lnTo>
                  <a:lnTo>
                    <a:pt x="504" y="406"/>
                  </a:lnTo>
                  <a:lnTo>
                    <a:pt x="502" y="408"/>
                  </a:lnTo>
                  <a:lnTo>
                    <a:pt x="502" y="412"/>
                  </a:lnTo>
                  <a:lnTo>
                    <a:pt x="494" y="414"/>
                  </a:lnTo>
                  <a:lnTo>
                    <a:pt x="484" y="423"/>
                  </a:lnTo>
                  <a:lnTo>
                    <a:pt x="481" y="421"/>
                  </a:lnTo>
                  <a:lnTo>
                    <a:pt x="482" y="423"/>
                  </a:lnTo>
                  <a:lnTo>
                    <a:pt x="473" y="433"/>
                  </a:lnTo>
                  <a:lnTo>
                    <a:pt x="471" y="438"/>
                  </a:lnTo>
                  <a:lnTo>
                    <a:pt x="467" y="438"/>
                  </a:lnTo>
                  <a:lnTo>
                    <a:pt x="459" y="448"/>
                  </a:lnTo>
                  <a:lnTo>
                    <a:pt x="459" y="454"/>
                  </a:lnTo>
                  <a:lnTo>
                    <a:pt x="467" y="456"/>
                  </a:lnTo>
                  <a:lnTo>
                    <a:pt x="471" y="452"/>
                  </a:lnTo>
                  <a:lnTo>
                    <a:pt x="479" y="452"/>
                  </a:lnTo>
                  <a:lnTo>
                    <a:pt x="496" y="460"/>
                  </a:lnTo>
                  <a:lnTo>
                    <a:pt x="500" y="456"/>
                  </a:lnTo>
                  <a:lnTo>
                    <a:pt x="507" y="460"/>
                  </a:lnTo>
                  <a:lnTo>
                    <a:pt x="515" y="471"/>
                  </a:lnTo>
                  <a:lnTo>
                    <a:pt x="513" y="481"/>
                  </a:lnTo>
                  <a:lnTo>
                    <a:pt x="515" y="488"/>
                  </a:lnTo>
                  <a:lnTo>
                    <a:pt x="517" y="490"/>
                  </a:lnTo>
                  <a:lnTo>
                    <a:pt x="509" y="494"/>
                  </a:lnTo>
                  <a:lnTo>
                    <a:pt x="527" y="502"/>
                  </a:lnTo>
                  <a:lnTo>
                    <a:pt x="540" y="500"/>
                  </a:lnTo>
                  <a:lnTo>
                    <a:pt x="550" y="487"/>
                  </a:lnTo>
                  <a:lnTo>
                    <a:pt x="554" y="473"/>
                  </a:lnTo>
                  <a:lnTo>
                    <a:pt x="571" y="460"/>
                  </a:lnTo>
                  <a:lnTo>
                    <a:pt x="577" y="462"/>
                  </a:lnTo>
                  <a:lnTo>
                    <a:pt x="582" y="450"/>
                  </a:lnTo>
                  <a:lnTo>
                    <a:pt x="586" y="450"/>
                  </a:lnTo>
                  <a:lnTo>
                    <a:pt x="588" y="444"/>
                  </a:lnTo>
                  <a:lnTo>
                    <a:pt x="586" y="440"/>
                  </a:lnTo>
                  <a:lnTo>
                    <a:pt x="590" y="437"/>
                  </a:lnTo>
                  <a:lnTo>
                    <a:pt x="600" y="437"/>
                  </a:lnTo>
                  <a:lnTo>
                    <a:pt x="605" y="440"/>
                  </a:lnTo>
                  <a:lnTo>
                    <a:pt x="611" y="438"/>
                  </a:lnTo>
                  <a:lnTo>
                    <a:pt x="613" y="435"/>
                  </a:lnTo>
                  <a:lnTo>
                    <a:pt x="621" y="435"/>
                  </a:lnTo>
                  <a:lnTo>
                    <a:pt x="628" y="429"/>
                  </a:lnTo>
                  <a:lnTo>
                    <a:pt x="627" y="423"/>
                  </a:lnTo>
                  <a:lnTo>
                    <a:pt x="625" y="415"/>
                  </a:lnTo>
                  <a:lnTo>
                    <a:pt x="627" y="414"/>
                  </a:lnTo>
                  <a:lnTo>
                    <a:pt x="627" y="410"/>
                  </a:lnTo>
                  <a:lnTo>
                    <a:pt x="632" y="410"/>
                  </a:lnTo>
                  <a:lnTo>
                    <a:pt x="628" y="404"/>
                  </a:lnTo>
                  <a:lnTo>
                    <a:pt x="617" y="408"/>
                  </a:lnTo>
                  <a:lnTo>
                    <a:pt x="615" y="406"/>
                  </a:lnTo>
                  <a:lnTo>
                    <a:pt x="609" y="408"/>
                  </a:lnTo>
                  <a:lnTo>
                    <a:pt x="605" y="415"/>
                  </a:lnTo>
                  <a:lnTo>
                    <a:pt x="600" y="414"/>
                  </a:lnTo>
                  <a:lnTo>
                    <a:pt x="596" y="412"/>
                  </a:lnTo>
                  <a:lnTo>
                    <a:pt x="594" y="421"/>
                  </a:lnTo>
                  <a:lnTo>
                    <a:pt x="586" y="427"/>
                  </a:lnTo>
                  <a:lnTo>
                    <a:pt x="577" y="423"/>
                  </a:lnTo>
                  <a:lnTo>
                    <a:pt x="559" y="406"/>
                  </a:lnTo>
                  <a:lnTo>
                    <a:pt x="555" y="404"/>
                  </a:lnTo>
                  <a:lnTo>
                    <a:pt x="542" y="379"/>
                  </a:lnTo>
                  <a:lnTo>
                    <a:pt x="544" y="373"/>
                  </a:lnTo>
                  <a:lnTo>
                    <a:pt x="546" y="373"/>
                  </a:lnTo>
                  <a:lnTo>
                    <a:pt x="552" y="367"/>
                  </a:lnTo>
                  <a:lnTo>
                    <a:pt x="554" y="360"/>
                  </a:lnTo>
                  <a:lnTo>
                    <a:pt x="552" y="354"/>
                  </a:lnTo>
                  <a:lnTo>
                    <a:pt x="557" y="356"/>
                  </a:lnTo>
                  <a:lnTo>
                    <a:pt x="557" y="362"/>
                  </a:lnTo>
                  <a:lnTo>
                    <a:pt x="561" y="362"/>
                  </a:lnTo>
                  <a:lnTo>
                    <a:pt x="559" y="367"/>
                  </a:lnTo>
                  <a:lnTo>
                    <a:pt x="565" y="354"/>
                  </a:lnTo>
                  <a:lnTo>
                    <a:pt x="575" y="339"/>
                  </a:lnTo>
                  <a:lnTo>
                    <a:pt x="588" y="331"/>
                  </a:lnTo>
                  <a:lnTo>
                    <a:pt x="594" y="335"/>
                  </a:lnTo>
                  <a:lnTo>
                    <a:pt x="596" y="327"/>
                  </a:lnTo>
                  <a:lnTo>
                    <a:pt x="604" y="319"/>
                  </a:lnTo>
                  <a:lnTo>
                    <a:pt x="611" y="321"/>
                  </a:lnTo>
                  <a:lnTo>
                    <a:pt x="613" y="327"/>
                  </a:lnTo>
                  <a:lnTo>
                    <a:pt x="615" y="316"/>
                  </a:lnTo>
                  <a:lnTo>
                    <a:pt x="619" y="308"/>
                  </a:lnTo>
                  <a:lnTo>
                    <a:pt x="496" y="389"/>
                  </a:lnTo>
                  <a:lnTo>
                    <a:pt x="504" y="385"/>
                  </a:lnTo>
                  <a:lnTo>
                    <a:pt x="511" y="390"/>
                  </a:lnTo>
                  <a:lnTo>
                    <a:pt x="513" y="385"/>
                  </a:lnTo>
                  <a:lnTo>
                    <a:pt x="515" y="389"/>
                  </a:lnTo>
                  <a:lnTo>
                    <a:pt x="521" y="385"/>
                  </a:lnTo>
                  <a:lnTo>
                    <a:pt x="521" y="381"/>
                  </a:lnTo>
                  <a:lnTo>
                    <a:pt x="529" y="385"/>
                  </a:lnTo>
                  <a:lnTo>
                    <a:pt x="530" y="381"/>
                  </a:lnTo>
                  <a:lnTo>
                    <a:pt x="532" y="385"/>
                  </a:lnTo>
                  <a:lnTo>
                    <a:pt x="529" y="385"/>
                  </a:lnTo>
                  <a:lnTo>
                    <a:pt x="530" y="390"/>
                  </a:lnTo>
                  <a:lnTo>
                    <a:pt x="529" y="394"/>
                  </a:lnTo>
                  <a:lnTo>
                    <a:pt x="530" y="392"/>
                  </a:lnTo>
                  <a:lnTo>
                    <a:pt x="532" y="396"/>
                  </a:lnTo>
                  <a:lnTo>
                    <a:pt x="536" y="392"/>
                  </a:lnTo>
                  <a:lnTo>
                    <a:pt x="534" y="381"/>
                  </a:lnTo>
                  <a:lnTo>
                    <a:pt x="540" y="381"/>
                  </a:lnTo>
                  <a:lnTo>
                    <a:pt x="542" y="385"/>
                  </a:lnTo>
                  <a:lnTo>
                    <a:pt x="538" y="385"/>
                  </a:lnTo>
                  <a:lnTo>
                    <a:pt x="544" y="389"/>
                  </a:lnTo>
                  <a:lnTo>
                    <a:pt x="548" y="402"/>
                  </a:lnTo>
                  <a:lnTo>
                    <a:pt x="552" y="398"/>
                  </a:lnTo>
                  <a:lnTo>
                    <a:pt x="557" y="406"/>
                  </a:lnTo>
                  <a:lnTo>
                    <a:pt x="575" y="423"/>
                  </a:lnTo>
                  <a:lnTo>
                    <a:pt x="584" y="427"/>
                  </a:lnTo>
                  <a:lnTo>
                    <a:pt x="582" y="429"/>
                  </a:lnTo>
                  <a:lnTo>
                    <a:pt x="567" y="427"/>
                  </a:lnTo>
                  <a:lnTo>
                    <a:pt x="563" y="423"/>
                  </a:lnTo>
                  <a:lnTo>
                    <a:pt x="567" y="419"/>
                  </a:lnTo>
                  <a:lnTo>
                    <a:pt x="561" y="412"/>
                  </a:lnTo>
                  <a:lnTo>
                    <a:pt x="552" y="408"/>
                  </a:lnTo>
                  <a:lnTo>
                    <a:pt x="552" y="406"/>
                  </a:lnTo>
                  <a:lnTo>
                    <a:pt x="546" y="408"/>
                  </a:lnTo>
                  <a:lnTo>
                    <a:pt x="548" y="404"/>
                  </a:lnTo>
                  <a:lnTo>
                    <a:pt x="544" y="396"/>
                  </a:lnTo>
                  <a:lnTo>
                    <a:pt x="534" y="408"/>
                  </a:lnTo>
                  <a:lnTo>
                    <a:pt x="536" y="404"/>
                  </a:lnTo>
                  <a:lnTo>
                    <a:pt x="527" y="392"/>
                  </a:lnTo>
                  <a:lnTo>
                    <a:pt x="525" y="396"/>
                  </a:lnTo>
                  <a:lnTo>
                    <a:pt x="523" y="392"/>
                  </a:lnTo>
                  <a:lnTo>
                    <a:pt x="515" y="394"/>
                  </a:lnTo>
                  <a:lnTo>
                    <a:pt x="521" y="400"/>
                  </a:lnTo>
                  <a:lnTo>
                    <a:pt x="519" y="400"/>
                  </a:lnTo>
                  <a:lnTo>
                    <a:pt x="511" y="392"/>
                  </a:lnTo>
                  <a:lnTo>
                    <a:pt x="507" y="394"/>
                  </a:lnTo>
                  <a:lnTo>
                    <a:pt x="511" y="394"/>
                  </a:lnTo>
                  <a:lnTo>
                    <a:pt x="511" y="398"/>
                  </a:lnTo>
                  <a:lnTo>
                    <a:pt x="507" y="396"/>
                  </a:lnTo>
                  <a:lnTo>
                    <a:pt x="506" y="398"/>
                  </a:lnTo>
                  <a:lnTo>
                    <a:pt x="504" y="390"/>
                  </a:lnTo>
                  <a:lnTo>
                    <a:pt x="502" y="390"/>
                  </a:lnTo>
                  <a:lnTo>
                    <a:pt x="502" y="394"/>
                  </a:lnTo>
                  <a:lnTo>
                    <a:pt x="496" y="389"/>
                  </a:lnTo>
                  <a:lnTo>
                    <a:pt x="619" y="308"/>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3" name="Freeform 41"/>
            <p:cNvSpPr>
              <a:spLocks/>
            </p:cNvSpPr>
            <p:nvPr/>
          </p:nvSpPr>
          <p:spPr bwMode="auto">
            <a:xfrm>
              <a:off x="2944" y="2307"/>
              <a:ext cx="707" cy="502"/>
            </a:xfrm>
            <a:custGeom>
              <a:avLst/>
              <a:gdLst>
                <a:gd name="T0" fmla="*/ 659 w 707"/>
                <a:gd name="T1" fmla="*/ 273 h 502"/>
                <a:gd name="T2" fmla="*/ 678 w 707"/>
                <a:gd name="T3" fmla="*/ 221 h 502"/>
                <a:gd name="T4" fmla="*/ 707 w 707"/>
                <a:gd name="T5" fmla="*/ 183 h 502"/>
                <a:gd name="T6" fmla="*/ 688 w 707"/>
                <a:gd name="T7" fmla="*/ 152 h 502"/>
                <a:gd name="T8" fmla="*/ 680 w 707"/>
                <a:gd name="T9" fmla="*/ 144 h 502"/>
                <a:gd name="T10" fmla="*/ 682 w 707"/>
                <a:gd name="T11" fmla="*/ 110 h 502"/>
                <a:gd name="T12" fmla="*/ 648 w 707"/>
                <a:gd name="T13" fmla="*/ 102 h 502"/>
                <a:gd name="T14" fmla="*/ 609 w 707"/>
                <a:gd name="T15" fmla="*/ 98 h 502"/>
                <a:gd name="T16" fmla="*/ 582 w 707"/>
                <a:gd name="T17" fmla="*/ 100 h 502"/>
                <a:gd name="T18" fmla="*/ 538 w 707"/>
                <a:gd name="T19" fmla="*/ 106 h 502"/>
                <a:gd name="T20" fmla="*/ 506 w 707"/>
                <a:gd name="T21" fmla="*/ 100 h 502"/>
                <a:gd name="T22" fmla="*/ 479 w 707"/>
                <a:gd name="T23" fmla="*/ 68 h 502"/>
                <a:gd name="T24" fmla="*/ 431 w 707"/>
                <a:gd name="T25" fmla="*/ 66 h 502"/>
                <a:gd name="T26" fmla="*/ 427 w 707"/>
                <a:gd name="T27" fmla="*/ 27 h 502"/>
                <a:gd name="T28" fmla="*/ 386 w 707"/>
                <a:gd name="T29" fmla="*/ 2 h 502"/>
                <a:gd name="T30" fmla="*/ 344 w 707"/>
                <a:gd name="T31" fmla="*/ 33 h 502"/>
                <a:gd name="T32" fmla="*/ 298 w 707"/>
                <a:gd name="T33" fmla="*/ 45 h 502"/>
                <a:gd name="T34" fmla="*/ 288 w 707"/>
                <a:gd name="T35" fmla="*/ 98 h 502"/>
                <a:gd name="T36" fmla="*/ 254 w 707"/>
                <a:gd name="T37" fmla="*/ 100 h 502"/>
                <a:gd name="T38" fmla="*/ 227 w 707"/>
                <a:gd name="T39" fmla="*/ 95 h 502"/>
                <a:gd name="T40" fmla="*/ 204 w 707"/>
                <a:gd name="T41" fmla="*/ 93 h 502"/>
                <a:gd name="T42" fmla="*/ 185 w 707"/>
                <a:gd name="T43" fmla="*/ 100 h 502"/>
                <a:gd name="T44" fmla="*/ 154 w 707"/>
                <a:gd name="T45" fmla="*/ 96 h 502"/>
                <a:gd name="T46" fmla="*/ 100 w 707"/>
                <a:gd name="T47" fmla="*/ 93 h 502"/>
                <a:gd name="T48" fmla="*/ 44 w 707"/>
                <a:gd name="T49" fmla="*/ 123 h 502"/>
                <a:gd name="T50" fmla="*/ 35 w 707"/>
                <a:gd name="T51" fmla="*/ 137 h 502"/>
                <a:gd name="T52" fmla="*/ 50 w 707"/>
                <a:gd name="T53" fmla="*/ 175 h 502"/>
                <a:gd name="T54" fmla="*/ 40 w 707"/>
                <a:gd name="T55" fmla="*/ 214 h 502"/>
                <a:gd name="T56" fmla="*/ 25 w 707"/>
                <a:gd name="T57" fmla="*/ 291 h 502"/>
                <a:gd name="T58" fmla="*/ 6 w 707"/>
                <a:gd name="T59" fmla="*/ 319 h 502"/>
                <a:gd name="T60" fmla="*/ 12 w 707"/>
                <a:gd name="T61" fmla="*/ 348 h 502"/>
                <a:gd name="T62" fmla="*/ 35 w 707"/>
                <a:gd name="T63" fmla="*/ 364 h 502"/>
                <a:gd name="T64" fmla="*/ 60 w 707"/>
                <a:gd name="T65" fmla="*/ 358 h 502"/>
                <a:gd name="T66" fmla="*/ 102 w 707"/>
                <a:gd name="T67" fmla="*/ 354 h 502"/>
                <a:gd name="T68" fmla="*/ 167 w 707"/>
                <a:gd name="T69" fmla="*/ 340 h 502"/>
                <a:gd name="T70" fmla="*/ 208 w 707"/>
                <a:gd name="T71" fmla="*/ 304 h 502"/>
                <a:gd name="T72" fmla="*/ 252 w 707"/>
                <a:gd name="T73" fmla="*/ 310 h 502"/>
                <a:gd name="T74" fmla="*/ 286 w 707"/>
                <a:gd name="T75" fmla="*/ 319 h 502"/>
                <a:gd name="T76" fmla="*/ 306 w 707"/>
                <a:gd name="T77" fmla="*/ 362 h 502"/>
                <a:gd name="T78" fmla="*/ 334 w 707"/>
                <a:gd name="T79" fmla="*/ 387 h 502"/>
                <a:gd name="T80" fmla="*/ 327 w 707"/>
                <a:gd name="T81" fmla="*/ 417 h 502"/>
                <a:gd name="T82" fmla="*/ 298 w 707"/>
                <a:gd name="T83" fmla="*/ 421 h 502"/>
                <a:gd name="T84" fmla="*/ 288 w 707"/>
                <a:gd name="T85" fmla="*/ 473 h 502"/>
                <a:gd name="T86" fmla="*/ 288 w 707"/>
                <a:gd name="T87" fmla="*/ 496 h 502"/>
                <a:gd name="T88" fmla="*/ 342 w 707"/>
                <a:gd name="T89" fmla="*/ 467 h 502"/>
                <a:gd name="T90" fmla="*/ 406 w 707"/>
                <a:gd name="T91" fmla="*/ 381 h 502"/>
                <a:gd name="T92" fmla="*/ 427 w 707"/>
                <a:gd name="T93" fmla="*/ 383 h 502"/>
                <a:gd name="T94" fmla="*/ 409 w 707"/>
                <a:gd name="T95" fmla="*/ 396 h 502"/>
                <a:gd name="T96" fmla="*/ 421 w 707"/>
                <a:gd name="T97" fmla="*/ 404 h 502"/>
                <a:gd name="T98" fmla="*/ 459 w 707"/>
                <a:gd name="T99" fmla="*/ 404 h 502"/>
                <a:gd name="T100" fmla="*/ 498 w 707"/>
                <a:gd name="T101" fmla="*/ 406 h 502"/>
                <a:gd name="T102" fmla="*/ 481 w 707"/>
                <a:gd name="T103" fmla="*/ 421 h 502"/>
                <a:gd name="T104" fmla="*/ 459 w 707"/>
                <a:gd name="T105" fmla="*/ 454 h 502"/>
                <a:gd name="T106" fmla="*/ 507 w 707"/>
                <a:gd name="T107" fmla="*/ 460 h 502"/>
                <a:gd name="T108" fmla="*/ 527 w 707"/>
                <a:gd name="T109" fmla="*/ 502 h 502"/>
                <a:gd name="T110" fmla="*/ 582 w 707"/>
                <a:gd name="T111" fmla="*/ 450 h 502"/>
                <a:gd name="T112" fmla="*/ 605 w 707"/>
                <a:gd name="T113" fmla="*/ 440 h 502"/>
                <a:gd name="T114" fmla="*/ 625 w 707"/>
                <a:gd name="T115" fmla="*/ 415 h 502"/>
                <a:gd name="T116" fmla="*/ 615 w 707"/>
                <a:gd name="T117" fmla="*/ 406 h 502"/>
                <a:gd name="T118" fmla="*/ 586 w 707"/>
                <a:gd name="T119" fmla="*/ 427 h 502"/>
                <a:gd name="T120" fmla="*/ 546 w 707"/>
                <a:gd name="T121" fmla="*/ 373 h 502"/>
                <a:gd name="T122" fmla="*/ 561 w 707"/>
                <a:gd name="T123" fmla="*/ 362 h 502"/>
                <a:gd name="T124" fmla="*/ 596 w 707"/>
                <a:gd name="T125" fmla="*/ 327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7" h="502">
                  <a:moveTo>
                    <a:pt x="619" y="308"/>
                  </a:moveTo>
                  <a:lnTo>
                    <a:pt x="627" y="302"/>
                  </a:lnTo>
                  <a:lnTo>
                    <a:pt x="630" y="306"/>
                  </a:lnTo>
                  <a:lnTo>
                    <a:pt x="636" y="289"/>
                  </a:lnTo>
                  <a:lnTo>
                    <a:pt x="661" y="279"/>
                  </a:lnTo>
                  <a:lnTo>
                    <a:pt x="659" y="273"/>
                  </a:lnTo>
                  <a:lnTo>
                    <a:pt x="661" y="267"/>
                  </a:lnTo>
                  <a:lnTo>
                    <a:pt x="657" y="266"/>
                  </a:lnTo>
                  <a:lnTo>
                    <a:pt x="655" y="246"/>
                  </a:lnTo>
                  <a:lnTo>
                    <a:pt x="671" y="237"/>
                  </a:lnTo>
                  <a:lnTo>
                    <a:pt x="671" y="225"/>
                  </a:lnTo>
                  <a:lnTo>
                    <a:pt x="678" y="221"/>
                  </a:lnTo>
                  <a:lnTo>
                    <a:pt x="705" y="216"/>
                  </a:lnTo>
                  <a:lnTo>
                    <a:pt x="707" y="212"/>
                  </a:lnTo>
                  <a:lnTo>
                    <a:pt x="703" y="202"/>
                  </a:lnTo>
                  <a:lnTo>
                    <a:pt x="705" y="200"/>
                  </a:lnTo>
                  <a:lnTo>
                    <a:pt x="703" y="196"/>
                  </a:lnTo>
                  <a:lnTo>
                    <a:pt x="707" y="183"/>
                  </a:lnTo>
                  <a:lnTo>
                    <a:pt x="700" y="183"/>
                  </a:lnTo>
                  <a:lnTo>
                    <a:pt x="702" y="179"/>
                  </a:lnTo>
                  <a:lnTo>
                    <a:pt x="694" y="168"/>
                  </a:lnTo>
                  <a:lnTo>
                    <a:pt x="686" y="169"/>
                  </a:lnTo>
                  <a:lnTo>
                    <a:pt x="686" y="158"/>
                  </a:lnTo>
                  <a:lnTo>
                    <a:pt x="688" y="152"/>
                  </a:lnTo>
                  <a:lnTo>
                    <a:pt x="694" y="152"/>
                  </a:lnTo>
                  <a:lnTo>
                    <a:pt x="696" y="148"/>
                  </a:lnTo>
                  <a:lnTo>
                    <a:pt x="694" y="144"/>
                  </a:lnTo>
                  <a:lnTo>
                    <a:pt x="692" y="148"/>
                  </a:lnTo>
                  <a:lnTo>
                    <a:pt x="684" y="148"/>
                  </a:lnTo>
                  <a:lnTo>
                    <a:pt x="680" y="144"/>
                  </a:lnTo>
                  <a:lnTo>
                    <a:pt x="678" y="141"/>
                  </a:lnTo>
                  <a:lnTo>
                    <a:pt x="688" y="137"/>
                  </a:lnTo>
                  <a:lnTo>
                    <a:pt x="686" y="131"/>
                  </a:lnTo>
                  <a:lnTo>
                    <a:pt x="692" y="121"/>
                  </a:lnTo>
                  <a:lnTo>
                    <a:pt x="690" y="116"/>
                  </a:lnTo>
                  <a:lnTo>
                    <a:pt x="682" y="110"/>
                  </a:lnTo>
                  <a:lnTo>
                    <a:pt x="682" y="100"/>
                  </a:lnTo>
                  <a:lnTo>
                    <a:pt x="678" y="102"/>
                  </a:lnTo>
                  <a:lnTo>
                    <a:pt x="671" y="108"/>
                  </a:lnTo>
                  <a:lnTo>
                    <a:pt x="665" y="106"/>
                  </a:lnTo>
                  <a:lnTo>
                    <a:pt x="659" y="100"/>
                  </a:lnTo>
                  <a:lnTo>
                    <a:pt x="648" y="102"/>
                  </a:lnTo>
                  <a:lnTo>
                    <a:pt x="642" y="96"/>
                  </a:lnTo>
                  <a:lnTo>
                    <a:pt x="634" y="102"/>
                  </a:lnTo>
                  <a:lnTo>
                    <a:pt x="623" y="98"/>
                  </a:lnTo>
                  <a:lnTo>
                    <a:pt x="621" y="96"/>
                  </a:lnTo>
                  <a:lnTo>
                    <a:pt x="615" y="100"/>
                  </a:lnTo>
                  <a:lnTo>
                    <a:pt x="609" y="98"/>
                  </a:lnTo>
                  <a:lnTo>
                    <a:pt x="605" y="95"/>
                  </a:lnTo>
                  <a:lnTo>
                    <a:pt x="600" y="96"/>
                  </a:lnTo>
                  <a:lnTo>
                    <a:pt x="604" y="104"/>
                  </a:lnTo>
                  <a:lnTo>
                    <a:pt x="598" y="108"/>
                  </a:lnTo>
                  <a:lnTo>
                    <a:pt x="592" y="102"/>
                  </a:lnTo>
                  <a:lnTo>
                    <a:pt x="582" y="100"/>
                  </a:lnTo>
                  <a:lnTo>
                    <a:pt x="577" y="95"/>
                  </a:lnTo>
                  <a:lnTo>
                    <a:pt x="575" y="89"/>
                  </a:lnTo>
                  <a:lnTo>
                    <a:pt x="569" y="87"/>
                  </a:lnTo>
                  <a:lnTo>
                    <a:pt x="567" y="81"/>
                  </a:lnTo>
                  <a:lnTo>
                    <a:pt x="544" y="98"/>
                  </a:lnTo>
                  <a:lnTo>
                    <a:pt x="538" y="106"/>
                  </a:lnTo>
                  <a:lnTo>
                    <a:pt x="536" y="102"/>
                  </a:lnTo>
                  <a:lnTo>
                    <a:pt x="529" y="100"/>
                  </a:lnTo>
                  <a:lnTo>
                    <a:pt x="527" y="104"/>
                  </a:lnTo>
                  <a:lnTo>
                    <a:pt x="519" y="98"/>
                  </a:lnTo>
                  <a:lnTo>
                    <a:pt x="511" y="98"/>
                  </a:lnTo>
                  <a:lnTo>
                    <a:pt x="506" y="100"/>
                  </a:lnTo>
                  <a:lnTo>
                    <a:pt x="502" y="108"/>
                  </a:lnTo>
                  <a:lnTo>
                    <a:pt x="490" y="100"/>
                  </a:lnTo>
                  <a:lnTo>
                    <a:pt x="486" y="93"/>
                  </a:lnTo>
                  <a:lnTo>
                    <a:pt x="488" y="89"/>
                  </a:lnTo>
                  <a:lnTo>
                    <a:pt x="477" y="73"/>
                  </a:lnTo>
                  <a:lnTo>
                    <a:pt x="479" y="68"/>
                  </a:lnTo>
                  <a:lnTo>
                    <a:pt x="471" y="70"/>
                  </a:lnTo>
                  <a:lnTo>
                    <a:pt x="465" y="60"/>
                  </a:lnTo>
                  <a:lnTo>
                    <a:pt x="461" y="60"/>
                  </a:lnTo>
                  <a:lnTo>
                    <a:pt x="452" y="66"/>
                  </a:lnTo>
                  <a:lnTo>
                    <a:pt x="446" y="62"/>
                  </a:lnTo>
                  <a:lnTo>
                    <a:pt x="431" y="66"/>
                  </a:lnTo>
                  <a:lnTo>
                    <a:pt x="432" y="58"/>
                  </a:lnTo>
                  <a:lnTo>
                    <a:pt x="429" y="56"/>
                  </a:lnTo>
                  <a:lnTo>
                    <a:pt x="427" y="48"/>
                  </a:lnTo>
                  <a:lnTo>
                    <a:pt x="419" y="41"/>
                  </a:lnTo>
                  <a:lnTo>
                    <a:pt x="431" y="33"/>
                  </a:lnTo>
                  <a:lnTo>
                    <a:pt x="427" y="27"/>
                  </a:lnTo>
                  <a:lnTo>
                    <a:pt x="415" y="23"/>
                  </a:lnTo>
                  <a:lnTo>
                    <a:pt x="411" y="10"/>
                  </a:lnTo>
                  <a:lnTo>
                    <a:pt x="398" y="0"/>
                  </a:lnTo>
                  <a:lnTo>
                    <a:pt x="394" y="2"/>
                  </a:lnTo>
                  <a:lnTo>
                    <a:pt x="388" y="8"/>
                  </a:lnTo>
                  <a:lnTo>
                    <a:pt x="386" y="2"/>
                  </a:lnTo>
                  <a:lnTo>
                    <a:pt x="384" y="4"/>
                  </a:lnTo>
                  <a:lnTo>
                    <a:pt x="375" y="6"/>
                  </a:lnTo>
                  <a:lnTo>
                    <a:pt x="367" y="16"/>
                  </a:lnTo>
                  <a:lnTo>
                    <a:pt x="346" y="16"/>
                  </a:lnTo>
                  <a:lnTo>
                    <a:pt x="348" y="27"/>
                  </a:lnTo>
                  <a:lnTo>
                    <a:pt x="344" y="33"/>
                  </a:lnTo>
                  <a:lnTo>
                    <a:pt x="334" y="39"/>
                  </a:lnTo>
                  <a:lnTo>
                    <a:pt x="333" y="35"/>
                  </a:lnTo>
                  <a:lnTo>
                    <a:pt x="329" y="35"/>
                  </a:lnTo>
                  <a:lnTo>
                    <a:pt x="313" y="39"/>
                  </a:lnTo>
                  <a:lnTo>
                    <a:pt x="310" y="45"/>
                  </a:lnTo>
                  <a:lnTo>
                    <a:pt x="298" y="45"/>
                  </a:lnTo>
                  <a:lnTo>
                    <a:pt x="300" y="48"/>
                  </a:lnTo>
                  <a:lnTo>
                    <a:pt x="294" y="54"/>
                  </a:lnTo>
                  <a:lnTo>
                    <a:pt x="288" y="79"/>
                  </a:lnTo>
                  <a:lnTo>
                    <a:pt x="296" y="91"/>
                  </a:lnTo>
                  <a:lnTo>
                    <a:pt x="296" y="100"/>
                  </a:lnTo>
                  <a:lnTo>
                    <a:pt x="288" y="98"/>
                  </a:lnTo>
                  <a:lnTo>
                    <a:pt x="285" y="93"/>
                  </a:lnTo>
                  <a:lnTo>
                    <a:pt x="277" y="89"/>
                  </a:lnTo>
                  <a:lnTo>
                    <a:pt x="267" y="95"/>
                  </a:lnTo>
                  <a:lnTo>
                    <a:pt x="260" y="91"/>
                  </a:lnTo>
                  <a:lnTo>
                    <a:pt x="254" y="96"/>
                  </a:lnTo>
                  <a:lnTo>
                    <a:pt x="254" y="100"/>
                  </a:lnTo>
                  <a:lnTo>
                    <a:pt x="248" y="102"/>
                  </a:lnTo>
                  <a:lnTo>
                    <a:pt x="242" y="96"/>
                  </a:lnTo>
                  <a:lnTo>
                    <a:pt x="240" y="89"/>
                  </a:lnTo>
                  <a:lnTo>
                    <a:pt x="235" y="87"/>
                  </a:lnTo>
                  <a:lnTo>
                    <a:pt x="233" y="93"/>
                  </a:lnTo>
                  <a:lnTo>
                    <a:pt x="227" y="95"/>
                  </a:lnTo>
                  <a:lnTo>
                    <a:pt x="225" y="104"/>
                  </a:lnTo>
                  <a:lnTo>
                    <a:pt x="221" y="102"/>
                  </a:lnTo>
                  <a:lnTo>
                    <a:pt x="219" y="95"/>
                  </a:lnTo>
                  <a:lnTo>
                    <a:pt x="213" y="96"/>
                  </a:lnTo>
                  <a:lnTo>
                    <a:pt x="210" y="100"/>
                  </a:lnTo>
                  <a:lnTo>
                    <a:pt x="204" y="93"/>
                  </a:lnTo>
                  <a:lnTo>
                    <a:pt x="198" y="98"/>
                  </a:lnTo>
                  <a:lnTo>
                    <a:pt x="190" y="98"/>
                  </a:lnTo>
                  <a:lnTo>
                    <a:pt x="187" y="108"/>
                  </a:lnTo>
                  <a:lnTo>
                    <a:pt x="185" y="106"/>
                  </a:lnTo>
                  <a:lnTo>
                    <a:pt x="185" y="102"/>
                  </a:lnTo>
                  <a:lnTo>
                    <a:pt x="185" y="100"/>
                  </a:lnTo>
                  <a:lnTo>
                    <a:pt x="177" y="98"/>
                  </a:lnTo>
                  <a:lnTo>
                    <a:pt x="169" y="102"/>
                  </a:lnTo>
                  <a:lnTo>
                    <a:pt x="169" y="98"/>
                  </a:lnTo>
                  <a:lnTo>
                    <a:pt x="165" y="98"/>
                  </a:lnTo>
                  <a:lnTo>
                    <a:pt x="163" y="93"/>
                  </a:lnTo>
                  <a:lnTo>
                    <a:pt x="154" y="96"/>
                  </a:lnTo>
                  <a:lnTo>
                    <a:pt x="142" y="93"/>
                  </a:lnTo>
                  <a:lnTo>
                    <a:pt x="135" y="95"/>
                  </a:lnTo>
                  <a:lnTo>
                    <a:pt x="135" y="93"/>
                  </a:lnTo>
                  <a:lnTo>
                    <a:pt x="125" y="93"/>
                  </a:lnTo>
                  <a:lnTo>
                    <a:pt x="121" y="91"/>
                  </a:lnTo>
                  <a:lnTo>
                    <a:pt x="100" y="93"/>
                  </a:lnTo>
                  <a:lnTo>
                    <a:pt x="87" y="93"/>
                  </a:lnTo>
                  <a:lnTo>
                    <a:pt x="75" y="98"/>
                  </a:lnTo>
                  <a:lnTo>
                    <a:pt x="58" y="102"/>
                  </a:lnTo>
                  <a:lnTo>
                    <a:pt x="54" y="112"/>
                  </a:lnTo>
                  <a:lnTo>
                    <a:pt x="46" y="121"/>
                  </a:lnTo>
                  <a:lnTo>
                    <a:pt x="44" y="123"/>
                  </a:lnTo>
                  <a:lnTo>
                    <a:pt x="40" y="121"/>
                  </a:lnTo>
                  <a:lnTo>
                    <a:pt x="33" y="121"/>
                  </a:lnTo>
                  <a:lnTo>
                    <a:pt x="31" y="125"/>
                  </a:lnTo>
                  <a:lnTo>
                    <a:pt x="33" y="129"/>
                  </a:lnTo>
                  <a:lnTo>
                    <a:pt x="31" y="129"/>
                  </a:lnTo>
                  <a:lnTo>
                    <a:pt x="35" y="137"/>
                  </a:lnTo>
                  <a:lnTo>
                    <a:pt x="35" y="144"/>
                  </a:lnTo>
                  <a:lnTo>
                    <a:pt x="44" y="152"/>
                  </a:lnTo>
                  <a:lnTo>
                    <a:pt x="48" y="162"/>
                  </a:lnTo>
                  <a:lnTo>
                    <a:pt x="58" y="169"/>
                  </a:lnTo>
                  <a:lnTo>
                    <a:pt x="52" y="173"/>
                  </a:lnTo>
                  <a:lnTo>
                    <a:pt x="50" y="175"/>
                  </a:lnTo>
                  <a:lnTo>
                    <a:pt x="58" y="185"/>
                  </a:lnTo>
                  <a:lnTo>
                    <a:pt x="60" y="191"/>
                  </a:lnTo>
                  <a:lnTo>
                    <a:pt x="56" y="194"/>
                  </a:lnTo>
                  <a:lnTo>
                    <a:pt x="56" y="200"/>
                  </a:lnTo>
                  <a:lnTo>
                    <a:pt x="46" y="202"/>
                  </a:lnTo>
                  <a:lnTo>
                    <a:pt x="40" y="214"/>
                  </a:lnTo>
                  <a:lnTo>
                    <a:pt x="27" y="231"/>
                  </a:lnTo>
                  <a:lnTo>
                    <a:pt x="12" y="260"/>
                  </a:lnTo>
                  <a:lnTo>
                    <a:pt x="12" y="264"/>
                  </a:lnTo>
                  <a:lnTo>
                    <a:pt x="17" y="279"/>
                  </a:lnTo>
                  <a:lnTo>
                    <a:pt x="17" y="287"/>
                  </a:lnTo>
                  <a:lnTo>
                    <a:pt x="25" y="291"/>
                  </a:lnTo>
                  <a:lnTo>
                    <a:pt x="25" y="296"/>
                  </a:lnTo>
                  <a:lnTo>
                    <a:pt x="12" y="292"/>
                  </a:lnTo>
                  <a:lnTo>
                    <a:pt x="12" y="298"/>
                  </a:lnTo>
                  <a:lnTo>
                    <a:pt x="10" y="300"/>
                  </a:lnTo>
                  <a:lnTo>
                    <a:pt x="6" y="308"/>
                  </a:lnTo>
                  <a:lnTo>
                    <a:pt x="6" y="319"/>
                  </a:lnTo>
                  <a:lnTo>
                    <a:pt x="0" y="327"/>
                  </a:lnTo>
                  <a:lnTo>
                    <a:pt x="2" y="339"/>
                  </a:lnTo>
                  <a:lnTo>
                    <a:pt x="6" y="339"/>
                  </a:lnTo>
                  <a:lnTo>
                    <a:pt x="6" y="340"/>
                  </a:lnTo>
                  <a:lnTo>
                    <a:pt x="8" y="340"/>
                  </a:lnTo>
                  <a:lnTo>
                    <a:pt x="12" y="348"/>
                  </a:lnTo>
                  <a:lnTo>
                    <a:pt x="15" y="346"/>
                  </a:lnTo>
                  <a:lnTo>
                    <a:pt x="23" y="356"/>
                  </a:lnTo>
                  <a:lnTo>
                    <a:pt x="29" y="354"/>
                  </a:lnTo>
                  <a:lnTo>
                    <a:pt x="33" y="358"/>
                  </a:lnTo>
                  <a:lnTo>
                    <a:pt x="33" y="362"/>
                  </a:lnTo>
                  <a:lnTo>
                    <a:pt x="35" y="364"/>
                  </a:lnTo>
                  <a:lnTo>
                    <a:pt x="37" y="360"/>
                  </a:lnTo>
                  <a:lnTo>
                    <a:pt x="42" y="360"/>
                  </a:lnTo>
                  <a:lnTo>
                    <a:pt x="44" y="352"/>
                  </a:lnTo>
                  <a:lnTo>
                    <a:pt x="48" y="354"/>
                  </a:lnTo>
                  <a:lnTo>
                    <a:pt x="54" y="358"/>
                  </a:lnTo>
                  <a:lnTo>
                    <a:pt x="60" y="358"/>
                  </a:lnTo>
                  <a:lnTo>
                    <a:pt x="69" y="358"/>
                  </a:lnTo>
                  <a:lnTo>
                    <a:pt x="73" y="360"/>
                  </a:lnTo>
                  <a:lnTo>
                    <a:pt x="81" y="358"/>
                  </a:lnTo>
                  <a:lnTo>
                    <a:pt x="89" y="360"/>
                  </a:lnTo>
                  <a:lnTo>
                    <a:pt x="96" y="354"/>
                  </a:lnTo>
                  <a:lnTo>
                    <a:pt x="102" y="354"/>
                  </a:lnTo>
                  <a:lnTo>
                    <a:pt x="121" y="365"/>
                  </a:lnTo>
                  <a:lnTo>
                    <a:pt x="127" y="364"/>
                  </a:lnTo>
                  <a:lnTo>
                    <a:pt x="129" y="354"/>
                  </a:lnTo>
                  <a:lnTo>
                    <a:pt x="133" y="352"/>
                  </a:lnTo>
                  <a:lnTo>
                    <a:pt x="163" y="342"/>
                  </a:lnTo>
                  <a:lnTo>
                    <a:pt x="167" y="340"/>
                  </a:lnTo>
                  <a:lnTo>
                    <a:pt x="169" y="329"/>
                  </a:lnTo>
                  <a:lnTo>
                    <a:pt x="179" y="325"/>
                  </a:lnTo>
                  <a:lnTo>
                    <a:pt x="183" y="321"/>
                  </a:lnTo>
                  <a:lnTo>
                    <a:pt x="188" y="310"/>
                  </a:lnTo>
                  <a:lnTo>
                    <a:pt x="204" y="310"/>
                  </a:lnTo>
                  <a:lnTo>
                    <a:pt x="208" y="304"/>
                  </a:lnTo>
                  <a:lnTo>
                    <a:pt x="211" y="306"/>
                  </a:lnTo>
                  <a:lnTo>
                    <a:pt x="215" y="302"/>
                  </a:lnTo>
                  <a:lnTo>
                    <a:pt x="217" y="300"/>
                  </a:lnTo>
                  <a:lnTo>
                    <a:pt x="238" y="308"/>
                  </a:lnTo>
                  <a:lnTo>
                    <a:pt x="246" y="314"/>
                  </a:lnTo>
                  <a:lnTo>
                    <a:pt x="252" y="310"/>
                  </a:lnTo>
                  <a:lnTo>
                    <a:pt x="258" y="319"/>
                  </a:lnTo>
                  <a:lnTo>
                    <a:pt x="260" y="314"/>
                  </a:lnTo>
                  <a:lnTo>
                    <a:pt x="271" y="314"/>
                  </a:lnTo>
                  <a:lnTo>
                    <a:pt x="275" y="319"/>
                  </a:lnTo>
                  <a:lnTo>
                    <a:pt x="281" y="323"/>
                  </a:lnTo>
                  <a:lnTo>
                    <a:pt x="286" y="319"/>
                  </a:lnTo>
                  <a:lnTo>
                    <a:pt x="292" y="325"/>
                  </a:lnTo>
                  <a:lnTo>
                    <a:pt x="290" y="331"/>
                  </a:lnTo>
                  <a:lnTo>
                    <a:pt x="292" y="333"/>
                  </a:lnTo>
                  <a:lnTo>
                    <a:pt x="290" y="348"/>
                  </a:lnTo>
                  <a:lnTo>
                    <a:pt x="294" y="354"/>
                  </a:lnTo>
                  <a:lnTo>
                    <a:pt x="306" y="362"/>
                  </a:lnTo>
                  <a:lnTo>
                    <a:pt x="308" y="362"/>
                  </a:lnTo>
                  <a:lnTo>
                    <a:pt x="308" y="358"/>
                  </a:lnTo>
                  <a:lnTo>
                    <a:pt x="311" y="358"/>
                  </a:lnTo>
                  <a:lnTo>
                    <a:pt x="317" y="373"/>
                  </a:lnTo>
                  <a:lnTo>
                    <a:pt x="317" y="383"/>
                  </a:lnTo>
                  <a:lnTo>
                    <a:pt x="334" y="387"/>
                  </a:lnTo>
                  <a:lnTo>
                    <a:pt x="336" y="396"/>
                  </a:lnTo>
                  <a:lnTo>
                    <a:pt x="338" y="402"/>
                  </a:lnTo>
                  <a:lnTo>
                    <a:pt x="346" y="410"/>
                  </a:lnTo>
                  <a:lnTo>
                    <a:pt x="336" y="417"/>
                  </a:lnTo>
                  <a:lnTo>
                    <a:pt x="331" y="410"/>
                  </a:lnTo>
                  <a:lnTo>
                    <a:pt x="327" y="417"/>
                  </a:lnTo>
                  <a:lnTo>
                    <a:pt x="319" y="412"/>
                  </a:lnTo>
                  <a:lnTo>
                    <a:pt x="313" y="414"/>
                  </a:lnTo>
                  <a:lnTo>
                    <a:pt x="313" y="419"/>
                  </a:lnTo>
                  <a:lnTo>
                    <a:pt x="310" y="421"/>
                  </a:lnTo>
                  <a:lnTo>
                    <a:pt x="308" y="412"/>
                  </a:lnTo>
                  <a:lnTo>
                    <a:pt x="298" y="421"/>
                  </a:lnTo>
                  <a:lnTo>
                    <a:pt x="300" y="431"/>
                  </a:lnTo>
                  <a:lnTo>
                    <a:pt x="306" y="435"/>
                  </a:lnTo>
                  <a:lnTo>
                    <a:pt x="304" y="446"/>
                  </a:lnTo>
                  <a:lnTo>
                    <a:pt x="296" y="452"/>
                  </a:lnTo>
                  <a:lnTo>
                    <a:pt x="298" y="460"/>
                  </a:lnTo>
                  <a:lnTo>
                    <a:pt x="288" y="473"/>
                  </a:lnTo>
                  <a:lnTo>
                    <a:pt x="292" y="477"/>
                  </a:lnTo>
                  <a:lnTo>
                    <a:pt x="292" y="483"/>
                  </a:lnTo>
                  <a:lnTo>
                    <a:pt x="283" y="483"/>
                  </a:lnTo>
                  <a:lnTo>
                    <a:pt x="281" y="488"/>
                  </a:lnTo>
                  <a:lnTo>
                    <a:pt x="283" y="490"/>
                  </a:lnTo>
                  <a:lnTo>
                    <a:pt x="288" y="496"/>
                  </a:lnTo>
                  <a:lnTo>
                    <a:pt x="304" y="500"/>
                  </a:lnTo>
                  <a:lnTo>
                    <a:pt x="327" y="481"/>
                  </a:lnTo>
                  <a:lnTo>
                    <a:pt x="334" y="481"/>
                  </a:lnTo>
                  <a:lnTo>
                    <a:pt x="342" y="487"/>
                  </a:lnTo>
                  <a:lnTo>
                    <a:pt x="346" y="490"/>
                  </a:lnTo>
                  <a:lnTo>
                    <a:pt x="342" y="467"/>
                  </a:lnTo>
                  <a:lnTo>
                    <a:pt x="359" y="444"/>
                  </a:lnTo>
                  <a:lnTo>
                    <a:pt x="373" y="408"/>
                  </a:lnTo>
                  <a:lnTo>
                    <a:pt x="373" y="396"/>
                  </a:lnTo>
                  <a:lnTo>
                    <a:pt x="386" y="389"/>
                  </a:lnTo>
                  <a:lnTo>
                    <a:pt x="404" y="385"/>
                  </a:lnTo>
                  <a:lnTo>
                    <a:pt x="406" y="381"/>
                  </a:lnTo>
                  <a:lnTo>
                    <a:pt x="413" y="383"/>
                  </a:lnTo>
                  <a:lnTo>
                    <a:pt x="415" y="379"/>
                  </a:lnTo>
                  <a:lnTo>
                    <a:pt x="408" y="352"/>
                  </a:lnTo>
                  <a:lnTo>
                    <a:pt x="417" y="373"/>
                  </a:lnTo>
                  <a:lnTo>
                    <a:pt x="421" y="379"/>
                  </a:lnTo>
                  <a:lnTo>
                    <a:pt x="427" y="383"/>
                  </a:lnTo>
                  <a:lnTo>
                    <a:pt x="431" y="379"/>
                  </a:lnTo>
                  <a:lnTo>
                    <a:pt x="438" y="381"/>
                  </a:lnTo>
                  <a:lnTo>
                    <a:pt x="438" y="387"/>
                  </a:lnTo>
                  <a:lnTo>
                    <a:pt x="415" y="389"/>
                  </a:lnTo>
                  <a:lnTo>
                    <a:pt x="402" y="389"/>
                  </a:lnTo>
                  <a:lnTo>
                    <a:pt x="409" y="396"/>
                  </a:lnTo>
                  <a:lnTo>
                    <a:pt x="409" y="390"/>
                  </a:lnTo>
                  <a:lnTo>
                    <a:pt x="415" y="390"/>
                  </a:lnTo>
                  <a:lnTo>
                    <a:pt x="423" y="390"/>
                  </a:lnTo>
                  <a:lnTo>
                    <a:pt x="427" y="394"/>
                  </a:lnTo>
                  <a:lnTo>
                    <a:pt x="415" y="402"/>
                  </a:lnTo>
                  <a:lnTo>
                    <a:pt x="421" y="404"/>
                  </a:lnTo>
                  <a:lnTo>
                    <a:pt x="421" y="400"/>
                  </a:lnTo>
                  <a:lnTo>
                    <a:pt x="434" y="406"/>
                  </a:lnTo>
                  <a:lnTo>
                    <a:pt x="438" y="404"/>
                  </a:lnTo>
                  <a:lnTo>
                    <a:pt x="438" y="410"/>
                  </a:lnTo>
                  <a:lnTo>
                    <a:pt x="450" y="410"/>
                  </a:lnTo>
                  <a:lnTo>
                    <a:pt x="459" y="404"/>
                  </a:lnTo>
                  <a:lnTo>
                    <a:pt x="469" y="402"/>
                  </a:lnTo>
                  <a:lnTo>
                    <a:pt x="469" y="398"/>
                  </a:lnTo>
                  <a:lnTo>
                    <a:pt x="492" y="402"/>
                  </a:lnTo>
                  <a:lnTo>
                    <a:pt x="492" y="392"/>
                  </a:lnTo>
                  <a:lnTo>
                    <a:pt x="494" y="394"/>
                  </a:lnTo>
                  <a:lnTo>
                    <a:pt x="498" y="406"/>
                  </a:lnTo>
                  <a:lnTo>
                    <a:pt x="504" y="406"/>
                  </a:lnTo>
                  <a:lnTo>
                    <a:pt x="502" y="408"/>
                  </a:lnTo>
                  <a:lnTo>
                    <a:pt x="502" y="412"/>
                  </a:lnTo>
                  <a:lnTo>
                    <a:pt x="494" y="414"/>
                  </a:lnTo>
                  <a:lnTo>
                    <a:pt x="484" y="423"/>
                  </a:lnTo>
                  <a:lnTo>
                    <a:pt x="481" y="421"/>
                  </a:lnTo>
                  <a:lnTo>
                    <a:pt x="482" y="423"/>
                  </a:lnTo>
                  <a:lnTo>
                    <a:pt x="473" y="433"/>
                  </a:lnTo>
                  <a:lnTo>
                    <a:pt x="471" y="438"/>
                  </a:lnTo>
                  <a:lnTo>
                    <a:pt x="467" y="438"/>
                  </a:lnTo>
                  <a:lnTo>
                    <a:pt x="459" y="448"/>
                  </a:lnTo>
                  <a:lnTo>
                    <a:pt x="459" y="454"/>
                  </a:lnTo>
                  <a:lnTo>
                    <a:pt x="467" y="456"/>
                  </a:lnTo>
                  <a:lnTo>
                    <a:pt x="471" y="452"/>
                  </a:lnTo>
                  <a:lnTo>
                    <a:pt x="479" y="452"/>
                  </a:lnTo>
                  <a:lnTo>
                    <a:pt x="496" y="460"/>
                  </a:lnTo>
                  <a:lnTo>
                    <a:pt x="500" y="456"/>
                  </a:lnTo>
                  <a:lnTo>
                    <a:pt x="507" y="460"/>
                  </a:lnTo>
                  <a:lnTo>
                    <a:pt x="515" y="471"/>
                  </a:lnTo>
                  <a:lnTo>
                    <a:pt x="513" y="481"/>
                  </a:lnTo>
                  <a:lnTo>
                    <a:pt x="515" y="488"/>
                  </a:lnTo>
                  <a:lnTo>
                    <a:pt x="517" y="490"/>
                  </a:lnTo>
                  <a:lnTo>
                    <a:pt x="509" y="494"/>
                  </a:lnTo>
                  <a:lnTo>
                    <a:pt x="527" y="502"/>
                  </a:lnTo>
                  <a:lnTo>
                    <a:pt x="540" y="500"/>
                  </a:lnTo>
                  <a:lnTo>
                    <a:pt x="550" y="487"/>
                  </a:lnTo>
                  <a:lnTo>
                    <a:pt x="554" y="473"/>
                  </a:lnTo>
                  <a:lnTo>
                    <a:pt x="571" y="460"/>
                  </a:lnTo>
                  <a:lnTo>
                    <a:pt x="577" y="462"/>
                  </a:lnTo>
                  <a:lnTo>
                    <a:pt x="582" y="450"/>
                  </a:lnTo>
                  <a:lnTo>
                    <a:pt x="586" y="450"/>
                  </a:lnTo>
                  <a:lnTo>
                    <a:pt x="588" y="444"/>
                  </a:lnTo>
                  <a:lnTo>
                    <a:pt x="586" y="440"/>
                  </a:lnTo>
                  <a:lnTo>
                    <a:pt x="590" y="437"/>
                  </a:lnTo>
                  <a:lnTo>
                    <a:pt x="600" y="437"/>
                  </a:lnTo>
                  <a:lnTo>
                    <a:pt x="605" y="440"/>
                  </a:lnTo>
                  <a:lnTo>
                    <a:pt x="611" y="438"/>
                  </a:lnTo>
                  <a:lnTo>
                    <a:pt x="613" y="435"/>
                  </a:lnTo>
                  <a:lnTo>
                    <a:pt x="621" y="435"/>
                  </a:lnTo>
                  <a:lnTo>
                    <a:pt x="628" y="429"/>
                  </a:lnTo>
                  <a:lnTo>
                    <a:pt x="627" y="423"/>
                  </a:lnTo>
                  <a:lnTo>
                    <a:pt x="625" y="415"/>
                  </a:lnTo>
                  <a:lnTo>
                    <a:pt x="627" y="414"/>
                  </a:lnTo>
                  <a:lnTo>
                    <a:pt x="627" y="410"/>
                  </a:lnTo>
                  <a:lnTo>
                    <a:pt x="632" y="410"/>
                  </a:lnTo>
                  <a:lnTo>
                    <a:pt x="628" y="404"/>
                  </a:lnTo>
                  <a:lnTo>
                    <a:pt x="617" y="408"/>
                  </a:lnTo>
                  <a:lnTo>
                    <a:pt x="615" y="406"/>
                  </a:lnTo>
                  <a:lnTo>
                    <a:pt x="609" y="408"/>
                  </a:lnTo>
                  <a:lnTo>
                    <a:pt x="605" y="415"/>
                  </a:lnTo>
                  <a:lnTo>
                    <a:pt x="600" y="414"/>
                  </a:lnTo>
                  <a:lnTo>
                    <a:pt x="596" y="412"/>
                  </a:lnTo>
                  <a:lnTo>
                    <a:pt x="594" y="421"/>
                  </a:lnTo>
                  <a:lnTo>
                    <a:pt x="586" y="427"/>
                  </a:lnTo>
                  <a:lnTo>
                    <a:pt x="577" y="423"/>
                  </a:lnTo>
                  <a:lnTo>
                    <a:pt x="559" y="406"/>
                  </a:lnTo>
                  <a:lnTo>
                    <a:pt x="555" y="404"/>
                  </a:lnTo>
                  <a:lnTo>
                    <a:pt x="542" y="379"/>
                  </a:lnTo>
                  <a:lnTo>
                    <a:pt x="544" y="373"/>
                  </a:lnTo>
                  <a:lnTo>
                    <a:pt x="546" y="373"/>
                  </a:lnTo>
                  <a:lnTo>
                    <a:pt x="552" y="367"/>
                  </a:lnTo>
                  <a:lnTo>
                    <a:pt x="554" y="360"/>
                  </a:lnTo>
                  <a:lnTo>
                    <a:pt x="552" y="354"/>
                  </a:lnTo>
                  <a:lnTo>
                    <a:pt x="557" y="356"/>
                  </a:lnTo>
                  <a:lnTo>
                    <a:pt x="557" y="362"/>
                  </a:lnTo>
                  <a:lnTo>
                    <a:pt x="561" y="362"/>
                  </a:lnTo>
                  <a:lnTo>
                    <a:pt x="559" y="367"/>
                  </a:lnTo>
                  <a:lnTo>
                    <a:pt x="565" y="354"/>
                  </a:lnTo>
                  <a:lnTo>
                    <a:pt x="575" y="339"/>
                  </a:lnTo>
                  <a:lnTo>
                    <a:pt x="588" y="331"/>
                  </a:lnTo>
                  <a:lnTo>
                    <a:pt x="594" y="335"/>
                  </a:lnTo>
                  <a:lnTo>
                    <a:pt x="596" y="327"/>
                  </a:lnTo>
                  <a:lnTo>
                    <a:pt x="604" y="319"/>
                  </a:lnTo>
                  <a:lnTo>
                    <a:pt x="611" y="321"/>
                  </a:lnTo>
                  <a:lnTo>
                    <a:pt x="613" y="327"/>
                  </a:lnTo>
                  <a:lnTo>
                    <a:pt x="615" y="316"/>
                  </a:lnTo>
                  <a:lnTo>
                    <a:pt x="619" y="30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54" name="Freeform 42"/>
            <p:cNvSpPr>
              <a:spLocks/>
            </p:cNvSpPr>
            <p:nvPr/>
          </p:nvSpPr>
          <p:spPr bwMode="auto">
            <a:xfrm>
              <a:off x="3440" y="2688"/>
              <a:ext cx="88" cy="48"/>
            </a:xfrm>
            <a:custGeom>
              <a:avLst/>
              <a:gdLst>
                <a:gd name="T0" fmla="*/ 0 w 88"/>
                <a:gd name="T1" fmla="*/ 8 h 48"/>
                <a:gd name="T2" fmla="*/ 8 w 88"/>
                <a:gd name="T3" fmla="*/ 4 h 48"/>
                <a:gd name="T4" fmla="*/ 15 w 88"/>
                <a:gd name="T5" fmla="*/ 9 h 48"/>
                <a:gd name="T6" fmla="*/ 17 w 88"/>
                <a:gd name="T7" fmla="*/ 4 h 48"/>
                <a:gd name="T8" fmla="*/ 19 w 88"/>
                <a:gd name="T9" fmla="*/ 8 h 48"/>
                <a:gd name="T10" fmla="*/ 25 w 88"/>
                <a:gd name="T11" fmla="*/ 4 h 48"/>
                <a:gd name="T12" fmla="*/ 25 w 88"/>
                <a:gd name="T13" fmla="*/ 0 h 48"/>
                <a:gd name="T14" fmla="*/ 33 w 88"/>
                <a:gd name="T15" fmla="*/ 4 h 48"/>
                <a:gd name="T16" fmla="*/ 34 w 88"/>
                <a:gd name="T17" fmla="*/ 0 h 48"/>
                <a:gd name="T18" fmla="*/ 36 w 88"/>
                <a:gd name="T19" fmla="*/ 4 h 48"/>
                <a:gd name="T20" fmla="*/ 33 w 88"/>
                <a:gd name="T21" fmla="*/ 4 h 48"/>
                <a:gd name="T22" fmla="*/ 34 w 88"/>
                <a:gd name="T23" fmla="*/ 9 h 48"/>
                <a:gd name="T24" fmla="*/ 33 w 88"/>
                <a:gd name="T25" fmla="*/ 13 h 48"/>
                <a:gd name="T26" fmla="*/ 34 w 88"/>
                <a:gd name="T27" fmla="*/ 11 h 48"/>
                <a:gd name="T28" fmla="*/ 36 w 88"/>
                <a:gd name="T29" fmla="*/ 15 h 48"/>
                <a:gd name="T30" fmla="*/ 40 w 88"/>
                <a:gd name="T31" fmla="*/ 11 h 48"/>
                <a:gd name="T32" fmla="*/ 38 w 88"/>
                <a:gd name="T33" fmla="*/ 0 h 48"/>
                <a:gd name="T34" fmla="*/ 44 w 88"/>
                <a:gd name="T35" fmla="*/ 0 h 48"/>
                <a:gd name="T36" fmla="*/ 46 w 88"/>
                <a:gd name="T37" fmla="*/ 4 h 48"/>
                <a:gd name="T38" fmla="*/ 42 w 88"/>
                <a:gd name="T39" fmla="*/ 4 h 48"/>
                <a:gd name="T40" fmla="*/ 48 w 88"/>
                <a:gd name="T41" fmla="*/ 8 h 48"/>
                <a:gd name="T42" fmla="*/ 52 w 88"/>
                <a:gd name="T43" fmla="*/ 21 h 48"/>
                <a:gd name="T44" fmla="*/ 56 w 88"/>
                <a:gd name="T45" fmla="*/ 17 h 48"/>
                <a:gd name="T46" fmla="*/ 61 w 88"/>
                <a:gd name="T47" fmla="*/ 25 h 48"/>
                <a:gd name="T48" fmla="*/ 79 w 88"/>
                <a:gd name="T49" fmla="*/ 42 h 48"/>
                <a:gd name="T50" fmla="*/ 88 w 88"/>
                <a:gd name="T51" fmla="*/ 46 h 48"/>
                <a:gd name="T52" fmla="*/ 86 w 88"/>
                <a:gd name="T53" fmla="*/ 48 h 48"/>
                <a:gd name="T54" fmla="*/ 71 w 88"/>
                <a:gd name="T55" fmla="*/ 46 h 48"/>
                <a:gd name="T56" fmla="*/ 67 w 88"/>
                <a:gd name="T57" fmla="*/ 42 h 48"/>
                <a:gd name="T58" fmla="*/ 71 w 88"/>
                <a:gd name="T59" fmla="*/ 38 h 48"/>
                <a:gd name="T60" fmla="*/ 65 w 88"/>
                <a:gd name="T61" fmla="*/ 31 h 48"/>
                <a:gd name="T62" fmla="*/ 56 w 88"/>
                <a:gd name="T63" fmla="*/ 27 h 48"/>
                <a:gd name="T64" fmla="*/ 56 w 88"/>
                <a:gd name="T65" fmla="*/ 25 h 48"/>
                <a:gd name="T66" fmla="*/ 50 w 88"/>
                <a:gd name="T67" fmla="*/ 27 h 48"/>
                <a:gd name="T68" fmla="*/ 52 w 88"/>
                <a:gd name="T69" fmla="*/ 23 h 48"/>
                <a:gd name="T70" fmla="*/ 48 w 88"/>
                <a:gd name="T71" fmla="*/ 15 h 48"/>
                <a:gd name="T72" fmla="*/ 38 w 88"/>
                <a:gd name="T73" fmla="*/ 27 h 48"/>
                <a:gd name="T74" fmla="*/ 40 w 88"/>
                <a:gd name="T75" fmla="*/ 23 h 48"/>
                <a:gd name="T76" fmla="*/ 31 w 88"/>
                <a:gd name="T77" fmla="*/ 11 h 48"/>
                <a:gd name="T78" fmla="*/ 29 w 88"/>
                <a:gd name="T79" fmla="*/ 15 h 48"/>
                <a:gd name="T80" fmla="*/ 27 w 88"/>
                <a:gd name="T81" fmla="*/ 11 h 48"/>
                <a:gd name="T82" fmla="*/ 19 w 88"/>
                <a:gd name="T83" fmla="*/ 13 h 48"/>
                <a:gd name="T84" fmla="*/ 25 w 88"/>
                <a:gd name="T85" fmla="*/ 19 h 48"/>
                <a:gd name="T86" fmla="*/ 23 w 88"/>
                <a:gd name="T87" fmla="*/ 19 h 48"/>
                <a:gd name="T88" fmla="*/ 15 w 88"/>
                <a:gd name="T89" fmla="*/ 11 h 48"/>
                <a:gd name="T90" fmla="*/ 11 w 88"/>
                <a:gd name="T91" fmla="*/ 13 h 48"/>
                <a:gd name="T92" fmla="*/ 15 w 88"/>
                <a:gd name="T93" fmla="*/ 13 h 48"/>
                <a:gd name="T94" fmla="*/ 15 w 88"/>
                <a:gd name="T95" fmla="*/ 17 h 48"/>
                <a:gd name="T96" fmla="*/ 11 w 88"/>
                <a:gd name="T97" fmla="*/ 15 h 48"/>
                <a:gd name="T98" fmla="*/ 10 w 88"/>
                <a:gd name="T99" fmla="*/ 17 h 48"/>
                <a:gd name="T100" fmla="*/ 8 w 88"/>
                <a:gd name="T101" fmla="*/ 9 h 48"/>
                <a:gd name="T102" fmla="*/ 6 w 88"/>
                <a:gd name="T103" fmla="*/ 9 h 48"/>
                <a:gd name="T104" fmla="*/ 6 w 88"/>
                <a:gd name="T105" fmla="*/ 13 h 48"/>
                <a:gd name="T106" fmla="*/ 0 w 88"/>
                <a:gd name="T10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48">
                  <a:moveTo>
                    <a:pt x="0" y="8"/>
                  </a:moveTo>
                  <a:lnTo>
                    <a:pt x="8" y="4"/>
                  </a:lnTo>
                  <a:lnTo>
                    <a:pt x="15" y="9"/>
                  </a:lnTo>
                  <a:lnTo>
                    <a:pt x="17" y="4"/>
                  </a:lnTo>
                  <a:lnTo>
                    <a:pt x="19" y="8"/>
                  </a:lnTo>
                  <a:lnTo>
                    <a:pt x="25" y="4"/>
                  </a:lnTo>
                  <a:lnTo>
                    <a:pt x="25" y="0"/>
                  </a:lnTo>
                  <a:lnTo>
                    <a:pt x="33" y="4"/>
                  </a:lnTo>
                  <a:lnTo>
                    <a:pt x="34" y="0"/>
                  </a:lnTo>
                  <a:lnTo>
                    <a:pt x="36" y="4"/>
                  </a:lnTo>
                  <a:lnTo>
                    <a:pt x="33" y="4"/>
                  </a:lnTo>
                  <a:lnTo>
                    <a:pt x="34" y="9"/>
                  </a:lnTo>
                  <a:lnTo>
                    <a:pt x="33" y="13"/>
                  </a:lnTo>
                  <a:lnTo>
                    <a:pt x="34" y="11"/>
                  </a:lnTo>
                  <a:lnTo>
                    <a:pt x="36" y="15"/>
                  </a:lnTo>
                  <a:lnTo>
                    <a:pt x="40" y="11"/>
                  </a:lnTo>
                  <a:lnTo>
                    <a:pt x="38" y="0"/>
                  </a:lnTo>
                  <a:lnTo>
                    <a:pt x="44" y="0"/>
                  </a:lnTo>
                  <a:lnTo>
                    <a:pt x="46" y="4"/>
                  </a:lnTo>
                  <a:lnTo>
                    <a:pt x="42" y="4"/>
                  </a:lnTo>
                  <a:lnTo>
                    <a:pt x="48" y="8"/>
                  </a:lnTo>
                  <a:lnTo>
                    <a:pt x="52" y="21"/>
                  </a:lnTo>
                  <a:lnTo>
                    <a:pt x="56" y="17"/>
                  </a:lnTo>
                  <a:lnTo>
                    <a:pt x="61" y="25"/>
                  </a:lnTo>
                  <a:lnTo>
                    <a:pt x="79" y="42"/>
                  </a:lnTo>
                  <a:lnTo>
                    <a:pt x="88" y="46"/>
                  </a:lnTo>
                  <a:lnTo>
                    <a:pt x="86" y="48"/>
                  </a:lnTo>
                  <a:lnTo>
                    <a:pt x="71" y="46"/>
                  </a:lnTo>
                  <a:lnTo>
                    <a:pt x="67" y="42"/>
                  </a:lnTo>
                  <a:lnTo>
                    <a:pt x="71" y="38"/>
                  </a:lnTo>
                  <a:lnTo>
                    <a:pt x="65" y="31"/>
                  </a:lnTo>
                  <a:lnTo>
                    <a:pt x="56" y="27"/>
                  </a:lnTo>
                  <a:lnTo>
                    <a:pt x="56" y="25"/>
                  </a:lnTo>
                  <a:lnTo>
                    <a:pt x="50" y="27"/>
                  </a:lnTo>
                  <a:lnTo>
                    <a:pt x="52" y="23"/>
                  </a:lnTo>
                  <a:lnTo>
                    <a:pt x="48" y="15"/>
                  </a:lnTo>
                  <a:lnTo>
                    <a:pt x="38" y="27"/>
                  </a:lnTo>
                  <a:lnTo>
                    <a:pt x="40" y="23"/>
                  </a:lnTo>
                  <a:lnTo>
                    <a:pt x="31" y="11"/>
                  </a:lnTo>
                  <a:lnTo>
                    <a:pt x="29" y="15"/>
                  </a:lnTo>
                  <a:lnTo>
                    <a:pt x="27" y="11"/>
                  </a:lnTo>
                  <a:lnTo>
                    <a:pt x="19" y="13"/>
                  </a:lnTo>
                  <a:lnTo>
                    <a:pt x="25" y="19"/>
                  </a:lnTo>
                  <a:lnTo>
                    <a:pt x="23" y="19"/>
                  </a:lnTo>
                  <a:lnTo>
                    <a:pt x="15" y="11"/>
                  </a:lnTo>
                  <a:lnTo>
                    <a:pt x="11" y="13"/>
                  </a:lnTo>
                  <a:lnTo>
                    <a:pt x="15" y="13"/>
                  </a:lnTo>
                  <a:lnTo>
                    <a:pt x="15" y="17"/>
                  </a:lnTo>
                  <a:lnTo>
                    <a:pt x="11" y="15"/>
                  </a:lnTo>
                  <a:lnTo>
                    <a:pt x="10" y="17"/>
                  </a:lnTo>
                  <a:lnTo>
                    <a:pt x="8" y="9"/>
                  </a:lnTo>
                  <a:lnTo>
                    <a:pt x="6" y="9"/>
                  </a:lnTo>
                  <a:lnTo>
                    <a:pt x="6" y="13"/>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55" name="Freeform 43"/>
            <p:cNvSpPr>
              <a:spLocks/>
            </p:cNvSpPr>
            <p:nvPr/>
          </p:nvSpPr>
          <p:spPr bwMode="auto">
            <a:xfrm>
              <a:off x="3496" y="2674"/>
              <a:ext cx="7" cy="16"/>
            </a:xfrm>
            <a:custGeom>
              <a:avLst/>
              <a:gdLst>
                <a:gd name="T0" fmla="*/ 7 w 7"/>
                <a:gd name="T1" fmla="*/ 0 h 16"/>
                <a:gd name="T2" fmla="*/ 0 w 7"/>
                <a:gd name="T3" fmla="*/ 16 h 16"/>
                <a:gd name="T4" fmla="*/ 5 w 7"/>
                <a:gd name="T5" fmla="*/ 10 h 16"/>
                <a:gd name="T6" fmla="*/ 7 w 7"/>
                <a:gd name="T7" fmla="*/ 0 h 16"/>
              </a:gdLst>
              <a:ahLst/>
              <a:cxnLst>
                <a:cxn ang="0">
                  <a:pos x="T0" y="T1"/>
                </a:cxn>
                <a:cxn ang="0">
                  <a:pos x="T2" y="T3"/>
                </a:cxn>
                <a:cxn ang="0">
                  <a:pos x="T4" y="T5"/>
                </a:cxn>
                <a:cxn ang="0">
                  <a:pos x="T6" y="T7"/>
                </a:cxn>
              </a:cxnLst>
              <a:rect l="0" t="0" r="r" b="b"/>
              <a:pathLst>
                <a:path w="7" h="16">
                  <a:moveTo>
                    <a:pt x="7" y="0"/>
                  </a:moveTo>
                  <a:lnTo>
                    <a:pt x="0" y="16"/>
                  </a:lnTo>
                  <a:lnTo>
                    <a:pt x="5" y="10"/>
                  </a:lnTo>
                  <a:lnTo>
                    <a:pt x="7"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56" name="Freeform 44"/>
            <p:cNvSpPr>
              <a:spLocks/>
            </p:cNvSpPr>
            <p:nvPr/>
          </p:nvSpPr>
          <p:spPr bwMode="auto">
            <a:xfrm>
              <a:off x="2950" y="2113"/>
              <a:ext cx="338" cy="323"/>
            </a:xfrm>
            <a:custGeom>
              <a:avLst/>
              <a:gdLst>
                <a:gd name="T0" fmla="*/ 300 w 338"/>
                <a:gd name="T1" fmla="*/ 160 h 323"/>
                <a:gd name="T2" fmla="*/ 313 w 338"/>
                <a:gd name="T3" fmla="*/ 166 h 323"/>
                <a:gd name="T4" fmla="*/ 328 w 338"/>
                <a:gd name="T5" fmla="*/ 148 h 323"/>
                <a:gd name="T6" fmla="*/ 323 w 338"/>
                <a:gd name="T7" fmla="*/ 131 h 323"/>
                <a:gd name="T8" fmla="*/ 321 w 338"/>
                <a:gd name="T9" fmla="*/ 121 h 323"/>
                <a:gd name="T10" fmla="*/ 296 w 338"/>
                <a:gd name="T11" fmla="*/ 123 h 323"/>
                <a:gd name="T12" fmla="*/ 275 w 338"/>
                <a:gd name="T13" fmla="*/ 98 h 323"/>
                <a:gd name="T14" fmla="*/ 263 w 338"/>
                <a:gd name="T15" fmla="*/ 75 h 323"/>
                <a:gd name="T16" fmla="*/ 246 w 338"/>
                <a:gd name="T17" fmla="*/ 68 h 323"/>
                <a:gd name="T18" fmla="*/ 248 w 338"/>
                <a:gd name="T19" fmla="*/ 52 h 323"/>
                <a:gd name="T20" fmla="*/ 240 w 338"/>
                <a:gd name="T21" fmla="*/ 37 h 323"/>
                <a:gd name="T22" fmla="*/ 234 w 338"/>
                <a:gd name="T23" fmla="*/ 18 h 323"/>
                <a:gd name="T24" fmla="*/ 207 w 338"/>
                <a:gd name="T25" fmla="*/ 8 h 323"/>
                <a:gd name="T26" fmla="*/ 196 w 338"/>
                <a:gd name="T27" fmla="*/ 14 h 323"/>
                <a:gd name="T28" fmla="*/ 186 w 338"/>
                <a:gd name="T29" fmla="*/ 8 h 323"/>
                <a:gd name="T30" fmla="*/ 165 w 338"/>
                <a:gd name="T31" fmla="*/ 10 h 323"/>
                <a:gd name="T32" fmla="*/ 148 w 338"/>
                <a:gd name="T33" fmla="*/ 4 h 323"/>
                <a:gd name="T34" fmla="*/ 138 w 338"/>
                <a:gd name="T35" fmla="*/ 0 h 323"/>
                <a:gd name="T36" fmla="*/ 125 w 338"/>
                <a:gd name="T37" fmla="*/ 27 h 323"/>
                <a:gd name="T38" fmla="*/ 107 w 338"/>
                <a:gd name="T39" fmla="*/ 27 h 323"/>
                <a:gd name="T40" fmla="*/ 92 w 338"/>
                <a:gd name="T41" fmla="*/ 39 h 323"/>
                <a:gd name="T42" fmla="*/ 90 w 338"/>
                <a:gd name="T43" fmla="*/ 64 h 323"/>
                <a:gd name="T44" fmla="*/ 98 w 338"/>
                <a:gd name="T45" fmla="*/ 69 h 323"/>
                <a:gd name="T46" fmla="*/ 84 w 338"/>
                <a:gd name="T47" fmla="*/ 89 h 323"/>
                <a:gd name="T48" fmla="*/ 73 w 338"/>
                <a:gd name="T49" fmla="*/ 100 h 323"/>
                <a:gd name="T50" fmla="*/ 71 w 338"/>
                <a:gd name="T51" fmla="*/ 121 h 323"/>
                <a:gd name="T52" fmla="*/ 79 w 338"/>
                <a:gd name="T53" fmla="*/ 137 h 323"/>
                <a:gd name="T54" fmla="*/ 69 w 338"/>
                <a:gd name="T55" fmla="*/ 141 h 323"/>
                <a:gd name="T56" fmla="*/ 65 w 338"/>
                <a:gd name="T57" fmla="*/ 139 h 323"/>
                <a:gd name="T58" fmla="*/ 54 w 338"/>
                <a:gd name="T59" fmla="*/ 148 h 323"/>
                <a:gd name="T60" fmla="*/ 46 w 338"/>
                <a:gd name="T61" fmla="*/ 160 h 323"/>
                <a:gd name="T62" fmla="*/ 29 w 338"/>
                <a:gd name="T63" fmla="*/ 167 h 323"/>
                <a:gd name="T64" fmla="*/ 0 w 338"/>
                <a:gd name="T65" fmla="*/ 169 h 323"/>
                <a:gd name="T66" fmla="*/ 21 w 338"/>
                <a:gd name="T67" fmla="*/ 217 h 323"/>
                <a:gd name="T68" fmla="*/ 27 w 338"/>
                <a:gd name="T69" fmla="*/ 242 h 323"/>
                <a:gd name="T70" fmla="*/ 15 w 338"/>
                <a:gd name="T71" fmla="*/ 256 h 323"/>
                <a:gd name="T72" fmla="*/ 4 w 338"/>
                <a:gd name="T73" fmla="*/ 281 h 323"/>
                <a:gd name="T74" fmla="*/ 23 w 338"/>
                <a:gd name="T75" fmla="*/ 306 h 323"/>
                <a:gd name="T76" fmla="*/ 25 w 338"/>
                <a:gd name="T77" fmla="*/ 323 h 323"/>
                <a:gd name="T78" fmla="*/ 27 w 338"/>
                <a:gd name="T79" fmla="*/ 315 h 323"/>
                <a:gd name="T80" fmla="*/ 40 w 338"/>
                <a:gd name="T81" fmla="*/ 315 h 323"/>
                <a:gd name="T82" fmla="*/ 69 w 338"/>
                <a:gd name="T83" fmla="*/ 292 h 323"/>
                <a:gd name="T84" fmla="*/ 115 w 338"/>
                <a:gd name="T85" fmla="*/ 285 h 323"/>
                <a:gd name="T86" fmla="*/ 129 w 338"/>
                <a:gd name="T87" fmla="*/ 289 h 323"/>
                <a:gd name="T88" fmla="*/ 157 w 338"/>
                <a:gd name="T89" fmla="*/ 287 h 323"/>
                <a:gd name="T90" fmla="*/ 163 w 338"/>
                <a:gd name="T91" fmla="*/ 296 h 323"/>
                <a:gd name="T92" fmla="*/ 179 w 338"/>
                <a:gd name="T93" fmla="*/ 296 h 323"/>
                <a:gd name="T94" fmla="*/ 184 w 338"/>
                <a:gd name="T95" fmla="*/ 292 h 323"/>
                <a:gd name="T96" fmla="*/ 204 w 338"/>
                <a:gd name="T97" fmla="*/ 294 h 323"/>
                <a:gd name="T98" fmla="*/ 215 w 338"/>
                <a:gd name="T99" fmla="*/ 296 h 323"/>
                <a:gd name="T100" fmla="*/ 227 w 338"/>
                <a:gd name="T101" fmla="*/ 287 h 323"/>
                <a:gd name="T102" fmla="*/ 236 w 338"/>
                <a:gd name="T103" fmla="*/ 290 h 323"/>
                <a:gd name="T104" fmla="*/ 248 w 338"/>
                <a:gd name="T105" fmla="*/ 290 h 323"/>
                <a:gd name="T106" fmla="*/ 271 w 338"/>
                <a:gd name="T107" fmla="*/ 283 h 323"/>
                <a:gd name="T108" fmla="*/ 290 w 338"/>
                <a:gd name="T109" fmla="*/ 294 h 323"/>
                <a:gd name="T110" fmla="*/ 288 w 338"/>
                <a:gd name="T111" fmla="*/ 248 h 323"/>
                <a:gd name="T112" fmla="*/ 304 w 338"/>
                <a:gd name="T113" fmla="*/ 239 h 323"/>
                <a:gd name="T114" fmla="*/ 317 w 338"/>
                <a:gd name="T115" fmla="*/ 219 h 323"/>
                <a:gd name="T116" fmla="*/ 307 w 338"/>
                <a:gd name="T117" fmla="*/ 206 h 323"/>
                <a:gd name="T118" fmla="*/ 305 w 338"/>
                <a:gd name="T119" fmla="*/ 191 h 323"/>
                <a:gd name="T120" fmla="*/ 292 w 338"/>
                <a:gd name="T121" fmla="*/ 16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8" h="323">
                  <a:moveTo>
                    <a:pt x="292" y="169"/>
                  </a:moveTo>
                  <a:lnTo>
                    <a:pt x="292" y="164"/>
                  </a:lnTo>
                  <a:lnTo>
                    <a:pt x="300" y="160"/>
                  </a:lnTo>
                  <a:lnTo>
                    <a:pt x="305" y="162"/>
                  </a:lnTo>
                  <a:lnTo>
                    <a:pt x="307" y="166"/>
                  </a:lnTo>
                  <a:lnTo>
                    <a:pt x="313" y="166"/>
                  </a:lnTo>
                  <a:lnTo>
                    <a:pt x="323" y="162"/>
                  </a:lnTo>
                  <a:lnTo>
                    <a:pt x="328" y="154"/>
                  </a:lnTo>
                  <a:lnTo>
                    <a:pt x="328" y="148"/>
                  </a:lnTo>
                  <a:lnTo>
                    <a:pt x="338" y="143"/>
                  </a:lnTo>
                  <a:lnTo>
                    <a:pt x="336" y="137"/>
                  </a:lnTo>
                  <a:lnTo>
                    <a:pt x="323" y="131"/>
                  </a:lnTo>
                  <a:lnTo>
                    <a:pt x="321" y="127"/>
                  </a:lnTo>
                  <a:lnTo>
                    <a:pt x="325" y="123"/>
                  </a:lnTo>
                  <a:lnTo>
                    <a:pt x="321" y="121"/>
                  </a:lnTo>
                  <a:lnTo>
                    <a:pt x="307" y="118"/>
                  </a:lnTo>
                  <a:lnTo>
                    <a:pt x="302" y="123"/>
                  </a:lnTo>
                  <a:lnTo>
                    <a:pt x="296" y="123"/>
                  </a:lnTo>
                  <a:lnTo>
                    <a:pt x="296" y="110"/>
                  </a:lnTo>
                  <a:lnTo>
                    <a:pt x="292" y="104"/>
                  </a:lnTo>
                  <a:lnTo>
                    <a:pt x="275" y="98"/>
                  </a:lnTo>
                  <a:lnTo>
                    <a:pt x="267" y="87"/>
                  </a:lnTo>
                  <a:lnTo>
                    <a:pt x="261" y="85"/>
                  </a:lnTo>
                  <a:lnTo>
                    <a:pt x="263" y="75"/>
                  </a:lnTo>
                  <a:lnTo>
                    <a:pt x="257" y="75"/>
                  </a:lnTo>
                  <a:lnTo>
                    <a:pt x="255" y="71"/>
                  </a:lnTo>
                  <a:lnTo>
                    <a:pt x="246" y="68"/>
                  </a:lnTo>
                  <a:lnTo>
                    <a:pt x="246" y="58"/>
                  </a:lnTo>
                  <a:lnTo>
                    <a:pt x="250" y="56"/>
                  </a:lnTo>
                  <a:lnTo>
                    <a:pt x="248" y="52"/>
                  </a:lnTo>
                  <a:lnTo>
                    <a:pt x="252" y="50"/>
                  </a:lnTo>
                  <a:lnTo>
                    <a:pt x="250" y="45"/>
                  </a:lnTo>
                  <a:lnTo>
                    <a:pt x="240" y="37"/>
                  </a:lnTo>
                  <a:lnTo>
                    <a:pt x="244" y="29"/>
                  </a:lnTo>
                  <a:lnTo>
                    <a:pt x="240" y="16"/>
                  </a:lnTo>
                  <a:lnTo>
                    <a:pt x="234" y="18"/>
                  </a:lnTo>
                  <a:lnTo>
                    <a:pt x="223" y="8"/>
                  </a:lnTo>
                  <a:lnTo>
                    <a:pt x="213" y="6"/>
                  </a:lnTo>
                  <a:lnTo>
                    <a:pt x="207" y="8"/>
                  </a:lnTo>
                  <a:lnTo>
                    <a:pt x="204" y="8"/>
                  </a:lnTo>
                  <a:lnTo>
                    <a:pt x="200" y="14"/>
                  </a:lnTo>
                  <a:lnTo>
                    <a:pt x="196" y="14"/>
                  </a:lnTo>
                  <a:lnTo>
                    <a:pt x="190" y="21"/>
                  </a:lnTo>
                  <a:lnTo>
                    <a:pt x="184" y="16"/>
                  </a:lnTo>
                  <a:lnTo>
                    <a:pt x="186" y="8"/>
                  </a:lnTo>
                  <a:lnTo>
                    <a:pt x="184" y="6"/>
                  </a:lnTo>
                  <a:lnTo>
                    <a:pt x="171" y="2"/>
                  </a:lnTo>
                  <a:lnTo>
                    <a:pt x="165" y="10"/>
                  </a:lnTo>
                  <a:lnTo>
                    <a:pt x="161" y="10"/>
                  </a:lnTo>
                  <a:lnTo>
                    <a:pt x="156" y="2"/>
                  </a:lnTo>
                  <a:lnTo>
                    <a:pt x="148" y="4"/>
                  </a:lnTo>
                  <a:lnTo>
                    <a:pt x="146" y="8"/>
                  </a:lnTo>
                  <a:lnTo>
                    <a:pt x="138" y="2"/>
                  </a:lnTo>
                  <a:lnTo>
                    <a:pt x="138" y="0"/>
                  </a:lnTo>
                  <a:lnTo>
                    <a:pt x="132" y="6"/>
                  </a:lnTo>
                  <a:lnTo>
                    <a:pt x="125" y="20"/>
                  </a:lnTo>
                  <a:lnTo>
                    <a:pt x="125" y="27"/>
                  </a:lnTo>
                  <a:lnTo>
                    <a:pt x="115" y="27"/>
                  </a:lnTo>
                  <a:lnTo>
                    <a:pt x="113" y="31"/>
                  </a:lnTo>
                  <a:lnTo>
                    <a:pt x="107" y="27"/>
                  </a:lnTo>
                  <a:lnTo>
                    <a:pt x="104" y="29"/>
                  </a:lnTo>
                  <a:lnTo>
                    <a:pt x="100" y="39"/>
                  </a:lnTo>
                  <a:lnTo>
                    <a:pt x="92" y="39"/>
                  </a:lnTo>
                  <a:lnTo>
                    <a:pt x="92" y="43"/>
                  </a:lnTo>
                  <a:lnTo>
                    <a:pt x="92" y="54"/>
                  </a:lnTo>
                  <a:lnTo>
                    <a:pt x="90" y="64"/>
                  </a:lnTo>
                  <a:lnTo>
                    <a:pt x="102" y="64"/>
                  </a:lnTo>
                  <a:lnTo>
                    <a:pt x="104" y="66"/>
                  </a:lnTo>
                  <a:lnTo>
                    <a:pt x="98" y="69"/>
                  </a:lnTo>
                  <a:lnTo>
                    <a:pt x="98" y="77"/>
                  </a:lnTo>
                  <a:lnTo>
                    <a:pt x="86" y="77"/>
                  </a:lnTo>
                  <a:lnTo>
                    <a:pt x="84" y="89"/>
                  </a:lnTo>
                  <a:lnTo>
                    <a:pt x="75" y="93"/>
                  </a:lnTo>
                  <a:lnTo>
                    <a:pt x="71" y="98"/>
                  </a:lnTo>
                  <a:lnTo>
                    <a:pt x="73" y="100"/>
                  </a:lnTo>
                  <a:lnTo>
                    <a:pt x="71" y="104"/>
                  </a:lnTo>
                  <a:lnTo>
                    <a:pt x="75" y="116"/>
                  </a:lnTo>
                  <a:lnTo>
                    <a:pt x="71" y="121"/>
                  </a:lnTo>
                  <a:lnTo>
                    <a:pt x="69" y="133"/>
                  </a:lnTo>
                  <a:lnTo>
                    <a:pt x="75" y="133"/>
                  </a:lnTo>
                  <a:lnTo>
                    <a:pt x="79" y="137"/>
                  </a:lnTo>
                  <a:lnTo>
                    <a:pt x="79" y="143"/>
                  </a:lnTo>
                  <a:lnTo>
                    <a:pt x="71" y="144"/>
                  </a:lnTo>
                  <a:lnTo>
                    <a:pt x="69" y="141"/>
                  </a:lnTo>
                  <a:lnTo>
                    <a:pt x="71" y="139"/>
                  </a:lnTo>
                  <a:lnTo>
                    <a:pt x="67" y="135"/>
                  </a:lnTo>
                  <a:lnTo>
                    <a:pt x="65" y="139"/>
                  </a:lnTo>
                  <a:lnTo>
                    <a:pt x="58" y="139"/>
                  </a:lnTo>
                  <a:lnTo>
                    <a:pt x="58" y="143"/>
                  </a:lnTo>
                  <a:lnTo>
                    <a:pt x="54" y="148"/>
                  </a:lnTo>
                  <a:lnTo>
                    <a:pt x="46" y="150"/>
                  </a:lnTo>
                  <a:lnTo>
                    <a:pt x="44" y="152"/>
                  </a:lnTo>
                  <a:lnTo>
                    <a:pt x="46" y="160"/>
                  </a:lnTo>
                  <a:lnTo>
                    <a:pt x="38" y="160"/>
                  </a:lnTo>
                  <a:lnTo>
                    <a:pt x="33" y="167"/>
                  </a:lnTo>
                  <a:lnTo>
                    <a:pt x="29" y="167"/>
                  </a:lnTo>
                  <a:lnTo>
                    <a:pt x="23" y="164"/>
                  </a:lnTo>
                  <a:lnTo>
                    <a:pt x="6" y="171"/>
                  </a:lnTo>
                  <a:lnTo>
                    <a:pt x="0" y="169"/>
                  </a:lnTo>
                  <a:lnTo>
                    <a:pt x="6" y="185"/>
                  </a:lnTo>
                  <a:lnTo>
                    <a:pt x="17" y="212"/>
                  </a:lnTo>
                  <a:lnTo>
                    <a:pt x="21" y="217"/>
                  </a:lnTo>
                  <a:lnTo>
                    <a:pt x="21" y="223"/>
                  </a:lnTo>
                  <a:lnTo>
                    <a:pt x="23" y="227"/>
                  </a:lnTo>
                  <a:lnTo>
                    <a:pt x="27" y="242"/>
                  </a:lnTo>
                  <a:lnTo>
                    <a:pt x="27" y="246"/>
                  </a:lnTo>
                  <a:lnTo>
                    <a:pt x="21" y="252"/>
                  </a:lnTo>
                  <a:lnTo>
                    <a:pt x="15" y="256"/>
                  </a:lnTo>
                  <a:lnTo>
                    <a:pt x="8" y="262"/>
                  </a:lnTo>
                  <a:lnTo>
                    <a:pt x="2" y="277"/>
                  </a:lnTo>
                  <a:lnTo>
                    <a:pt x="4" y="281"/>
                  </a:lnTo>
                  <a:lnTo>
                    <a:pt x="15" y="283"/>
                  </a:lnTo>
                  <a:lnTo>
                    <a:pt x="21" y="289"/>
                  </a:lnTo>
                  <a:lnTo>
                    <a:pt x="23" y="306"/>
                  </a:lnTo>
                  <a:lnTo>
                    <a:pt x="21" y="310"/>
                  </a:lnTo>
                  <a:lnTo>
                    <a:pt x="21" y="315"/>
                  </a:lnTo>
                  <a:lnTo>
                    <a:pt x="25" y="323"/>
                  </a:lnTo>
                  <a:lnTo>
                    <a:pt x="27" y="323"/>
                  </a:lnTo>
                  <a:lnTo>
                    <a:pt x="25" y="319"/>
                  </a:lnTo>
                  <a:lnTo>
                    <a:pt x="27" y="315"/>
                  </a:lnTo>
                  <a:lnTo>
                    <a:pt x="34" y="315"/>
                  </a:lnTo>
                  <a:lnTo>
                    <a:pt x="38" y="317"/>
                  </a:lnTo>
                  <a:lnTo>
                    <a:pt x="40" y="315"/>
                  </a:lnTo>
                  <a:lnTo>
                    <a:pt x="48" y="306"/>
                  </a:lnTo>
                  <a:lnTo>
                    <a:pt x="52" y="296"/>
                  </a:lnTo>
                  <a:lnTo>
                    <a:pt x="69" y="292"/>
                  </a:lnTo>
                  <a:lnTo>
                    <a:pt x="81" y="287"/>
                  </a:lnTo>
                  <a:lnTo>
                    <a:pt x="94" y="287"/>
                  </a:lnTo>
                  <a:lnTo>
                    <a:pt x="115" y="285"/>
                  </a:lnTo>
                  <a:lnTo>
                    <a:pt x="119" y="287"/>
                  </a:lnTo>
                  <a:lnTo>
                    <a:pt x="129" y="287"/>
                  </a:lnTo>
                  <a:lnTo>
                    <a:pt x="129" y="289"/>
                  </a:lnTo>
                  <a:lnTo>
                    <a:pt x="136" y="287"/>
                  </a:lnTo>
                  <a:lnTo>
                    <a:pt x="148" y="290"/>
                  </a:lnTo>
                  <a:lnTo>
                    <a:pt x="157" y="287"/>
                  </a:lnTo>
                  <a:lnTo>
                    <a:pt x="159" y="292"/>
                  </a:lnTo>
                  <a:lnTo>
                    <a:pt x="163" y="292"/>
                  </a:lnTo>
                  <a:lnTo>
                    <a:pt x="163" y="296"/>
                  </a:lnTo>
                  <a:lnTo>
                    <a:pt x="171" y="292"/>
                  </a:lnTo>
                  <a:lnTo>
                    <a:pt x="179" y="294"/>
                  </a:lnTo>
                  <a:lnTo>
                    <a:pt x="179" y="296"/>
                  </a:lnTo>
                  <a:lnTo>
                    <a:pt x="179" y="300"/>
                  </a:lnTo>
                  <a:lnTo>
                    <a:pt x="181" y="302"/>
                  </a:lnTo>
                  <a:lnTo>
                    <a:pt x="184" y="292"/>
                  </a:lnTo>
                  <a:lnTo>
                    <a:pt x="192" y="292"/>
                  </a:lnTo>
                  <a:lnTo>
                    <a:pt x="198" y="287"/>
                  </a:lnTo>
                  <a:lnTo>
                    <a:pt x="204" y="294"/>
                  </a:lnTo>
                  <a:lnTo>
                    <a:pt x="207" y="290"/>
                  </a:lnTo>
                  <a:lnTo>
                    <a:pt x="213" y="289"/>
                  </a:lnTo>
                  <a:lnTo>
                    <a:pt x="215" y="296"/>
                  </a:lnTo>
                  <a:lnTo>
                    <a:pt x="219" y="298"/>
                  </a:lnTo>
                  <a:lnTo>
                    <a:pt x="221" y="289"/>
                  </a:lnTo>
                  <a:lnTo>
                    <a:pt x="227" y="287"/>
                  </a:lnTo>
                  <a:lnTo>
                    <a:pt x="229" y="281"/>
                  </a:lnTo>
                  <a:lnTo>
                    <a:pt x="234" y="283"/>
                  </a:lnTo>
                  <a:lnTo>
                    <a:pt x="236" y="290"/>
                  </a:lnTo>
                  <a:lnTo>
                    <a:pt x="242" y="296"/>
                  </a:lnTo>
                  <a:lnTo>
                    <a:pt x="248" y="294"/>
                  </a:lnTo>
                  <a:lnTo>
                    <a:pt x="248" y="290"/>
                  </a:lnTo>
                  <a:lnTo>
                    <a:pt x="254" y="285"/>
                  </a:lnTo>
                  <a:lnTo>
                    <a:pt x="261" y="289"/>
                  </a:lnTo>
                  <a:lnTo>
                    <a:pt x="271" y="283"/>
                  </a:lnTo>
                  <a:lnTo>
                    <a:pt x="279" y="287"/>
                  </a:lnTo>
                  <a:lnTo>
                    <a:pt x="282" y="292"/>
                  </a:lnTo>
                  <a:lnTo>
                    <a:pt x="290" y="294"/>
                  </a:lnTo>
                  <a:lnTo>
                    <a:pt x="290" y="285"/>
                  </a:lnTo>
                  <a:lnTo>
                    <a:pt x="282" y="273"/>
                  </a:lnTo>
                  <a:lnTo>
                    <a:pt x="288" y="248"/>
                  </a:lnTo>
                  <a:lnTo>
                    <a:pt x="294" y="242"/>
                  </a:lnTo>
                  <a:lnTo>
                    <a:pt x="292" y="239"/>
                  </a:lnTo>
                  <a:lnTo>
                    <a:pt x="304" y="239"/>
                  </a:lnTo>
                  <a:lnTo>
                    <a:pt x="307" y="233"/>
                  </a:lnTo>
                  <a:lnTo>
                    <a:pt x="323" y="229"/>
                  </a:lnTo>
                  <a:lnTo>
                    <a:pt x="317" y="219"/>
                  </a:lnTo>
                  <a:lnTo>
                    <a:pt x="311" y="217"/>
                  </a:lnTo>
                  <a:lnTo>
                    <a:pt x="313" y="214"/>
                  </a:lnTo>
                  <a:lnTo>
                    <a:pt x="307" y="206"/>
                  </a:lnTo>
                  <a:lnTo>
                    <a:pt x="311" y="202"/>
                  </a:lnTo>
                  <a:lnTo>
                    <a:pt x="304" y="194"/>
                  </a:lnTo>
                  <a:lnTo>
                    <a:pt x="305" y="191"/>
                  </a:lnTo>
                  <a:lnTo>
                    <a:pt x="304" y="187"/>
                  </a:lnTo>
                  <a:lnTo>
                    <a:pt x="290" y="175"/>
                  </a:lnTo>
                  <a:lnTo>
                    <a:pt x="292" y="16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57" name="Freeform 45"/>
            <p:cNvSpPr>
              <a:spLocks/>
            </p:cNvSpPr>
            <p:nvPr/>
          </p:nvSpPr>
          <p:spPr bwMode="auto">
            <a:xfrm>
              <a:off x="2946" y="958"/>
              <a:ext cx="1389" cy="1837"/>
            </a:xfrm>
            <a:custGeom>
              <a:avLst/>
              <a:gdLst>
                <a:gd name="T0" fmla="*/ 73 w 1389"/>
                <a:gd name="T1" fmla="*/ 581 h 1837"/>
                <a:gd name="T2" fmla="*/ 90 w 1389"/>
                <a:gd name="T3" fmla="*/ 615 h 1837"/>
                <a:gd name="T4" fmla="*/ 110 w 1389"/>
                <a:gd name="T5" fmla="*/ 663 h 1837"/>
                <a:gd name="T6" fmla="*/ 142 w 1389"/>
                <a:gd name="T7" fmla="*/ 765 h 1837"/>
                <a:gd name="T8" fmla="*/ 100 w 1389"/>
                <a:gd name="T9" fmla="*/ 846 h 1837"/>
                <a:gd name="T10" fmla="*/ 121 w 1389"/>
                <a:gd name="T11" fmla="*/ 900 h 1837"/>
                <a:gd name="T12" fmla="*/ 96 w 1389"/>
                <a:gd name="T13" fmla="*/ 1025 h 1837"/>
                <a:gd name="T14" fmla="*/ 123 w 1389"/>
                <a:gd name="T15" fmla="*/ 1113 h 1837"/>
                <a:gd name="T16" fmla="*/ 244 w 1389"/>
                <a:gd name="T17" fmla="*/ 1192 h 1837"/>
                <a:gd name="T18" fmla="*/ 311 w 1389"/>
                <a:gd name="T19" fmla="*/ 1321 h 1837"/>
                <a:gd name="T20" fmla="*/ 413 w 1389"/>
                <a:gd name="T21" fmla="*/ 1372 h 1837"/>
                <a:gd name="T22" fmla="*/ 567 w 1389"/>
                <a:gd name="T23" fmla="*/ 1436 h 1837"/>
                <a:gd name="T24" fmla="*/ 682 w 1389"/>
                <a:gd name="T25" fmla="*/ 1497 h 1837"/>
                <a:gd name="T26" fmla="*/ 703 w 1389"/>
                <a:gd name="T27" fmla="*/ 1620 h 1837"/>
                <a:gd name="T28" fmla="*/ 669 w 1389"/>
                <a:gd name="T29" fmla="*/ 1732 h 1837"/>
                <a:gd name="T30" fmla="*/ 809 w 1389"/>
                <a:gd name="T31" fmla="*/ 1834 h 1837"/>
                <a:gd name="T32" fmla="*/ 1036 w 1389"/>
                <a:gd name="T33" fmla="*/ 1795 h 1837"/>
                <a:gd name="T34" fmla="*/ 1186 w 1389"/>
                <a:gd name="T35" fmla="*/ 1772 h 1837"/>
                <a:gd name="T36" fmla="*/ 1063 w 1389"/>
                <a:gd name="T37" fmla="*/ 1636 h 1837"/>
                <a:gd name="T38" fmla="*/ 1103 w 1389"/>
                <a:gd name="T39" fmla="*/ 1513 h 1837"/>
                <a:gd name="T40" fmla="*/ 978 w 1389"/>
                <a:gd name="T41" fmla="*/ 1438 h 1837"/>
                <a:gd name="T42" fmla="*/ 972 w 1389"/>
                <a:gd name="T43" fmla="*/ 1261 h 1837"/>
                <a:gd name="T44" fmla="*/ 1059 w 1389"/>
                <a:gd name="T45" fmla="*/ 1132 h 1837"/>
                <a:gd name="T46" fmla="*/ 1216 w 1389"/>
                <a:gd name="T47" fmla="*/ 1123 h 1837"/>
                <a:gd name="T48" fmla="*/ 1336 w 1389"/>
                <a:gd name="T49" fmla="*/ 1067 h 1837"/>
                <a:gd name="T50" fmla="*/ 1278 w 1389"/>
                <a:gd name="T51" fmla="*/ 952 h 1837"/>
                <a:gd name="T52" fmla="*/ 1199 w 1389"/>
                <a:gd name="T53" fmla="*/ 886 h 1837"/>
                <a:gd name="T54" fmla="*/ 1134 w 1389"/>
                <a:gd name="T55" fmla="*/ 875 h 1837"/>
                <a:gd name="T56" fmla="*/ 1153 w 1389"/>
                <a:gd name="T57" fmla="*/ 842 h 1837"/>
                <a:gd name="T58" fmla="*/ 1149 w 1389"/>
                <a:gd name="T59" fmla="*/ 783 h 1837"/>
                <a:gd name="T60" fmla="*/ 1059 w 1389"/>
                <a:gd name="T61" fmla="*/ 767 h 1837"/>
                <a:gd name="T62" fmla="*/ 1053 w 1389"/>
                <a:gd name="T63" fmla="*/ 675 h 1837"/>
                <a:gd name="T64" fmla="*/ 997 w 1389"/>
                <a:gd name="T65" fmla="*/ 558 h 1837"/>
                <a:gd name="T66" fmla="*/ 880 w 1389"/>
                <a:gd name="T67" fmla="*/ 344 h 1837"/>
                <a:gd name="T68" fmla="*/ 884 w 1389"/>
                <a:gd name="T69" fmla="*/ 173 h 1837"/>
                <a:gd name="T70" fmla="*/ 894 w 1389"/>
                <a:gd name="T71" fmla="*/ 54 h 1837"/>
                <a:gd name="T72" fmla="*/ 725 w 1389"/>
                <a:gd name="T73" fmla="*/ 29 h 1837"/>
                <a:gd name="T74" fmla="*/ 740 w 1389"/>
                <a:gd name="T75" fmla="*/ 100 h 1837"/>
                <a:gd name="T76" fmla="*/ 698 w 1389"/>
                <a:gd name="T77" fmla="*/ 120 h 1837"/>
                <a:gd name="T78" fmla="*/ 651 w 1389"/>
                <a:gd name="T79" fmla="*/ 156 h 1837"/>
                <a:gd name="T80" fmla="*/ 596 w 1389"/>
                <a:gd name="T81" fmla="*/ 173 h 1837"/>
                <a:gd name="T82" fmla="*/ 519 w 1389"/>
                <a:gd name="T83" fmla="*/ 275 h 1837"/>
                <a:gd name="T84" fmla="*/ 429 w 1389"/>
                <a:gd name="T85" fmla="*/ 343 h 1837"/>
                <a:gd name="T86" fmla="*/ 402 w 1389"/>
                <a:gd name="T87" fmla="*/ 339 h 1837"/>
                <a:gd name="T88" fmla="*/ 425 w 1389"/>
                <a:gd name="T89" fmla="*/ 421 h 1837"/>
                <a:gd name="T90" fmla="*/ 315 w 1389"/>
                <a:gd name="T91" fmla="*/ 556 h 1837"/>
                <a:gd name="T92" fmla="*/ 321 w 1389"/>
                <a:gd name="T93" fmla="*/ 606 h 1837"/>
                <a:gd name="T94" fmla="*/ 223 w 1389"/>
                <a:gd name="T95" fmla="*/ 581 h 1837"/>
                <a:gd name="T96" fmla="*/ 192 w 1389"/>
                <a:gd name="T97" fmla="*/ 510 h 1837"/>
                <a:gd name="T98" fmla="*/ 125 w 1389"/>
                <a:gd name="T99" fmla="*/ 469 h 1837"/>
                <a:gd name="T100" fmla="*/ 340 w 1389"/>
                <a:gd name="T101" fmla="*/ 391 h 1837"/>
                <a:gd name="T102" fmla="*/ 190 w 1389"/>
                <a:gd name="T103" fmla="*/ 331 h 1837"/>
                <a:gd name="T104" fmla="*/ 104 w 1389"/>
                <a:gd name="T105" fmla="*/ 319 h 1837"/>
                <a:gd name="T106" fmla="*/ 37 w 1389"/>
                <a:gd name="T107" fmla="*/ 335 h 1837"/>
                <a:gd name="T108" fmla="*/ 15 w 1389"/>
                <a:gd name="T109" fmla="*/ 371 h 1837"/>
                <a:gd name="T110" fmla="*/ 225 w 1389"/>
                <a:gd name="T111" fmla="*/ 854 h 1837"/>
                <a:gd name="T112" fmla="*/ 140 w 1389"/>
                <a:gd name="T113" fmla="*/ 813 h 1837"/>
                <a:gd name="T114" fmla="*/ 315 w 1389"/>
                <a:gd name="T115" fmla="*/ 806 h 1837"/>
                <a:gd name="T116" fmla="*/ 273 w 1389"/>
                <a:gd name="T117" fmla="*/ 742 h 1837"/>
                <a:gd name="T118" fmla="*/ 298 w 1389"/>
                <a:gd name="T119" fmla="*/ 748 h 1837"/>
                <a:gd name="T120" fmla="*/ 407 w 1389"/>
                <a:gd name="T121" fmla="*/ 902 h 1837"/>
                <a:gd name="T122" fmla="*/ 442 w 1389"/>
                <a:gd name="T123" fmla="*/ 95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9" h="1837">
                  <a:moveTo>
                    <a:pt x="48" y="512"/>
                  </a:moveTo>
                  <a:lnTo>
                    <a:pt x="52" y="514"/>
                  </a:lnTo>
                  <a:lnTo>
                    <a:pt x="54" y="517"/>
                  </a:lnTo>
                  <a:lnTo>
                    <a:pt x="56" y="521"/>
                  </a:lnTo>
                  <a:lnTo>
                    <a:pt x="58" y="521"/>
                  </a:lnTo>
                  <a:lnTo>
                    <a:pt x="60" y="525"/>
                  </a:lnTo>
                  <a:lnTo>
                    <a:pt x="62" y="527"/>
                  </a:lnTo>
                  <a:lnTo>
                    <a:pt x="62" y="529"/>
                  </a:lnTo>
                  <a:lnTo>
                    <a:pt x="65" y="533"/>
                  </a:lnTo>
                  <a:lnTo>
                    <a:pt x="69" y="535"/>
                  </a:lnTo>
                  <a:lnTo>
                    <a:pt x="71" y="539"/>
                  </a:lnTo>
                  <a:lnTo>
                    <a:pt x="73" y="540"/>
                  </a:lnTo>
                  <a:lnTo>
                    <a:pt x="75" y="544"/>
                  </a:lnTo>
                  <a:lnTo>
                    <a:pt x="77" y="550"/>
                  </a:lnTo>
                  <a:lnTo>
                    <a:pt x="79" y="554"/>
                  </a:lnTo>
                  <a:lnTo>
                    <a:pt x="81" y="558"/>
                  </a:lnTo>
                  <a:lnTo>
                    <a:pt x="81" y="562"/>
                  </a:lnTo>
                  <a:lnTo>
                    <a:pt x="79" y="562"/>
                  </a:lnTo>
                  <a:lnTo>
                    <a:pt x="77" y="562"/>
                  </a:lnTo>
                  <a:lnTo>
                    <a:pt x="73" y="563"/>
                  </a:lnTo>
                  <a:lnTo>
                    <a:pt x="71" y="565"/>
                  </a:lnTo>
                  <a:lnTo>
                    <a:pt x="71" y="567"/>
                  </a:lnTo>
                  <a:lnTo>
                    <a:pt x="73" y="569"/>
                  </a:lnTo>
                  <a:lnTo>
                    <a:pt x="75" y="571"/>
                  </a:lnTo>
                  <a:lnTo>
                    <a:pt x="75" y="573"/>
                  </a:lnTo>
                  <a:lnTo>
                    <a:pt x="73" y="575"/>
                  </a:lnTo>
                  <a:lnTo>
                    <a:pt x="73" y="577"/>
                  </a:lnTo>
                  <a:lnTo>
                    <a:pt x="73" y="581"/>
                  </a:lnTo>
                  <a:lnTo>
                    <a:pt x="75" y="583"/>
                  </a:lnTo>
                  <a:lnTo>
                    <a:pt x="75" y="585"/>
                  </a:lnTo>
                  <a:lnTo>
                    <a:pt x="73" y="585"/>
                  </a:lnTo>
                  <a:lnTo>
                    <a:pt x="73" y="588"/>
                  </a:lnTo>
                  <a:lnTo>
                    <a:pt x="71" y="590"/>
                  </a:lnTo>
                  <a:lnTo>
                    <a:pt x="73" y="590"/>
                  </a:lnTo>
                  <a:lnTo>
                    <a:pt x="75" y="592"/>
                  </a:lnTo>
                  <a:lnTo>
                    <a:pt x="77" y="590"/>
                  </a:lnTo>
                  <a:lnTo>
                    <a:pt x="79" y="590"/>
                  </a:lnTo>
                  <a:lnTo>
                    <a:pt x="81" y="592"/>
                  </a:lnTo>
                  <a:lnTo>
                    <a:pt x="81" y="594"/>
                  </a:lnTo>
                  <a:lnTo>
                    <a:pt x="79" y="596"/>
                  </a:lnTo>
                  <a:lnTo>
                    <a:pt x="81" y="596"/>
                  </a:lnTo>
                  <a:lnTo>
                    <a:pt x="81" y="598"/>
                  </a:lnTo>
                  <a:lnTo>
                    <a:pt x="79" y="598"/>
                  </a:lnTo>
                  <a:lnTo>
                    <a:pt x="77" y="598"/>
                  </a:lnTo>
                  <a:lnTo>
                    <a:pt x="75" y="600"/>
                  </a:lnTo>
                  <a:lnTo>
                    <a:pt x="75" y="602"/>
                  </a:lnTo>
                  <a:lnTo>
                    <a:pt x="75" y="604"/>
                  </a:lnTo>
                  <a:lnTo>
                    <a:pt x="75" y="606"/>
                  </a:lnTo>
                  <a:lnTo>
                    <a:pt x="75" y="608"/>
                  </a:lnTo>
                  <a:lnTo>
                    <a:pt x="77" y="610"/>
                  </a:lnTo>
                  <a:lnTo>
                    <a:pt x="79" y="613"/>
                  </a:lnTo>
                  <a:lnTo>
                    <a:pt x="81" y="615"/>
                  </a:lnTo>
                  <a:lnTo>
                    <a:pt x="83" y="615"/>
                  </a:lnTo>
                  <a:lnTo>
                    <a:pt x="85" y="615"/>
                  </a:lnTo>
                  <a:lnTo>
                    <a:pt x="88" y="615"/>
                  </a:lnTo>
                  <a:lnTo>
                    <a:pt x="90" y="615"/>
                  </a:lnTo>
                  <a:lnTo>
                    <a:pt x="90" y="617"/>
                  </a:lnTo>
                  <a:lnTo>
                    <a:pt x="90" y="619"/>
                  </a:lnTo>
                  <a:lnTo>
                    <a:pt x="92" y="621"/>
                  </a:lnTo>
                  <a:lnTo>
                    <a:pt x="92" y="623"/>
                  </a:lnTo>
                  <a:lnTo>
                    <a:pt x="92" y="625"/>
                  </a:lnTo>
                  <a:lnTo>
                    <a:pt x="90" y="627"/>
                  </a:lnTo>
                  <a:lnTo>
                    <a:pt x="90" y="629"/>
                  </a:lnTo>
                  <a:lnTo>
                    <a:pt x="92" y="633"/>
                  </a:lnTo>
                  <a:lnTo>
                    <a:pt x="94" y="635"/>
                  </a:lnTo>
                  <a:lnTo>
                    <a:pt x="94" y="637"/>
                  </a:lnTo>
                  <a:lnTo>
                    <a:pt x="94" y="638"/>
                  </a:lnTo>
                  <a:lnTo>
                    <a:pt x="96" y="638"/>
                  </a:lnTo>
                  <a:lnTo>
                    <a:pt x="98" y="640"/>
                  </a:lnTo>
                  <a:lnTo>
                    <a:pt x="100" y="640"/>
                  </a:lnTo>
                  <a:lnTo>
                    <a:pt x="104" y="640"/>
                  </a:lnTo>
                  <a:lnTo>
                    <a:pt x="104" y="642"/>
                  </a:lnTo>
                  <a:lnTo>
                    <a:pt x="106" y="642"/>
                  </a:lnTo>
                  <a:lnTo>
                    <a:pt x="108" y="642"/>
                  </a:lnTo>
                  <a:lnTo>
                    <a:pt x="108" y="644"/>
                  </a:lnTo>
                  <a:lnTo>
                    <a:pt x="110" y="644"/>
                  </a:lnTo>
                  <a:lnTo>
                    <a:pt x="108" y="646"/>
                  </a:lnTo>
                  <a:lnTo>
                    <a:pt x="110" y="646"/>
                  </a:lnTo>
                  <a:lnTo>
                    <a:pt x="111" y="648"/>
                  </a:lnTo>
                  <a:lnTo>
                    <a:pt x="113" y="650"/>
                  </a:lnTo>
                  <a:lnTo>
                    <a:pt x="111" y="654"/>
                  </a:lnTo>
                  <a:lnTo>
                    <a:pt x="111" y="658"/>
                  </a:lnTo>
                  <a:lnTo>
                    <a:pt x="110" y="660"/>
                  </a:lnTo>
                  <a:lnTo>
                    <a:pt x="110" y="663"/>
                  </a:lnTo>
                  <a:lnTo>
                    <a:pt x="108" y="665"/>
                  </a:lnTo>
                  <a:lnTo>
                    <a:pt x="108" y="667"/>
                  </a:lnTo>
                  <a:lnTo>
                    <a:pt x="108" y="669"/>
                  </a:lnTo>
                  <a:lnTo>
                    <a:pt x="106" y="671"/>
                  </a:lnTo>
                  <a:lnTo>
                    <a:pt x="104" y="673"/>
                  </a:lnTo>
                  <a:lnTo>
                    <a:pt x="100" y="675"/>
                  </a:lnTo>
                  <a:lnTo>
                    <a:pt x="113" y="686"/>
                  </a:lnTo>
                  <a:lnTo>
                    <a:pt x="115" y="686"/>
                  </a:lnTo>
                  <a:lnTo>
                    <a:pt x="119" y="690"/>
                  </a:lnTo>
                  <a:lnTo>
                    <a:pt x="129" y="692"/>
                  </a:lnTo>
                  <a:lnTo>
                    <a:pt x="131" y="694"/>
                  </a:lnTo>
                  <a:lnTo>
                    <a:pt x="133" y="694"/>
                  </a:lnTo>
                  <a:lnTo>
                    <a:pt x="136" y="698"/>
                  </a:lnTo>
                  <a:lnTo>
                    <a:pt x="138" y="698"/>
                  </a:lnTo>
                  <a:lnTo>
                    <a:pt x="140" y="700"/>
                  </a:lnTo>
                  <a:lnTo>
                    <a:pt x="144" y="700"/>
                  </a:lnTo>
                  <a:lnTo>
                    <a:pt x="146" y="708"/>
                  </a:lnTo>
                  <a:lnTo>
                    <a:pt x="154" y="711"/>
                  </a:lnTo>
                  <a:lnTo>
                    <a:pt x="160" y="719"/>
                  </a:lnTo>
                  <a:lnTo>
                    <a:pt x="156" y="738"/>
                  </a:lnTo>
                  <a:lnTo>
                    <a:pt x="154" y="742"/>
                  </a:lnTo>
                  <a:lnTo>
                    <a:pt x="154" y="744"/>
                  </a:lnTo>
                  <a:lnTo>
                    <a:pt x="154" y="746"/>
                  </a:lnTo>
                  <a:lnTo>
                    <a:pt x="150" y="752"/>
                  </a:lnTo>
                  <a:lnTo>
                    <a:pt x="148" y="756"/>
                  </a:lnTo>
                  <a:lnTo>
                    <a:pt x="148" y="758"/>
                  </a:lnTo>
                  <a:lnTo>
                    <a:pt x="144" y="761"/>
                  </a:lnTo>
                  <a:lnTo>
                    <a:pt x="142" y="765"/>
                  </a:lnTo>
                  <a:lnTo>
                    <a:pt x="140" y="769"/>
                  </a:lnTo>
                  <a:lnTo>
                    <a:pt x="138" y="775"/>
                  </a:lnTo>
                  <a:lnTo>
                    <a:pt x="136" y="777"/>
                  </a:lnTo>
                  <a:lnTo>
                    <a:pt x="136" y="781"/>
                  </a:lnTo>
                  <a:lnTo>
                    <a:pt x="135" y="784"/>
                  </a:lnTo>
                  <a:lnTo>
                    <a:pt x="133" y="788"/>
                  </a:lnTo>
                  <a:lnTo>
                    <a:pt x="131" y="790"/>
                  </a:lnTo>
                  <a:lnTo>
                    <a:pt x="131" y="794"/>
                  </a:lnTo>
                  <a:lnTo>
                    <a:pt x="131" y="796"/>
                  </a:lnTo>
                  <a:lnTo>
                    <a:pt x="129" y="798"/>
                  </a:lnTo>
                  <a:lnTo>
                    <a:pt x="127" y="800"/>
                  </a:lnTo>
                  <a:lnTo>
                    <a:pt x="125" y="804"/>
                  </a:lnTo>
                  <a:lnTo>
                    <a:pt x="125" y="808"/>
                  </a:lnTo>
                  <a:lnTo>
                    <a:pt x="123" y="809"/>
                  </a:lnTo>
                  <a:lnTo>
                    <a:pt x="121" y="813"/>
                  </a:lnTo>
                  <a:lnTo>
                    <a:pt x="121" y="815"/>
                  </a:lnTo>
                  <a:lnTo>
                    <a:pt x="117" y="815"/>
                  </a:lnTo>
                  <a:lnTo>
                    <a:pt x="117" y="819"/>
                  </a:lnTo>
                  <a:lnTo>
                    <a:pt x="115" y="821"/>
                  </a:lnTo>
                  <a:lnTo>
                    <a:pt x="115" y="825"/>
                  </a:lnTo>
                  <a:lnTo>
                    <a:pt x="113" y="829"/>
                  </a:lnTo>
                  <a:lnTo>
                    <a:pt x="111" y="831"/>
                  </a:lnTo>
                  <a:lnTo>
                    <a:pt x="110" y="832"/>
                  </a:lnTo>
                  <a:lnTo>
                    <a:pt x="108" y="834"/>
                  </a:lnTo>
                  <a:lnTo>
                    <a:pt x="106" y="836"/>
                  </a:lnTo>
                  <a:lnTo>
                    <a:pt x="104" y="840"/>
                  </a:lnTo>
                  <a:lnTo>
                    <a:pt x="102" y="844"/>
                  </a:lnTo>
                  <a:lnTo>
                    <a:pt x="100" y="846"/>
                  </a:lnTo>
                  <a:lnTo>
                    <a:pt x="100" y="848"/>
                  </a:lnTo>
                  <a:lnTo>
                    <a:pt x="98" y="852"/>
                  </a:lnTo>
                  <a:lnTo>
                    <a:pt x="98" y="854"/>
                  </a:lnTo>
                  <a:lnTo>
                    <a:pt x="94" y="856"/>
                  </a:lnTo>
                  <a:lnTo>
                    <a:pt x="92" y="857"/>
                  </a:lnTo>
                  <a:lnTo>
                    <a:pt x="90" y="861"/>
                  </a:lnTo>
                  <a:lnTo>
                    <a:pt x="88" y="865"/>
                  </a:lnTo>
                  <a:lnTo>
                    <a:pt x="87" y="867"/>
                  </a:lnTo>
                  <a:lnTo>
                    <a:pt x="85" y="871"/>
                  </a:lnTo>
                  <a:lnTo>
                    <a:pt x="83" y="877"/>
                  </a:lnTo>
                  <a:lnTo>
                    <a:pt x="79" y="882"/>
                  </a:lnTo>
                  <a:lnTo>
                    <a:pt x="77" y="884"/>
                  </a:lnTo>
                  <a:lnTo>
                    <a:pt x="81" y="886"/>
                  </a:lnTo>
                  <a:lnTo>
                    <a:pt x="90" y="882"/>
                  </a:lnTo>
                  <a:lnTo>
                    <a:pt x="96" y="873"/>
                  </a:lnTo>
                  <a:lnTo>
                    <a:pt x="100" y="871"/>
                  </a:lnTo>
                  <a:lnTo>
                    <a:pt x="104" y="867"/>
                  </a:lnTo>
                  <a:lnTo>
                    <a:pt x="106" y="871"/>
                  </a:lnTo>
                  <a:lnTo>
                    <a:pt x="104" y="875"/>
                  </a:lnTo>
                  <a:lnTo>
                    <a:pt x="100" y="875"/>
                  </a:lnTo>
                  <a:lnTo>
                    <a:pt x="102" y="879"/>
                  </a:lnTo>
                  <a:lnTo>
                    <a:pt x="104" y="877"/>
                  </a:lnTo>
                  <a:lnTo>
                    <a:pt x="108" y="884"/>
                  </a:lnTo>
                  <a:lnTo>
                    <a:pt x="98" y="881"/>
                  </a:lnTo>
                  <a:lnTo>
                    <a:pt x="106" y="890"/>
                  </a:lnTo>
                  <a:lnTo>
                    <a:pt x="111" y="892"/>
                  </a:lnTo>
                  <a:lnTo>
                    <a:pt x="111" y="890"/>
                  </a:lnTo>
                  <a:lnTo>
                    <a:pt x="121" y="900"/>
                  </a:lnTo>
                  <a:lnTo>
                    <a:pt x="133" y="898"/>
                  </a:lnTo>
                  <a:lnTo>
                    <a:pt x="136" y="896"/>
                  </a:lnTo>
                  <a:lnTo>
                    <a:pt x="142" y="894"/>
                  </a:lnTo>
                  <a:lnTo>
                    <a:pt x="148" y="896"/>
                  </a:lnTo>
                  <a:lnTo>
                    <a:pt x="152" y="904"/>
                  </a:lnTo>
                  <a:lnTo>
                    <a:pt x="160" y="904"/>
                  </a:lnTo>
                  <a:lnTo>
                    <a:pt x="160" y="911"/>
                  </a:lnTo>
                  <a:lnTo>
                    <a:pt x="127" y="909"/>
                  </a:lnTo>
                  <a:lnTo>
                    <a:pt x="123" y="915"/>
                  </a:lnTo>
                  <a:lnTo>
                    <a:pt x="125" y="919"/>
                  </a:lnTo>
                  <a:lnTo>
                    <a:pt x="121" y="923"/>
                  </a:lnTo>
                  <a:lnTo>
                    <a:pt x="115" y="927"/>
                  </a:lnTo>
                  <a:lnTo>
                    <a:pt x="108" y="923"/>
                  </a:lnTo>
                  <a:lnTo>
                    <a:pt x="106" y="927"/>
                  </a:lnTo>
                  <a:lnTo>
                    <a:pt x="108" y="936"/>
                  </a:lnTo>
                  <a:lnTo>
                    <a:pt x="102" y="936"/>
                  </a:lnTo>
                  <a:lnTo>
                    <a:pt x="100" y="930"/>
                  </a:lnTo>
                  <a:lnTo>
                    <a:pt x="96" y="930"/>
                  </a:lnTo>
                  <a:lnTo>
                    <a:pt x="94" y="936"/>
                  </a:lnTo>
                  <a:lnTo>
                    <a:pt x="98" y="942"/>
                  </a:lnTo>
                  <a:lnTo>
                    <a:pt x="98" y="950"/>
                  </a:lnTo>
                  <a:lnTo>
                    <a:pt x="102" y="959"/>
                  </a:lnTo>
                  <a:lnTo>
                    <a:pt x="96" y="963"/>
                  </a:lnTo>
                  <a:lnTo>
                    <a:pt x="94" y="980"/>
                  </a:lnTo>
                  <a:lnTo>
                    <a:pt x="104" y="1013"/>
                  </a:lnTo>
                  <a:lnTo>
                    <a:pt x="98" y="1023"/>
                  </a:lnTo>
                  <a:lnTo>
                    <a:pt x="100" y="1025"/>
                  </a:lnTo>
                  <a:lnTo>
                    <a:pt x="96" y="1025"/>
                  </a:lnTo>
                  <a:lnTo>
                    <a:pt x="96" y="1030"/>
                  </a:lnTo>
                  <a:lnTo>
                    <a:pt x="100" y="1030"/>
                  </a:lnTo>
                  <a:lnTo>
                    <a:pt x="100" y="1036"/>
                  </a:lnTo>
                  <a:lnTo>
                    <a:pt x="106" y="1030"/>
                  </a:lnTo>
                  <a:lnTo>
                    <a:pt x="111" y="1030"/>
                  </a:lnTo>
                  <a:lnTo>
                    <a:pt x="119" y="1040"/>
                  </a:lnTo>
                  <a:lnTo>
                    <a:pt x="121" y="1046"/>
                  </a:lnTo>
                  <a:lnTo>
                    <a:pt x="121" y="1050"/>
                  </a:lnTo>
                  <a:lnTo>
                    <a:pt x="115" y="1052"/>
                  </a:lnTo>
                  <a:lnTo>
                    <a:pt x="111" y="1048"/>
                  </a:lnTo>
                  <a:lnTo>
                    <a:pt x="111" y="1046"/>
                  </a:lnTo>
                  <a:lnTo>
                    <a:pt x="108" y="1042"/>
                  </a:lnTo>
                  <a:lnTo>
                    <a:pt x="104" y="1044"/>
                  </a:lnTo>
                  <a:lnTo>
                    <a:pt x="106" y="1048"/>
                  </a:lnTo>
                  <a:lnTo>
                    <a:pt x="111" y="1052"/>
                  </a:lnTo>
                  <a:lnTo>
                    <a:pt x="102" y="1055"/>
                  </a:lnTo>
                  <a:lnTo>
                    <a:pt x="104" y="1061"/>
                  </a:lnTo>
                  <a:lnTo>
                    <a:pt x="100" y="1065"/>
                  </a:lnTo>
                  <a:lnTo>
                    <a:pt x="98" y="1071"/>
                  </a:lnTo>
                  <a:lnTo>
                    <a:pt x="100" y="1075"/>
                  </a:lnTo>
                  <a:lnTo>
                    <a:pt x="106" y="1073"/>
                  </a:lnTo>
                  <a:lnTo>
                    <a:pt x="106" y="1080"/>
                  </a:lnTo>
                  <a:lnTo>
                    <a:pt x="119" y="1086"/>
                  </a:lnTo>
                  <a:lnTo>
                    <a:pt x="119" y="1096"/>
                  </a:lnTo>
                  <a:lnTo>
                    <a:pt x="115" y="1100"/>
                  </a:lnTo>
                  <a:lnTo>
                    <a:pt x="119" y="1102"/>
                  </a:lnTo>
                  <a:lnTo>
                    <a:pt x="117" y="1117"/>
                  </a:lnTo>
                  <a:lnTo>
                    <a:pt x="123" y="1113"/>
                  </a:lnTo>
                  <a:lnTo>
                    <a:pt x="127" y="1115"/>
                  </a:lnTo>
                  <a:lnTo>
                    <a:pt x="127" y="1121"/>
                  </a:lnTo>
                  <a:lnTo>
                    <a:pt x="131" y="1125"/>
                  </a:lnTo>
                  <a:lnTo>
                    <a:pt x="133" y="1128"/>
                  </a:lnTo>
                  <a:lnTo>
                    <a:pt x="138" y="1132"/>
                  </a:lnTo>
                  <a:lnTo>
                    <a:pt x="136" y="1134"/>
                  </a:lnTo>
                  <a:lnTo>
                    <a:pt x="144" y="1150"/>
                  </a:lnTo>
                  <a:lnTo>
                    <a:pt x="142" y="1157"/>
                  </a:lnTo>
                  <a:lnTo>
                    <a:pt x="150" y="1163"/>
                  </a:lnTo>
                  <a:lnTo>
                    <a:pt x="152" y="1159"/>
                  </a:lnTo>
                  <a:lnTo>
                    <a:pt x="160" y="1157"/>
                  </a:lnTo>
                  <a:lnTo>
                    <a:pt x="165" y="1165"/>
                  </a:lnTo>
                  <a:lnTo>
                    <a:pt x="169" y="1165"/>
                  </a:lnTo>
                  <a:lnTo>
                    <a:pt x="175" y="1157"/>
                  </a:lnTo>
                  <a:lnTo>
                    <a:pt x="188" y="1161"/>
                  </a:lnTo>
                  <a:lnTo>
                    <a:pt x="190" y="1163"/>
                  </a:lnTo>
                  <a:lnTo>
                    <a:pt x="188" y="1171"/>
                  </a:lnTo>
                  <a:lnTo>
                    <a:pt x="194" y="1176"/>
                  </a:lnTo>
                  <a:lnTo>
                    <a:pt x="200" y="1169"/>
                  </a:lnTo>
                  <a:lnTo>
                    <a:pt x="204" y="1169"/>
                  </a:lnTo>
                  <a:lnTo>
                    <a:pt x="208" y="1163"/>
                  </a:lnTo>
                  <a:lnTo>
                    <a:pt x="211" y="1163"/>
                  </a:lnTo>
                  <a:lnTo>
                    <a:pt x="217" y="1161"/>
                  </a:lnTo>
                  <a:lnTo>
                    <a:pt x="227" y="1163"/>
                  </a:lnTo>
                  <a:lnTo>
                    <a:pt x="238" y="1173"/>
                  </a:lnTo>
                  <a:lnTo>
                    <a:pt x="244" y="1171"/>
                  </a:lnTo>
                  <a:lnTo>
                    <a:pt x="248" y="1184"/>
                  </a:lnTo>
                  <a:lnTo>
                    <a:pt x="244" y="1192"/>
                  </a:lnTo>
                  <a:lnTo>
                    <a:pt x="254" y="1200"/>
                  </a:lnTo>
                  <a:lnTo>
                    <a:pt x="256" y="1205"/>
                  </a:lnTo>
                  <a:lnTo>
                    <a:pt x="252" y="1207"/>
                  </a:lnTo>
                  <a:lnTo>
                    <a:pt x="254" y="1211"/>
                  </a:lnTo>
                  <a:lnTo>
                    <a:pt x="250" y="1213"/>
                  </a:lnTo>
                  <a:lnTo>
                    <a:pt x="250" y="1223"/>
                  </a:lnTo>
                  <a:lnTo>
                    <a:pt x="259" y="1226"/>
                  </a:lnTo>
                  <a:lnTo>
                    <a:pt x="261" y="1230"/>
                  </a:lnTo>
                  <a:lnTo>
                    <a:pt x="267" y="1230"/>
                  </a:lnTo>
                  <a:lnTo>
                    <a:pt x="265" y="1240"/>
                  </a:lnTo>
                  <a:lnTo>
                    <a:pt x="271" y="1242"/>
                  </a:lnTo>
                  <a:lnTo>
                    <a:pt x="279" y="1253"/>
                  </a:lnTo>
                  <a:lnTo>
                    <a:pt x="296" y="1259"/>
                  </a:lnTo>
                  <a:lnTo>
                    <a:pt x="300" y="1265"/>
                  </a:lnTo>
                  <a:lnTo>
                    <a:pt x="300" y="1278"/>
                  </a:lnTo>
                  <a:lnTo>
                    <a:pt x="306" y="1278"/>
                  </a:lnTo>
                  <a:lnTo>
                    <a:pt x="311" y="1273"/>
                  </a:lnTo>
                  <a:lnTo>
                    <a:pt x="325" y="1276"/>
                  </a:lnTo>
                  <a:lnTo>
                    <a:pt x="329" y="1278"/>
                  </a:lnTo>
                  <a:lnTo>
                    <a:pt x="325" y="1282"/>
                  </a:lnTo>
                  <a:lnTo>
                    <a:pt x="327" y="1286"/>
                  </a:lnTo>
                  <a:lnTo>
                    <a:pt x="340" y="1292"/>
                  </a:lnTo>
                  <a:lnTo>
                    <a:pt x="342" y="1298"/>
                  </a:lnTo>
                  <a:lnTo>
                    <a:pt x="332" y="1303"/>
                  </a:lnTo>
                  <a:lnTo>
                    <a:pt x="332" y="1309"/>
                  </a:lnTo>
                  <a:lnTo>
                    <a:pt x="327" y="1317"/>
                  </a:lnTo>
                  <a:lnTo>
                    <a:pt x="317" y="1321"/>
                  </a:lnTo>
                  <a:lnTo>
                    <a:pt x="311" y="1321"/>
                  </a:lnTo>
                  <a:lnTo>
                    <a:pt x="309" y="1317"/>
                  </a:lnTo>
                  <a:lnTo>
                    <a:pt x="304" y="1315"/>
                  </a:lnTo>
                  <a:lnTo>
                    <a:pt x="296" y="1319"/>
                  </a:lnTo>
                  <a:lnTo>
                    <a:pt x="296" y="1324"/>
                  </a:lnTo>
                  <a:lnTo>
                    <a:pt x="294" y="1330"/>
                  </a:lnTo>
                  <a:lnTo>
                    <a:pt x="308" y="1342"/>
                  </a:lnTo>
                  <a:lnTo>
                    <a:pt x="309" y="1346"/>
                  </a:lnTo>
                  <a:lnTo>
                    <a:pt x="308" y="1349"/>
                  </a:lnTo>
                  <a:lnTo>
                    <a:pt x="315" y="1357"/>
                  </a:lnTo>
                  <a:lnTo>
                    <a:pt x="311" y="1361"/>
                  </a:lnTo>
                  <a:lnTo>
                    <a:pt x="317" y="1369"/>
                  </a:lnTo>
                  <a:lnTo>
                    <a:pt x="315" y="1372"/>
                  </a:lnTo>
                  <a:lnTo>
                    <a:pt x="321" y="1374"/>
                  </a:lnTo>
                  <a:lnTo>
                    <a:pt x="327" y="1384"/>
                  </a:lnTo>
                  <a:lnTo>
                    <a:pt x="331" y="1384"/>
                  </a:lnTo>
                  <a:lnTo>
                    <a:pt x="332" y="1388"/>
                  </a:lnTo>
                  <a:lnTo>
                    <a:pt x="342" y="1382"/>
                  </a:lnTo>
                  <a:lnTo>
                    <a:pt x="346" y="1376"/>
                  </a:lnTo>
                  <a:lnTo>
                    <a:pt x="344" y="1365"/>
                  </a:lnTo>
                  <a:lnTo>
                    <a:pt x="365" y="1365"/>
                  </a:lnTo>
                  <a:lnTo>
                    <a:pt x="373" y="1355"/>
                  </a:lnTo>
                  <a:lnTo>
                    <a:pt x="382" y="1353"/>
                  </a:lnTo>
                  <a:lnTo>
                    <a:pt x="384" y="1351"/>
                  </a:lnTo>
                  <a:lnTo>
                    <a:pt x="386" y="1357"/>
                  </a:lnTo>
                  <a:lnTo>
                    <a:pt x="392" y="1351"/>
                  </a:lnTo>
                  <a:lnTo>
                    <a:pt x="396" y="1349"/>
                  </a:lnTo>
                  <a:lnTo>
                    <a:pt x="409" y="1359"/>
                  </a:lnTo>
                  <a:lnTo>
                    <a:pt x="413" y="1372"/>
                  </a:lnTo>
                  <a:lnTo>
                    <a:pt x="425" y="1376"/>
                  </a:lnTo>
                  <a:lnTo>
                    <a:pt x="429" y="1382"/>
                  </a:lnTo>
                  <a:lnTo>
                    <a:pt x="417" y="1390"/>
                  </a:lnTo>
                  <a:lnTo>
                    <a:pt x="425" y="1397"/>
                  </a:lnTo>
                  <a:lnTo>
                    <a:pt x="427" y="1405"/>
                  </a:lnTo>
                  <a:lnTo>
                    <a:pt x="430" y="1407"/>
                  </a:lnTo>
                  <a:lnTo>
                    <a:pt x="429" y="1415"/>
                  </a:lnTo>
                  <a:lnTo>
                    <a:pt x="444" y="1411"/>
                  </a:lnTo>
                  <a:lnTo>
                    <a:pt x="450" y="1415"/>
                  </a:lnTo>
                  <a:lnTo>
                    <a:pt x="459" y="1409"/>
                  </a:lnTo>
                  <a:lnTo>
                    <a:pt x="463" y="1409"/>
                  </a:lnTo>
                  <a:lnTo>
                    <a:pt x="469" y="1419"/>
                  </a:lnTo>
                  <a:lnTo>
                    <a:pt x="477" y="1417"/>
                  </a:lnTo>
                  <a:lnTo>
                    <a:pt x="475" y="1422"/>
                  </a:lnTo>
                  <a:lnTo>
                    <a:pt x="486" y="1438"/>
                  </a:lnTo>
                  <a:lnTo>
                    <a:pt x="484" y="1442"/>
                  </a:lnTo>
                  <a:lnTo>
                    <a:pt x="488" y="1449"/>
                  </a:lnTo>
                  <a:lnTo>
                    <a:pt x="500" y="1457"/>
                  </a:lnTo>
                  <a:lnTo>
                    <a:pt x="504" y="1449"/>
                  </a:lnTo>
                  <a:lnTo>
                    <a:pt x="509" y="1447"/>
                  </a:lnTo>
                  <a:lnTo>
                    <a:pt x="517" y="1447"/>
                  </a:lnTo>
                  <a:lnTo>
                    <a:pt x="525" y="1453"/>
                  </a:lnTo>
                  <a:lnTo>
                    <a:pt x="527" y="1449"/>
                  </a:lnTo>
                  <a:lnTo>
                    <a:pt x="534" y="1451"/>
                  </a:lnTo>
                  <a:lnTo>
                    <a:pt x="536" y="1455"/>
                  </a:lnTo>
                  <a:lnTo>
                    <a:pt x="542" y="1447"/>
                  </a:lnTo>
                  <a:lnTo>
                    <a:pt x="565" y="1430"/>
                  </a:lnTo>
                  <a:lnTo>
                    <a:pt x="567" y="1436"/>
                  </a:lnTo>
                  <a:lnTo>
                    <a:pt x="573" y="1438"/>
                  </a:lnTo>
                  <a:lnTo>
                    <a:pt x="575" y="1444"/>
                  </a:lnTo>
                  <a:lnTo>
                    <a:pt x="580" y="1449"/>
                  </a:lnTo>
                  <a:lnTo>
                    <a:pt x="590" y="1451"/>
                  </a:lnTo>
                  <a:lnTo>
                    <a:pt x="596" y="1457"/>
                  </a:lnTo>
                  <a:lnTo>
                    <a:pt x="602" y="1453"/>
                  </a:lnTo>
                  <a:lnTo>
                    <a:pt x="598" y="1445"/>
                  </a:lnTo>
                  <a:lnTo>
                    <a:pt x="603" y="1444"/>
                  </a:lnTo>
                  <a:lnTo>
                    <a:pt x="607" y="1447"/>
                  </a:lnTo>
                  <a:lnTo>
                    <a:pt x="613" y="1449"/>
                  </a:lnTo>
                  <a:lnTo>
                    <a:pt x="619" y="1445"/>
                  </a:lnTo>
                  <a:lnTo>
                    <a:pt x="621" y="1447"/>
                  </a:lnTo>
                  <a:lnTo>
                    <a:pt x="632" y="1451"/>
                  </a:lnTo>
                  <a:lnTo>
                    <a:pt x="640" y="1445"/>
                  </a:lnTo>
                  <a:lnTo>
                    <a:pt x="646" y="1451"/>
                  </a:lnTo>
                  <a:lnTo>
                    <a:pt x="657" y="1449"/>
                  </a:lnTo>
                  <a:lnTo>
                    <a:pt x="663" y="1455"/>
                  </a:lnTo>
                  <a:lnTo>
                    <a:pt x="669" y="1457"/>
                  </a:lnTo>
                  <a:lnTo>
                    <a:pt x="676" y="1451"/>
                  </a:lnTo>
                  <a:lnTo>
                    <a:pt x="680" y="1449"/>
                  </a:lnTo>
                  <a:lnTo>
                    <a:pt x="680" y="1459"/>
                  </a:lnTo>
                  <a:lnTo>
                    <a:pt x="688" y="1465"/>
                  </a:lnTo>
                  <a:lnTo>
                    <a:pt x="690" y="1470"/>
                  </a:lnTo>
                  <a:lnTo>
                    <a:pt x="684" y="1480"/>
                  </a:lnTo>
                  <a:lnTo>
                    <a:pt x="686" y="1486"/>
                  </a:lnTo>
                  <a:lnTo>
                    <a:pt x="676" y="1490"/>
                  </a:lnTo>
                  <a:lnTo>
                    <a:pt x="678" y="1493"/>
                  </a:lnTo>
                  <a:lnTo>
                    <a:pt x="682" y="1497"/>
                  </a:lnTo>
                  <a:lnTo>
                    <a:pt x="690" y="1497"/>
                  </a:lnTo>
                  <a:lnTo>
                    <a:pt x="692" y="1493"/>
                  </a:lnTo>
                  <a:lnTo>
                    <a:pt x="694" y="1497"/>
                  </a:lnTo>
                  <a:lnTo>
                    <a:pt x="692" y="1501"/>
                  </a:lnTo>
                  <a:lnTo>
                    <a:pt x="686" y="1501"/>
                  </a:lnTo>
                  <a:lnTo>
                    <a:pt x="684" y="1507"/>
                  </a:lnTo>
                  <a:lnTo>
                    <a:pt x="684" y="1518"/>
                  </a:lnTo>
                  <a:lnTo>
                    <a:pt x="692" y="1517"/>
                  </a:lnTo>
                  <a:lnTo>
                    <a:pt x="700" y="1528"/>
                  </a:lnTo>
                  <a:lnTo>
                    <a:pt x="698" y="1532"/>
                  </a:lnTo>
                  <a:lnTo>
                    <a:pt x="705" y="1532"/>
                  </a:lnTo>
                  <a:lnTo>
                    <a:pt x="701" y="1545"/>
                  </a:lnTo>
                  <a:lnTo>
                    <a:pt x="703" y="1549"/>
                  </a:lnTo>
                  <a:lnTo>
                    <a:pt x="701" y="1551"/>
                  </a:lnTo>
                  <a:lnTo>
                    <a:pt x="705" y="1561"/>
                  </a:lnTo>
                  <a:lnTo>
                    <a:pt x="703" y="1565"/>
                  </a:lnTo>
                  <a:lnTo>
                    <a:pt x="676" y="1570"/>
                  </a:lnTo>
                  <a:lnTo>
                    <a:pt x="669" y="1574"/>
                  </a:lnTo>
                  <a:lnTo>
                    <a:pt x="669" y="1586"/>
                  </a:lnTo>
                  <a:lnTo>
                    <a:pt x="653" y="1595"/>
                  </a:lnTo>
                  <a:lnTo>
                    <a:pt x="655" y="1615"/>
                  </a:lnTo>
                  <a:lnTo>
                    <a:pt x="659" y="1616"/>
                  </a:lnTo>
                  <a:lnTo>
                    <a:pt x="657" y="1622"/>
                  </a:lnTo>
                  <a:lnTo>
                    <a:pt x="659" y="1628"/>
                  </a:lnTo>
                  <a:lnTo>
                    <a:pt x="686" y="1615"/>
                  </a:lnTo>
                  <a:lnTo>
                    <a:pt x="684" y="1609"/>
                  </a:lnTo>
                  <a:lnTo>
                    <a:pt x="698" y="1605"/>
                  </a:lnTo>
                  <a:lnTo>
                    <a:pt x="703" y="1620"/>
                  </a:lnTo>
                  <a:lnTo>
                    <a:pt x="694" y="1622"/>
                  </a:lnTo>
                  <a:lnTo>
                    <a:pt x="682" y="1638"/>
                  </a:lnTo>
                  <a:lnTo>
                    <a:pt x="675" y="1640"/>
                  </a:lnTo>
                  <a:lnTo>
                    <a:pt x="673" y="1649"/>
                  </a:lnTo>
                  <a:lnTo>
                    <a:pt x="675" y="1651"/>
                  </a:lnTo>
                  <a:lnTo>
                    <a:pt x="680" y="1647"/>
                  </a:lnTo>
                  <a:lnTo>
                    <a:pt x="682" y="1651"/>
                  </a:lnTo>
                  <a:lnTo>
                    <a:pt x="675" y="1655"/>
                  </a:lnTo>
                  <a:lnTo>
                    <a:pt x="669" y="1651"/>
                  </a:lnTo>
                  <a:lnTo>
                    <a:pt x="661" y="1661"/>
                  </a:lnTo>
                  <a:lnTo>
                    <a:pt x="650" y="1661"/>
                  </a:lnTo>
                  <a:lnTo>
                    <a:pt x="661" y="1676"/>
                  </a:lnTo>
                  <a:lnTo>
                    <a:pt x="665" y="1678"/>
                  </a:lnTo>
                  <a:lnTo>
                    <a:pt x="669" y="1674"/>
                  </a:lnTo>
                  <a:lnTo>
                    <a:pt x="680" y="1682"/>
                  </a:lnTo>
                  <a:lnTo>
                    <a:pt x="694" y="1686"/>
                  </a:lnTo>
                  <a:lnTo>
                    <a:pt x="694" y="1691"/>
                  </a:lnTo>
                  <a:lnTo>
                    <a:pt x="690" y="1691"/>
                  </a:lnTo>
                  <a:lnTo>
                    <a:pt x="680" y="1688"/>
                  </a:lnTo>
                  <a:lnTo>
                    <a:pt x="678" y="1689"/>
                  </a:lnTo>
                  <a:lnTo>
                    <a:pt x="678" y="1711"/>
                  </a:lnTo>
                  <a:lnTo>
                    <a:pt x="676" y="1711"/>
                  </a:lnTo>
                  <a:lnTo>
                    <a:pt x="675" y="1695"/>
                  </a:lnTo>
                  <a:lnTo>
                    <a:pt x="671" y="1697"/>
                  </a:lnTo>
                  <a:lnTo>
                    <a:pt x="671" y="1716"/>
                  </a:lnTo>
                  <a:lnTo>
                    <a:pt x="663" y="1726"/>
                  </a:lnTo>
                  <a:lnTo>
                    <a:pt x="667" y="1741"/>
                  </a:lnTo>
                  <a:lnTo>
                    <a:pt x="669" y="1732"/>
                  </a:lnTo>
                  <a:lnTo>
                    <a:pt x="673" y="1745"/>
                  </a:lnTo>
                  <a:lnTo>
                    <a:pt x="665" y="1747"/>
                  </a:lnTo>
                  <a:lnTo>
                    <a:pt x="665" y="1745"/>
                  </a:lnTo>
                  <a:lnTo>
                    <a:pt x="661" y="1751"/>
                  </a:lnTo>
                  <a:lnTo>
                    <a:pt x="651" y="1753"/>
                  </a:lnTo>
                  <a:lnTo>
                    <a:pt x="659" y="1753"/>
                  </a:lnTo>
                  <a:lnTo>
                    <a:pt x="651" y="1759"/>
                  </a:lnTo>
                  <a:lnTo>
                    <a:pt x="650" y="1759"/>
                  </a:lnTo>
                  <a:lnTo>
                    <a:pt x="650" y="1753"/>
                  </a:lnTo>
                  <a:lnTo>
                    <a:pt x="636" y="1749"/>
                  </a:lnTo>
                  <a:lnTo>
                    <a:pt x="632" y="1759"/>
                  </a:lnTo>
                  <a:lnTo>
                    <a:pt x="634" y="1755"/>
                  </a:lnTo>
                  <a:lnTo>
                    <a:pt x="636" y="1759"/>
                  </a:lnTo>
                  <a:lnTo>
                    <a:pt x="644" y="1757"/>
                  </a:lnTo>
                  <a:lnTo>
                    <a:pt x="640" y="1763"/>
                  </a:lnTo>
                  <a:lnTo>
                    <a:pt x="630" y="1766"/>
                  </a:lnTo>
                  <a:lnTo>
                    <a:pt x="632" y="1772"/>
                  </a:lnTo>
                  <a:lnTo>
                    <a:pt x="642" y="1770"/>
                  </a:lnTo>
                  <a:lnTo>
                    <a:pt x="659" y="1774"/>
                  </a:lnTo>
                  <a:lnTo>
                    <a:pt x="676" y="1787"/>
                  </a:lnTo>
                  <a:lnTo>
                    <a:pt x="690" y="1787"/>
                  </a:lnTo>
                  <a:lnTo>
                    <a:pt x="692" y="1786"/>
                  </a:lnTo>
                  <a:lnTo>
                    <a:pt x="688" y="1782"/>
                  </a:lnTo>
                  <a:lnTo>
                    <a:pt x="701" y="1789"/>
                  </a:lnTo>
                  <a:lnTo>
                    <a:pt x="703" y="1789"/>
                  </a:lnTo>
                  <a:lnTo>
                    <a:pt x="711" y="1797"/>
                  </a:lnTo>
                  <a:lnTo>
                    <a:pt x="738" y="1797"/>
                  </a:lnTo>
                  <a:lnTo>
                    <a:pt x="809" y="1834"/>
                  </a:lnTo>
                  <a:lnTo>
                    <a:pt x="809" y="1820"/>
                  </a:lnTo>
                  <a:lnTo>
                    <a:pt x="815" y="1818"/>
                  </a:lnTo>
                  <a:lnTo>
                    <a:pt x="828" y="1818"/>
                  </a:lnTo>
                  <a:lnTo>
                    <a:pt x="834" y="1814"/>
                  </a:lnTo>
                  <a:lnTo>
                    <a:pt x="853" y="1818"/>
                  </a:lnTo>
                  <a:lnTo>
                    <a:pt x="869" y="1814"/>
                  </a:lnTo>
                  <a:lnTo>
                    <a:pt x="878" y="1820"/>
                  </a:lnTo>
                  <a:lnTo>
                    <a:pt x="901" y="1812"/>
                  </a:lnTo>
                  <a:lnTo>
                    <a:pt x="911" y="1807"/>
                  </a:lnTo>
                  <a:lnTo>
                    <a:pt x="924" y="1809"/>
                  </a:lnTo>
                  <a:lnTo>
                    <a:pt x="926" y="1805"/>
                  </a:lnTo>
                  <a:lnTo>
                    <a:pt x="932" y="1803"/>
                  </a:lnTo>
                  <a:lnTo>
                    <a:pt x="942" y="1805"/>
                  </a:lnTo>
                  <a:lnTo>
                    <a:pt x="942" y="1807"/>
                  </a:lnTo>
                  <a:lnTo>
                    <a:pt x="949" y="1811"/>
                  </a:lnTo>
                  <a:lnTo>
                    <a:pt x="961" y="1811"/>
                  </a:lnTo>
                  <a:lnTo>
                    <a:pt x="984" y="1812"/>
                  </a:lnTo>
                  <a:lnTo>
                    <a:pt x="982" y="1820"/>
                  </a:lnTo>
                  <a:lnTo>
                    <a:pt x="994" y="1822"/>
                  </a:lnTo>
                  <a:lnTo>
                    <a:pt x="995" y="1816"/>
                  </a:lnTo>
                  <a:lnTo>
                    <a:pt x="1001" y="1814"/>
                  </a:lnTo>
                  <a:lnTo>
                    <a:pt x="1003" y="1807"/>
                  </a:lnTo>
                  <a:lnTo>
                    <a:pt x="1017" y="1799"/>
                  </a:lnTo>
                  <a:lnTo>
                    <a:pt x="1022" y="1801"/>
                  </a:lnTo>
                  <a:lnTo>
                    <a:pt x="1026" y="1805"/>
                  </a:lnTo>
                  <a:lnTo>
                    <a:pt x="1026" y="1795"/>
                  </a:lnTo>
                  <a:lnTo>
                    <a:pt x="1028" y="1793"/>
                  </a:lnTo>
                  <a:lnTo>
                    <a:pt x="1036" y="1795"/>
                  </a:lnTo>
                  <a:lnTo>
                    <a:pt x="1040" y="1793"/>
                  </a:lnTo>
                  <a:lnTo>
                    <a:pt x="1051" y="1799"/>
                  </a:lnTo>
                  <a:lnTo>
                    <a:pt x="1059" y="1795"/>
                  </a:lnTo>
                  <a:lnTo>
                    <a:pt x="1070" y="1795"/>
                  </a:lnTo>
                  <a:lnTo>
                    <a:pt x="1072" y="1814"/>
                  </a:lnTo>
                  <a:lnTo>
                    <a:pt x="1086" y="1814"/>
                  </a:lnTo>
                  <a:lnTo>
                    <a:pt x="1090" y="1820"/>
                  </a:lnTo>
                  <a:lnTo>
                    <a:pt x="1103" y="1816"/>
                  </a:lnTo>
                  <a:lnTo>
                    <a:pt x="1115" y="1818"/>
                  </a:lnTo>
                  <a:lnTo>
                    <a:pt x="1118" y="1816"/>
                  </a:lnTo>
                  <a:lnTo>
                    <a:pt x="1122" y="1822"/>
                  </a:lnTo>
                  <a:lnTo>
                    <a:pt x="1128" y="1814"/>
                  </a:lnTo>
                  <a:lnTo>
                    <a:pt x="1130" y="1818"/>
                  </a:lnTo>
                  <a:lnTo>
                    <a:pt x="1138" y="1820"/>
                  </a:lnTo>
                  <a:lnTo>
                    <a:pt x="1147" y="1828"/>
                  </a:lnTo>
                  <a:lnTo>
                    <a:pt x="1153" y="1824"/>
                  </a:lnTo>
                  <a:lnTo>
                    <a:pt x="1165" y="1837"/>
                  </a:lnTo>
                  <a:lnTo>
                    <a:pt x="1178" y="1837"/>
                  </a:lnTo>
                  <a:lnTo>
                    <a:pt x="1182" y="1836"/>
                  </a:lnTo>
                  <a:lnTo>
                    <a:pt x="1188" y="1836"/>
                  </a:lnTo>
                  <a:lnTo>
                    <a:pt x="1193" y="1830"/>
                  </a:lnTo>
                  <a:lnTo>
                    <a:pt x="1191" y="1826"/>
                  </a:lnTo>
                  <a:lnTo>
                    <a:pt x="1193" y="1820"/>
                  </a:lnTo>
                  <a:lnTo>
                    <a:pt x="1193" y="1812"/>
                  </a:lnTo>
                  <a:lnTo>
                    <a:pt x="1203" y="1799"/>
                  </a:lnTo>
                  <a:lnTo>
                    <a:pt x="1203" y="1782"/>
                  </a:lnTo>
                  <a:lnTo>
                    <a:pt x="1193" y="1780"/>
                  </a:lnTo>
                  <a:lnTo>
                    <a:pt x="1186" y="1772"/>
                  </a:lnTo>
                  <a:lnTo>
                    <a:pt x="1165" y="1759"/>
                  </a:lnTo>
                  <a:lnTo>
                    <a:pt x="1153" y="1751"/>
                  </a:lnTo>
                  <a:lnTo>
                    <a:pt x="1147" y="1751"/>
                  </a:lnTo>
                  <a:lnTo>
                    <a:pt x="1140" y="1738"/>
                  </a:lnTo>
                  <a:lnTo>
                    <a:pt x="1126" y="1734"/>
                  </a:lnTo>
                  <a:lnTo>
                    <a:pt x="1122" y="1722"/>
                  </a:lnTo>
                  <a:lnTo>
                    <a:pt x="1124" y="1714"/>
                  </a:lnTo>
                  <a:lnTo>
                    <a:pt x="1122" y="1713"/>
                  </a:lnTo>
                  <a:lnTo>
                    <a:pt x="1120" y="1716"/>
                  </a:lnTo>
                  <a:lnTo>
                    <a:pt x="1115" y="1707"/>
                  </a:lnTo>
                  <a:lnTo>
                    <a:pt x="1113" y="1678"/>
                  </a:lnTo>
                  <a:lnTo>
                    <a:pt x="1109" y="1678"/>
                  </a:lnTo>
                  <a:lnTo>
                    <a:pt x="1107" y="1682"/>
                  </a:lnTo>
                  <a:lnTo>
                    <a:pt x="1113" y="1705"/>
                  </a:lnTo>
                  <a:lnTo>
                    <a:pt x="1107" y="1701"/>
                  </a:lnTo>
                  <a:lnTo>
                    <a:pt x="1107" y="1697"/>
                  </a:lnTo>
                  <a:lnTo>
                    <a:pt x="1107" y="1686"/>
                  </a:lnTo>
                  <a:lnTo>
                    <a:pt x="1103" y="1686"/>
                  </a:lnTo>
                  <a:lnTo>
                    <a:pt x="1103" y="1684"/>
                  </a:lnTo>
                  <a:lnTo>
                    <a:pt x="1086" y="1666"/>
                  </a:lnTo>
                  <a:lnTo>
                    <a:pt x="1082" y="1668"/>
                  </a:lnTo>
                  <a:lnTo>
                    <a:pt x="1072" y="1661"/>
                  </a:lnTo>
                  <a:lnTo>
                    <a:pt x="1061" y="1665"/>
                  </a:lnTo>
                  <a:lnTo>
                    <a:pt x="1057" y="1663"/>
                  </a:lnTo>
                  <a:lnTo>
                    <a:pt x="1053" y="1649"/>
                  </a:lnTo>
                  <a:lnTo>
                    <a:pt x="1057" y="1641"/>
                  </a:lnTo>
                  <a:lnTo>
                    <a:pt x="1061" y="1634"/>
                  </a:lnTo>
                  <a:lnTo>
                    <a:pt x="1063" y="1636"/>
                  </a:lnTo>
                  <a:lnTo>
                    <a:pt x="1061" y="1607"/>
                  </a:lnTo>
                  <a:lnTo>
                    <a:pt x="1065" y="1607"/>
                  </a:lnTo>
                  <a:lnTo>
                    <a:pt x="1063" y="1599"/>
                  </a:lnTo>
                  <a:lnTo>
                    <a:pt x="1063" y="1584"/>
                  </a:lnTo>
                  <a:lnTo>
                    <a:pt x="1059" y="1582"/>
                  </a:lnTo>
                  <a:lnTo>
                    <a:pt x="1067" y="1578"/>
                  </a:lnTo>
                  <a:lnTo>
                    <a:pt x="1061" y="1570"/>
                  </a:lnTo>
                  <a:lnTo>
                    <a:pt x="1067" y="1570"/>
                  </a:lnTo>
                  <a:lnTo>
                    <a:pt x="1070" y="1572"/>
                  </a:lnTo>
                  <a:lnTo>
                    <a:pt x="1072" y="1567"/>
                  </a:lnTo>
                  <a:lnTo>
                    <a:pt x="1084" y="1559"/>
                  </a:lnTo>
                  <a:lnTo>
                    <a:pt x="1082" y="1557"/>
                  </a:lnTo>
                  <a:lnTo>
                    <a:pt x="1082" y="1551"/>
                  </a:lnTo>
                  <a:lnTo>
                    <a:pt x="1088" y="1549"/>
                  </a:lnTo>
                  <a:lnTo>
                    <a:pt x="1084" y="1547"/>
                  </a:lnTo>
                  <a:lnTo>
                    <a:pt x="1090" y="1540"/>
                  </a:lnTo>
                  <a:lnTo>
                    <a:pt x="1099" y="1545"/>
                  </a:lnTo>
                  <a:lnTo>
                    <a:pt x="1101" y="1542"/>
                  </a:lnTo>
                  <a:lnTo>
                    <a:pt x="1097" y="1536"/>
                  </a:lnTo>
                  <a:lnTo>
                    <a:pt x="1093" y="1538"/>
                  </a:lnTo>
                  <a:lnTo>
                    <a:pt x="1095" y="1532"/>
                  </a:lnTo>
                  <a:lnTo>
                    <a:pt x="1090" y="1530"/>
                  </a:lnTo>
                  <a:lnTo>
                    <a:pt x="1092" y="1526"/>
                  </a:lnTo>
                  <a:lnTo>
                    <a:pt x="1097" y="1530"/>
                  </a:lnTo>
                  <a:lnTo>
                    <a:pt x="1097" y="1522"/>
                  </a:lnTo>
                  <a:lnTo>
                    <a:pt x="1101" y="1517"/>
                  </a:lnTo>
                  <a:lnTo>
                    <a:pt x="1107" y="1518"/>
                  </a:lnTo>
                  <a:lnTo>
                    <a:pt x="1103" y="1513"/>
                  </a:lnTo>
                  <a:lnTo>
                    <a:pt x="1101" y="1513"/>
                  </a:lnTo>
                  <a:lnTo>
                    <a:pt x="1103" y="1509"/>
                  </a:lnTo>
                  <a:lnTo>
                    <a:pt x="1111" y="1509"/>
                  </a:lnTo>
                  <a:lnTo>
                    <a:pt x="1105" y="1505"/>
                  </a:lnTo>
                  <a:lnTo>
                    <a:pt x="1103" y="1505"/>
                  </a:lnTo>
                  <a:lnTo>
                    <a:pt x="1090" y="1501"/>
                  </a:lnTo>
                  <a:lnTo>
                    <a:pt x="1086" y="1503"/>
                  </a:lnTo>
                  <a:lnTo>
                    <a:pt x="1080" y="1501"/>
                  </a:lnTo>
                  <a:lnTo>
                    <a:pt x="1072" y="1503"/>
                  </a:lnTo>
                  <a:lnTo>
                    <a:pt x="1070" y="1499"/>
                  </a:lnTo>
                  <a:lnTo>
                    <a:pt x="1067" y="1499"/>
                  </a:lnTo>
                  <a:lnTo>
                    <a:pt x="1068" y="1490"/>
                  </a:lnTo>
                  <a:lnTo>
                    <a:pt x="1074" y="1490"/>
                  </a:lnTo>
                  <a:lnTo>
                    <a:pt x="1078" y="1492"/>
                  </a:lnTo>
                  <a:lnTo>
                    <a:pt x="1084" y="1488"/>
                  </a:lnTo>
                  <a:lnTo>
                    <a:pt x="1086" y="1482"/>
                  </a:lnTo>
                  <a:lnTo>
                    <a:pt x="1065" y="1469"/>
                  </a:lnTo>
                  <a:lnTo>
                    <a:pt x="1049" y="1453"/>
                  </a:lnTo>
                  <a:lnTo>
                    <a:pt x="1045" y="1453"/>
                  </a:lnTo>
                  <a:lnTo>
                    <a:pt x="1024" y="1440"/>
                  </a:lnTo>
                  <a:lnTo>
                    <a:pt x="1005" y="1447"/>
                  </a:lnTo>
                  <a:lnTo>
                    <a:pt x="995" y="1447"/>
                  </a:lnTo>
                  <a:lnTo>
                    <a:pt x="999" y="1457"/>
                  </a:lnTo>
                  <a:lnTo>
                    <a:pt x="986" y="1453"/>
                  </a:lnTo>
                  <a:lnTo>
                    <a:pt x="986" y="1449"/>
                  </a:lnTo>
                  <a:lnTo>
                    <a:pt x="978" y="1444"/>
                  </a:lnTo>
                  <a:lnTo>
                    <a:pt x="982" y="1438"/>
                  </a:lnTo>
                  <a:lnTo>
                    <a:pt x="978" y="1438"/>
                  </a:lnTo>
                  <a:lnTo>
                    <a:pt x="972" y="1426"/>
                  </a:lnTo>
                  <a:lnTo>
                    <a:pt x="945" y="1428"/>
                  </a:lnTo>
                  <a:lnTo>
                    <a:pt x="945" y="1411"/>
                  </a:lnTo>
                  <a:lnTo>
                    <a:pt x="944" y="1394"/>
                  </a:lnTo>
                  <a:lnTo>
                    <a:pt x="947" y="1386"/>
                  </a:lnTo>
                  <a:lnTo>
                    <a:pt x="947" y="1376"/>
                  </a:lnTo>
                  <a:lnTo>
                    <a:pt x="944" y="1371"/>
                  </a:lnTo>
                  <a:lnTo>
                    <a:pt x="932" y="1369"/>
                  </a:lnTo>
                  <a:lnTo>
                    <a:pt x="924" y="1336"/>
                  </a:lnTo>
                  <a:lnTo>
                    <a:pt x="932" y="1326"/>
                  </a:lnTo>
                  <a:lnTo>
                    <a:pt x="932" y="1319"/>
                  </a:lnTo>
                  <a:lnTo>
                    <a:pt x="934" y="1315"/>
                  </a:lnTo>
                  <a:lnTo>
                    <a:pt x="928" y="1311"/>
                  </a:lnTo>
                  <a:lnTo>
                    <a:pt x="926" y="1303"/>
                  </a:lnTo>
                  <a:lnTo>
                    <a:pt x="928" y="1296"/>
                  </a:lnTo>
                  <a:lnTo>
                    <a:pt x="934" y="1290"/>
                  </a:lnTo>
                  <a:lnTo>
                    <a:pt x="961" y="1301"/>
                  </a:lnTo>
                  <a:lnTo>
                    <a:pt x="970" y="1313"/>
                  </a:lnTo>
                  <a:lnTo>
                    <a:pt x="974" y="1311"/>
                  </a:lnTo>
                  <a:lnTo>
                    <a:pt x="980" y="1313"/>
                  </a:lnTo>
                  <a:lnTo>
                    <a:pt x="990" y="1299"/>
                  </a:lnTo>
                  <a:lnTo>
                    <a:pt x="990" y="1294"/>
                  </a:lnTo>
                  <a:lnTo>
                    <a:pt x="988" y="1290"/>
                  </a:lnTo>
                  <a:lnTo>
                    <a:pt x="984" y="1290"/>
                  </a:lnTo>
                  <a:lnTo>
                    <a:pt x="970" y="1271"/>
                  </a:lnTo>
                  <a:lnTo>
                    <a:pt x="967" y="1263"/>
                  </a:lnTo>
                  <a:lnTo>
                    <a:pt x="963" y="1261"/>
                  </a:lnTo>
                  <a:lnTo>
                    <a:pt x="972" y="1261"/>
                  </a:lnTo>
                  <a:lnTo>
                    <a:pt x="978" y="1244"/>
                  </a:lnTo>
                  <a:lnTo>
                    <a:pt x="986" y="1236"/>
                  </a:lnTo>
                  <a:lnTo>
                    <a:pt x="980" y="1230"/>
                  </a:lnTo>
                  <a:lnTo>
                    <a:pt x="980" y="1219"/>
                  </a:lnTo>
                  <a:lnTo>
                    <a:pt x="992" y="1215"/>
                  </a:lnTo>
                  <a:lnTo>
                    <a:pt x="994" y="1205"/>
                  </a:lnTo>
                  <a:lnTo>
                    <a:pt x="1005" y="1194"/>
                  </a:lnTo>
                  <a:lnTo>
                    <a:pt x="1003" y="1186"/>
                  </a:lnTo>
                  <a:lnTo>
                    <a:pt x="1007" y="1182"/>
                  </a:lnTo>
                  <a:lnTo>
                    <a:pt x="1003" y="1171"/>
                  </a:lnTo>
                  <a:lnTo>
                    <a:pt x="1009" y="1169"/>
                  </a:lnTo>
                  <a:lnTo>
                    <a:pt x="1009" y="1173"/>
                  </a:lnTo>
                  <a:lnTo>
                    <a:pt x="1013" y="1171"/>
                  </a:lnTo>
                  <a:lnTo>
                    <a:pt x="1005" y="1159"/>
                  </a:lnTo>
                  <a:lnTo>
                    <a:pt x="1013" y="1161"/>
                  </a:lnTo>
                  <a:lnTo>
                    <a:pt x="1024" y="1155"/>
                  </a:lnTo>
                  <a:lnTo>
                    <a:pt x="1030" y="1157"/>
                  </a:lnTo>
                  <a:lnTo>
                    <a:pt x="1032" y="1161"/>
                  </a:lnTo>
                  <a:lnTo>
                    <a:pt x="1028" y="1165"/>
                  </a:lnTo>
                  <a:lnTo>
                    <a:pt x="1032" y="1169"/>
                  </a:lnTo>
                  <a:lnTo>
                    <a:pt x="1038" y="1167"/>
                  </a:lnTo>
                  <a:lnTo>
                    <a:pt x="1040" y="1159"/>
                  </a:lnTo>
                  <a:lnTo>
                    <a:pt x="1045" y="1163"/>
                  </a:lnTo>
                  <a:lnTo>
                    <a:pt x="1049" y="1157"/>
                  </a:lnTo>
                  <a:lnTo>
                    <a:pt x="1045" y="1153"/>
                  </a:lnTo>
                  <a:lnTo>
                    <a:pt x="1045" y="1148"/>
                  </a:lnTo>
                  <a:lnTo>
                    <a:pt x="1053" y="1144"/>
                  </a:lnTo>
                  <a:lnTo>
                    <a:pt x="1059" y="1132"/>
                  </a:lnTo>
                  <a:lnTo>
                    <a:pt x="1076" y="1146"/>
                  </a:lnTo>
                  <a:lnTo>
                    <a:pt x="1080" y="1146"/>
                  </a:lnTo>
                  <a:lnTo>
                    <a:pt x="1082" y="1140"/>
                  </a:lnTo>
                  <a:lnTo>
                    <a:pt x="1088" y="1140"/>
                  </a:lnTo>
                  <a:lnTo>
                    <a:pt x="1093" y="1134"/>
                  </a:lnTo>
                  <a:lnTo>
                    <a:pt x="1101" y="1130"/>
                  </a:lnTo>
                  <a:lnTo>
                    <a:pt x="1113" y="1132"/>
                  </a:lnTo>
                  <a:lnTo>
                    <a:pt x="1113" y="1134"/>
                  </a:lnTo>
                  <a:lnTo>
                    <a:pt x="1120" y="1140"/>
                  </a:lnTo>
                  <a:lnTo>
                    <a:pt x="1130" y="1138"/>
                  </a:lnTo>
                  <a:lnTo>
                    <a:pt x="1140" y="1138"/>
                  </a:lnTo>
                  <a:lnTo>
                    <a:pt x="1145" y="1146"/>
                  </a:lnTo>
                  <a:lnTo>
                    <a:pt x="1159" y="1146"/>
                  </a:lnTo>
                  <a:lnTo>
                    <a:pt x="1163" y="1161"/>
                  </a:lnTo>
                  <a:lnTo>
                    <a:pt x="1170" y="1165"/>
                  </a:lnTo>
                  <a:lnTo>
                    <a:pt x="1174" y="1155"/>
                  </a:lnTo>
                  <a:lnTo>
                    <a:pt x="1165" y="1142"/>
                  </a:lnTo>
                  <a:lnTo>
                    <a:pt x="1157" y="1142"/>
                  </a:lnTo>
                  <a:lnTo>
                    <a:pt x="1157" y="1136"/>
                  </a:lnTo>
                  <a:lnTo>
                    <a:pt x="1161" y="1132"/>
                  </a:lnTo>
                  <a:lnTo>
                    <a:pt x="1172" y="1134"/>
                  </a:lnTo>
                  <a:lnTo>
                    <a:pt x="1178" y="1132"/>
                  </a:lnTo>
                  <a:lnTo>
                    <a:pt x="1180" y="1136"/>
                  </a:lnTo>
                  <a:lnTo>
                    <a:pt x="1188" y="1140"/>
                  </a:lnTo>
                  <a:lnTo>
                    <a:pt x="1195" y="1142"/>
                  </a:lnTo>
                  <a:lnTo>
                    <a:pt x="1199" y="1138"/>
                  </a:lnTo>
                  <a:lnTo>
                    <a:pt x="1211" y="1142"/>
                  </a:lnTo>
                  <a:lnTo>
                    <a:pt x="1216" y="1123"/>
                  </a:lnTo>
                  <a:lnTo>
                    <a:pt x="1215" y="1111"/>
                  </a:lnTo>
                  <a:lnTo>
                    <a:pt x="1220" y="1107"/>
                  </a:lnTo>
                  <a:lnTo>
                    <a:pt x="1218" y="1096"/>
                  </a:lnTo>
                  <a:lnTo>
                    <a:pt x="1226" y="1098"/>
                  </a:lnTo>
                  <a:lnTo>
                    <a:pt x="1230" y="1096"/>
                  </a:lnTo>
                  <a:lnTo>
                    <a:pt x="1226" y="1092"/>
                  </a:lnTo>
                  <a:lnTo>
                    <a:pt x="1228" y="1090"/>
                  </a:lnTo>
                  <a:lnTo>
                    <a:pt x="1232" y="1090"/>
                  </a:lnTo>
                  <a:lnTo>
                    <a:pt x="1241" y="1080"/>
                  </a:lnTo>
                  <a:lnTo>
                    <a:pt x="1253" y="1088"/>
                  </a:lnTo>
                  <a:lnTo>
                    <a:pt x="1259" y="1088"/>
                  </a:lnTo>
                  <a:lnTo>
                    <a:pt x="1259" y="1082"/>
                  </a:lnTo>
                  <a:lnTo>
                    <a:pt x="1266" y="1080"/>
                  </a:lnTo>
                  <a:lnTo>
                    <a:pt x="1261" y="1067"/>
                  </a:lnTo>
                  <a:lnTo>
                    <a:pt x="1274" y="1063"/>
                  </a:lnTo>
                  <a:lnTo>
                    <a:pt x="1276" y="1055"/>
                  </a:lnTo>
                  <a:lnTo>
                    <a:pt x="1282" y="1057"/>
                  </a:lnTo>
                  <a:lnTo>
                    <a:pt x="1289" y="1055"/>
                  </a:lnTo>
                  <a:lnTo>
                    <a:pt x="1295" y="1065"/>
                  </a:lnTo>
                  <a:lnTo>
                    <a:pt x="1297" y="1063"/>
                  </a:lnTo>
                  <a:lnTo>
                    <a:pt x="1299" y="1067"/>
                  </a:lnTo>
                  <a:lnTo>
                    <a:pt x="1303" y="1065"/>
                  </a:lnTo>
                  <a:lnTo>
                    <a:pt x="1311" y="1069"/>
                  </a:lnTo>
                  <a:lnTo>
                    <a:pt x="1322" y="1063"/>
                  </a:lnTo>
                  <a:lnTo>
                    <a:pt x="1326" y="1065"/>
                  </a:lnTo>
                  <a:lnTo>
                    <a:pt x="1334" y="1061"/>
                  </a:lnTo>
                  <a:lnTo>
                    <a:pt x="1338" y="1061"/>
                  </a:lnTo>
                  <a:lnTo>
                    <a:pt x="1336" y="1067"/>
                  </a:lnTo>
                  <a:lnTo>
                    <a:pt x="1339" y="1067"/>
                  </a:lnTo>
                  <a:lnTo>
                    <a:pt x="1341" y="1063"/>
                  </a:lnTo>
                  <a:lnTo>
                    <a:pt x="1347" y="1057"/>
                  </a:lnTo>
                  <a:lnTo>
                    <a:pt x="1341" y="1036"/>
                  </a:lnTo>
                  <a:lnTo>
                    <a:pt x="1347" y="1034"/>
                  </a:lnTo>
                  <a:lnTo>
                    <a:pt x="1349" y="1038"/>
                  </a:lnTo>
                  <a:lnTo>
                    <a:pt x="1357" y="1040"/>
                  </a:lnTo>
                  <a:lnTo>
                    <a:pt x="1372" y="1032"/>
                  </a:lnTo>
                  <a:lnTo>
                    <a:pt x="1389" y="1011"/>
                  </a:lnTo>
                  <a:lnTo>
                    <a:pt x="1384" y="998"/>
                  </a:lnTo>
                  <a:lnTo>
                    <a:pt x="1378" y="984"/>
                  </a:lnTo>
                  <a:lnTo>
                    <a:pt x="1382" y="979"/>
                  </a:lnTo>
                  <a:lnTo>
                    <a:pt x="1376" y="980"/>
                  </a:lnTo>
                  <a:lnTo>
                    <a:pt x="1370" y="975"/>
                  </a:lnTo>
                  <a:lnTo>
                    <a:pt x="1351" y="982"/>
                  </a:lnTo>
                  <a:lnTo>
                    <a:pt x="1345" y="977"/>
                  </a:lnTo>
                  <a:lnTo>
                    <a:pt x="1332" y="984"/>
                  </a:lnTo>
                  <a:lnTo>
                    <a:pt x="1324" y="984"/>
                  </a:lnTo>
                  <a:lnTo>
                    <a:pt x="1324" y="975"/>
                  </a:lnTo>
                  <a:lnTo>
                    <a:pt x="1316" y="977"/>
                  </a:lnTo>
                  <a:lnTo>
                    <a:pt x="1314" y="977"/>
                  </a:lnTo>
                  <a:lnTo>
                    <a:pt x="1309" y="975"/>
                  </a:lnTo>
                  <a:lnTo>
                    <a:pt x="1307" y="971"/>
                  </a:lnTo>
                  <a:lnTo>
                    <a:pt x="1293" y="950"/>
                  </a:lnTo>
                  <a:lnTo>
                    <a:pt x="1293" y="952"/>
                  </a:lnTo>
                  <a:lnTo>
                    <a:pt x="1291" y="948"/>
                  </a:lnTo>
                  <a:lnTo>
                    <a:pt x="1284" y="954"/>
                  </a:lnTo>
                  <a:lnTo>
                    <a:pt x="1278" y="952"/>
                  </a:lnTo>
                  <a:lnTo>
                    <a:pt x="1276" y="957"/>
                  </a:lnTo>
                  <a:lnTo>
                    <a:pt x="1274" y="957"/>
                  </a:lnTo>
                  <a:lnTo>
                    <a:pt x="1270" y="961"/>
                  </a:lnTo>
                  <a:lnTo>
                    <a:pt x="1264" y="959"/>
                  </a:lnTo>
                  <a:lnTo>
                    <a:pt x="1261" y="963"/>
                  </a:lnTo>
                  <a:lnTo>
                    <a:pt x="1266" y="977"/>
                  </a:lnTo>
                  <a:lnTo>
                    <a:pt x="1257" y="975"/>
                  </a:lnTo>
                  <a:lnTo>
                    <a:pt x="1255" y="971"/>
                  </a:lnTo>
                  <a:lnTo>
                    <a:pt x="1249" y="975"/>
                  </a:lnTo>
                  <a:lnTo>
                    <a:pt x="1243" y="971"/>
                  </a:lnTo>
                  <a:lnTo>
                    <a:pt x="1245" y="969"/>
                  </a:lnTo>
                  <a:lnTo>
                    <a:pt x="1240" y="965"/>
                  </a:lnTo>
                  <a:lnTo>
                    <a:pt x="1238" y="959"/>
                  </a:lnTo>
                  <a:lnTo>
                    <a:pt x="1232" y="954"/>
                  </a:lnTo>
                  <a:lnTo>
                    <a:pt x="1230" y="942"/>
                  </a:lnTo>
                  <a:lnTo>
                    <a:pt x="1236" y="938"/>
                  </a:lnTo>
                  <a:lnTo>
                    <a:pt x="1234" y="936"/>
                  </a:lnTo>
                  <a:lnTo>
                    <a:pt x="1230" y="938"/>
                  </a:lnTo>
                  <a:lnTo>
                    <a:pt x="1224" y="932"/>
                  </a:lnTo>
                  <a:lnTo>
                    <a:pt x="1222" y="932"/>
                  </a:lnTo>
                  <a:lnTo>
                    <a:pt x="1213" y="911"/>
                  </a:lnTo>
                  <a:lnTo>
                    <a:pt x="1211" y="913"/>
                  </a:lnTo>
                  <a:lnTo>
                    <a:pt x="1209" y="911"/>
                  </a:lnTo>
                  <a:lnTo>
                    <a:pt x="1209" y="906"/>
                  </a:lnTo>
                  <a:lnTo>
                    <a:pt x="1205" y="902"/>
                  </a:lnTo>
                  <a:lnTo>
                    <a:pt x="1203" y="892"/>
                  </a:lnTo>
                  <a:lnTo>
                    <a:pt x="1201" y="890"/>
                  </a:lnTo>
                  <a:lnTo>
                    <a:pt x="1199" y="886"/>
                  </a:lnTo>
                  <a:lnTo>
                    <a:pt x="1205" y="884"/>
                  </a:lnTo>
                  <a:lnTo>
                    <a:pt x="1205" y="869"/>
                  </a:lnTo>
                  <a:lnTo>
                    <a:pt x="1211" y="863"/>
                  </a:lnTo>
                  <a:lnTo>
                    <a:pt x="1216" y="865"/>
                  </a:lnTo>
                  <a:lnTo>
                    <a:pt x="1218" y="863"/>
                  </a:lnTo>
                  <a:lnTo>
                    <a:pt x="1216" y="861"/>
                  </a:lnTo>
                  <a:lnTo>
                    <a:pt x="1216" y="856"/>
                  </a:lnTo>
                  <a:lnTo>
                    <a:pt x="1215" y="854"/>
                  </a:lnTo>
                  <a:lnTo>
                    <a:pt x="1209" y="854"/>
                  </a:lnTo>
                  <a:lnTo>
                    <a:pt x="1207" y="846"/>
                  </a:lnTo>
                  <a:lnTo>
                    <a:pt x="1203" y="844"/>
                  </a:lnTo>
                  <a:lnTo>
                    <a:pt x="1205" y="834"/>
                  </a:lnTo>
                  <a:lnTo>
                    <a:pt x="1203" y="823"/>
                  </a:lnTo>
                  <a:lnTo>
                    <a:pt x="1199" y="821"/>
                  </a:lnTo>
                  <a:lnTo>
                    <a:pt x="1195" y="823"/>
                  </a:lnTo>
                  <a:lnTo>
                    <a:pt x="1188" y="823"/>
                  </a:lnTo>
                  <a:lnTo>
                    <a:pt x="1188" y="848"/>
                  </a:lnTo>
                  <a:lnTo>
                    <a:pt x="1180" y="850"/>
                  </a:lnTo>
                  <a:lnTo>
                    <a:pt x="1174" y="859"/>
                  </a:lnTo>
                  <a:lnTo>
                    <a:pt x="1172" y="867"/>
                  </a:lnTo>
                  <a:lnTo>
                    <a:pt x="1163" y="867"/>
                  </a:lnTo>
                  <a:lnTo>
                    <a:pt x="1159" y="873"/>
                  </a:lnTo>
                  <a:lnTo>
                    <a:pt x="1157" y="882"/>
                  </a:lnTo>
                  <a:lnTo>
                    <a:pt x="1153" y="884"/>
                  </a:lnTo>
                  <a:lnTo>
                    <a:pt x="1145" y="881"/>
                  </a:lnTo>
                  <a:lnTo>
                    <a:pt x="1143" y="877"/>
                  </a:lnTo>
                  <a:lnTo>
                    <a:pt x="1136" y="877"/>
                  </a:lnTo>
                  <a:lnTo>
                    <a:pt x="1134" y="875"/>
                  </a:lnTo>
                  <a:lnTo>
                    <a:pt x="1134" y="877"/>
                  </a:lnTo>
                  <a:lnTo>
                    <a:pt x="1132" y="875"/>
                  </a:lnTo>
                  <a:lnTo>
                    <a:pt x="1117" y="875"/>
                  </a:lnTo>
                  <a:lnTo>
                    <a:pt x="1115" y="865"/>
                  </a:lnTo>
                  <a:lnTo>
                    <a:pt x="1107" y="861"/>
                  </a:lnTo>
                  <a:lnTo>
                    <a:pt x="1109" y="856"/>
                  </a:lnTo>
                  <a:lnTo>
                    <a:pt x="1105" y="852"/>
                  </a:lnTo>
                  <a:lnTo>
                    <a:pt x="1107" y="852"/>
                  </a:lnTo>
                  <a:lnTo>
                    <a:pt x="1105" y="848"/>
                  </a:lnTo>
                  <a:lnTo>
                    <a:pt x="1107" y="848"/>
                  </a:lnTo>
                  <a:lnTo>
                    <a:pt x="1107" y="842"/>
                  </a:lnTo>
                  <a:lnTo>
                    <a:pt x="1126" y="834"/>
                  </a:lnTo>
                  <a:lnTo>
                    <a:pt x="1134" y="834"/>
                  </a:lnTo>
                  <a:lnTo>
                    <a:pt x="1130" y="840"/>
                  </a:lnTo>
                  <a:lnTo>
                    <a:pt x="1134" y="844"/>
                  </a:lnTo>
                  <a:lnTo>
                    <a:pt x="1136" y="854"/>
                  </a:lnTo>
                  <a:lnTo>
                    <a:pt x="1140" y="854"/>
                  </a:lnTo>
                  <a:lnTo>
                    <a:pt x="1142" y="850"/>
                  </a:lnTo>
                  <a:lnTo>
                    <a:pt x="1138" y="846"/>
                  </a:lnTo>
                  <a:lnTo>
                    <a:pt x="1140" y="840"/>
                  </a:lnTo>
                  <a:lnTo>
                    <a:pt x="1136" y="840"/>
                  </a:lnTo>
                  <a:lnTo>
                    <a:pt x="1140" y="834"/>
                  </a:lnTo>
                  <a:lnTo>
                    <a:pt x="1142" y="834"/>
                  </a:lnTo>
                  <a:lnTo>
                    <a:pt x="1143" y="838"/>
                  </a:lnTo>
                  <a:lnTo>
                    <a:pt x="1147" y="838"/>
                  </a:lnTo>
                  <a:lnTo>
                    <a:pt x="1147" y="842"/>
                  </a:lnTo>
                  <a:lnTo>
                    <a:pt x="1151" y="838"/>
                  </a:lnTo>
                  <a:lnTo>
                    <a:pt x="1153" y="842"/>
                  </a:lnTo>
                  <a:lnTo>
                    <a:pt x="1157" y="840"/>
                  </a:lnTo>
                  <a:lnTo>
                    <a:pt x="1161" y="832"/>
                  </a:lnTo>
                  <a:lnTo>
                    <a:pt x="1159" y="831"/>
                  </a:lnTo>
                  <a:lnTo>
                    <a:pt x="1155" y="829"/>
                  </a:lnTo>
                  <a:lnTo>
                    <a:pt x="1149" y="831"/>
                  </a:lnTo>
                  <a:lnTo>
                    <a:pt x="1149" y="827"/>
                  </a:lnTo>
                  <a:lnTo>
                    <a:pt x="1153" y="829"/>
                  </a:lnTo>
                  <a:lnTo>
                    <a:pt x="1153" y="827"/>
                  </a:lnTo>
                  <a:lnTo>
                    <a:pt x="1153" y="823"/>
                  </a:lnTo>
                  <a:lnTo>
                    <a:pt x="1149" y="823"/>
                  </a:lnTo>
                  <a:lnTo>
                    <a:pt x="1149" y="821"/>
                  </a:lnTo>
                  <a:lnTo>
                    <a:pt x="1155" y="817"/>
                  </a:lnTo>
                  <a:lnTo>
                    <a:pt x="1153" y="817"/>
                  </a:lnTo>
                  <a:lnTo>
                    <a:pt x="1151" y="817"/>
                  </a:lnTo>
                  <a:lnTo>
                    <a:pt x="1153" y="813"/>
                  </a:lnTo>
                  <a:lnTo>
                    <a:pt x="1157" y="817"/>
                  </a:lnTo>
                  <a:lnTo>
                    <a:pt x="1159" y="809"/>
                  </a:lnTo>
                  <a:lnTo>
                    <a:pt x="1157" y="802"/>
                  </a:lnTo>
                  <a:lnTo>
                    <a:pt x="1161" y="796"/>
                  </a:lnTo>
                  <a:lnTo>
                    <a:pt x="1165" y="796"/>
                  </a:lnTo>
                  <a:lnTo>
                    <a:pt x="1166" y="788"/>
                  </a:lnTo>
                  <a:lnTo>
                    <a:pt x="1165" y="786"/>
                  </a:lnTo>
                  <a:lnTo>
                    <a:pt x="1161" y="790"/>
                  </a:lnTo>
                  <a:lnTo>
                    <a:pt x="1157" y="788"/>
                  </a:lnTo>
                  <a:lnTo>
                    <a:pt x="1153" y="794"/>
                  </a:lnTo>
                  <a:lnTo>
                    <a:pt x="1155" y="788"/>
                  </a:lnTo>
                  <a:lnTo>
                    <a:pt x="1151" y="788"/>
                  </a:lnTo>
                  <a:lnTo>
                    <a:pt x="1149" y="783"/>
                  </a:lnTo>
                  <a:lnTo>
                    <a:pt x="1143" y="784"/>
                  </a:lnTo>
                  <a:lnTo>
                    <a:pt x="1142" y="777"/>
                  </a:lnTo>
                  <a:lnTo>
                    <a:pt x="1136" y="773"/>
                  </a:lnTo>
                  <a:lnTo>
                    <a:pt x="1138" y="767"/>
                  </a:lnTo>
                  <a:lnTo>
                    <a:pt x="1136" y="763"/>
                  </a:lnTo>
                  <a:lnTo>
                    <a:pt x="1134" y="765"/>
                  </a:lnTo>
                  <a:lnTo>
                    <a:pt x="1130" y="765"/>
                  </a:lnTo>
                  <a:lnTo>
                    <a:pt x="1126" y="767"/>
                  </a:lnTo>
                  <a:lnTo>
                    <a:pt x="1128" y="773"/>
                  </a:lnTo>
                  <a:lnTo>
                    <a:pt x="1124" y="777"/>
                  </a:lnTo>
                  <a:lnTo>
                    <a:pt x="1122" y="777"/>
                  </a:lnTo>
                  <a:lnTo>
                    <a:pt x="1113" y="775"/>
                  </a:lnTo>
                  <a:lnTo>
                    <a:pt x="1111" y="777"/>
                  </a:lnTo>
                  <a:lnTo>
                    <a:pt x="1111" y="784"/>
                  </a:lnTo>
                  <a:lnTo>
                    <a:pt x="1107" y="783"/>
                  </a:lnTo>
                  <a:lnTo>
                    <a:pt x="1107" y="784"/>
                  </a:lnTo>
                  <a:lnTo>
                    <a:pt x="1099" y="784"/>
                  </a:lnTo>
                  <a:lnTo>
                    <a:pt x="1097" y="788"/>
                  </a:lnTo>
                  <a:lnTo>
                    <a:pt x="1092" y="790"/>
                  </a:lnTo>
                  <a:lnTo>
                    <a:pt x="1086" y="796"/>
                  </a:lnTo>
                  <a:lnTo>
                    <a:pt x="1082" y="796"/>
                  </a:lnTo>
                  <a:lnTo>
                    <a:pt x="1082" y="794"/>
                  </a:lnTo>
                  <a:lnTo>
                    <a:pt x="1076" y="792"/>
                  </a:lnTo>
                  <a:lnTo>
                    <a:pt x="1074" y="786"/>
                  </a:lnTo>
                  <a:lnTo>
                    <a:pt x="1070" y="786"/>
                  </a:lnTo>
                  <a:lnTo>
                    <a:pt x="1063" y="773"/>
                  </a:lnTo>
                  <a:lnTo>
                    <a:pt x="1065" y="767"/>
                  </a:lnTo>
                  <a:lnTo>
                    <a:pt x="1059" y="767"/>
                  </a:lnTo>
                  <a:lnTo>
                    <a:pt x="1051" y="761"/>
                  </a:lnTo>
                  <a:lnTo>
                    <a:pt x="1055" y="752"/>
                  </a:lnTo>
                  <a:lnTo>
                    <a:pt x="1057" y="754"/>
                  </a:lnTo>
                  <a:lnTo>
                    <a:pt x="1061" y="754"/>
                  </a:lnTo>
                  <a:lnTo>
                    <a:pt x="1063" y="748"/>
                  </a:lnTo>
                  <a:lnTo>
                    <a:pt x="1065" y="748"/>
                  </a:lnTo>
                  <a:lnTo>
                    <a:pt x="1063" y="738"/>
                  </a:lnTo>
                  <a:lnTo>
                    <a:pt x="1067" y="735"/>
                  </a:lnTo>
                  <a:lnTo>
                    <a:pt x="1067" y="738"/>
                  </a:lnTo>
                  <a:lnTo>
                    <a:pt x="1070" y="736"/>
                  </a:lnTo>
                  <a:lnTo>
                    <a:pt x="1067" y="733"/>
                  </a:lnTo>
                  <a:lnTo>
                    <a:pt x="1068" y="731"/>
                  </a:lnTo>
                  <a:lnTo>
                    <a:pt x="1065" y="731"/>
                  </a:lnTo>
                  <a:lnTo>
                    <a:pt x="1061" y="729"/>
                  </a:lnTo>
                  <a:lnTo>
                    <a:pt x="1063" y="725"/>
                  </a:lnTo>
                  <a:lnTo>
                    <a:pt x="1057" y="723"/>
                  </a:lnTo>
                  <a:lnTo>
                    <a:pt x="1051" y="711"/>
                  </a:lnTo>
                  <a:lnTo>
                    <a:pt x="1049" y="706"/>
                  </a:lnTo>
                  <a:lnTo>
                    <a:pt x="1055" y="708"/>
                  </a:lnTo>
                  <a:lnTo>
                    <a:pt x="1051" y="700"/>
                  </a:lnTo>
                  <a:lnTo>
                    <a:pt x="1055" y="696"/>
                  </a:lnTo>
                  <a:lnTo>
                    <a:pt x="1059" y="694"/>
                  </a:lnTo>
                  <a:lnTo>
                    <a:pt x="1063" y="700"/>
                  </a:lnTo>
                  <a:lnTo>
                    <a:pt x="1065" y="700"/>
                  </a:lnTo>
                  <a:lnTo>
                    <a:pt x="1068" y="685"/>
                  </a:lnTo>
                  <a:lnTo>
                    <a:pt x="1065" y="679"/>
                  </a:lnTo>
                  <a:lnTo>
                    <a:pt x="1063" y="681"/>
                  </a:lnTo>
                  <a:lnTo>
                    <a:pt x="1053" y="675"/>
                  </a:lnTo>
                  <a:lnTo>
                    <a:pt x="1051" y="669"/>
                  </a:lnTo>
                  <a:lnTo>
                    <a:pt x="1053" y="660"/>
                  </a:lnTo>
                  <a:lnTo>
                    <a:pt x="1057" y="658"/>
                  </a:lnTo>
                  <a:lnTo>
                    <a:pt x="1059" y="648"/>
                  </a:lnTo>
                  <a:lnTo>
                    <a:pt x="1057" y="640"/>
                  </a:lnTo>
                  <a:lnTo>
                    <a:pt x="1061" y="633"/>
                  </a:lnTo>
                  <a:lnTo>
                    <a:pt x="1055" y="629"/>
                  </a:lnTo>
                  <a:lnTo>
                    <a:pt x="1053" y="623"/>
                  </a:lnTo>
                  <a:lnTo>
                    <a:pt x="1051" y="623"/>
                  </a:lnTo>
                  <a:lnTo>
                    <a:pt x="1045" y="627"/>
                  </a:lnTo>
                  <a:lnTo>
                    <a:pt x="1043" y="623"/>
                  </a:lnTo>
                  <a:lnTo>
                    <a:pt x="1040" y="625"/>
                  </a:lnTo>
                  <a:lnTo>
                    <a:pt x="1036" y="617"/>
                  </a:lnTo>
                  <a:lnTo>
                    <a:pt x="1038" y="617"/>
                  </a:lnTo>
                  <a:lnTo>
                    <a:pt x="1036" y="613"/>
                  </a:lnTo>
                  <a:lnTo>
                    <a:pt x="1032" y="612"/>
                  </a:lnTo>
                  <a:lnTo>
                    <a:pt x="1030" y="602"/>
                  </a:lnTo>
                  <a:lnTo>
                    <a:pt x="1011" y="604"/>
                  </a:lnTo>
                  <a:lnTo>
                    <a:pt x="1001" y="598"/>
                  </a:lnTo>
                  <a:lnTo>
                    <a:pt x="995" y="600"/>
                  </a:lnTo>
                  <a:lnTo>
                    <a:pt x="992" y="585"/>
                  </a:lnTo>
                  <a:lnTo>
                    <a:pt x="995" y="583"/>
                  </a:lnTo>
                  <a:lnTo>
                    <a:pt x="992" y="573"/>
                  </a:lnTo>
                  <a:lnTo>
                    <a:pt x="995" y="571"/>
                  </a:lnTo>
                  <a:lnTo>
                    <a:pt x="995" y="565"/>
                  </a:lnTo>
                  <a:lnTo>
                    <a:pt x="999" y="563"/>
                  </a:lnTo>
                  <a:lnTo>
                    <a:pt x="995" y="562"/>
                  </a:lnTo>
                  <a:lnTo>
                    <a:pt x="997" y="558"/>
                  </a:lnTo>
                  <a:lnTo>
                    <a:pt x="994" y="554"/>
                  </a:lnTo>
                  <a:lnTo>
                    <a:pt x="992" y="542"/>
                  </a:lnTo>
                  <a:lnTo>
                    <a:pt x="988" y="539"/>
                  </a:lnTo>
                  <a:lnTo>
                    <a:pt x="988" y="523"/>
                  </a:lnTo>
                  <a:lnTo>
                    <a:pt x="976" y="502"/>
                  </a:lnTo>
                  <a:lnTo>
                    <a:pt x="974" y="502"/>
                  </a:lnTo>
                  <a:lnTo>
                    <a:pt x="967" y="492"/>
                  </a:lnTo>
                  <a:lnTo>
                    <a:pt x="963" y="490"/>
                  </a:lnTo>
                  <a:lnTo>
                    <a:pt x="959" y="483"/>
                  </a:lnTo>
                  <a:lnTo>
                    <a:pt x="959" y="477"/>
                  </a:lnTo>
                  <a:lnTo>
                    <a:pt x="949" y="465"/>
                  </a:lnTo>
                  <a:lnTo>
                    <a:pt x="947" y="460"/>
                  </a:lnTo>
                  <a:lnTo>
                    <a:pt x="944" y="456"/>
                  </a:lnTo>
                  <a:lnTo>
                    <a:pt x="944" y="452"/>
                  </a:lnTo>
                  <a:lnTo>
                    <a:pt x="942" y="446"/>
                  </a:lnTo>
                  <a:lnTo>
                    <a:pt x="936" y="441"/>
                  </a:lnTo>
                  <a:lnTo>
                    <a:pt x="928" y="417"/>
                  </a:lnTo>
                  <a:lnTo>
                    <a:pt x="924" y="417"/>
                  </a:lnTo>
                  <a:lnTo>
                    <a:pt x="915" y="410"/>
                  </a:lnTo>
                  <a:lnTo>
                    <a:pt x="913" y="400"/>
                  </a:lnTo>
                  <a:lnTo>
                    <a:pt x="905" y="398"/>
                  </a:lnTo>
                  <a:lnTo>
                    <a:pt x="899" y="394"/>
                  </a:lnTo>
                  <a:lnTo>
                    <a:pt x="899" y="391"/>
                  </a:lnTo>
                  <a:lnTo>
                    <a:pt x="897" y="387"/>
                  </a:lnTo>
                  <a:lnTo>
                    <a:pt x="896" y="381"/>
                  </a:lnTo>
                  <a:lnTo>
                    <a:pt x="894" y="379"/>
                  </a:lnTo>
                  <a:lnTo>
                    <a:pt x="890" y="366"/>
                  </a:lnTo>
                  <a:lnTo>
                    <a:pt x="880" y="344"/>
                  </a:lnTo>
                  <a:lnTo>
                    <a:pt x="882" y="339"/>
                  </a:lnTo>
                  <a:lnTo>
                    <a:pt x="882" y="333"/>
                  </a:lnTo>
                  <a:lnTo>
                    <a:pt x="880" y="329"/>
                  </a:lnTo>
                  <a:lnTo>
                    <a:pt x="876" y="331"/>
                  </a:lnTo>
                  <a:lnTo>
                    <a:pt x="871" y="329"/>
                  </a:lnTo>
                  <a:lnTo>
                    <a:pt x="869" y="321"/>
                  </a:lnTo>
                  <a:lnTo>
                    <a:pt x="863" y="318"/>
                  </a:lnTo>
                  <a:lnTo>
                    <a:pt x="859" y="318"/>
                  </a:lnTo>
                  <a:lnTo>
                    <a:pt x="859" y="306"/>
                  </a:lnTo>
                  <a:lnTo>
                    <a:pt x="855" y="302"/>
                  </a:lnTo>
                  <a:lnTo>
                    <a:pt x="855" y="294"/>
                  </a:lnTo>
                  <a:lnTo>
                    <a:pt x="857" y="279"/>
                  </a:lnTo>
                  <a:lnTo>
                    <a:pt x="859" y="275"/>
                  </a:lnTo>
                  <a:lnTo>
                    <a:pt x="865" y="273"/>
                  </a:lnTo>
                  <a:lnTo>
                    <a:pt x="874" y="279"/>
                  </a:lnTo>
                  <a:lnTo>
                    <a:pt x="872" y="268"/>
                  </a:lnTo>
                  <a:lnTo>
                    <a:pt x="876" y="266"/>
                  </a:lnTo>
                  <a:lnTo>
                    <a:pt x="876" y="258"/>
                  </a:lnTo>
                  <a:lnTo>
                    <a:pt x="878" y="254"/>
                  </a:lnTo>
                  <a:lnTo>
                    <a:pt x="876" y="248"/>
                  </a:lnTo>
                  <a:lnTo>
                    <a:pt x="874" y="248"/>
                  </a:lnTo>
                  <a:lnTo>
                    <a:pt x="874" y="231"/>
                  </a:lnTo>
                  <a:lnTo>
                    <a:pt x="876" y="220"/>
                  </a:lnTo>
                  <a:lnTo>
                    <a:pt x="878" y="216"/>
                  </a:lnTo>
                  <a:lnTo>
                    <a:pt x="886" y="202"/>
                  </a:lnTo>
                  <a:lnTo>
                    <a:pt x="892" y="196"/>
                  </a:lnTo>
                  <a:lnTo>
                    <a:pt x="886" y="187"/>
                  </a:lnTo>
                  <a:lnTo>
                    <a:pt x="884" y="173"/>
                  </a:lnTo>
                  <a:lnTo>
                    <a:pt x="886" y="172"/>
                  </a:lnTo>
                  <a:lnTo>
                    <a:pt x="890" y="172"/>
                  </a:lnTo>
                  <a:lnTo>
                    <a:pt x="884" y="168"/>
                  </a:lnTo>
                  <a:lnTo>
                    <a:pt x="884" y="158"/>
                  </a:lnTo>
                  <a:lnTo>
                    <a:pt x="888" y="156"/>
                  </a:lnTo>
                  <a:lnTo>
                    <a:pt x="890" y="148"/>
                  </a:lnTo>
                  <a:lnTo>
                    <a:pt x="890" y="141"/>
                  </a:lnTo>
                  <a:lnTo>
                    <a:pt x="897" y="135"/>
                  </a:lnTo>
                  <a:lnTo>
                    <a:pt x="897" y="131"/>
                  </a:lnTo>
                  <a:lnTo>
                    <a:pt x="899" y="129"/>
                  </a:lnTo>
                  <a:lnTo>
                    <a:pt x="897" y="125"/>
                  </a:lnTo>
                  <a:lnTo>
                    <a:pt x="905" y="114"/>
                  </a:lnTo>
                  <a:lnTo>
                    <a:pt x="905" y="110"/>
                  </a:lnTo>
                  <a:lnTo>
                    <a:pt x="899" y="104"/>
                  </a:lnTo>
                  <a:lnTo>
                    <a:pt x="901" y="100"/>
                  </a:lnTo>
                  <a:lnTo>
                    <a:pt x="899" y="98"/>
                  </a:lnTo>
                  <a:lnTo>
                    <a:pt x="903" y="83"/>
                  </a:lnTo>
                  <a:lnTo>
                    <a:pt x="901" y="79"/>
                  </a:lnTo>
                  <a:lnTo>
                    <a:pt x="907" y="74"/>
                  </a:lnTo>
                  <a:lnTo>
                    <a:pt x="907" y="68"/>
                  </a:lnTo>
                  <a:lnTo>
                    <a:pt x="901" y="64"/>
                  </a:lnTo>
                  <a:lnTo>
                    <a:pt x="897" y="70"/>
                  </a:lnTo>
                  <a:lnTo>
                    <a:pt x="896" y="64"/>
                  </a:lnTo>
                  <a:lnTo>
                    <a:pt x="897" y="60"/>
                  </a:lnTo>
                  <a:lnTo>
                    <a:pt x="901" y="60"/>
                  </a:lnTo>
                  <a:lnTo>
                    <a:pt x="901" y="56"/>
                  </a:lnTo>
                  <a:lnTo>
                    <a:pt x="899" y="54"/>
                  </a:lnTo>
                  <a:lnTo>
                    <a:pt x="894" y="54"/>
                  </a:lnTo>
                  <a:lnTo>
                    <a:pt x="890" y="47"/>
                  </a:lnTo>
                  <a:lnTo>
                    <a:pt x="886" y="49"/>
                  </a:lnTo>
                  <a:lnTo>
                    <a:pt x="884" y="52"/>
                  </a:lnTo>
                  <a:lnTo>
                    <a:pt x="878" y="58"/>
                  </a:lnTo>
                  <a:lnTo>
                    <a:pt x="871" y="56"/>
                  </a:lnTo>
                  <a:lnTo>
                    <a:pt x="863" y="47"/>
                  </a:lnTo>
                  <a:lnTo>
                    <a:pt x="861" y="33"/>
                  </a:lnTo>
                  <a:lnTo>
                    <a:pt x="861" y="25"/>
                  </a:lnTo>
                  <a:lnTo>
                    <a:pt x="849" y="24"/>
                  </a:lnTo>
                  <a:lnTo>
                    <a:pt x="846" y="20"/>
                  </a:lnTo>
                  <a:lnTo>
                    <a:pt x="840" y="22"/>
                  </a:lnTo>
                  <a:lnTo>
                    <a:pt x="830" y="24"/>
                  </a:lnTo>
                  <a:lnTo>
                    <a:pt x="832" y="25"/>
                  </a:lnTo>
                  <a:lnTo>
                    <a:pt x="828" y="27"/>
                  </a:lnTo>
                  <a:lnTo>
                    <a:pt x="824" y="25"/>
                  </a:lnTo>
                  <a:lnTo>
                    <a:pt x="821" y="22"/>
                  </a:lnTo>
                  <a:lnTo>
                    <a:pt x="823" y="10"/>
                  </a:lnTo>
                  <a:lnTo>
                    <a:pt x="821" y="10"/>
                  </a:lnTo>
                  <a:lnTo>
                    <a:pt x="819" y="4"/>
                  </a:lnTo>
                  <a:lnTo>
                    <a:pt x="823" y="2"/>
                  </a:lnTo>
                  <a:lnTo>
                    <a:pt x="821" y="0"/>
                  </a:lnTo>
                  <a:lnTo>
                    <a:pt x="798" y="2"/>
                  </a:lnTo>
                  <a:lnTo>
                    <a:pt x="796" y="2"/>
                  </a:lnTo>
                  <a:lnTo>
                    <a:pt x="774" y="8"/>
                  </a:lnTo>
                  <a:lnTo>
                    <a:pt x="763" y="14"/>
                  </a:lnTo>
                  <a:lnTo>
                    <a:pt x="736" y="27"/>
                  </a:lnTo>
                  <a:lnTo>
                    <a:pt x="732" y="29"/>
                  </a:lnTo>
                  <a:lnTo>
                    <a:pt x="725" y="29"/>
                  </a:lnTo>
                  <a:lnTo>
                    <a:pt x="723" y="31"/>
                  </a:lnTo>
                  <a:lnTo>
                    <a:pt x="719" y="35"/>
                  </a:lnTo>
                  <a:lnTo>
                    <a:pt x="721" y="41"/>
                  </a:lnTo>
                  <a:lnTo>
                    <a:pt x="721" y="45"/>
                  </a:lnTo>
                  <a:lnTo>
                    <a:pt x="719" y="47"/>
                  </a:lnTo>
                  <a:lnTo>
                    <a:pt x="713" y="50"/>
                  </a:lnTo>
                  <a:lnTo>
                    <a:pt x="713" y="56"/>
                  </a:lnTo>
                  <a:lnTo>
                    <a:pt x="719" y="58"/>
                  </a:lnTo>
                  <a:lnTo>
                    <a:pt x="721" y="60"/>
                  </a:lnTo>
                  <a:lnTo>
                    <a:pt x="723" y="60"/>
                  </a:lnTo>
                  <a:lnTo>
                    <a:pt x="730" y="64"/>
                  </a:lnTo>
                  <a:lnTo>
                    <a:pt x="732" y="64"/>
                  </a:lnTo>
                  <a:lnTo>
                    <a:pt x="734" y="70"/>
                  </a:lnTo>
                  <a:lnTo>
                    <a:pt x="736" y="72"/>
                  </a:lnTo>
                  <a:lnTo>
                    <a:pt x="738" y="72"/>
                  </a:lnTo>
                  <a:lnTo>
                    <a:pt x="740" y="70"/>
                  </a:lnTo>
                  <a:lnTo>
                    <a:pt x="738" y="68"/>
                  </a:lnTo>
                  <a:lnTo>
                    <a:pt x="740" y="68"/>
                  </a:lnTo>
                  <a:lnTo>
                    <a:pt x="742" y="68"/>
                  </a:lnTo>
                  <a:lnTo>
                    <a:pt x="744" y="68"/>
                  </a:lnTo>
                  <a:lnTo>
                    <a:pt x="749" y="74"/>
                  </a:lnTo>
                  <a:lnTo>
                    <a:pt x="749" y="77"/>
                  </a:lnTo>
                  <a:lnTo>
                    <a:pt x="749" y="79"/>
                  </a:lnTo>
                  <a:lnTo>
                    <a:pt x="748" y="81"/>
                  </a:lnTo>
                  <a:lnTo>
                    <a:pt x="748" y="89"/>
                  </a:lnTo>
                  <a:lnTo>
                    <a:pt x="748" y="93"/>
                  </a:lnTo>
                  <a:lnTo>
                    <a:pt x="746" y="93"/>
                  </a:lnTo>
                  <a:lnTo>
                    <a:pt x="740" y="100"/>
                  </a:lnTo>
                  <a:lnTo>
                    <a:pt x="736" y="100"/>
                  </a:lnTo>
                  <a:lnTo>
                    <a:pt x="734" y="104"/>
                  </a:lnTo>
                  <a:lnTo>
                    <a:pt x="734" y="106"/>
                  </a:lnTo>
                  <a:lnTo>
                    <a:pt x="744" y="112"/>
                  </a:lnTo>
                  <a:lnTo>
                    <a:pt x="744" y="118"/>
                  </a:lnTo>
                  <a:lnTo>
                    <a:pt x="744" y="120"/>
                  </a:lnTo>
                  <a:lnTo>
                    <a:pt x="742" y="122"/>
                  </a:lnTo>
                  <a:lnTo>
                    <a:pt x="730" y="125"/>
                  </a:lnTo>
                  <a:lnTo>
                    <a:pt x="728" y="127"/>
                  </a:lnTo>
                  <a:lnTo>
                    <a:pt x="726" y="125"/>
                  </a:lnTo>
                  <a:lnTo>
                    <a:pt x="725" y="123"/>
                  </a:lnTo>
                  <a:lnTo>
                    <a:pt x="723" y="120"/>
                  </a:lnTo>
                  <a:lnTo>
                    <a:pt x="721" y="116"/>
                  </a:lnTo>
                  <a:lnTo>
                    <a:pt x="721" y="112"/>
                  </a:lnTo>
                  <a:lnTo>
                    <a:pt x="725" y="108"/>
                  </a:lnTo>
                  <a:lnTo>
                    <a:pt x="725" y="106"/>
                  </a:lnTo>
                  <a:lnTo>
                    <a:pt x="723" y="106"/>
                  </a:lnTo>
                  <a:lnTo>
                    <a:pt x="719" y="104"/>
                  </a:lnTo>
                  <a:lnTo>
                    <a:pt x="711" y="102"/>
                  </a:lnTo>
                  <a:lnTo>
                    <a:pt x="707" y="104"/>
                  </a:lnTo>
                  <a:lnTo>
                    <a:pt x="713" y="97"/>
                  </a:lnTo>
                  <a:lnTo>
                    <a:pt x="711" y="97"/>
                  </a:lnTo>
                  <a:lnTo>
                    <a:pt x="703" y="102"/>
                  </a:lnTo>
                  <a:lnTo>
                    <a:pt x="701" y="106"/>
                  </a:lnTo>
                  <a:lnTo>
                    <a:pt x="696" y="114"/>
                  </a:lnTo>
                  <a:lnTo>
                    <a:pt x="694" y="114"/>
                  </a:lnTo>
                  <a:lnTo>
                    <a:pt x="696" y="114"/>
                  </a:lnTo>
                  <a:lnTo>
                    <a:pt x="698" y="120"/>
                  </a:lnTo>
                  <a:lnTo>
                    <a:pt x="701" y="118"/>
                  </a:lnTo>
                  <a:lnTo>
                    <a:pt x="703" y="120"/>
                  </a:lnTo>
                  <a:lnTo>
                    <a:pt x="701" y="120"/>
                  </a:lnTo>
                  <a:lnTo>
                    <a:pt x="701" y="122"/>
                  </a:lnTo>
                  <a:lnTo>
                    <a:pt x="701" y="120"/>
                  </a:lnTo>
                  <a:lnTo>
                    <a:pt x="700" y="120"/>
                  </a:lnTo>
                  <a:lnTo>
                    <a:pt x="698" y="120"/>
                  </a:lnTo>
                  <a:lnTo>
                    <a:pt x="696" y="118"/>
                  </a:lnTo>
                  <a:lnTo>
                    <a:pt x="696" y="116"/>
                  </a:lnTo>
                  <a:lnTo>
                    <a:pt x="694" y="114"/>
                  </a:lnTo>
                  <a:lnTo>
                    <a:pt x="690" y="120"/>
                  </a:lnTo>
                  <a:lnTo>
                    <a:pt x="690" y="122"/>
                  </a:lnTo>
                  <a:lnTo>
                    <a:pt x="692" y="123"/>
                  </a:lnTo>
                  <a:lnTo>
                    <a:pt x="692" y="125"/>
                  </a:lnTo>
                  <a:lnTo>
                    <a:pt x="686" y="129"/>
                  </a:lnTo>
                  <a:lnTo>
                    <a:pt x="684" y="131"/>
                  </a:lnTo>
                  <a:lnTo>
                    <a:pt x="684" y="141"/>
                  </a:lnTo>
                  <a:lnTo>
                    <a:pt x="682" y="145"/>
                  </a:lnTo>
                  <a:lnTo>
                    <a:pt x="680" y="147"/>
                  </a:lnTo>
                  <a:lnTo>
                    <a:pt x="678" y="147"/>
                  </a:lnTo>
                  <a:lnTo>
                    <a:pt x="676" y="148"/>
                  </a:lnTo>
                  <a:lnTo>
                    <a:pt x="675" y="148"/>
                  </a:lnTo>
                  <a:lnTo>
                    <a:pt x="669" y="148"/>
                  </a:lnTo>
                  <a:lnTo>
                    <a:pt x="667" y="148"/>
                  </a:lnTo>
                  <a:lnTo>
                    <a:pt x="665" y="152"/>
                  </a:lnTo>
                  <a:lnTo>
                    <a:pt x="665" y="150"/>
                  </a:lnTo>
                  <a:lnTo>
                    <a:pt x="663" y="150"/>
                  </a:lnTo>
                  <a:lnTo>
                    <a:pt x="651" y="156"/>
                  </a:lnTo>
                  <a:lnTo>
                    <a:pt x="648" y="162"/>
                  </a:lnTo>
                  <a:lnTo>
                    <a:pt x="648" y="164"/>
                  </a:lnTo>
                  <a:lnTo>
                    <a:pt x="640" y="170"/>
                  </a:lnTo>
                  <a:lnTo>
                    <a:pt x="640" y="172"/>
                  </a:lnTo>
                  <a:lnTo>
                    <a:pt x="636" y="181"/>
                  </a:lnTo>
                  <a:lnTo>
                    <a:pt x="636" y="187"/>
                  </a:lnTo>
                  <a:lnTo>
                    <a:pt x="640" y="189"/>
                  </a:lnTo>
                  <a:lnTo>
                    <a:pt x="640" y="191"/>
                  </a:lnTo>
                  <a:lnTo>
                    <a:pt x="640" y="195"/>
                  </a:lnTo>
                  <a:lnTo>
                    <a:pt x="638" y="195"/>
                  </a:lnTo>
                  <a:lnTo>
                    <a:pt x="636" y="196"/>
                  </a:lnTo>
                  <a:lnTo>
                    <a:pt x="630" y="191"/>
                  </a:lnTo>
                  <a:lnTo>
                    <a:pt x="628" y="191"/>
                  </a:lnTo>
                  <a:lnTo>
                    <a:pt x="626" y="200"/>
                  </a:lnTo>
                  <a:lnTo>
                    <a:pt x="623" y="195"/>
                  </a:lnTo>
                  <a:lnTo>
                    <a:pt x="619" y="202"/>
                  </a:lnTo>
                  <a:lnTo>
                    <a:pt x="602" y="210"/>
                  </a:lnTo>
                  <a:lnTo>
                    <a:pt x="603" y="202"/>
                  </a:lnTo>
                  <a:lnTo>
                    <a:pt x="609" y="200"/>
                  </a:lnTo>
                  <a:lnTo>
                    <a:pt x="605" y="196"/>
                  </a:lnTo>
                  <a:lnTo>
                    <a:pt x="613" y="198"/>
                  </a:lnTo>
                  <a:lnTo>
                    <a:pt x="615" y="193"/>
                  </a:lnTo>
                  <a:lnTo>
                    <a:pt x="602" y="183"/>
                  </a:lnTo>
                  <a:lnTo>
                    <a:pt x="603" y="179"/>
                  </a:lnTo>
                  <a:lnTo>
                    <a:pt x="602" y="175"/>
                  </a:lnTo>
                  <a:lnTo>
                    <a:pt x="603" y="170"/>
                  </a:lnTo>
                  <a:lnTo>
                    <a:pt x="596" y="172"/>
                  </a:lnTo>
                  <a:lnTo>
                    <a:pt x="596" y="173"/>
                  </a:lnTo>
                  <a:lnTo>
                    <a:pt x="592" y="172"/>
                  </a:lnTo>
                  <a:lnTo>
                    <a:pt x="607" y="160"/>
                  </a:lnTo>
                  <a:lnTo>
                    <a:pt x="611" y="156"/>
                  </a:lnTo>
                  <a:lnTo>
                    <a:pt x="596" y="166"/>
                  </a:lnTo>
                  <a:lnTo>
                    <a:pt x="586" y="175"/>
                  </a:lnTo>
                  <a:lnTo>
                    <a:pt x="571" y="202"/>
                  </a:lnTo>
                  <a:lnTo>
                    <a:pt x="575" y="202"/>
                  </a:lnTo>
                  <a:lnTo>
                    <a:pt x="575" y="198"/>
                  </a:lnTo>
                  <a:lnTo>
                    <a:pt x="578" y="196"/>
                  </a:lnTo>
                  <a:lnTo>
                    <a:pt x="577" y="202"/>
                  </a:lnTo>
                  <a:lnTo>
                    <a:pt x="586" y="206"/>
                  </a:lnTo>
                  <a:lnTo>
                    <a:pt x="582" y="216"/>
                  </a:lnTo>
                  <a:lnTo>
                    <a:pt x="578" y="218"/>
                  </a:lnTo>
                  <a:lnTo>
                    <a:pt x="575" y="216"/>
                  </a:lnTo>
                  <a:lnTo>
                    <a:pt x="577" y="208"/>
                  </a:lnTo>
                  <a:lnTo>
                    <a:pt x="571" y="210"/>
                  </a:lnTo>
                  <a:lnTo>
                    <a:pt x="569" y="212"/>
                  </a:lnTo>
                  <a:lnTo>
                    <a:pt x="571" y="204"/>
                  </a:lnTo>
                  <a:lnTo>
                    <a:pt x="563" y="214"/>
                  </a:lnTo>
                  <a:lnTo>
                    <a:pt x="559" y="218"/>
                  </a:lnTo>
                  <a:lnTo>
                    <a:pt x="559" y="220"/>
                  </a:lnTo>
                  <a:lnTo>
                    <a:pt x="552" y="229"/>
                  </a:lnTo>
                  <a:lnTo>
                    <a:pt x="546" y="233"/>
                  </a:lnTo>
                  <a:lnTo>
                    <a:pt x="544" y="233"/>
                  </a:lnTo>
                  <a:lnTo>
                    <a:pt x="532" y="258"/>
                  </a:lnTo>
                  <a:lnTo>
                    <a:pt x="530" y="262"/>
                  </a:lnTo>
                  <a:lnTo>
                    <a:pt x="532" y="256"/>
                  </a:lnTo>
                  <a:lnTo>
                    <a:pt x="519" y="275"/>
                  </a:lnTo>
                  <a:lnTo>
                    <a:pt x="513" y="281"/>
                  </a:lnTo>
                  <a:lnTo>
                    <a:pt x="504" y="279"/>
                  </a:lnTo>
                  <a:lnTo>
                    <a:pt x="511" y="283"/>
                  </a:lnTo>
                  <a:lnTo>
                    <a:pt x="513" y="289"/>
                  </a:lnTo>
                  <a:lnTo>
                    <a:pt x="515" y="287"/>
                  </a:lnTo>
                  <a:lnTo>
                    <a:pt x="523" y="291"/>
                  </a:lnTo>
                  <a:lnTo>
                    <a:pt x="511" y="291"/>
                  </a:lnTo>
                  <a:lnTo>
                    <a:pt x="509" y="294"/>
                  </a:lnTo>
                  <a:lnTo>
                    <a:pt x="502" y="296"/>
                  </a:lnTo>
                  <a:lnTo>
                    <a:pt x="500" y="302"/>
                  </a:lnTo>
                  <a:lnTo>
                    <a:pt x="498" y="300"/>
                  </a:lnTo>
                  <a:lnTo>
                    <a:pt x="494" y="306"/>
                  </a:lnTo>
                  <a:lnTo>
                    <a:pt x="500" y="312"/>
                  </a:lnTo>
                  <a:lnTo>
                    <a:pt x="500" y="319"/>
                  </a:lnTo>
                  <a:lnTo>
                    <a:pt x="502" y="325"/>
                  </a:lnTo>
                  <a:lnTo>
                    <a:pt x="500" y="329"/>
                  </a:lnTo>
                  <a:lnTo>
                    <a:pt x="505" y="337"/>
                  </a:lnTo>
                  <a:lnTo>
                    <a:pt x="505" y="348"/>
                  </a:lnTo>
                  <a:lnTo>
                    <a:pt x="505" y="346"/>
                  </a:lnTo>
                  <a:lnTo>
                    <a:pt x="500" y="346"/>
                  </a:lnTo>
                  <a:lnTo>
                    <a:pt x="482" y="360"/>
                  </a:lnTo>
                  <a:lnTo>
                    <a:pt x="480" y="367"/>
                  </a:lnTo>
                  <a:lnTo>
                    <a:pt x="482" y="358"/>
                  </a:lnTo>
                  <a:lnTo>
                    <a:pt x="469" y="366"/>
                  </a:lnTo>
                  <a:lnTo>
                    <a:pt x="461" y="364"/>
                  </a:lnTo>
                  <a:lnTo>
                    <a:pt x="452" y="352"/>
                  </a:lnTo>
                  <a:lnTo>
                    <a:pt x="430" y="350"/>
                  </a:lnTo>
                  <a:lnTo>
                    <a:pt x="429" y="343"/>
                  </a:lnTo>
                  <a:lnTo>
                    <a:pt x="430" y="335"/>
                  </a:lnTo>
                  <a:lnTo>
                    <a:pt x="434" y="331"/>
                  </a:lnTo>
                  <a:lnTo>
                    <a:pt x="430" y="325"/>
                  </a:lnTo>
                  <a:lnTo>
                    <a:pt x="432" y="323"/>
                  </a:lnTo>
                  <a:lnTo>
                    <a:pt x="454" y="308"/>
                  </a:lnTo>
                  <a:lnTo>
                    <a:pt x="463" y="306"/>
                  </a:lnTo>
                  <a:lnTo>
                    <a:pt x="459" y="300"/>
                  </a:lnTo>
                  <a:lnTo>
                    <a:pt x="455" y="298"/>
                  </a:lnTo>
                  <a:lnTo>
                    <a:pt x="452" y="293"/>
                  </a:lnTo>
                  <a:lnTo>
                    <a:pt x="450" y="293"/>
                  </a:lnTo>
                  <a:lnTo>
                    <a:pt x="450" y="291"/>
                  </a:lnTo>
                  <a:lnTo>
                    <a:pt x="434" y="285"/>
                  </a:lnTo>
                  <a:lnTo>
                    <a:pt x="430" y="279"/>
                  </a:lnTo>
                  <a:lnTo>
                    <a:pt x="411" y="279"/>
                  </a:lnTo>
                  <a:lnTo>
                    <a:pt x="384" y="293"/>
                  </a:lnTo>
                  <a:lnTo>
                    <a:pt x="373" y="291"/>
                  </a:lnTo>
                  <a:lnTo>
                    <a:pt x="365" y="293"/>
                  </a:lnTo>
                  <a:lnTo>
                    <a:pt x="361" y="294"/>
                  </a:lnTo>
                  <a:lnTo>
                    <a:pt x="363" y="294"/>
                  </a:lnTo>
                  <a:lnTo>
                    <a:pt x="392" y="304"/>
                  </a:lnTo>
                  <a:lnTo>
                    <a:pt x="396" y="319"/>
                  </a:lnTo>
                  <a:lnTo>
                    <a:pt x="400" y="316"/>
                  </a:lnTo>
                  <a:lnTo>
                    <a:pt x="398" y="321"/>
                  </a:lnTo>
                  <a:lnTo>
                    <a:pt x="400" y="321"/>
                  </a:lnTo>
                  <a:lnTo>
                    <a:pt x="398" y="325"/>
                  </a:lnTo>
                  <a:lnTo>
                    <a:pt x="402" y="325"/>
                  </a:lnTo>
                  <a:lnTo>
                    <a:pt x="398" y="329"/>
                  </a:lnTo>
                  <a:lnTo>
                    <a:pt x="402" y="339"/>
                  </a:lnTo>
                  <a:lnTo>
                    <a:pt x="404" y="339"/>
                  </a:lnTo>
                  <a:lnTo>
                    <a:pt x="402" y="341"/>
                  </a:lnTo>
                  <a:lnTo>
                    <a:pt x="404" y="364"/>
                  </a:lnTo>
                  <a:lnTo>
                    <a:pt x="407" y="369"/>
                  </a:lnTo>
                  <a:lnTo>
                    <a:pt x="413" y="367"/>
                  </a:lnTo>
                  <a:lnTo>
                    <a:pt x="421" y="369"/>
                  </a:lnTo>
                  <a:lnTo>
                    <a:pt x="423" y="367"/>
                  </a:lnTo>
                  <a:lnTo>
                    <a:pt x="421" y="371"/>
                  </a:lnTo>
                  <a:lnTo>
                    <a:pt x="430" y="377"/>
                  </a:lnTo>
                  <a:lnTo>
                    <a:pt x="430" y="381"/>
                  </a:lnTo>
                  <a:lnTo>
                    <a:pt x="429" y="385"/>
                  </a:lnTo>
                  <a:lnTo>
                    <a:pt x="436" y="391"/>
                  </a:lnTo>
                  <a:lnTo>
                    <a:pt x="434" y="394"/>
                  </a:lnTo>
                  <a:lnTo>
                    <a:pt x="436" y="400"/>
                  </a:lnTo>
                  <a:lnTo>
                    <a:pt x="434" y="408"/>
                  </a:lnTo>
                  <a:lnTo>
                    <a:pt x="434" y="419"/>
                  </a:lnTo>
                  <a:lnTo>
                    <a:pt x="446" y="439"/>
                  </a:lnTo>
                  <a:lnTo>
                    <a:pt x="438" y="431"/>
                  </a:lnTo>
                  <a:lnTo>
                    <a:pt x="436" y="427"/>
                  </a:lnTo>
                  <a:lnTo>
                    <a:pt x="430" y="423"/>
                  </a:lnTo>
                  <a:lnTo>
                    <a:pt x="427" y="425"/>
                  </a:lnTo>
                  <a:lnTo>
                    <a:pt x="421" y="433"/>
                  </a:lnTo>
                  <a:lnTo>
                    <a:pt x="425" y="435"/>
                  </a:lnTo>
                  <a:lnTo>
                    <a:pt x="427" y="439"/>
                  </a:lnTo>
                  <a:lnTo>
                    <a:pt x="423" y="435"/>
                  </a:lnTo>
                  <a:lnTo>
                    <a:pt x="421" y="437"/>
                  </a:lnTo>
                  <a:lnTo>
                    <a:pt x="417" y="435"/>
                  </a:lnTo>
                  <a:lnTo>
                    <a:pt x="425" y="421"/>
                  </a:lnTo>
                  <a:lnTo>
                    <a:pt x="419" y="419"/>
                  </a:lnTo>
                  <a:lnTo>
                    <a:pt x="415" y="419"/>
                  </a:lnTo>
                  <a:lnTo>
                    <a:pt x="409" y="416"/>
                  </a:lnTo>
                  <a:lnTo>
                    <a:pt x="392" y="425"/>
                  </a:lnTo>
                  <a:lnTo>
                    <a:pt x="394" y="421"/>
                  </a:lnTo>
                  <a:lnTo>
                    <a:pt x="381" y="421"/>
                  </a:lnTo>
                  <a:lnTo>
                    <a:pt x="375" y="446"/>
                  </a:lnTo>
                  <a:lnTo>
                    <a:pt x="369" y="454"/>
                  </a:lnTo>
                  <a:lnTo>
                    <a:pt x="354" y="465"/>
                  </a:lnTo>
                  <a:lnTo>
                    <a:pt x="350" y="479"/>
                  </a:lnTo>
                  <a:lnTo>
                    <a:pt x="340" y="494"/>
                  </a:lnTo>
                  <a:lnTo>
                    <a:pt x="338" y="500"/>
                  </a:lnTo>
                  <a:lnTo>
                    <a:pt x="342" y="510"/>
                  </a:lnTo>
                  <a:lnTo>
                    <a:pt x="357" y="523"/>
                  </a:lnTo>
                  <a:lnTo>
                    <a:pt x="363" y="523"/>
                  </a:lnTo>
                  <a:lnTo>
                    <a:pt x="373" y="535"/>
                  </a:lnTo>
                  <a:lnTo>
                    <a:pt x="371" y="539"/>
                  </a:lnTo>
                  <a:lnTo>
                    <a:pt x="379" y="548"/>
                  </a:lnTo>
                  <a:lnTo>
                    <a:pt x="369" y="550"/>
                  </a:lnTo>
                  <a:lnTo>
                    <a:pt x="357" y="548"/>
                  </a:lnTo>
                  <a:lnTo>
                    <a:pt x="357" y="552"/>
                  </a:lnTo>
                  <a:lnTo>
                    <a:pt x="361" y="550"/>
                  </a:lnTo>
                  <a:lnTo>
                    <a:pt x="357" y="554"/>
                  </a:lnTo>
                  <a:lnTo>
                    <a:pt x="352" y="556"/>
                  </a:lnTo>
                  <a:lnTo>
                    <a:pt x="332" y="552"/>
                  </a:lnTo>
                  <a:lnTo>
                    <a:pt x="319" y="552"/>
                  </a:lnTo>
                  <a:lnTo>
                    <a:pt x="319" y="556"/>
                  </a:lnTo>
                  <a:lnTo>
                    <a:pt x="315" y="556"/>
                  </a:lnTo>
                  <a:lnTo>
                    <a:pt x="311" y="562"/>
                  </a:lnTo>
                  <a:lnTo>
                    <a:pt x="308" y="558"/>
                  </a:lnTo>
                  <a:lnTo>
                    <a:pt x="315" y="554"/>
                  </a:lnTo>
                  <a:lnTo>
                    <a:pt x="315" y="550"/>
                  </a:lnTo>
                  <a:lnTo>
                    <a:pt x="306" y="552"/>
                  </a:lnTo>
                  <a:lnTo>
                    <a:pt x="296" y="548"/>
                  </a:lnTo>
                  <a:lnTo>
                    <a:pt x="294" y="544"/>
                  </a:lnTo>
                  <a:lnTo>
                    <a:pt x="273" y="540"/>
                  </a:lnTo>
                  <a:lnTo>
                    <a:pt x="269" y="544"/>
                  </a:lnTo>
                  <a:lnTo>
                    <a:pt x="271" y="556"/>
                  </a:lnTo>
                  <a:lnTo>
                    <a:pt x="267" y="560"/>
                  </a:lnTo>
                  <a:lnTo>
                    <a:pt x="261" y="562"/>
                  </a:lnTo>
                  <a:lnTo>
                    <a:pt x="267" y="565"/>
                  </a:lnTo>
                  <a:lnTo>
                    <a:pt x="265" y="567"/>
                  </a:lnTo>
                  <a:lnTo>
                    <a:pt x="269" y="571"/>
                  </a:lnTo>
                  <a:lnTo>
                    <a:pt x="273" y="571"/>
                  </a:lnTo>
                  <a:lnTo>
                    <a:pt x="290" y="587"/>
                  </a:lnTo>
                  <a:lnTo>
                    <a:pt x="296" y="588"/>
                  </a:lnTo>
                  <a:lnTo>
                    <a:pt x="300" y="585"/>
                  </a:lnTo>
                  <a:lnTo>
                    <a:pt x="304" y="585"/>
                  </a:lnTo>
                  <a:lnTo>
                    <a:pt x="306" y="579"/>
                  </a:lnTo>
                  <a:lnTo>
                    <a:pt x="308" y="579"/>
                  </a:lnTo>
                  <a:lnTo>
                    <a:pt x="309" y="581"/>
                  </a:lnTo>
                  <a:lnTo>
                    <a:pt x="315" y="585"/>
                  </a:lnTo>
                  <a:lnTo>
                    <a:pt x="315" y="590"/>
                  </a:lnTo>
                  <a:lnTo>
                    <a:pt x="319" y="592"/>
                  </a:lnTo>
                  <a:lnTo>
                    <a:pt x="323" y="600"/>
                  </a:lnTo>
                  <a:lnTo>
                    <a:pt x="321" y="606"/>
                  </a:lnTo>
                  <a:lnTo>
                    <a:pt x="317" y="610"/>
                  </a:lnTo>
                  <a:lnTo>
                    <a:pt x="313" y="610"/>
                  </a:lnTo>
                  <a:lnTo>
                    <a:pt x="311" y="617"/>
                  </a:lnTo>
                  <a:lnTo>
                    <a:pt x="306" y="619"/>
                  </a:lnTo>
                  <a:lnTo>
                    <a:pt x="300" y="615"/>
                  </a:lnTo>
                  <a:lnTo>
                    <a:pt x="286" y="617"/>
                  </a:lnTo>
                  <a:lnTo>
                    <a:pt x="281" y="617"/>
                  </a:lnTo>
                  <a:lnTo>
                    <a:pt x="273" y="615"/>
                  </a:lnTo>
                  <a:lnTo>
                    <a:pt x="273" y="613"/>
                  </a:lnTo>
                  <a:lnTo>
                    <a:pt x="271" y="612"/>
                  </a:lnTo>
                  <a:lnTo>
                    <a:pt x="271" y="608"/>
                  </a:lnTo>
                  <a:lnTo>
                    <a:pt x="263" y="604"/>
                  </a:lnTo>
                  <a:lnTo>
                    <a:pt x="263" y="608"/>
                  </a:lnTo>
                  <a:lnTo>
                    <a:pt x="258" y="602"/>
                  </a:lnTo>
                  <a:lnTo>
                    <a:pt x="248" y="598"/>
                  </a:lnTo>
                  <a:lnTo>
                    <a:pt x="250" y="602"/>
                  </a:lnTo>
                  <a:lnTo>
                    <a:pt x="242" y="606"/>
                  </a:lnTo>
                  <a:lnTo>
                    <a:pt x="240" y="602"/>
                  </a:lnTo>
                  <a:lnTo>
                    <a:pt x="236" y="604"/>
                  </a:lnTo>
                  <a:lnTo>
                    <a:pt x="234" y="602"/>
                  </a:lnTo>
                  <a:lnTo>
                    <a:pt x="231" y="602"/>
                  </a:lnTo>
                  <a:lnTo>
                    <a:pt x="229" y="598"/>
                  </a:lnTo>
                  <a:lnTo>
                    <a:pt x="223" y="596"/>
                  </a:lnTo>
                  <a:lnTo>
                    <a:pt x="227" y="590"/>
                  </a:lnTo>
                  <a:lnTo>
                    <a:pt x="221" y="587"/>
                  </a:lnTo>
                  <a:lnTo>
                    <a:pt x="227" y="583"/>
                  </a:lnTo>
                  <a:lnTo>
                    <a:pt x="219" y="585"/>
                  </a:lnTo>
                  <a:lnTo>
                    <a:pt x="223" y="581"/>
                  </a:lnTo>
                  <a:lnTo>
                    <a:pt x="223" y="579"/>
                  </a:lnTo>
                  <a:lnTo>
                    <a:pt x="221" y="575"/>
                  </a:lnTo>
                  <a:lnTo>
                    <a:pt x="215" y="573"/>
                  </a:lnTo>
                  <a:lnTo>
                    <a:pt x="217" y="569"/>
                  </a:lnTo>
                  <a:lnTo>
                    <a:pt x="215" y="567"/>
                  </a:lnTo>
                  <a:lnTo>
                    <a:pt x="215" y="563"/>
                  </a:lnTo>
                  <a:lnTo>
                    <a:pt x="211" y="565"/>
                  </a:lnTo>
                  <a:lnTo>
                    <a:pt x="209" y="562"/>
                  </a:lnTo>
                  <a:lnTo>
                    <a:pt x="211" y="560"/>
                  </a:lnTo>
                  <a:lnTo>
                    <a:pt x="208" y="558"/>
                  </a:lnTo>
                  <a:lnTo>
                    <a:pt x="204" y="556"/>
                  </a:lnTo>
                  <a:lnTo>
                    <a:pt x="202" y="552"/>
                  </a:lnTo>
                  <a:lnTo>
                    <a:pt x="198" y="552"/>
                  </a:lnTo>
                  <a:lnTo>
                    <a:pt x="202" y="548"/>
                  </a:lnTo>
                  <a:lnTo>
                    <a:pt x="202" y="546"/>
                  </a:lnTo>
                  <a:lnTo>
                    <a:pt x="206" y="544"/>
                  </a:lnTo>
                  <a:lnTo>
                    <a:pt x="204" y="542"/>
                  </a:lnTo>
                  <a:lnTo>
                    <a:pt x="208" y="537"/>
                  </a:lnTo>
                  <a:lnTo>
                    <a:pt x="202" y="525"/>
                  </a:lnTo>
                  <a:lnTo>
                    <a:pt x="209" y="529"/>
                  </a:lnTo>
                  <a:lnTo>
                    <a:pt x="209" y="527"/>
                  </a:lnTo>
                  <a:lnTo>
                    <a:pt x="206" y="525"/>
                  </a:lnTo>
                  <a:lnTo>
                    <a:pt x="206" y="521"/>
                  </a:lnTo>
                  <a:lnTo>
                    <a:pt x="204" y="523"/>
                  </a:lnTo>
                  <a:lnTo>
                    <a:pt x="204" y="517"/>
                  </a:lnTo>
                  <a:lnTo>
                    <a:pt x="200" y="519"/>
                  </a:lnTo>
                  <a:lnTo>
                    <a:pt x="198" y="514"/>
                  </a:lnTo>
                  <a:lnTo>
                    <a:pt x="192" y="510"/>
                  </a:lnTo>
                  <a:lnTo>
                    <a:pt x="181" y="506"/>
                  </a:lnTo>
                  <a:lnTo>
                    <a:pt x="179" y="502"/>
                  </a:lnTo>
                  <a:lnTo>
                    <a:pt x="173" y="506"/>
                  </a:lnTo>
                  <a:lnTo>
                    <a:pt x="163" y="498"/>
                  </a:lnTo>
                  <a:lnTo>
                    <a:pt x="161" y="498"/>
                  </a:lnTo>
                  <a:lnTo>
                    <a:pt x="167" y="496"/>
                  </a:lnTo>
                  <a:lnTo>
                    <a:pt x="161" y="494"/>
                  </a:lnTo>
                  <a:lnTo>
                    <a:pt x="161" y="492"/>
                  </a:lnTo>
                  <a:lnTo>
                    <a:pt x="158" y="494"/>
                  </a:lnTo>
                  <a:lnTo>
                    <a:pt x="152" y="492"/>
                  </a:lnTo>
                  <a:lnTo>
                    <a:pt x="150" y="494"/>
                  </a:lnTo>
                  <a:lnTo>
                    <a:pt x="144" y="496"/>
                  </a:lnTo>
                  <a:lnTo>
                    <a:pt x="150" y="492"/>
                  </a:lnTo>
                  <a:lnTo>
                    <a:pt x="146" y="492"/>
                  </a:lnTo>
                  <a:lnTo>
                    <a:pt x="142" y="492"/>
                  </a:lnTo>
                  <a:lnTo>
                    <a:pt x="146" y="490"/>
                  </a:lnTo>
                  <a:lnTo>
                    <a:pt x="148" y="487"/>
                  </a:lnTo>
                  <a:lnTo>
                    <a:pt x="152" y="487"/>
                  </a:lnTo>
                  <a:lnTo>
                    <a:pt x="152" y="485"/>
                  </a:lnTo>
                  <a:lnTo>
                    <a:pt x="138" y="485"/>
                  </a:lnTo>
                  <a:lnTo>
                    <a:pt x="136" y="485"/>
                  </a:lnTo>
                  <a:lnTo>
                    <a:pt x="140" y="483"/>
                  </a:lnTo>
                  <a:lnTo>
                    <a:pt x="140" y="481"/>
                  </a:lnTo>
                  <a:lnTo>
                    <a:pt x="125" y="479"/>
                  </a:lnTo>
                  <a:lnTo>
                    <a:pt x="127" y="475"/>
                  </a:lnTo>
                  <a:lnTo>
                    <a:pt x="127" y="473"/>
                  </a:lnTo>
                  <a:lnTo>
                    <a:pt x="129" y="471"/>
                  </a:lnTo>
                  <a:lnTo>
                    <a:pt x="125" y="469"/>
                  </a:lnTo>
                  <a:lnTo>
                    <a:pt x="110" y="467"/>
                  </a:lnTo>
                  <a:lnTo>
                    <a:pt x="108" y="465"/>
                  </a:lnTo>
                  <a:lnTo>
                    <a:pt x="113" y="465"/>
                  </a:lnTo>
                  <a:lnTo>
                    <a:pt x="119" y="462"/>
                  </a:lnTo>
                  <a:lnTo>
                    <a:pt x="133" y="464"/>
                  </a:lnTo>
                  <a:lnTo>
                    <a:pt x="135" y="469"/>
                  </a:lnTo>
                  <a:lnTo>
                    <a:pt x="156" y="481"/>
                  </a:lnTo>
                  <a:lnTo>
                    <a:pt x="156" y="473"/>
                  </a:lnTo>
                  <a:lnTo>
                    <a:pt x="160" y="475"/>
                  </a:lnTo>
                  <a:lnTo>
                    <a:pt x="165" y="479"/>
                  </a:lnTo>
                  <a:lnTo>
                    <a:pt x="171" y="479"/>
                  </a:lnTo>
                  <a:lnTo>
                    <a:pt x="183" y="477"/>
                  </a:lnTo>
                  <a:lnTo>
                    <a:pt x="179" y="481"/>
                  </a:lnTo>
                  <a:lnTo>
                    <a:pt x="185" y="485"/>
                  </a:lnTo>
                  <a:lnTo>
                    <a:pt x="190" y="477"/>
                  </a:lnTo>
                  <a:lnTo>
                    <a:pt x="198" y="479"/>
                  </a:lnTo>
                  <a:lnTo>
                    <a:pt x="213" y="485"/>
                  </a:lnTo>
                  <a:lnTo>
                    <a:pt x="258" y="481"/>
                  </a:lnTo>
                  <a:lnTo>
                    <a:pt x="271" y="483"/>
                  </a:lnTo>
                  <a:lnTo>
                    <a:pt x="283" y="483"/>
                  </a:lnTo>
                  <a:lnTo>
                    <a:pt x="298" y="479"/>
                  </a:lnTo>
                  <a:lnTo>
                    <a:pt x="315" y="469"/>
                  </a:lnTo>
                  <a:lnTo>
                    <a:pt x="332" y="454"/>
                  </a:lnTo>
                  <a:lnTo>
                    <a:pt x="338" y="444"/>
                  </a:lnTo>
                  <a:lnTo>
                    <a:pt x="350" y="416"/>
                  </a:lnTo>
                  <a:lnTo>
                    <a:pt x="348" y="396"/>
                  </a:lnTo>
                  <a:lnTo>
                    <a:pt x="344" y="391"/>
                  </a:lnTo>
                  <a:lnTo>
                    <a:pt x="340" y="391"/>
                  </a:lnTo>
                  <a:lnTo>
                    <a:pt x="338" y="387"/>
                  </a:lnTo>
                  <a:lnTo>
                    <a:pt x="336" y="381"/>
                  </a:lnTo>
                  <a:lnTo>
                    <a:pt x="332" y="379"/>
                  </a:lnTo>
                  <a:lnTo>
                    <a:pt x="331" y="369"/>
                  </a:lnTo>
                  <a:lnTo>
                    <a:pt x="327" y="366"/>
                  </a:lnTo>
                  <a:lnTo>
                    <a:pt x="323" y="367"/>
                  </a:lnTo>
                  <a:lnTo>
                    <a:pt x="317" y="364"/>
                  </a:lnTo>
                  <a:lnTo>
                    <a:pt x="315" y="366"/>
                  </a:lnTo>
                  <a:lnTo>
                    <a:pt x="315" y="367"/>
                  </a:lnTo>
                  <a:lnTo>
                    <a:pt x="313" y="369"/>
                  </a:lnTo>
                  <a:lnTo>
                    <a:pt x="308" y="366"/>
                  </a:lnTo>
                  <a:lnTo>
                    <a:pt x="309" y="364"/>
                  </a:lnTo>
                  <a:lnTo>
                    <a:pt x="308" y="362"/>
                  </a:lnTo>
                  <a:lnTo>
                    <a:pt x="302" y="360"/>
                  </a:lnTo>
                  <a:lnTo>
                    <a:pt x="288" y="352"/>
                  </a:lnTo>
                  <a:lnTo>
                    <a:pt x="286" y="352"/>
                  </a:lnTo>
                  <a:lnTo>
                    <a:pt x="292" y="358"/>
                  </a:lnTo>
                  <a:lnTo>
                    <a:pt x="286" y="360"/>
                  </a:lnTo>
                  <a:lnTo>
                    <a:pt x="256" y="350"/>
                  </a:lnTo>
                  <a:lnTo>
                    <a:pt x="254" y="352"/>
                  </a:lnTo>
                  <a:lnTo>
                    <a:pt x="261" y="354"/>
                  </a:lnTo>
                  <a:lnTo>
                    <a:pt x="254" y="352"/>
                  </a:lnTo>
                  <a:lnTo>
                    <a:pt x="252" y="354"/>
                  </a:lnTo>
                  <a:lnTo>
                    <a:pt x="248" y="348"/>
                  </a:lnTo>
                  <a:lnTo>
                    <a:pt x="240" y="346"/>
                  </a:lnTo>
                  <a:lnTo>
                    <a:pt x="233" y="341"/>
                  </a:lnTo>
                  <a:lnTo>
                    <a:pt x="196" y="331"/>
                  </a:lnTo>
                  <a:lnTo>
                    <a:pt x="190" y="331"/>
                  </a:lnTo>
                  <a:lnTo>
                    <a:pt x="186" y="327"/>
                  </a:lnTo>
                  <a:lnTo>
                    <a:pt x="183" y="329"/>
                  </a:lnTo>
                  <a:lnTo>
                    <a:pt x="179" y="325"/>
                  </a:lnTo>
                  <a:lnTo>
                    <a:pt x="161" y="325"/>
                  </a:lnTo>
                  <a:lnTo>
                    <a:pt x="158" y="327"/>
                  </a:lnTo>
                  <a:lnTo>
                    <a:pt x="161" y="329"/>
                  </a:lnTo>
                  <a:lnTo>
                    <a:pt x="160" y="331"/>
                  </a:lnTo>
                  <a:lnTo>
                    <a:pt x="158" y="329"/>
                  </a:lnTo>
                  <a:lnTo>
                    <a:pt x="156" y="331"/>
                  </a:lnTo>
                  <a:lnTo>
                    <a:pt x="146" y="331"/>
                  </a:lnTo>
                  <a:lnTo>
                    <a:pt x="138" y="329"/>
                  </a:lnTo>
                  <a:lnTo>
                    <a:pt x="129" y="331"/>
                  </a:lnTo>
                  <a:lnTo>
                    <a:pt x="111" y="339"/>
                  </a:lnTo>
                  <a:lnTo>
                    <a:pt x="115" y="333"/>
                  </a:lnTo>
                  <a:lnTo>
                    <a:pt x="117" y="329"/>
                  </a:lnTo>
                  <a:lnTo>
                    <a:pt x="111" y="329"/>
                  </a:lnTo>
                  <a:lnTo>
                    <a:pt x="102" y="331"/>
                  </a:lnTo>
                  <a:lnTo>
                    <a:pt x="100" y="329"/>
                  </a:lnTo>
                  <a:lnTo>
                    <a:pt x="90" y="331"/>
                  </a:lnTo>
                  <a:lnTo>
                    <a:pt x="88" y="329"/>
                  </a:lnTo>
                  <a:lnTo>
                    <a:pt x="88" y="327"/>
                  </a:lnTo>
                  <a:lnTo>
                    <a:pt x="83" y="327"/>
                  </a:lnTo>
                  <a:lnTo>
                    <a:pt x="79" y="331"/>
                  </a:lnTo>
                  <a:lnTo>
                    <a:pt x="77" y="325"/>
                  </a:lnTo>
                  <a:lnTo>
                    <a:pt x="79" y="323"/>
                  </a:lnTo>
                  <a:lnTo>
                    <a:pt x="81" y="325"/>
                  </a:lnTo>
                  <a:lnTo>
                    <a:pt x="98" y="323"/>
                  </a:lnTo>
                  <a:lnTo>
                    <a:pt x="104" y="319"/>
                  </a:lnTo>
                  <a:lnTo>
                    <a:pt x="104" y="316"/>
                  </a:lnTo>
                  <a:lnTo>
                    <a:pt x="98" y="314"/>
                  </a:lnTo>
                  <a:lnTo>
                    <a:pt x="87" y="314"/>
                  </a:lnTo>
                  <a:lnTo>
                    <a:pt x="87" y="312"/>
                  </a:lnTo>
                  <a:lnTo>
                    <a:pt x="81" y="312"/>
                  </a:lnTo>
                  <a:lnTo>
                    <a:pt x="75" y="308"/>
                  </a:lnTo>
                  <a:lnTo>
                    <a:pt x="71" y="308"/>
                  </a:lnTo>
                  <a:lnTo>
                    <a:pt x="71" y="310"/>
                  </a:lnTo>
                  <a:lnTo>
                    <a:pt x="77" y="318"/>
                  </a:lnTo>
                  <a:lnTo>
                    <a:pt x="77" y="319"/>
                  </a:lnTo>
                  <a:lnTo>
                    <a:pt x="69" y="316"/>
                  </a:lnTo>
                  <a:lnTo>
                    <a:pt x="69" y="323"/>
                  </a:lnTo>
                  <a:lnTo>
                    <a:pt x="71" y="325"/>
                  </a:lnTo>
                  <a:lnTo>
                    <a:pt x="62" y="325"/>
                  </a:lnTo>
                  <a:lnTo>
                    <a:pt x="46" y="323"/>
                  </a:lnTo>
                  <a:lnTo>
                    <a:pt x="48" y="327"/>
                  </a:lnTo>
                  <a:lnTo>
                    <a:pt x="50" y="329"/>
                  </a:lnTo>
                  <a:lnTo>
                    <a:pt x="50" y="331"/>
                  </a:lnTo>
                  <a:lnTo>
                    <a:pt x="52" y="333"/>
                  </a:lnTo>
                  <a:lnTo>
                    <a:pt x="52" y="335"/>
                  </a:lnTo>
                  <a:lnTo>
                    <a:pt x="52" y="337"/>
                  </a:lnTo>
                  <a:lnTo>
                    <a:pt x="48" y="339"/>
                  </a:lnTo>
                  <a:lnTo>
                    <a:pt x="46" y="339"/>
                  </a:lnTo>
                  <a:lnTo>
                    <a:pt x="44" y="339"/>
                  </a:lnTo>
                  <a:lnTo>
                    <a:pt x="42" y="339"/>
                  </a:lnTo>
                  <a:lnTo>
                    <a:pt x="40" y="337"/>
                  </a:lnTo>
                  <a:lnTo>
                    <a:pt x="38" y="337"/>
                  </a:lnTo>
                  <a:lnTo>
                    <a:pt x="37" y="335"/>
                  </a:lnTo>
                  <a:lnTo>
                    <a:pt x="35" y="335"/>
                  </a:lnTo>
                  <a:lnTo>
                    <a:pt x="31" y="335"/>
                  </a:lnTo>
                  <a:lnTo>
                    <a:pt x="33" y="339"/>
                  </a:lnTo>
                  <a:lnTo>
                    <a:pt x="35" y="339"/>
                  </a:lnTo>
                  <a:lnTo>
                    <a:pt x="35" y="341"/>
                  </a:lnTo>
                  <a:lnTo>
                    <a:pt x="35" y="343"/>
                  </a:lnTo>
                  <a:lnTo>
                    <a:pt x="33" y="343"/>
                  </a:lnTo>
                  <a:lnTo>
                    <a:pt x="33" y="344"/>
                  </a:lnTo>
                  <a:lnTo>
                    <a:pt x="33" y="346"/>
                  </a:lnTo>
                  <a:lnTo>
                    <a:pt x="33" y="348"/>
                  </a:lnTo>
                  <a:lnTo>
                    <a:pt x="31" y="348"/>
                  </a:lnTo>
                  <a:lnTo>
                    <a:pt x="31" y="350"/>
                  </a:lnTo>
                  <a:lnTo>
                    <a:pt x="29" y="350"/>
                  </a:lnTo>
                  <a:lnTo>
                    <a:pt x="27" y="350"/>
                  </a:lnTo>
                  <a:lnTo>
                    <a:pt x="25" y="352"/>
                  </a:lnTo>
                  <a:lnTo>
                    <a:pt x="25" y="354"/>
                  </a:lnTo>
                  <a:lnTo>
                    <a:pt x="23" y="354"/>
                  </a:lnTo>
                  <a:lnTo>
                    <a:pt x="23" y="356"/>
                  </a:lnTo>
                  <a:lnTo>
                    <a:pt x="21" y="356"/>
                  </a:lnTo>
                  <a:lnTo>
                    <a:pt x="19" y="356"/>
                  </a:lnTo>
                  <a:lnTo>
                    <a:pt x="17" y="358"/>
                  </a:lnTo>
                  <a:lnTo>
                    <a:pt x="15" y="360"/>
                  </a:lnTo>
                  <a:lnTo>
                    <a:pt x="15" y="362"/>
                  </a:lnTo>
                  <a:lnTo>
                    <a:pt x="17" y="362"/>
                  </a:lnTo>
                  <a:lnTo>
                    <a:pt x="17" y="364"/>
                  </a:lnTo>
                  <a:lnTo>
                    <a:pt x="17" y="366"/>
                  </a:lnTo>
                  <a:lnTo>
                    <a:pt x="15" y="369"/>
                  </a:lnTo>
                  <a:lnTo>
                    <a:pt x="15" y="371"/>
                  </a:lnTo>
                  <a:lnTo>
                    <a:pt x="15" y="373"/>
                  </a:lnTo>
                  <a:lnTo>
                    <a:pt x="13" y="375"/>
                  </a:lnTo>
                  <a:lnTo>
                    <a:pt x="12" y="375"/>
                  </a:lnTo>
                  <a:lnTo>
                    <a:pt x="10" y="375"/>
                  </a:lnTo>
                  <a:lnTo>
                    <a:pt x="0" y="385"/>
                  </a:lnTo>
                  <a:lnTo>
                    <a:pt x="2" y="387"/>
                  </a:lnTo>
                  <a:lnTo>
                    <a:pt x="4" y="385"/>
                  </a:lnTo>
                  <a:lnTo>
                    <a:pt x="10" y="385"/>
                  </a:lnTo>
                  <a:lnTo>
                    <a:pt x="8" y="392"/>
                  </a:lnTo>
                  <a:lnTo>
                    <a:pt x="4" y="406"/>
                  </a:lnTo>
                  <a:lnTo>
                    <a:pt x="12" y="425"/>
                  </a:lnTo>
                  <a:lnTo>
                    <a:pt x="31" y="429"/>
                  </a:lnTo>
                  <a:lnTo>
                    <a:pt x="42" y="442"/>
                  </a:lnTo>
                  <a:lnTo>
                    <a:pt x="54" y="448"/>
                  </a:lnTo>
                  <a:lnTo>
                    <a:pt x="52" y="456"/>
                  </a:lnTo>
                  <a:lnTo>
                    <a:pt x="48" y="469"/>
                  </a:lnTo>
                  <a:lnTo>
                    <a:pt x="44" y="471"/>
                  </a:lnTo>
                  <a:lnTo>
                    <a:pt x="37" y="494"/>
                  </a:lnTo>
                  <a:lnTo>
                    <a:pt x="37" y="496"/>
                  </a:lnTo>
                  <a:lnTo>
                    <a:pt x="38" y="500"/>
                  </a:lnTo>
                  <a:lnTo>
                    <a:pt x="40" y="502"/>
                  </a:lnTo>
                  <a:lnTo>
                    <a:pt x="44" y="508"/>
                  </a:lnTo>
                  <a:lnTo>
                    <a:pt x="48" y="512"/>
                  </a:lnTo>
                  <a:lnTo>
                    <a:pt x="231" y="842"/>
                  </a:lnTo>
                  <a:lnTo>
                    <a:pt x="234" y="844"/>
                  </a:lnTo>
                  <a:lnTo>
                    <a:pt x="231" y="856"/>
                  </a:lnTo>
                  <a:lnTo>
                    <a:pt x="227" y="852"/>
                  </a:lnTo>
                  <a:lnTo>
                    <a:pt x="225" y="854"/>
                  </a:lnTo>
                  <a:lnTo>
                    <a:pt x="229" y="861"/>
                  </a:lnTo>
                  <a:lnTo>
                    <a:pt x="229" y="865"/>
                  </a:lnTo>
                  <a:lnTo>
                    <a:pt x="227" y="863"/>
                  </a:lnTo>
                  <a:lnTo>
                    <a:pt x="229" y="869"/>
                  </a:lnTo>
                  <a:lnTo>
                    <a:pt x="229" y="875"/>
                  </a:lnTo>
                  <a:lnTo>
                    <a:pt x="221" y="881"/>
                  </a:lnTo>
                  <a:lnTo>
                    <a:pt x="217" y="877"/>
                  </a:lnTo>
                  <a:lnTo>
                    <a:pt x="202" y="877"/>
                  </a:lnTo>
                  <a:lnTo>
                    <a:pt x="200" y="884"/>
                  </a:lnTo>
                  <a:lnTo>
                    <a:pt x="200" y="890"/>
                  </a:lnTo>
                  <a:lnTo>
                    <a:pt x="202" y="896"/>
                  </a:lnTo>
                  <a:lnTo>
                    <a:pt x="200" y="900"/>
                  </a:lnTo>
                  <a:lnTo>
                    <a:pt x="186" y="902"/>
                  </a:lnTo>
                  <a:lnTo>
                    <a:pt x="188" y="896"/>
                  </a:lnTo>
                  <a:lnTo>
                    <a:pt x="185" y="892"/>
                  </a:lnTo>
                  <a:lnTo>
                    <a:pt x="186" y="888"/>
                  </a:lnTo>
                  <a:lnTo>
                    <a:pt x="181" y="884"/>
                  </a:lnTo>
                  <a:lnTo>
                    <a:pt x="167" y="865"/>
                  </a:lnTo>
                  <a:lnTo>
                    <a:pt x="160" y="861"/>
                  </a:lnTo>
                  <a:lnTo>
                    <a:pt x="158" y="850"/>
                  </a:lnTo>
                  <a:lnTo>
                    <a:pt x="146" y="840"/>
                  </a:lnTo>
                  <a:lnTo>
                    <a:pt x="133" y="832"/>
                  </a:lnTo>
                  <a:lnTo>
                    <a:pt x="131" y="829"/>
                  </a:lnTo>
                  <a:lnTo>
                    <a:pt x="133" y="825"/>
                  </a:lnTo>
                  <a:lnTo>
                    <a:pt x="138" y="829"/>
                  </a:lnTo>
                  <a:lnTo>
                    <a:pt x="142" y="823"/>
                  </a:lnTo>
                  <a:lnTo>
                    <a:pt x="138" y="821"/>
                  </a:lnTo>
                  <a:lnTo>
                    <a:pt x="140" y="813"/>
                  </a:lnTo>
                  <a:lnTo>
                    <a:pt x="138" y="809"/>
                  </a:lnTo>
                  <a:lnTo>
                    <a:pt x="146" y="811"/>
                  </a:lnTo>
                  <a:lnTo>
                    <a:pt x="154" y="790"/>
                  </a:lnTo>
                  <a:lnTo>
                    <a:pt x="158" y="792"/>
                  </a:lnTo>
                  <a:lnTo>
                    <a:pt x="161" y="794"/>
                  </a:lnTo>
                  <a:lnTo>
                    <a:pt x="163" y="798"/>
                  </a:lnTo>
                  <a:lnTo>
                    <a:pt x="171" y="798"/>
                  </a:lnTo>
                  <a:lnTo>
                    <a:pt x="171" y="796"/>
                  </a:lnTo>
                  <a:lnTo>
                    <a:pt x="192" y="811"/>
                  </a:lnTo>
                  <a:lnTo>
                    <a:pt x="213" y="817"/>
                  </a:lnTo>
                  <a:lnTo>
                    <a:pt x="217" y="825"/>
                  </a:lnTo>
                  <a:lnTo>
                    <a:pt x="219" y="825"/>
                  </a:lnTo>
                  <a:lnTo>
                    <a:pt x="227" y="832"/>
                  </a:lnTo>
                  <a:lnTo>
                    <a:pt x="227" y="840"/>
                  </a:lnTo>
                  <a:lnTo>
                    <a:pt x="231" y="842"/>
                  </a:lnTo>
                  <a:lnTo>
                    <a:pt x="48" y="512"/>
                  </a:lnTo>
                  <a:lnTo>
                    <a:pt x="325" y="769"/>
                  </a:lnTo>
                  <a:lnTo>
                    <a:pt x="327" y="775"/>
                  </a:lnTo>
                  <a:lnTo>
                    <a:pt x="325" y="779"/>
                  </a:lnTo>
                  <a:lnTo>
                    <a:pt x="329" y="783"/>
                  </a:lnTo>
                  <a:lnTo>
                    <a:pt x="325" y="790"/>
                  </a:lnTo>
                  <a:lnTo>
                    <a:pt x="319" y="792"/>
                  </a:lnTo>
                  <a:lnTo>
                    <a:pt x="319" y="802"/>
                  </a:lnTo>
                  <a:lnTo>
                    <a:pt x="313" y="804"/>
                  </a:lnTo>
                  <a:lnTo>
                    <a:pt x="319" y="802"/>
                  </a:lnTo>
                  <a:lnTo>
                    <a:pt x="319" y="806"/>
                  </a:lnTo>
                  <a:lnTo>
                    <a:pt x="317" y="808"/>
                  </a:lnTo>
                  <a:lnTo>
                    <a:pt x="315" y="806"/>
                  </a:lnTo>
                  <a:lnTo>
                    <a:pt x="313" y="808"/>
                  </a:lnTo>
                  <a:lnTo>
                    <a:pt x="313" y="804"/>
                  </a:lnTo>
                  <a:lnTo>
                    <a:pt x="309" y="808"/>
                  </a:lnTo>
                  <a:lnTo>
                    <a:pt x="306" y="806"/>
                  </a:lnTo>
                  <a:lnTo>
                    <a:pt x="304" y="802"/>
                  </a:lnTo>
                  <a:lnTo>
                    <a:pt x="308" y="792"/>
                  </a:lnTo>
                  <a:lnTo>
                    <a:pt x="304" y="790"/>
                  </a:lnTo>
                  <a:lnTo>
                    <a:pt x="298" y="781"/>
                  </a:lnTo>
                  <a:lnTo>
                    <a:pt x="294" y="781"/>
                  </a:lnTo>
                  <a:lnTo>
                    <a:pt x="283" y="775"/>
                  </a:lnTo>
                  <a:lnTo>
                    <a:pt x="281" y="773"/>
                  </a:lnTo>
                  <a:lnTo>
                    <a:pt x="277" y="775"/>
                  </a:lnTo>
                  <a:lnTo>
                    <a:pt x="271" y="773"/>
                  </a:lnTo>
                  <a:lnTo>
                    <a:pt x="256" y="761"/>
                  </a:lnTo>
                  <a:lnTo>
                    <a:pt x="263" y="763"/>
                  </a:lnTo>
                  <a:lnTo>
                    <a:pt x="263" y="754"/>
                  </a:lnTo>
                  <a:lnTo>
                    <a:pt x="258" y="748"/>
                  </a:lnTo>
                  <a:lnTo>
                    <a:pt x="250" y="744"/>
                  </a:lnTo>
                  <a:lnTo>
                    <a:pt x="246" y="735"/>
                  </a:lnTo>
                  <a:lnTo>
                    <a:pt x="263" y="746"/>
                  </a:lnTo>
                  <a:lnTo>
                    <a:pt x="256" y="736"/>
                  </a:lnTo>
                  <a:lnTo>
                    <a:pt x="258" y="735"/>
                  </a:lnTo>
                  <a:lnTo>
                    <a:pt x="261" y="738"/>
                  </a:lnTo>
                  <a:lnTo>
                    <a:pt x="259" y="735"/>
                  </a:lnTo>
                  <a:lnTo>
                    <a:pt x="248" y="715"/>
                  </a:lnTo>
                  <a:lnTo>
                    <a:pt x="256" y="721"/>
                  </a:lnTo>
                  <a:lnTo>
                    <a:pt x="267" y="736"/>
                  </a:lnTo>
                  <a:lnTo>
                    <a:pt x="273" y="742"/>
                  </a:lnTo>
                  <a:lnTo>
                    <a:pt x="277" y="742"/>
                  </a:lnTo>
                  <a:lnTo>
                    <a:pt x="277" y="738"/>
                  </a:lnTo>
                  <a:lnTo>
                    <a:pt x="269" y="731"/>
                  </a:lnTo>
                  <a:lnTo>
                    <a:pt x="281" y="736"/>
                  </a:lnTo>
                  <a:lnTo>
                    <a:pt x="283" y="733"/>
                  </a:lnTo>
                  <a:lnTo>
                    <a:pt x="284" y="727"/>
                  </a:lnTo>
                  <a:lnTo>
                    <a:pt x="284" y="725"/>
                  </a:lnTo>
                  <a:lnTo>
                    <a:pt x="271" y="710"/>
                  </a:lnTo>
                  <a:lnTo>
                    <a:pt x="271" y="713"/>
                  </a:lnTo>
                  <a:lnTo>
                    <a:pt x="265" y="711"/>
                  </a:lnTo>
                  <a:lnTo>
                    <a:pt x="259" y="708"/>
                  </a:lnTo>
                  <a:lnTo>
                    <a:pt x="258" y="710"/>
                  </a:lnTo>
                  <a:lnTo>
                    <a:pt x="261" y="713"/>
                  </a:lnTo>
                  <a:lnTo>
                    <a:pt x="256" y="711"/>
                  </a:lnTo>
                  <a:lnTo>
                    <a:pt x="248" y="706"/>
                  </a:lnTo>
                  <a:lnTo>
                    <a:pt x="242" y="696"/>
                  </a:lnTo>
                  <a:lnTo>
                    <a:pt x="244" y="694"/>
                  </a:lnTo>
                  <a:lnTo>
                    <a:pt x="250" y="700"/>
                  </a:lnTo>
                  <a:lnTo>
                    <a:pt x="252" y="696"/>
                  </a:lnTo>
                  <a:lnTo>
                    <a:pt x="256" y="698"/>
                  </a:lnTo>
                  <a:lnTo>
                    <a:pt x="261" y="702"/>
                  </a:lnTo>
                  <a:lnTo>
                    <a:pt x="273" y="704"/>
                  </a:lnTo>
                  <a:lnTo>
                    <a:pt x="279" y="708"/>
                  </a:lnTo>
                  <a:lnTo>
                    <a:pt x="283" y="708"/>
                  </a:lnTo>
                  <a:lnTo>
                    <a:pt x="290" y="715"/>
                  </a:lnTo>
                  <a:lnTo>
                    <a:pt x="290" y="738"/>
                  </a:lnTo>
                  <a:lnTo>
                    <a:pt x="298" y="742"/>
                  </a:lnTo>
                  <a:lnTo>
                    <a:pt x="298" y="748"/>
                  </a:lnTo>
                  <a:lnTo>
                    <a:pt x="304" y="750"/>
                  </a:lnTo>
                  <a:lnTo>
                    <a:pt x="308" y="758"/>
                  </a:lnTo>
                  <a:lnTo>
                    <a:pt x="313" y="761"/>
                  </a:lnTo>
                  <a:lnTo>
                    <a:pt x="317" y="767"/>
                  </a:lnTo>
                  <a:lnTo>
                    <a:pt x="325" y="769"/>
                  </a:lnTo>
                  <a:lnTo>
                    <a:pt x="48" y="512"/>
                  </a:lnTo>
                  <a:lnTo>
                    <a:pt x="392" y="915"/>
                  </a:lnTo>
                  <a:lnTo>
                    <a:pt x="406" y="921"/>
                  </a:lnTo>
                  <a:lnTo>
                    <a:pt x="402" y="925"/>
                  </a:lnTo>
                  <a:lnTo>
                    <a:pt x="407" y="927"/>
                  </a:lnTo>
                  <a:lnTo>
                    <a:pt x="409" y="927"/>
                  </a:lnTo>
                  <a:lnTo>
                    <a:pt x="411" y="930"/>
                  </a:lnTo>
                  <a:lnTo>
                    <a:pt x="415" y="930"/>
                  </a:lnTo>
                  <a:lnTo>
                    <a:pt x="415" y="927"/>
                  </a:lnTo>
                  <a:lnTo>
                    <a:pt x="417" y="925"/>
                  </a:lnTo>
                  <a:lnTo>
                    <a:pt x="429" y="927"/>
                  </a:lnTo>
                  <a:lnTo>
                    <a:pt x="427" y="921"/>
                  </a:lnTo>
                  <a:lnTo>
                    <a:pt x="419" y="917"/>
                  </a:lnTo>
                  <a:lnTo>
                    <a:pt x="419" y="915"/>
                  </a:lnTo>
                  <a:lnTo>
                    <a:pt x="423" y="917"/>
                  </a:lnTo>
                  <a:lnTo>
                    <a:pt x="423" y="915"/>
                  </a:lnTo>
                  <a:lnTo>
                    <a:pt x="415" y="907"/>
                  </a:lnTo>
                  <a:lnTo>
                    <a:pt x="409" y="906"/>
                  </a:lnTo>
                  <a:lnTo>
                    <a:pt x="404" y="909"/>
                  </a:lnTo>
                  <a:lnTo>
                    <a:pt x="406" y="915"/>
                  </a:lnTo>
                  <a:lnTo>
                    <a:pt x="402" y="913"/>
                  </a:lnTo>
                  <a:lnTo>
                    <a:pt x="402" y="907"/>
                  </a:lnTo>
                  <a:lnTo>
                    <a:pt x="407" y="902"/>
                  </a:lnTo>
                  <a:lnTo>
                    <a:pt x="404" y="896"/>
                  </a:lnTo>
                  <a:lnTo>
                    <a:pt x="398" y="892"/>
                  </a:lnTo>
                  <a:lnTo>
                    <a:pt x="409" y="892"/>
                  </a:lnTo>
                  <a:lnTo>
                    <a:pt x="411" y="892"/>
                  </a:lnTo>
                  <a:lnTo>
                    <a:pt x="419" y="892"/>
                  </a:lnTo>
                  <a:lnTo>
                    <a:pt x="419" y="886"/>
                  </a:lnTo>
                  <a:lnTo>
                    <a:pt x="423" y="888"/>
                  </a:lnTo>
                  <a:lnTo>
                    <a:pt x="425" y="892"/>
                  </a:lnTo>
                  <a:lnTo>
                    <a:pt x="419" y="894"/>
                  </a:lnTo>
                  <a:lnTo>
                    <a:pt x="411" y="894"/>
                  </a:lnTo>
                  <a:lnTo>
                    <a:pt x="407" y="896"/>
                  </a:lnTo>
                  <a:lnTo>
                    <a:pt x="417" y="900"/>
                  </a:lnTo>
                  <a:lnTo>
                    <a:pt x="419" y="898"/>
                  </a:lnTo>
                  <a:lnTo>
                    <a:pt x="436" y="911"/>
                  </a:lnTo>
                  <a:lnTo>
                    <a:pt x="455" y="921"/>
                  </a:lnTo>
                  <a:lnTo>
                    <a:pt x="459" y="919"/>
                  </a:lnTo>
                  <a:lnTo>
                    <a:pt x="457" y="925"/>
                  </a:lnTo>
                  <a:lnTo>
                    <a:pt x="463" y="929"/>
                  </a:lnTo>
                  <a:lnTo>
                    <a:pt x="455" y="929"/>
                  </a:lnTo>
                  <a:lnTo>
                    <a:pt x="455" y="936"/>
                  </a:lnTo>
                  <a:lnTo>
                    <a:pt x="459" y="946"/>
                  </a:lnTo>
                  <a:lnTo>
                    <a:pt x="450" y="938"/>
                  </a:lnTo>
                  <a:lnTo>
                    <a:pt x="455" y="946"/>
                  </a:lnTo>
                  <a:lnTo>
                    <a:pt x="452" y="948"/>
                  </a:lnTo>
                  <a:lnTo>
                    <a:pt x="444" y="948"/>
                  </a:lnTo>
                  <a:lnTo>
                    <a:pt x="444" y="952"/>
                  </a:lnTo>
                  <a:lnTo>
                    <a:pt x="448" y="955"/>
                  </a:lnTo>
                  <a:lnTo>
                    <a:pt x="442" y="955"/>
                  </a:lnTo>
                  <a:lnTo>
                    <a:pt x="438" y="942"/>
                  </a:lnTo>
                  <a:lnTo>
                    <a:pt x="434" y="944"/>
                  </a:lnTo>
                  <a:lnTo>
                    <a:pt x="415" y="938"/>
                  </a:lnTo>
                  <a:lnTo>
                    <a:pt x="398" y="925"/>
                  </a:lnTo>
                  <a:lnTo>
                    <a:pt x="392" y="915"/>
                  </a:lnTo>
                  <a:lnTo>
                    <a:pt x="48" y="51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8" name="Freeform 46"/>
            <p:cNvSpPr>
              <a:spLocks/>
            </p:cNvSpPr>
            <p:nvPr/>
          </p:nvSpPr>
          <p:spPr bwMode="auto">
            <a:xfrm>
              <a:off x="2946" y="958"/>
              <a:ext cx="1389" cy="1837"/>
            </a:xfrm>
            <a:custGeom>
              <a:avLst/>
              <a:gdLst>
                <a:gd name="T0" fmla="*/ 75 w 1389"/>
                <a:gd name="T1" fmla="*/ 573 h 1837"/>
                <a:gd name="T2" fmla="*/ 77 w 1389"/>
                <a:gd name="T3" fmla="*/ 610 h 1837"/>
                <a:gd name="T4" fmla="*/ 108 w 1389"/>
                <a:gd name="T5" fmla="*/ 644 h 1837"/>
                <a:gd name="T6" fmla="*/ 144 w 1389"/>
                <a:gd name="T7" fmla="*/ 700 h 1837"/>
                <a:gd name="T8" fmla="*/ 125 w 1389"/>
                <a:gd name="T9" fmla="*/ 808 h 1837"/>
                <a:gd name="T10" fmla="*/ 83 w 1389"/>
                <a:gd name="T11" fmla="*/ 877 h 1837"/>
                <a:gd name="T12" fmla="*/ 160 w 1389"/>
                <a:gd name="T13" fmla="*/ 911 h 1837"/>
                <a:gd name="T14" fmla="*/ 106 w 1389"/>
                <a:gd name="T15" fmla="*/ 1030 h 1837"/>
                <a:gd name="T16" fmla="*/ 127 w 1389"/>
                <a:gd name="T17" fmla="*/ 1115 h 1837"/>
                <a:gd name="T18" fmla="*/ 244 w 1389"/>
                <a:gd name="T19" fmla="*/ 1171 h 1837"/>
                <a:gd name="T20" fmla="*/ 342 w 1389"/>
                <a:gd name="T21" fmla="*/ 1298 h 1837"/>
                <a:gd name="T22" fmla="*/ 365 w 1389"/>
                <a:gd name="T23" fmla="*/ 1365 h 1837"/>
                <a:gd name="T24" fmla="*/ 488 w 1389"/>
                <a:gd name="T25" fmla="*/ 1449 h 1837"/>
                <a:gd name="T26" fmla="*/ 640 w 1389"/>
                <a:gd name="T27" fmla="*/ 1445 h 1837"/>
                <a:gd name="T28" fmla="*/ 705 w 1389"/>
                <a:gd name="T29" fmla="*/ 1532 h 1837"/>
                <a:gd name="T30" fmla="*/ 675 w 1389"/>
                <a:gd name="T31" fmla="*/ 1655 h 1837"/>
                <a:gd name="T32" fmla="*/ 651 w 1389"/>
                <a:gd name="T33" fmla="*/ 1753 h 1837"/>
                <a:gd name="T34" fmla="*/ 815 w 1389"/>
                <a:gd name="T35" fmla="*/ 1818 h 1837"/>
                <a:gd name="T36" fmla="*/ 1028 w 1389"/>
                <a:gd name="T37" fmla="*/ 1793 h 1837"/>
                <a:gd name="T38" fmla="*/ 1193 w 1389"/>
                <a:gd name="T39" fmla="*/ 1812 h 1837"/>
                <a:gd name="T40" fmla="*/ 1082 w 1389"/>
                <a:gd name="T41" fmla="*/ 1668 h 1837"/>
                <a:gd name="T42" fmla="*/ 1101 w 1389"/>
                <a:gd name="T43" fmla="*/ 1542 h 1837"/>
                <a:gd name="T44" fmla="*/ 1084 w 1389"/>
                <a:gd name="T45" fmla="*/ 1488 h 1837"/>
                <a:gd name="T46" fmla="*/ 934 w 1389"/>
                <a:gd name="T47" fmla="*/ 1315 h 1837"/>
                <a:gd name="T48" fmla="*/ 1007 w 1389"/>
                <a:gd name="T49" fmla="*/ 1182 h 1837"/>
                <a:gd name="T50" fmla="*/ 1101 w 1389"/>
                <a:gd name="T51" fmla="*/ 1130 h 1837"/>
                <a:gd name="T52" fmla="*/ 1218 w 1389"/>
                <a:gd name="T53" fmla="*/ 1096 h 1837"/>
                <a:gd name="T54" fmla="*/ 1336 w 1389"/>
                <a:gd name="T55" fmla="*/ 1067 h 1837"/>
                <a:gd name="T56" fmla="*/ 1293 w 1389"/>
                <a:gd name="T57" fmla="*/ 952 h 1837"/>
                <a:gd name="T58" fmla="*/ 1211 w 1389"/>
                <a:gd name="T59" fmla="*/ 913 h 1837"/>
                <a:gd name="T60" fmla="*/ 1174 w 1389"/>
                <a:gd name="T61" fmla="*/ 859 h 1837"/>
                <a:gd name="T62" fmla="*/ 1136 w 1389"/>
                <a:gd name="T63" fmla="*/ 854 h 1837"/>
                <a:gd name="T64" fmla="*/ 1153 w 1389"/>
                <a:gd name="T65" fmla="*/ 817 h 1837"/>
                <a:gd name="T66" fmla="*/ 1124 w 1389"/>
                <a:gd name="T67" fmla="*/ 777 h 1837"/>
                <a:gd name="T68" fmla="*/ 1063 w 1389"/>
                <a:gd name="T69" fmla="*/ 738 h 1837"/>
                <a:gd name="T70" fmla="*/ 1059 w 1389"/>
                <a:gd name="T71" fmla="*/ 648 h 1837"/>
                <a:gd name="T72" fmla="*/ 994 w 1389"/>
                <a:gd name="T73" fmla="*/ 554 h 1837"/>
                <a:gd name="T74" fmla="*/ 894 w 1389"/>
                <a:gd name="T75" fmla="*/ 379 h 1837"/>
                <a:gd name="T76" fmla="*/ 876 w 1389"/>
                <a:gd name="T77" fmla="*/ 220 h 1837"/>
                <a:gd name="T78" fmla="*/ 907 w 1389"/>
                <a:gd name="T79" fmla="*/ 68 h 1837"/>
                <a:gd name="T80" fmla="*/ 823 w 1389"/>
                <a:gd name="T81" fmla="*/ 10 h 1837"/>
                <a:gd name="T82" fmla="*/ 736 w 1389"/>
                <a:gd name="T83" fmla="*/ 72 h 1837"/>
                <a:gd name="T84" fmla="*/ 725 w 1389"/>
                <a:gd name="T85" fmla="*/ 123 h 1837"/>
                <a:gd name="T86" fmla="*/ 696 w 1389"/>
                <a:gd name="T87" fmla="*/ 118 h 1837"/>
                <a:gd name="T88" fmla="*/ 636 w 1389"/>
                <a:gd name="T89" fmla="*/ 181 h 1837"/>
                <a:gd name="T90" fmla="*/ 607 w 1389"/>
                <a:gd name="T91" fmla="*/ 160 h 1837"/>
                <a:gd name="T92" fmla="*/ 532 w 1389"/>
                <a:gd name="T93" fmla="*/ 256 h 1837"/>
                <a:gd name="T94" fmla="*/ 469 w 1389"/>
                <a:gd name="T95" fmla="*/ 366 h 1837"/>
                <a:gd name="T96" fmla="*/ 396 w 1389"/>
                <a:gd name="T97" fmla="*/ 319 h 1837"/>
                <a:gd name="T98" fmla="*/ 438 w 1389"/>
                <a:gd name="T99" fmla="*/ 431 h 1837"/>
                <a:gd name="T100" fmla="*/ 363 w 1389"/>
                <a:gd name="T101" fmla="*/ 523 h 1837"/>
                <a:gd name="T102" fmla="*/ 261 w 1389"/>
                <a:gd name="T103" fmla="*/ 562 h 1837"/>
                <a:gd name="T104" fmla="*/ 273 w 1389"/>
                <a:gd name="T105" fmla="*/ 613 h 1837"/>
                <a:gd name="T106" fmla="*/ 215 w 1389"/>
                <a:gd name="T107" fmla="*/ 563 h 1837"/>
                <a:gd name="T108" fmla="*/ 173 w 1389"/>
                <a:gd name="T109" fmla="*/ 506 h 1837"/>
                <a:gd name="T110" fmla="*/ 125 w 1389"/>
                <a:gd name="T111" fmla="*/ 469 h 1837"/>
                <a:gd name="T112" fmla="*/ 350 w 1389"/>
                <a:gd name="T113" fmla="*/ 416 h 1837"/>
                <a:gd name="T114" fmla="*/ 254 w 1389"/>
                <a:gd name="T115" fmla="*/ 352 h 1837"/>
                <a:gd name="T116" fmla="*/ 90 w 1389"/>
                <a:gd name="T117" fmla="*/ 331 h 1837"/>
                <a:gd name="T118" fmla="*/ 48 w 1389"/>
                <a:gd name="T119" fmla="*/ 327 h 1837"/>
                <a:gd name="T120" fmla="*/ 29 w 1389"/>
                <a:gd name="T121" fmla="*/ 350 h 1837"/>
                <a:gd name="T122" fmla="*/ 4 w 1389"/>
                <a:gd name="T123" fmla="*/ 406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9" h="1837">
                  <a:moveTo>
                    <a:pt x="48" y="512"/>
                  </a:moveTo>
                  <a:lnTo>
                    <a:pt x="52" y="514"/>
                  </a:lnTo>
                  <a:lnTo>
                    <a:pt x="54" y="517"/>
                  </a:lnTo>
                  <a:lnTo>
                    <a:pt x="56" y="521"/>
                  </a:lnTo>
                  <a:lnTo>
                    <a:pt x="58" y="521"/>
                  </a:lnTo>
                  <a:lnTo>
                    <a:pt x="60" y="525"/>
                  </a:lnTo>
                  <a:lnTo>
                    <a:pt x="62" y="527"/>
                  </a:lnTo>
                  <a:lnTo>
                    <a:pt x="62" y="529"/>
                  </a:lnTo>
                  <a:lnTo>
                    <a:pt x="65" y="533"/>
                  </a:lnTo>
                  <a:lnTo>
                    <a:pt x="69" y="535"/>
                  </a:lnTo>
                  <a:lnTo>
                    <a:pt x="71" y="539"/>
                  </a:lnTo>
                  <a:lnTo>
                    <a:pt x="73" y="540"/>
                  </a:lnTo>
                  <a:lnTo>
                    <a:pt x="75" y="544"/>
                  </a:lnTo>
                  <a:lnTo>
                    <a:pt x="77" y="550"/>
                  </a:lnTo>
                  <a:lnTo>
                    <a:pt x="79" y="554"/>
                  </a:lnTo>
                  <a:lnTo>
                    <a:pt x="81" y="558"/>
                  </a:lnTo>
                  <a:lnTo>
                    <a:pt x="81" y="562"/>
                  </a:lnTo>
                  <a:lnTo>
                    <a:pt x="79" y="562"/>
                  </a:lnTo>
                  <a:lnTo>
                    <a:pt x="77" y="562"/>
                  </a:lnTo>
                  <a:lnTo>
                    <a:pt x="73" y="563"/>
                  </a:lnTo>
                  <a:lnTo>
                    <a:pt x="71" y="565"/>
                  </a:lnTo>
                  <a:lnTo>
                    <a:pt x="71" y="567"/>
                  </a:lnTo>
                  <a:lnTo>
                    <a:pt x="73" y="569"/>
                  </a:lnTo>
                  <a:lnTo>
                    <a:pt x="75" y="571"/>
                  </a:lnTo>
                  <a:lnTo>
                    <a:pt x="75" y="573"/>
                  </a:lnTo>
                  <a:lnTo>
                    <a:pt x="73" y="575"/>
                  </a:lnTo>
                  <a:lnTo>
                    <a:pt x="73" y="577"/>
                  </a:lnTo>
                  <a:lnTo>
                    <a:pt x="73" y="581"/>
                  </a:lnTo>
                  <a:lnTo>
                    <a:pt x="75" y="583"/>
                  </a:lnTo>
                  <a:lnTo>
                    <a:pt x="75" y="585"/>
                  </a:lnTo>
                  <a:lnTo>
                    <a:pt x="73" y="585"/>
                  </a:lnTo>
                  <a:lnTo>
                    <a:pt x="73" y="588"/>
                  </a:lnTo>
                  <a:lnTo>
                    <a:pt x="71" y="590"/>
                  </a:lnTo>
                  <a:lnTo>
                    <a:pt x="73" y="590"/>
                  </a:lnTo>
                  <a:lnTo>
                    <a:pt x="75" y="592"/>
                  </a:lnTo>
                  <a:lnTo>
                    <a:pt x="77" y="590"/>
                  </a:lnTo>
                  <a:lnTo>
                    <a:pt x="79" y="590"/>
                  </a:lnTo>
                  <a:lnTo>
                    <a:pt x="81" y="592"/>
                  </a:lnTo>
                  <a:lnTo>
                    <a:pt x="81" y="594"/>
                  </a:lnTo>
                  <a:lnTo>
                    <a:pt x="79" y="596"/>
                  </a:lnTo>
                  <a:lnTo>
                    <a:pt x="81" y="596"/>
                  </a:lnTo>
                  <a:lnTo>
                    <a:pt x="81" y="598"/>
                  </a:lnTo>
                  <a:lnTo>
                    <a:pt x="79" y="598"/>
                  </a:lnTo>
                  <a:lnTo>
                    <a:pt x="77" y="598"/>
                  </a:lnTo>
                  <a:lnTo>
                    <a:pt x="75" y="600"/>
                  </a:lnTo>
                  <a:lnTo>
                    <a:pt x="75" y="602"/>
                  </a:lnTo>
                  <a:lnTo>
                    <a:pt x="75" y="604"/>
                  </a:lnTo>
                  <a:lnTo>
                    <a:pt x="75" y="606"/>
                  </a:lnTo>
                  <a:lnTo>
                    <a:pt x="75" y="608"/>
                  </a:lnTo>
                  <a:lnTo>
                    <a:pt x="77" y="610"/>
                  </a:lnTo>
                  <a:lnTo>
                    <a:pt x="79" y="613"/>
                  </a:lnTo>
                  <a:lnTo>
                    <a:pt x="81" y="615"/>
                  </a:lnTo>
                  <a:lnTo>
                    <a:pt x="83" y="615"/>
                  </a:lnTo>
                  <a:lnTo>
                    <a:pt x="85" y="615"/>
                  </a:lnTo>
                  <a:lnTo>
                    <a:pt x="88" y="615"/>
                  </a:lnTo>
                  <a:lnTo>
                    <a:pt x="90" y="615"/>
                  </a:lnTo>
                  <a:lnTo>
                    <a:pt x="90" y="617"/>
                  </a:lnTo>
                  <a:lnTo>
                    <a:pt x="90" y="619"/>
                  </a:lnTo>
                  <a:lnTo>
                    <a:pt x="92" y="621"/>
                  </a:lnTo>
                  <a:lnTo>
                    <a:pt x="92" y="623"/>
                  </a:lnTo>
                  <a:lnTo>
                    <a:pt x="92" y="625"/>
                  </a:lnTo>
                  <a:lnTo>
                    <a:pt x="90" y="627"/>
                  </a:lnTo>
                  <a:lnTo>
                    <a:pt x="90" y="629"/>
                  </a:lnTo>
                  <a:lnTo>
                    <a:pt x="92" y="633"/>
                  </a:lnTo>
                  <a:lnTo>
                    <a:pt x="94" y="635"/>
                  </a:lnTo>
                  <a:lnTo>
                    <a:pt x="94" y="637"/>
                  </a:lnTo>
                  <a:lnTo>
                    <a:pt x="94" y="638"/>
                  </a:lnTo>
                  <a:lnTo>
                    <a:pt x="96" y="638"/>
                  </a:lnTo>
                  <a:lnTo>
                    <a:pt x="98" y="640"/>
                  </a:lnTo>
                  <a:lnTo>
                    <a:pt x="100" y="640"/>
                  </a:lnTo>
                  <a:lnTo>
                    <a:pt x="104" y="640"/>
                  </a:lnTo>
                  <a:lnTo>
                    <a:pt x="104" y="642"/>
                  </a:lnTo>
                  <a:lnTo>
                    <a:pt x="106" y="642"/>
                  </a:lnTo>
                  <a:lnTo>
                    <a:pt x="108" y="642"/>
                  </a:lnTo>
                  <a:lnTo>
                    <a:pt x="108" y="644"/>
                  </a:lnTo>
                  <a:lnTo>
                    <a:pt x="110" y="644"/>
                  </a:lnTo>
                  <a:lnTo>
                    <a:pt x="108" y="646"/>
                  </a:lnTo>
                  <a:lnTo>
                    <a:pt x="110" y="646"/>
                  </a:lnTo>
                  <a:lnTo>
                    <a:pt x="111" y="648"/>
                  </a:lnTo>
                  <a:lnTo>
                    <a:pt x="113" y="650"/>
                  </a:lnTo>
                  <a:lnTo>
                    <a:pt x="111" y="654"/>
                  </a:lnTo>
                  <a:lnTo>
                    <a:pt x="111" y="658"/>
                  </a:lnTo>
                  <a:lnTo>
                    <a:pt x="110" y="660"/>
                  </a:lnTo>
                  <a:lnTo>
                    <a:pt x="110" y="663"/>
                  </a:lnTo>
                  <a:lnTo>
                    <a:pt x="108" y="665"/>
                  </a:lnTo>
                  <a:lnTo>
                    <a:pt x="108" y="667"/>
                  </a:lnTo>
                  <a:lnTo>
                    <a:pt x="108" y="669"/>
                  </a:lnTo>
                  <a:lnTo>
                    <a:pt x="106" y="671"/>
                  </a:lnTo>
                  <a:lnTo>
                    <a:pt x="104" y="673"/>
                  </a:lnTo>
                  <a:lnTo>
                    <a:pt x="100" y="675"/>
                  </a:lnTo>
                  <a:lnTo>
                    <a:pt x="113" y="686"/>
                  </a:lnTo>
                  <a:lnTo>
                    <a:pt x="115" y="686"/>
                  </a:lnTo>
                  <a:lnTo>
                    <a:pt x="119" y="690"/>
                  </a:lnTo>
                  <a:lnTo>
                    <a:pt x="129" y="692"/>
                  </a:lnTo>
                  <a:lnTo>
                    <a:pt x="131" y="694"/>
                  </a:lnTo>
                  <a:lnTo>
                    <a:pt x="133" y="694"/>
                  </a:lnTo>
                  <a:lnTo>
                    <a:pt x="136" y="698"/>
                  </a:lnTo>
                  <a:lnTo>
                    <a:pt x="138" y="698"/>
                  </a:lnTo>
                  <a:lnTo>
                    <a:pt x="140" y="700"/>
                  </a:lnTo>
                  <a:lnTo>
                    <a:pt x="144" y="700"/>
                  </a:lnTo>
                  <a:lnTo>
                    <a:pt x="146" y="708"/>
                  </a:lnTo>
                  <a:lnTo>
                    <a:pt x="154" y="711"/>
                  </a:lnTo>
                  <a:lnTo>
                    <a:pt x="160" y="719"/>
                  </a:lnTo>
                  <a:lnTo>
                    <a:pt x="156" y="738"/>
                  </a:lnTo>
                  <a:lnTo>
                    <a:pt x="154" y="742"/>
                  </a:lnTo>
                  <a:lnTo>
                    <a:pt x="154" y="744"/>
                  </a:lnTo>
                  <a:lnTo>
                    <a:pt x="154" y="746"/>
                  </a:lnTo>
                  <a:lnTo>
                    <a:pt x="150" y="752"/>
                  </a:lnTo>
                  <a:lnTo>
                    <a:pt x="148" y="756"/>
                  </a:lnTo>
                  <a:lnTo>
                    <a:pt x="148" y="758"/>
                  </a:lnTo>
                  <a:lnTo>
                    <a:pt x="144" y="761"/>
                  </a:lnTo>
                  <a:lnTo>
                    <a:pt x="142" y="765"/>
                  </a:lnTo>
                  <a:lnTo>
                    <a:pt x="140" y="769"/>
                  </a:lnTo>
                  <a:lnTo>
                    <a:pt x="138" y="775"/>
                  </a:lnTo>
                  <a:lnTo>
                    <a:pt x="136" y="777"/>
                  </a:lnTo>
                  <a:lnTo>
                    <a:pt x="136" y="781"/>
                  </a:lnTo>
                  <a:lnTo>
                    <a:pt x="135" y="784"/>
                  </a:lnTo>
                  <a:lnTo>
                    <a:pt x="133" y="788"/>
                  </a:lnTo>
                  <a:lnTo>
                    <a:pt x="131" y="790"/>
                  </a:lnTo>
                  <a:lnTo>
                    <a:pt x="131" y="794"/>
                  </a:lnTo>
                  <a:lnTo>
                    <a:pt x="131" y="796"/>
                  </a:lnTo>
                  <a:lnTo>
                    <a:pt x="129" y="798"/>
                  </a:lnTo>
                  <a:lnTo>
                    <a:pt x="127" y="800"/>
                  </a:lnTo>
                  <a:lnTo>
                    <a:pt x="125" y="804"/>
                  </a:lnTo>
                  <a:lnTo>
                    <a:pt x="125" y="808"/>
                  </a:lnTo>
                  <a:lnTo>
                    <a:pt x="123" y="809"/>
                  </a:lnTo>
                  <a:lnTo>
                    <a:pt x="121" y="813"/>
                  </a:lnTo>
                  <a:lnTo>
                    <a:pt x="121" y="815"/>
                  </a:lnTo>
                  <a:lnTo>
                    <a:pt x="117" y="815"/>
                  </a:lnTo>
                  <a:lnTo>
                    <a:pt x="117" y="819"/>
                  </a:lnTo>
                  <a:lnTo>
                    <a:pt x="115" y="821"/>
                  </a:lnTo>
                  <a:lnTo>
                    <a:pt x="115" y="825"/>
                  </a:lnTo>
                  <a:lnTo>
                    <a:pt x="113" y="829"/>
                  </a:lnTo>
                  <a:lnTo>
                    <a:pt x="111" y="831"/>
                  </a:lnTo>
                  <a:lnTo>
                    <a:pt x="110" y="832"/>
                  </a:lnTo>
                  <a:lnTo>
                    <a:pt x="108" y="834"/>
                  </a:lnTo>
                  <a:lnTo>
                    <a:pt x="106" y="836"/>
                  </a:lnTo>
                  <a:lnTo>
                    <a:pt x="104" y="840"/>
                  </a:lnTo>
                  <a:lnTo>
                    <a:pt x="102" y="844"/>
                  </a:lnTo>
                  <a:lnTo>
                    <a:pt x="100" y="846"/>
                  </a:lnTo>
                  <a:lnTo>
                    <a:pt x="100" y="848"/>
                  </a:lnTo>
                  <a:lnTo>
                    <a:pt x="98" y="852"/>
                  </a:lnTo>
                  <a:lnTo>
                    <a:pt x="98" y="854"/>
                  </a:lnTo>
                  <a:lnTo>
                    <a:pt x="94" y="856"/>
                  </a:lnTo>
                  <a:lnTo>
                    <a:pt x="92" y="857"/>
                  </a:lnTo>
                  <a:lnTo>
                    <a:pt x="90" y="861"/>
                  </a:lnTo>
                  <a:lnTo>
                    <a:pt x="88" y="865"/>
                  </a:lnTo>
                  <a:lnTo>
                    <a:pt x="87" y="867"/>
                  </a:lnTo>
                  <a:lnTo>
                    <a:pt x="85" y="871"/>
                  </a:lnTo>
                  <a:lnTo>
                    <a:pt x="83" y="877"/>
                  </a:lnTo>
                  <a:lnTo>
                    <a:pt x="79" y="882"/>
                  </a:lnTo>
                  <a:lnTo>
                    <a:pt x="77" y="884"/>
                  </a:lnTo>
                  <a:lnTo>
                    <a:pt x="81" y="886"/>
                  </a:lnTo>
                  <a:lnTo>
                    <a:pt x="90" y="882"/>
                  </a:lnTo>
                  <a:lnTo>
                    <a:pt x="96" y="873"/>
                  </a:lnTo>
                  <a:lnTo>
                    <a:pt x="100" y="871"/>
                  </a:lnTo>
                  <a:lnTo>
                    <a:pt x="104" y="867"/>
                  </a:lnTo>
                  <a:lnTo>
                    <a:pt x="106" y="871"/>
                  </a:lnTo>
                  <a:lnTo>
                    <a:pt x="104" y="875"/>
                  </a:lnTo>
                  <a:lnTo>
                    <a:pt x="100" y="875"/>
                  </a:lnTo>
                  <a:lnTo>
                    <a:pt x="102" y="879"/>
                  </a:lnTo>
                  <a:lnTo>
                    <a:pt x="104" y="877"/>
                  </a:lnTo>
                  <a:lnTo>
                    <a:pt x="108" y="884"/>
                  </a:lnTo>
                  <a:lnTo>
                    <a:pt x="98" y="881"/>
                  </a:lnTo>
                  <a:lnTo>
                    <a:pt x="106" y="890"/>
                  </a:lnTo>
                  <a:lnTo>
                    <a:pt x="111" y="892"/>
                  </a:lnTo>
                  <a:lnTo>
                    <a:pt x="111" y="890"/>
                  </a:lnTo>
                  <a:lnTo>
                    <a:pt x="121" y="900"/>
                  </a:lnTo>
                  <a:lnTo>
                    <a:pt x="133" y="898"/>
                  </a:lnTo>
                  <a:lnTo>
                    <a:pt x="136" y="896"/>
                  </a:lnTo>
                  <a:lnTo>
                    <a:pt x="142" y="894"/>
                  </a:lnTo>
                  <a:lnTo>
                    <a:pt x="148" y="896"/>
                  </a:lnTo>
                  <a:lnTo>
                    <a:pt x="152" y="904"/>
                  </a:lnTo>
                  <a:lnTo>
                    <a:pt x="160" y="904"/>
                  </a:lnTo>
                  <a:lnTo>
                    <a:pt x="160" y="911"/>
                  </a:lnTo>
                  <a:lnTo>
                    <a:pt x="127" y="909"/>
                  </a:lnTo>
                  <a:lnTo>
                    <a:pt x="123" y="915"/>
                  </a:lnTo>
                  <a:lnTo>
                    <a:pt x="125" y="919"/>
                  </a:lnTo>
                  <a:lnTo>
                    <a:pt x="121" y="923"/>
                  </a:lnTo>
                  <a:lnTo>
                    <a:pt x="115" y="927"/>
                  </a:lnTo>
                  <a:lnTo>
                    <a:pt x="108" y="923"/>
                  </a:lnTo>
                  <a:lnTo>
                    <a:pt x="106" y="927"/>
                  </a:lnTo>
                  <a:lnTo>
                    <a:pt x="108" y="936"/>
                  </a:lnTo>
                  <a:lnTo>
                    <a:pt x="102" y="936"/>
                  </a:lnTo>
                  <a:lnTo>
                    <a:pt x="100" y="930"/>
                  </a:lnTo>
                  <a:lnTo>
                    <a:pt x="96" y="930"/>
                  </a:lnTo>
                  <a:lnTo>
                    <a:pt x="94" y="936"/>
                  </a:lnTo>
                  <a:lnTo>
                    <a:pt x="98" y="942"/>
                  </a:lnTo>
                  <a:lnTo>
                    <a:pt x="98" y="950"/>
                  </a:lnTo>
                  <a:lnTo>
                    <a:pt x="102" y="959"/>
                  </a:lnTo>
                  <a:lnTo>
                    <a:pt x="96" y="963"/>
                  </a:lnTo>
                  <a:lnTo>
                    <a:pt x="94" y="980"/>
                  </a:lnTo>
                  <a:lnTo>
                    <a:pt x="104" y="1013"/>
                  </a:lnTo>
                  <a:lnTo>
                    <a:pt x="98" y="1023"/>
                  </a:lnTo>
                  <a:lnTo>
                    <a:pt x="100" y="1025"/>
                  </a:lnTo>
                  <a:lnTo>
                    <a:pt x="96" y="1025"/>
                  </a:lnTo>
                  <a:lnTo>
                    <a:pt x="96" y="1030"/>
                  </a:lnTo>
                  <a:lnTo>
                    <a:pt x="100" y="1030"/>
                  </a:lnTo>
                  <a:lnTo>
                    <a:pt x="100" y="1036"/>
                  </a:lnTo>
                  <a:lnTo>
                    <a:pt x="106" y="1030"/>
                  </a:lnTo>
                  <a:lnTo>
                    <a:pt x="111" y="1030"/>
                  </a:lnTo>
                  <a:lnTo>
                    <a:pt x="119" y="1040"/>
                  </a:lnTo>
                  <a:lnTo>
                    <a:pt x="121" y="1046"/>
                  </a:lnTo>
                  <a:lnTo>
                    <a:pt x="121" y="1050"/>
                  </a:lnTo>
                  <a:lnTo>
                    <a:pt x="115" y="1052"/>
                  </a:lnTo>
                  <a:lnTo>
                    <a:pt x="111" y="1048"/>
                  </a:lnTo>
                  <a:lnTo>
                    <a:pt x="111" y="1046"/>
                  </a:lnTo>
                  <a:lnTo>
                    <a:pt x="108" y="1042"/>
                  </a:lnTo>
                  <a:lnTo>
                    <a:pt x="104" y="1044"/>
                  </a:lnTo>
                  <a:lnTo>
                    <a:pt x="106" y="1048"/>
                  </a:lnTo>
                  <a:lnTo>
                    <a:pt x="111" y="1052"/>
                  </a:lnTo>
                  <a:lnTo>
                    <a:pt x="102" y="1055"/>
                  </a:lnTo>
                  <a:lnTo>
                    <a:pt x="104" y="1061"/>
                  </a:lnTo>
                  <a:lnTo>
                    <a:pt x="100" y="1065"/>
                  </a:lnTo>
                  <a:lnTo>
                    <a:pt x="98" y="1071"/>
                  </a:lnTo>
                  <a:lnTo>
                    <a:pt x="100" y="1075"/>
                  </a:lnTo>
                  <a:lnTo>
                    <a:pt x="106" y="1073"/>
                  </a:lnTo>
                  <a:lnTo>
                    <a:pt x="106" y="1080"/>
                  </a:lnTo>
                  <a:lnTo>
                    <a:pt x="119" y="1086"/>
                  </a:lnTo>
                  <a:lnTo>
                    <a:pt x="119" y="1096"/>
                  </a:lnTo>
                  <a:lnTo>
                    <a:pt x="115" y="1100"/>
                  </a:lnTo>
                  <a:lnTo>
                    <a:pt x="119" y="1102"/>
                  </a:lnTo>
                  <a:lnTo>
                    <a:pt x="117" y="1117"/>
                  </a:lnTo>
                  <a:lnTo>
                    <a:pt x="123" y="1113"/>
                  </a:lnTo>
                  <a:lnTo>
                    <a:pt x="127" y="1115"/>
                  </a:lnTo>
                  <a:lnTo>
                    <a:pt x="127" y="1121"/>
                  </a:lnTo>
                  <a:lnTo>
                    <a:pt x="131" y="1125"/>
                  </a:lnTo>
                  <a:lnTo>
                    <a:pt x="133" y="1128"/>
                  </a:lnTo>
                  <a:lnTo>
                    <a:pt x="138" y="1132"/>
                  </a:lnTo>
                  <a:lnTo>
                    <a:pt x="136" y="1134"/>
                  </a:lnTo>
                  <a:lnTo>
                    <a:pt x="144" y="1150"/>
                  </a:lnTo>
                  <a:lnTo>
                    <a:pt x="142" y="1157"/>
                  </a:lnTo>
                  <a:lnTo>
                    <a:pt x="150" y="1163"/>
                  </a:lnTo>
                  <a:lnTo>
                    <a:pt x="152" y="1159"/>
                  </a:lnTo>
                  <a:lnTo>
                    <a:pt x="160" y="1157"/>
                  </a:lnTo>
                  <a:lnTo>
                    <a:pt x="165" y="1165"/>
                  </a:lnTo>
                  <a:lnTo>
                    <a:pt x="169" y="1165"/>
                  </a:lnTo>
                  <a:lnTo>
                    <a:pt x="175" y="1157"/>
                  </a:lnTo>
                  <a:lnTo>
                    <a:pt x="188" y="1161"/>
                  </a:lnTo>
                  <a:lnTo>
                    <a:pt x="190" y="1163"/>
                  </a:lnTo>
                  <a:lnTo>
                    <a:pt x="188" y="1171"/>
                  </a:lnTo>
                  <a:lnTo>
                    <a:pt x="194" y="1176"/>
                  </a:lnTo>
                  <a:lnTo>
                    <a:pt x="200" y="1169"/>
                  </a:lnTo>
                  <a:lnTo>
                    <a:pt x="204" y="1169"/>
                  </a:lnTo>
                  <a:lnTo>
                    <a:pt x="208" y="1163"/>
                  </a:lnTo>
                  <a:lnTo>
                    <a:pt x="211" y="1163"/>
                  </a:lnTo>
                  <a:lnTo>
                    <a:pt x="217" y="1161"/>
                  </a:lnTo>
                  <a:lnTo>
                    <a:pt x="227" y="1163"/>
                  </a:lnTo>
                  <a:lnTo>
                    <a:pt x="238" y="1173"/>
                  </a:lnTo>
                  <a:lnTo>
                    <a:pt x="244" y="1171"/>
                  </a:lnTo>
                  <a:lnTo>
                    <a:pt x="248" y="1184"/>
                  </a:lnTo>
                  <a:lnTo>
                    <a:pt x="244" y="1192"/>
                  </a:lnTo>
                  <a:lnTo>
                    <a:pt x="254" y="1200"/>
                  </a:lnTo>
                  <a:lnTo>
                    <a:pt x="256" y="1205"/>
                  </a:lnTo>
                  <a:lnTo>
                    <a:pt x="252" y="1207"/>
                  </a:lnTo>
                  <a:lnTo>
                    <a:pt x="254" y="1211"/>
                  </a:lnTo>
                  <a:lnTo>
                    <a:pt x="250" y="1213"/>
                  </a:lnTo>
                  <a:lnTo>
                    <a:pt x="250" y="1223"/>
                  </a:lnTo>
                  <a:lnTo>
                    <a:pt x="259" y="1226"/>
                  </a:lnTo>
                  <a:lnTo>
                    <a:pt x="261" y="1230"/>
                  </a:lnTo>
                  <a:lnTo>
                    <a:pt x="267" y="1230"/>
                  </a:lnTo>
                  <a:lnTo>
                    <a:pt x="265" y="1240"/>
                  </a:lnTo>
                  <a:lnTo>
                    <a:pt x="271" y="1242"/>
                  </a:lnTo>
                  <a:lnTo>
                    <a:pt x="279" y="1253"/>
                  </a:lnTo>
                  <a:lnTo>
                    <a:pt x="296" y="1259"/>
                  </a:lnTo>
                  <a:lnTo>
                    <a:pt x="300" y="1265"/>
                  </a:lnTo>
                  <a:lnTo>
                    <a:pt x="300" y="1278"/>
                  </a:lnTo>
                  <a:lnTo>
                    <a:pt x="306" y="1278"/>
                  </a:lnTo>
                  <a:lnTo>
                    <a:pt x="311" y="1273"/>
                  </a:lnTo>
                  <a:lnTo>
                    <a:pt x="325" y="1276"/>
                  </a:lnTo>
                  <a:lnTo>
                    <a:pt x="329" y="1278"/>
                  </a:lnTo>
                  <a:lnTo>
                    <a:pt x="325" y="1282"/>
                  </a:lnTo>
                  <a:lnTo>
                    <a:pt x="327" y="1286"/>
                  </a:lnTo>
                  <a:lnTo>
                    <a:pt x="340" y="1292"/>
                  </a:lnTo>
                  <a:lnTo>
                    <a:pt x="342" y="1298"/>
                  </a:lnTo>
                  <a:lnTo>
                    <a:pt x="332" y="1303"/>
                  </a:lnTo>
                  <a:lnTo>
                    <a:pt x="332" y="1309"/>
                  </a:lnTo>
                  <a:lnTo>
                    <a:pt x="327" y="1317"/>
                  </a:lnTo>
                  <a:lnTo>
                    <a:pt x="317" y="1321"/>
                  </a:lnTo>
                  <a:lnTo>
                    <a:pt x="311" y="1321"/>
                  </a:lnTo>
                  <a:lnTo>
                    <a:pt x="309" y="1317"/>
                  </a:lnTo>
                  <a:lnTo>
                    <a:pt x="304" y="1315"/>
                  </a:lnTo>
                  <a:lnTo>
                    <a:pt x="296" y="1319"/>
                  </a:lnTo>
                  <a:lnTo>
                    <a:pt x="296" y="1324"/>
                  </a:lnTo>
                  <a:lnTo>
                    <a:pt x="294" y="1330"/>
                  </a:lnTo>
                  <a:lnTo>
                    <a:pt x="308" y="1342"/>
                  </a:lnTo>
                  <a:lnTo>
                    <a:pt x="309" y="1346"/>
                  </a:lnTo>
                  <a:lnTo>
                    <a:pt x="308" y="1349"/>
                  </a:lnTo>
                  <a:lnTo>
                    <a:pt x="315" y="1357"/>
                  </a:lnTo>
                  <a:lnTo>
                    <a:pt x="311" y="1361"/>
                  </a:lnTo>
                  <a:lnTo>
                    <a:pt x="317" y="1369"/>
                  </a:lnTo>
                  <a:lnTo>
                    <a:pt x="315" y="1372"/>
                  </a:lnTo>
                  <a:lnTo>
                    <a:pt x="321" y="1374"/>
                  </a:lnTo>
                  <a:lnTo>
                    <a:pt x="327" y="1384"/>
                  </a:lnTo>
                  <a:lnTo>
                    <a:pt x="331" y="1384"/>
                  </a:lnTo>
                  <a:lnTo>
                    <a:pt x="332" y="1388"/>
                  </a:lnTo>
                  <a:lnTo>
                    <a:pt x="342" y="1382"/>
                  </a:lnTo>
                  <a:lnTo>
                    <a:pt x="346" y="1376"/>
                  </a:lnTo>
                  <a:lnTo>
                    <a:pt x="344" y="1365"/>
                  </a:lnTo>
                  <a:lnTo>
                    <a:pt x="365" y="1365"/>
                  </a:lnTo>
                  <a:lnTo>
                    <a:pt x="373" y="1355"/>
                  </a:lnTo>
                  <a:lnTo>
                    <a:pt x="382" y="1353"/>
                  </a:lnTo>
                  <a:lnTo>
                    <a:pt x="384" y="1351"/>
                  </a:lnTo>
                  <a:lnTo>
                    <a:pt x="386" y="1357"/>
                  </a:lnTo>
                  <a:lnTo>
                    <a:pt x="392" y="1351"/>
                  </a:lnTo>
                  <a:lnTo>
                    <a:pt x="396" y="1349"/>
                  </a:lnTo>
                  <a:lnTo>
                    <a:pt x="409" y="1359"/>
                  </a:lnTo>
                  <a:lnTo>
                    <a:pt x="413" y="1372"/>
                  </a:lnTo>
                  <a:lnTo>
                    <a:pt x="425" y="1376"/>
                  </a:lnTo>
                  <a:lnTo>
                    <a:pt x="429" y="1382"/>
                  </a:lnTo>
                  <a:lnTo>
                    <a:pt x="417" y="1390"/>
                  </a:lnTo>
                  <a:lnTo>
                    <a:pt x="425" y="1397"/>
                  </a:lnTo>
                  <a:lnTo>
                    <a:pt x="427" y="1405"/>
                  </a:lnTo>
                  <a:lnTo>
                    <a:pt x="430" y="1407"/>
                  </a:lnTo>
                  <a:lnTo>
                    <a:pt x="429" y="1415"/>
                  </a:lnTo>
                  <a:lnTo>
                    <a:pt x="444" y="1411"/>
                  </a:lnTo>
                  <a:lnTo>
                    <a:pt x="450" y="1415"/>
                  </a:lnTo>
                  <a:lnTo>
                    <a:pt x="459" y="1409"/>
                  </a:lnTo>
                  <a:lnTo>
                    <a:pt x="463" y="1409"/>
                  </a:lnTo>
                  <a:lnTo>
                    <a:pt x="469" y="1419"/>
                  </a:lnTo>
                  <a:lnTo>
                    <a:pt x="477" y="1417"/>
                  </a:lnTo>
                  <a:lnTo>
                    <a:pt x="475" y="1422"/>
                  </a:lnTo>
                  <a:lnTo>
                    <a:pt x="486" y="1438"/>
                  </a:lnTo>
                  <a:lnTo>
                    <a:pt x="484" y="1442"/>
                  </a:lnTo>
                  <a:lnTo>
                    <a:pt x="488" y="1449"/>
                  </a:lnTo>
                  <a:lnTo>
                    <a:pt x="500" y="1457"/>
                  </a:lnTo>
                  <a:lnTo>
                    <a:pt x="504" y="1449"/>
                  </a:lnTo>
                  <a:lnTo>
                    <a:pt x="509" y="1447"/>
                  </a:lnTo>
                  <a:lnTo>
                    <a:pt x="517" y="1447"/>
                  </a:lnTo>
                  <a:lnTo>
                    <a:pt x="525" y="1453"/>
                  </a:lnTo>
                  <a:lnTo>
                    <a:pt x="527" y="1449"/>
                  </a:lnTo>
                  <a:lnTo>
                    <a:pt x="534" y="1451"/>
                  </a:lnTo>
                  <a:lnTo>
                    <a:pt x="536" y="1455"/>
                  </a:lnTo>
                  <a:lnTo>
                    <a:pt x="542" y="1447"/>
                  </a:lnTo>
                  <a:lnTo>
                    <a:pt x="565" y="1430"/>
                  </a:lnTo>
                  <a:lnTo>
                    <a:pt x="567" y="1436"/>
                  </a:lnTo>
                  <a:lnTo>
                    <a:pt x="573" y="1438"/>
                  </a:lnTo>
                  <a:lnTo>
                    <a:pt x="575" y="1444"/>
                  </a:lnTo>
                  <a:lnTo>
                    <a:pt x="580" y="1449"/>
                  </a:lnTo>
                  <a:lnTo>
                    <a:pt x="590" y="1451"/>
                  </a:lnTo>
                  <a:lnTo>
                    <a:pt x="596" y="1457"/>
                  </a:lnTo>
                  <a:lnTo>
                    <a:pt x="602" y="1453"/>
                  </a:lnTo>
                  <a:lnTo>
                    <a:pt x="598" y="1445"/>
                  </a:lnTo>
                  <a:lnTo>
                    <a:pt x="603" y="1444"/>
                  </a:lnTo>
                  <a:lnTo>
                    <a:pt x="607" y="1447"/>
                  </a:lnTo>
                  <a:lnTo>
                    <a:pt x="613" y="1449"/>
                  </a:lnTo>
                  <a:lnTo>
                    <a:pt x="619" y="1445"/>
                  </a:lnTo>
                  <a:lnTo>
                    <a:pt x="621" y="1447"/>
                  </a:lnTo>
                  <a:lnTo>
                    <a:pt x="632" y="1451"/>
                  </a:lnTo>
                  <a:lnTo>
                    <a:pt x="640" y="1445"/>
                  </a:lnTo>
                  <a:lnTo>
                    <a:pt x="646" y="1451"/>
                  </a:lnTo>
                  <a:lnTo>
                    <a:pt x="657" y="1449"/>
                  </a:lnTo>
                  <a:lnTo>
                    <a:pt x="663" y="1455"/>
                  </a:lnTo>
                  <a:lnTo>
                    <a:pt x="669" y="1457"/>
                  </a:lnTo>
                  <a:lnTo>
                    <a:pt x="676" y="1451"/>
                  </a:lnTo>
                  <a:lnTo>
                    <a:pt x="680" y="1449"/>
                  </a:lnTo>
                  <a:lnTo>
                    <a:pt x="680" y="1459"/>
                  </a:lnTo>
                  <a:lnTo>
                    <a:pt x="688" y="1465"/>
                  </a:lnTo>
                  <a:lnTo>
                    <a:pt x="690" y="1470"/>
                  </a:lnTo>
                  <a:lnTo>
                    <a:pt x="684" y="1480"/>
                  </a:lnTo>
                  <a:lnTo>
                    <a:pt x="686" y="1486"/>
                  </a:lnTo>
                  <a:lnTo>
                    <a:pt x="676" y="1490"/>
                  </a:lnTo>
                  <a:lnTo>
                    <a:pt x="678" y="1493"/>
                  </a:lnTo>
                  <a:lnTo>
                    <a:pt x="682" y="1497"/>
                  </a:lnTo>
                  <a:lnTo>
                    <a:pt x="690" y="1497"/>
                  </a:lnTo>
                  <a:lnTo>
                    <a:pt x="692" y="1493"/>
                  </a:lnTo>
                  <a:lnTo>
                    <a:pt x="694" y="1497"/>
                  </a:lnTo>
                  <a:lnTo>
                    <a:pt x="692" y="1501"/>
                  </a:lnTo>
                  <a:lnTo>
                    <a:pt x="686" y="1501"/>
                  </a:lnTo>
                  <a:lnTo>
                    <a:pt x="684" y="1507"/>
                  </a:lnTo>
                  <a:lnTo>
                    <a:pt x="684" y="1518"/>
                  </a:lnTo>
                  <a:lnTo>
                    <a:pt x="692" y="1517"/>
                  </a:lnTo>
                  <a:lnTo>
                    <a:pt x="700" y="1528"/>
                  </a:lnTo>
                  <a:lnTo>
                    <a:pt x="698" y="1532"/>
                  </a:lnTo>
                  <a:lnTo>
                    <a:pt x="705" y="1532"/>
                  </a:lnTo>
                  <a:lnTo>
                    <a:pt x="701" y="1545"/>
                  </a:lnTo>
                  <a:lnTo>
                    <a:pt x="703" y="1549"/>
                  </a:lnTo>
                  <a:lnTo>
                    <a:pt x="701" y="1551"/>
                  </a:lnTo>
                  <a:lnTo>
                    <a:pt x="705" y="1561"/>
                  </a:lnTo>
                  <a:lnTo>
                    <a:pt x="703" y="1565"/>
                  </a:lnTo>
                  <a:lnTo>
                    <a:pt x="676" y="1570"/>
                  </a:lnTo>
                  <a:lnTo>
                    <a:pt x="669" y="1574"/>
                  </a:lnTo>
                  <a:lnTo>
                    <a:pt x="669" y="1586"/>
                  </a:lnTo>
                  <a:lnTo>
                    <a:pt x="653" y="1595"/>
                  </a:lnTo>
                  <a:lnTo>
                    <a:pt x="655" y="1615"/>
                  </a:lnTo>
                  <a:lnTo>
                    <a:pt x="659" y="1616"/>
                  </a:lnTo>
                  <a:lnTo>
                    <a:pt x="657" y="1622"/>
                  </a:lnTo>
                  <a:lnTo>
                    <a:pt x="659" y="1628"/>
                  </a:lnTo>
                  <a:lnTo>
                    <a:pt x="686" y="1615"/>
                  </a:lnTo>
                  <a:lnTo>
                    <a:pt x="684" y="1609"/>
                  </a:lnTo>
                  <a:lnTo>
                    <a:pt x="698" y="1605"/>
                  </a:lnTo>
                  <a:lnTo>
                    <a:pt x="703" y="1620"/>
                  </a:lnTo>
                  <a:lnTo>
                    <a:pt x="694" y="1622"/>
                  </a:lnTo>
                  <a:lnTo>
                    <a:pt x="682" y="1638"/>
                  </a:lnTo>
                  <a:lnTo>
                    <a:pt x="675" y="1640"/>
                  </a:lnTo>
                  <a:lnTo>
                    <a:pt x="673" y="1649"/>
                  </a:lnTo>
                  <a:lnTo>
                    <a:pt x="675" y="1651"/>
                  </a:lnTo>
                  <a:lnTo>
                    <a:pt x="680" y="1647"/>
                  </a:lnTo>
                  <a:lnTo>
                    <a:pt x="682" y="1651"/>
                  </a:lnTo>
                  <a:lnTo>
                    <a:pt x="675" y="1655"/>
                  </a:lnTo>
                  <a:lnTo>
                    <a:pt x="669" y="1651"/>
                  </a:lnTo>
                  <a:lnTo>
                    <a:pt x="661" y="1661"/>
                  </a:lnTo>
                  <a:lnTo>
                    <a:pt x="650" y="1661"/>
                  </a:lnTo>
                  <a:lnTo>
                    <a:pt x="661" y="1676"/>
                  </a:lnTo>
                  <a:lnTo>
                    <a:pt x="665" y="1678"/>
                  </a:lnTo>
                  <a:lnTo>
                    <a:pt x="669" y="1674"/>
                  </a:lnTo>
                  <a:lnTo>
                    <a:pt x="680" y="1682"/>
                  </a:lnTo>
                  <a:lnTo>
                    <a:pt x="694" y="1686"/>
                  </a:lnTo>
                  <a:lnTo>
                    <a:pt x="694" y="1691"/>
                  </a:lnTo>
                  <a:lnTo>
                    <a:pt x="690" y="1691"/>
                  </a:lnTo>
                  <a:lnTo>
                    <a:pt x="680" y="1688"/>
                  </a:lnTo>
                  <a:lnTo>
                    <a:pt x="678" y="1689"/>
                  </a:lnTo>
                  <a:lnTo>
                    <a:pt x="678" y="1711"/>
                  </a:lnTo>
                  <a:lnTo>
                    <a:pt x="676" y="1711"/>
                  </a:lnTo>
                  <a:lnTo>
                    <a:pt x="675" y="1695"/>
                  </a:lnTo>
                  <a:lnTo>
                    <a:pt x="671" y="1697"/>
                  </a:lnTo>
                  <a:lnTo>
                    <a:pt x="671" y="1716"/>
                  </a:lnTo>
                  <a:lnTo>
                    <a:pt x="663" y="1726"/>
                  </a:lnTo>
                  <a:lnTo>
                    <a:pt x="667" y="1741"/>
                  </a:lnTo>
                  <a:lnTo>
                    <a:pt x="669" y="1732"/>
                  </a:lnTo>
                  <a:lnTo>
                    <a:pt x="673" y="1745"/>
                  </a:lnTo>
                  <a:lnTo>
                    <a:pt x="665" y="1747"/>
                  </a:lnTo>
                  <a:lnTo>
                    <a:pt x="665" y="1745"/>
                  </a:lnTo>
                  <a:lnTo>
                    <a:pt x="661" y="1751"/>
                  </a:lnTo>
                  <a:lnTo>
                    <a:pt x="651" y="1753"/>
                  </a:lnTo>
                  <a:lnTo>
                    <a:pt x="659" y="1753"/>
                  </a:lnTo>
                  <a:lnTo>
                    <a:pt x="651" y="1759"/>
                  </a:lnTo>
                  <a:lnTo>
                    <a:pt x="650" y="1759"/>
                  </a:lnTo>
                  <a:lnTo>
                    <a:pt x="650" y="1753"/>
                  </a:lnTo>
                  <a:lnTo>
                    <a:pt x="636" y="1749"/>
                  </a:lnTo>
                  <a:lnTo>
                    <a:pt x="632" y="1759"/>
                  </a:lnTo>
                  <a:lnTo>
                    <a:pt x="634" y="1755"/>
                  </a:lnTo>
                  <a:lnTo>
                    <a:pt x="636" y="1759"/>
                  </a:lnTo>
                  <a:lnTo>
                    <a:pt x="644" y="1757"/>
                  </a:lnTo>
                  <a:lnTo>
                    <a:pt x="640" y="1763"/>
                  </a:lnTo>
                  <a:lnTo>
                    <a:pt x="630" y="1766"/>
                  </a:lnTo>
                  <a:lnTo>
                    <a:pt x="632" y="1772"/>
                  </a:lnTo>
                  <a:lnTo>
                    <a:pt x="642" y="1770"/>
                  </a:lnTo>
                  <a:lnTo>
                    <a:pt x="659" y="1774"/>
                  </a:lnTo>
                  <a:lnTo>
                    <a:pt x="676" y="1787"/>
                  </a:lnTo>
                  <a:lnTo>
                    <a:pt x="690" y="1787"/>
                  </a:lnTo>
                  <a:lnTo>
                    <a:pt x="692" y="1786"/>
                  </a:lnTo>
                  <a:lnTo>
                    <a:pt x="688" y="1782"/>
                  </a:lnTo>
                  <a:lnTo>
                    <a:pt x="701" y="1789"/>
                  </a:lnTo>
                  <a:lnTo>
                    <a:pt x="703" y="1789"/>
                  </a:lnTo>
                  <a:lnTo>
                    <a:pt x="711" y="1797"/>
                  </a:lnTo>
                  <a:lnTo>
                    <a:pt x="738" y="1797"/>
                  </a:lnTo>
                  <a:lnTo>
                    <a:pt x="809" y="1834"/>
                  </a:lnTo>
                  <a:lnTo>
                    <a:pt x="809" y="1820"/>
                  </a:lnTo>
                  <a:lnTo>
                    <a:pt x="815" y="1818"/>
                  </a:lnTo>
                  <a:lnTo>
                    <a:pt x="828" y="1818"/>
                  </a:lnTo>
                  <a:lnTo>
                    <a:pt x="834" y="1814"/>
                  </a:lnTo>
                  <a:lnTo>
                    <a:pt x="853" y="1818"/>
                  </a:lnTo>
                  <a:lnTo>
                    <a:pt x="869" y="1814"/>
                  </a:lnTo>
                  <a:lnTo>
                    <a:pt x="878" y="1820"/>
                  </a:lnTo>
                  <a:lnTo>
                    <a:pt x="901" y="1812"/>
                  </a:lnTo>
                  <a:lnTo>
                    <a:pt x="911" y="1807"/>
                  </a:lnTo>
                  <a:lnTo>
                    <a:pt x="924" y="1809"/>
                  </a:lnTo>
                  <a:lnTo>
                    <a:pt x="926" y="1805"/>
                  </a:lnTo>
                  <a:lnTo>
                    <a:pt x="932" y="1803"/>
                  </a:lnTo>
                  <a:lnTo>
                    <a:pt x="942" y="1805"/>
                  </a:lnTo>
                  <a:lnTo>
                    <a:pt x="942" y="1807"/>
                  </a:lnTo>
                  <a:lnTo>
                    <a:pt x="949" y="1811"/>
                  </a:lnTo>
                  <a:lnTo>
                    <a:pt x="961" y="1811"/>
                  </a:lnTo>
                  <a:lnTo>
                    <a:pt x="984" y="1812"/>
                  </a:lnTo>
                  <a:lnTo>
                    <a:pt x="982" y="1820"/>
                  </a:lnTo>
                  <a:lnTo>
                    <a:pt x="994" y="1822"/>
                  </a:lnTo>
                  <a:lnTo>
                    <a:pt x="995" y="1816"/>
                  </a:lnTo>
                  <a:lnTo>
                    <a:pt x="1001" y="1814"/>
                  </a:lnTo>
                  <a:lnTo>
                    <a:pt x="1003" y="1807"/>
                  </a:lnTo>
                  <a:lnTo>
                    <a:pt x="1017" y="1799"/>
                  </a:lnTo>
                  <a:lnTo>
                    <a:pt x="1022" y="1801"/>
                  </a:lnTo>
                  <a:lnTo>
                    <a:pt x="1026" y="1805"/>
                  </a:lnTo>
                  <a:lnTo>
                    <a:pt x="1026" y="1795"/>
                  </a:lnTo>
                  <a:lnTo>
                    <a:pt x="1028" y="1793"/>
                  </a:lnTo>
                  <a:lnTo>
                    <a:pt x="1036" y="1795"/>
                  </a:lnTo>
                  <a:lnTo>
                    <a:pt x="1040" y="1793"/>
                  </a:lnTo>
                  <a:lnTo>
                    <a:pt x="1051" y="1799"/>
                  </a:lnTo>
                  <a:lnTo>
                    <a:pt x="1059" y="1795"/>
                  </a:lnTo>
                  <a:lnTo>
                    <a:pt x="1070" y="1795"/>
                  </a:lnTo>
                  <a:lnTo>
                    <a:pt x="1072" y="1814"/>
                  </a:lnTo>
                  <a:lnTo>
                    <a:pt x="1086" y="1814"/>
                  </a:lnTo>
                  <a:lnTo>
                    <a:pt x="1090" y="1820"/>
                  </a:lnTo>
                  <a:lnTo>
                    <a:pt x="1103" y="1816"/>
                  </a:lnTo>
                  <a:lnTo>
                    <a:pt x="1115" y="1818"/>
                  </a:lnTo>
                  <a:lnTo>
                    <a:pt x="1118" y="1816"/>
                  </a:lnTo>
                  <a:lnTo>
                    <a:pt x="1122" y="1822"/>
                  </a:lnTo>
                  <a:lnTo>
                    <a:pt x="1128" y="1814"/>
                  </a:lnTo>
                  <a:lnTo>
                    <a:pt x="1130" y="1818"/>
                  </a:lnTo>
                  <a:lnTo>
                    <a:pt x="1138" y="1820"/>
                  </a:lnTo>
                  <a:lnTo>
                    <a:pt x="1147" y="1828"/>
                  </a:lnTo>
                  <a:lnTo>
                    <a:pt x="1153" y="1824"/>
                  </a:lnTo>
                  <a:lnTo>
                    <a:pt x="1165" y="1837"/>
                  </a:lnTo>
                  <a:lnTo>
                    <a:pt x="1178" y="1837"/>
                  </a:lnTo>
                  <a:lnTo>
                    <a:pt x="1182" y="1836"/>
                  </a:lnTo>
                  <a:lnTo>
                    <a:pt x="1188" y="1836"/>
                  </a:lnTo>
                  <a:lnTo>
                    <a:pt x="1193" y="1830"/>
                  </a:lnTo>
                  <a:lnTo>
                    <a:pt x="1191" y="1826"/>
                  </a:lnTo>
                  <a:lnTo>
                    <a:pt x="1193" y="1820"/>
                  </a:lnTo>
                  <a:lnTo>
                    <a:pt x="1193" y="1812"/>
                  </a:lnTo>
                  <a:lnTo>
                    <a:pt x="1203" y="1799"/>
                  </a:lnTo>
                  <a:lnTo>
                    <a:pt x="1203" y="1782"/>
                  </a:lnTo>
                  <a:lnTo>
                    <a:pt x="1193" y="1780"/>
                  </a:lnTo>
                  <a:lnTo>
                    <a:pt x="1186" y="1772"/>
                  </a:lnTo>
                  <a:lnTo>
                    <a:pt x="1165" y="1759"/>
                  </a:lnTo>
                  <a:lnTo>
                    <a:pt x="1153" y="1751"/>
                  </a:lnTo>
                  <a:lnTo>
                    <a:pt x="1147" y="1751"/>
                  </a:lnTo>
                  <a:lnTo>
                    <a:pt x="1140" y="1738"/>
                  </a:lnTo>
                  <a:lnTo>
                    <a:pt x="1126" y="1734"/>
                  </a:lnTo>
                  <a:lnTo>
                    <a:pt x="1122" y="1722"/>
                  </a:lnTo>
                  <a:lnTo>
                    <a:pt x="1124" y="1714"/>
                  </a:lnTo>
                  <a:lnTo>
                    <a:pt x="1122" y="1713"/>
                  </a:lnTo>
                  <a:lnTo>
                    <a:pt x="1120" y="1716"/>
                  </a:lnTo>
                  <a:lnTo>
                    <a:pt x="1115" y="1707"/>
                  </a:lnTo>
                  <a:lnTo>
                    <a:pt x="1113" y="1678"/>
                  </a:lnTo>
                  <a:lnTo>
                    <a:pt x="1109" y="1678"/>
                  </a:lnTo>
                  <a:lnTo>
                    <a:pt x="1107" y="1682"/>
                  </a:lnTo>
                  <a:lnTo>
                    <a:pt x="1113" y="1705"/>
                  </a:lnTo>
                  <a:lnTo>
                    <a:pt x="1107" y="1701"/>
                  </a:lnTo>
                  <a:lnTo>
                    <a:pt x="1107" y="1697"/>
                  </a:lnTo>
                  <a:lnTo>
                    <a:pt x="1107" y="1686"/>
                  </a:lnTo>
                  <a:lnTo>
                    <a:pt x="1103" y="1686"/>
                  </a:lnTo>
                  <a:lnTo>
                    <a:pt x="1103" y="1684"/>
                  </a:lnTo>
                  <a:lnTo>
                    <a:pt x="1086" y="1666"/>
                  </a:lnTo>
                  <a:lnTo>
                    <a:pt x="1082" y="1668"/>
                  </a:lnTo>
                  <a:lnTo>
                    <a:pt x="1072" y="1661"/>
                  </a:lnTo>
                  <a:lnTo>
                    <a:pt x="1061" y="1665"/>
                  </a:lnTo>
                  <a:lnTo>
                    <a:pt x="1057" y="1663"/>
                  </a:lnTo>
                  <a:lnTo>
                    <a:pt x="1053" y="1649"/>
                  </a:lnTo>
                  <a:lnTo>
                    <a:pt x="1057" y="1641"/>
                  </a:lnTo>
                  <a:lnTo>
                    <a:pt x="1061" y="1634"/>
                  </a:lnTo>
                  <a:lnTo>
                    <a:pt x="1063" y="1636"/>
                  </a:lnTo>
                  <a:lnTo>
                    <a:pt x="1061" y="1607"/>
                  </a:lnTo>
                  <a:lnTo>
                    <a:pt x="1065" y="1607"/>
                  </a:lnTo>
                  <a:lnTo>
                    <a:pt x="1063" y="1599"/>
                  </a:lnTo>
                  <a:lnTo>
                    <a:pt x="1063" y="1584"/>
                  </a:lnTo>
                  <a:lnTo>
                    <a:pt x="1059" y="1582"/>
                  </a:lnTo>
                  <a:lnTo>
                    <a:pt x="1067" y="1578"/>
                  </a:lnTo>
                  <a:lnTo>
                    <a:pt x="1061" y="1570"/>
                  </a:lnTo>
                  <a:lnTo>
                    <a:pt x="1067" y="1570"/>
                  </a:lnTo>
                  <a:lnTo>
                    <a:pt x="1070" y="1572"/>
                  </a:lnTo>
                  <a:lnTo>
                    <a:pt x="1072" y="1567"/>
                  </a:lnTo>
                  <a:lnTo>
                    <a:pt x="1084" y="1559"/>
                  </a:lnTo>
                  <a:lnTo>
                    <a:pt x="1082" y="1557"/>
                  </a:lnTo>
                  <a:lnTo>
                    <a:pt x="1082" y="1551"/>
                  </a:lnTo>
                  <a:lnTo>
                    <a:pt x="1088" y="1549"/>
                  </a:lnTo>
                  <a:lnTo>
                    <a:pt x="1084" y="1547"/>
                  </a:lnTo>
                  <a:lnTo>
                    <a:pt x="1090" y="1540"/>
                  </a:lnTo>
                  <a:lnTo>
                    <a:pt x="1099" y="1545"/>
                  </a:lnTo>
                  <a:lnTo>
                    <a:pt x="1101" y="1542"/>
                  </a:lnTo>
                  <a:lnTo>
                    <a:pt x="1097" y="1536"/>
                  </a:lnTo>
                  <a:lnTo>
                    <a:pt x="1093" y="1538"/>
                  </a:lnTo>
                  <a:lnTo>
                    <a:pt x="1095" y="1532"/>
                  </a:lnTo>
                  <a:lnTo>
                    <a:pt x="1090" y="1530"/>
                  </a:lnTo>
                  <a:lnTo>
                    <a:pt x="1092" y="1526"/>
                  </a:lnTo>
                  <a:lnTo>
                    <a:pt x="1097" y="1530"/>
                  </a:lnTo>
                  <a:lnTo>
                    <a:pt x="1097" y="1522"/>
                  </a:lnTo>
                  <a:lnTo>
                    <a:pt x="1101" y="1517"/>
                  </a:lnTo>
                  <a:lnTo>
                    <a:pt x="1107" y="1518"/>
                  </a:lnTo>
                  <a:lnTo>
                    <a:pt x="1103" y="1513"/>
                  </a:lnTo>
                  <a:lnTo>
                    <a:pt x="1101" y="1513"/>
                  </a:lnTo>
                  <a:lnTo>
                    <a:pt x="1103" y="1509"/>
                  </a:lnTo>
                  <a:lnTo>
                    <a:pt x="1111" y="1509"/>
                  </a:lnTo>
                  <a:lnTo>
                    <a:pt x="1105" y="1505"/>
                  </a:lnTo>
                  <a:lnTo>
                    <a:pt x="1103" y="1505"/>
                  </a:lnTo>
                  <a:lnTo>
                    <a:pt x="1090" y="1501"/>
                  </a:lnTo>
                  <a:lnTo>
                    <a:pt x="1086" y="1503"/>
                  </a:lnTo>
                  <a:lnTo>
                    <a:pt x="1080" y="1501"/>
                  </a:lnTo>
                  <a:lnTo>
                    <a:pt x="1072" y="1503"/>
                  </a:lnTo>
                  <a:lnTo>
                    <a:pt x="1070" y="1499"/>
                  </a:lnTo>
                  <a:lnTo>
                    <a:pt x="1067" y="1499"/>
                  </a:lnTo>
                  <a:lnTo>
                    <a:pt x="1068" y="1490"/>
                  </a:lnTo>
                  <a:lnTo>
                    <a:pt x="1074" y="1490"/>
                  </a:lnTo>
                  <a:lnTo>
                    <a:pt x="1078" y="1492"/>
                  </a:lnTo>
                  <a:lnTo>
                    <a:pt x="1084" y="1488"/>
                  </a:lnTo>
                  <a:lnTo>
                    <a:pt x="1086" y="1482"/>
                  </a:lnTo>
                  <a:lnTo>
                    <a:pt x="1065" y="1469"/>
                  </a:lnTo>
                  <a:lnTo>
                    <a:pt x="1049" y="1453"/>
                  </a:lnTo>
                  <a:lnTo>
                    <a:pt x="1045" y="1453"/>
                  </a:lnTo>
                  <a:lnTo>
                    <a:pt x="1024" y="1440"/>
                  </a:lnTo>
                  <a:lnTo>
                    <a:pt x="1005" y="1447"/>
                  </a:lnTo>
                  <a:lnTo>
                    <a:pt x="995" y="1447"/>
                  </a:lnTo>
                  <a:lnTo>
                    <a:pt x="999" y="1457"/>
                  </a:lnTo>
                  <a:lnTo>
                    <a:pt x="986" y="1453"/>
                  </a:lnTo>
                  <a:lnTo>
                    <a:pt x="986" y="1449"/>
                  </a:lnTo>
                  <a:lnTo>
                    <a:pt x="978" y="1444"/>
                  </a:lnTo>
                  <a:lnTo>
                    <a:pt x="982" y="1438"/>
                  </a:lnTo>
                  <a:lnTo>
                    <a:pt x="978" y="1438"/>
                  </a:lnTo>
                  <a:lnTo>
                    <a:pt x="972" y="1426"/>
                  </a:lnTo>
                  <a:lnTo>
                    <a:pt x="945" y="1428"/>
                  </a:lnTo>
                  <a:lnTo>
                    <a:pt x="945" y="1411"/>
                  </a:lnTo>
                  <a:lnTo>
                    <a:pt x="944" y="1394"/>
                  </a:lnTo>
                  <a:lnTo>
                    <a:pt x="947" y="1386"/>
                  </a:lnTo>
                  <a:lnTo>
                    <a:pt x="947" y="1376"/>
                  </a:lnTo>
                  <a:lnTo>
                    <a:pt x="944" y="1371"/>
                  </a:lnTo>
                  <a:lnTo>
                    <a:pt x="932" y="1369"/>
                  </a:lnTo>
                  <a:lnTo>
                    <a:pt x="924" y="1336"/>
                  </a:lnTo>
                  <a:lnTo>
                    <a:pt x="932" y="1326"/>
                  </a:lnTo>
                  <a:lnTo>
                    <a:pt x="932" y="1319"/>
                  </a:lnTo>
                  <a:lnTo>
                    <a:pt x="934" y="1315"/>
                  </a:lnTo>
                  <a:lnTo>
                    <a:pt x="928" y="1311"/>
                  </a:lnTo>
                  <a:lnTo>
                    <a:pt x="926" y="1303"/>
                  </a:lnTo>
                  <a:lnTo>
                    <a:pt x="928" y="1296"/>
                  </a:lnTo>
                  <a:lnTo>
                    <a:pt x="934" y="1290"/>
                  </a:lnTo>
                  <a:lnTo>
                    <a:pt x="961" y="1301"/>
                  </a:lnTo>
                  <a:lnTo>
                    <a:pt x="970" y="1313"/>
                  </a:lnTo>
                  <a:lnTo>
                    <a:pt x="974" y="1311"/>
                  </a:lnTo>
                  <a:lnTo>
                    <a:pt x="980" y="1313"/>
                  </a:lnTo>
                  <a:lnTo>
                    <a:pt x="990" y="1299"/>
                  </a:lnTo>
                  <a:lnTo>
                    <a:pt x="990" y="1294"/>
                  </a:lnTo>
                  <a:lnTo>
                    <a:pt x="988" y="1290"/>
                  </a:lnTo>
                  <a:lnTo>
                    <a:pt x="984" y="1290"/>
                  </a:lnTo>
                  <a:lnTo>
                    <a:pt x="970" y="1271"/>
                  </a:lnTo>
                  <a:lnTo>
                    <a:pt x="967" y="1263"/>
                  </a:lnTo>
                  <a:lnTo>
                    <a:pt x="963" y="1261"/>
                  </a:lnTo>
                  <a:lnTo>
                    <a:pt x="972" y="1261"/>
                  </a:lnTo>
                  <a:lnTo>
                    <a:pt x="978" y="1244"/>
                  </a:lnTo>
                  <a:lnTo>
                    <a:pt x="986" y="1236"/>
                  </a:lnTo>
                  <a:lnTo>
                    <a:pt x="980" y="1230"/>
                  </a:lnTo>
                  <a:lnTo>
                    <a:pt x="980" y="1219"/>
                  </a:lnTo>
                  <a:lnTo>
                    <a:pt x="992" y="1215"/>
                  </a:lnTo>
                  <a:lnTo>
                    <a:pt x="994" y="1205"/>
                  </a:lnTo>
                  <a:lnTo>
                    <a:pt x="1005" y="1194"/>
                  </a:lnTo>
                  <a:lnTo>
                    <a:pt x="1003" y="1186"/>
                  </a:lnTo>
                  <a:lnTo>
                    <a:pt x="1007" y="1182"/>
                  </a:lnTo>
                  <a:lnTo>
                    <a:pt x="1003" y="1171"/>
                  </a:lnTo>
                  <a:lnTo>
                    <a:pt x="1009" y="1169"/>
                  </a:lnTo>
                  <a:lnTo>
                    <a:pt x="1009" y="1173"/>
                  </a:lnTo>
                  <a:lnTo>
                    <a:pt x="1013" y="1171"/>
                  </a:lnTo>
                  <a:lnTo>
                    <a:pt x="1005" y="1159"/>
                  </a:lnTo>
                  <a:lnTo>
                    <a:pt x="1013" y="1161"/>
                  </a:lnTo>
                  <a:lnTo>
                    <a:pt x="1024" y="1155"/>
                  </a:lnTo>
                  <a:lnTo>
                    <a:pt x="1030" y="1157"/>
                  </a:lnTo>
                  <a:lnTo>
                    <a:pt x="1032" y="1161"/>
                  </a:lnTo>
                  <a:lnTo>
                    <a:pt x="1028" y="1165"/>
                  </a:lnTo>
                  <a:lnTo>
                    <a:pt x="1032" y="1169"/>
                  </a:lnTo>
                  <a:lnTo>
                    <a:pt x="1038" y="1167"/>
                  </a:lnTo>
                  <a:lnTo>
                    <a:pt x="1040" y="1159"/>
                  </a:lnTo>
                  <a:lnTo>
                    <a:pt x="1045" y="1163"/>
                  </a:lnTo>
                  <a:lnTo>
                    <a:pt x="1049" y="1157"/>
                  </a:lnTo>
                  <a:lnTo>
                    <a:pt x="1045" y="1153"/>
                  </a:lnTo>
                  <a:lnTo>
                    <a:pt x="1045" y="1148"/>
                  </a:lnTo>
                  <a:lnTo>
                    <a:pt x="1053" y="1144"/>
                  </a:lnTo>
                  <a:lnTo>
                    <a:pt x="1059" y="1132"/>
                  </a:lnTo>
                  <a:lnTo>
                    <a:pt x="1076" y="1146"/>
                  </a:lnTo>
                  <a:lnTo>
                    <a:pt x="1080" y="1146"/>
                  </a:lnTo>
                  <a:lnTo>
                    <a:pt x="1082" y="1140"/>
                  </a:lnTo>
                  <a:lnTo>
                    <a:pt x="1088" y="1140"/>
                  </a:lnTo>
                  <a:lnTo>
                    <a:pt x="1093" y="1134"/>
                  </a:lnTo>
                  <a:lnTo>
                    <a:pt x="1101" y="1130"/>
                  </a:lnTo>
                  <a:lnTo>
                    <a:pt x="1113" y="1132"/>
                  </a:lnTo>
                  <a:lnTo>
                    <a:pt x="1113" y="1134"/>
                  </a:lnTo>
                  <a:lnTo>
                    <a:pt x="1120" y="1140"/>
                  </a:lnTo>
                  <a:lnTo>
                    <a:pt x="1130" y="1138"/>
                  </a:lnTo>
                  <a:lnTo>
                    <a:pt x="1140" y="1138"/>
                  </a:lnTo>
                  <a:lnTo>
                    <a:pt x="1145" y="1146"/>
                  </a:lnTo>
                  <a:lnTo>
                    <a:pt x="1159" y="1146"/>
                  </a:lnTo>
                  <a:lnTo>
                    <a:pt x="1163" y="1161"/>
                  </a:lnTo>
                  <a:lnTo>
                    <a:pt x="1170" y="1165"/>
                  </a:lnTo>
                  <a:lnTo>
                    <a:pt x="1174" y="1155"/>
                  </a:lnTo>
                  <a:lnTo>
                    <a:pt x="1165" y="1142"/>
                  </a:lnTo>
                  <a:lnTo>
                    <a:pt x="1157" y="1142"/>
                  </a:lnTo>
                  <a:lnTo>
                    <a:pt x="1157" y="1136"/>
                  </a:lnTo>
                  <a:lnTo>
                    <a:pt x="1161" y="1132"/>
                  </a:lnTo>
                  <a:lnTo>
                    <a:pt x="1172" y="1134"/>
                  </a:lnTo>
                  <a:lnTo>
                    <a:pt x="1178" y="1132"/>
                  </a:lnTo>
                  <a:lnTo>
                    <a:pt x="1180" y="1136"/>
                  </a:lnTo>
                  <a:lnTo>
                    <a:pt x="1188" y="1140"/>
                  </a:lnTo>
                  <a:lnTo>
                    <a:pt x="1195" y="1142"/>
                  </a:lnTo>
                  <a:lnTo>
                    <a:pt x="1199" y="1138"/>
                  </a:lnTo>
                  <a:lnTo>
                    <a:pt x="1211" y="1142"/>
                  </a:lnTo>
                  <a:lnTo>
                    <a:pt x="1216" y="1123"/>
                  </a:lnTo>
                  <a:lnTo>
                    <a:pt x="1215" y="1111"/>
                  </a:lnTo>
                  <a:lnTo>
                    <a:pt x="1220" y="1107"/>
                  </a:lnTo>
                  <a:lnTo>
                    <a:pt x="1218" y="1096"/>
                  </a:lnTo>
                  <a:lnTo>
                    <a:pt x="1226" y="1098"/>
                  </a:lnTo>
                  <a:lnTo>
                    <a:pt x="1230" y="1096"/>
                  </a:lnTo>
                  <a:lnTo>
                    <a:pt x="1226" y="1092"/>
                  </a:lnTo>
                  <a:lnTo>
                    <a:pt x="1228" y="1090"/>
                  </a:lnTo>
                  <a:lnTo>
                    <a:pt x="1232" y="1090"/>
                  </a:lnTo>
                  <a:lnTo>
                    <a:pt x="1241" y="1080"/>
                  </a:lnTo>
                  <a:lnTo>
                    <a:pt x="1253" y="1088"/>
                  </a:lnTo>
                  <a:lnTo>
                    <a:pt x="1259" y="1088"/>
                  </a:lnTo>
                  <a:lnTo>
                    <a:pt x="1259" y="1082"/>
                  </a:lnTo>
                  <a:lnTo>
                    <a:pt x="1266" y="1080"/>
                  </a:lnTo>
                  <a:lnTo>
                    <a:pt x="1261" y="1067"/>
                  </a:lnTo>
                  <a:lnTo>
                    <a:pt x="1274" y="1063"/>
                  </a:lnTo>
                  <a:lnTo>
                    <a:pt x="1276" y="1055"/>
                  </a:lnTo>
                  <a:lnTo>
                    <a:pt x="1282" y="1057"/>
                  </a:lnTo>
                  <a:lnTo>
                    <a:pt x="1289" y="1055"/>
                  </a:lnTo>
                  <a:lnTo>
                    <a:pt x="1295" y="1065"/>
                  </a:lnTo>
                  <a:lnTo>
                    <a:pt x="1297" y="1063"/>
                  </a:lnTo>
                  <a:lnTo>
                    <a:pt x="1299" y="1067"/>
                  </a:lnTo>
                  <a:lnTo>
                    <a:pt x="1303" y="1065"/>
                  </a:lnTo>
                  <a:lnTo>
                    <a:pt x="1311" y="1069"/>
                  </a:lnTo>
                  <a:lnTo>
                    <a:pt x="1322" y="1063"/>
                  </a:lnTo>
                  <a:lnTo>
                    <a:pt x="1326" y="1065"/>
                  </a:lnTo>
                  <a:lnTo>
                    <a:pt x="1334" y="1061"/>
                  </a:lnTo>
                  <a:lnTo>
                    <a:pt x="1338" y="1061"/>
                  </a:lnTo>
                  <a:lnTo>
                    <a:pt x="1336" y="1067"/>
                  </a:lnTo>
                  <a:lnTo>
                    <a:pt x="1339" y="1067"/>
                  </a:lnTo>
                  <a:lnTo>
                    <a:pt x="1341" y="1063"/>
                  </a:lnTo>
                  <a:lnTo>
                    <a:pt x="1347" y="1057"/>
                  </a:lnTo>
                  <a:lnTo>
                    <a:pt x="1341" y="1036"/>
                  </a:lnTo>
                  <a:lnTo>
                    <a:pt x="1347" y="1034"/>
                  </a:lnTo>
                  <a:lnTo>
                    <a:pt x="1349" y="1038"/>
                  </a:lnTo>
                  <a:lnTo>
                    <a:pt x="1357" y="1040"/>
                  </a:lnTo>
                  <a:lnTo>
                    <a:pt x="1372" y="1032"/>
                  </a:lnTo>
                  <a:lnTo>
                    <a:pt x="1389" y="1011"/>
                  </a:lnTo>
                  <a:lnTo>
                    <a:pt x="1384" y="998"/>
                  </a:lnTo>
                  <a:lnTo>
                    <a:pt x="1378" y="984"/>
                  </a:lnTo>
                  <a:lnTo>
                    <a:pt x="1382" y="979"/>
                  </a:lnTo>
                  <a:lnTo>
                    <a:pt x="1376" y="980"/>
                  </a:lnTo>
                  <a:lnTo>
                    <a:pt x="1370" y="975"/>
                  </a:lnTo>
                  <a:lnTo>
                    <a:pt x="1351" y="982"/>
                  </a:lnTo>
                  <a:lnTo>
                    <a:pt x="1345" y="977"/>
                  </a:lnTo>
                  <a:lnTo>
                    <a:pt x="1332" y="984"/>
                  </a:lnTo>
                  <a:lnTo>
                    <a:pt x="1324" y="984"/>
                  </a:lnTo>
                  <a:lnTo>
                    <a:pt x="1324" y="975"/>
                  </a:lnTo>
                  <a:lnTo>
                    <a:pt x="1316" y="977"/>
                  </a:lnTo>
                  <a:lnTo>
                    <a:pt x="1314" y="977"/>
                  </a:lnTo>
                  <a:lnTo>
                    <a:pt x="1309" y="975"/>
                  </a:lnTo>
                  <a:lnTo>
                    <a:pt x="1307" y="971"/>
                  </a:lnTo>
                  <a:lnTo>
                    <a:pt x="1293" y="950"/>
                  </a:lnTo>
                  <a:lnTo>
                    <a:pt x="1293" y="952"/>
                  </a:lnTo>
                  <a:lnTo>
                    <a:pt x="1291" y="948"/>
                  </a:lnTo>
                  <a:lnTo>
                    <a:pt x="1284" y="954"/>
                  </a:lnTo>
                  <a:lnTo>
                    <a:pt x="1278" y="952"/>
                  </a:lnTo>
                  <a:lnTo>
                    <a:pt x="1276" y="957"/>
                  </a:lnTo>
                  <a:lnTo>
                    <a:pt x="1274" y="957"/>
                  </a:lnTo>
                  <a:lnTo>
                    <a:pt x="1270" y="961"/>
                  </a:lnTo>
                  <a:lnTo>
                    <a:pt x="1264" y="959"/>
                  </a:lnTo>
                  <a:lnTo>
                    <a:pt x="1261" y="963"/>
                  </a:lnTo>
                  <a:lnTo>
                    <a:pt x="1266" y="977"/>
                  </a:lnTo>
                  <a:lnTo>
                    <a:pt x="1257" y="975"/>
                  </a:lnTo>
                  <a:lnTo>
                    <a:pt x="1255" y="971"/>
                  </a:lnTo>
                  <a:lnTo>
                    <a:pt x="1249" y="975"/>
                  </a:lnTo>
                  <a:lnTo>
                    <a:pt x="1243" y="971"/>
                  </a:lnTo>
                  <a:lnTo>
                    <a:pt x="1245" y="969"/>
                  </a:lnTo>
                  <a:lnTo>
                    <a:pt x="1240" y="965"/>
                  </a:lnTo>
                  <a:lnTo>
                    <a:pt x="1238" y="959"/>
                  </a:lnTo>
                  <a:lnTo>
                    <a:pt x="1232" y="954"/>
                  </a:lnTo>
                  <a:lnTo>
                    <a:pt x="1230" y="942"/>
                  </a:lnTo>
                  <a:lnTo>
                    <a:pt x="1236" y="938"/>
                  </a:lnTo>
                  <a:lnTo>
                    <a:pt x="1234" y="936"/>
                  </a:lnTo>
                  <a:lnTo>
                    <a:pt x="1230" y="938"/>
                  </a:lnTo>
                  <a:lnTo>
                    <a:pt x="1224" y="932"/>
                  </a:lnTo>
                  <a:lnTo>
                    <a:pt x="1222" y="932"/>
                  </a:lnTo>
                  <a:lnTo>
                    <a:pt x="1213" y="911"/>
                  </a:lnTo>
                  <a:lnTo>
                    <a:pt x="1211" y="913"/>
                  </a:lnTo>
                  <a:lnTo>
                    <a:pt x="1209" y="911"/>
                  </a:lnTo>
                  <a:lnTo>
                    <a:pt x="1209" y="906"/>
                  </a:lnTo>
                  <a:lnTo>
                    <a:pt x="1205" y="902"/>
                  </a:lnTo>
                  <a:lnTo>
                    <a:pt x="1203" y="892"/>
                  </a:lnTo>
                  <a:lnTo>
                    <a:pt x="1201" y="890"/>
                  </a:lnTo>
                  <a:lnTo>
                    <a:pt x="1199" y="886"/>
                  </a:lnTo>
                  <a:lnTo>
                    <a:pt x="1205" y="884"/>
                  </a:lnTo>
                  <a:lnTo>
                    <a:pt x="1205" y="869"/>
                  </a:lnTo>
                  <a:lnTo>
                    <a:pt x="1211" y="863"/>
                  </a:lnTo>
                  <a:lnTo>
                    <a:pt x="1216" y="865"/>
                  </a:lnTo>
                  <a:lnTo>
                    <a:pt x="1218" y="863"/>
                  </a:lnTo>
                  <a:lnTo>
                    <a:pt x="1216" y="861"/>
                  </a:lnTo>
                  <a:lnTo>
                    <a:pt x="1216" y="856"/>
                  </a:lnTo>
                  <a:lnTo>
                    <a:pt x="1215" y="854"/>
                  </a:lnTo>
                  <a:lnTo>
                    <a:pt x="1209" y="854"/>
                  </a:lnTo>
                  <a:lnTo>
                    <a:pt x="1207" y="846"/>
                  </a:lnTo>
                  <a:lnTo>
                    <a:pt x="1203" y="844"/>
                  </a:lnTo>
                  <a:lnTo>
                    <a:pt x="1205" y="834"/>
                  </a:lnTo>
                  <a:lnTo>
                    <a:pt x="1203" y="823"/>
                  </a:lnTo>
                  <a:lnTo>
                    <a:pt x="1199" y="821"/>
                  </a:lnTo>
                  <a:lnTo>
                    <a:pt x="1195" y="823"/>
                  </a:lnTo>
                  <a:lnTo>
                    <a:pt x="1188" y="823"/>
                  </a:lnTo>
                  <a:lnTo>
                    <a:pt x="1188" y="848"/>
                  </a:lnTo>
                  <a:lnTo>
                    <a:pt x="1180" y="850"/>
                  </a:lnTo>
                  <a:lnTo>
                    <a:pt x="1174" y="859"/>
                  </a:lnTo>
                  <a:lnTo>
                    <a:pt x="1172" y="867"/>
                  </a:lnTo>
                  <a:lnTo>
                    <a:pt x="1163" y="867"/>
                  </a:lnTo>
                  <a:lnTo>
                    <a:pt x="1159" y="873"/>
                  </a:lnTo>
                  <a:lnTo>
                    <a:pt x="1157" y="882"/>
                  </a:lnTo>
                  <a:lnTo>
                    <a:pt x="1153" y="884"/>
                  </a:lnTo>
                  <a:lnTo>
                    <a:pt x="1145" y="881"/>
                  </a:lnTo>
                  <a:lnTo>
                    <a:pt x="1143" y="877"/>
                  </a:lnTo>
                  <a:lnTo>
                    <a:pt x="1136" y="877"/>
                  </a:lnTo>
                  <a:lnTo>
                    <a:pt x="1134" y="875"/>
                  </a:lnTo>
                  <a:lnTo>
                    <a:pt x="1134" y="877"/>
                  </a:lnTo>
                  <a:lnTo>
                    <a:pt x="1132" y="875"/>
                  </a:lnTo>
                  <a:lnTo>
                    <a:pt x="1117" y="875"/>
                  </a:lnTo>
                  <a:lnTo>
                    <a:pt x="1115" y="865"/>
                  </a:lnTo>
                  <a:lnTo>
                    <a:pt x="1107" y="861"/>
                  </a:lnTo>
                  <a:lnTo>
                    <a:pt x="1109" y="856"/>
                  </a:lnTo>
                  <a:lnTo>
                    <a:pt x="1105" y="852"/>
                  </a:lnTo>
                  <a:lnTo>
                    <a:pt x="1107" y="852"/>
                  </a:lnTo>
                  <a:lnTo>
                    <a:pt x="1105" y="848"/>
                  </a:lnTo>
                  <a:lnTo>
                    <a:pt x="1107" y="848"/>
                  </a:lnTo>
                  <a:lnTo>
                    <a:pt x="1107" y="842"/>
                  </a:lnTo>
                  <a:lnTo>
                    <a:pt x="1126" y="834"/>
                  </a:lnTo>
                  <a:lnTo>
                    <a:pt x="1134" y="834"/>
                  </a:lnTo>
                  <a:lnTo>
                    <a:pt x="1130" y="840"/>
                  </a:lnTo>
                  <a:lnTo>
                    <a:pt x="1134" y="844"/>
                  </a:lnTo>
                  <a:lnTo>
                    <a:pt x="1136" y="854"/>
                  </a:lnTo>
                  <a:lnTo>
                    <a:pt x="1140" y="854"/>
                  </a:lnTo>
                  <a:lnTo>
                    <a:pt x="1142" y="850"/>
                  </a:lnTo>
                  <a:lnTo>
                    <a:pt x="1138" y="846"/>
                  </a:lnTo>
                  <a:lnTo>
                    <a:pt x="1140" y="840"/>
                  </a:lnTo>
                  <a:lnTo>
                    <a:pt x="1136" y="840"/>
                  </a:lnTo>
                  <a:lnTo>
                    <a:pt x="1140" y="834"/>
                  </a:lnTo>
                  <a:lnTo>
                    <a:pt x="1142" y="834"/>
                  </a:lnTo>
                  <a:lnTo>
                    <a:pt x="1143" y="838"/>
                  </a:lnTo>
                  <a:lnTo>
                    <a:pt x="1147" y="838"/>
                  </a:lnTo>
                  <a:lnTo>
                    <a:pt x="1147" y="842"/>
                  </a:lnTo>
                  <a:lnTo>
                    <a:pt x="1151" y="838"/>
                  </a:lnTo>
                  <a:lnTo>
                    <a:pt x="1153" y="842"/>
                  </a:lnTo>
                  <a:lnTo>
                    <a:pt x="1157" y="840"/>
                  </a:lnTo>
                  <a:lnTo>
                    <a:pt x="1161" y="832"/>
                  </a:lnTo>
                  <a:lnTo>
                    <a:pt x="1159" y="831"/>
                  </a:lnTo>
                  <a:lnTo>
                    <a:pt x="1155" y="829"/>
                  </a:lnTo>
                  <a:lnTo>
                    <a:pt x="1149" y="831"/>
                  </a:lnTo>
                  <a:lnTo>
                    <a:pt x="1149" y="827"/>
                  </a:lnTo>
                  <a:lnTo>
                    <a:pt x="1153" y="829"/>
                  </a:lnTo>
                  <a:lnTo>
                    <a:pt x="1153" y="827"/>
                  </a:lnTo>
                  <a:lnTo>
                    <a:pt x="1153" y="823"/>
                  </a:lnTo>
                  <a:lnTo>
                    <a:pt x="1149" y="823"/>
                  </a:lnTo>
                  <a:lnTo>
                    <a:pt x="1149" y="821"/>
                  </a:lnTo>
                  <a:lnTo>
                    <a:pt x="1155" y="817"/>
                  </a:lnTo>
                  <a:lnTo>
                    <a:pt x="1153" y="817"/>
                  </a:lnTo>
                  <a:lnTo>
                    <a:pt x="1151" y="817"/>
                  </a:lnTo>
                  <a:lnTo>
                    <a:pt x="1153" y="813"/>
                  </a:lnTo>
                  <a:lnTo>
                    <a:pt x="1157" y="817"/>
                  </a:lnTo>
                  <a:lnTo>
                    <a:pt x="1159" y="809"/>
                  </a:lnTo>
                  <a:lnTo>
                    <a:pt x="1157" y="802"/>
                  </a:lnTo>
                  <a:lnTo>
                    <a:pt x="1161" y="796"/>
                  </a:lnTo>
                  <a:lnTo>
                    <a:pt x="1165" y="796"/>
                  </a:lnTo>
                  <a:lnTo>
                    <a:pt x="1166" y="788"/>
                  </a:lnTo>
                  <a:lnTo>
                    <a:pt x="1165" y="786"/>
                  </a:lnTo>
                  <a:lnTo>
                    <a:pt x="1161" y="790"/>
                  </a:lnTo>
                  <a:lnTo>
                    <a:pt x="1157" y="788"/>
                  </a:lnTo>
                  <a:lnTo>
                    <a:pt x="1153" y="794"/>
                  </a:lnTo>
                  <a:lnTo>
                    <a:pt x="1155" y="788"/>
                  </a:lnTo>
                  <a:lnTo>
                    <a:pt x="1151" y="788"/>
                  </a:lnTo>
                  <a:lnTo>
                    <a:pt x="1149" y="783"/>
                  </a:lnTo>
                  <a:lnTo>
                    <a:pt x="1143" y="784"/>
                  </a:lnTo>
                  <a:lnTo>
                    <a:pt x="1142" y="777"/>
                  </a:lnTo>
                  <a:lnTo>
                    <a:pt x="1136" y="773"/>
                  </a:lnTo>
                  <a:lnTo>
                    <a:pt x="1138" y="767"/>
                  </a:lnTo>
                  <a:lnTo>
                    <a:pt x="1136" y="763"/>
                  </a:lnTo>
                  <a:lnTo>
                    <a:pt x="1134" y="765"/>
                  </a:lnTo>
                  <a:lnTo>
                    <a:pt x="1130" y="765"/>
                  </a:lnTo>
                  <a:lnTo>
                    <a:pt x="1126" y="767"/>
                  </a:lnTo>
                  <a:lnTo>
                    <a:pt x="1128" y="773"/>
                  </a:lnTo>
                  <a:lnTo>
                    <a:pt x="1124" y="777"/>
                  </a:lnTo>
                  <a:lnTo>
                    <a:pt x="1122" y="777"/>
                  </a:lnTo>
                  <a:lnTo>
                    <a:pt x="1113" y="775"/>
                  </a:lnTo>
                  <a:lnTo>
                    <a:pt x="1111" y="777"/>
                  </a:lnTo>
                  <a:lnTo>
                    <a:pt x="1111" y="784"/>
                  </a:lnTo>
                  <a:lnTo>
                    <a:pt x="1107" y="783"/>
                  </a:lnTo>
                  <a:lnTo>
                    <a:pt x="1107" y="784"/>
                  </a:lnTo>
                  <a:lnTo>
                    <a:pt x="1099" y="784"/>
                  </a:lnTo>
                  <a:lnTo>
                    <a:pt x="1097" y="788"/>
                  </a:lnTo>
                  <a:lnTo>
                    <a:pt x="1092" y="790"/>
                  </a:lnTo>
                  <a:lnTo>
                    <a:pt x="1086" y="796"/>
                  </a:lnTo>
                  <a:lnTo>
                    <a:pt x="1082" y="796"/>
                  </a:lnTo>
                  <a:lnTo>
                    <a:pt x="1082" y="794"/>
                  </a:lnTo>
                  <a:lnTo>
                    <a:pt x="1076" y="792"/>
                  </a:lnTo>
                  <a:lnTo>
                    <a:pt x="1074" y="786"/>
                  </a:lnTo>
                  <a:lnTo>
                    <a:pt x="1070" y="786"/>
                  </a:lnTo>
                  <a:lnTo>
                    <a:pt x="1063" y="773"/>
                  </a:lnTo>
                  <a:lnTo>
                    <a:pt x="1065" y="767"/>
                  </a:lnTo>
                  <a:lnTo>
                    <a:pt x="1059" y="767"/>
                  </a:lnTo>
                  <a:lnTo>
                    <a:pt x="1051" y="761"/>
                  </a:lnTo>
                  <a:lnTo>
                    <a:pt x="1055" y="752"/>
                  </a:lnTo>
                  <a:lnTo>
                    <a:pt x="1057" y="754"/>
                  </a:lnTo>
                  <a:lnTo>
                    <a:pt x="1061" y="754"/>
                  </a:lnTo>
                  <a:lnTo>
                    <a:pt x="1063" y="748"/>
                  </a:lnTo>
                  <a:lnTo>
                    <a:pt x="1065" y="748"/>
                  </a:lnTo>
                  <a:lnTo>
                    <a:pt x="1063" y="738"/>
                  </a:lnTo>
                  <a:lnTo>
                    <a:pt x="1067" y="735"/>
                  </a:lnTo>
                  <a:lnTo>
                    <a:pt x="1067" y="738"/>
                  </a:lnTo>
                  <a:lnTo>
                    <a:pt x="1070" y="736"/>
                  </a:lnTo>
                  <a:lnTo>
                    <a:pt x="1067" y="733"/>
                  </a:lnTo>
                  <a:lnTo>
                    <a:pt x="1068" y="731"/>
                  </a:lnTo>
                  <a:lnTo>
                    <a:pt x="1065" y="731"/>
                  </a:lnTo>
                  <a:lnTo>
                    <a:pt x="1061" y="729"/>
                  </a:lnTo>
                  <a:lnTo>
                    <a:pt x="1063" y="725"/>
                  </a:lnTo>
                  <a:lnTo>
                    <a:pt x="1057" y="723"/>
                  </a:lnTo>
                  <a:lnTo>
                    <a:pt x="1051" y="711"/>
                  </a:lnTo>
                  <a:lnTo>
                    <a:pt x="1049" y="706"/>
                  </a:lnTo>
                  <a:lnTo>
                    <a:pt x="1055" y="708"/>
                  </a:lnTo>
                  <a:lnTo>
                    <a:pt x="1051" y="700"/>
                  </a:lnTo>
                  <a:lnTo>
                    <a:pt x="1055" y="696"/>
                  </a:lnTo>
                  <a:lnTo>
                    <a:pt x="1059" y="694"/>
                  </a:lnTo>
                  <a:lnTo>
                    <a:pt x="1063" y="700"/>
                  </a:lnTo>
                  <a:lnTo>
                    <a:pt x="1065" y="700"/>
                  </a:lnTo>
                  <a:lnTo>
                    <a:pt x="1068" y="685"/>
                  </a:lnTo>
                  <a:lnTo>
                    <a:pt x="1065" y="679"/>
                  </a:lnTo>
                  <a:lnTo>
                    <a:pt x="1063" y="681"/>
                  </a:lnTo>
                  <a:lnTo>
                    <a:pt x="1053" y="675"/>
                  </a:lnTo>
                  <a:lnTo>
                    <a:pt x="1051" y="669"/>
                  </a:lnTo>
                  <a:lnTo>
                    <a:pt x="1053" y="660"/>
                  </a:lnTo>
                  <a:lnTo>
                    <a:pt x="1057" y="658"/>
                  </a:lnTo>
                  <a:lnTo>
                    <a:pt x="1059" y="648"/>
                  </a:lnTo>
                  <a:lnTo>
                    <a:pt x="1057" y="640"/>
                  </a:lnTo>
                  <a:lnTo>
                    <a:pt x="1061" y="633"/>
                  </a:lnTo>
                  <a:lnTo>
                    <a:pt x="1055" y="629"/>
                  </a:lnTo>
                  <a:lnTo>
                    <a:pt x="1053" y="623"/>
                  </a:lnTo>
                  <a:lnTo>
                    <a:pt x="1051" y="623"/>
                  </a:lnTo>
                  <a:lnTo>
                    <a:pt x="1045" y="627"/>
                  </a:lnTo>
                  <a:lnTo>
                    <a:pt x="1043" y="623"/>
                  </a:lnTo>
                  <a:lnTo>
                    <a:pt x="1040" y="625"/>
                  </a:lnTo>
                  <a:lnTo>
                    <a:pt x="1036" y="617"/>
                  </a:lnTo>
                  <a:lnTo>
                    <a:pt x="1038" y="617"/>
                  </a:lnTo>
                  <a:lnTo>
                    <a:pt x="1036" y="613"/>
                  </a:lnTo>
                  <a:lnTo>
                    <a:pt x="1032" y="612"/>
                  </a:lnTo>
                  <a:lnTo>
                    <a:pt x="1030" y="602"/>
                  </a:lnTo>
                  <a:lnTo>
                    <a:pt x="1011" y="604"/>
                  </a:lnTo>
                  <a:lnTo>
                    <a:pt x="1001" y="598"/>
                  </a:lnTo>
                  <a:lnTo>
                    <a:pt x="995" y="600"/>
                  </a:lnTo>
                  <a:lnTo>
                    <a:pt x="992" y="585"/>
                  </a:lnTo>
                  <a:lnTo>
                    <a:pt x="995" y="583"/>
                  </a:lnTo>
                  <a:lnTo>
                    <a:pt x="992" y="573"/>
                  </a:lnTo>
                  <a:lnTo>
                    <a:pt x="995" y="571"/>
                  </a:lnTo>
                  <a:lnTo>
                    <a:pt x="995" y="565"/>
                  </a:lnTo>
                  <a:lnTo>
                    <a:pt x="999" y="563"/>
                  </a:lnTo>
                  <a:lnTo>
                    <a:pt x="995" y="562"/>
                  </a:lnTo>
                  <a:lnTo>
                    <a:pt x="997" y="558"/>
                  </a:lnTo>
                  <a:lnTo>
                    <a:pt x="994" y="554"/>
                  </a:lnTo>
                  <a:lnTo>
                    <a:pt x="992" y="542"/>
                  </a:lnTo>
                  <a:lnTo>
                    <a:pt x="988" y="539"/>
                  </a:lnTo>
                  <a:lnTo>
                    <a:pt x="988" y="523"/>
                  </a:lnTo>
                  <a:lnTo>
                    <a:pt x="976" y="502"/>
                  </a:lnTo>
                  <a:lnTo>
                    <a:pt x="974" y="502"/>
                  </a:lnTo>
                  <a:lnTo>
                    <a:pt x="967" y="492"/>
                  </a:lnTo>
                  <a:lnTo>
                    <a:pt x="963" y="490"/>
                  </a:lnTo>
                  <a:lnTo>
                    <a:pt x="959" y="483"/>
                  </a:lnTo>
                  <a:lnTo>
                    <a:pt x="959" y="477"/>
                  </a:lnTo>
                  <a:lnTo>
                    <a:pt x="949" y="465"/>
                  </a:lnTo>
                  <a:lnTo>
                    <a:pt x="947" y="460"/>
                  </a:lnTo>
                  <a:lnTo>
                    <a:pt x="944" y="456"/>
                  </a:lnTo>
                  <a:lnTo>
                    <a:pt x="944" y="452"/>
                  </a:lnTo>
                  <a:lnTo>
                    <a:pt x="942" y="446"/>
                  </a:lnTo>
                  <a:lnTo>
                    <a:pt x="936" y="441"/>
                  </a:lnTo>
                  <a:lnTo>
                    <a:pt x="928" y="417"/>
                  </a:lnTo>
                  <a:lnTo>
                    <a:pt x="924" y="417"/>
                  </a:lnTo>
                  <a:lnTo>
                    <a:pt x="915" y="410"/>
                  </a:lnTo>
                  <a:lnTo>
                    <a:pt x="913" y="400"/>
                  </a:lnTo>
                  <a:lnTo>
                    <a:pt x="905" y="398"/>
                  </a:lnTo>
                  <a:lnTo>
                    <a:pt x="899" y="394"/>
                  </a:lnTo>
                  <a:lnTo>
                    <a:pt x="899" y="391"/>
                  </a:lnTo>
                  <a:lnTo>
                    <a:pt x="897" y="387"/>
                  </a:lnTo>
                  <a:lnTo>
                    <a:pt x="896" y="381"/>
                  </a:lnTo>
                  <a:lnTo>
                    <a:pt x="894" y="379"/>
                  </a:lnTo>
                  <a:lnTo>
                    <a:pt x="890" y="366"/>
                  </a:lnTo>
                  <a:lnTo>
                    <a:pt x="880" y="344"/>
                  </a:lnTo>
                  <a:lnTo>
                    <a:pt x="882" y="339"/>
                  </a:lnTo>
                  <a:lnTo>
                    <a:pt x="882" y="333"/>
                  </a:lnTo>
                  <a:lnTo>
                    <a:pt x="880" y="329"/>
                  </a:lnTo>
                  <a:lnTo>
                    <a:pt x="876" y="331"/>
                  </a:lnTo>
                  <a:lnTo>
                    <a:pt x="871" y="329"/>
                  </a:lnTo>
                  <a:lnTo>
                    <a:pt x="869" y="321"/>
                  </a:lnTo>
                  <a:lnTo>
                    <a:pt x="863" y="318"/>
                  </a:lnTo>
                  <a:lnTo>
                    <a:pt x="859" y="318"/>
                  </a:lnTo>
                  <a:lnTo>
                    <a:pt x="859" y="306"/>
                  </a:lnTo>
                  <a:lnTo>
                    <a:pt x="855" y="302"/>
                  </a:lnTo>
                  <a:lnTo>
                    <a:pt x="855" y="294"/>
                  </a:lnTo>
                  <a:lnTo>
                    <a:pt x="857" y="279"/>
                  </a:lnTo>
                  <a:lnTo>
                    <a:pt x="859" y="275"/>
                  </a:lnTo>
                  <a:lnTo>
                    <a:pt x="865" y="273"/>
                  </a:lnTo>
                  <a:lnTo>
                    <a:pt x="874" y="279"/>
                  </a:lnTo>
                  <a:lnTo>
                    <a:pt x="872" y="268"/>
                  </a:lnTo>
                  <a:lnTo>
                    <a:pt x="876" y="266"/>
                  </a:lnTo>
                  <a:lnTo>
                    <a:pt x="876" y="258"/>
                  </a:lnTo>
                  <a:lnTo>
                    <a:pt x="878" y="254"/>
                  </a:lnTo>
                  <a:lnTo>
                    <a:pt x="876" y="248"/>
                  </a:lnTo>
                  <a:lnTo>
                    <a:pt x="874" y="248"/>
                  </a:lnTo>
                  <a:lnTo>
                    <a:pt x="874" y="231"/>
                  </a:lnTo>
                  <a:lnTo>
                    <a:pt x="876" y="220"/>
                  </a:lnTo>
                  <a:lnTo>
                    <a:pt x="878" y="216"/>
                  </a:lnTo>
                  <a:lnTo>
                    <a:pt x="886" y="202"/>
                  </a:lnTo>
                  <a:lnTo>
                    <a:pt x="892" y="196"/>
                  </a:lnTo>
                  <a:lnTo>
                    <a:pt x="886" y="187"/>
                  </a:lnTo>
                  <a:lnTo>
                    <a:pt x="884" y="173"/>
                  </a:lnTo>
                  <a:lnTo>
                    <a:pt x="886" y="172"/>
                  </a:lnTo>
                  <a:lnTo>
                    <a:pt x="890" y="172"/>
                  </a:lnTo>
                  <a:lnTo>
                    <a:pt x="884" y="168"/>
                  </a:lnTo>
                  <a:lnTo>
                    <a:pt x="884" y="158"/>
                  </a:lnTo>
                  <a:lnTo>
                    <a:pt x="888" y="156"/>
                  </a:lnTo>
                  <a:lnTo>
                    <a:pt x="890" y="148"/>
                  </a:lnTo>
                  <a:lnTo>
                    <a:pt x="890" y="141"/>
                  </a:lnTo>
                  <a:lnTo>
                    <a:pt x="897" y="135"/>
                  </a:lnTo>
                  <a:lnTo>
                    <a:pt x="897" y="131"/>
                  </a:lnTo>
                  <a:lnTo>
                    <a:pt x="899" y="129"/>
                  </a:lnTo>
                  <a:lnTo>
                    <a:pt x="897" y="125"/>
                  </a:lnTo>
                  <a:lnTo>
                    <a:pt x="905" y="114"/>
                  </a:lnTo>
                  <a:lnTo>
                    <a:pt x="905" y="110"/>
                  </a:lnTo>
                  <a:lnTo>
                    <a:pt x="899" y="104"/>
                  </a:lnTo>
                  <a:lnTo>
                    <a:pt x="901" y="100"/>
                  </a:lnTo>
                  <a:lnTo>
                    <a:pt x="899" y="98"/>
                  </a:lnTo>
                  <a:lnTo>
                    <a:pt x="903" y="83"/>
                  </a:lnTo>
                  <a:lnTo>
                    <a:pt x="901" y="79"/>
                  </a:lnTo>
                  <a:lnTo>
                    <a:pt x="907" y="74"/>
                  </a:lnTo>
                  <a:lnTo>
                    <a:pt x="907" y="68"/>
                  </a:lnTo>
                  <a:lnTo>
                    <a:pt x="901" y="64"/>
                  </a:lnTo>
                  <a:lnTo>
                    <a:pt x="897" y="70"/>
                  </a:lnTo>
                  <a:lnTo>
                    <a:pt x="896" y="64"/>
                  </a:lnTo>
                  <a:lnTo>
                    <a:pt x="897" y="60"/>
                  </a:lnTo>
                  <a:lnTo>
                    <a:pt x="901" y="60"/>
                  </a:lnTo>
                  <a:lnTo>
                    <a:pt x="901" y="56"/>
                  </a:lnTo>
                  <a:lnTo>
                    <a:pt x="899" y="54"/>
                  </a:lnTo>
                  <a:lnTo>
                    <a:pt x="894" y="54"/>
                  </a:lnTo>
                  <a:lnTo>
                    <a:pt x="890" y="47"/>
                  </a:lnTo>
                  <a:lnTo>
                    <a:pt x="886" y="49"/>
                  </a:lnTo>
                  <a:lnTo>
                    <a:pt x="884" y="52"/>
                  </a:lnTo>
                  <a:lnTo>
                    <a:pt x="878" y="58"/>
                  </a:lnTo>
                  <a:lnTo>
                    <a:pt x="871" y="56"/>
                  </a:lnTo>
                  <a:lnTo>
                    <a:pt x="863" y="47"/>
                  </a:lnTo>
                  <a:lnTo>
                    <a:pt x="861" y="33"/>
                  </a:lnTo>
                  <a:lnTo>
                    <a:pt x="861" y="25"/>
                  </a:lnTo>
                  <a:lnTo>
                    <a:pt x="849" y="24"/>
                  </a:lnTo>
                  <a:lnTo>
                    <a:pt x="846" y="20"/>
                  </a:lnTo>
                  <a:lnTo>
                    <a:pt x="840" y="22"/>
                  </a:lnTo>
                  <a:lnTo>
                    <a:pt x="830" y="24"/>
                  </a:lnTo>
                  <a:lnTo>
                    <a:pt x="832" y="25"/>
                  </a:lnTo>
                  <a:lnTo>
                    <a:pt x="828" y="27"/>
                  </a:lnTo>
                  <a:lnTo>
                    <a:pt x="824" y="25"/>
                  </a:lnTo>
                  <a:lnTo>
                    <a:pt x="821" y="22"/>
                  </a:lnTo>
                  <a:lnTo>
                    <a:pt x="823" y="10"/>
                  </a:lnTo>
                  <a:lnTo>
                    <a:pt x="821" y="10"/>
                  </a:lnTo>
                  <a:lnTo>
                    <a:pt x="819" y="4"/>
                  </a:lnTo>
                  <a:lnTo>
                    <a:pt x="823" y="2"/>
                  </a:lnTo>
                  <a:lnTo>
                    <a:pt x="821" y="0"/>
                  </a:lnTo>
                  <a:lnTo>
                    <a:pt x="798" y="2"/>
                  </a:lnTo>
                  <a:lnTo>
                    <a:pt x="796" y="2"/>
                  </a:lnTo>
                  <a:lnTo>
                    <a:pt x="774" y="8"/>
                  </a:lnTo>
                  <a:lnTo>
                    <a:pt x="763" y="14"/>
                  </a:lnTo>
                  <a:lnTo>
                    <a:pt x="736" y="27"/>
                  </a:lnTo>
                  <a:lnTo>
                    <a:pt x="732" y="29"/>
                  </a:lnTo>
                  <a:lnTo>
                    <a:pt x="725" y="29"/>
                  </a:lnTo>
                  <a:lnTo>
                    <a:pt x="723" y="31"/>
                  </a:lnTo>
                  <a:lnTo>
                    <a:pt x="719" y="35"/>
                  </a:lnTo>
                  <a:lnTo>
                    <a:pt x="721" y="41"/>
                  </a:lnTo>
                  <a:lnTo>
                    <a:pt x="721" y="45"/>
                  </a:lnTo>
                  <a:lnTo>
                    <a:pt x="719" y="47"/>
                  </a:lnTo>
                  <a:lnTo>
                    <a:pt x="713" y="50"/>
                  </a:lnTo>
                  <a:lnTo>
                    <a:pt x="713" y="56"/>
                  </a:lnTo>
                  <a:lnTo>
                    <a:pt x="719" y="58"/>
                  </a:lnTo>
                  <a:lnTo>
                    <a:pt x="721" y="60"/>
                  </a:lnTo>
                  <a:lnTo>
                    <a:pt x="723" y="60"/>
                  </a:lnTo>
                  <a:lnTo>
                    <a:pt x="730" y="64"/>
                  </a:lnTo>
                  <a:lnTo>
                    <a:pt x="732" y="64"/>
                  </a:lnTo>
                  <a:lnTo>
                    <a:pt x="734" y="70"/>
                  </a:lnTo>
                  <a:lnTo>
                    <a:pt x="736" y="72"/>
                  </a:lnTo>
                  <a:lnTo>
                    <a:pt x="738" y="72"/>
                  </a:lnTo>
                  <a:lnTo>
                    <a:pt x="740" y="70"/>
                  </a:lnTo>
                  <a:lnTo>
                    <a:pt x="738" y="68"/>
                  </a:lnTo>
                  <a:lnTo>
                    <a:pt x="740" y="68"/>
                  </a:lnTo>
                  <a:lnTo>
                    <a:pt x="742" y="68"/>
                  </a:lnTo>
                  <a:lnTo>
                    <a:pt x="744" y="68"/>
                  </a:lnTo>
                  <a:lnTo>
                    <a:pt x="749" y="74"/>
                  </a:lnTo>
                  <a:lnTo>
                    <a:pt x="749" y="77"/>
                  </a:lnTo>
                  <a:lnTo>
                    <a:pt x="749" y="79"/>
                  </a:lnTo>
                  <a:lnTo>
                    <a:pt x="748" y="81"/>
                  </a:lnTo>
                  <a:lnTo>
                    <a:pt x="748" y="89"/>
                  </a:lnTo>
                  <a:lnTo>
                    <a:pt x="748" y="93"/>
                  </a:lnTo>
                  <a:lnTo>
                    <a:pt x="746" y="93"/>
                  </a:lnTo>
                  <a:lnTo>
                    <a:pt x="740" y="100"/>
                  </a:lnTo>
                  <a:lnTo>
                    <a:pt x="736" y="100"/>
                  </a:lnTo>
                  <a:lnTo>
                    <a:pt x="734" y="104"/>
                  </a:lnTo>
                  <a:lnTo>
                    <a:pt x="734" y="106"/>
                  </a:lnTo>
                  <a:lnTo>
                    <a:pt x="744" y="112"/>
                  </a:lnTo>
                  <a:lnTo>
                    <a:pt x="744" y="118"/>
                  </a:lnTo>
                  <a:lnTo>
                    <a:pt x="744" y="120"/>
                  </a:lnTo>
                  <a:lnTo>
                    <a:pt x="742" y="122"/>
                  </a:lnTo>
                  <a:lnTo>
                    <a:pt x="730" y="125"/>
                  </a:lnTo>
                  <a:lnTo>
                    <a:pt x="728" y="127"/>
                  </a:lnTo>
                  <a:lnTo>
                    <a:pt x="726" y="125"/>
                  </a:lnTo>
                  <a:lnTo>
                    <a:pt x="725" y="123"/>
                  </a:lnTo>
                  <a:lnTo>
                    <a:pt x="723" y="120"/>
                  </a:lnTo>
                  <a:lnTo>
                    <a:pt x="721" y="116"/>
                  </a:lnTo>
                  <a:lnTo>
                    <a:pt x="721" y="112"/>
                  </a:lnTo>
                  <a:lnTo>
                    <a:pt x="725" y="108"/>
                  </a:lnTo>
                  <a:lnTo>
                    <a:pt x="725" y="106"/>
                  </a:lnTo>
                  <a:lnTo>
                    <a:pt x="723" y="106"/>
                  </a:lnTo>
                  <a:lnTo>
                    <a:pt x="719" y="104"/>
                  </a:lnTo>
                  <a:lnTo>
                    <a:pt x="711" y="102"/>
                  </a:lnTo>
                  <a:lnTo>
                    <a:pt x="707" y="104"/>
                  </a:lnTo>
                  <a:lnTo>
                    <a:pt x="713" y="97"/>
                  </a:lnTo>
                  <a:lnTo>
                    <a:pt x="711" y="97"/>
                  </a:lnTo>
                  <a:lnTo>
                    <a:pt x="703" y="102"/>
                  </a:lnTo>
                  <a:lnTo>
                    <a:pt x="701" y="106"/>
                  </a:lnTo>
                  <a:lnTo>
                    <a:pt x="696" y="114"/>
                  </a:lnTo>
                  <a:lnTo>
                    <a:pt x="694" y="114"/>
                  </a:lnTo>
                  <a:lnTo>
                    <a:pt x="696" y="114"/>
                  </a:lnTo>
                  <a:lnTo>
                    <a:pt x="698" y="120"/>
                  </a:lnTo>
                  <a:lnTo>
                    <a:pt x="701" y="118"/>
                  </a:lnTo>
                  <a:lnTo>
                    <a:pt x="703" y="120"/>
                  </a:lnTo>
                  <a:lnTo>
                    <a:pt x="701" y="120"/>
                  </a:lnTo>
                  <a:lnTo>
                    <a:pt x="701" y="122"/>
                  </a:lnTo>
                  <a:lnTo>
                    <a:pt x="701" y="120"/>
                  </a:lnTo>
                  <a:lnTo>
                    <a:pt x="700" y="120"/>
                  </a:lnTo>
                  <a:lnTo>
                    <a:pt x="698" y="120"/>
                  </a:lnTo>
                  <a:lnTo>
                    <a:pt x="696" y="118"/>
                  </a:lnTo>
                  <a:lnTo>
                    <a:pt x="696" y="116"/>
                  </a:lnTo>
                  <a:lnTo>
                    <a:pt x="694" y="114"/>
                  </a:lnTo>
                  <a:lnTo>
                    <a:pt x="690" y="120"/>
                  </a:lnTo>
                  <a:lnTo>
                    <a:pt x="690" y="122"/>
                  </a:lnTo>
                  <a:lnTo>
                    <a:pt x="692" y="123"/>
                  </a:lnTo>
                  <a:lnTo>
                    <a:pt x="692" y="125"/>
                  </a:lnTo>
                  <a:lnTo>
                    <a:pt x="686" y="129"/>
                  </a:lnTo>
                  <a:lnTo>
                    <a:pt x="684" y="131"/>
                  </a:lnTo>
                  <a:lnTo>
                    <a:pt x="684" y="141"/>
                  </a:lnTo>
                  <a:lnTo>
                    <a:pt x="682" y="145"/>
                  </a:lnTo>
                  <a:lnTo>
                    <a:pt x="680" y="147"/>
                  </a:lnTo>
                  <a:lnTo>
                    <a:pt x="678" y="147"/>
                  </a:lnTo>
                  <a:lnTo>
                    <a:pt x="676" y="148"/>
                  </a:lnTo>
                  <a:lnTo>
                    <a:pt x="675" y="148"/>
                  </a:lnTo>
                  <a:lnTo>
                    <a:pt x="669" y="148"/>
                  </a:lnTo>
                  <a:lnTo>
                    <a:pt x="667" y="148"/>
                  </a:lnTo>
                  <a:lnTo>
                    <a:pt x="665" y="152"/>
                  </a:lnTo>
                  <a:lnTo>
                    <a:pt x="665" y="150"/>
                  </a:lnTo>
                  <a:lnTo>
                    <a:pt x="663" y="150"/>
                  </a:lnTo>
                  <a:lnTo>
                    <a:pt x="651" y="156"/>
                  </a:lnTo>
                  <a:lnTo>
                    <a:pt x="648" y="162"/>
                  </a:lnTo>
                  <a:lnTo>
                    <a:pt x="648" y="164"/>
                  </a:lnTo>
                  <a:lnTo>
                    <a:pt x="640" y="170"/>
                  </a:lnTo>
                  <a:lnTo>
                    <a:pt x="640" y="172"/>
                  </a:lnTo>
                  <a:lnTo>
                    <a:pt x="636" y="181"/>
                  </a:lnTo>
                  <a:lnTo>
                    <a:pt x="636" y="187"/>
                  </a:lnTo>
                  <a:lnTo>
                    <a:pt x="640" y="189"/>
                  </a:lnTo>
                  <a:lnTo>
                    <a:pt x="640" y="191"/>
                  </a:lnTo>
                  <a:lnTo>
                    <a:pt x="640" y="195"/>
                  </a:lnTo>
                  <a:lnTo>
                    <a:pt x="638" y="195"/>
                  </a:lnTo>
                  <a:lnTo>
                    <a:pt x="636" y="196"/>
                  </a:lnTo>
                  <a:lnTo>
                    <a:pt x="630" y="191"/>
                  </a:lnTo>
                  <a:lnTo>
                    <a:pt x="628" y="191"/>
                  </a:lnTo>
                  <a:lnTo>
                    <a:pt x="626" y="200"/>
                  </a:lnTo>
                  <a:lnTo>
                    <a:pt x="623" y="195"/>
                  </a:lnTo>
                  <a:lnTo>
                    <a:pt x="619" y="202"/>
                  </a:lnTo>
                  <a:lnTo>
                    <a:pt x="602" y="210"/>
                  </a:lnTo>
                  <a:lnTo>
                    <a:pt x="603" y="202"/>
                  </a:lnTo>
                  <a:lnTo>
                    <a:pt x="609" y="200"/>
                  </a:lnTo>
                  <a:lnTo>
                    <a:pt x="605" y="196"/>
                  </a:lnTo>
                  <a:lnTo>
                    <a:pt x="613" y="198"/>
                  </a:lnTo>
                  <a:lnTo>
                    <a:pt x="615" y="193"/>
                  </a:lnTo>
                  <a:lnTo>
                    <a:pt x="602" y="183"/>
                  </a:lnTo>
                  <a:lnTo>
                    <a:pt x="603" y="179"/>
                  </a:lnTo>
                  <a:lnTo>
                    <a:pt x="602" y="175"/>
                  </a:lnTo>
                  <a:lnTo>
                    <a:pt x="603" y="170"/>
                  </a:lnTo>
                  <a:lnTo>
                    <a:pt x="596" y="172"/>
                  </a:lnTo>
                  <a:lnTo>
                    <a:pt x="596" y="173"/>
                  </a:lnTo>
                  <a:lnTo>
                    <a:pt x="592" y="172"/>
                  </a:lnTo>
                  <a:lnTo>
                    <a:pt x="607" y="160"/>
                  </a:lnTo>
                  <a:lnTo>
                    <a:pt x="611" y="156"/>
                  </a:lnTo>
                  <a:lnTo>
                    <a:pt x="596" y="166"/>
                  </a:lnTo>
                  <a:lnTo>
                    <a:pt x="586" y="175"/>
                  </a:lnTo>
                  <a:lnTo>
                    <a:pt x="571" y="202"/>
                  </a:lnTo>
                  <a:lnTo>
                    <a:pt x="575" y="202"/>
                  </a:lnTo>
                  <a:lnTo>
                    <a:pt x="575" y="198"/>
                  </a:lnTo>
                  <a:lnTo>
                    <a:pt x="578" y="196"/>
                  </a:lnTo>
                  <a:lnTo>
                    <a:pt x="577" y="202"/>
                  </a:lnTo>
                  <a:lnTo>
                    <a:pt x="586" y="206"/>
                  </a:lnTo>
                  <a:lnTo>
                    <a:pt x="582" y="216"/>
                  </a:lnTo>
                  <a:lnTo>
                    <a:pt x="578" y="218"/>
                  </a:lnTo>
                  <a:lnTo>
                    <a:pt x="575" y="216"/>
                  </a:lnTo>
                  <a:lnTo>
                    <a:pt x="577" y="208"/>
                  </a:lnTo>
                  <a:lnTo>
                    <a:pt x="571" y="210"/>
                  </a:lnTo>
                  <a:lnTo>
                    <a:pt x="569" y="212"/>
                  </a:lnTo>
                  <a:lnTo>
                    <a:pt x="571" y="204"/>
                  </a:lnTo>
                  <a:lnTo>
                    <a:pt x="563" y="214"/>
                  </a:lnTo>
                  <a:lnTo>
                    <a:pt x="559" y="218"/>
                  </a:lnTo>
                  <a:lnTo>
                    <a:pt x="559" y="220"/>
                  </a:lnTo>
                  <a:lnTo>
                    <a:pt x="552" y="229"/>
                  </a:lnTo>
                  <a:lnTo>
                    <a:pt x="546" y="233"/>
                  </a:lnTo>
                  <a:lnTo>
                    <a:pt x="544" y="233"/>
                  </a:lnTo>
                  <a:lnTo>
                    <a:pt x="532" y="258"/>
                  </a:lnTo>
                  <a:lnTo>
                    <a:pt x="530" y="262"/>
                  </a:lnTo>
                  <a:lnTo>
                    <a:pt x="532" y="256"/>
                  </a:lnTo>
                  <a:lnTo>
                    <a:pt x="519" y="275"/>
                  </a:lnTo>
                  <a:lnTo>
                    <a:pt x="513" y="281"/>
                  </a:lnTo>
                  <a:lnTo>
                    <a:pt x="504" y="279"/>
                  </a:lnTo>
                  <a:lnTo>
                    <a:pt x="511" y="283"/>
                  </a:lnTo>
                  <a:lnTo>
                    <a:pt x="513" y="289"/>
                  </a:lnTo>
                  <a:lnTo>
                    <a:pt x="515" y="287"/>
                  </a:lnTo>
                  <a:lnTo>
                    <a:pt x="523" y="291"/>
                  </a:lnTo>
                  <a:lnTo>
                    <a:pt x="511" y="291"/>
                  </a:lnTo>
                  <a:lnTo>
                    <a:pt x="509" y="294"/>
                  </a:lnTo>
                  <a:lnTo>
                    <a:pt x="502" y="296"/>
                  </a:lnTo>
                  <a:lnTo>
                    <a:pt x="500" y="302"/>
                  </a:lnTo>
                  <a:lnTo>
                    <a:pt x="498" y="300"/>
                  </a:lnTo>
                  <a:lnTo>
                    <a:pt x="494" y="306"/>
                  </a:lnTo>
                  <a:lnTo>
                    <a:pt x="500" y="312"/>
                  </a:lnTo>
                  <a:lnTo>
                    <a:pt x="500" y="319"/>
                  </a:lnTo>
                  <a:lnTo>
                    <a:pt x="502" y="325"/>
                  </a:lnTo>
                  <a:lnTo>
                    <a:pt x="500" y="329"/>
                  </a:lnTo>
                  <a:lnTo>
                    <a:pt x="505" y="337"/>
                  </a:lnTo>
                  <a:lnTo>
                    <a:pt x="505" y="348"/>
                  </a:lnTo>
                  <a:lnTo>
                    <a:pt x="505" y="346"/>
                  </a:lnTo>
                  <a:lnTo>
                    <a:pt x="500" y="346"/>
                  </a:lnTo>
                  <a:lnTo>
                    <a:pt x="482" y="360"/>
                  </a:lnTo>
                  <a:lnTo>
                    <a:pt x="480" y="367"/>
                  </a:lnTo>
                  <a:lnTo>
                    <a:pt x="482" y="358"/>
                  </a:lnTo>
                  <a:lnTo>
                    <a:pt x="469" y="366"/>
                  </a:lnTo>
                  <a:lnTo>
                    <a:pt x="461" y="364"/>
                  </a:lnTo>
                  <a:lnTo>
                    <a:pt x="452" y="352"/>
                  </a:lnTo>
                  <a:lnTo>
                    <a:pt x="430" y="350"/>
                  </a:lnTo>
                  <a:lnTo>
                    <a:pt x="429" y="343"/>
                  </a:lnTo>
                  <a:lnTo>
                    <a:pt x="430" y="335"/>
                  </a:lnTo>
                  <a:lnTo>
                    <a:pt x="434" y="331"/>
                  </a:lnTo>
                  <a:lnTo>
                    <a:pt x="430" y="325"/>
                  </a:lnTo>
                  <a:lnTo>
                    <a:pt x="432" y="323"/>
                  </a:lnTo>
                  <a:lnTo>
                    <a:pt x="454" y="308"/>
                  </a:lnTo>
                  <a:lnTo>
                    <a:pt x="463" y="306"/>
                  </a:lnTo>
                  <a:lnTo>
                    <a:pt x="459" y="300"/>
                  </a:lnTo>
                  <a:lnTo>
                    <a:pt x="455" y="298"/>
                  </a:lnTo>
                  <a:lnTo>
                    <a:pt x="452" y="293"/>
                  </a:lnTo>
                  <a:lnTo>
                    <a:pt x="450" y="293"/>
                  </a:lnTo>
                  <a:lnTo>
                    <a:pt x="450" y="291"/>
                  </a:lnTo>
                  <a:lnTo>
                    <a:pt x="434" y="285"/>
                  </a:lnTo>
                  <a:lnTo>
                    <a:pt x="430" y="279"/>
                  </a:lnTo>
                  <a:lnTo>
                    <a:pt x="411" y="279"/>
                  </a:lnTo>
                  <a:lnTo>
                    <a:pt x="384" y="293"/>
                  </a:lnTo>
                  <a:lnTo>
                    <a:pt x="373" y="291"/>
                  </a:lnTo>
                  <a:lnTo>
                    <a:pt x="365" y="293"/>
                  </a:lnTo>
                  <a:lnTo>
                    <a:pt x="361" y="294"/>
                  </a:lnTo>
                  <a:lnTo>
                    <a:pt x="363" y="294"/>
                  </a:lnTo>
                  <a:lnTo>
                    <a:pt x="392" y="304"/>
                  </a:lnTo>
                  <a:lnTo>
                    <a:pt x="396" y="319"/>
                  </a:lnTo>
                  <a:lnTo>
                    <a:pt x="400" y="316"/>
                  </a:lnTo>
                  <a:lnTo>
                    <a:pt x="398" y="321"/>
                  </a:lnTo>
                  <a:lnTo>
                    <a:pt x="400" y="321"/>
                  </a:lnTo>
                  <a:lnTo>
                    <a:pt x="398" y="325"/>
                  </a:lnTo>
                  <a:lnTo>
                    <a:pt x="402" y="325"/>
                  </a:lnTo>
                  <a:lnTo>
                    <a:pt x="398" y="329"/>
                  </a:lnTo>
                  <a:lnTo>
                    <a:pt x="402" y="339"/>
                  </a:lnTo>
                  <a:lnTo>
                    <a:pt x="404" y="339"/>
                  </a:lnTo>
                  <a:lnTo>
                    <a:pt x="402" y="341"/>
                  </a:lnTo>
                  <a:lnTo>
                    <a:pt x="404" y="364"/>
                  </a:lnTo>
                  <a:lnTo>
                    <a:pt x="407" y="369"/>
                  </a:lnTo>
                  <a:lnTo>
                    <a:pt x="413" y="367"/>
                  </a:lnTo>
                  <a:lnTo>
                    <a:pt x="421" y="369"/>
                  </a:lnTo>
                  <a:lnTo>
                    <a:pt x="423" y="367"/>
                  </a:lnTo>
                  <a:lnTo>
                    <a:pt x="421" y="371"/>
                  </a:lnTo>
                  <a:lnTo>
                    <a:pt x="430" y="377"/>
                  </a:lnTo>
                  <a:lnTo>
                    <a:pt x="430" y="381"/>
                  </a:lnTo>
                  <a:lnTo>
                    <a:pt x="429" y="385"/>
                  </a:lnTo>
                  <a:lnTo>
                    <a:pt x="436" y="391"/>
                  </a:lnTo>
                  <a:lnTo>
                    <a:pt x="434" y="394"/>
                  </a:lnTo>
                  <a:lnTo>
                    <a:pt x="436" y="400"/>
                  </a:lnTo>
                  <a:lnTo>
                    <a:pt x="434" y="408"/>
                  </a:lnTo>
                  <a:lnTo>
                    <a:pt x="434" y="419"/>
                  </a:lnTo>
                  <a:lnTo>
                    <a:pt x="446" y="439"/>
                  </a:lnTo>
                  <a:lnTo>
                    <a:pt x="438" y="431"/>
                  </a:lnTo>
                  <a:lnTo>
                    <a:pt x="436" y="427"/>
                  </a:lnTo>
                  <a:lnTo>
                    <a:pt x="430" y="423"/>
                  </a:lnTo>
                  <a:lnTo>
                    <a:pt x="427" y="425"/>
                  </a:lnTo>
                  <a:lnTo>
                    <a:pt x="421" y="433"/>
                  </a:lnTo>
                  <a:lnTo>
                    <a:pt x="425" y="435"/>
                  </a:lnTo>
                  <a:lnTo>
                    <a:pt x="427" y="439"/>
                  </a:lnTo>
                  <a:lnTo>
                    <a:pt x="423" y="435"/>
                  </a:lnTo>
                  <a:lnTo>
                    <a:pt x="421" y="437"/>
                  </a:lnTo>
                  <a:lnTo>
                    <a:pt x="417" y="435"/>
                  </a:lnTo>
                  <a:lnTo>
                    <a:pt x="425" y="421"/>
                  </a:lnTo>
                  <a:lnTo>
                    <a:pt x="419" y="419"/>
                  </a:lnTo>
                  <a:lnTo>
                    <a:pt x="415" y="419"/>
                  </a:lnTo>
                  <a:lnTo>
                    <a:pt x="409" y="416"/>
                  </a:lnTo>
                  <a:lnTo>
                    <a:pt x="392" y="425"/>
                  </a:lnTo>
                  <a:lnTo>
                    <a:pt x="394" y="421"/>
                  </a:lnTo>
                  <a:lnTo>
                    <a:pt x="381" y="421"/>
                  </a:lnTo>
                  <a:lnTo>
                    <a:pt x="375" y="446"/>
                  </a:lnTo>
                  <a:lnTo>
                    <a:pt x="369" y="454"/>
                  </a:lnTo>
                  <a:lnTo>
                    <a:pt x="354" y="465"/>
                  </a:lnTo>
                  <a:lnTo>
                    <a:pt x="350" y="479"/>
                  </a:lnTo>
                  <a:lnTo>
                    <a:pt x="340" y="494"/>
                  </a:lnTo>
                  <a:lnTo>
                    <a:pt x="338" y="500"/>
                  </a:lnTo>
                  <a:lnTo>
                    <a:pt x="342" y="510"/>
                  </a:lnTo>
                  <a:lnTo>
                    <a:pt x="357" y="523"/>
                  </a:lnTo>
                  <a:lnTo>
                    <a:pt x="363" y="523"/>
                  </a:lnTo>
                  <a:lnTo>
                    <a:pt x="373" y="535"/>
                  </a:lnTo>
                  <a:lnTo>
                    <a:pt x="371" y="539"/>
                  </a:lnTo>
                  <a:lnTo>
                    <a:pt x="379" y="548"/>
                  </a:lnTo>
                  <a:lnTo>
                    <a:pt x="369" y="550"/>
                  </a:lnTo>
                  <a:lnTo>
                    <a:pt x="357" y="548"/>
                  </a:lnTo>
                  <a:lnTo>
                    <a:pt x="357" y="552"/>
                  </a:lnTo>
                  <a:lnTo>
                    <a:pt x="361" y="550"/>
                  </a:lnTo>
                  <a:lnTo>
                    <a:pt x="357" y="554"/>
                  </a:lnTo>
                  <a:lnTo>
                    <a:pt x="352" y="556"/>
                  </a:lnTo>
                  <a:lnTo>
                    <a:pt x="332" y="552"/>
                  </a:lnTo>
                  <a:lnTo>
                    <a:pt x="319" y="552"/>
                  </a:lnTo>
                  <a:lnTo>
                    <a:pt x="319" y="556"/>
                  </a:lnTo>
                  <a:lnTo>
                    <a:pt x="315" y="556"/>
                  </a:lnTo>
                  <a:lnTo>
                    <a:pt x="311" y="562"/>
                  </a:lnTo>
                  <a:lnTo>
                    <a:pt x="308" y="558"/>
                  </a:lnTo>
                  <a:lnTo>
                    <a:pt x="315" y="554"/>
                  </a:lnTo>
                  <a:lnTo>
                    <a:pt x="315" y="550"/>
                  </a:lnTo>
                  <a:lnTo>
                    <a:pt x="306" y="552"/>
                  </a:lnTo>
                  <a:lnTo>
                    <a:pt x="296" y="548"/>
                  </a:lnTo>
                  <a:lnTo>
                    <a:pt x="294" y="544"/>
                  </a:lnTo>
                  <a:lnTo>
                    <a:pt x="273" y="540"/>
                  </a:lnTo>
                  <a:lnTo>
                    <a:pt x="269" y="544"/>
                  </a:lnTo>
                  <a:lnTo>
                    <a:pt x="271" y="556"/>
                  </a:lnTo>
                  <a:lnTo>
                    <a:pt x="267" y="560"/>
                  </a:lnTo>
                  <a:lnTo>
                    <a:pt x="261" y="562"/>
                  </a:lnTo>
                  <a:lnTo>
                    <a:pt x="267" y="565"/>
                  </a:lnTo>
                  <a:lnTo>
                    <a:pt x="265" y="567"/>
                  </a:lnTo>
                  <a:lnTo>
                    <a:pt x="269" y="571"/>
                  </a:lnTo>
                  <a:lnTo>
                    <a:pt x="273" y="571"/>
                  </a:lnTo>
                  <a:lnTo>
                    <a:pt x="290" y="587"/>
                  </a:lnTo>
                  <a:lnTo>
                    <a:pt x="296" y="588"/>
                  </a:lnTo>
                  <a:lnTo>
                    <a:pt x="300" y="585"/>
                  </a:lnTo>
                  <a:lnTo>
                    <a:pt x="304" y="585"/>
                  </a:lnTo>
                  <a:lnTo>
                    <a:pt x="306" y="579"/>
                  </a:lnTo>
                  <a:lnTo>
                    <a:pt x="308" y="579"/>
                  </a:lnTo>
                  <a:lnTo>
                    <a:pt x="309" y="581"/>
                  </a:lnTo>
                  <a:lnTo>
                    <a:pt x="315" y="585"/>
                  </a:lnTo>
                  <a:lnTo>
                    <a:pt x="315" y="590"/>
                  </a:lnTo>
                  <a:lnTo>
                    <a:pt x="319" y="592"/>
                  </a:lnTo>
                  <a:lnTo>
                    <a:pt x="323" y="600"/>
                  </a:lnTo>
                  <a:lnTo>
                    <a:pt x="321" y="606"/>
                  </a:lnTo>
                  <a:lnTo>
                    <a:pt x="317" y="610"/>
                  </a:lnTo>
                  <a:lnTo>
                    <a:pt x="313" y="610"/>
                  </a:lnTo>
                  <a:lnTo>
                    <a:pt x="311" y="617"/>
                  </a:lnTo>
                  <a:lnTo>
                    <a:pt x="306" y="619"/>
                  </a:lnTo>
                  <a:lnTo>
                    <a:pt x="300" y="615"/>
                  </a:lnTo>
                  <a:lnTo>
                    <a:pt x="286" y="617"/>
                  </a:lnTo>
                  <a:lnTo>
                    <a:pt x="281" y="617"/>
                  </a:lnTo>
                  <a:lnTo>
                    <a:pt x="273" y="615"/>
                  </a:lnTo>
                  <a:lnTo>
                    <a:pt x="273" y="613"/>
                  </a:lnTo>
                  <a:lnTo>
                    <a:pt x="271" y="612"/>
                  </a:lnTo>
                  <a:lnTo>
                    <a:pt x="271" y="608"/>
                  </a:lnTo>
                  <a:lnTo>
                    <a:pt x="263" y="604"/>
                  </a:lnTo>
                  <a:lnTo>
                    <a:pt x="263" y="608"/>
                  </a:lnTo>
                  <a:lnTo>
                    <a:pt x="258" y="602"/>
                  </a:lnTo>
                  <a:lnTo>
                    <a:pt x="248" y="598"/>
                  </a:lnTo>
                  <a:lnTo>
                    <a:pt x="250" y="602"/>
                  </a:lnTo>
                  <a:lnTo>
                    <a:pt x="242" y="606"/>
                  </a:lnTo>
                  <a:lnTo>
                    <a:pt x="240" y="602"/>
                  </a:lnTo>
                  <a:lnTo>
                    <a:pt x="236" y="604"/>
                  </a:lnTo>
                  <a:lnTo>
                    <a:pt x="234" y="602"/>
                  </a:lnTo>
                  <a:lnTo>
                    <a:pt x="231" y="602"/>
                  </a:lnTo>
                  <a:lnTo>
                    <a:pt x="229" y="598"/>
                  </a:lnTo>
                  <a:lnTo>
                    <a:pt x="223" y="596"/>
                  </a:lnTo>
                  <a:lnTo>
                    <a:pt x="227" y="590"/>
                  </a:lnTo>
                  <a:lnTo>
                    <a:pt x="221" y="587"/>
                  </a:lnTo>
                  <a:lnTo>
                    <a:pt x="227" y="583"/>
                  </a:lnTo>
                  <a:lnTo>
                    <a:pt x="219" y="585"/>
                  </a:lnTo>
                  <a:lnTo>
                    <a:pt x="223" y="581"/>
                  </a:lnTo>
                  <a:lnTo>
                    <a:pt x="223" y="579"/>
                  </a:lnTo>
                  <a:lnTo>
                    <a:pt x="221" y="575"/>
                  </a:lnTo>
                  <a:lnTo>
                    <a:pt x="215" y="573"/>
                  </a:lnTo>
                  <a:lnTo>
                    <a:pt x="217" y="569"/>
                  </a:lnTo>
                  <a:lnTo>
                    <a:pt x="215" y="567"/>
                  </a:lnTo>
                  <a:lnTo>
                    <a:pt x="215" y="563"/>
                  </a:lnTo>
                  <a:lnTo>
                    <a:pt x="211" y="565"/>
                  </a:lnTo>
                  <a:lnTo>
                    <a:pt x="209" y="562"/>
                  </a:lnTo>
                  <a:lnTo>
                    <a:pt x="211" y="560"/>
                  </a:lnTo>
                  <a:lnTo>
                    <a:pt x="208" y="558"/>
                  </a:lnTo>
                  <a:lnTo>
                    <a:pt x="204" y="556"/>
                  </a:lnTo>
                  <a:lnTo>
                    <a:pt x="202" y="552"/>
                  </a:lnTo>
                  <a:lnTo>
                    <a:pt x="198" y="552"/>
                  </a:lnTo>
                  <a:lnTo>
                    <a:pt x="202" y="548"/>
                  </a:lnTo>
                  <a:lnTo>
                    <a:pt x="202" y="546"/>
                  </a:lnTo>
                  <a:lnTo>
                    <a:pt x="206" y="544"/>
                  </a:lnTo>
                  <a:lnTo>
                    <a:pt x="204" y="542"/>
                  </a:lnTo>
                  <a:lnTo>
                    <a:pt x="208" y="537"/>
                  </a:lnTo>
                  <a:lnTo>
                    <a:pt x="202" y="525"/>
                  </a:lnTo>
                  <a:lnTo>
                    <a:pt x="209" y="529"/>
                  </a:lnTo>
                  <a:lnTo>
                    <a:pt x="209" y="527"/>
                  </a:lnTo>
                  <a:lnTo>
                    <a:pt x="206" y="525"/>
                  </a:lnTo>
                  <a:lnTo>
                    <a:pt x="206" y="521"/>
                  </a:lnTo>
                  <a:lnTo>
                    <a:pt x="204" y="523"/>
                  </a:lnTo>
                  <a:lnTo>
                    <a:pt x="204" y="517"/>
                  </a:lnTo>
                  <a:lnTo>
                    <a:pt x="200" y="519"/>
                  </a:lnTo>
                  <a:lnTo>
                    <a:pt x="198" y="514"/>
                  </a:lnTo>
                  <a:lnTo>
                    <a:pt x="192" y="510"/>
                  </a:lnTo>
                  <a:lnTo>
                    <a:pt x="181" y="506"/>
                  </a:lnTo>
                  <a:lnTo>
                    <a:pt x="179" y="502"/>
                  </a:lnTo>
                  <a:lnTo>
                    <a:pt x="173" y="506"/>
                  </a:lnTo>
                  <a:lnTo>
                    <a:pt x="163" y="498"/>
                  </a:lnTo>
                  <a:lnTo>
                    <a:pt x="161" y="498"/>
                  </a:lnTo>
                  <a:lnTo>
                    <a:pt x="167" y="496"/>
                  </a:lnTo>
                  <a:lnTo>
                    <a:pt x="161" y="494"/>
                  </a:lnTo>
                  <a:lnTo>
                    <a:pt x="161" y="492"/>
                  </a:lnTo>
                  <a:lnTo>
                    <a:pt x="158" y="494"/>
                  </a:lnTo>
                  <a:lnTo>
                    <a:pt x="152" y="492"/>
                  </a:lnTo>
                  <a:lnTo>
                    <a:pt x="150" y="494"/>
                  </a:lnTo>
                  <a:lnTo>
                    <a:pt x="144" y="496"/>
                  </a:lnTo>
                  <a:lnTo>
                    <a:pt x="150" y="492"/>
                  </a:lnTo>
                  <a:lnTo>
                    <a:pt x="146" y="492"/>
                  </a:lnTo>
                  <a:lnTo>
                    <a:pt x="142" y="492"/>
                  </a:lnTo>
                  <a:lnTo>
                    <a:pt x="146" y="490"/>
                  </a:lnTo>
                  <a:lnTo>
                    <a:pt x="148" y="487"/>
                  </a:lnTo>
                  <a:lnTo>
                    <a:pt x="152" y="487"/>
                  </a:lnTo>
                  <a:lnTo>
                    <a:pt x="152" y="485"/>
                  </a:lnTo>
                  <a:lnTo>
                    <a:pt x="138" y="485"/>
                  </a:lnTo>
                  <a:lnTo>
                    <a:pt x="136" y="485"/>
                  </a:lnTo>
                  <a:lnTo>
                    <a:pt x="140" y="483"/>
                  </a:lnTo>
                  <a:lnTo>
                    <a:pt x="140" y="481"/>
                  </a:lnTo>
                  <a:lnTo>
                    <a:pt x="125" y="479"/>
                  </a:lnTo>
                  <a:lnTo>
                    <a:pt x="127" y="475"/>
                  </a:lnTo>
                  <a:lnTo>
                    <a:pt x="127" y="473"/>
                  </a:lnTo>
                  <a:lnTo>
                    <a:pt x="129" y="471"/>
                  </a:lnTo>
                  <a:lnTo>
                    <a:pt x="125" y="469"/>
                  </a:lnTo>
                  <a:lnTo>
                    <a:pt x="110" y="467"/>
                  </a:lnTo>
                  <a:lnTo>
                    <a:pt x="108" y="465"/>
                  </a:lnTo>
                  <a:lnTo>
                    <a:pt x="113" y="465"/>
                  </a:lnTo>
                  <a:lnTo>
                    <a:pt x="119" y="462"/>
                  </a:lnTo>
                  <a:lnTo>
                    <a:pt x="133" y="464"/>
                  </a:lnTo>
                  <a:lnTo>
                    <a:pt x="135" y="469"/>
                  </a:lnTo>
                  <a:lnTo>
                    <a:pt x="156" y="481"/>
                  </a:lnTo>
                  <a:lnTo>
                    <a:pt x="156" y="473"/>
                  </a:lnTo>
                  <a:lnTo>
                    <a:pt x="160" y="475"/>
                  </a:lnTo>
                  <a:lnTo>
                    <a:pt x="165" y="479"/>
                  </a:lnTo>
                  <a:lnTo>
                    <a:pt x="171" y="479"/>
                  </a:lnTo>
                  <a:lnTo>
                    <a:pt x="183" y="477"/>
                  </a:lnTo>
                  <a:lnTo>
                    <a:pt x="179" y="481"/>
                  </a:lnTo>
                  <a:lnTo>
                    <a:pt x="185" y="485"/>
                  </a:lnTo>
                  <a:lnTo>
                    <a:pt x="190" y="477"/>
                  </a:lnTo>
                  <a:lnTo>
                    <a:pt x="198" y="479"/>
                  </a:lnTo>
                  <a:lnTo>
                    <a:pt x="213" y="485"/>
                  </a:lnTo>
                  <a:lnTo>
                    <a:pt x="258" y="481"/>
                  </a:lnTo>
                  <a:lnTo>
                    <a:pt x="271" y="483"/>
                  </a:lnTo>
                  <a:lnTo>
                    <a:pt x="283" y="483"/>
                  </a:lnTo>
                  <a:lnTo>
                    <a:pt x="298" y="479"/>
                  </a:lnTo>
                  <a:lnTo>
                    <a:pt x="315" y="469"/>
                  </a:lnTo>
                  <a:lnTo>
                    <a:pt x="332" y="454"/>
                  </a:lnTo>
                  <a:lnTo>
                    <a:pt x="338" y="444"/>
                  </a:lnTo>
                  <a:lnTo>
                    <a:pt x="350" y="416"/>
                  </a:lnTo>
                  <a:lnTo>
                    <a:pt x="348" y="396"/>
                  </a:lnTo>
                  <a:lnTo>
                    <a:pt x="344" y="391"/>
                  </a:lnTo>
                  <a:lnTo>
                    <a:pt x="340" y="391"/>
                  </a:lnTo>
                  <a:lnTo>
                    <a:pt x="338" y="387"/>
                  </a:lnTo>
                  <a:lnTo>
                    <a:pt x="336" y="381"/>
                  </a:lnTo>
                  <a:lnTo>
                    <a:pt x="332" y="379"/>
                  </a:lnTo>
                  <a:lnTo>
                    <a:pt x="331" y="369"/>
                  </a:lnTo>
                  <a:lnTo>
                    <a:pt x="327" y="366"/>
                  </a:lnTo>
                  <a:lnTo>
                    <a:pt x="323" y="367"/>
                  </a:lnTo>
                  <a:lnTo>
                    <a:pt x="317" y="364"/>
                  </a:lnTo>
                  <a:lnTo>
                    <a:pt x="315" y="366"/>
                  </a:lnTo>
                  <a:lnTo>
                    <a:pt x="315" y="367"/>
                  </a:lnTo>
                  <a:lnTo>
                    <a:pt x="313" y="369"/>
                  </a:lnTo>
                  <a:lnTo>
                    <a:pt x="308" y="366"/>
                  </a:lnTo>
                  <a:lnTo>
                    <a:pt x="309" y="364"/>
                  </a:lnTo>
                  <a:lnTo>
                    <a:pt x="308" y="362"/>
                  </a:lnTo>
                  <a:lnTo>
                    <a:pt x="302" y="360"/>
                  </a:lnTo>
                  <a:lnTo>
                    <a:pt x="288" y="352"/>
                  </a:lnTo>
                  <a:lnTo>
                    <a:pt x="286" y="352"/>
                  </a:lnTo>
                  <a:lnTo>
                    <a:pt x="292" y="358"/>
                  </a:lnTo>
                  <a:lnTo>
                    <a:pt x="286" y="360"/>
                  </a:lnTo>
                  <a:lnTo>
                    <a:pt x="256" y="350"/>
                  </a:lnTo>
                  <a:lnTo>
                    <a:pt x="254" y="352"/>
                  </a:lnTo>
                  <a:lnTo>
                    <a:pt x="261" y="354"/>
                  </a:lnTo>
                  <a:lnTo>
                    <a:pt x="254" y="352"/>
                  </a:lnTo>
                  <a:lnTo>
                    <a:pt x="252" y="354"/>
                  </a:lnTo>
                  <a:lnTo>
                    <a:pt x="248" y="348"/>
                  </a:lnTo>
                  <a:lnTo>
                    <a:pt x="240" y="346"/>
                  </a:lnTo>
                  <a:lnTo>
                    <a:pt x="233" y="341"/>
                  </a:lnTo>
                  <a:lnTo>
                    <a:pt x="196" y="331"/>
                  </a:lnTo>
                  <a:lnTo>
                    <a:pt x="190" y="331"/>
                  </a:lnTo>
                  <a:lnTo>
                    <a:pt x="186" y="327"/>
                  </a:lnTo>
                  <a:lnTo>
                    <a:pt x="183" y="329"/>
                  </a:lnTo>
                  <a:lnTo>
                    <a:pt x="179" y="325"/>
                  </a:lnTo>
                  <a:lnTo>
                    <a:pt x="161" y="325"/>
                  </a:lnTo>
                  <a:lnTo>
                    <a:pt x="158" y="327"/>
                  </a:lnTo>
                  <a:lnTo>
                    <a:pt x="161" y="329"/>
                  </a:lnTo>
                  <a:lnTo>
                    <a:pt x="160" y="331"/>
                  </a:lnTo>
                  <a:lnTo>
                    <a:pt x="158" y="329"/>
                  </a:lnTo>
                  <a:lnTo>
                    <a:pt x="156" y="331"/>
                  </a:lnTo>
                  <a:lnTo>
                    <a:pt x="146" y="331"/>
                  </a:lnTo>
                  <a:lnTo>
                    <a:pt x="138" y="329"/>
                  </a:lnTo>
                  <a:lnTo>
                    <a:pt x="129" y="331"/>
                  </a:lnTo>
                  <a:lnTo>
                    <a:pt x="111" y="339"/>
                  </a:lnTo>
                  <a:lnTo>
                    <a:pt x="115" y="333"/>
                  </a:lnTo>
                  <a:lnTo>
                    <a:pt x="117" y="329"/>
                  </a:lnTo>
                  <a:lnTo>
                    <a:pt x="111" y="329"/>
                  </a:lnTo>
                  <a:lnTo>
                    <a:pt x="102" y="331"/>
                  </a:lnTo>
                  <a:lnTo>
                    <a:pt x="100" y="329"/>
                  </a:lnTo>
                  <a:lnTo>
                    <a:pt x="90" y="331"/>
                  </a:lnTo>
                  <a:lnTo>
                    <a:pt x="88" y="329"/>
                  </a:lnTo>
                  <a:lnTo>
                    <a:pt x="88" y="327"/>
                  </a:lnTo>
                  <a:lnTo>
                    <a:pt x="83" y="327"/>
                  </a:lnTo>
                  <a:lnTo>
                    <a:pt x="79" y="331"/>
                  </a:lnTo>
                  <a:lnTo>
                    <a:pt x="77" y="325"/>
                  </a:lnTo>
                  <a:lnTo>
                    <a:pt x="79" y="323"/>
                  </a:lnTo>
                  <a:lnTo>
                    <a:pt x="81" y="325"/>
                  </a:lnTo>
                  <a:lnTo>
                    <a:pt x="98" y="323"/>
                  </a:lnTo>
                  <a:lnTo>
                    <a:pt x="104" y="319"/>
                  </a:lnTo>
                  <a:lnTo>
                    <a:pt x="104" y="316"/>
                  </a:lnTo>
                  <a:lnTo>
                    <a:pt x="98" y="314"/>
                  </a:lnTo>
                  <a:lnTo>
                    <a:pt x="87" y="314"/>
                  </a:lnTo>
                  <a:lnTo>
                    <a:pt x="87" y="312"/>
                  </a:lnTo>
                  <a:lnTo>
                    <a:pt x="81" y="312"/>
                  </a:lnTo>
                  <a:lnTo>
                    <a:pt x="75" y="308"/>
                  </a:lnTo>
                  <a:lnTo>
                    <a:pt x="71" y="308"/>
                  </a:lnTo>
                  <a:lnTo>
                    <a:pt x="71" y="310"/>
                  </a:lnTo>
                  <a:lnTo>
                    <a:pt x="77" y="318"/>
                  </a:lnTo>
                  <a:lnTo>
                    <a:pt x="77" y="319"/>
                  </a:lnTo>
                  <a:lnTo>
                    <a:pt x="69" y="316"/>
                  </a:lnTo>
                  <a:lnTo>
                    <a:pt x="69" y="323"/>
                  </a:lnTo>
                  <a:lnTo>
                    <a:pt x="71" y="325"/>
                  </a:lnTo>
                  <a:lnTo>
                    <a:pt x="62" y="325"/>
                  </a:lnTo>
                  <a:lnTo>
                    <a:pt x="46" y="323"/>
                  </a:lnTo>
                  <a:lnTo>
                    <a:pt x="48" y="327"/>
                  </a:lnTo>
                  <a:lnTo>
                    <a:pt x="50" y="329"/>
                  </a:lnTo>
                  <a:lnTo>
                    <a:pt x="50" y="331"/>
                  </a:lnTo>
                  <a:lnTo>
                    <a:pt x="52" y="333"/>
                  </a:lnTo>
                  <a:lnTo>
                    <a:pt x="52" y="335"/>
                  </a:lnTo>
                  <a:lnTo>
                    <a:pt x="52" y="337"/>
                  </a:lnTo>
                  <a:lnTo>
                    <a:pt x="48" y="339"/>
                  </a:lnTo>
                  <a:lnTo>
                    <a:pt x="46" y="339"/>
                  </a:lnTo>
                  <a:lnTo>
                    <a:pt x="44" y="339"/>
                  </a:lnTo>
                  <a:lnTo>
                    <a:pt x="42" y="339"/>
                  </a:lnTo>
                  <a:lnTo>
                    <a:pt x="40" y="337"/>
                  </a:lnTo>
                  <a:lnTo>
                    <a:pt x="38" y="337"/>
                  </a:lnTo>
                  <a:lnTo>
                    <a:pt x="37" y="335"/>
                  </a:lnTo>
                  <a:lnTo>
                    <a:pt x="35" y="335"/>
                  </a:lnTo>
                  <a:lnTo>
                    <a:pt x="31" y="335"/>
                  </a:lnTo>
                  <a:lnTo>
                    <a:pt x="33" y="339"/>
                  </a:lnTo>
                  <a:lnTo>
                    <a:pt x="35" y="339"/>
                  </a:lnTo>
                  <a:lnTo>
                    <a:pt x="35" y="341"/>
                  </a:lnTo>
                  <a:lnTo>
                    <a:pt x="35" y="343"/>
                  </a:lnTo>
                  <a:lnTo>
                    <a:pt x="33" y="343"/>
                  </a:lnTo>
                  <a:lnTo>
                    <a:pt x="33" y="344"/>
                  </a:lnTo>
                  <a:lnTo>
                    <a:pt x="33" y="346"/>
                  </a:lnTo>
                  <a:lnTo>
                    <a:pt x="33" y="348"/>
                  </a:lnTo>
                  <a:lnTo>
                    <a:pt x="31" y="348"/>
                  </a:lnTo>
                  <a:lnTo>
                    <a:pt x="31" y="350"/>
                  </a:lnTo>
                  <a:lnTo>
                    <a:pt x="29" y="350"/>
                  </a:lnTo>
                  <a:lnTo>
                    <a:pt x="27" y="350"/>
                  </a:lnTo>
                  <a:lnTo>
                    <a:pt x="25" y="352"/>
                  </a:lnTo>
                  <a:lnTo>
                    <a:pt x="25" y="354"/>
                  </a:lnTo>
                  <a:lnTo>
                    <a:pt x="23" y="354"/>
                  </a:lnTo>
                  <a:lnTo>
                    <a:pt x="23" y="356"/>
                  </a:lnTo>
                  <a:lnTo>
                    <a:pt x="21" y="356"/>
                  </a:lnTo>
                  <a:lnTo>
                    <a:pt x="19" y="356"/>
                  </a:lnTo>
                  <a:lnTo>
                    <a:pt x="17" y="358"/>
                  </a:lnTo>
                  <a:lnTo>
                    <a:pt x="15" y="360"/>
                  </a:lnTo>
                  <a:lnTo>
                    <a:pt x="15" y="362"/>
                  </a:lnTo>
                  <a:lnTo>
                    <a:pt x="17" y="362"/>
                  </a:lnTo>
                  <a:lnTo>
                    <a:pt x="17" y="364"/>
                  </a:lnTo>
                  <a:lnTo>
                    <a:pt x="17" y="366"/>
                  </a:lnTo>
                  <a:lnTo>
                    <a:pt x="15" y="369"/>
                  </a:lnTo>
                  <a:lnTo>
                    <a:pt x="15" y="371"/>
                  </a:lnTo>
                  <a:lnTo>
                    <a:pt x="15" y="373"/>
                  </a:lnTo>
                  <a:lnTo>
                    <a:pt x="13" y="375"/>
                  </a:lnTo>
                  <a:lnTo>
                    <a:pt x="12" y="375"/>
                  </a:lnTo>
                  <a:lnTo>
                    <a:pt x="10" y="375"/>
                  </a:lnTo>
                  <a:lnTo>
                    <a:pt x="0" y="385"/>
                  </a:lnTo>
                  <a:lnTo>
                    <a:pt x="2" y="387"/>
                  </a:lnTo>
                  <a:lnTo>
                    <a:pt x="4" y="385"/>
                  </a:lnTo>
                  <a:lnTo>
                    <a:pt x="10" y="385"/>
                  </a:lnTo>
                  <a:lnTo>
                    <a:pt x="8" y="392"/>
                  </a:lnTo>
                  <a:lnTo>
                    <a:pt x="4" y="406"/>
                  </a:lnTo>
                  <a:lnTo>
                    <a:pt x="12" y="425"/>
                  </a:lnTo>
                  <a:lnTo>
                    <a:pt x="31" y="429"/>
                  </a:lnTo>
                  <a:lnTo>
                    <a:pt x="42" y="442"/>
                  </a:lnTo>
                  <a:lnTo>
                    <a:pt x="54" y="448"/>
                  </a:lnTo>
                  <a:lnTo>
                    <a:pt x="52" y="456"/>
                  </a:lnTo>
                  <a:lnTo>
                    <a:pt x="48" y="469"/>
                  </a:lnTo>
                  <a:lnTo>
                    <a:pt x="44" y="471"/>
                  </a:lnTo>
                  <a:lnTo>
                    <a:pt x="37" y="494"/>
                  </a:lnTo>
                  <a:lnTo>
                    <a:pt x="37" y="496"/>
                  </a:lnTo>
                  <a:lnTo>
                    <a:pt x="38" y="500"/>
                  </a:lnTo>
                  <a:lnTo>
                    <a:pt x="40" y="502"/>
                  </a:lnTo>
                  <a:lnTo>
                    <a:pt x="44" y="508"/>
                  </a:lnTo>
                  <a:lnTo>
                    <a:pt x="48" y="51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9" name="Freeform 47"/>
            <p:cNvSpPr>
              <a:spLocks/>
            </p:cNvSpPr>
            <p:nvPr/>
          </p:nvSpPr>
          <p:spPr bwMode="auto">
            <a:xfrm>
              <a:off x="2946" y="958"/>
              <a:ext cx="907" cy="619"/>
            </a:xfrm>
            <a:custGeom>
              <a:avLst/>
              <a:gdLst>
                <a:gd name="T0" fmla="*/ 874 w 907"/>
                <a:gd name="T1" fmla="*/ 231 h 619"/>
                <a:gd name="T2" fmla="*/ 884 w 907"/>
                <a:gd name="T3" fmla="*/ 158 h 619"/>
                <a:gd name="T4" fmla="*/ 899 w 907"/>
                <a:gd name="T5" fmla="*/ 104 h 619"/>
                <a:gd name="T6" fmla="*/ 897 w 907"/>
                <a:gd name="T7" fmla="*/ 60 h 619"/>
                <a:gd name="T8" fmla="*/ 863 w 907"/>
                <a:gd name="T9" fmla="*/ 47 h 619"/>
                <a:gd name="T10" fmla="*/ 821 w 907"/>
                <a:gd name="T11" fmla="*/ 22 h 619"/>
                <a:gd name="T12" fmla="*/ 736 w 907"/>
                <a:gd name="T13" fmla="*/ 27 h 619"/>
                <a:gd name="T14" fmla="*/ 719 w 907"/>
                <a:gd name="T15" fmla="*/ 58 h 619"/>
                <a:gd name="T16" fmla="*/ 740 w 907"/>
                <a:gd name="T17" fmla="*/ 68 h 619"/>
                <a:gd name="T18" fmla="*/ 740 w 907"/>
                <a:gd name="T19" fmla="*/ 100 h 619"/>
                <a:gd name="T20" fmla="*/ 726 w 907"/>
                <a:gd name="T21" fmla="*/ 125 h 619"/>
                <a:gd name="T22" fmla="*/ 707 w 907"/>
                <a:gd name="T23" fmla="*/ 104 h 619"/>
                <a:gd name="T24" fmla="*/ 703 w 907"/>
                <a:gd name="T25" fmla="*/ 120 h 619"/>
                <a:gd name="T26" fmla="*/ 690 w 907"/>
                <a:gd name="T27" fmla="*/ 122 h 619"/>
                <a:gd name="T28" fmla="*/ 675 w 907"/>
                <a:gd name="T29" fmla="*/ 148 h 619"/>
                <a:gd name="T30" fmla="*/ 640 w 907"/>
                <a:gd name="T31" fmla="*/ 172 h 619"/>
                <a:gd name="T32" fmla="*/ 626 w 907"/>
                <a:gd name="T33" fmla="*/ 200 h 619"/>
                <a:gd name="T34" fmla="*/ 603 w 907"/>
                <a:gd name="T35" fmla="*/ 179 h 619"/>
                <a:gd name="T36" fmla="*/ 571 w 907"/>
                <a:gd name="T37" fmla="*/ 202 h 619"/>
                <a:gd name="T38" fmla="*/ 571 w 907"/>
                <a:gd name="T39" fmla="*/ 210 h 619"/>
                <a:gd name="T40" fmla="*/ 530 w 907"/>
                <a:gd name="T41" fmla="*/ 262 h 619"/>
                <a:gd name="T42" fmla="*/ 509 w 907"/>
                <a:gd name="T43" fmla="*/ 294 h 619"/>
                <a:gd name="T44" fmla="*/ 505 w 907"/>
                <a:gd name="T45" fmla="*/ 348 h 619"/>
                <a:gd name="T46" fmla="*/ 429 w 907"/>
                <a:gd name="T47" fmla="*/ 343 h 619"/>
                <a:gd name="T48" fmla="*/ 450 w 907"/>
                <a:gd name="T49" fmla="*/ 293 h 619"/>
                <a:gd name="T50" fmla="*/ 392 w 907"/>
                <a:gd name="T51" fmla="*/ 304 h 619"/>
                <a:gd name="T52" fmla="*/ 402 w 907"/>
                <a:gd name="T53" fmla="*/ 341 h 619"/>
                <a:gd name="T54" fmla="*/ 436 w 907"/>
                <a:gd name="T55" fmla="*/ 391 h 619"/>
                <a:gd name="T56" fmla="*/ 421 w 907"/>
                <a:gd name="T57" fmla="*/ 433 h 619"/>
                <a:gd name="T58" fmla="*/ 392 w 907"/>
                <a:gd name="T59" fmla="*/ 425 h 619"/>
                <a:gd name="T60" fmla="*/ 357 w 907"/>
                <a:gd name="T61" fmla="*/ 523 h 619"/>
                <a:gd name="T62" fmla="*/ 352 w 907"/>
                <a:gd name="T63" fmla="*/ 556 h 619"/>
                <a:gd name="T64" fmla="*/ 296 w 907"/>
                <a:gd name="T65" fmla="*/ 548 h 619"/>
                <a:gd name="T66" fmla="*/ 273 w 907"/>
                <a:gd name="T67" fmla="*/ 571 h 619"/>
                <a:gd name="T68" fmla="*/ 319 w 907"/>
                <a:gd name="T69" fmla="*/ 592 h 619"/>
                <a:gd name="T70" fmla="*/ 273 w 907"/>
                <a:gd name="T71" fmla="*/ 615 h 619"/>
                <a:gd name="T72" fmla="*/ 240 w 907"/>
                <a:gd name="T73" fmla="*/ 602 h 619"/>
                <a:gd name="T74" fmla="*/ 223 w 907"/>
                <a:gd name="T75" fmla="*/ 581 h 619"/>
                <a:gd name="T76" fmla="*/ 208 w 907"/>
                <a:gd name="T77" fmla="*/ 558 h 619"/>
                <a:gd name="T78" fmla="*/ 209 w 907"/>
                <a:gd name="T79" fmla="*/ 529 h 619"/>
                <a:gd name="T80" fmla="*/ 179 w 907"/>
                <a:gd name="T81" fmla="*/ 502 h 619"/>
                <a:gd name="T82" fmla="*/ 144 w 907"/>
                <a:gd name="T83" fmla="*/ 496 h 619"/>
                <a:gd name="T84" fmla="*/ 140 w 907"/>
                <a:gd name="T85" fmla="*/ 483 h 619"/>
                <a:gd name="T86" fmla="*/ 119 w 907"/>
                <a:gd name="T87" fmla="*/ 462 h 619"/>
                <a:gd name="T88" fmla="*/ 185 w 907"/>
                <a:gd name="T89" fmla="*/ 485 h 619"/>
                <a:gd name="T90" fmla="*/ 338 w 907"/>
                <a:gd name="T91" fmla="*/ 444 h 619"/>
                <a:gd name="T92" fmla="*/ 323 w 907"/>
                <a:gd name="T93" fmla="*/ 367 h 619"/>
                <a:gd name="T94" fmla="*/ 286 w 907"/>
                <a:gd name="T95" fmla="*/ 352 h 619"/>
                <a:gd name="T96" fmla="*/ 233 w 907"/>
                <a:gd name="T97" fmla="*/ 341 h 619"/>
                <a:gd name="T98" fmla="*/ 158 w 907"/>
                <a:gd name="T99" fmla="*/ 329 h 619"/>
                <a:gd name="T100" fmla="*/ 100 w 907"/>
                <a:gd name="T101" fmla="*/ 329 h 619"/>
                <a:gd name="T102" fmla="*/ 104 w 907"/>
                <a:gd name="T103" fmla="*/ 319 h 619"/>
                <a:gd name="T104" fmla="*/ 77 w 907"/>
                <a:gd name="T105" fmla="*/ 319 h 619"/>
                <a:gd name="T106" fmla="*/ 52 w 907"/>
                <a:gd name="T107" fmla="*/ 335 h 619"/>
                <a:gd name="T108" fmla="*/ 31 w 907"/>
                <a:gd name="T109" fmla="*/ 335 h 619"/>
                <a:gd name="T110" fmla="*/ 31 w 907"/>
                <a:gd name="T111" fmla="*/ 350 h 619"/>
                <a:gd name="T112" fmla="*/ 15 w 907"/>
                <a:gd name="T113" fmla="*/ 360 h 619"/>
                <a:gd name="T114" fmla="*/ 10 w 907"/>
                <a:gd name="T115" fmla="*/ 375 h 619"/>
                <a:gd name="T116" fmla="*/ 54 w 907"/>
                <a:gd name="T117" fmla="*/ 448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7" h="619">
                  <a:moveTo>
                    <a:pt x="859" y="275"/>
                  </a:moveTo>
                  <a:lnTo>
                    <a:pt x="865" y="273"/>
                  </a:lnTo>
                  <a:lnTo>
                    <a:pt x="874" y="279"/>
                  </a:lnTo>
                  <a:lnTo>
                    <a:pt x="872" y="268"/>
                  </a:lnTo>
                  <a:lnTo>
                    <a:pt x="876" y="266"/>
                  </a:lnTo>
                  <a:lnTo>
                    <a:pt x="876" y="258"/>
                  </a:lnTo>
                  <a:lnTo>
                    <a:pt x="878" y="254"/>
                  </a:lnTo>
                  <a:lnTo>
                    <a:pt x="876" y="248"/>
                  </a:lnTo>
                  <a:lnTo>
                    <a:pt x="874" y="248"/>
                  </a:lnTo>
                  <a:lnTo>
                    <a:pt x="874" y="231"/>
                  </a:lnTo>
                  <a:lnTo>
                    <a:pt x="876" y="220"/>
                  </a:lnTo>
                  <a:lnTo>
                    <a:pt x="878" y="216"/>
                  </a:lnTo>
                  <a:lnTo>
                    <a:pt x="886" y="202"/>
                  </a:lnTo>
                  <a:lnTo>
                    <a:pt x="892" y="196"/>
                  </a:lnTo>
                  <a:lnTo>
                    <a:pt x="886" y="187"/>
                  </a:lnTo>
                  <a:lnTo>
                    <a:pt x="884" y="173"/>
                  </a:lnTo>
                  <a:lnTo>
                    <a:pt x="886" y="172"/>
                  </a:lnTo>
                  <a:lnTo>
                    <a:pt x="890" y="172"/>
                  </a:lnTo>
                  <a:lnTo>
                    <a:pt x="884" y="168"/>
                  </a:lnTo>
                  <a:lnTo>
                    <a:pt x="884" y="158"/>
                  </a:lnTo>
                  <a:lnTo>
                    <a:pt x="888" y="156"/>
                  </a:lnTo>
                  <a:lnTo>
                    <a:pt x="890" y="148"/>
                  </a:lnTo>
                  <a:lnTo>
                    <a:pt x="890" y="141"/>
                  </a:lnTo>
                  <a:lnTo>
                    <a:pt x="897" y="135"/>
                  </a:lnTo>
                  <a:lnTo>
                    <a:pt x="897" y="131"/>
                  </a:lnTo>
                  <a:lnTo>
                    <a:pt x="899" y="129"/>
                  </a:lnTo>
                  <a:lnTo>
                    <a:pt x="897" y="125"/>
                  </a:lnTo>
                  <a:lnTo>
                    <a:pt x="905" y="114"/>
                  </a:lnTo>
                  <a:lnTo>
                    <a:pt x="905" y="110"/>
                  </a:lnTo>
                  <a:lnTo>
                    <a:pt x="899" y="104"/>
                  </a:lnTo>
                  <a:lnTo>
                    <a:pt x="901" y="100"/>
                  </a:lnTo>
                  <a:lnTo>
                    <a:pt x="899" y="98"/>
                  </a:lnTo>
                  <a:lnTo>
                    <a:pt x="903" y="83"/>
                  </a:lnTo>
                  <a:lnTo>
                    <a:pt x="901" y="79"/>
                  </a:lnTo>
                  <a:lnTo>
                    <a:pt x="907" y="74"/>
                  </a:lnTo>
                  <a:lnTo>
                    <a:pt x="907" y="68"/>
                  </a:lnTo>
                  <a:lnTo>
                    <a:pt x="901" y="64"/>
                  </a:lnTo>
                  <a:lnTo>
                    <a:pt x="897" y="70"/>
                  </a:lnTo>
                  <a:lnTo>
                    <a:pt x="896" y="64"/>
                  </a:lnTo>
                  <a:lnTo>
                    <a:pt x="897" y="60"/>
                  </a:lnTo>
                  <a:lnTo>
                    <a:pt x="901" y="60"/>
                  </a:lnTo>
                  <a:lnTo>
                    <a:pt x="901" y="56"/>
                  </a:lnTo>
                  <a:lnTo>
                    <a:pt x="899" y="54"/>
                  </a:lnTo>
                  <a:lnTo>
                    <a:pt x="894" y="54"/>
                  </a:lnTo>
                  <a:lnTo>
                    <a:pt x="890" y="47"/>
                  </a:lnTo>
                  <a:lnTo>
                    <a:pt x="886" y="49"/>
                  </a:lnTo>
                  <a:lnTo>
                    <a:pt x="884" y="52"/>
                  </a:lnTo>
                  <a:lnTo>
                    <a:pt x="878" y="58"/>
                  </a:lnTo>
                  <a:lnTo>
                    <a:pt x="871" y="56"/>
                  </a:lnTo>
                  <a:lnTo>
                    <a:pt x="863" y="47"/>
                  </a:lnTo>
                  <a:lnTo>
                    <a:pt x="861" y="33"/>
                  </a:lnTo>
                  <a:lnTo>
                    <a:pt x="861" y="25"/>
                  </a:lnTo>
                  <a:lnTo>
                    <a:pt x="849" y="24"/>
                  </a:lnTo>
                  <a:lnTo>
                    <a:pt x="846" y="20"/>
                  </a:lnTo>
                  <a:lnTo>
                    <a:pt x="840" y="22"/>
                  </a:lnTo>
                  <a:lnTo>
                    <a:pt x="830" y="24"/>
                  </a:lnTo>
                  <a:lnTo>
                    <a:pt x="832" y="25"/>
                  </a:lnTo>
                  <a:lnTo>
                    <a:pt x="828" y="27"/>
                  </a:lnTo>
                  <a:lnTo>
                    <a:pt x="824" y="25"/>
                  </a:lnTo>
                  <a:lnTo>
                    <a:pt x="821" y="22"/>
                  </a:lnTo>
                  <a:lnTo>
                    <a:pt x="823" y="10"/>
                  </a:lnTo>
                  <a:lnTo>
                    <a:pt x="821" y="10"/>
                  </a:lnTo>
                  <a:lnTo>
                    <a:pt x="819" y="4"/>
                  </a:lnTo>
                  <a:lnTo>
                    <a:pt x="823" y="2"/>
                  </a:lnTo>
                  <a:lnTo>
                    <a:pt x="821" y="0"/>
                  </a:lnTo>
                  <a:lnTo>
                    <a:pt x="798" y="2"/>
                  </a:lnTo>
                  <a:lnTo>
                    <a:pt x="796" y="2"/>
                  </a:lnTo>
                  <a:lnTo>
                    <a:pt x="774" y="8"/>
                  </a:lnTo>
                  <a:lnTo>
                    <a:pt x="763" y="14"/>
                  </a:lnTo>
                  <a:lnTo>
                    <a:pt x="736" y="27"/>
                  </a:lnTo>
                  <a:lnTo>
                    <a:pt x="732" y="29"/>
                  </a:lnTo>
                  <a:lnTo>
                    <a:pt x="725" y="29"/>
                  </a:lnTo>
                  <a:lnTo>
                    <a:pt x="723" y="31"/>
                  </a:lnTo>
                  <a:lnTo>
                    <a:pt x="719" y="35"/>
                  </a:lnTo>
                  <a:lnTo>
                    <a:pt x="721" y="41"/>
                  </a:lnTo>
                  <a:lnTo>
                    <a:pt x="721" y="45"/>
                  </a:lnTo>
                  <a:lnTo>
                    <a:pt x="719" y="47"/>
                  </a:lnTo>
                  <a:lnTo>
                    <a:pt x="713" y="50"/>
                  </a:lnTo>
                  <a:lnTo>
                    <a:pt x="713" y="56"/>
                  </a:lnTo>
                  <a:lnTo>
                    <a:pt x="719" y="58"/>
                  </a:lnTo>
                  <a:lnTo>
                    <a:pt x="721" y="60"/>
                  </a:lnTo>
                  <a:lnTo>
                    <a:pt x="723" y="60"/>
                  </a:lnTo>
                  <a:lnTo>
                    <a:pt x="730" y="64"/>
                  </a:lnTo>
                  <a:lnTo>
                    <a:pt x="732" y="64"/>
                  </a:lnTo>
                  <a:lnTo>
                    <a:pt x="734" y="70"/>
                  </a:lnTo>
                  <a:lnTo>
                    <a:pt x="736" y="72"/>
                  </a:lnTo>
                  <a:lnTo>
                    <a:pt x="738" y="72"/>
                  </a:lnTo>
                  <a:lnTo>
                    <a:pt x="740" y="70"/>
                  </a:lnTo>
                  <a:lnTo>
                    <a:pt x="738" y="68"/>
                  </a:lnTo>
                  <a:lnTo>
                    <a:pt x="740" y="68"/>
                  </a:lnTo>
                  <a:lnTo>
                    <a:pt x="742" y="68"/>
                  </a:lnTo>
                  <a:lnTo>
                    <a:pt x="744" y="68"/>
                  </a:lnTo>
                  <a:lnTo>
                    <a:pt x="749" y="74"/>
                  </a:lnTo>
                  <a:lnTo>
                    <a:pt x="749" y="77"/>
                  </a:lnTo>
                  <a:lnTo>
                    <a:pt x="749" y="79"/>
                  </a:lnTo>
                  <a:lnTo>
                    <a:pt x="748" y="81"/>
                  </a:lnTo>
                  <a:lnTo>
                    <a:pt x="748" y="89"/>
                  </a:lnTo>
                  <a:lnTo>
                    <a:pt x="748" y="93"/>
                  </a:lnTo>
                  <a:lnTo>
                    <a:pt x="746" y="93"/>
                  </a:lnTo>
                  <a:lnTo>
                    <a:pt x="740" y="100"/>
                  </a:lnTo>
                  <a:lnTo>
                    <a:pt x="736" y="100"/>
                  </a:lnTo>
                  <a:lnTo>
                    <a:pt x="734" y="104"/>
                  </a:lnTo>
                  <a:lnTo>
                    <a:pt x="734" y="106"/>
                  </a:lnTo>
                  <a:lnTo>
                    <a:pt x="744" y="112"/>
                  </a:lnTo>
                  <a:lnTo>
                    <a:pt x="744" y="118"/>
                  </a:lnTo>
                  <a:lnTo>
                    <a:pt x="744" y="120"/>
                  </a:lnTo>
                  <a:lnTo>
                    <a:pt x="742" y="122"/>
                  </a:lnTo>
                  <a:lnTo>
                    <a:pt x="730" y="125"/>
                  </a:lnTo>
                  <a:lnTo>
                    <a:pt x="728" y="127"/>
                  </a:lnTo>
                  <a:lnTo>
                    <a:pt x="726" y="125"/>
                  </a:lnTo>
                  <a:lnTo>
                    <a:pt x="725" y="123"/>
                  </a:lnTo>
                  <a:lnTo>
                    <a:pt x="723" y="120"/>
                  </a:lnTo>
                  <a:lnTo>
                    <a:pt x="721" y="116"/>
                  </a:lnTo>
                  <a:lnTo>
                    <a:pt x="721" y="112"/>
                  </a:lnTo>
                  <a:lnTo>
                    <a:pt x="725" y="108"/>
                  </a:lnTo>
                  <a:lnTo>
                    <a:pt x="725" y="106"/>
                  </a:lnTo>
                  <a:lnTo>
                    <a:pt x="723" y="106"/>
                  </a:lnTo>
                  <a:lnTo>
                    <a:pt x="719" y="104"/>
                  </a:lnTo>
                  <a:lnTo>
                    <a:pt x="711" y="102"/>
                  </a:lnTo>
                  <a:lnTo>
                    <a:pt x="707" y="104"/>
                  </a:lnTo>
                  <a:lnTo>
                    <a:pt x="713" y="97"/>
                  </a:lnTo>
                  <a:lnTo>
                    <a:pt x="711" y="97"/>
                  </a:lnTo>
                  <a:lnTo>
                    <a:pt x="703" y="102"/>
                  </a:lnTo>
                  <a:lnTo>
                    <a:pt x="701" y="106"/>
                  </a:lnTo>
                  <a:lnTo>
                    <a:pt x="696" y="114"/>
                  </a:lnTo>
                  <a:lnTo>
                    <a:pt x="694" y="114"/>
                  </a:lnTo>
                  <a:lnTo>
                    <a:pt x="696" y="114"/>
                  </a:lnTo>
                  <a:lnTo>
                    <a:pt x="698" y="120"/>
                  </a:lnTo>
                  <a:lnTo>
                    <a:pt x="701" y="118"/>
                  </a:lnTo>
                  <a:lnTo>
                    <a:pt x="703" y="120"/>
                  </a:lnTo>
                  <a:lnTo>
                    <a:pt x="701" y="120"/>
                  </a:lnTo>
                  <a:lnTo>
                    <a:pt x="701" y="122"/>
                  </a:lnTo>
                  <a:lnTo>
                    <a:pt x="701" y="120"/>
                  </a:lnTo>
                  <a:lnTo>
                    <a:pt x="700" y="120"/>
                  </a:lnTo>
                  <a:lnTo>
                    <a:pt x="698" y="120"/>
                  </a:lnTo>
                  <a:lnTo>
                    <a:pt x="696" y="118"/>
                  </a:lnTo>
                  <a:lnTo>
                    <a:pt x="696" y="116"/>
                  </a:lnTo>
                  <a:lnTo>
                    <a:pt x="694" y="114"/>
                  </a:lnTo>
                  <a:lnTo>
                    <a:pt x="690" y="120"/>
                  </a:lnTo>
                  <a:lnTo>
                    <a:pt x="690" y="122"/>
                  </a:lnTo>
                  <a:lnTo>
                    <a:pt x="692" y="123"/>
                  </a:lnTo>
                  <a:lnTo>
                    <a:pt x="692" y="125"/>
                  </a:lnTo>
                  <a:lnTo>
                    <a:pt x="686" y="129"/>
                  </a:lnTo>
                  <a:lnTo>
                    <a:pt x="684" y="131"/>
                  </a:lnTo>
                  <a:lnTo>
                    <a:pt x="684" y="141"/>
                  </a:lnTo>
                  <a:lnTo>
                    <a:pt x="682" y="145"/>
                  </a:lnTo>
                  <a:lnTo>
                    <a:pt x="680" y="147"/>
                  </a:lnTo>
                  <a:lnTo>
                    <a:pt x="678" y="147"/>
                  </a:lnTo>
                  <a:lnTo>
                    <a:pt x="676" y="148"/>
                  </a:lnTo>
                  <a:lnTo>
                    <a:pt x="675" y="148"/>
                  </a:lnTo>
                  <a:lnTo>
                    <a:pt x="669" y="148"/>
                  </a:lnTo>
                  <a:lnTo>
                    <a:pt x="667" y="148"/>
                  </a:lnTo>
                  <a:lnTo>
                    <a:pt x="665" y="152"/>
                  </a:lnTo>
                  <a:lnTo>
                    <a:pt x="665" y="150"/>
                  </a:lnTo>
                  <a:lnTo>
                    <a:pt x="663" y="150"/>
                  </a:lnTo>
                  <a:lnTo>
                    <a:pt x="651" y="156"/>
                  </a:lnTo>
                  <a:lnTo>
                    <a:pt x="648" y="162"/>
                  </a:lnTo>
                  <a:lnTo>
                    <a:pt x="648" y="164"/>
                  </a:lnTo>
                  <a:lnTo>
                    <a:pt x="640" y="170"/>
                  </a:lnTo>
                  <a:lnTo>
                    <a:pt x="640" y="172"/>
                  </a:lnTo>
                  <a:lnTo>
                    <a:pt x="636" y="181"/>
                  </a:lnTo>
                  <a:lnTo>
                    <a:pt x="636" y="187"/>
                  </a:lnTo>
                  <a:lnTo>
                    <a:pt x="640" y="189"/>
                  </a:lnTo>
                  <a:lnTo>
                    <a:pt x="640" y="191"/>
                  </a:lnTo>
                  <a:lnTo>
                    <a:pt x="640" y="195"/>
                  </a:lnTo>
                  <a:lnTo>
                    <a:pt x="638" y="195"/>
                  </a:lnTo>
                  <a:lnTo>
                    <a:pt x="636" y="196"/>
                  </a:lnTo>
                  <a:lnTo>
                    <a:pt x="630" y="191"/>
                  </a:lnTo>
                  <a:lnTo>
                    <a:pt x="628" y="191"/>
                  </a:lnTo>
                  <a:lnTo>
                    <a:pt x="626" y="200"/>
                  </a:lnTo>
                  <a:lnTo>
                    <a:pt x="623" y="195"/>
                  </a:lnTo>
                  <a:lnTo>
                    <a:pt x="619" y="202"/>
                  </a:lnTo>
                  <a:lnTo>
                    <a:pt x="602" y="210"/>
                  </a:lnTo>
                  <a:lnTo>
                    <a:pt x="603" y="202"/>
                  </a:lnTo>
                  <a:lnTo>
                    <a:pt x="609" y="200"/>
                  </a:lnTo>
                  <a:lnTo>
                    <a:pt x="605" y="196"/>
                  </a:lnTo>
                  <a:lnTo>
                    <a:pt x="613" y="198"/>
                  </a:lnTo>
                  <a:lnTo>
                    <a:pt x="615" y="193"/>
                  </a:lnTo>
                  <a:lnTo>
                    <a:pt x="602" y="183"/>
                  </a:lnTo>
                  <a:lnTo>
                    <a:pt x="603" y="179"/>
                  </a:lnTo>
                  <a:lnTo>
                    <a:pt x="602" y="175"/>
                  </a:lnTo>
                  <a:lnTo>
                    <a:pt x="603" y="170"/>
                  </a:lnTo>
                  <a:lnTo>
                    <a:pt x="596" y="172"/>
                  </a:lnTo>
                  <a:lnTo>
                    <a:pt x="596" y="173"/>
                  </a:lnTo>
                  <a:lnTo>
                    <a:pt x="592" y="172"/>
                  </a:lnTo>
                  <a:lnTo>
                    <a:pt x="607" y="160"/>
                  </a:lnTo>
                  <a:lnTo>
                    <a:pt x="611" y="156"/>
                  </a:lnTo>
                  <a:lnTo>
                    <a:pt x="596" y="166"/>
                  </a:lnTo>
                  <a:lnTo>
                    <a:pt x="586" y="175"/>
                  </a:lnTo>
                  <a:lnTo>
                    <a:pt x="571" y="202"/>
                  </a:lnTo>
                  <a:lnTo>
                    <a:pt x="575" y="202"/>
                  </a:lnTo>
                  <a:lnTo>
                    <a:pt x="575" y="198"/>
                  </a:lnTo>
                  <a:lnTo>
                    <a:pt x="578" y="196"/>
                  </a:lnTo>
                  <a:lnTo>
                    <a:pt x="577" y="202"/>
                  </a:lnTo>
                  <a:lnTo>
                    <a:pt x="586" y="206"/>
                  </a:lnTo>
                  <a:lnTo>
                    <a:pt x="582" y="216"/>
                  </a:lnTo>
                  <a:lnTo>
                    <a:pt x="578" y="218"/>
                  </a:lnTo>
                  <a:lnTo>
                    <a:pt x="575" y="216"/>
                  </a:lnTo>
                  <a:lnTo>
                    <a:pt x="577" y="208"/>
                  </a:lnTo>
                  <a:lnTo>
                    <a:pt x="571" y="210"/>
                  </a:lnTo>
                  <a:lnTo>
                    <a:pt x="569" y="212"/>
                  </a:lnTo>
                  <a:lnTo>
                    <a:pt x="571" y="204"/>
                  </a:lnTo>
                  <a:lnTo>
                    <a:pt x="563" y="214"/>
                  </a:lnTo>
                  <a:lnTo>
                    <a:pt x="559" y="218"/>
                  </a:lnTo>
                  <a:lnTo>
                    <a:pt x="559" y="220"/>
                  </a:lnTo>
                  <a:lnTo>
                    <a:pt x="552" y="229"/>
                  </a:lnTo>
                  <a:lnTo>
                    <a:pt x="546" y="233"/>
                  </a:lnTo>
                  <a:lnTo>
                    <a:pt x="544" y="233"/>
                  </a:lnTo>
                  <a:lnTo>
                    <a:pt x="532" y="258"/>
                  </a:lnTo>
                  <a:lnTo>
                    <a:pt x="530" y="262"/>
                  </a:lnTo>
                  <a:lnTo>
                    <a:pt x="532" y="256"/>
                  </a:lnTo>
                  <a:lnTo>
                    <a:pt x="519" y="275"/>
                  </a:lnTo>
                  <a:lnTo>
                    <a:pt x="513" y="281"/>
                  </a:lnTo>
                  <a:lnTo>
                    <a:pt x="504" y="279"/>
                  </a:lnTo>
                  <a:lnTo>
                    <a:pt x="511" y="283"/>
                  </a:lnTo>
                  <a:lnTo>
                    <a:pt x="513" y="289"/>
                  </a:lnTo>
                  <a:lnTo>
                    <a:pt x="515" y="287"/>
                  </a:lnTo>
                  <a:lnTo>
                    <a:pt x="523" y="291"/>
                  </a:lnTo>
                  <a:lnTo>
                    <a:pt x="511" y="291"/>
                  </a:lnTo>
                  <a:lnTo>
                    <a:pt x="509" y="294"/>
                  </a:lnTo>
                  <a:lnTo>
                    <a:pt x="502" y="296"/>
                  </a:lnTo>
                  <a:lnTo>
                    <a:pt x="500" y="302"/>
                  </a:lnTo>
                  <a:lnTo>
                    <a:pt x="498" y="300"/>
                  </a:lnTo>
                  <a:lnTo>
                    <a:pt x="494" y="306"/>
                  </a:lnTo>
                  <a:lnTo>
                    <a:pt x="500" y="312"/>
                  </a:lnTo>
                  <a:lnTo>
                    <a:pt x="500" y="319"/>
                  </a:lnTo>
                  <a:lnTo>
                    <a:pt x="502" y="325"/>
                  </a:lnTo>
                  <a:lnTo>
                    <a:pt x="500" y="329"/>
                  </a:lnTo>
                  <a:lnTo>
                    <a:pt x="505" y="337"/>
                  </a:lnTo>
                  <a:lnTo>
                    <a:pt x="505" y="348"/>
                  </a:lnTo>
                  <a:lnTo>
                    <a:pt x="505" y="346"/>
                  </a:lnTo>
                  <a:lnTo>
                    <a:pt x="500" y="346"/>
                  </a:lnTo>
                  <a:lnTo>
                    <a:pt x="482" y="360"/>
                  </a:lnTo>
                  <a:lnTo>
                    <a:pt x="480" y="367"/>
                  </a:lnTo>
                  <a:lnTo>
                    <a:pt x="482" y="358"/>
                  </a:lnTo>
                  <a:lnTo>
                    <a:pt x="469" y="366"/>
                  </a:lnTo>
                  <a:lnTo>
                    <a:pt x="461" y="364"/>
                  </a:lnTo>
                  <a:lnTo>
                    <a:pt x="452" y="352"/>
                  </a:lnTo>
                  <a:lnTo>
                    <a:pt x="430" y="350"/>
                  </a:lnTo>
                  <a:lnTo>
                    <a:pt x="429" y="343"/>
                  </a:lnTo>
                  <a:lnTo>
                    <a:pt x="430" y="335"/>
                  </a:lnTo>
                  <a:lnTo>
                    <a:pt x="434" y="331"/>
                  </a:lnTo>
                  <a:lnTo>
                    <a:pt x="430" y="325"/>
                  </a:lnTo>
                  <a:lnTo>
                    <a:pt x="432" y="323"/>
                  </a:lnTo>
                  <a:lnTo>
                    <a:pt x="454" y="308"/>
                  </a:lnTo>
                  <a:lnTo>
                    <a:pt x="463" y="306"/>
                  </a:lnTo>
                  <a:lnTo>
                    <a:pt x="459" y="300"/>
                  </a:lnTo>
                  <a:lnTo>
                    <a:pt x="455" y="298"/>
                  </a:lnTo>
                  <a:lnTo>
                    <a:pt x="452" y="293"/>
                  </a:lnTo>
                  <a:lnTo>
                    <a:pt x="450" y="293"/>
                  </a:lnTo>
                  <a:lnTo>
                    <a:pt x="450" y="291"/>
                  </a:lnTo>
                  <a:lnTo>
                    <a:pt x="434" y="285"/>
                  </a:lnTo>
                  <a:lnTo>
                    <a:pt x="430" y="279"/>
                  </a:lnTo>
                  <a:lnTo>
                    <a:pt x="411" y="279"/>
                  </a:lnTo>
                  <a:lnTo>
                    <a:pt x="384" y="293"/>
                  </a:lnTo>
                  <a:lnTo>
                    <a:pt x="373" y="291"/>
                  </a:lnTo>
                  <a:lnTo>
                    <a:pt x="365" y="293"/>
                  </a:lnTo>
                  <a:lnTo>
                    <a:pt x="361" y="294"/>
                  </a:lnTo>
                  <a:lnTo>
                    <a:pt x="363" y="294"/>
                  </a:lnTo>
                  <a:lnTo>
                    <a:pt x="392" y="304"/>
                  </a:lnTo>
                  <a:lnTo>
                    <a:pt x="396" y="319"/>
                  </a:lnTo>
                  <a:lnTo>
                    <a:pt x="400" y="316"/>
                  </a:lnTo>
                  <a:lnTo>
                    <a:pt x="398" y="321"/>
                  </a:lnTo>
                  <a:lnTo>
                    <a:pt x="400" y="321"/>
                  </a:lnTo>
                  <a:lnTo>
                    <a:pt x="398" y="325"/>
                  </a:lnTo>
                  <a:lnTo>
                    <a:pt x="402" y="325"/>
                  </a:lnTo>
                  <a:lnTo>
                    <a:pt x="398" y="329"/>
                  </a:lnTo>
                  <a:lnTo>
                    <a:pt x="402" y="339"/>
                  </a:lnTo>
                  <a:lnTo>
                    <a:pt x="404" y="339"/>
                  </a:lnTo>
                  <a:lnTo>
                    <a:pt x="402" y="341"/>
                  </a:lnTo>
                  <a:lnTo>
                    <a:pt x="404" y="364"/>
                  </a:lnTo>
                  <a:lnTo>
                    <a:pt x="407" y="369"/>
                  </a:lnTo>
                  <a:lnTo>
                    <a:pt x="413" y="367"/>
                  </a:lnTo>
                  <a:lnTo>
                    <a:pt x="421" y="369"/>
                  </a:lnTo>
                  <a:lnTo>
                    <a:pt x="423" y="367"/>
                  </a:lnTo>
                  <a:lnTo>
                    <a:pt x="421" y="371"/>
                  </a:lnTo>
                  <a:lnTo>
                    <a:pt x="430" y="377"/>
                  </a:lnTo>
                  <a:lnTo>
                    <a:pt x="430" y="381"/>
                  </a:lnTo>
                  <a:lnTo>
                    <a:pt x="429" y="385"/>
                  </a:lnTo>
                  <a:lnTo>
                    <a:pt x="436" y="391"/>
                  </a:lnTo>
                  <a:lnTo>
                    <a:pt x="434" y="394"/>
                  </a:lnTo>
                  <a:lnTo>
                    <a:pt x="436" y="400"/>
                  </a:lnTo>
                  <a:lnTo>
                    <a:pt x="434" y="408"/>
                  </a:lnTo>
                  <a:lnTo>
                    <a:pt x="434" y="419"/>
                  </a:lnTo>
                  <a:lnTo>
                    <a:pt x="446" y="439"/>
                  </a:lnTo>
                  <a:lnTo>
                    <a:pt x="438" y="431"/>
                  </a:lnTo>
                  <a:lnTo>
                    <a:pt x="436" y="427"/>
                  </a:lnTo>
                  <a:lnTo>
                    <a:pt x="430" y="423"/>
                  </a:lnTo>
                  <a:lnTo>
                    <a:pt x="427" y="425"/>
                  </a:lnTo>
                  <a:lnTo>
                    <a:pt x="421" y="433"/>
                  </a:lnTo>
                  <a:lnTo>
                    <a:pt x="425" y="435"/>
                  </a:lnTo>
                  <a:lnTo>
                    <a:pt x="427" y="439"/>
                  </a:lnTo>
                  <a:lnTo>
                    <a:pt x="423" y="435"/>
                  </a:lnTo>
                  <a:lnTo>
                    <a:pt x="421" y="437"/>
                  </a:lnTo>
                  <a:lnTo>
                    <a:pt x="417" y="435"/>
                  </a:lnTo>
                  <a:lnTo>
                    <a:pt x="425" y="421"/>
                  </a:lnTo>
                  <a:lnTo>
                    <a:pt x="419" y="419"/>
                  </a:lnTo>
                  <a:lnTo>
                    <a:pt x="415" y="419"/>
                  </a:lnTo>
                  <a:lnTo>
                    <a:pt x="409" y="416"/>
                  </a:lnTo>
                  <a:lnTo>
                    <a:pt x="392" y="425"/>
                  </a:lnTo>
                  <a:lnTo>
                    <a:pt x="394" y="421"/>
                  </a:lnTo>
                  <a:lnTo>
                    <a:pt x="381" y="421"/>
                  </a:lnTo>
                  <a:lnTo>
                    <a:pt x="375" y="446"/>
                  </a:lnTo>
                  <a:lnTo>
                    <a:pt x="369" y="454"/>
                  </a:lnTo>
                  <a:lnTo>
                    <a:pt x="354" y="465"/>
                  </a:lnTo>
                  <a:lnTo>
                    <a:pt x="350" y="479"/>
                  </a:lnTo>
                  <a:lnTo>
                    <a:pt x="340" y="494"/>
                  </a:lnTo>
                  <a:lnTo>
                    <a:pt x="338" y="500"/>
                  </a:lnTo>
                  <a:lnTo>
                    <a:pt x="342" y="510"/>
                  </a:lnTo>
                  <a:lnTo>
                    <a:pt x="357" y="523"/>
                  </a:lnTo>
                  <a:lnTo>
                    <a:pt x="363" y="523"/>
                  </a:lnTo>
                  <a:lnTo>
                    <a:pt x="373" y="535"/>
                  </a:lnTo>
                  <a:lnTo>
                    <a:pt x="371" y="539"/>
                  </a:lnTo>
                  <a:lnTo>
                    <a:pt x="379" y="548"/>
                  </a:lnTo>
                  <a:lnTo>
                    <a:pt x="369" y="550"/>
                  </a:lnTo>
                  <a:lnTo>
                    <a:pt x="357" y="548"/>
                  </a:lnTo>
                  <a:lnTo>
                    <a:pt x="357" y="552"/>
                  </a:lnTo>
                  <a:lnTo>
                    <a:pt x="361" y="550"/>
                  </a:lnTo>
                  <a:lnTo>
                    <a:pt x="357" y="554"/>
                  </a:lnTo>
                  <a:lnTo>
                    <a:pt x="352" y="556"/>
                  </a:lnTo>
                  <a:lnTo>
                    <a:pt x="332" y="552"/>
                  </a:lnTo>
                  <a:lnTo>
                    <a:pt x="319" y="552"/>
                  </a:lnTo>
                  <a:lnTo>
                    <a:pt x="319" y="556"/>
                  </a:lnTo>
                  <a:lnTo>
                    <a:pt x="315" y="556"/>
                  </a:lnTo>
                  <a:lnTo>
                    <a:pt x="311" y="562"/>
                  </a:lnTo>
                  <a:lnTo>
                    <a:pt x="308" y="558"/>
                  </a:lnTo>
                  <a:lnTo>
                    <a:pt x="315" y="554"/>
                  </a:lnTo>
                  <a:lnTo>
                    <a:pt x="315" y="550"/>
                  </a:lnTo>
                  <a:lnTo>
                    <a:pt x="306" y="552"/>
                  </a:lnTo>
                  <a:lnTo>
                    <a:pt x="296" y="548"/>
                  </a:lnTo>
                  <a:lnTo>
                    <a:pt x="294" y="544"/>
                  </a:lnTo>
                  <a:lnTo>
                    <a:pt x="273" y="540"/>
                  </a:lnTo>
                  <a:lnTo>
                    <a:pt x="269" y="544"/>
                  </a:lnTo>
                  <a:lnTo>
                    <a:pt x="271" y="556"/>
                  </a:lnTo>
                  <a:lnTo>
                    <a:pt x="267" y="560"/>
                  </a:lnTo>
                  <a:lnTo>
                    <a:pt x="261" y="562"/>
                  </a:lnTo>
                  <a:lnTo>
                    <a:pt x="267" y="565"/>
                  </a:lnTo>
                  <a:lnTo>
                    <a:pt x="265" y="567"/>
                  </a:lnTo>
                  <a:lnTo>
                    <a:pt x="269" y="571"/>
                  </a:lnTo>
                  <a:lnTo>
                    <a:pt x="273" y="571"/>
                  </a:lnTo>
                  <a:lnTo>
                    <a:pt x="290" y="587"/>
                  </a:lnTo>
                  <a:lnTo>
                    <a:pt x="296" y="588"/>
                  </a:lnTo>
                  <a:lnTo>
                    <a:pt x="300" y="585"/>
                  </a:lnTo>
                  <a:lnTo>
                    <a:pt x="304" y="585"/>
                  </a:lnTo>
                  <a:lnTo>
                    <a:pt x="306" y="579"/>
                  </a:lnTo>
                  <a:lnTo>
                    <a:pt x="308" y="579"/>
                  </a:lnTo>
                  <a:lnTo>
                    <a:pt x="309" y="581"/>
                  </a:lnTo>
                  <a:lnTo>
                    <a:pt x="315" y="585"/>
                  </a:lnTo>
                  <a:lnTo>
                    <a:pt x="315" y="590"/>
                  </a:lnTo>
                  <a:lnTo>
                    <a:pt x="319" y="592"/>
                  </a:lnTo>
                  <a:lnTo>
                    <a:pt x="323" y="600"/>
                  </a:lnTo>
                  <a:lnTo>
                    <a:pt x="321" y="606"/>
                  </a:lnTo>
                  <a:lnTo>
                    <a:pt x="317" y="610"/>
                  </a:lnTo>
                  <a:lnTo>
                    <a:pt x="313" y="610"/>
                  </a:lnTo>
                  <a:lnTo>
                    <a:pt x="311" y="617"/>
                  </a:lnTo>
                  <a:lnTo>
                    <a:pt x="306" y="619"/>
                  </a:lnTo>
                  <a:lnTo>
                    <a:pt x="300" y="615"/>
                  </a:lnTo>
                  <a:lnTo>
                    <a:pt x="286" y="617"/>
                  </a:lnTo>
                  <a:lnTo>
                    <a:pt x="281" y="617"/>
                  </a:lnTo>
                  <a:lnTo>
                    <a:pt x="273" y="615"/>
                  </a:lnTo>
                  <a:lnTo>
                    <a:pt x="273" y="613"/>
                  </a:lnTo>
                  <a:lnTo>
                    <a:pt x="271" y="612"/>
                  </a:lnTo>
                  <a:lnTo>
                    <a:pt x="271" y="608"/>
                  </a:lnTo>
                  <a:lnTo>
                    <a:pt x="263" y="604"/>
                  </a:lnTo>
                  <a:lnTo>
                    <a:pt x="263" y="608"/>
                  </a:lnTo>
                  <a:lnTo>
                    <a:pt x="258" y="602"/>
                  </a:lnTo>
                  <a:lnTo>
                    <a:pt x="248" y="598"/>
                  </a:lnTo>
                  <a:lnTo>
                    <a:pt x="250" y="602"/>
                  </a:lnTo>
                  <a:lnTo>
                    <a:pt x="242" y="606"/>
                  </a:lnTo>
                  <a:lnTo>
                    <a:pt x="240" y="602"/>
                  </a:lnTo>
                  <a:lnTo>
                    <a:pt x="236" y="604"/>
                  </a:lnTo>
                  <a:lnTo>
                    <a:pt x="234" y="602"/>
                  </a:lnTo>
                  <a:lnTo>
                    <a:pt x="231" y="602"/>
                  </a:lnTo>
                  <a:lnTo>
                    <a:pt x="229" y="598"/>
                  </a:lnTo>
                  <a:lnTo>
                    <a:pt x="223" y="596"/>
                  </a:lnTo>
                  <a:lnTo>
                    <a:pt x="227" y="590"/>
                  </a:lnTo>
                  <a:lnTo>
                    <a:pt x="221" y="587"/>
                  </a:lnTo>
                  <a:lnTo>
                    <a:pt x="227" y="583"/>
                  </a:lnTo>
                  <a:lnTo>
                    <a:pt x="219" y="585"/>
                  </a:lnTo>
                  <a:lnTo>
                    <a:pt x="223" y="581"/>
                  </a:lnTo>
                  <a:lnTo>
                    <a:pt x="223" y="579"/>
                  </a:lnTo>
                  <a:lnTo>
                    <a:pt x="221" y="575"/>
                  </a:lnTo>
                  <a:lnTo>
                    <a:pt x="215" y="573"/>
                  </a:lnTo>
                  <a:lnTo>
                    <a:pt x="217" y="569"/>
                  </a:lnTo>
                  <a:lnTo>
                    <a:pt x="215" y="567"/>
                  </a:lnTo>
                  <a:lnTo>
                    <a:pt x="215" y="563"/>
                  </a:lnTo>
                  <a:lnTo>
                    <a:pt x="211" y="565"/>
                  </a:lnTo>
                  <a:lnTo>
                    <a:pt x="209" y="562"/>
                  </a:lnTo>
                  <a:lnTo>
                    <a:pt x="211" y="560"/>
                  </a:lnTo>
                  <a:lnTo>
                    <a:pt x="208" y="558"/>
                  </a:lnTo>
                  <a:lnTo>
                    <a:pt x="204" y="556"/>
                  </a:lnTo>
                  <a:lnTo>
                    <a:pt x="202" y="552"/>
                  </a:lnTo>
                  <a:lnTo>
                    <a:pt x="198" y="552"/>
                  </a:lnTo>
                  <a:lnTo>
                    <a:pt x="202" y="548"/>
                  </a:lnTo>
                  <a:lnTo>
                    <a:pt x="202" y="546"/>
                  </a:lnTo>
                  <a:lnTo>
                    <a:pt x="206" y="544"/>
                  </a:lnTo>
                  <a:lnTo>
                    <a:pt x="204" y="542"/>
                  </a:lnTo>
                  <a:lnTo>
                    <a:pt x="208" y="537"/>
                  </a:lnTo>
                  <a:lnTo>
                    <a:pt x="202" y="525"/>
                  </a:lnTo>
                  <a:lnTo>
                    <a:pt x="209" y="529"/>
                  </a:lnTo>
                  <a:lnTo>
                    <a:pt x="209" y="527"/>
                  </a:lnTo>
                  <a:lnTo>
                    <a:pt x="206" y="525"/>
                  </a:lnTo>
                  <a:lnTo>
                    <a:pt x="206" y="521"/>
                  </a:lnTo>
                  <a:lnTo>
                    <a:pt x="204" y="523"/>
                  </a:lnTo>
                  <a:lnTo>
                    <a:pt x="204" y="517"/>
                  </a:lnTo>
                  <a:lnTo>
                    <a:pt x="200" y="519"/>
                  </a:lnTo>
                  <a:lnTo>
                    <a:pt x="198" y="514"/>
                  </a:lnTo>
                  <a:lnTo>
                    <a:pt x="192" y="510"/>
                  </a:lnTo>
                  <a:lnTo>
                    <a:pt x="181" y="506"/>
                  </a:lnTo>
                  <a:lnTo>
                    <a:pt x="179" y="502"/>
                  </a:lnTo>
                  <a:lnTo>
                    <a:pt x="173" y="506"/>
                  </a:lnTo>
                  <a:lnTo>
                    <a:pt x="163" y="498"/>
                  </a:lnTo>
                  <a:lnTo>
                    <a:pt x="161" y="498"/>
                  </a:lnTo>
                  <a:lnTo>
                    <a:pt x="167" y="496"/>
                  </a:lnTo>
                  <a:lnTo>
                    <a:pt x="161" y="494"/>
                  </a:lnTo>
                  <a:lnTo>
                    <a:pt x="161" y="492"/>
                  </a:lnTo>
                  <a:lnTo>
                    <a:pt x="158" y="494"/>
                  </a:lnTo>
                  <a:lnTo>
                    <a:pt x="152" y="492"/>
                  </a:lnTo>
                  <a:lnTo>
                    <a:pt x="150" y="494"/>
                  </a:lnTo>
                  <a:lnTo>
                    <a:pt x="144" y="496"/>
                  </a:lnTo>
                  <a:lnTo>
                    <a:pt x="150" y="492"/>
                  </a:lnTo>
                  <a:lnTo>
                    <a:pt x="146" y="492"/>
                  </a:lnTo>
                  <a:lnTo>
                    <a:pt x="142" y="492"/>
                  </a:lnTo>
                  <a:lnTo>
                    <a:pt x="146" y="490"/>
                  </a:lnTo>
                  <a:lnTo>
                    <a:pt x="148" y="487"/>
                  </a:lnTo>
                  <a:lnTo>
                    <a:pt x="152" y="487"/>
                  </a:lnTo>
                  <a:lnTo>
                    <a:pt x="152" y="485"/>
                  </a:lnTo>
                  <a:lnTo>
                    <a:pt x="138" y="485"/>
                  </a:lnTo>
                  <a:lnTo>
                    <a:pt x="136" y="485"/>
                  </a:lnTo>
                  <a:lnTo>
                    <a:pt x="140" y="483"/>
                  </a:lnTo>
                  <a:lnTo>
                    <a:pt x="140" y="481"/>
                  </a:lnTo>
                  <a:lnTo>
                    <a:pt x="125" y="479"/>
                  </a:lnTo>
                  <a:lnTo>
                    <a:pt x="127" y="475"/>
                  </a:lnTo>
                  <a:lnTo>
                    <a:pt x="127" y="473"/>
                  </a:lnTo>
                  <a:lnTo>
                    <a:pt x="129" y="471"/>
                  </a:lnTo>
                  <a:lnTo>
                    <a:pt x="125" y="469"/>
                  </a:lnTo>
                  <a:lnTo>
                    <a:pt x="110" y="467"/>
                  </a:lnTo>
                  <a:lnTo>
                    <a:pt x="108" y="465"/>
                  </a:lnTo>
                  <a:lnTo>
                    <a:pt x="113" y="465"/>
                  </a:lnTo>
                  <a:lnTo>
                    <a:pt x="119" y="462"/>
                  </a:lnTo>
                  <a:lnTo>
                    <a:pt x="133" y="464"/>
                  </a:lnTo>
                  <a:lnTo>
                    <a:pt x="135" y="469"/>
                  </a:lnTo>
                  <a:lnTo>
                    <a:pt x="156" y="481"/>
                  </a:lnTo>
                  <a:lnTo>
                    <a:pt x="156" y="473"/>
                  </a:lnTo>
                  <a:lnTo>
                    <a:pt x="160" y="475"/>
                  </a:lnTo>
                  <a:lnTo>
                    <a:pt x="165" y="479"/>
                  </a:lnTo>
                  <a:lnTo>
                    <a:pt x="171" y="479"/>
                  </a:lnTo>
                  <a:lnTo>
                    <a:pt x="183" y="477"/>
                  </a:lnTo>
                  <a:lnTo>
                    <a:pt x="179" y="481"/>
                  </a:lnTo>
                  <a:lnTo>
                    <a:pt x="185" y="485"/>
                  </a:lnTo>
                  <a:lnTo>
                    <a:pt x="190" y="477"/>
                  </a:lnTo>
                  <a:lnTo>
                    <a:pt x="198" y="479"/>
                  </a:lnTo>
                  <a:lnTo>
                    <a:pt x="213" y="485"/>
                  </a:lnTo>
                  <a:lnTo>
                    <a:pt x="258" y="481"/>
                  </a:lnTo>
                  <a:lnTo>
                    <a:pt x="271" y="483"/>
                  </a:lnTo>
                  <a:lnTo>
                    <a:pt x="283" y="483"/>
                  </a:lnTo>
                  <a:lnTo>
                    <a:pt x="298" y="479"/>
                  </a:lnTo>
                  <a:lnTo>
                    <a:pt x="315" y="469"/>
                  </a:lnTo>
                  <a:lnTo>
                    <a:pt x="332" y="454"/>
                  </a:lnTo>
                  <a:lnTo>
                    <a:pt x="338" y="444"/>
                  </a:lnTo>
                  <a:lnTo>
                    <a:pt x="350" y="416"/>
                  </a:lnTo>
                  <a:lnTo>
                    <a:pt x="348" y="396"/>
                  </a:lnTo>
                  <a:lnTo>
                    <a:pt x="344" y="391"/>
                  </a:lnTo>
                  <a:lnTo>
                    <a:pt x="340" y="391"/>
                  </a:lnTo>
                  <a:lnTo>
                    <a:pt x="338" y="387"/>
                  </a:lnTo>
                  <a:lnTo>
                    <a:pt x="336" y="381"/>
                  </a:lnTo>
                  <a:lnTo>
                    <a:pt x="332" y="379"/>
                  </a:lnTo>
                  <a:lnTo>
                    <a:pt x="331" y="369"/>
                  </a:lnTo>
                  <a:lnTo>
                    <a:pt x="327" y="366"/>
                  </a:lnTo>
                  <a:lnTo>
                    <a:pt x="323" y="367"/>
                  </a:lnTo>
                  <a:lnTo>
                    <a:pt x="317" y="364"/>
                  </a:lnTo>
                  <a:lnTo>
                    <a:pt x="315" y="366"/>
                  </a:lnTo>
                  <a:lnTo>
                    <a:pt x="315" y="367"/>
                  </a:lnTo>
                  <a:lnTo>
                    <a:pt x="313" y="369"/>
                  </a:lnTo>
                  <a:lnTo>
                    <a:pt x="308" y="366"/>
                  </a:lnTo>
                  <a:lnTo>
                    <a:pt x="309" y="364"/>
                  </a:lnTo>
                  <a:lnTo>
                    <a:pt x="308" y="362"/>
                  </a:lnTo>
                  <a:lnTo>
                    <a:pt x="302" y="360"/>
                  </a:lnTo>
                  <a:lnTo>
                    <a:pt x="288" y="352"/>
                  </a:lnTo>
                  <a:lnTo>
                    <a:pt x="286" y="352"/>
                  </a:lnTo>
                  <a:lnTo>
                    <a:pt x="292" y="358"/>
                  </a:lnTo>
                  <a:lnTo>
                    <a:pt x="286" y="360"/>
                  </a:lnTo>
                  <a:lnTo>
                    <a:pt x="256" y="350"/>
                  </a:lnTo>
                  <a:lnTo>
                    <a:pt x="254" y="352"/>
                  </a:lnTo>
                  <a:lnTo>
                    <a:pt x="261" y="354"/>
                  </a:lnTo>
                  <a:lnTo>
                    <a:pt x="254" y="352"/>
                  </a:lnTo>
                  <a:lnTo>
                    <a:pt x="252" y="354"/>
                  </a:lnTo>
                  <a:lnTo>
                    <a:pt x="248" y="348"/>
                  </a:lnTo>
                  <a:lnTo>
                    <a:pt x="240" y="346"/>
                  </a:lnTo>
                  <a:lnTo>
                    <a:pt x="233" y="341"/>
                  </a:lnTo>
                  <a:lnTo>
                    <a:pt x="196" y="331"/>
                  </a:lnTo>
                  <a:lnTo>
                    <a:pt x="190" y="331"/>
                  </a:lnTo>
                  <a:lnTo>
                    <a:pt x="186" y="327"/>
                  </a:lnTo>
                  <a:lnTo>
                    <a:pt x="183" y="329"/>
                  </a:lnTo>
                  <a:lnTo>
                    <a:pt x="179" y="325"/>
                  </a:lnTo>
                  <a:lnTo>
                    <a:pt x="161" y="325"/>
                  </a:lnTo>
                  <a:lnTo>
                    <a:pt x="158" y="327"/>
                  </a:lnTo>
                  <a:lnTo>
                    <a:pt x="161" y="329"/>
                  </a:lnTo>
                  <a:lnTo>
                    <a:pt x="160" y="331"/>
                  </a:lnTo>
                  <a:lnTo>
                    <a:pt x="158" y="329"/>
                  </a:lnTo>
                  <a:lnTo>
                    <a:pt x="156" y="331"/>
                  </a:lnTo>
                  <a:lnTo>
                    <a:pt x="146" y="331"/>
                  </a:lnTo>
                  <a:lnTo>
                    <a:pt x="138" y="329"/>
                  </a:lnTo>
                  <a:lnTo>
                    <a:pt x="129" y="331"/>
                  </a:lnTo>
                  <a:lnTo>
                    <a:pt x="111" y="339"/>
                  </a:lnTo>
                  <a:lnTo>
                    <a:pt x="115" y="333"/>
                  </a:lnTo>
                  <a:lnTo>
                    <a:pt x="117" y="329"/>
                  </a:lnTo>
                  <a:lnTo>
                    <a:pt x="111" y="329"/>
                  </a:lnTo>
                  <a:lnTo>
                    <a:pt x="102" y="331"/>
                  </a:lnTo>
                  <a:lnTo>
                    <a:pt x="100" y="329"/>
                  </a:lnTo>
                  <a:lnTo>
                    <a:pt x="90" y="331"/>
                  </a:lnTo>
                  <a:lnTo>
                    <a:pt x="88" y="329"/>
                  </a:lnTo>
                  <a:lnTo>
                    <a:pt x="88" y="327"/>
                  </a:lnTo>
                  <a:lnTo>
                    <a:pt x="83" y="327"/>
                  </a:lnTo>
                  <a:lnTo>
                    <a:pt x="79" y="331"/>
                  </a:lnTo>
                  <a:lnTo>
                    <a:pt x="77" y="325"/>
                  </a:lnTo>
                  <a:lnTo>
                    <a:pt x="79" y="323"/>
                  </a:lnTo>
                  <a:lnTo>
                    <a:pt x="81" y="325"/>
                  </a:lnTo>
                  <a:lnTo>
                    <a:pt x="98" y="323"/>
                  </a:lnTo>
                  <a:lnTo>
                    <a:pt x="104" y="319"/>
                  </a:lnTo>
                  <a:lnTo>
                    <a:pt x="104" y="316"/>
                  </a:lnTo>
                  <a:lnTo>
                    <a:pt x="98" y="314"/>
                  </a:lnTo>
                  <a:lnTo>
                    <a:pt x="87" y="314"/>
                  </a:lnTo>
                  <a:lnTo>
                    <a:pt x="87" y="312"/>
                  </a:lnTo>
                  <a:lnTo>
                    <a:pt x="81" y="312"/>
                  </a:lnTo>
                  <a:lnTo>
                    <a:pt x="75" y="308"/>
                  </a:lnTo>
                  <a:lnTo>
                    <a:pt x="71" y="308"/>
                  </a:lnTo>
                  <a:lnTo>
                    <a:pt x="71" y="310"/>
                  </a:lnTo>
                  <a:lnTo>
                    <a:pt x="77" y="318"/>
                  </a:lnTo>
                  <a:lnTo>
                    <a:pt x="77" y="319"/>
                  </a:lnTo>
                  <a:lnTo>
                    <a:pt x="69" y="316"/>
                  </a:lnTo>
                  <a:lnTo>
                    <a:pt x="69" y="323"/>
                  </a:lnTo>
                  <a:lnTo>
                    <a:pt x="71" y="325"/>
                  </a:lnTo>
                  <a:lnTo>
                    <a:pt x="62" y="325"/>
                  </a:lnTo>
                  <a:lnTo>
                    <a:pt x="46" y="323"/>
                  </a:lnTo>
                  <a:lnTo>
                    <a:pt x="48" y="327"/>
                  </a:lnTo>
                  <a:lnTo>
                    <a:pt x="50" y="329"/>
                  </a:lnTo>
                  <a:lnTo>
                    <a:pt x="50" y="331"/>
                  </a:lnTo>
                  <a:lnTo>
                    <a:pt x="52" y="333"/>
                  </a:lnTo>
                  <a:lnTo>
                    <a:pt x="52" y="335"/>
                  </a:lnTo>
                  <a:lnTo>
                    <a:pt x="52" y="337"/>
                  </a:lnTo>
                  <a:lnTo>
                    <a:pt x="48" y="339"/>
                  </a:lnTo>
                  <a:lnTo>
                    <a:pt x="46" y="339"/>
                  </a:lnTo>
                  <a:lnTo>
                    <a:pt x="44" y="339"/>
                  </a:lnTo>
                  <a:lnTo>
                    <a:pt x="42" y="339"/>
                  </a:lnTo>
                  <a:lnTo>
                    <a:pt x="40" y="337"/>
                  </a:lnTo>
                  <a:lnTo>
                    <a:pt x="38" y="337"/>
                  </a:lnTo>
                  <a:lnTo>
                    <a:pt x="37" y="335"/>
                  </a:lnTo>
                  <a:lnTo>
                    <a:pt x="35" y="335"/>
                  </a:lnTo>
                  <a:lnTo>
                    <a:pt x="31" y="335"/>
                  </a:lnTo>
                  <a:lnTo>
                    <a:pt x="33" y="339"/>
                  </a:lnTo>
                  <a:lnTo>
                    <a:pt x="35" y="339"/>
                  </a:lnTo>
                  <a:lnTo>
                    <a:pt x="35" y="341"/>
                  </a:lnTo>
                  <a:lnTo>
                    <a:pt x="35" y="343"/>
                  </a:lnTo>
                  <a:lnTo>
                    <a:pt x="33" y="343"/>
                  </a:lnTo>
                  <a:lnTo>
                    <a:pt x="33" y="344"/>
                  </a:lnTo>
                  <a:lnTo>
                    <a:pt x="33" y="346"/>
                  </a:lnTo>
                  <a:lnTo>
                    <a:pt x="33" y="348"/>
                  </a:lnTo>
                  <a:lnTo>
                    <a:pt x="31" y="348"/>
                  </a:lnTo>
                  <a:lnTo>
                    <a:pt x="31" y="350"/>
                  </a:lnTo>
                  <a:lnTo>
                    <a:pt x="29" y="350"/>
                  </a:lnTo>
                  <a:lnTo>
                    <a:pt x="27" y="350"/>
                  </a:lnTo>
                  <a:lnTo>
                    <a:pt x="25" y="352"/>
                  </a:lnTo>
                  <a:lnTo>
                    <a:pt x="25" y="354"/>
                  </a:lnTo>
                  <a:lnTo>
                    <a:pt x="23" y="354"/>
                  </a:lnTo>
                  <a:lnTo>
                    <a:pt x="23" y="356"/>
                  </a:lnTo>
                  <a:lnTo>
                    <a:pt x="21" y="356"/>
                  </a:lnTo>
                  <a:lnTo>
                    <a:pt x="19" y="356"/>
                  </a:lnTo>
                  <a:lnTo>
                    <a:pt x="17" y="358"/>
                  </a:lnTo>
                  <a:lnTo>
                    <a:pt x="15" y="360"/>
                  </a:lnTo>
                  <a:lnTo>
                    <a:pt x="15" y="362"/>
                  </a:lnTo>
                  <a:lnTo>
                    <a:pt x="17" y="362"/>
                  </a:lnTo>
                  <a:lnTo>
                    <a:pt x="17" y="364"/>
                  </a:lnTo>
                  <a:lnTo>
                    <a:pt x="17" y="366"/>
                  </a:lnTo>
                  <a:lnTo>
                    <a:pt x="15" y="369"/>
                  </a:lnTo>
                  <a:lnTo>
                    <a:pt x="15" y="371"/>
                  </a:lnTo>
                  <a:lnTo>
                    <a:pt x="15" y="373"/>
                  </a:lnTo>
                  <a:lnTo>
                    <a:pt x="13" y="375"/>
                  </a:lnTo>
                  <a:lnTo>
                    <a:pt x="12" y="375"/>
                  </a:lnTo>
                  <a:lnTo>
                    <a:pt x="10" y="375"/>
                  </a:lnTo>
                  <a:lnTo>
                    <a:pt x="0" y="385"/>
                  </a:lnTo>
                  <a:lnTo>
                    <a:pt x="2" y="387"/>
                  </a:lnTo>
                  <a:lnTo>
                    <a:pt x="4" y="385"/>
                  </a:lnTo>
                  <a:lnTo>
                    <a:pt x="10" y="385"/>
                  </a:lnTo>
                  <a:lnTo>
                    <a:pt x="8" y="392"/>
                  </a:lnTo>
                  <a:lnTo>
                    <a:pt x="4" y="406"/>
                  </a:lnTo>
                  <a:lnTo>
                    <a:pt x="12" y="425"/>
                  </a:lnTo>
                  <a:lnTo>
                    <a:pt x="31" y="429"/>
                  </a:lnTo>
                  <a:lnTo>
                    <a:pt x="42" y="442"/>
                  </a:lnTo>
                  <a:lnTo>
                    <a:pt x="54" y="448"/>
                  </a:lnTo>
                  <a:lnTo>
                    <a:pt x="52" y="456"/>
                  </a:lnTo>
                  <a:lnTo>
                    <a:pt x="48" y="469"/>
                  </a:lnTo>
                  <a:lnTo>
                    <a:pt x="44" y="471"/>
                  </a:lnTo>
                  <a:lnTo>
                    <a:pt x="37" y="494"/>
                  </a:lnTo>
                  <a:lnTo>
                    <a:pt x="37" y="496"/>
                  </a:lnTo>
                  <a:lnTo>
                    <a:pt x="38" y="500"/>
                  </a:lnTo>
                  <a:lnTo>
                    <a:pt x="40" y="502"/>
                  </a:lnTo>
                  <a:lnTo>
                    <a:pt x="44" y="508"/>
                  </a:lnTo>
                  <a:lnTo>
                    <a:pt x="48" y="51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0" name="Freeform 48"/>
            <p:cNvSpPr>
              <a:spLocks/>
            </p:cNvSpPr>
            <p:nvPr/>
          </p:nvSpPr>
          <p:spPr bwMode="auto">
            <a:xfrm>
              <a:off x="3576" y="1233"/>
              <a:ext cx="759" cy="1562"/>
            </a:xfrm>
            <a:custGeom>
              <a:avLst/>
              <a:gdLst>
                <a:gd name="T0" fmla="*/ 71 w 759"/>
                <a:gd name="T1" fmla="*/ 1270 h 1562"/>
                <a:gd name="T2" fmla="*/ 29 w 759"/>
                <a:gd name="T3" fmla="*/ 1341 h 1562"/>
                <a:gd name="T4" fmla="*/ 43 w 759"/>
                <a:gd name="T5" fmla="*/ 1374 h 1562"/>
                <a:gd name="T6" fmla="*/ 39 w 759"/>
                <a:gd name="T7" fmla="*/ 1399 h 1562"/>
                <a:gd name="T8" fmla="*/ 41 w 759"/>
                <a:gd name="T9" fmla="*/ 1422 h 1562"/>
                <a:gd name="T10" fmla="*/ 29 w 759"/>
                <a:gd name="T11" fmla="*/ 1478 h 1562"/>
                <a:gd name="T12" fmla="*/ 0 w 759"/>
                <a:gd name="T13" fmla="*/ 1491 h 1562"/>
                <a:gd name="T14" fmla="*/ 81 w 759"/>
                <a:gd name="T15" fmla="*/ 1522 h 1562"/>
                <a:gd name="T16" fmla="*/ 271 w 759"/>
                <a:gd name="T17" fmla="*/ 1537 h 1562"/>
                <a:gd name="T18" fmla="*/ 352 w 759"/>
                <a:gd name="T19" fmla="*/ 1545 h 1562"/>
                <a:gd name="T20" fmla="*/ 406 w 759"/>
                <a:gd name="T21" fmla="*/ 1520 h 1562"/>
                <a:gd name="T22" fmla="*/ 488 w 759"/>
                <a:gd name="T23" fmla="*/ 1541 h 1562"/>
                <a:gd name="T24" fmla="*/ 558 w 759"/>
                <a:gd name="T25" fmla="*/ 1561 h 1562"/>
                <a:gd name="T26" fmla="*/ 523 w 759"/>
                <a:gd name="T27" fmla="*/ 1476 h 1562"/>
                <a:gd name="T28" fmla="*/ 479 w 759"/>
                <a:gd name="T29" fmla="*/ 1403 h 1562"/>
                <a:gd name="T30" fmla="*/ 442 w 759"/>
                <a:gd name="T31" fmla="*/ 1386 h 1562"/>
                <a:gd name="T32" fmla="*/ 433 w 759"/>
                <a:gd name="T33" fmla="*/ 1309 h 1562"/>
                <a:gd name="T34" fmla="*/ 458 w 759"/>
                <a:gd name="T35" fmla="*/ 1274 h 1562"/>
                <a:gd name="T36" fmla="*/ 467 w 759"/>
                <a:gd name="T37" fmla="*/ 1255 h 1562"/>
                <a:gd name="T38" fmla="*/ 460 w 759"/>
                <a:gd name="T39" fmla="*/ 1226 h 1562"/>
                <a:gd name="T40" fmla="*/ 456 w 759"/>
                <a:gd name="T41" fmla="*/ 1207 h 1562"/>
                <a:gd name="T42" fmla="*/ 348 w 759"/>
                <a:gd name="T43" fmla="*/ 1169 h 1562"/>
                <a:gd name="T44" fmla="*/ 302 w 759"/>
                <a:gd name="T45" fmla="*/ 1094 h 1562"/>
                <a:gd name="T46" fmla="*/ 340 w 759"/>
                <a:gd name="T47" fmla="*/ 1038 h 1562"/>
                <a:gd name="T48" fmla="*/ 342 w 759"/>
                <a:gd name="T49" fmla="*/ 986 h 1562"/>
                <a:gd name="T50" fmla="*/ 373 w 759"/>
                <a:gd name="T51" fmla="*/ 896 h 1562"/>
                <a:gd name="T52" fmla="*/ 402 w 759"/>
                <a:gd name="T53" fmla="*/ 894 h 1562"/>
                <a:gd name="T54" fmla="*/ 450 w 759"/>
                <a:gd name="T55" fmla="*/ 871 h 1562"/>
                <a:gd name="T56" fmla="*/ 515 w 759"/>
                <a:gd name="T57" fmla="*/ 871 h 1562"/>
                <a:gd name="T58" fmla="*/ 548 w 759"/>
                <a:gd name="T59" fmla="*/ 857 h 1562"/>
                <a:gd name="T60" fmla="*/ 596 w 759"/>
                <a:gd name="T61" fmla="*/ 823 h 1562"/>
                <a:gd name="T62" fmla="*/ 631 w 759"/>
                <a:gd name="T63" fmla="*/ 792 h 1562"/>
                <a:gd name="T64" fmla="*/ 692 w 759"/>
                <a:gd name="T65" fmla="*/ 788 h 1562"/>
                <a:gd name="T66" fmla="*/ 719 w 759"/>
                <a:gd name="T67" fmla="*/ 763 h 1562"/>
                <a:gd name="T68" fmla="*/ 715 w 759"/>
                <a:gd name="T69" fmla="*/ 702 h 1562"/>
                <a:gd name="T70" fmla="*/ 661 w 759"/>
                <a:gd name="T71" fmla="*/ 673 h 1562"/>
                <a:gd name="T72" fmla="*/ 625 w 759"/>
                <a:gd name="T73" fmla="*/ 696 h 1562"/>
                <a:gd name="T74" fmla="*/ 600 w 759"/>
                <a:gd name="T75" fmla="*/ 663 h 1562"/>
                <a:gd name="T76" fmla="*/ 569 w 759"/>
                <a:gd name="T77" fmla="*/ 611 h 1562"/>
                <a:gd name="T78" fmla="*/ 577 w 759"/>
                <a:gd name="T79" fmla="*/ 571 h 1562"/>
                <a:gd name="T80" fmla="*/ 542 w 759"/>
                <a:gd name="T81" fmla="*/ 592 h 1562"/>
                <a:gd name="T82" fmla="*/ 502 w 759"/>
                <a:gd name="T83" fmla="*/ 600 h 1562"/>
                <a:gd name="T84" fmla="*/ 496 w 759"/>
                <a:gd name="T85" fmla="*/ 559 h 1562"/>
                <a:gd name="T86" fmla="*/ 510 w 759"/>
                <a:gd name="T87" fmla="*/ 559 h 1562"/>
                <a:gd name="T88" fmla="*/ 525 w 759"/>
                <a:gd name="T89" fmla="*/ 554 h 1562"/>
                <a:gd name="T90" fmla="*/ 521 w 759"/>
                <a:gd name="T91" fmla="*/ 542 h 1562"/>
                <a:gd name="T92" fmla="*/ 527 w 759"/>
                <a:gd name="T93" fmla="*/ 513 h 1562"/>
                <a:gd name="T94" fmla="*/ 504 w 759"/>
                <a:gd name="T95" fmla="*/ 490 h 1562"/>
                <a:gd name="T96" fmla="*/ 477 w 759"/>
                <a:gd name="T97" fmla="*/ 509 h 1562"/>
                <a:gd name="T98" fmla="*/ 433 w 759"/>
                <a:gd name="T99" fmla="*/ 498 h 1562"/>
                <a:gd name="T100" fmla="*/ 437 w 759"/>
                <a:gd name="T101" fmla="*/ 460 h 1562"/>
                <a:gd name="T102" fmla="*/ 419 w 759"/>
                <a:gd name="T103" fmla="*/ 431 h 1562"/>
                <a:gd name="T104" fmla="*/ 423 w 759"/>
                <a:gd name="T105" fmla="*/ 400 h 1562"/>
                <a:gd name="T106" fmla="*/ 415 w 759"/>
                <a:gd name="T107" fmla="*/ 352 h 1562"/>
                <a:gd name="T108" fmla="*/ 365 w 759"/>
                <a:gd name="T109" fmla="*/ 325 h 1562"/>
                <a:gd name="T110" fmla="*/ 362 w 759"/>
                <a:gd name="T111" fmla="*/ 267 h 1562"/>
                <a:gd name="T112" fmla="*/ 317 w 759"/>
                <a:gd name="T113" fmla="*/ 185 h 1562"/>
                <a:gd name="T114" fmla="*/ 269 w 759"/>
                <a:gd name="T115" fmla="*/ 119 h 1562"/>
                <a:gd name="T116" fmla="*/ 246 w 759"/>
                <a:gd name="T117" fmla="*/ 56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59" h="1562">
                  <a:moveTo>
                    <a:pt x="64" y="1222"/>
                  </a:moveTo>
                  <a:lnTo>
                    <a:pt x="62" y="1226"/>
                  </a:lnTo>
                  <a:lnTo>
                    <a:pt x="56" y="1226"/>
                  </a:lnTo>
                  <a:lnTo>
                    <a:pt x="54" y="1232"/>
                  </a:lnTo>
                  <a:lnTo>
                    <a:pt x="54" y="1243"/>
                  </a:lnTo>
                  <a:lnTo>
                    <a:pt x="62" y="1242"/>
                  </a:lnTo>
                  <a:lnTo>
                    <a:pt x="70" y="1253"/>
                  </a:lnTo>
                  <a:lnTo>
                    <a:pt x="68" y="1257"/>
                  </a:lnTo>
                  <a:lnTo>
                    <a:pt x="75" y="1257"/>
                  </a:lnTo>
                  <a:lnTo>
                    <a:pt x="71" y="1270"/>
                  </a:lnTo>
                  <a:lnTo>
                    <a:pt x="73" y="1274"/>
                  </a:lnTo>
                  <a:lnTo>
                    <a:pt x="71" y="1276"/>
                  </a:lnTo>
                  <a:lnTo>
                    <a:pt x="75" y="1286"/>
                  </a:lnTo>
                  <a:lnTo>
                    <a:pt x="73" y="1290"/>
                  </a:lnTo>
                  <a:lnTo>
                    <a:pt x="46" y="1295"/>
                  </a:lnTo>
                  <a:lnTo>
                    <a:pt x="39" y="1299"/>
                  </a:lnTo>
                  <a:lnTo>
                    <a:pt x="39" y="1311"/>
                  </a:lnTo>
                  <a:lnTo>
                    <a:pt x="23" y="1320"/>
                  </a:lnTo>
                  <a:lnTo>
                    <a:pt x="25" y="1340"/>
                  </a:lnTo>
                  <a:lnTo>
                    <a:pt x="29" y="1341"/>
                  </a:lnTo>
                  <a:lnTo>
                    <a:pt x="27" y="1347"/>
                  </a:lnTo>
                  <a:lnTo>
                    <a:pt x="29" y="1353"/>
                  </a:lnTo>
                  <a:lnTo>
                    <a:pt x="56" y="1340"/>
                  </a:lnTo>
                  <a:lnTo>
                    <a:pt x="54" y="1334"/>
                  </a:lnTo>
                  <a:lnTo>
                    <a:pt x="68" y="1330"/>
                  </a:lnTo>
                  <a:lnTo>
                    <a:pt x="73" y="1345"/>
                  </a:lnTo>
                  <a:lnTo>
                    <a:pt x="64" y="1347"/>
                  </a:lnTo>
                  <a:lnTo>
                    <a:pt x="52" y="1363"/>
                  </a:lnTo>
                  <a:lnTo>
                    <a:pt x="45" y="1365"/>
                  </a:lnTo>
                  <a:lnTo>
                    <a:pt x="43" y="1374"/>
                  </a:lnTo>
                  <a:lnTo>
                    <a:pt x="45" y="1376"/>
                  </a:lnTo>
                  <a:lnTo>
                    <a:pt x="50" y="1372"/>
                  </a:lnTo>
                  <a:lnTo>
                    <a:pt x="52" y="1376"/>
                  </a:lnTo>
                  <a:lnTo>
                    <a:pt x="45" y="1380"/>
                  </a:lnTo>
                  <a:lnTo>
                    <a:pt x="39" y="1376"/>
                  </a:lnTo>
                  <a:lnTo>
                    <a:pt x="31" y="1386"/>
                  </a:lnTo>
                  <a:lnTo>
                    <a:pt x="20" y="1386"/>
                  </a:lnTo>
                  <a:lnTo>
                    <a:pt x="31" y="1401"/>
                  </a:lnTo>
                  <a:lnTo>
                    <a:pt x="35" y="1403"/>
                  </a:lnTo>
                  <a:lnTo>
                    <a:pt x="39" y="1399"/>
                  </a:lnTo>
                  <a:lnTo>
                    <a:pt x="50" y="1407"/>
                  </a:lnTo>
                  <a:lnTo>
                    <a:pt x="64" y="1411"/>
                  </a:lnTo>
                  <a:lnTo>
                    <a:pt x="64" y="1416"/>
                  </a:lnTo>
                  <a:lnTo>
                    <a:pt x="60" y="1416"/>
                  </a:lnTo>
                  <a:lnTo>
                    <a:pt x="50" y="1413"/>
                  </a:lnTo>
                  <a:lnTo>
                    <a:pt x="48" y="1414"/>
                  </a:lnTo>
                  <a:lnTo>
                    <a:pt x="48" y="1436"/>
                  </a:lnTo>
                  <a:lnTo>
                    <a:pt x="46" y="1436"/>
                  </a:lnTo>
                  <a:lnTo>
                    <a:pt x="45" y="1420"/>
                  </a:lnTo>
                  <a:lnTo>
                    <a:pt x="41" y="1422"/>
                  </a:lnTo>
                  <a:lnTo>
                    <a:pt x="41" y="1441"/>
                  </a:lnTo>
                  <a:lnTo>
                    <a:pt x="33" y="1451"/>
                  </a:lnTo>
                  <a:lnTo>
                    <a:pt x="37" y="1466"/>
                  </a:lnTo>
                  <a:lnTo>
                    <a:pt x="39" y="1457"/>
                  </a:lnTo>
                  <a:lnTo>
                    <a:pt x="43" y="1470"/>
                  </a:lnTo>
                  <a:lnTo>
                    <a:pt x="35" y="1472"/>
                  </a:lnTo>
                  <a:lnTo>
                    <a:pt x="35" y="1470"/>
                  </a:lnTo>
                  <a:lnTo>
                    <a:pt x="31" y="1476"/>
                  </a:lnTo>
                  <a:lnTo>
                    <a:pt x="21" y="1478"/>
                  </a:lnTo>
                  <a:lnTo>
                    <a:pt x="29" y="1478"/>
                  </a:lnTo>
                  <a:lnTo>
                    <a:pt x="21" y="1484"/>
                  </a:lnTo>
                  <a:lnTo>
                    <a:pt x="20" y="1484"/>
                  </a:lnTo>
                  <a:lnTo>
                    <a:pt x="20" y="1478"/>
                  </a:lnTo>
                  <a:lnTo>
                    <a:pt x="6" y="1474"/>
                  </a:lnTo>
                  <a:lnTo>
                    <a:pt x="2" y="1484"/>
                  </a:lnTo>
                  <a:lnTo>
                    <a:pt x="4" y="1480"/>
                  </a:lnTo>
                  <a:lnTo>
                    <a:pt x="6" y="1484"/>
                  </a:lnTo>
                  <a:lnTo>
                    <a:pt x="14" y="1482"/>
                  </a:lnTo>
                  <a:lnTo>
                    <a:pt x="10" y="1488"/>
                  </a:lnTo>
                  <a:lnTo>
                    <a:pt x="0" y="1491"/>
                  </a:lnTo>
                  <a:lnTo>
                    <a:pt x="2" y="1497"/>
                  </a:lnTo>
                  <a:lnTo>
                    <a:pt x="12" y="1495"/>
                  </a:lnTo>
                  <a:lnTo>
                    <a:pt x="29" y="1499"/>
                  </a:lnTo>
                  <a:lnTo>
                    <a:pt x="46" y="1512"/>
                  </a:lnTo>
                  <a:lnTo>
                    <a:pt x="60" y="1512"/>
                  </a:lnTo>
                  <a:lnTo>
                    <a:pt x="62" y="1511"/>
                  </a:lnTo>
                  <a:lnTo>
                    <a:pt x="58" y="1507"/>
                  </a:lnTo>
                  <a:lnTo>
                    <a:pt x="71" y="1514"/>
                  </a:lnTo>
                  <a:lnTo>
                    <a:pt x="73" y="1514"/>
                  </a:lnTo>
                  <a:lnTo>
                    <a:pt x="81" y="1522"/>
                  </a:lnTo>
                  <a:lnTo>
                    <a:pt x="108" y="1522"/>
                  </a:lnTo>
                  <a:lnTo>
                    <a:pt x="179" y="1559"/>
                  </a:lnTo>
                  <a:lnTo>
                    <a:pt x="179" y="1545"/>
                  </a:lnTo>
                  <a:lnTo>
                    <a:pt x="185" y="1543"/>
                  </a:lnTo>
                  <a:lnTo>
                    <a:pt x="198" y="1543"/>
                  </a:lnTo>
                  <a:lnTo>
                    <a:pt x="204" y="1539"/>
                  </a:lnTo>
                  <a:lnTo>
                    <a:pt x="223" y="1543"/>
                  </a:lnTo>
                  <a:lnTo>
                    <a:pt x="239" y="1539"/>
                  </a:lnTo>
                  <a:lnTo>
                    <a:pt x="248" y="1545"/>
                  </a:lnTo>
                  <a:lnTo>
                    <a:pt x="271" y="1537"/>
                  </a:lnTo>
                  <a:lnTo>
                    <a:pt x="281" y="1532"/>
                  </a:lnTo>
                  <a:lnTo>
                    <a:pt x="294" y="1534"/>
                  </a:lnTo>
                  <a:lnTo>
                    <a:pt x="296" y="1530"/>
                  </a:lnTo>
                  <a:lnTo>
                    <a:pt x="302" y="1528"/>
                  </a:lnTo>
                  <a:lnTo>
                    <a:pt x="312" y="1530"/>
                  </a:lnTo>
                  <a:lnTo>
                    <a:pt x="312" y="1532"/>
                  </a:lnTo>
                  <a:lnTo>
                    <a:pt x="319" y="1536"/>
                  </a:lnTo>
                  <a:lnTo>
                    <a:pt x="331" y="1536"/>
                  </a:lnTo>
                  <a:lnTo>
                    <a:pt x="354" y="1537"/>
                  </a:lnTo>
                  <a:lnTo>
                    <a:pt x="352" y="1545"/>
                  </a:lnTo>
                  <a:lnTo>
                    <a:pt x="364" y="1547"/>
                  </a:lnTo>
                  <a:lnTo>
                    <a:pt x="365" y="1541"/>
                  </a:lnTo>
                  <a:lnTo>
                    <a:pt x="371" y="1539"/>
                  </a:lnTo>
                  <a:lnTo>
                    <a:pt x="373" y="1532"/>
                  </a:lnTo>
                  <a:lnTo>
                    <a:pt x="387" y="1524"/>
                  </a:lnTo>
                  <a:lnTo>
                    <a:pt x="392" y="1526"/>
                  </a:lnTo>
                  <a:lnTo>
                    <a:pt x="396" y="1530"/>
                  </a:lnTo>
                  <a:lnTo>
                    <a:pt x="396" y="1520"/>
                  </a:lnTo>
                  <a:lnTo>
                    <a:pt x="398" y="1518"/>
                  </a:lnTo>
                  <a:lnTo>
                    <a:pt x="406" y="1520"/>
                  </a:lnTo>
                  <a:lnTo>
                    <a:pt x="410" y="1518"/>
                  </a:lnTo>
                  <a:lnTo>
                    <a:pt x="421" y="1524"/>
                  </a:lnTo>
                  <a:lnTo>
                    <a:pt x="429" y="1520"/>
                  </a:lnTo>
                  <a:lnTo>
                    <a:pt x="440" y="1520"/>
                  </a:lnTo>
                  <a:lnTo>
                    <a:pt x="442" y="1539"/>
                  </a:lnTo>
                  <a:lnTo>
                    <a:pt x="456" y="1539"/>
                  </a:lnTo>
                  <a:lnTo>
                    <a:pt x="460" y="1545"/>
                  </a:lnTo>
                  <a:lnTo>
                    <a:pt x="473" y="1541"/>
                  </a:lnTo>
                  <a:lnTo>
                    <a:pt x="485" y="1543"/>
                  </a:lnTo>
                  <a:lnTo>
                    <a:pt x="488" y="1541"/>
                  </a:lnTo>
                  <a:lnTo>
                    <a:pt x="492" y="1547"/>
                  </a:lnTo>
                  <a:lnTo>
                    <a:pt x="498" y="1539"/>
                  </a:lnTo>
                  <a:lnTo>
                    <a:pt x="500" y="1543"/>
                  </a:lnTo>
                  <a:lnTo>
                    <a:pt x="508" y="1545"/>
                  </a:lnTo>
                  <a:lnTo>
                    <a:pt x="517" y="1553"/>
                  </a:lnTo>
                  <a:lnTo>
                    <a:pt x="523" y="1549"/>
                  </a:lnTo>
                  <a:lnTo>
                    <a:pt x="535" y="1562"/>
                  </a:lnTo>
                  <a:lnTo>
                    <a:pt x="548" y="1562"/>
                  </a:lnTo>
                  <a:lnTo>
                    <a:pt x="552" y="1561"/>
                  </a:lnTo>
                  <a:lnTo>
                    <a:pt x="558" y="1561"/>
                  </a:lnTo>
                  <a:lnTo>
                    <a:pt x="563" y="1555"/>
                  </a:lnTo>
                  <a:lnTo>
                    <a:pt x="561" y="1551"/>
                  </a:lnTo>
                  <a:lnTo>
                    <a:pt x="563" y="1545"/>
                  </a:lnTo>
                  <a:lnTo>
                    <a:pt x="563" y="1537"/>
                  </a:lnTo>
                  <a:lnTo>
                    <a:pt x="573" y="1524"/>
                  </a:lnTo>
                  <a:lnTo>
                    <a:pt x="573" y="1507"/>
                  </a:lnTo>
                  <a:lnTo>
                    <a:pt x="563" y="1505"/>
                  </a:lnTo>
                  <a:lnTo>
                    <a:pt x="556" y="1497"/>
                  </a:lnTo>
                  <a:lnTo>
                    <a:pt x="535" y="1484"/>
                  </a:lnTo>
                  <a:lnTo>
                    <a:pt x="523" y="1476"/>
                  </a:lnTo>
                  <a:lnTo>
                    <a:pt x="517" y="1476"/>
                  </a:lnTo>
                  <a:lnTo>
                    <a:pt x="510" y="1463"/>
                  </a:lnTo>
                  <a:lnTo>
                    <a:pt x="496" y="1459"/>
                  </a:lnTo>
                  <a:lnTo>
                    <a:pt x="492" y="1447"/>
                  </a:lnTo>
                  <a:lnTo>
                    <a:pt x="494" y="1439"/>
                  </a:lnTo>
                  <a:lnTo>
                    <a:pt x="492" y="1438"/>
                  </a:lnTo>
                  <a:lnTo>
                    <a:pt x="490" y="1441"/>
                  </a:lnTo>
                  <a:lnTo>
                    <a:pt x="485" y="1432"/>
                  </a:lnTo>
                  <a:lnTo>
                    <a:pt x="483" y="1403"/>
                  </a:lnTo>
                  <a:lnTo>
                    <a:pt x="479" y="1403"/>
                  </a:lnTo>
                  <a:lnTo>
                    <a:pt x="477" y="1407"/>
                  </a:lnTo>
                  <a:lnTo>
                    <a:pt x="483" y="1430"/>
                  </a:lnTo>
                  <a:lnTo>
                    <a:pt x="477" y="1426"/>
                  </a:lnTo>
                  <a:lnTo>
                    <a:pt x="477" y="1422"/>
                  </a:lnTo>
                  <a:lnTo>
                    <a:pt x="477" y="1411"/>
                  </a:lnTo>
                  <a:lnTo>
                    <a:pt x="473" y="1411"/>
                  </a:lnTo>
                  <a:lnTo>
                    <a:pt x="473" y="1409"/>
                  </a:lnTo>
                  <a:lnTo>
                    <a:pt x="456" y="1391"/>
                  </a:lnTo>
                  <a:lnTo>
                    <a:pt x="452" y="1393"/>
                  </a:lnTo>
                  <a:lnTo>
                    <a:pt x="442" y="1386"/>
                  </a:lnTo>
                  <a:lnTo>
                    <a:pt x="431" y="1390"/>
                  </a:lnTo>
                  <a:lnTo>
                    <a:pt x="427" y="1388"/>
                  </a:lnTo>
                  <a:lnTo>
                    <a:pt x="423" y="1374"/>
                  </a:lnTo>
                  <a:lnTo>
                    <a:pt x="427" y="1366"/>
                  </a:lnTo>
                  <a:lnTo>
                    <a:pt x="431" y="1359"/>
                  </a:lnTo>
                  <a:lnTo>
                    <a:pt x="433" y="1361"/>
                  </a:lnTo>
                  <a:lnTo>
                    <a:pt x="431" y="1332"/>
                  </a:lnTo>
                  <a:lnTo>
                    <a:pt x="435" y="1332"/>
                  </a:lnTo>
                  <a:lnTo>
                    <a:pt x="433" y="1324"/>
                  </a:lnTo>
                  <a:lnTo>
                    <a:pt x="433" y="1309"/>
                  </a:lnTo>
                  <a:lnTo>
                    <a:pt x="429" y="1307"/>
                  </a:lnTo>
                  <a:lnTo>
                    <a:pt x="437" y="1303"/>
                  </a:lnTo>
                  <a:lnTo>
                    <a:pt x="431" y="1295"/>
                  </a:lnTo>
                  <a:lnTo>
                    <a:pt x="437" y="1295"/>
                  </a:lnTo>
                  <a:lnTo>
                    <a:pt x="440" y="1297"/>
                  </a:lnTo>
                  <a:lnTo>
                    <a:pt x="442" y="1292"/>
                  </a:lnTo>
                  <a:lnTo>
                    <a:pt x="454" y="1284"/>
                  </a:lnTo>
                  <a:lnTo>
                    <a:pt x="452" y="1282"/>
                  </a:lnTo>
                  <a:lnTo>
                    <a:pt x="452" y="1276"/>
                  </a:lnTo>
                  <a:lnTo>
                    <a:pt x="458" y="1274"/>
                  </a:lnTo>
                  <a:lnTo>
                    <a:pt x="454" y="1272"/>
                  </a:lnTo>
                  <a:lnTo>
                    <a:pt x="460" y="1265"/>
                  </a:lnTo>
                  <a:lnTo>
                    <a:pt x="469" y="1270"/>
                  </a:lnTo>
                  <a:lnTo>
                    <a:pt x="471" y="1267"/>
                  </a:lnTo>
                  <a:lnTo>
                    <a:pt x="467" y="1261"/>
                  </a:lnTo>
                  <a:lnTo>
                    <a:pt x="463" y="1263"/>
                  </a:lnTo>
                  <a:lnTo>
                    <a:pt x="465" y="1257"/>
                  </a:lnTo>
                  <a:lnTo>
                    <a:pt x="460" y="1255"/>
                  </a:lnTo>
                  <a:lnTo>
                    <a:pt x="462" y="1251"/>
                  </a:lnTo>
                  <a:lnTo>
                    <a:pt x="467" y="1255"/>
                  </a:lnTo>
                  <a:lnTo>
                    <a:pt x="467" y="1247"/>
                  </a:lnTo>
                  <a:lnTo>
                    <a:pt x="471" y="1242"/>
                  </a:lnTo>
                  <a:lnTo>
                    <a:pt x="477" y="1243"/>
                  </a:lnTo>
                  <a:lnTo>
                    <a:pt x="473" y="1238"/>
                  </a:lnTo>
                  <a:lnTo>
                    <a:pt x="471" y="1238"/>
                  </a:lnTo>
                  <a:lnTo>
                    <a:pt x="473" y="1234"/>
                  </a:lnTo>
                  <a:lnTo>
                    <a:pt x="481" y="1234"/>
                  </a:lnTo>
                  <a:lnTo>
                    <a:pt x="475" y="1230"/>
                  </a:lnTo>
                  <a:lnTo>
                    <a:pt x="473" y="1230"/>
                  </a:lnTo>
                  <a:lnTo>
                    <a:pt x="460" y="1226"/>
                  </a:lnTo>
                  <a:lnTo>
                    <a:pt x="456" y="1228"/>
                  </a:lnTo>
                  <a:lnTo>
                    <a:pt x="450" y="1226"/>
                  </a:lnTo>
                  <a:lnTo>
                    <a:pt x="442" y="1228"/>
                  </a:lnTo>
                  <a:lnTo>
                    <a:pt x="440" y="1224"/>
                  </a:lnTo>
                  <a:lnTo>
                    <a:pt x="437" y="1224"/>
                  </a:lnTo>
                  <a:lnTo>
                    <a:pt x="438" y="1215"/>
                  </a:lnTo>
                  <a:lnTo>
                    <a:pt x="444" y="1215"/>
                  </a:lnTo>
                  <a:lnTo>
                    <a:pt x="448" y="1217"/>
                  </a:lnTo>
                  <a:lnTo>
                    <a:pt x="454" y="1213"/>
                  </a:lnTo>
                  <a:lnTo>
                    <a:pt x="456" y="1207"/>
                  </a:lnTo>
                  <a:lnTo>
                    <a:pt x="435" y="1194"/>
                  </a:lnTo>
                  <a:lnTo>
                    <a:pt x="419" y="1178"/>
                  </a:lnTo>
                  <a:lnTo>
                    <a:pt x="415" y="1178"/>
                  </a:lnTo>
                  <a:lnTo>
                    <a:pt x="394" y="1165"/>
                  </a:lnTo>
                  <a:lnTo>
                    <a:pt x="375" y="1172"/>
                  </a:lnTo>
                  <a:lnTo>
                    <a:pt x="365" y="1172"/>
                  </a:lnTo>
                  <a:lnTo>
                    <a:pt x="369" y="1182"/>
                  </a:lnTo>
                  <a:lnTo>
                    <a:pt x="356" y="1178"/>
                  </a:lnTo>
                  <a:lnTo>
                    <a:pt x="356" y="1174"/>
                  </a:lnTo>
                  <a:lnTo>
                    <a:pt x="348" y="1169"/>
                  </a:lnTo>
                  <a:lnTo>
                    <a:pt x="352" y="1163"/>
                  </a:lnTo>
                  <a:lnTo>
                    <a:pt x="348" y="1163"/>
                  </a:lnTo>
                  <a:lnTo>
                    <a:pt x="342" y="1151"/>
                  </a:lnTo>
                  <a:lnTo>
                    <a:pt x="315" y="1153"/>
                  </a:lnTo>
                  <a:lnTo>
                    <a:pt x="315" y="1136"/>
                  </a:lnTo>
                  <a:lnTo>
                    <a:pt x="314" y="1119"/>
                  </a:lnTo>
                  <a:lnTo>
                    <a:pt x="317" y="1111"/>
                  </a:lnTo>
                  <a:lnTo>
                    <a:pt x="317" y="1101"/>
                  </a:lnTo>
                  <a:lnTo>
                    <a:pt x="314" y="1096"/>
                  </a:lnTo>
                  <a:lnTo>
                    <a:pt x="302" y="1094"/>
                  </a:lnTo>
                  <a:lnTo>
                    <a:pt x="294" y="1061"/>
                  </a:lnTo>
                  <a:lnTo>
                    <a:pt x="302" y="1051"/>
                  </a:lnTo>
                  <a:lnTo>
                    <a:pt x="302" y="1044"/>
                  </a:lnTo>
                  <a:lnTo>
                    <a:pt x="304" y="1040"/>
                  </a:lnTo>
                  <a:lnTo>
                    <a:pt x="298" y="1036"/>
                  </a:lnTo>
                  <a:lnTo>
                    <a:pt x="296" y="1028"/>
                  </a:lnTo>
                  <a:lnTo>
                    <a:pt x="298" y="1021"/>
                  </a:lnTo>
                  <a:lnTo>
                    <a:pt x="304" y="1015"/>
                  </a:lnTo>
                  <a:lnTo>
                    <a:pt x="331" y="1026"/>
                  </a:lnTo>
                  <a:lnTo>
                    <a:pt x="340" y="1038"/>
                  </a:lnTo>
                  <a:lnTo>
                    <a:pt x="344" y="1036"/>
                  </a:lnTo>
                  <a:lnTo>
                    <a:pt x="350" y="1038"/>
                  </a:lnTo>
                  <a:lnTo>
                    <a:pt x="360" y="1024"/>
                  </a:lnTo>
                  <a:lnTo>
                    <a:pt x="360" y="1019"/>
                  </a:lnTo>
                  <a:lnTo>
                    <a:pt x="358" y="1015"/>
                  </a:lnTo>
                  <a:lnTo>
                    <a:pt x="354" y="1015"/>
                  </a:lnTo>
                  <a:lnTo>
                    <a:pt x="340" y="996"/>
                  </a:lnTo>
                  <a:lnTo>
                    <a:pt x="337" y="988"/>
                  </a:lnTo>
                  <a:lnTo>
                    <a:pt x="333" y="986"/>
                  </a:lnTo>
                  <a:lnTo>
                    <a:pt x="342" y="986"/>
                  </a:lnTo>
                  <a:lnTo>
                    <a:pt x="348" y="969"/>
                  </a:lnTo>
                  <a:lnTo>
                    <a:pt x="356" y="961"/>
                  </a:lnTo>
                  <a:lnTo>
                    <a:pt x="350" y="955"/>
                  </a:lnTo>
                  <a:lnTo>
                    <a:pt x="350" y="944"/>
                  </a:lnTo>
                  <a:lnTo>
                    <a:pt x="362" y="940"/>
                  </a:lnTo>
                  <a:lnTo>
                    <a:pt x="364" y="930"/>
                  </a:lnTo>
                  <a:lnTo>
                    <a:pt x="375" y="919"/>
                  </a:lnTo>
                  <a:lnTo>
                    <a:pt x="373" y="911"/>
                  </a:lnTo>
                  <a:lnTo>
                    <a:pt x="377" y="907"/>
                  </a:lnTo>
                  <a:lnTo>
                    <a:pt x="373" y="896"/>
                  </a:lnTo>
                  <a:lnTo>
                    <a:pt x="379" y="894"/>
                  </a:lnTo>
                  <a:lnTo>
                    <a:pt x="379" y="898"/>
                  </a:lnTo>
                  <a:lnTo>
                    <a:pt x="383" y="896"/>
                  </a:lnTo>
                  <a:lnTo>
                    <a:pt x="375" y="884"/>
                  </a:lnTo>
                  <a:lnTo>
                    <a:pt x="383" y="886"/>
                  </a:lnTo>
                  <a:lnTo>
                    <a:pt x="394" y="880"/>
                  </a:lnTo>
                  <a:lnTo>
                    <a:pt x="400" y="882"/>
                  </a:lnTo>
                  <a:lnTo>
                    <a:pt x="402" y="886"/>
                  </a:lnTo>
                  <a:lnTo>
                    <a:pt x="398" y="890"/>
                  </a:lnTo>
                  <a:lnTo>
                    <a:pt x="402" y="894"/>
                  </a:lnTo>
                  <a:lnTo>
                    <a:pt x="408" y="892"/>
                  </a:lnTo>
                  <a:lnTo>
                    <a:pt x="410" y="884"/>
                  </a:lnTo>
                  <a:lnTo>
                    <a:pt x="415" y="888"/>
                  </a:lnTo>
                  <a:lnTo>
                    <a:pt x="419" y="882"/>
                  </a:lnTo>
                  <a:lnTo>
                    <a:pt x="415" y="878"/>
                  </a:lnTo>
                  <a:lnTo>
                    <a:pt x="415" y="873"/>
                  </a:lnTo>
                  <a:lnTo>
                    <a:pt x="423" y="869"/>
                  </a:lnTo>
                  <a:lnTo>
                    <a:pt x="429" y="857"/>
                  </a:lnTo>
                  <a:lnTo>
                    <a:pt x="446" y="871"/>
                  </a:lnTo>
                  <a:lnTo>
                    <a:pt x="450" y="871"/>
                  </a:lnTo>
                  <a:lnTo>
                    <a:pt x="452" y="865"/>
                  </a:lnTo>
                  <a:lnTo>
                    <a:pt x="458" y="865"/>
                  </a:lnTo>
                  <a:lnTo>
                    <a:pt x="463" y="859"/>
                  </a:lnTo>
                  <a:lnTo>
                    <a:pt x="471" y="855"/>
                  </a:lnTo>
                  <a:lnTo>
                    <a:pt x="483" y="857"/>
                  </a:lnTo>
                  <a:lnTo>
                    <a:pt x="483" y="859"/>
                  </a:lnTo>
                  <a:lnTo>
                    <a:pt x="490" y="865"/>
                  </a:lnTo>
                  <a:lnTo>
                    <a:pt x="500" y="863"/>
                  </a:lnTo>
                  <a:lnTo>
                    <a:pt x="510" y="863"/>
                  </a:lnTo>
                  <a:lnTo>
                    <a:pt x="515" y="871"/>
                  </a:lnTo>
                  <a:lnTo>
                    <a:pt x="529" y="871"/>
                  </a:lnTo>
                  <a:lnTo>
                    <a:pt x="533" y="886"/>
                  </a:lnTo>
                  <a:lnTo>
                    <a:pt x="540" y="890"/>
                  </a:lnTo>
                  <a:lnTo>
                    <a:pt x="544" y="880"/>
                  </a:lnTo>
                  <a:lnTo>
                    <a:pt x="535" y="867"/>
                  </a:lnTo>
                  <a:lnTo>
                    <a:pt x="527" y="867"/>
                  </a:lnTo>
                  <a:lnTo>
                    <a:pt x="527" y="861"/>
                  </a:lnTo>
                  <a:lnTo>
                    <a:pt x="531" y="857"/>
                  </a:lnTo>
                  <a:lnTo>
                    <a:pt x="542" y="859"/>
                  </a:lnTo>
                  <a:lnTo>
                    <a:pt x="548" y="857"/>
                  </a:lnTo>
                  <a:lnTo>
                    <a:pt x="550" y="861"/>
                  </a:lnTo>
                  <a:lnTo>
                    <a:pt x="558" y="865"/>
                  </a:lnTo>
                  <a:lnTo>
                    <a:pt x="565" y="867"/>
                  </a:lnTo>
                  <a:lnTo>
                    <a:pt x="569" y="863"/>
                  </a:lnTo>
                  <a:lnTo>
                    <a:pt x="581" y="867"/>
                  </a:lnTo>
                  <a:lnTo>
                    <a:pt x="586" y="848"/>
                  </a:lnTo>
                  <a:lnTo>
                    <a:pt x="585" y="836"/>
                  </a:lnTo>
                  <a:lnTo>
                    <a:pt x="590" y="832"/>
                  </a:lnTo>
                  <a:lnTo>
                    <a:pt x="588" y="821"/>
                  </a:lnTo>
                  <a:lnTo>
                    <a:pt x="596" y="823"/>
                  </a:lnTo>
                  <a:lnTo>
                    <a:pt x="600" y="821"/>
                  </a:lnTo>
                  <a:lnTo>
                    <a:pt x="596" y="817"/>
                  </a:lnTo>
                  <a:lnTo>
                    <a:pt x="598" y="815"/>
                  </a:lnTo>
                  <a:lnTo>
                    <a:pt x="602" y="815"/>
                  </a:lnTo>
                  <a:lnTo>
                    <a:pt x="611" y="805"/>
                  </a:lnTo>
                  <a:lnTo>
                    <a:pt x="623" y="813"/>
                  </a:lnTo>
                  <a:lnTo>
                    <a:pt x="629" y="813"/>
                  </a:lnTo>
                  <a:lnTo>
                    <a:pt x="629" y="807"/>
                  </a:lnTo>
                  <a:lnTo>
                    <a:pt x="636" y="805"/>
                  </a:lnTo>
                  <a:lnTo>
                    <a:pt x="631" y="792"/>
                  </a:lnTo>
                  <a:lnTo>
                    <a:pt x="644" y="788"/>
                  </a:lnTo>
                  <a:lnTo>
                    <a:pt x="646" y="780"/>
                  </a:lnTo>
                  <a:lnTo>
                    <a:pt x="652" y="782"/>
                  </a:lnTo>
                  <a:lnTo>
                    <a:pt x="659" y="780"/>
                  </a:lnTo>
                  <a:lnTo>
                    <a:pt x="665" y="790"/>
                  </a:lnTo>
                  <a:lnTo>
                    <a:pt x="667" y="788"/>
                  </a:lnTo>
                  <a:lnTo>
                    <a:pt x="669" y="792"/>
                  </a:lnTo>
                  <a:lnTo>
                    <a:pt x="673" y="790"/>
                  </a:lnTo>
                  <a:lnTo>
                    <a:pt x="681" y="794"/>
                  </a:lnTo>
                  <a:lnTo>
                    <a:pt x="692" y="788"/>
                  </a:lnTo>
                  <a:lnTo>
                    <a:pt x="696" y="790"/>
                  </a:lnTo>
                  <a:lnTo>
                    <a:pt x="704" y="786"/>
                  </a:lnTo>
                  <a:lnTo>
                    <a:pt x="708" y="786"/>
                  </a:lnTo>
                  <a:lnTo>
                    <a:pt x="706" y="792"/>
                  </a:lnTo>
                  <a:lnTo>
                    <a:pt x="709" y="792"/>
                  </a:lnTo>
                  <a:lnTo>
                    <a:pt x="711" y="788"/>
                  </a:lnTo>
                  <a:lnTo>
                    <a:pt x="717" y="782"/>
                  </a:lnTo>
                  <a:lnTo>
                    <a:pt x="711" y="761"/>
                  </a:lnTo>
                  <a:lnTo>
                    <a:pt x="717" y="759"/>
                  </a:lnTo>
                  <a:lnTo>
                    <a:pt x="719" y="763"/>
                  </a:lnTo>
                  <a:lnTo>
                    <a:pt x="727" y="765"/>
                  </a:lnTo>
                  <a:lnTo>
                    <a:pt x="742" y="757"/>
                  </a:lnTo>
                  <a:lnTo>
                    <a:pt x="759" y="736"/>
                  </a:lnTo>
                  <a:lnTo>
                    <a:pt x="754" y="723"/>
                  </a:lnTo>
                  <a:lnTo>
                    <a:pt x="748" y="709"/>
                  </a:lnTo>
                  <a:lnTo>
                    <a:pt x="752" y="704"/>
                  </a:lnTo>
                  <a:lnTo>
                    <a:pt x="746" y="705"/>
                  </a:lnTo>
                  <a:lnTo>
                    <a:pt x="740" y="700"/>
                  </a:lnTo>
                  <a:lnTo>
                    <a:pt x="721" y="707"/>
                  </a:lnTo>
                  <a:lnTo>
                    <a:pt x="715" y="702"/>
                  </a:lnTo>
                  <a:lnTo>
                    <a:pt x="702" y="709"/>
                  </a:lnTo>
                  <a:lnTo>
                    <a:pt x="694" y="709"/>
                  </a:lnTo>
                  <a:lnTo>
                    <a:pt x="694" y="700"/>
                  </a:lnTo>
                  <a:lnTo>
                    <a:pt x="686" y="702"/>
                  </a:lnTo>
                  <a:lnTo>
                    <a:pt x="684" y="702"/>
                  </a:lnTo>
                  <a:lnTo>
                    <a:pt x="679" y="700"/>
                  </a:lnTo>
                  <a:lnTo>
                    <a:pt x="677" y="696"/>
                  </a:lnTo>
                  <a:lnTo>
                    <a:pt x="663" y="675"/>
                  </a:lnTo>
                  <a:lnTo>
                    <a:pt x="663" y="677"/>
                  </a:lnTo>
                  <a:lnTo>
                    <a:pt x="661" y="673"/>
                  </a:lnTo>
                  <a:lnTo>
                    <a:pt x="654" y="679"/>
                  </a:lnTo>
                  <a:lnTo>
                    <a:pt x="648" y="677"/>
                  </a:lnTo>
                  <a:lnTo>
                    <a:pt x="646" y="682"/>
                  </a:lnTo>
                  <a:lnTo>
                    <a:pt x="644" y="682"/>
                  </a:lnTo>
                  <a:lnTo>
                    <a:pt x="640" y="686"/>
                  </a:lnTo>
                  <a:lnTo>
                    <a:pt x="634" y="684"/>
                  </a:lnTo>
                  <a:lnTo>
                    <a:pt x="631" y="688"/>
                  </a:lnTo>
                  <a:lnTo>
                    <a:pt x="636" y="702"/>
                  </a:lnTo>
                  <a:lnTo>
                    <a:pt x="627" y="700"/>
                  </a:lnTo>
                  <a:lnTo>
                    <a:pt x="625" y="696"/>
                  </a:lnTo>
                  <a:lnTo>
                    <a:pt x="619" y="700"/>
                  </a:lnTo>
                  <a:lnTo>
                    <a:pt x="613" y="696"/>
                  </a:lnTo>
                  <a:lnTo>
                    <a:pt x="615" y="694"/>
                  </a:lnTo>
                  <a:lnTo>
                    <a:pt x="610" y="690"/>
                  </a:lnTo>
                  <a:lnTo>
                    <a:pt x="608" y="684"/>
                  </a:lnTo>
                  <a:lnTo>
                    <a:pt x="602" y="679"/>
                  </a:lnTo>
                  <a:lnTo>
                    <a:pt x="600" y="667"/>
                  </a:lnTo>
                  <a:lnTo>
                    <a:pt x="606" y="663"/>
                  </a:lnTo>
                  <a:lnTo>
                    <a:pt x="604" y="661"/>
                  </a:lnTo>
                  <a:lnTo>
                    <a:pt x="600" y="663"/>
                  </a:lnTo>
                  <a:lnTo>
                    <a:pt x="594" y="657"/>
                  </a:lnTo>
                  <a:lnTo>
                    <a:pt x="592" y="657"/>
                  </a:lnTo>
                  <a:lnTo>
                    <a:pt x="583" y="636"/>
                  </a:lnTo>
                  <a:lnTo>
                    <a:pt x="581" y="638"/>
                  </a:lnTo>
                  <a:lnTo>
                    <a:pt x="579" y="636"/>
                  </a:lnTo>
                  <a:lnTo>
                    <a:pt x="579" y="631"/>
                  </a:lnTo>
                  <a:lnTo>
                    <a:pt x="575" y="627"/>
                  </a:lnTo>
                  <a:lnTo>
                    <a:pt x="573" y="617"/>
                  </a:lnTo>
                  <a:lnTo>
                    <a:pt x="571" y="615"/>
                  </a:lnTo>
                  <a:lnTo>
                    <a:pt x="569" y="611"/>
                  </a:lnTo>
                  <a:lnTo>
                    <a:pt x="575" y="609"/>
                  </a:lnTo>
                  <a:lnTo>
                    <a:pt x="575" y="594"/>
                  </a:lnTo>
                  <a:lnTo>
                    <a:pt x="581" y="588"/>
                  </a:lnTo>
                  <a:lnTo>
                    <a:pt x="586" y="590"/>
                  </a:lnTo>
                  <a:lnTo>
                    <a:pt x="588" y="588"/>
                  </a:lnTo>
                  <a:lnTo>
                    <a:pt x="586" y="586"/>
                  </a:lnTo>
                  <a:lnTo>
                    <a:pt x="586" y="581"/>
                  </a:lnTo>
                  <a:lnTo>
                    <a:pt x="585" y="579"/>
                  </a:lnTo>
                  <a:lnTo>
                    <a:pt x="579" y="579"/>
                  </a:lnTo>
                  <a:lnTo>
                    <a:pt x="577" y="571"/>
                  </a:lnTo>
                  <a:lnTo>
                    <a:pt x="573" y="569"/>
                  </a:lnTo>
                  <a:lnTo>
                    <a:pt x="575" y="559"/>
                  </a:lnTo>
                  <a:lnTo>
                    <a:pt x="573" y="548"/>
                  </a:lnTo>
                  <a:lnTo>
                    <a:pt x="569" y="546"/>
                  </a:lnTo>
                  <a:lnTo>
                    <a:pt x="565" y="548"/>
                  </a:lnTo>
                  <a:lnTo>
                    <a:pt x="558" y="548"/>
                  </a:lnTo>
                  <a:lnTo>
                    <a:pt x="558" y="573"/>
                  </a:lnTo>
                  <a:lnTo>
                    <a:pt x="550" y="575"/>
                  </a:lnTo>
                  <a:lnTo>
                    <a:pt x="544" y="584"/>
                  </a:lnTo>
                  <a:lnTo>
                    <a:pt x="542" y="592"/>
                  </a:lnTo>
                  <a:lnTo>
                    <a:pt x="533" y="592"/>
                  </a:lnTo>
                  <a:lnTo>
                    <a:pt x="529" y="598"/>
                  </a:lnTo>
                  <a:lnTo>
                    <a:pt x="527" y="607"/>
                  </a:lnTo>
                  <a:lnTo>
                    <a:pt x="523" y="609"/>
                  </a:lnTo>
                  <a:lnTo>
                    <a:pt x="515" y="606"/>
                  </a:lnTo>
                  <a:lnTo>
                    <a:pt x="513" y="602"/>
                  </a:lnTo>
                  <a:lnTo>
                    <a:pt x="506" y="602"/>
                  </a:lnTo>
                  <a:lnTo>
                    <a:pt x="504" y="600"/>
                  </a:lnTo>
                  <a:lnTo>
                    <a:pt x="504" y="602"/>
                  </a:lnTo>
                  <a:lnTo>
                    <a:pt x="502" y="600"/>
                  </a:lnTo>
                  <a:lnTo>
                    <a:pt x="487" y="600"/>
                  </a:lnTo>
                  <a:lnTo>
                    <a:pt x="485" y="590"/>
                  </a:lnTo>
                  <a:lnTo>
                    <a:pt x="477" y="586"/>
                  </a:lnTo>
                  <a:lnTo>
                    <a:pt x="479" y="581"/>
                  </a:lnTo>
                  <a:lnTo>
                    <a:pt x="475" y="577"/>
                  </a:lnTo>
                  <a:lnTo>
                    <a:pt x="477" y="577"/>
                  </a:lnTo>
                  <a:lnTo>
                    <a:pt x="475" y="573"/>
                  </a:lnTo>
                  <a:lnTo>
                    <a:pt x="477" y="573"/>
                  </a:lnTo>
                  <a:lnTo>
                    <a:pt x="477" y="567"/>
                  </a:lnTo>
                  <a:lnTo>
                    <a:pt x="496" y="559"/>
                  </a:lnTo>
                  <a:lnTo>
                    <a:pt x="504" y="559"/>
                  </a:lnTo>
                  <a:lnTo>
                    <a:pt x="500" y="565"/>
                  </a:lnTo>
                  <a:lnTo>
                    <a:pt x="504" y="569"/>
                  </a:lnTo>
                  <a:lnTo>
                    <a:pt x="506" y="579"/>
                  </a:lnTo>
                  <a:lnTo>
                    <a:pt x="510" y="579"/>
                  </a:lnTo>
                  <a:lnTo>
                    <a:pt x="512" y="575"/>
                  </a:lnTo>
                  <a:lnTo>
                    <a:pt x="508" y="571"/>
                  </a:lnTo>
                  <a:lnTo>
                    <a:pt x="510" y="565"/>
                  </a:lnTo>
                  <a:lnTo>
                    <a:pt x="506" y="565"/>
                  </a:lnTo>
                  <a:lnTo>
                    <a:pt x="510" y="559"/>
                  </a:lnTo>
                  <a:lnTo>
                    <a:pt x="512" y="559"/>
                  </a:lnTo>
                  <a:lnTo>
                    <a:pt x="513" y="563"/>
                  </a:lnTo>
                  <a:lnTo>
                    <a:pt x="517" y="563"/>
                  </a:lnTo>
                  <a:lnTo>
                    <a:pt x="517" y="567"/>
                  </a:lnTo>
                  <a:lnTo>
                    <a:pt x="521" y="563"/>
                  </a:lnTo>
                  <a:lnTo>
                    <a:pt x="523" y="567"/>
                  </a:lnTo>
                  <a:lnTo>
                    <a:pt x="527" y="565"/>
                  </a:lnTo>
                  <a:lnTo>
                    <a:pt x="531" y="557"/>
                  </a:lnTo>
                  <a:lnTo>
                    <a:pt x="529" y="556"/>
                  </a:lnTo>
                  <a:lnTo>
                    <a:pt x="525" y="554"/>
                  </a:lnTo>
                  <a:lnTo>
                    <a:pt x="519" y="556"/>
                  </a:lnTo>
                  <a:lnTo>
                    <a:pt x="519" y="552"/>
                  </a:lnTo>
                  <a:lnTo>
                    <a:pt x="523" y="554"/>
                  </a:lnTo>
                  <a:lnTo>
                    <a:pt x="523" y="552"/>
                  </a:lnTo>
                  <a:lnTo>
                    <a:pt x="523" y="548"/>
                  </a:lnTo>
                  <a:lnTo>
                    <a:pt x="519" y="548"/>
                  </a:lnTo>
                  <a:lnTo>
                    <a:pt x="519" y="546"/>
                  </a:lnTo>
                  <a:lnTo>
                    <a:pt x="525" y="542"/>
                  </a:lnTo>
                  <a:lnTo>
                    <a:pt x="523" y="542"/>
                  </a:lnTo>
                  <a:lnTo>
                    <a:pt x="521" y="542"/>
                  </a:lnTo>
                  <a:lnTo>
                    <a:pt x="523" y="538"/>
                  </a:lnTo>
                  <a:lnTo>
                    <a:pt x="527" y="542"/>
                  </a:lnTo>
                  <a:lnTo>
                    <a:pt x="529" y="534"/>
                  </a:lnTo>
                  <a:lnTo>
                    <a:pt x="527" y="527"/>
                  </a:lnTo>
                  <a:lnTo>
                    <a:pt x="531" y="521"/>
                  </a:lnTo>
                  <a:lnTo>
                    <a:pt x="535" y="521"/>
                  </a:lnTo>
                  <a:lnTo>
                    <a:pt x="536" y="513"/>
                  </a:lnTo>
                  <a:lnTo>
                    <a:pt x="535" y="511"/>
                  </a:lnTo>
                  <a:lnTo>
                    <a:pt x="531" y="515"/>
                  </a:lnTo>
                  <a:lnTo>
                    <a:pt x="527" y="513"/>
                  </a:lnTo>
                  <a:lnTo>
                    <a:pt x="523" y="519"/>
                  </a:lnTo>
                  <a:lnTo>
                    <a:pt x="525" y="513"/>
                  </a:lnTo>
                  <a:lnTo>
                    <a:pt x="521" y="513"/>
                  </a:lnTo>
                  <a:lnTo>
                    <a:pt x="519" y="508"/>
                  </a:lnTo>
                  <a:lnTo>
                    <a:pt x="513" y="509"/>
                  </a:lnTo>
                  <a:lnTo>
                    <a:pt x="512" y="502"/>
                  </a:lnTo>
                  <a:lnTo>
                    <a:pt x="506" y="498"/>
                  </a:lnTo>
                  <a:lnTo>
                    <a:pt x="508" y="492"/>
                  </a:lnTo>
                  <a:lnTo>
                    <a:pt x="506" y="488"/>
                  </a:lnTo>
                  <a:lnTo>
                    <a:pt x="504" y="490"/>
                  </a:lnTo>
                  <a:lnTo>
                    <a:pt x="500" y="490"/>
                  </a:lnTo>
                  <a:lnTo>
                    <a:pt x="496" y="492"/>
                  </a:lnTo>
                  <a:lnTo>
                    <a:pt x="498" y="498"/>
                  </a:lnTo>
                  <a:lnTo>
                    <a:pt x="494" y="502"/>
                  </a:lnTo>
                  <a:lnTo>
                    <a:pt x="492" y="502"/>
                  </a:lnTo>
                  <a:lnTo>
                    <a:pt x="483" y="500"/>
                  </a:lnTo>
                  <a:lnTo>
                    <a:pt x="481" y="502"/>
                  </a:lnTo>
                  <a:lnTo>
                    <a:pt x="481" y="509"/>
                  </a:lnTo>
                  <a:lnTo>
                    <a:pt x="477" y="508"/>
                  </a:lnTo>
                  <a:lnTo>
                    <a:pt x="477" y="509"/>
                  </a:lnTo>
                  <a:lnTo>
                    <a:pt x="469" y="509"/>
                  </a:lnTo>
                  <a:lnTo>
                    <a:pt x="467" y="513"/>
                  </a:lnTo>
                  <a:lnTo>
                    <a:pt x="462" y="515"/>
                  </a:lnTo>
                  <a:lnTo>
                    <a:pt x="456" y="521"/>
                  </a:lnTo>
                  <a:lnTo>
                    <a:pt x="452" y="521"/>
                  </a:lnTo>
                  <a:lnTo>
                    <a:pt x="452" y="519"/>
                  </a:lnTo>
                  <a:lnTo>
                    <a:pt x="446" y="517"/>
                  </a:lnTo>
                  <a:lnTo>
                    <a:pt x="444" y="511"/>
                  </a:lnTo>
                  <a:lnTo>
                    <a:pt x="440" y="511"/>
                  </a:lnTo>
                  <a:lnTo>
                    <a:pt x="433" y="498"/>
                  </a:lnTo>
                  <a:lnTo>
                    <a:pt x="435" y="492"/>
                  </a:lnTo>
                  <a:lnTo>
                    <a:pt x="429" y="492"/>
                  </a:lnTo>
                  <a:lnTo>
                    <a:pt x="421" y="486"/>
                  </a:lnTo>
                  <a:lnTo>
                    <a:pt x="425" y="477"/>
                  </a:lnTo>
                  <a:lnTo>
                    <a:pt x="427" y="479"/>
                  </a:lnTo>
                  <a:lnTo>
                    <a:pt x="431" y="479"/>
                  </a:lnTo>
                  <a:lnTo>
                    <a:pt x="433" y="473"/>
                  </a:lnTo>
                  <a:lnTo>
                    <a:pt x="435" y="473"/>
                  </a:lnTo>
                  <a:lnTo>
                    <a:pt x="433" y="463"/>
                  </a:lnTo>
                  <a:lnTo>
                    <a:pt x="437" y="460"/>
                  </a:lnTo>
                  <a:lnTo>
                    <a:pt x="437" y="463"/>
                  </a:lnTo>
                  <a:lnTo>
                    <a:pt x="440" y="461"/>
                  </a:lnTo>
                  <a:lnTo>
                    <a:pt x="437" y="458"/>
                  </a:lnTo>
                  <a:lnTo>
                    <a:pt x="438" y="456"/>
                  </a:lnTo>
                  <a:lnTo>
                    <a:pt x="435" y="456"/>
                  </a:lnTo>
                  <a:lnTo>
                    <a:pt x="431" y="454"/>
                  </a:lnTo>
                  <a:lnTo>
                    <a:pt x="433" y="450"/>
                  </a:lnTo>
                  <a:lnTo>
                    <a:pt x="427" y="448"/>
                  </a:lnTo>
                  <a:lnTo>
                    <a:pt x="421" y="436"/>
                  </a:lnTo>
                  <a:lnTo>
                    <a:pt x="419" y="431"/>
                  </a:lnTo>
                  <a:lnTo>
                    <a:pt x="425" y="433"/>
                  </a:lnTo>
                  <a:lnTo>
                    <a:pt x="421" y="425"/>
                  </a:lnTo>
                  <a:lnTo>
                    <a:pt x="425" y="421"/>
                  </a:lnTo>
                  <a:lnTo>
                    <a:pt x="429" y="419"/>
                  </a:lnTo>
                  <a:lnTo>
                    <a:pt x="433" y="425"/>
                  </a:lnTo>
                  <a:lnTo>
                    <a:pt x="435" y="425"/>
                  </a:lnTo>
                  <a:lnTo>
                    <a:pt x="438" y="410"/>
                  </a:lnTo>
                  <a:lnTo>
                    <a:pt x="435" y="404"/>
                  </a:lnTo>
                  <a:lnTo>
                    <a:pt x="433" y="406"/>
                  </a:lnTo>
                  <a:lnTo>
                    <a:pt x="423" y="400"/>
                  </a:lnTo>
                  <a:lnTo>
                    <a:pt x="421" y="394"/>
                  </a:lnTo>
                  <a:lnTo>
                    <a:pt x="423" y="385"/>
                  </a:lnTo>
                  <a:lnTo>
                    <a:pt x="427" y="383"/>
                  </a:lnTo>
                  <a:lnTo>
                    <a:pt x="429" y="373"/>
                  </a:lnTo>
                  <a:lnTo>
                    <a:pt x="427" y="365"/>
                  </a:lnTo>
                  <a:lnTo>
                    <a:pt x="431" y="358"/>
                  </a:lnTo>
                  <a:lnTo>
                    <a:pt x="425" y="354"/>
                  </a:lnTo>
                  <a:lnTo>
                    <a:pt x="423" y="348"/>
                  </a:lnTo>
                  <a:lnTo>
                    <a:pt x="421" y="348"/>
                  </a:lnTo>
                  <a:lnTo>
                    <a:pt x="415" y="352"/>
                  </a:lnTo>
                  <a:lnTo>
                    <a:pt x="413" y="348"/>
                  </a:lnTo>
                  <a:lnTo>
                    <a:pt x="410" y="350"/>
                  </a:lnTo>
                  <a:lnTo>
                    <a:pt x="406" y="342"/>
                  </a:lnTo>
                  <a:lnTo>
                    <a:pt x="408" y="342"/>
                  </a:lnTo>
                  <a:lnTo>
                    <a:pt x="406" y="338"/>
                  </a:lnTo>
                  <a:lnTo>
                    <a:pt x="402" y="337"/>
                  </a:lnTo>
                  <a:lnTo>
                    <a:pt x="400" y="327"/>
                  </a:lnTo>
                  <a:lnTo>
                    <a:pt x="381" y="329"/>
                  </a:lnTo>
                  <a:lnTo>
                    <a:pt x="371" y="323"/>
                  </a:lnTo>
                  <a:lnTo>
                    <a:pt x="365" y="325"/>
                  </a:lnTo>
                  <a:lnTo>
                    <a:pt x="362" y="310"/>
                  </a:lnTo>
                  <a:lnTo>
                    <a:pt x="365" y="308"/>
                  </a:lnTo>
                  <a:lnTo>
                    <a:pt x="362" y="298"/>
                  </a:lnTo>
                  <a:lnTo>
                    <a:pt x="365" y="296"/>
                  </a:lnTo>
                  <a:lnTo>
                    <a:pt x="365" y="290"/>
                  </a:lnTo>
                  <a:lnTo>
                    <a:pt x="369" y="288"/>
                  </a:lnTo>
                  <a:lnTo>
                    <a:pt x="365" y="287"/>
                  </a:lnTo>
                  <a:lnTo>
                    <a:pt x="367" y="283"/>
                  </a:lnTo>
                  <a:lnTo>
                    <a:pt x="364" y="279"/>
                  </a:lnTo>
                  <a:lnTo>
                    <a:pt x="362" y="267"/>
                  </a:lnTo>
                  <a:lnTo>
                    <a:pt x="358" y="264"/>
                  </a:lnTo>
                  <a:lnTo>
                    <a:pt x="358" y="248"/>
                  </a:lnTo>
                  <a:lnTo>
                    <a:pt x="346" y="227"/>
                  </a:lnTo>
                  <a:lnTo>
                    <a:pt x="344" y="227"/>
                  </a:lnTo>
                  <a:lnTo>
                    <a:pt x="337" y="217"/>
                  </a:lnTo>
                  <a:lnTo>
                    <a:pt x="333" y="215"/>
                  </a:lnTo>
                  <a:lnTo>
                    <a:pt x="329" y="208"/>
                  </a:lnTo>
                  <a:lnTo>
                    <a:pt x="329" y="202"/>
                  </a:lnTo>
                  <a:lnTo>
                    <a:pt x="319" y="190"/>
                  </a:lnTo>
                  <a:lnTo>
                    <a:pt x="317" y="185"/>
                  </a:lnTo>
                  <a:lnTo>
                    <a:pt x="314" y="181"/>
                  </a:lnTo>
                  <a:lnTo>
                    <a:pt x="314" y="177"/>
                  </a:lnTo>
                  <a:lnTo>
                    <a:pt x="312" y="171"/>
                  </a:lnTo>
                  <a:lnTo>
                    <a:pt x="306" y="166"/>
                  </a:lnTo>
                  <a:lnTo>
                    <a:pt x="298" y="142"/>
                  </a:lnTo>
                  <a:lnTo>
                    <a:pt x="294" y="142"/>
                  </a:lnTo>
                  <a:lnTo>
                    <a:pt x="285" y="135"/>
                  </a:lnTo>
                  <a:lnTo>
                    <a:pt x="283" y="125"/>
                  </a:lnTo>
                  <a:lnTo>
                    <a:pt x="275" y="123"/>
                  </a:lnTo>
                  <a:lnTo>
                    <a:pt x="269" y="119"/>
                  </a:lnTo>
                  <a:lnTo>
                    <a:pt x="269" y="116"/>
                  </a:lnTo>
                  <a:lnTo>
                    <a:pt x="267" y="112"/>
                  </a:lnTo>
                  <a:lnTo>
                    <a:pt x="266" y="106"/>
                  </a:lnTo>
                  <a:lnTo>
                    <a:pt x="264" y="104"/>
                  </a:lnTo>
                  <a:lnTo>
                    <a:pt x="260" y="91"/>
                  </a:lnTo>
                  <a:lnTo>
                    <a:pt x="250" y="69"/>
                  </a:lnTo>
                  <a:lnTo>
                    <a:pt x="252" y="64"/>
                  </a:lnTo>
                  <a:lnTo>
                    <a:pt x="252" y="58"/>
                  </a:lnTo>
                  <a:lnTo>
                    <a:pt x="250" y="54"/>
                  </a:lnTo>
                  <a:lnTo>
                    <a:pt x="246" y="56"/>
                  </a:lnTo>
                  <a:lnTo>
                    <a:pt x="241" y="54"/>
                  </a:lnTo>
                  <a:lnTo>
                    <a:pt x="239" y="46"/>
                  </a:lnTo>
                  <a:lnTo>
                    <a:pt x="233" y="43"/>
                  </a:lnTo>
                  <a:lnTo>
                    <a:pt x="229" y="43"/>
                  </a:lnTo>
                  <a:lnTo>
                    <a:pt x="229" y="31"/>
                  </a:lnTo>
                  <a:lnTo>
                    <a:pt x="225" y="27"/>
                  </a:lnTo>
                  <a:lnTo>
                    <a:pt x="225" y="19"/>
                  </a:lnTo>
                  <a:lnTo>
                    <a:pt x="227" y="4"/>
                  </a:lnTo>
                  <a:lnTo>
                    <a:pt x="229"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1" name="Freeform 49"/>
            <p:cNvSpPr>
              <a:spLocks/>
            </p:cNvSpPr>
            <p:nvPr/>
          </p:nvSpPr>
          <p:spPr bwMode="auto">
            <a:xfrm>
              <a:off x="2994" y="1470"/>
              <a:ext cx="646" cy="985"/>
            </a:xfrm>
            <a:custGeom>
              <a:avLst/>
              <a:gdLst>
                <a:gd name="T0" fmla="*/ 12 w 646"/>
                <a:gd name="T1" fmla="*/ 13 h 985"/>
                <a:gd name="T2" fmla="*/ 25 w 646"/>
                <a:gd name="T3" fmla="*/ 28 h 985"/>
                <a:gd name="T4" fmla="*/ 31 w 646"/>
                <a:gd name="T5" fmla="*/ 50 h 985"/>
                <a:gd name="T6" fmla="*/ 27 w 646"/>
                <a:gd name="T7" fmla="*/ 59 h 985"/>
                <a:gd name="T8" fmla="*/ 27 w 646"/>
                <a:gd name="T9" fmla="*/ 73 h 985"/>
                <a:gd name="T10" fmla="*/ 29 w 646"/>
                <a:gd name="T11" fmla="*/ 78 h 985"/>
                <a:gd name="T12" fmla="*/ 33 w 646"/>
                <a:gd name="T13" fmla="*/ 86 h 985"/>
                <a:gd name="T14" fmla="*/ 27 w 646"/>
                <a:gd name="T15" fmla="*/ 94 h 985"/>
                <a:gd name="T16" fmla="*/ 37 w 646"/>
                <a:gd name="T17" fmla="*/ 103 h 985"/>
                <a:gd name="T18" fmla="*/ 44 w 646"/>
                <a:gd name="T19" fmla="*/ 111 h 985"/>
                <a:gd name="T20" fmla="*/ 46 w 646"/>
                <a:gd name="T21" fmla="*/ 125 h 985"/>
                <a:gd name="T22" fmla="*/ 56 w 646"/>
                <a:gd name="T23" fmla="*/ 130 h 985"/>
                <a:gd name="T24" fmla="*/ 62 w 646"/>
                <a:gd name="T25" fmla="*/ 134 h 985"/>
                <a:gd name="T26" fmla="*/ 62 w 646"/>
                <a:gd name="T27" fmla="*/ 151 h 985"/>
                <a:gd name="T28" fmla="*/ 52 w 646"/>
                <a:gd name="T29" fmla="*/ 163 h 985"/>
                <a:gd name="T30" fmla="*/ 85 w 646"/>
                <a:gd name="T31" fmla="*/ 182 h 985"/>
                <a:gd name="T32" fmla="*/ 106 w 646"/>
                <a:gd name="T33" fmla="*/ 199 h 985"/>
                <a:gd name="T34" fmla="*/ 102 w 646"/>
                <a:gd name="T35" fmla="*/ 240 h 985"/>
                <a:gd name="T36" fmla="*/ 90 w 646"/>
                <a:gd name="T37" fmla="*/ 263 h 985"/>
                <a:gd name="T38" fmla="*/ 83 w 646"/>
                <a:gd name="T39" fmla="*/ 282 h 985"/>
                <a:gd name="T40" fmla="*/ 75 w 646"/>
                <a:gd name="T41" fmla="*/ 297 h 985"/>
                <a:gd name="T42" fmla="*/ 67 w 646"/>
                <a:gd name="T43" fmla="*/ 313 h 985"/>
                <a:gd name="T44" fmla="*/ 56 w 646"/>
                <a:gd name="T45" fmla="*/ 328 h 985"/>
                <a:gd name="T46" fmla="*/ 46 w 646"/>
                <a:gd name="T47" fmla="*/ 344 h 985"/>
                <a:gd name="T48" fmla="*/ 35 w 646"/>
                <a:gd name="T49" fmla="*/ 365 h 985"/>
                <a:gd name="T50" fmla="*/ 52 w 646"/>
                <a:gd name="T51" fmla="*/ 359 h 985"/>
                <a:gd name="T52" fmla="*/ 56 w 646"/>
                <a:gd name="T53" fmla="*/ 365 h 985"/>
                <a:gd name="T54" fmla="*/ 73 w 646"/>
                <a:gd name="T55" fmla="*/ 388 h 985"/>
                <a:gd name="T56" fmla="*/ 112 w 646"/>
                <a:gd name="T57" fmla="*/ 392 h 985"/>
                <a:gd name="T58" fmla="*/ 67 w 646"/>
                <a:gd name="T59" fmla="*/ 415 h 985"/>
                <a:gd name="T60" fmla="*/ 48 w 646"/>
                <a:gd name="T61" fmla="*/ 418 h 985"/>
                <a:gd name="T62" fmla="*/ 46 w 646"/>
                <a:gd name="T63" fmla="*/ 468 h 985"/>
                <a:gd name="T64" fmla="*/ 52 w 646"/>
                <a:gd name="T65" fmla="*/ 518 h 985"/>
                <a:gd name="T66" fmla="*/ 73 w 646"/>
                <a:gd name="T67" fmla="*/ 538 h 985"/>
                <a:gd name="T68" fmla="*/ 58 w 646"/>
                <a:gd name="T69" fmla="*/ 536 h 985"/>
                <a:gd name="T70" fmla="*/ 52 w 646"/>
                <a:gd name="T71" fmla="*/ 563 h 985"/>
                <a:gd name="T72" fmla="*/ 71 w 646"/>
                <a:gd name="T73" fmla="*/ 590 h 985"/>
                <a:gd name="T74" fmla="*/ 85 w 646"/>
                <a:gd name="T75" fmla="*/ 616 h 985"/>
                <a:gd name="T76" fmla="*/ 104 w 646"/>
                <a:gd name="T77" fmla="*/ 647 h 985"/>
                <a:gd name="T78" fmla="*/ 142 w 646"/>
                <a:gd name="T79" fmla="*/ 651 h 985"/>
                <a:gd name="T80" fmla="*/ 163 w 646"/>
                <a:gd name="T81" fmla="*/ 651 h 985"/>
                <a:gd name="T82" fmla="*/ 196 w 646"/>
                <a:gd name="T83" fmla="*/ 680 h 985"/>
                <a:gd name="T84" fmla="*/ 202 w 646"/>
                <a:gd name="T85" fmla="*/ 711 h 985"/>
                <a:gd name="T86" fmla="*/ 231 w 646"/>
                <a:gd name="T87" fmla="*/ 741 h 985"/>
                <a:gd name="T88" fmla="*/ 277 w 646"/>
                <a:gd name="T89" fmla="*/ 764 h 985"/>
                <a:gd name="T90" fmla="*/ 284 w 646"/>
                <a:gd name="T91" fmla="*/ 791 h 985"/>
                <a:gd name="T92" fmla="*/ 256 w 646"/>
                <a:gd name="T93" fmla="*/ 803 h 985"/>
                <a:gd name="T94" fmla="*/ 260 w 646"/>
                <a:gd name="T95" fmla="*/ 837 h 985"/>
                <a:gd name="T96" fmla="*/ 279 w 646"/>
                <a:gd name="T97" fmla="*/ 872 h 985"/>
                <a:gd name="T98" fmla="*/ 317 w 646"/>
                <a:gd name="T99" fmla="*/ 853 h 985"/>
                <a:gd name="T100" fmla="*/ 348 w 646"/>
                <a:gd name="T101" fmla="*/ 837 h 985"/>
                <a:gd name="T102" fmla="*/ 377 w 646"/>
                <a:gd name="T103" fmla="*/ 885 h 985"/>
                <a:gd name="T104" fmla="*/ 411 w 646"/>
                <a:gd name="T105" fmla="*/ 897 h 985"/>
                <a:gd name="T106" fmla="*/ 436 w 646"/>
                <a:gd name="T107" fmla="*/ 930 h 985"/>
                <a:gd name="T108" fmla="*/ 477 w 646"/>
                <a:gd name="T109" fmla="*/ 941 h 985"/>
                <a:gd name="T110" fmla="*/ 519 w 646"/>
                <a:gd name="T111" fmla="*/ 924 h 985"/>
                <a:gd name="T112" fmla="*/ 554 w 646"/>
                <a:gd name="T113" fmla="*/ 941 h 985"/>
                <a:gd name="T114" fmla="*/ 573 w 646"/>
                <a:gd name="T115" fmla="*/ 935 h 985"/>
                <a:gd name="T116" fmla="*/ 621 w 646"/>
                <a:gd name="T117" fmla="*/ 945 h 985"/>
                <a:gd name="T118" fmla="*/ 636 w 646"/>
                <a:gd name="T119" fmla="*/ 968 h 985"/>
                <a:gd name="T120" fmla="*/ 644 w 646"/>
                <a:gd name="T121" fmla="*/ 981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6" h="985">
                  <a:moveTo>
                    <a:pt x="0" y="0"/>
                  </a:moveTo>
                  <a:lnTo>
                    <a:pt x="4" y="2"/>
                  </a:lnTo>
                  <a:lnTo>
                    <a:pt x="6" y="5"/>
                  </a:lnTo>
                  <a:lnTo>
                    <a:pt x="8" y="9"/>
                  </a:lnTo>
                  <a:lnTo>
                    <a:pt x="10" y="9"/>
                  </a:lnTo>
                  <a:lnTo>
                    <a:pt x="12" y="13"/>
                  </a:lnTo>
                  <a:lnTo>
                    <a:pt x="14" y="15"/>
                  </a:lnTo>
                  <a:lnTo>
                    <a:pt x="14" y="17"/>
                  </a:lnTo>
                  <a:lnTo>
                    <a:pt x="17" y="21"/>
                  </a:lnTo>
                  <a:lnTo>
                    <a:pt x="21" y="23"/>
                  </a:lnTo>
                  <a:lnTo>
                    <a:pt x="23" y="27"/>
                  </a:lnTo>
                  <a:lnTo>
                    <a:pt x="25" y="28"/>
                  </a:lnTo>
                  <a:lnTo>
                    <a:pt x="27" y="32"/>
                  </a:lnTo>
                  <a:lnTo>
                    <a:pt x="29" y="38"/>
                  </a:lnTo>
                  <a:lnTo>
                    <a:pt x="31" y="42"/>
                  </a:lnTo>
                  <a:lnTo>
                    <a:pt x="33" y="46"/>
                  </a:lnTo>
                  <a:lnTo>
                    <a:pt x="33" y="50"/>
                  </a:lnTo>
                  <a:lnTo>
                    <a:pt x="31" y="50"/>
                  </a:lnTo>
                  <a:lnTo>
                    <a:pt x="29" y="50"/>
                  </a:lnTo>
                  <a:lnTo>
                    <a:pt x="25" y="51"/>
                  </a:lnTo>
                  <a:lnTo>
                    <a:pt x="23" y="53"/>
                  </a:lnTo>
                  <a:lnTo>
                    <a:pt x="23" y="55"/>
                  </a:lnTo>
                  <a:lnTo>
                    <a:pt x="25" y="57"/>
                  </a:lnTo>
                  <a:lnTo>
                    <a:pt x="27" y="59"/>
                  </a:lnTo>
                  <a:lnTo>
                    <a:pt x="27" y="61"/>
                  </a:lnTo>
                  <a:lnTo>
                    <a:pt x="25" y="63"/>
                  </a:lnTo>
                  <a:lnTo>
                    <a:pt x="25" y="65"/>
                  </a:lnTo>
                  <a:lnTo>
                    <a:pt x="25" y="69"/>
                  </a:lnTo>
                  <a:lnTo>
                    <a:pt x="27" y="71"/>
                  </a:lnTo>
                  <a:lnTo>
                    <a:pt x="27" y="73"/>
                  </a:lnTo>
                  <a:lnTo>
                    <a:pt x="25" y="73"/>
                  </a:lnTo>
                  <a:lnTo>
                    <a:pt x="25" y="76"/>
                  </a:lnTo>
                  <a:lnTo>
                    <a:pt x="23" y="78"/>
                  </a:lnTo>
                  <a:lnTo>
                    <a:pt x="25" y="78"/>
                  </a:lnTo>
                  <a:lnTo>
                    <a:pt x="27" y="80"/>
                  </a:lnTo>
                  <a:lnTo>
                    <a:pt x="29" y="78"/>
                  </a:lnTo>
                  <a:lnTo>
                    <a:pt x="31" y="78"/>
                  </a:lnTo>
                  <a:lnTo>
                    <a:pt x="33" y="80"/>
                  </a:lnTo>
                  <a:lnTo>
                    <a:pt x="33" y="82"/>
                  </a:lnTo>
                  <a:lnTo>
                    <a:pt x="31" y="84"/>
                  </a:lnTo>
                  <a:lnTo>
                    <a:pt x="33" y="84"/>
                  </a:lnTo>
                  <a:lnTo>
                    <a:pt x="33" y="86"/>
                  </a:lnTo>
                  <a:lnTo>
                    <a:pt x="31" y="86"/>
                  </a:lnTo>
                  <a:lnTo>
                    <a:pt x="29" y="86"/>
                  </a:lnTo>
                  <a:lnTo>
                    <a:pt x="27" y="88"/>
                  </a:lnTo>
                  <a:lnTo>
                    <a:pt x="27" y="90"/>
                  </a:lnTo>
                  <a:lnTo>
                    <a:pt x="27" y="92"/>
                  </a:lnTo>
                  <a:lnTo>
                    <a:pt x="27" y="94"/>
                  </a:lnTo>
                  <a:lnTo>
                    <a:pt x="27" y="96"/>
                  </a:lnTo>
                  <a:lnTo>
                    <a:pt x="29" y="98"/>
                  </a:lnTo>
                  <a:lnTo>
                    <a:pt x="31" y="101"/>
                  </a:lnTo>
                  <a:lnTo>
                    <a:pt x="33" y="103"/>
                  </a:lnTo>
                  <a:lnTo>
                    <a:pt x="35" y="103"/>
                  </a:lnTo>
                  <a:lnTo>
                    <a:pt x="37" y="103"/>
                  </a:lnTo>
                  <a:lnTo>
                    <a:pt x="40" y="103"/>
                  </a:lnTo>
                  <a:lnTo>
                    <a:pt x="42" y="103"/>
                  </a:lnTo>
                  <a:lnTo>
                    <a:pt x="42" y="105"/>
                  </a:lnTo>
                  <a:lnTo>
                    <a:pt x="42" y="107"/>
                  </a:lnTo>
                  <a:lnTo>
                    <a:pt x="44" y="109"/>
                  </a:lnTo>
                  <a:lnTo>
                    <a:pt x="44" y="111"/>
                  </a:lnTo>
                  <a:lnTo>
                    <a:pt x="44" y="113"/>
                  </a:lnTo>
                  <a:lnTo>
                    <a:pt x="42" y="115"/>
                  </a:lnTo>
                  <a:lnTo>
                    <a:pt x="42" y="117"/>
                  </a:lnTo>
                  <a:lnTo>
                    <a:pt x="44" y="121"/>
                  </a:lnTo>
                  <a:lnTo>
                    <a:pt x="46" y="123"/>
                  </a:lnTo>
                  <a:lnTo>
                    <a:pt x="46" y="125"/>
                  </a:lnTo>
                  <a:lnTo>
                    <a:pt x="46" y="126"/>
                  </a:lnTo>
                  <a:lnTo>
                    <a:pt x="48" y="126"/>
                  </a:lnTo>
                  <a:lnTo>
                    <a:pt x="50" y="128"/>
                  </a:lnTo>
                  <a:lnTo>
                    <a:pt x="52" y="128"/>
                  </a:lnTo>
                  <a:lnTo>
                    <a:pt x="56" y="128"/>
                  </a:lnTo>
                  <a:lnTo>
                    <a:pt x="56" y="130"/>
                  </a:lnTo>
                  <a:lnTo>
                    <a:pt x="58" y="130"/>
                  </a:lnTo>
                  <a:lnTo>
                    <a:pt x="60" y="130"/>
                  </a:lnTo>
                  <a:lnTo>
                    <a:pt x="60" y="132"/>
                  </a:lnTo>
                  <a:lnTo>
                    <a:pt x="62" y="132"/>
                  </a:lnTo>
                  <a:lnTo>
                    <a:pt x="60" y="134"/>
                  </a:lnTo>
                  <a:lnTo>
                    <a:pt x="62" y="134"/>
                  </a:lnTo>
                  <a:lnTo>
                    <a:pt x="63" y="136"/>
                  </a:lnTo>
                  <a:lnTo>
                    <a:pt x="65" y="138"/>
                  </a:lnTo>
                  <a:lnTo>
                    <a:pt x="63" y="142"/>
                  </a:lnTo>
                  <a:lnTo>
                    <a:pt x="63" y="146"/>
                  </a:lnTo>
                  <a:lnTo>
                    <a:pt x="62" y="148"/>
                  </a:lnTo>
                  <a:lnTo>
                    <a:pt x="62" y="151"/>
                  </a:lnTo>
                  <a:lnTo>
                    <a:pt x="60" y="153"/>
                  </a:lnTo>
                  <a:lnTo>
                    <a:pt x="60" y="155"/>
                  </a:lnTo>
                  <a:lnTo>
                    <a:pt x="60" y="157"/>
                  </a:lnTo>
                  <a:lnTo>
                    <a:pt x="58" y="159"/>
                  </a:lnTo>
                  <a:lnTo>
                    <a:pt x="56" y="161"/>
                  </a:lnTo>
                  <a:lnTo>
                    <a:pt x="52" y="163"/>
                  </a:lnTo>
                  <a:lnTo>
                    <a:pt x="65" y="174"/>
                  </a:lnTo>
                  <a:lnTo>
                    <a:pt x="67" y="174"/>
                  </a:lnTo>
                  <a:lnTo>
                    <a:pt x="71" y="178"/>
                  </a:lnTo>
                  <a:lnTo>
                    <a:pt x="81" y="180"/>
                  </a:lnTo>
                  <a:lnTo>
                    <a:pt x="83" y="182"/>
                  </a:lnTo>
                  <a:lnTo>
                    <a:pt x="85" y="182"/>
                  </a:lnTo>
                  <a:lnTo>
                    <a:pt x="88" y="186"/>
                  </a:lnTo>
                  <a:lnTo>
                    <a:pt x="90" y="186"/>
                  </a:lnTo>
                  <a:lnTo>
                    <a:pt x="92" y="188"/>
                  </a:lnTo>
                  <a:lnTo>
                    <a:pt x="96" y="188"/>
                  </a:lnTo>
                  <a:lnTo>
                    <a:pt x="98" y="196"/>
                  </a:lnTo>
                  <a:lnTo>
                    <a:pt x="106" y="199"/>
                  </a:lnTo>
                  <a:lnTo>
                    <a:pt x="112" y="207"/>
                  </a:lnTo>
                  <a:lnTo>
                    <a:pt x="108" y="226"/>
                  </a:lnTo>
                  <a:lnTo>
                    <a:pt x="106" y="230"/>
                  </a:lnTo>
                  <a:lnTo>
                    <a:pt x="106" y="232"/>
                  </a:lnTo>
                  <a:lnTo>
                    <a:pt x="106" y="234"/>
                  </a:lnTo>
                  <a:lnTo>
                    <a:pt x="102" y="240"/>
                  </a:lnTo>
                  <a:lnTo>
                    <a:pt x="100" y="244"/>
                  </a:lnTo>
                  <a:lnTo>
                    <a:pt x="100" y="246"/>
                  </a:lnTo>
                  <a:lnTo>
                    <a:pt x="96" y="249"/>
                  </a:lnTo>
                  <a:lnTo>
                    <a:pt x="94" y="253"/>
                  </a:lnTo>
                  <a:lnTo>
                    <a:pt x="92" y="257"/>
                  </a:lnTo>
                  <a:lnTo>
                    <a:pt x="90" y="263"/>
                  </a:lnTo>
                  <a:lnTo>
                    <a:pt x="88" y="265"/>
                  </a:lnTo>
                  <a:lnTo>
                    <a:pt x="88" y="269"/>
                  </a:lnTo>
                  <a:lnTo>
                    <a:pt x="87" y="272"/>
                  </a:lnTo>
                  <a:lnTo>
                    <a:pt x="85" y="276"/>
                  </a:lnTo>
                  <a:lnTo>
                    <a:pt x="83" y="278"/>
                  </a:lnTo>
                  <a:lnTo>
                    <a:pt x="83" y="282"/>
                  </a:lnTo>
                  <a:lnTo>
                    <a:pt x="83" y="284"/>
                  </a:lnTo>
                  <a:lnTo>
                    <a:pt x="81" y="286"/>
                  </a:lnTo>
                  <a:lnTo>
                    <a:pt x="79" y="288"/>
                  </a:lnTo>
                  <a:lnTo>
                    <a:pt x="77" y="292"/>
                  </a:lnTo>
                  <a:lnTo>
                    <a:pt x="77" y="296"/>
                  </a:lnTo>
                  <a:lnTo>
                    <a:pt x="75" y="297"/>
                  </a:lnTo>
                  <a:lnTo>
                    <a:pt x="73" y="301"/>
                  </a:lnTo>
                  <a:lnTo>
                    <a:pt x="73" y="303"/>
                  </a:lnTo>
                  <a:lnTo>
                    <a:pt x="69" y="303"/>
                  </a:lnTo>
                  <a:lnTo>
                    <a:pt x="69" y="307"/>
                  </a:lnTo>
                  <a:lnTo>
                    <a:pt x="67" y="309"/>
                  </a:lnTo>
                  <a:lnTo>
                    <a:pt x="67" y="313"/>
                  </a:lnTo>
                  <a:lnTo>
                    <a:pt x="65" y="317"/>
                  </a:lnTo>
                  <a:lnTo>
                    <a:pt x="63" y="319"/>
                  </a:lnTo>
                  <a:lnTo>
                    <a:pt x="62" y="320"/>
                  </a:lnTo>
                  <a:lnTo>
                    <a:pt x="60" y="322"/>
                  </a:lnTo>
                  <a:lnTo>
                    <a:pt x="58" y="324"/>
                  </a:lnTo>
                  <a:lnTo>
                    <a:pt x="56" y="328"/>
                  </a:lnTo>
                  <a:lnTo>
                    <a:pt x="54" y="332"/>
                  </a:lnTo>
                  <a:lnTo>
                    <a:pt x="52" y="334"/>
                  </a:lnTo>
                  <a:lnTo>
                    <a:pt x="52" y="336"/>
                  </a:lnTo>
                  <a:lnTo>
                    <a:pt x="50" y="340"/>
                  </a:lnTo>
                  <a:lnTo>
                    <a:pt x="50" y="342"/>
                  </a:lnTo>
                  <a:lnTo>
                    <a:pt x="46" y="344"/>
                  </a:lnTo>
                  <a:lnTo>
                    <a:pt x="44" y="345"/>
                  </a:lnTo>
                  <a:lnTo>
                    <a:pt x="42" y="349"/>
                  </a:lnTo>
                  <a:lnTo>
                    <a:pt x="40" y="353"/>
                  </a:lnTo>
                  <a:lnTo>
                    <a:pt x="39" y="355"/>
                  </a:lnTo>
                  <a:lnTo>
                    <a:pt x="37" y="359"/>
                  </a:lnTo>
                  <a:lnTo>
                    <a:pt x="35" y="365"/>
                  </a:lnTo>
                  <a:lnTo>
                    <a:pt x="31" y="370"/>
                  </a:lnTo>
                  <a:lnTo>
                    <a:pt x="29" y="372"/>
                  </a:lnTo>
                  <a:lnTo>
                    <a:pt x="33" y="374"/>
                  </a:lnTo>
                  <a:lnTo>
                    <a:pt x="42" y="370"/>
                  </a:lnTo>
                  <a:lnTo>
                    <a:pt x="48" y="361"/>
                  </a:lnTo>
                  <a:lnTo>
                    <a:pt x="52" y="359"/>
                  </a:lnTo>
                  <a:lnTo>
                    <a:pt x="56" y="355"/>
                  </a:lnTo>
                  <a:lnTo>
                    <a:pt x="58" y="359"/>
                  </a:lnTo>
                  <a:lnTo>
                    <a:pt x="56" y="363"/>
                  </a:lnTo>
                  <a:lnTo>
                    <a:pt x="52" y="363"/>
                  </a:lnTo>
                  <a:lnTo>
                    <a:pt x="54" y="367"/>
                  </a:lnTo>
                  <a:lnTo>
                    <a:pt x="56" y="365"/>
                  </a:lnTo>
                  <a:lnTo>
                    <a:pt x="60" y="372"/>
                  </a:lnTo>
                  <a:lnTo>
                    <a:pt x="50" y="369"/>
                  </a:lnTo>
                  <a:lnTo>
                    <a:pt x="58" y="378"/>
                  </a:lnTo>
                  <a:lnTo>
                    <a:pt x="63" y="380"/>
                  </a:lnTo>
                  <a:lnTo>
                    <a:pt x="63" y="378"/>
                  </a:lnTo>
                  <a:lnTo>
                    <a:pt x="73" y="388"/>
                  </a:lnTo>
                  <a:lnTo>
                    <a:pt x="85" y="386"/>
                  </a:lnTo>
                  <a:lnTo>
                    <a:pt x="88" y="384"/>
                  </a:lnTo>
                  <a:lnTo>
                    <a:pt x="94" y="382"/>
                  </a:lnTo>
                  <a:lnTo>
                    <a:pt x="100" y="384"/>
                  </a:lnTo>
                  <a:lnTo>
                    <a:pt x="104" y="392"/>
                  </a:lnTo>
                  <a:lnTo>
                    <a:pt x="112" y="392"/>
                  </a:lnTo>
                  <a:lnTo>
                    <a:pt x="112" y="399"/>
                  </a:lnTo>
                  <a:lnTo>
                    <a:pt x="79" y="397"/>
                  </a:lnTo>
                  <a:lnTo>
                    <a:pt x="75" y="403"/>
                  </a:lnTo>
                  <a:lnTo>
                    <a:pt x="77" y="407"/>
                  </a:lnTo>
                  <a:lnTo>
                    <a:pt x="73" y="411"/>
                  </a:lnTo>
                  <a:lnTo>
                    <a:pt x="67" y="415"/>
                  </a:lnTo>
                  <a:lnTo>
                    <a:pt x="60" y="411"/>
                  </a:lnTo>
                  <a:lnTo>
                    <a:pt x="58" y="415"/>
                  </a:lnTo>
                  <a:lnTo>
                    <a:pt x="60" y="424"/>
                  </a:lnTo>
                  <a:lnTo>
                    <a:pt x="54" y="424"/>
                  </a:lnTo>
                  <a:lnTo>
                    <a:pt x="52" y="418"/>
                  </a:lnTo>
                  <a:lnTo>
                    <a:pt x="48" y="418"/>
                  </a:lnTo>
                  <a:lnTo>
                    <a:pt x="46" y="424"/>
                  </a:lnTo>
                  <a:lnTo>
                    <a:pt x="50" y="430"/>
                  </a:lnTo>
                  <a:lnTo>
                    <a:pt x="50" y="438"/>
                  </a:lnTo>
                  <a:lnTo>
                    <a:pt x="54" y="447"/>
                  </a:lnTo>
                  <a:lnTo>
                    <a:pt x="48" y="451"/>
                  </a:lnTo>
                  <a:lnTo>
                    <a:pt x="46" y="468"/>
                  </a:lnTo>
                  <a:lnTo>
                    <a:pt x="56" y="501"/>
                  </a:lnTo>
                  <a:lnTo>
                    <a:pt x="50" y="511"/>
                  </a:lnTo>
                  <a:lnTo>
                    <a:pt x="52" y="513"/>
                  </a:lnTo>
                  <a:lnTo>
                    <a:pt x="48" y="513"/>
                  </a:lnTo>
                  <a:lnTo>
                    <a:pt x="48" y="518"/>
                  </a:lnTo>
                  <a:lnTo>
                    <a:pt x="52" y="518"/>
                  </a:lnTo>
                  <a:lnTo>
                    <a:pt x="52" y="524"/>
                  </a:lnTo>
                  <a:lnTo>
                    <a:pt x="58" y="518"/>
                  </a:lnTo>
                  <a:lnTo>
                    <a:pt x="63" y="518"/>
                  </a:lnTo>
                  <a:lnTo>
                    <a:pt x="71" y="528"/>
                  </a:lnTo>
                  <a:lnTo>
                    <a:pt x="73" y="534"/>
                  </a:lnTo>
                  <a:lnTo>
                    <a:pt x="73" y="538"/>
                  </a:lnTo>
                  <a:lnTo>
                    <a:pt x="67" y="540"/>
                  </a:lnTo>
                  <a:lnTo>
                    <a:pt x="63" y="536"/>
                  </a:lnTo>
                  <a:lnTo>
                    <a:pt x="63" y="534"/>
                  </a:lnTo>
                  <a:lnTo>
                    <a:pt x="60" y="530"/>
                  </a:lnTo>
                  <a:lnTo>
                    <a:pt x="56" y="532"/>
                  </a:lnTo>
                  <a:lnTo>
                    <a:pt x="58" y="536"/>
                  </a:lnTo>
                  <a:lnTo>
                    <a:pt x="63" y="540"/>
                  </a:lnTo>
                  <a:lnTo>
                    <a:pt x="54" y="543"/>
                  </a:lnTo>
                  <a:lnTo>
                    <a:pt x="56" y="549"/>
                  </a:lnTo>
                  <a:lnTo>
                    <a:pt x="52" y="553"/>
                  </a:lnTo>
                  <a:lnTo>
                    <a:pt x="50" y="559"/>
                  </a:lnTo>
                  <a:lnTo>
                    <a:pt x="52" y="563"/>
                  </a:lnTo>
                  <a:lnTo>
                    <a:pt x="58" y="561"/>
                  </a:lnTo>
                  <a:lnTo>
                    <a:pt x="58" y="568"/>
                  </a:lnTo>
                  <a:lnTo>
                    <a:pt x="71" y="574"/>
                  </a:lnTo>
                  <a:lnTo>
                    <a:pt x="71" y="584"/>
                  </a:lnTo>
                  <a:lnTo>
                    <a:pt x="67" y="588"/>
                  </a:lnTo>
                  <a:lnTo>
                    <a:pt x="71" y="590"/>
                  </a:lnTo>
                  <a:lnTo>
                    <a:pt x="69" y="605"/>
                  </a:lnTo>
                  <a:lnTo>
                    <a:pt x="75" y="601"/>
                  </a:lnTo>
                  <a:lnTo>
                    <a:pt x="79" y="603"/>
                  </a:lnTo>
                  <a:lnTo>
                    <a:pt x="79" y="609"/>
                  </a:lnTo>
                  <a:lnTo>
                    <a:pt x="83" y="613"/>
                  </a:lnTo>
                  <a:lnTo>
                    <a:pt x="85" y="616"/>
                  </a:lnTo>
                  <a:lnTo>
                    <a:pt x="90" y="620"/>
                  </a:lnTo>
                  <a:lnTo>
                    <a:pt x="88" y="622"/>
                  </a:lnTo>
                  <a:lnTo>
                    <a:pt x="96" y="638"/>
                  </a:lnTo>
                  <a:lnTo>
                    <a:pt x="94" y="645"/>
                  </a:lnTo>
                  <a:lnTo>
                    <a:pt x="102" y="651"/>
                  </a:lnTo>
                  <a:lnTo>
                    <a:pt x="104" y="647"/>
                  </a:lnTo>
                  <a:lnTo>
                    <a:pt x="112" y="645"/>
                  </a:lnTo>
                  <a:lnTo>
                    <a:pt x="117" y="653"/>
                  </a:lnTo>
                  <a:lnTo>
                    <a:pt x="121" y="653"/>
                  </a:lnTo>
                  <a:lnTo>
                    <a:pt x="127" y="645"/>
                  </a:lnTo>
                  <a:lnTo>
                    <a:pt x="140" y="649"/>
                  </a:lnTo>
                  <a:lnTo>
                    <a:pt x="142" y="651"/>
                  </a:lnTo>
                  <a:lnTo>
                    <a:pt x="140" y="659"/>
                  </a:lnTo>
                  <a:lnTo>
                    <a:pt x="146" y="664"/>
                  </a:lnTo>
                  <a:lnTo>
                    <a:pt x="152" y="657"/>
                  </a:lnTo>
                  <a:lnTo>
                    <a:pt x="156" y="657"/>
                  </a:lnTo>
                  <a:lnTo>
                    <a:pt x="160" y="651"/>
                  </a:lnTo>
                  <a:lnTo>
                    <a:pt x="163" y="651"/>
                  </a:lnTo>
                  <a:lnTo>
                    <a:pt x="169" y="649"/>
                  </a:lnTo>
                  <a:lnTo>
                    <a:pt x="179" y="651"/>
                  </a:lnTo>
                  <a:lnTo>
                    <a:pt x="190" y="661"/>
                  </a:lnTo>
                  <a:lnTo>
                    <a:pt x="196" y="659"/>
                  </a:lnTo>
                  <a:lnTo>
                    <a:pt x="200" y="672"/>
                  </a:lnTo>
                  <a:lnTo>
                    <a:pt x="196" y="680"/>
                  </a:lnTo>
                  <a:lnTo>
                    <a:pt x="206" y="688"/>
                  </a:lnTo>
                  <a:lnTo>
                    <a:pt x="208" y="693"/>
                  </a:lnTo>
                  <a:lnTo>
                    <a:pt x="204" y="695"/>
                  </a:lnTo>
                  <a:lnTo>
                    <a:pt x="206" y="699"/>
                  </a:lnTo>
                  <a:lnTo>
                    <a:pt x="202" y="701"/>
                  </a:lnTo>
                  <a:lnTo>
                    <a:pt x="202" y="711"/>
                  </a:lnTo>
                  <a:lnTo>
                    <a:pt x="211" y="714"/>
                  </a:lnTo>
                  <a:lnTo>
                    <a:pt x="213" y="718"/>
                  </a:lnTo>
                  <a:lnTo>
                    <a:pt x="219" y="718"/>
                  </a:lnTo>
                  <a:lnTo>
                    <a:pt x="217" y="728"/>
                  </a:lnTo>
                  <a:lnTo>
                    <a:pt x="223" y="730"/>
                  </a:lnTo>
                  <a:lnTo>
                    <a:pt x="231" y="741"/>
                  </a:lnTo>
                  <a:lnTo>
                    <a:pt x="248" y="747"/>
                  </a:lnTo>
                  <a:lnTo>
                    <a:pt x="252" y="753"/>
                  </a:lnTo>
                  <a:lnTo>
                    <a:pt x="252" y="766"/>
                  </a:lnTo>
                  <a:lnTo>
                    <a:pt x="258" y="766"/>
                  </a:lnTo>
                  <a:lnTo>
                    <a:pt x="263" y="761"/>
                  </a:lnTo>
                  <a:lnTo>
                    <a:pt x="277" y="764"/>
                  </a:lnTo>
                  <a:lnTo>
                    <a:pt x="281" y="766"/>
                  </a:lnTo>
                  <a:lnTo>
                    <a:pt x="277" y="770"/>
                  </a:lnTo>
                  <a:lnTo>
                    <a:pt x="279" y="774"/>
                  </a:lnTo>
                  <a:lnTo>
                    <a:pt x="292" y="780"/>
                  </a:lnTo>
                  <a:lnTo>
                    <a:pt x="294" y="786"/>
                  </a:lnTo>
                  <a:lnTo>
                    <a:pt x="284" y="791"/>
                  </a:lnTo>
                  <a:lnTo>
                    <a:pt x="284" y="797"/>
                  </a:lnTo>
                  <a:lnTo>
                    <a:pt x="279" y="805"/>
                  </a:lnTo>
                  <a:lnTo>
                    <a:pt x="269" y="809"/>
                  </a:lnTo>
                  <a:lnTo>
                    <a:pt x="263" y="809"/>
                  </a:lnTo>
                  <a:lnTo>
                    <a:pt x="261" y="805"/>
                  </a:lnTo>
                  <a:lnTo>
                    <a:pt x="256" y="803"/>
                  </a:lnTo>
                  <a:lnTo>
                    <a:pt x="248" y="807"/>
                  </a:lnTo>
                  <a:lnTo>
                    <a:pt x="248" y="812"/>
                  </a:lnTo>
                  <a:lnTo>
                    <a:pt x="246" y="818"/>
                  </a:lnTo>
                  <a:lnTo>
                    <a:pt x="260" y="830"/>
                  </a:lnTo>
                  <a:lnTo>
                    <a:pt x="261" y="834"/>
                  </a:lnTo>
                  <a:lnTo>
                    <a:pt x="260" y="837"/>
                  </a:lnTo>
                  <a:lnTo>
                    <a:pt x="267" y="845"/>
                  </a:lnTo>
                  <a:lnTo>
                    <a:pt x="263" y="849"/>
                  </a:lnTo>
                  <a:lnTo>
                    <a:pt x="269" y="857"/>
                  </a:lnTo>
                  <a:lnTo>
                    <a:pt x="267" y="860"/>
                  </a:lnTo>
                  <a:lnTo>
                    <a:pt x="273" y="862"/>
                  </a:lnTo>
                  <a:lnTo>
                    <a:pt x="279" y="872"/>
                  </a:lnTo>
                  <a:lnTo>
                    <a:pt x="283" y="872"/>
                  </a:lnTo>
                  <a:lnTo>
                    <a:pt x="284" y="876"/>
                  </a:lnTo>
                  <a:lnTo>
                    <a:pt x="294" y="870"/>
                  </a:lnTo>
                  <a:lnTo>
                    <a:pt x="298" y="864"/>
                  </a:lnTo>
                  <a:lnTo>
                    <a:pt x="296" y="853"/>
                  </a:lnTo>
                  <a:lnTo>
                    <a:pt x="317" y="853"/>
                  </a:lnTo>
                  <a:lnTo>
                    <a:pt x="325" y="843"/>
                  </a:lnTo>
                  <a:lnTo>
                    <a:pt x="334" y="841"/>
                  </a:lnTo>
                  <a:lnTo>
                    <a:pt x="336" y="839"/>
                  </a:lnTo>
                  <a:lnTo>
                    <a:pt x="338" y="845"/>
                  </a:lnTo>
                  <a:lnTo>
                    <a:pt x="344" y="839"/>
                  </a:lnTo>
                  <a:lnTo>
                    <a:pt x="348" y="837"/>
                  </a:lnTo>
                  <a:lnTo>
                    <a:pt x="361" y="847"/>
                  </a:lnTo>
                  <a:lnTo>
                    <a:pt x="365" y="860"/>
                  </a:lnTo>
                  <a:lnTo>
                    <a:pt x="377" y="864"/>
                  </a:lnTo>
                  <a:lnTo>
                    <a:pt x="381" y="870"/>
                  </a:lnTo>
                  <a:lnTo>
                    <a:pt x="369" y="878"/>
                  </a:lnTo>
                  <a:lnTo>
                    <a:pt x="377" y="885"/>
                  </a:lnTo>
                  <a:lnTo>
                    <a:pt x="379" y="893"/>
                  </a:lnTo>
                  <a:lnTo>
                    <a:pt x="382" y="895"/>
                  </a:lnTo>
                  <a:lnTo>
                    <a:pt x="381" y="903"/>
                  </a:lnTo>
                  <a:lnTo>
                    <a:pt x="396" y="899"/>
                  </a:lnTo>
                  <a:lnTo>
                    <a:pt x="402" y="903"/>
                  </a:lnTo>
                  <a:lnTo>
                    <a:pt x="411" y="897"/>
                  </a:lnTo>
                  <a:lnTo>
                    <a:pt x="415" y="897"/>
                  </a:lnTo>
                  <a:lnTo>
                    <a:pt x="421" y="907"/>
                  </a:lnTo>
                  <a:lnTo>
                    <a:pt x="429" y="905"/>
                  </a:lnTo>
                  <a:lnTo>
                    <a:pt x="427" y="910"/>
                  </a:lnTo>
                  <a:lnTo>
                    <a:pt x="438" y="926"/>
                  </a:lnTo>
                  <a:lnTo>
                    <a:pt x="436" y="930"/>
                  </a:lnTo>
                  <a:lnTo>
                    <a:pt x="440" y="937"/>
                  </a:lnTo>
                  <a:lnTo>
                    <a:pt x="452" y="945"/>
                  </a:lnTo>
                  <a:lnTo>
                    <a:pt x="456" y="937"/>
                  </a:lnTo>
                  <a:lnTo>
                    <a:pt x="461" y="935"/>
                  </a:lnTo>
                  <a:lnTo>
                    <a:pt x="469" y="935"/>
                  </a:lnTo>
                  <a:lnTo>
                    <a:pt x="477" y="941"/>
                  </a:lnTo>
                  <a:lnTo>
                    <a:pt x="479" y="937"/>
                  </a:lnTo>
                  <a:lnTo>
                    <a:pt x="486" y="939"/>
                  </a:lnTo>
                  <a:lnTo>
                    <a:pt x="488" y="943"/>
                  </a:lnTo>
                  <a:lnTo>
                    <a:pt x="494" y="935"/>
                  </a:lnTo>
                  <a:lnTo>
                    <a:pt x="517" y="918"/>
                  </a:lnTo>
                  <a:lnTo>
                    <a:pt x="519" y="924"/>
                  </a:lnTo>
                  <a:lnTo>
                    <a:pt x="525" y="926"/>
                  </a:lnTo>
                  <a:lnTo>
                    <a:pt x="527" y="932"/>
                  </a:lnTo>
                  <a:lnTo>
                    <a:pt x="532" y="937"/>
                  </a:lnTo>
                  <a:lnTo>
                    <a:pt x="542" y="939"/>
                  </a:lnTo>
                  <a:lnTo>
                    <a:pt x="548" y="945"/>
                  </a:lnTo>
                  <a:lnTo>
                    <a:pt x="554" y="941"/>
                  </a:lnTo>
                  <a:lnTo>
                    <a:pt x="550" y="933"/>
                  </a:lnTo>
                  <a:lnTo>
                    <a:pt x="555" y="932"/>
                  </a:lnTo>
                  <a:lnTo>
                    <a:pt x="559" y="935"/>
                  </a:lnTo>
                  <a:lnTo>
                    <a:pt x="565" y="937"/>
                  </a:lnTo>
                  <a:lnTo>
                    <a:pt x="571" y="933"/>
                  </a:lnTo>
                  <a:lnTo>
                    <a:pt x="573" y="935"/>
                  </a:lnTo>
                  <a:lnTo>
                    <a:pt x="584" y="939"/>
                  </a:lnTo>
                  <a:lnTo>
                    <a:pt x="592" y="933"/>
                  </a:lnTo>
                  <a:lnTo>
                    <a:pt x="598" y="939"/>
                  </a:lnTo>
                  <a:lnTo>
                    <a:pt x="609" y="937"/>
                  </a:lnTo>
                  <a:lnTo>
                    <a:pt x="615" y="943"/>
                  </a:lnTo>
                  <a:lnTo>
                    <a:pt x="621" y="945"/>
                  </a:lnTo>
                  <a:lnTo>
                    <a:pt x="628" y="939"/>
                  </a:lnTo>
                  <a:lnTo>
                    <a:pt x="632" y="937"/>
                  </a:lnTo>
                  <a:lnTo>
                    <a:pt x="632" y="947"/>
                  </a:lnTo>
                  <a:lnTo>
                    <a:pt x="640" y="953"/>
                  </a:lnTo>
                  <a:lnTo>
                    <a:pt x="642" y="958"/>
                  </a:lnTo>
                  <a:lnTo>
                    <a:pt x="636" y="968"/>
                  </a:lnTo>
                  <a:lnTo>
                    <a:pt x="638" y="974"/>
                  </a:lnTo>
                  <a:lnTo>
                    <a:pt x="628" y="978"/>
                  </a:lnTo>
                  <a:lnTo>
                    <a:pt x="630" y="981"/>
                  </a:lnTo>
                  <a:lnTo>
                    <a:pt x="634" y="985"/>
                  </a:lnTo>
                  <a:lnTo>
                    <a:pt x="642" y="985"/>
                  </a:lnTo>
                  <a:lnTo>
                    <a:pt x="644" y="981"/>
                  </a:lnTo>
                  <a:lnTo>
                    <a:pt x="646" y="985"/>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2" name="Freeform 50"/>
            <p:cNvSpPr>
              <a:spLocks/>
            </p:cNvSpPr>
            <p:nvPr/>
          </p:nvSpPr>
          <p:spPr bwMode="auto">
            <a:xfrm>
              <a:off x="3077" y="1748"/>
              <a:ext cx="103" cy="112"/>
            </a:xfrm>
            <a:custGeom>
              <a:avLst/>
              <a:gdLst>
                <a:gd name="T0" fmla="*/ 100 w 103"/>
                <a:gd name="T1" fmla="*/ 52 h 112"/>
                <a:gd name="T2" fmla="*/ 103 w 103"/>
                <a:gd name="T3" fmla="*/ 54 h 112"/>
                <a:gd name="T4" fmla="*/ 100 w 103"/>
                <a:gd name="T5" fmla="*/ 66 h 112"/>
                <a:gd name="T6" fmla="*/ 96 w 103"/>
                <a:gd name="T7" fmla="*/ 62 h 112"/>
                <a:gd name="T8" fmla="*/ 94 w 103"/>
                <a:gd name="T9" fmla="*/ 64 h 112"/>
                <a:gd name="T10" fmla="*/ 98 w 103"/>
                <a:gd name="T11" fmla="*/ 71 h 112"/>
                <a:gd name="T12" fmla="*/ 98 w 103"/>
                <a:gd name="T13" fmla="*/ 75 h 112"/>
                <a:gd name="T14" fmla="*/ 96 w 103"/>
                <a:gd name="T15" fmla="*/ 73 h 112"/>
                <a:gd name="T16" fmla="*/ 98 w 103"/>
                <a:gd name="T17" fmla="*/ 79 h 112"/>
                <a:gd name="T18" fmla="*/ 98 w 103"/>
                <a:gd name="T19" fmla="*/ 85 h 112"/>
                <a:gd name="T20" fmla="*/ 90 w 103"/>
                <a:gd name="T21" fmla="*/ 91 h 112"/>
                <a:gd name="T22" fmla="*/ 86 w 103"/>
                <a:gd name="T23" fmla="*/ 87 h 112"/>
                <a:gd name="T24" fmla="*/ 71 w 103"/>
                <a:gd name="T25" fmla="*/ 87 h 112"/>
                <a:gd name="T26" fmla="*/ 69 w 103"/>
                <a:gd name="T27" fmla="*/ 94 h 112"/>
                <a:gd name="T28" fmla="*/ 69 w 103"/>
                <a:gd name="T29" fmla="*/ 100 h 112"/>
                <a:gd name="T30" fmla="*/ 71 w 103"/>
                <a:gd name="T31" fmla="*/ 106 h 112"/>
                <a:gd name="T32" fmla="*/ 69 w 103"/>
                <a:gd name="T33" fmla="*/ 110 h 112"/>
                <a:gd name="T34" fmla="*/ 55 w 103"/>
                <a:gd name="T35" fmla="*/ 112 h 112"/>
                <a:gd name="T36" fmla="*/ 57 w 103"/>
                <a:gd name="T37" fmla="*/ 106 h 112"/>
                <a:gd name="T38" fmla="*/ 54 w 103"/>
                <a:gd name="T39" fmla="*/ 102 h 112"/>
                <a:gd name="T40" fmla="*/ 55 w 103"/>
                <a:gd name="T41" fmla="*/ 98 h 112"/>
                <a:gd name="T42" fmla="*/ 50 w 103"/>
                <a:gd name="T43" fmla="*/ 94 h 112"/>
                <a:gd name="T44" fmla="*/ 36 w 103"/>
                <a:gd name="T45" fmla="*/ 75 h 112"/>
                <a:gd name="T46" fmla="*/ 29 w 103"/>
                <a:gd name="T47" fmla="*/ 71 h 112"/>
                <a:gd name="T48" fmla="*/ 27 w 103"/>
                <a:gd name="T49" fmla="*/ 60 h 112"/>
                <a:gd name="T50" fmla="*/ 15 w 103"/>
                <a:gd name="T51" fmla="*/ 50 h 112"/>
                <a:gd name="T52" fmla="*/ 2 w 103"/>
                <a:gd name="T53" fmla="*/ 42 h 112"/>
                <a:gd name="T54" fmla="*/ 0 w 103"/>
                <a:gd name="T55" fmla="*/ 39 h 112"/>
                <a:gd name="T56" fmla="*/ 2 w 103"/>
                <a:gd name="T57" fmla="*/ 35 h 112"/>
                <a:gd name="T58" fmla="*/ 7 w 103"/>
                <a:gd name="T59" fmla="*/ 39 h 112"/>
                <a:gd name="T60" fmla="*/ 11 w 103"/>
                <a:gd name="T61" fmla="*/ 33 h 112"/>
                <a:gd name="T62" fmla="*/ 7 w 103"/>
                <a:gd name="T63" fmla="*/ 31 h 112"/>
                <a:gd name="T64" fmla="*/ 9 w 103"/>
                <a:gd name="T65" fmla="*/ 23 h 112"/>
                <a:gd name="T66" fmla="*/ 7 w 103"/>
                <a:gd name="T67" fmla="*/ 19 h 112"/>
                <a:gd name="T68" fmla="*/ 15 w 103"/>
                <a:gd name="T69" fmla="*/ 21 h 112"/>
                <a:gd name="T70" fmla="*/ 23 w 103"/>
                <a:gd name="T71" fmla="*/ 0 h 112"/>
                <a:gd name="T72" fmla="*/ 27 w 103"/>
                <a:gd name="T73" fmla="*/ 2 h 112"/>
                <a:gd name="T74" fmla="*/ 30 w 103"/>
                <a:gd name="T75" fmla="*/ 4 h 112"/>
                <a:gd name="T76" fmla="*/ 32 w 103"/>
                <a:gd name="T77" fmla="*/ 8 h 112"/>
                <a:gd name="T78" fmla="*/ 40 w 103"/>
                <a:gd name="T79" fmla="*/ 8 h 112"/>
                <a:gd name="T80" fmla="*/ 40 w 103"/>
                <a:gd name="T81" fmla="*/ 6 h 112"/>
                <a:gd name="T82" fmla="*/ 61 w 103"/>
                <a:gd name="T83" fmla="*/ 21 h 112"/>
                <a:gd name="T84" fmla="*/ 82 w 103"/>
                <a:gd name="T85" fmla="*/ 27 h 112"/>
                <a:gd name="T86" fmla="*/ 86 w 103"/>
                <a:gd name="T87" fmla="*/ 35 h 112"/>
                <a:gd name="T88" fmla="*/ 88 w 103"/>
                <a:gd name="T89" fmla="*/ 35 h 112"/>
                <a:gd name="T90" fmla="*/ 96 w 103"/>
                <a:gd name="T91" fmla="*/ 42 h 112"/>
                <a:gd name="T92" fmla="*/ 96 w 103"/>
                <a:gd name="T93" fmla="*/ 50 h 112"/>
                <a:gd name="T94" fmla="*/ 100 w 103"/>
                <a:gd name="T95" fmla="*/ 5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 h="112">
                  <a:moveTo>
                    <a:pt x="100" y="52"/>
                  </a:moveTo>
                  <a:lnTo>
                    <a:pt x="103" y="54"/>
                  </a:lnTo>
                  <a:lnTo>
                    <a:pt x="100" y="66"/>
                  </a:lnTo>
                  <a:lnTo>
                    <a:pt x="96" y="62"/>
                  </a:lnTo>
                  <a:lnTo>
                    <a:pt x="94" y="64"/>
                  </a:lnTo>
                  <a:lnTo>
                    <a:pt x="98" y="71"/>
                  </a:lnTo>
                  <a:lnTo>
                    <a:pt x="98" y="75"/>
                  </a:lnTo>
                  <a:lnTo>
                    <a:pt x="96" y="73"/>
                  </a:lnTo>
                  <a:lnTo>
                    <a:pt x="98" y="79"/>
                  </a:lnTo>
                  <a:lnTo>
                    <a:pt x="98" y="85"/>
                  </a:lnTo>
                  <a:lnTo>
                    <a:pt x="90" y="91"/>
                  </a:lnTo>
                  <a:lnTo>
                    <a:pt x="86" y="87"/>
                  </a:lnTo>
                  <a:lnTo>
                    <a:pt x="71" y="87"/>
                  </a:lnTo>
                  <a:lnTo>
                    <a:pt x="69" y="94"/>
                  </a:lnTo>
                  <a:lnTo>
                    <a:pt x="69" y="100"/>
                  </a:lnTo>
                  <a:lnTo>
                    <a:pt x="71" y="106"/>
                  </a:lnTo>
                  <a:lnTo>
                    <a:pt x="69" y="110"/>
                  </a:lnTo>
                  <a:lnTo>
                    <a:pt x="55" y="112"/>
                  </a:lnTo>
                  <a:lnTo>
                    <a:pt x="57" y="106"/>
                  </a:lnTo>
                  <a:lnTo>
                    <a:pt x="54" y="102"/>
                  </a:lnTo>
                  <a:lnTo>
                    <a:pt x="55" y="98"/>
                  </a:lnTo>
                  <a:lnTo>
                    <a:pt x="50" y="94"/>
                  </a:lnTo>
                  <a:lnTo>
                    <a:pt x="36" y="75"/>
                  </a:lnTo>
                  <a:lnTo>
                    <a:pt x="29" y="71"/>
                  </a:lnTo>
                  <a:lnTo>
                    <a:pt x="27" y="60"/>
                  </a:lnTo>
                  <a:lnTo>
                    <a:pt x="15" y="50"/>
                  </a:lnTo>
                  <a:lnTo>
                    <a:pt x="2" y="42"/>
                  </a:lnTo>
                  <a:lnTo>
                    <a:pt x="0" y="39"/>
                  </a:lnTo>
                  <a:lnTo>
                    <a:pt x="2" y="35"/>
                  </a:lnTo>
                  <a:lnTo>
                    <a:pt x="7" y="39"/>
                  </a:lnTo>
                  <a:lnTo>
                    <a:pt x="11" y="33"/>
                  </a:lnTo>
                  <a:lnTo>
                    <a:pt x="7" y="31"/>
                  </a:lnTo>
                  <a:lnTo>
                    <a:pt x="9" y="23"/>
                  </a:lnTo>
                  <a:lnTo>
                    <a:pt x="7" y="19"/>
                  </a:lnTo>
                  <a:lnTo>
                    <a:pt x="15" y="21"/>
                  </a:lnTo>
                  <a:lnTo>
                    <a:pt x="23" y="0"/>
                  </a:lnTo>
                  <a:lnTo>
                    <a:pt x="27" y="2"/>
                  </a:lnTo>
                  <a:lnTo>
                    <a:pt x="30" y="4"/>
                  </a:lnTo>
                  <a:lnTo>
                    <a:pt x="32" y="8"/>
                  </a:lnTo>
                  <a:lnTo>
                    <a:pt x="40" y="8"/>
                  </a:lnTo>
                  <a:lnTo>
                    <a:pt x="40" y="6"/>
                  </a:lnTo>
                  <a:lnTo>
                    <a:pt x="61" y="21"/>
                  </a:lnTo>
                  <a:lnTo>
                    <a:pt x="82" y="27"/>
                  </a:lnTo>
                  <a:lnTo>
                    <a:pt x="86" y="35"/>
                  </a:lnTo>
                  <a:lnTo>
                    <a:pt x="88" y="35"/>
                  </a:lnTo>
                  <a:lnTo>
                    <a:pt x="96" y="42"/>
                  </a:lnTo>
                  <a:lnTo>
                    <a:pt x="96" y="50"/>
                  </a:lnTo>
                  <a:lnTo>
                    <a:pt x="100" y="5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3" name="Freeform 51"/>
            <p:cNvSpPr>
              <a:spLocks/>
            </p:cNvSpPr>
            <p:nvPr/>
          </p:nvSpPr>
          <p:spPr bwMode="auto">
            <a:xfrm>
              <a:off x="3188" y="1652"/>
              <a:ext cx="87" cy="114"/>
            </a:xfrm>
            <a:custGeom>
              <a:avLst/>
              <a:gdLst>
                <a:gd name="T0" fmla="*/ 85 w 87"/>
                <a:gd name="T1" fmla="*/ 81 h 114"/>
                <a:gd name="T2" fmla="*/ 87 w 87"/>
                <a:gd name="T3" fmla="*/ 89 h 114"/>
                <a:gd name="T4" fmla="*/ 77 w 87"/>
                <a:gd name="T5" fmla="*/ 98 h 114"/>
                <a:gd name="T6" fmla="*/ 71 w 87"/>
                <a:gd name="T7" fmla="*/ 110 h 114"/>
                <a:gd name="T8" fmla="*/ 77 w 87"/>
                <a:gd name="T9" fmla="*/ 112 h 114"/>
                <a:gd name="T10" fmla="*/ 73 w 87"/>
                <a:gd name="T11" fmla="*/ 112 h 114"/>
                <a:gd name="T12" fmla="*/ 71 w 87"/>
                <a:gd name="T13" fmla="*/ 110 h 114"/>
                <a:gd name="T14" fmla="*/ 64 w 87"/>
                <a:gd name="T15" fmla="*/ 112 h 114"/>
                <a:gd name="T16" fmla="*/ 66 w 87"/>
                <a:gd name="T17" fmla="*/ 98 h 114"/>
                <a:gd name="T18" fmla="*/ 56 w 87"/>
                <a:gd name="T19" fmla="*/ 87 h 114"/>
                <a:gd name="T20" fmla="*/ 41 w 87"/>
                <a:gd name="T21" fmla="*/ 81 h 114"/>
                <a:gd name="T22" fmla="*/ 35 w 87"/>
                <a:gd name="T23" fmla="*/ 81 h 114"/>
                <a:gd name="T24" fmla="*/ 14 w 87"/>
                <a:gd name="T25" fmla="*/ 67 h 114"/>
                <a:gd name="T26" fmla="*/ 21 w 87"/>
                <a:gd name="T27" fmla="*/ 60 h 114"/>
                <a:gd name="T28" fmla="*/ 8 w 87"/>
                <a:gd name="T29" fmla="*/ 50 h 114"/>
                <a:gd name="T30" fmla="*/ 21 w 87"/>
                <a:gd name="T31" fmla="*/ 52 h 114"/>
                <a:gd name="T32" fmla="*/ 16 w 87"/>
                <a:gd name="T33" fmla="*/ 41 h 114"/>
                <a:gd name="T34" fmla="*/ 17 w 87"/>
                <a:gd name="T35" fmla="*/ 41 h 114"/>
                <a:gd name="T36" fmla="*/ 14 w 87"/>
                <a:gd name="T37" fmla="*/ 27 h 114"/>
                <a:gd name="T38" fmla="*/ 31 w 87"/>
                <a:gd name="T39" fmla="*/ 48 h 114"/>
                <a:gd name="T40" fmla="*/ 35 w 87"/>
                <a:gd name="T41" fmla="*/ 44 h 114"/>
                <a:gd name="T42" fmla="*/ 39 w 87"/>
                <a:gd name="T43" fmla="*/ 42 h 114"/>
                <a:gd name="T44" fmla="*/ 42 w 87"/>
                <a:gd name="T45" fmla="*/ 33 h 114"/>
                <a:gd name="T46" fmla="*/ 29 w 87"/>
                <a:gd name="T47" fmla="*/ 16 h 114"/>
                <a:gd name="T48" fmla="*/ 23 w 87"/>
                <a:gd name="T49" fmla="*/ 17 h 114"/>
                <a:gd name="T50" fmla="*/ 16 w 87"/>
                <a:gd name="T51" fmla="*/ 16 h 114"/>
                <a:gd name="T52" fmla="*/ 14 w 87"/>
                <a:gd name="T53" fmla="*/ 17 h 114"/>
                <a:gd name="T54" fmla="*/ 0 w 87"/>
                <a:gd name="T55" fmla="*/ 2 h 114"/>
                <a:gd name="T56" fmla="*/ 8 w 87"/>
                <a:gd name="T57" fmla="*/ 6 h 114"/>
                <a:gd name="T58" fmla="*/ 14 w 87"/>
                <a:gd name="T59" fmla="*/ 4 h 114"/>
                <a:gd name="T60" fmla="*/ 31 w 87"/>
                <a:gd name="T61" fmla="*/ 10 h 114"/>
                <a:gd name="T62" fmla="*/ 41 w 87"/>
                <a:gd name="T63" fmla="*/ 14 h 114"/>
                <a:gd name="T64" fmla="*/ 48 w 87"/>
                <a:gd name="T65" fmla="*/ 44 h 114"/>
                <a:gd name="T66" fmla="*/ 56 w 87"/>
                <a:gd name="T67" fmla="*/ 54 h 114"/>
                <a:gd name="T68" fmla="*/ 66 w 87"/>
                <a:gd name="T69" fmla="*/ 64 h 114"/>
                <a:gd name="T70" fmla="*/ 75 w 87"/>
                <a:gd name="T71" fmla="*/ 7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114">
                  <a:moveTo>
                    <a:pt x="83" y="75"/>
                  </a:moveTo>
                  <a:lnTo>
                    <a:pt x="85" y="81"/>
                  </a:lnTo>
                  <a:lnTo>
                    <a:pt x="83" y="85"/>
                  </a:lnTo>
                  <a:lnTo>
                    <a:pt x="87" y="89"/>
                  </a:lnTo>
                  <a:lnTo>
                    <a:pt x="83" y="96"/>
                  </a:lnTo>
                  <a:lnTo>
                    <a:pt x="77" y="98"/>
                  </a:lnTo>
                  <a:lnTo>
                    <a:pt x="77" y="108"/>
                  </a:lnTo>
                  <a:lnTo>
                    <a:pt x="71" y="110"/>
                  </a:lnTo>
                  <a:lnTo>
                    <a:pt x="77" y="108"/>
                  </a:lnTo>
                  <a:lnTo>
                    <a:pt x="77" y="112"/>
                  </a:lnTo>
                  <a:lnTo>
                    <a:pt x="75" y="114"/>
                  </a:lnTo>
                  <a:lnTo>
                    <a:pt x="73" y="112"/>
                  </a:lnTo>
                  <a:lnTo>
                    <a:pt x="71" y="114"/>
                  </a:lnTo>
                  <a:lnTo>
                    <a:pt x="71" y="110"/>
                  </a:lnTo>
                  <a:lnTo>
                    <a:pt x="67" y="114"/>
                  </a:lnTo>
                  <a:lnTo>
                    <a:pt x="64" y="112"/>
                  </a:lnTo>
                  <a:lnTo>
                    <a:pt x="62" y="108"/>
                  </a:lnTo>
                  <a:lnTo>
                    <a:pt x="66" y="98"/>
                  </a:lnTo>
                  <a:lnTo>
                    <a:pt x="62" y="96"/>
                  </a:lnTo>
                  <a:lnTo>
                    <a:pt x="56" y="87"/>
                  </a:lnTo>
                  <a:lnTo>
                    <a:pt x="52" y="87"/>
                  </a:lnTo>
                  <a:lnTo>
                    <a:pt x="41" y="81"/>
                  </a:lnTo>
                  <a:lnTo>
                    <a:pt x="39" y="79"/>
                  </a:lnTo>
                  <a:lnTo>
                    <a:pt x="35" y="81"/>
                  </a:lnTo>
                  <a:lnTo>
                    <a:pt x="29" y="79"/>
                  </a:lnTo>
                  <a:lnTo>
                    <a:pt x="14" y="67"/>
                  </a:lnTo>
                  <a:lnTo>
                    <a:pt x="21" y="69"/>
                  </a:lnTo>
                  <a:lnTo>
                    <a:pt x="21" y="60"/>
                  </a:lnTo>
                  <a:lnTo>
                    <a:pt x="16" y="54"/>
                  </a:lnTo>
                  <a:lnTo>
                    <a:pt x="8" y="50"/>
                  </a:lnTo>
                  <a:lnTo>
                    <a:pt x="4" y="41"/>
                  </a:lnTo>
                  <a:lnTo>
                    <a:pt x="21" y="52"/>
                  </a:lnTo>
                  <a:lnTo>
                    <a:pt x="14" y="42"/>
                  </a:lnTo>
                  <a:lnTo>
                    <a:pt x="16" y="41"/>
                  </a:lnTo>
                  <a:lnTo>
                    <a:pt x="19" y="44"/>
                  </a:lnTo>
                  <a:lnTo>
                    <a:pt x="17" y="41"/>
                  </a:lnTo>
                  <a:lnTo>
                    <a:pt x="6" y="21"/>
                  </a:lnTo>
                  <a:lnTo>
                    <a:pt x="14" y="27"/>
                  </a:lnTo>
                  <a:lnTo>
                    <a:pt x="25" y="42"/>
                  </a:lnTo>
                  <a:lnTo>
                    <a:pt x="31" y="48"/>
                  </a:lnTo>
                  <a:lnTo>
                    <a:pt x="35" y="48"/>
                  </a:lnTo>
                  <a:lnTo>
                    <a:pt x="35" y="44"/>
                  </a:lnTo>
                  <a:lnTo>
                    <a:pt x="27" y="37"/>
                  </a:lnTo>
                  <a:lnTo>
                    <a:pt x="39" y="42"/>
                  </a:lnTo>
                  <a:lnTo>
                    <a:pt x="41" y="39"/>
                  </a:lnTo>
                  <a:lnTo>
                    <a:pt x="42" y="33"/>
                  </a:lnTo>
                  <a:lnTo>
                    <a:pt x="42" y="31"/>
                  </a:lnTo>
                  <a:lnTo>
                    <a:pt x="29" y="16"/>
                  </a:lnTo>
                  <a:lnTo>
                    <a:pt x="29" y="19"/>
                  </a:lnTo>
                  <a:lnTo>
                    <a:pt x="23" y="17"/>
                  </a:lnTo>
                  <a:lnTo>
                    <a:pt x="17" y="14"/>
                  </a:lnTo>
                  <a:lnTo>
                    <a:pt x="16" y="16"/>
                  </a:lnTo>
                  <a:lnTo>
                    <a:pt x="19" y="19"/>
                  </a:lnTo>
                  <a:lnTo>
                    <a:pt x="14" y="17"/>
                  </a:lnTo>
                  <a:lnTo>
                    <a:pt x="6" y="12"/>
                  </a:lnTo>
                  <a:lnTo>
                    <a:pt x="0" y="2"/>
                  </a:lnTo>
                  <a:lnTo>
                    <a:pt x="2" y="0"/>
                  </a:lnTo>
                  <a:lnTo>
                    <a:pt x="8" y="6"/>
                  </a:lnTo>
                  <a:lnTo>
                    <a:pt x="10" y="2"/>
                  </a:lnTo>
                  <a:lnTo>
                    <a:pt x="14" y="4"/>
                  </a:lnTo>
                  <a:lnTo>
                    <a:pt x="19" y="8"/>
                  </a:lnTo>
                  <a:lnTo>
                    <a:pt x="31" y="10"/>
                  </a:lnTo>
                  <a:lnTo>
                    <a:pt x="37" y="14"/>
                  </a:lnTo>
                  <a:lnTo>
                    <a:pt x="41" y="14"/>
                  </a:lnTo>
                  <a:lnTo>
                    <a:pt x="48" y="21"/>
                  </a:lnTo>
                  <a:lnTo>
                    <a:pt x="48" y="44"/>
                  </a:lnTo>
                  <a:lnTo>
                    <a:pt x="56" y="48"/>
                  </a:lnTo>
                  <a:lnTo>
                    <a:pt x="56" y="54"/>
                  </a:lnTo>
                  <a:lnTo>
                    <a:pt x="62" y="56"/>
                  </a:lnTo>
                  <a:lnTo>
                    <a:pt x="66" y="64"/>
                  </a:lnTo>
                  <a:lnTo>
                    <a:pt x="71" y="67"/>
                  </a:lnTo>
                  <a:lnTo>
                    <a:pt x="75" y="73"/>
                  </a:lnTo>
                  <a:lnTo>
                    <a:pt x="83" y="75"/>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4" name="Freeform 52"/>
            <p:cNvSpPr>
              <a:spLocks/>
            </p:cNvSpPr>
            <p:nvPr/>
          </p:nvSpPr>
          <p:spPr bwMode="auto">
            <a:xfrm>
              <a:off x="3338" y="1844"/>
              <a:ext cx="71" cy="69"/>
            </a:xfrm>
            <a:custGeom>
              <a:avLst/>
              <a:gdLst>
                <a:gd name="T0" fmla="*/ 0 w 71"/>
                <a:gd name="T1" fmla="*/ 29 h 69"/>
                <a:gd name="T2" fmla="*/ 14 w 71"/>
                <a:gd name="T3" fmla="*/ 35 h 69"/>
                <a:gd name="T4" fmla="*/ 10 w 71"/>
                <a:gd name="T5" fmla="*/ 39 h 69"/>
                <a:gd name="T6" fmla="*/ 15 w 71"/>
                <a:gd name="T7" fmla="*/ 41 h 69"/>
                <a:gd name="T8" fmla="*/ 17 w 71"/>
                <a:gd name="T9" fmla="*/ 41 h 69"/>
                <a:gd name="T10" fmla="*/ 19 w 71"/>
                <a:gd name="T11" fmla="*/ 44 h 69"/>
                <a:gd name="T12" fmla="*/ 23 w 71"/>
                <a:gd name="T13" fmla="*/ 44 h 69"/>
                <a:gd name="T14" fmla="*/ 23 w 71"/>
                <a:gd name="T15" fmla="*/ 41 h 69"/>
                <a:gd name="T16" fmla="*/ 25 w 71"/>
                <a:gd name="T17" fmla="*/ 39 h 69"/>
                <a:gd name="T18" fmla="*/ 37 w 71"/>
                <a:gd name="T19" fmla="*/ 41 h 69"/>
                <a:gd name="T20" fmla="*/ 35 w 71"/>
                <a:gd name="T21" fmla="*/ 35 h 69"/>
                <a:gd name="T22" fmla="*/ 27 w 71"/>
                <a:gd name="T23" fmla="*/ 31 h 69"/>
                <a:gd name="T24" fmla="*/ 27 w 71"/>
                <a:gd name="T25" fmla="*/ 29 h 69"/>
                <a:gd name="T26" fmla="*/ 31 w 71"/>
                <a:gd name="T27" fmla="*/ 31 h 69"/>
                <a:gd name="T28" fmla="*/ 31 w 71"/>
                <a:gd name="T29" fmla="*/ 29 h 69"/>
                <a:gd name="T30" fmla="*/ 23 w 71"/>
                <a:gd name="T31" fmla="*/ 21 h 69"/>
                <a:gd name="T32" fmla="*/ 17 w 71"/>
                <a:gd name="T33" fmla="*/ 20 h 69"/>
                <a:gd name="T34" fmla="*/ 12 w 71"/>
                <a:gd name="T35" fmla="*/ 23 h 69"/>
                <a:gd name="T36" fmla="*/ 14 w 71"/>
                <a:gd name="T37" fmla="*/ 29 h 69"/>
                <a:gd name="T38" fmla="*/ 10 w 71"/>
                <a:gd name="T39" fmla="*/ 27 h 69"/>
                <a:gd name="T40" fmla="*/ 10 w 71"/>
                <a:gd name="T41" fmla="*/ 21 h 69"/>
                <a:gd name="T42" fmla="*/ 15 w 71"/>
                <a:gd name="T43" fmla="*/ 16 h 69"/>
                <a:gd name="T44" fmla="*/ 12 w 71"/>
                <a:gd name="T45" fmla="*/ 10 h 69"/>
                <a:gd name="T46" fmla="*/ 6 w 71"/>
                <a:gd name="T47" fmla="*/ 6 h 69"/>
                <a:gd name="T48" fmla="*/ 17 w 71"/>
                <a:gd name="T49" fmla="*/ 6 h 69"/>
                <a:gd name="T50" fmla="*/ 19 w 71"/>
                <a:gd name="T51" fmla="*/ 6 h 69"/>
                <a:gd name="T52" fmla="*/ 27 w 71"/>
                <a:gd name="T53" fmla="*/ 6 h 69"/>
                <a:gd name="T54" fmla="*/ 27 w 71"/>
                <a:gd name="T55" fmla="*/ 0 h 69"/>
                <a:gd name="T56" fmla="*/ 31 w 71"/>
                <a:gd name="T57" fmla="*/ 2 h 69"/>
                <a:gd name="T58" fmla="*/ 33 w 71"/>
                <a:gd name="T59" fmla="*/ 6 h 69"/>
                <a:gd name="T60" fmla="*/ 27 w 71"/>
                <a:gd name="T61" fmla="*/ 8 h 69"/>
                <a:gd name="T62" fmla="*/ 19 w 71"/>
                <a:gd name="T63" fmla="*/ 8 h 69"/>
                <a:gd name="T64" fmla="*/ 15 w 71"/>
                <a:gd name="T65" fmla="*/ 10 h 69"/>
                <a:gd name="T66" fmla="*/ 25 w 71"/>
                <a:gd name="T67" fmla="*/ 14 h 69"/>
                <a:gd name="T68" fmla="*/ 27 w 71"/>
                <a:gd name="T69" fmla="*/ 12 h 69"/>
                <a:gd name="T70" fmla="*/ 44 w 71"/>
                <a:gd name="T71" fmla="*/ 25 h 69"/>
                <a:gd name="T72" fmla="*/ 63 w 71"/>
                <a:gd name="T73" fmla="*/ 35 h 69"/>
                <a:gd name="T74" fmla="*/ 67 w 71"/>
                <a:gd name="T75" fmla="*/ 33 h 69"/>
                <a:gd name="T76" fmla="*/ 65 w 71"/>
                <a:gd name="T77" fmla="*/ 39 h 69"/>
                <a:gd name="T78" fmla="*/ 71 w 71"/>
                <a:gd name="T79" fmla="*/ 43 h 69"/>
                <a:gd name="T80" fmla="*/ 63 w 71"/>
                <a:gd name="T81" fmla="*/ 43 h 69"/>
                <a:gd name="T82" fmla="*/ 63 w 71"/>
                <a:gd name="T83" fmla="*/ 50 h 69"/>
                <a:gd name="T84" fmla="*/ 67 w 71"/>
                <a:gd name="T85" fmla="*/ 60 h 69"/>
                <a:gd name="T86" fmla="*/ 58 w 71"/>
                <a:gd name="T87" fmla="*/ 52 h 69"/>
                <a:gd name="T88" fmla="*/ 63 w 71"/>
                <a:gd name="T89" fmla="*/ 60 h 69"/>
                <a:gd name="T90" fmla="*/ 60 w 71"/>
                <a:gd name="T91" fmla="*/ 62 h 69"/>
                <a:gd name="T92" fmla="*/ 52 w 71"/>
                <a:gd name="T93" fmla="*/ 62 h 69"/>
                <a:gd name="T94" fmla="*/ 52 w 71"/>
                <a:gd name="T95" fmla="*/ 66 h 69"/>
                <a:gd name="T96" fmla="*/ 56 w 71"/>
                <a:gd name="T97" fmla="*/ 69 h 69"/>
                <a:gd name="T98" fmla="*/ 50 w 71"/>
                <a:gd name="T99" fmla="*/ 69 h 69"/>
                <a:gd name="T100" fmla="*/ 46 w 71"/>
                <a:gd name="T101" fmla="*/ 56 h 69"/>
                <a:gd name="T102" fmla="*/ 42 w 71"/>
                <a:gd name="T103" fmla="*/ 58 h 69"/>
                <a:gd name="T104" fmla="*/ 23 w 71"/>
                <a:gd name="T105" fmla="*/ 52 h 69"/>
                <a:gd name="T106" fmla="*/ 6 w 71"/>
                <a:gd name="T107" fmla="*/ 39 h 69"/>
                <a:gd name="T108" fmla="*/ 0 w 71"/>
                <a:gd name="T109" fmla="*/ 2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 h="69">
                  <a:moveTo>
                    <a:pt x="0" y="29"/>
                  </a:moveTo>
                  <a:lnTo>
                    <a:pt x="14" y="35"/>
                  </a:lnTo>
                  <a:lnTo>
                    <a:pt x="10" y="39"/>
                  </a:lnTo>
                  <a:lnTo>
                    <a:pt x="15" y="41"/>
                  </a:lnTo>
                  <a:lnTo>
                    <a:pt x="17" y="41"/>
                  </a:lnTo>
                  <a:lnTo>
                    <a:pt x="19" y="44"/>
                  </a:lnTo>
                  <a:lnTo>
                    <a:pt x="23" y="44"/>
                  </a:lnTo>
                  <a:lnTo>
                    <a:pt x="23" y="41"/>
                  </a:lnTo>
                  <a:lnTo>
                    <a:pt x="25" y="39"/>
                  </a:lnTo>
                  <a:lnTo>
                    <a:pt x="37" y="41"/>
                  </a:lnTo>
                  <a:lnTo>
                    <a:pt x="35" y="35"/>
                  </a:lnTo>
                  <a:lnTo>
                    <a:pt x="27" y="31"/>
                  </a:lnTo>
                  <a:lnTo>
                    <a:pt x="27" y="29"/>
                  </a:lnTo>
                  <a:lnTo>
                    <a:pt x="31" y="31"/>
                  </a:lnTo>
                  <a:lnTo>
                    <a:pt x="31" y="29"/>
                  </a:lnTo>
                  <a:lnTo>
                    <a:pt x="23" y="21"/>
                  </a:lnTo>
                  <a:lnTo>
                    <a:pt x="17" y="20"/>
                  </a:lnTo>
                  <a:lnTo>
                    <a:pt x="12" y="23"/>
                  </a:lnTo>
                  <a:lnTo>
                    <a:pt x="14" y="29"/>
                  </a:lnTo>
                  <a:lnTo>
                    <a:pt x="10" y="27"/>
                  </a:lnTo>
                  <a:lnTo>
                    <a:pt x="10" y="21"/>
                  </a:lnTo>
                  <a:lnTo>
                    <a:pt x="15" y="16"/>
                  </a:lnTo>
                  <a:lnTo>
                    <a:pt x="12" y="10"/>
                  </a:lnTo>
                  <a:lnTo>
                    <a:pt x="6" y="6"/>
                  </a:lnTo>
                  <a:lnTo>
                    <a:pt x="17" y="6"/>
                  </a:lnTo>
                  <a:lnTo>
                    <a:pt x="19" y="6"/>
                  </a:lnTo>
                  <a:lnTo>
                    <a:pt x="27" y="6"/>
                  </a:lnTo>
                  <a:lnTo>
                    <a:pt x="27" y="0"/>
                  </a:lnTo>
                  <a:lnTo>
                    <a:pt x="31" y="2"/>
                  </a:lnTo>
                  <a:lnTo>
                    <a:pt x="33" y="6"/>
                  </a:lnTo>
                  <a:lnTo>
                    <a:pt x="27" y="8"/>
                  </a:lnTo>
                  <a:lnTo>
                    <a:pt x="19" y="8"/>
                  </a:lnTo>
                  <a:lnTo>
                    <a:pt x="15" y="10"/>
                  </a:lnTo>
                  <a:lnTo>
                    <a:pt x="25" y="14"/>
                  </a:lnTo>
                  <a:lnTo>
                    <a:pt x="27" y="12"/>
                  </a:lnTo>
                  <a:lnTo>
                    <a:pt x="44" y="25"/>
                  </a:lnTo>
                  <a:lnTo>
                    <a:pt x="63" y="35"/>
                  </a:lnTo>
                  <a:lnTo>
                    <a:pt x="67" y="33"/>
                  </a:lnTo>
                  <a:lnTo>
                    <a:pt x="65" y="39"/>
                  </a:lnTo>
                  <a:lnTo>
                    <a:pt x="71" y="43"/>
                  </a:lnTo>
                  <a:lnTo>
                    <a:pt x="63" y="43"/>
                  </a:lnTo>
                  <a:lnTo>
                    <a:pt x="63" y="50"/>
                  </a:lnTo>
                  <a:lnTo>
                    <a:pt x="67" y="60"/>
                  </a:lnTo>
                  <a:lnTo>
                    <a:pt x="58" y="52"/>
                  </a:lnTo>
                  <a:lnTo>
                    <a:pt x="63" y="60"/>
                  </a:lnTo>
                  <a:lnTo>
                    <a:pt x="60" y="62"/>
                  </a:lnTo>
                  <a:lnTo>
                    <a:pt x="52" y="62"/>
                  </a:lnTo>
                  <a:lnTo>
                    <a:pt x="52" y="66"/>
                  </a:lnTo>
                  <a:lnTo>
                    <a:pt x="56" y="69"/>
                  </a:lnTo>
                  <a:lnTo>
                    <a:pt x="50" y="69"/>
                  </a:lnTo>
                  <a:lnTo>
                    <a:pt x="46" y="56"/>
                  </a:lnTo>
                  <a:lnTo>
                    <a:pt x="42" y="58"/>
                  </a:lnTo>
                  <a:lnTo>
                    <a:pt x="23" y="52"/>
                  </a:lnTo>
                  <a:lnTo>
                    <a:pt x="6" y="39"/>
                  </a:lnTo>
                  <a:lnTo>
                    <a:pt x="0" y="2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5" name="Freeform 53"/>
            <p:cNvSpPr>
              <a:spLocks/>
            </p:cNvSpPr>
            <p:nvPr/>
          </p:nvSpPr>
          <p:spPr bwMode="auto">
            <a:xfrm>
              <a:off x="3413" y="597"/>
              <a:ext cx="196" cy="315"/>
            </a:xfrm>
            <a:custGeom>
              <a:avLst/>
              <a:gdLst>
                <a:gd name="T0" fmla="*/ 19 w 196"/>
                <a:gd name="T1" fmla="*/ 239 h 315"/>
                <a:gd name="T2" fmla="*/ 21 w 196"/>
                <a:gd name="T3" fmla="*/ 246 h 315"/>
                <a:gd name="T4" fmla="*/ 31 w 196"/>
                <a:gd name="T5" fmla="*/ 242 h 315"/>
                <a:gd name="T6" fmla="*/ 29 w 196"/>
                <a:gd name="T7" fmla="*/ 256 h 315"/>
                <a:gd name="T8" fmla="*/ 33 w 196"/>
                <a:gd name="T9" fmla="*/ 262 h 315"/>
                <a:gd name="T10" fmla="*/ 19 w 196"/>
                <a:gd name="T11" fmla="*/ 279 h 315"/>
                <a:gd name="T12" fmla="*/ 0 w 196"/>
                <a:gd name="T13" fmla="*/ 300 h 315"/>
                <a:gd name="T14" fmla="*/ 19 w 196"/>
                <a:gd name="T15" fmla="*/ 296 h 315"/>
                <a:gd name="T16" fmla="*/ 21 w 196"/>
                <a:gd name="T17" fmla="*/ 300 h 315"/>
                <a:gd name="T18" fmla="*/ 19 w 196"/>
                <a:gd name="T19" fmla="*/ 315 h 315"/>
                <a:gd name="T20" fmla="*/ 56 w 196"/>
                <a:gd name="T21" fmla="*/ 296 h 315"/>
                <a:gd name="T22" fmla="*/ 56 w 196"/>
                <a:gd name="T23" fmla="*/ 292 h 315"/>
                <a:gd name="T24" fmla="*/ 71 w 196"/>
                <a:gd name="T25" fmla="*/ 285 h 315"/>
                <a:gd name="T26" fmla="*/ 77 w 196"/>
                <a:gd name="T27" fmla="*/ 273 h 315"/>
                <a:gd name="T28" fmla="*/ 81 w 196"/>
                <a:gd name="T29" fmla="*/ 265 h 315"/>
                <a:gd name="T30" fmla="*/ 77 w 196"/>
                <a:gd name="T31" fmla="*/ 258 h 315"/>
                <a:gd name="T32" fmla="*/ 77 w 196"/>
                <a:gd name="T33" fmla="*/ 250 h 315"/>
                <a:gd name="T34" fmla="*/ 65 w 196"/>
                <a:gd name="T35" fmla="*/ 244 h 315"/>
                <a:gd name="T36" fmla="*/ 83 w 196"/>
                <a:gd name="T37" fmla="*/ 240 h 315"/>
                <a:gd name="T38" fmla="*/ 79 w 196"/>
                <a:gd name="T39" fmla="*/ 235 h 315"/>
                <a:gd name="T40" fmla="*/ 79 w 196"/>
                <a:gd name="T41" fmla="*/ 231 h 315"/>
                <a:gd name="T42" fmla="*/ 81 w 196"/>
                <a:gd name="T43" fmla="*/ 221 h 315"/>
                <a:gd name="T44" fmla="*/ 81 w 196"/>
                <a:gd name="T45" fmla="*/ 215 h 315"/>
                <a:gd name="T46" fmla="*/ 83 w 196"/>
                <a:gd name="T47" fmla="*/ 202 h 315"/>
                <a:gd name="T48" fmla="*/ 94 w 196"/>
                <a:gd name="T49" fmla="*/ 198 h 315"/>
                <a:gd name="T50" fmla="*/ 100 w 196"/>
                <a:gd name="T51" fmla="*/ 187 h 315"/>
                <a:gd name="T52" fmla="*/ 102 w 196"/>
                <a:gd name="T53" fmla="*/ 173 h 315"/>
                <a:gd name="T54" fmla="*/ 96 w 196"/>
                <a:gd name="T55" fmla="*/ 167 h 315"/>
                <a:gd name="T56" fmla="*/ 104 w 196"/>
                <a:gd name="T57" fmla="*/ 156 h 315"/>
                <a:gd name="T58" fmla="*/ 108 w 196"/>
                <a:gd name="T59" fmla="*/ 152 h 315"/>
                <a:gd name="T60" fmla="*/ 117 w 196"/>
                <a:gd name="T61" fmla="*/ 135 h 315"/>
                <a:gd name="T62" fmla="*/ 136 w 196"/>
                <a:gd name="T63" fmla="*/ 110 h 315"/>
                <a:gd name="T64" fmla="*/ 192 w 196"/>
                <a:gd name="T65" fmla="*/ 29 h 315"/>
                <a:gd name="T66" fmla="*/ 194 w 196"/>
                <a:gd name="T67" fmla="*/ 12 h 315"/>
                <a:gd name="T68" fmla="*/ 186 w 196"/>
                <a:gd name="T69" fmla="*/ 4 h 315"/>
                <a:gd name="T70" fmla="*/ 163 w 196"/>
                <a:gd name="T71" fmla="*/ 12 h 315"/>
                <a:gd name="T72" fmla="*/ 150 w 196"/>
                <a:gd name="T73" fmla="*/ 48 h 315"/>
                <a:gd name="T74" fmla="*/ 133 w 196"/>
                <a:gd name="T75" fmla="*/ 69 h 315"/>
                <a:gd name="T76" fmla="*/ 106 w 196"/>
                <a:gd name="T77" fmla="*/ 96 h 315"/>
                <a:gd name="T78" fmla="*/ 98 w 196"/>
                <a:gd name="T79" fmla="*/ 102 h 315"/>
                <a:gd name="T80" fmla="*/ 75 w 196"/>
                <a:gd name="T81" fmla="*/ 123 h 315"/>
                <a:gd name="T82" fmla="*/ 75 w 196"/>
                <a:gd name="T83" fmla="*/ 125 h 315"/>
                <a:gd name="T84" fmla="*/ 69 w 196"/>
                <a:gd name="T85" fmla="*/ 135 h 315"/>
                <a:gd name="T86" fmla="*/ 37 w 196"/>
                <a:gd name="T87" fmla="*/ 173 h 315"/>
                <a:gd name="T88" fmla="*/ 31 w 196"/>
                <a:gd name="T89" fmla="*/ 187 h 315"/>
                <a:gd name="T90" fmla="*/ 21 w 196"/>
                <a:gd name="T91" fmla="*/ 202 h 315"/>
                <a:gd name="T92" fmla="*/ 23 w 196"/>
                <a:gd name="T93" fmla="*/ 215 h 315"/>
                <a:gd name="T94" fmla="*/ 8 w 196"/>
                <a:gd name="T95" fmla="*/ 219 h 315"/>
                <a:gd name="T96" fmla="*/ 15 w 196"/>
                <a:gd name="T97" fmla="*/ 223 h 315"/>
                <a:gd name="T98" fmla="*/ 17 w 196"/>
                <a:gd name="T99" fmla="*/ 233 h 315"/>
                <a:gd name="T100" fmla="*/ 31 w 196"/>
                <a:gd name="T101" fmla="*/ 22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315">
                  <a:moveTo>
                    <a:pt x="42" y="225"/>
                  </a:moveTo>
                  <a:lnTo>
                    <a:pt x="31" y="231"/>
                  </a:lnTo>
                  <a:lnTo>
                    <a:pt x="29" y="233"/>
                  </a:lnTo>
                  <a:lnTo>
                    <a:pt x="23" y="239"/>
                  </a:lnTo>
                  <a:lnTo>
                    <a:pt x="19" y="239"/>
                  </a:lnTo>
                  <a:lnTo>
                    <a:pt x="15" y="242"/>
                  </a:lnTo>
                  <a:lnTo>
                    <a:pt x="17" y="244"/>
                  </a:lnTo>
                  <a:lnTo>
                    <a:pt x="17" y="246"/>
                  </a:lnTo>
                  <a:lnTo>
                    <a:pt x="21" y="244"/>
                  </a:lnTo>
                  <a:lnTo>
                    <a:pt x="21" y="246"/>
                  </a:lnTo>
                  <a:lnTo>
                    <a:pt x="25" y="244"/>
                  </a:lnTo>
                  <a:lnTo>
                    <a:pt x="27" y="242"/>
                  </a:lnTo>
                  <a:lnTo>
                    <a:pt x="29" y="242"/>
                  </a:lnTo>
                  <a:lnTo>
                    <a:pt x="29" y="244"/>
                  </a:lnTo>
                  <a:lnTo>
                    <a:pt x="31" y="242"/>
                  </a:lnTo>
                  <a:lnTo>
                    <a:pt x="33" y="240"/>
                  </a:lnTo>
                  <a:lnTo>
                    <a:pt x="35" y="242"/>
                  </a:lnTo>
                  <a:lnTo>
                    <a:pt x="19" y="254"/>
                  </a:lnTo>
                  <a:lnTo>
                    <a:pt x="17" y="258"/>
                  </a:lnTo>
                  <a:lnTo>
                    <a:pt x="29" y="256"/>
                  </a:lnTo>
                  <a:lnTo>
                    <a:pt x="29" y="258"/>
                  </a:lnTo>
                  <a:lnTo>
                    <a:pt x="21" y="260"/>
                  </a:lnTo>
                  <a:lnTo>
                    <a:pt x="17" y="263"/>
                  </a:lnTo>
                  <a:lnTo>
                    <a:pt x="17" y="265"/>
                  </a:lnTo>
                  <a:lnTo>
                    <a:pt x="33" y="262"/>
                  </a:lnTo>
                  <a:lnTo>
                    <a:pt x="35" y="262"/>
                  </a:lnTo>
                  <a:lnTo>
                    <a:pt x="35" y="263"/>
                  </a:lnTo>
                  <a:lnTo>
                    <a:pt x="19" y="269"/>
                  </a:lnTo>
                  <a:lnTo>
                    <a:pt x="13" y="281"/>
                  </a:lnTo>
                  <a:lnTo>
                    <a:pt x="19" y="279"/>
                  </a:lnTo>
                  <a:lnTo>
                    <a:pt x="15" y="283"/>
                  </a:lnTo>
                  <a:lnTo>
                    <a:pt x="10" y="288"/>
                  </a:lnTo>
                  <a:lnTo>
                    <a:pt x="6" y="298"/>
                  </a:lnTo>
                  <a:lnTo>
                    <a:pt x="4" y="300"/>
                  </a:lnTo>
                  <a:lnTo>
                    <a:pt x="0" y="300"/>
                  </a:lnTo>
                  <a:lnTo>
                    <a:pt x="0" y="302"/>
                  </a:lnTo>
                  <a:lnTo>
                    <a:pt x="2" y="302"/>
                  </a:lnTo>
                  <a:lnTo>
                    <a:pt x="15" y="302"/>
                  </a:lnTo>
                  <a:lnTo>
                    <a:pt x="19" y="298"/>
                  </a:lnTo>
                  <a:lnTo>
                    <a:pt x="19" y="296"/>
                  </a:lnTo>
                  <a:lnTo>
                    <a:pt x="25" y="290"/>
                  </a:lnTo>
                  <a:lnTo>
                    <a:pt x="27" y="290"/>
                  </a:lnTo>
                  <a:lnTo>
                    <a:pt x="27" y="292"/>
                  </a:lnTo>
                  <a:lnTo>
                    <a:pt x="35" y="287"/>
                  </a:lnTo>
                  <a:lnTo>
                    <a:pt x="21" y="300"/>
                  </a:lnTo>
                  <a:lnTo>
                    <a:pt x="19" y="308"/>
                  </a:lnTo>
                  <a:lnTo>
                    <a:pt x="21" y="308"/>
                  </a:lnTo>
                  <a:lnTo>
                    <a:pt x="23" y="306"/>
                  </a:lnTo>
                  <a:lnTo>
                    <a:pt x="19" y="313"/>
                  </a:lnTo>
                  <a:lnTo>
                    <a:pt x="19" y="315"/>
                  </a:lnTo>
                  <a:lnTo>
                    <a:pt x="23" y="315"/>
                  </a:lnTo>
                  <a:lnTo>
                    <a:pt x="31" y="304"/>
                  </a:lnTo>
                  <a:lnTo>
                    <a:pt x="35" y="302"/>
                  </a:lnTo>
                  <a:lnTo>
                    <a:pt x="44" y="300"/>
                  </a:lnTo>
                  <a:lnTo>
                    <a:pt x="56" y="296"/>
                  </a:lnTo>
                  <a:lnTo>
                    <a:pt x="56" y="294"/>
                  </a:lnTo>
                  <a:lnTo>
                    <a:pt x="56" y="292"/>
                  </a:lnTo>
                  <a:lnTo>
                    <a:pt x="52" y="292"/>
                  </a:lnTo>
                  <a:lnTo>
                    <a:pt x="56" y="290"/>
                  </a:lnTo>
                  <a:lnTo>
                    <a:pt x="56" y="292"/>
                  </a:lnTo>
                  <a:lnTo>
                    <a:pt x="58" y="294"/>
                  </a:lnTo>
                  <a:lnTo>
                    <a:pt x="60" y="296"/>
                  </a:lnTo>
                  <a:lnTo>
                    <a:pt x="73" y="290"/>
                  </a:lnTo>
                  <a:lnTo>
                    <a:pt x="71" y="287"/>
                  </a:lnTo>
                  <a:lnTo>
                    <a:pt x="71" y="285"/>
                  </a:lnTo>
                  <a:lnTo>
                    <a:pt x="75" y="287"/>
                  </a:lnTo>
                  <a:lnTo>
                    <a:pt x="79" y="279"/>
                  </a:lnTo>
                  <a:lnTo>
                    <a:pt x="77" y="277"/>
                  </a:lnTo>
                  <a:lnTo>
                    <a:pt x="77" y="275"/>
                  </a:lnTo>
                  <a:lnTo>
                    <a:pt x="77" y="273"/>
                  </a:lnTo>
                  <a:lnTo>
                    <a:pt x="63" y="273"/>
                  </a:lnTo>
                  <a:lnTo>
                    <a:pt x="63" y="271"/>
                  </a:lnTo>
                  <a:lnTo>
                    <a:pt x="69" y="273"/>
                  </a:lnTo>
                  <a:lnTo>
                    <a:pt x="75" y="271"/>
                  </a:lnTo>
                  <a:lnTo>
                    <a:pt x="81" y="265"/>
                  </a:lnTo>
                  <a:lnTo>
                    <a:pt x="81" y="262"/>
                  </a:lnTo>
                  <a:lnTo>
                    <a:pt x="71" y="258"/>
                  </a:lnTo>
                  <a:lnTo>
                    <a:pt x="58" y="263"/>
                  </a:lnTo>
                  <a:lnTo>
                    <a:pt x="71" y="258"/>
                  </a:lnTo>
                  <a:lnTo>
                    <a:pt x="77" y="258"/>
                  </a:lnTo>
                  <a:lnTo>
                    <a:pt x="81" y="260"/>
                  </a:lnTo>
                  <a:lnTo>
                    <a:pt x="83" y="254"/>
                  </a:lnTo>
                  <a:lnTo>
                    <a:pt x="83" y="252"/>
                  </a:lnTo>
                  <a:lnTo>
                    <a:pt x="81" y="250"/>
                  </a:lnTo>
                  <a:lnTo>
                    <a:pt x="77" y="250"/>
                  </a:lnTo>
                  <a:lnTo>
                    <a:pt x="79" y="248"/>
                  </a:lnTo>
                  <a:lnTo>
                    <a:pt x="67" y="246"/>
                  </a:lnTo>
                  <a:lnTo>
                    <a:pt x="61" y="248"/>
                  </a:lnTo>
                  <a:lnTo>
                    <a:pt x="67" y="246"/>
                  </a:lnTo>
                  <a:lnTo>
                    <a:pt x="65" y="244"/>
                  </a:lnTo>
                  <a:lnTo>
                    <a:pt x="63" y="242"/>
                  </a:lnTo>
                  <a:lnTo>
                    <a:pt x="65" y="240"/>
                  </a:lnTo>
                  <a:lnTo>
                    <a:pt x="75" y="244"/>
                  </a:lnTo>
                  <a:lnTo>
                    <a:pt x="81" y="242"/>
                  </a:lnTo>
                  <a:lnTo>
                    <a:pt x="83" y="240"/>
                  </a:lnTo>
                  <a:lnTo>
                    <a:pt x="81" y="239"/>
                  </a:lnTo>
                  <a:lnTo>
                    <a:pt x="79" y="240"/>
                  </a:lnTo>
                  <a:lnTo>
                    <a:pt x="79" y="237"/>
                  </a:lnTo>
                  <a:lnTo>
                    <a:pt x="77" y="237"/>
                  </a:lnTo>
                  <a:lnTo>
                    <a:pt x="79" y="235"/>
                  </a:lnTo>
                  <a:lnTo>
                    <a:pt x="81" y="237"/>
                  </a:lnTo>
                  <a:lnTo>
                    <a:pt x="85" y="231"/>
                  </a:lnTo>
                  <a:lnTo>
                    <a:pt x="79" y="233"/>
                  </a:lnTo>
                  <a:lnTo>
                    <a:pt x="77" y="231"/>
                  </a:lnTo>
                  <a:lnTo>
                    <a:pt x="79" y="231"/>
                  </a:lnTo>
                  <a:lnTo>
                    <a:pt x="85" y="227"/>
                  </a:lnTo>
                  <a:lnTo>
                    <a:pt x="83" y="227"/>
                  </a:lnTo>
                  <a:lnTo>
                    <a:pt x="85" y="223"/>
                  </a:lnTo>
                  <a:lnTo>
                    <a:pt x="83" y="223"/>
                  </a:lnTo>
                  <a:lnTo>
                    <a:pt x="81" y="221"/>
                  </a:lnTo>
                  <a:lnTo>
                    <a:pt x="79" y="221"/>
                  </a:lnTo>
                  <a:lnTo>
                    <a:pt x="79" y="219"/>
                  </a:lnTo>
                  <a:lnTo>
                    <a:pt x="67" y="217"/>
                  </a:lnTo>
                  <a:lnTo>
                    <a:pt x="79" y="214"/>
                  </a:lnTo>
                  <a:lnTo>
                    <a:pt x="81" y="215"/>
                  </a:lnTo>
                  <a:lnTo>
                    <a:pt x="88" y="212"/>
                  </a:lnTo>
                  <a:lnTo>
                    <a:pt x="86" y="210"/>
                  </a:lnTo>
                  <a:lnTo>
                    <a:pt x="85" y="204"/>
                  </a:lnTo>
                  <a:lnTo>
                    <a:pt x="81" y="204"/>
                  </a:lnTo>
                  <a:lnTo>
                    <a:pt x="83" y="202"/>
                  </a:lnTo>
                  <a:lnTo>
                    <a:pt x="85" y="202"/>
                  </a:lnTo>
                  <a:lnTo>
                    <a:pt x="79" y="200"/>
                  </a:lnTo>
                  <a:lnTo>
                    <a:pt x="81" y="200"/>
                  </a:lnTo>
                  <a:lnTo>
                    <a:pt x="90" y="200"/>
                  </a:lnTo>
                  <a:lnTo>
                    <a:pt x="94" y="198"/>
                  </a:lnTo>
                  <a:lnTo>
                    <a:pt x="96" y="196"/>
                  </a:lnTo>
                  <a:lnTo>
                    <a:pt x="94" y="192"/>
                  </a:lnTo>
                  <a:lnTo>
                    <a:pt x="88" y="192"/>
                  </a:lnTo>
                  <a:lnTo>
                    <a:pt x="94" y="190"/>
                  </a:lnTo>
                  <a:lnTo>
                    <a:pt x="100" y="187"/>
                  </a:lnTo>
                  <a:lnTo>
                    <a:pt x="100" y="183"/>
                  </a:lnTo>
                  <a:lnTo>
                    <a:pt x="96" y="183"/>
                  </a:lnTo>
                  <a:lnTo>
                    <a:pt x="96" y="181"/>
                  </a:lnTo>
                  <a:lnTo>
                    <a:pt x="102" y="179"/>
                  </a:lnTo>
                  <a:lnTo>
                    <a:pt x="102" y="173"/>
                  </a:lnTo>
                  <a:lnTo>
                    <a:pt x="100" y="173"/>
                  </a:lnTo>
                  <a:lnTo>
                    <a:pt x="90" y="177"/>
                  </a:lnTo>
                  <a:lnTo>
                    <a:pt x="96" y="173"/>
                  </a:lnTo>
                  <a:lnTo>
                    <a:pt x="94" y="167"/>
                  </a:lnTo>
                  <a:lnTo>
                    <a:pt x="96" y="167"/>
                  </a:lnTo>
                  <a:lnTo>
                    <a:pt x="98" y="169"/>
                  </a:lnTo>
                  <a:lnTo>
                    <a:pt x="100" y="169"/>
                  </a:lnTo>
                  <a:lnTo>
                    <a:pt x="102" y="169"/>
                  </a:lnTo>
                  <a:lnTo>
                    <a:pt x="100" y="165"/>
                  </a:lnTo>
                  <a:lnTo>
                    <a:pt x="104" y="156"/>
                  </a:lnTo>
                  <a:lnTo>
                    <a:pt x="104" y="152"/>
                  </a:lnTo>
                  <a:lnTo>
                    <a:pt x="102" y="150"/>
                  </a:lnTo>
                  <a:lnTo>
                    <a:pt x="104" y="150"/>
                  </a:lnTo>
                  <a:lnTo>
                    <a:pt x="106" y="152"/>
                  </a:lnTo>
                  <a:lnTo>
                    <a:pt x="108" y="152"/>
                  </a:lnTo>
                  <a:lnTo>
                    <a:pt x="110" y="152"/>
                  </a:lnTo>
                  <a:lnTo>
                    <a:pt x="108" y="144"/>
                  </a:lnTo>
                  <a:lnTo>
                    <a:pt x="111" y="142"/>
                  </a:lnTo>
                  <a:lnTo>
                    <a:pt x="113" y="137"/>
                  </a:lnTo>
                  <a:lnTo>
                    <a:pt x="117" y="135"/>
                  </a:lnTo>
                  <a:lnTo>
                    <a:pt x="127" y="119"/>
                  </a:lnTo>
                  <a:lnTo>
                    <a:pt x="131" y="117"/>
                  </a:lnTo>
                  <a:lnTo>
                    <a:pt x="133" y="112"/>
                  </a:lnTo>
                  <a:lnTo>
                    <a:pt x="133" y="108"/>
                  </a:lnTo>
                  <a:lnTo>
                    <a:pt x="136" y="110"/>
                  </a:lnTo>
                  <a:lnTo>
                    <a:pt x="163" y="73"/>
                  </a:lnTo>
                  <a:lnTo>
                    <a:pt x="179" y="52"/>
                  </a:lnTo>
                  <a:lnTo>
                    <a:pt x="188" y="35"/>
                  </a:lnTo>
                  <a:lnTo>
                    <a:pt x="194" y="27"/>
                  </a:lnTo>
                  <a:lnTo>
                    <a:pt x="192" y="29"/>
                  </a:lnTo>
                  <a:lnTo>
                    <a:pt x="194" y="23"/>
                  </a:lnTo>
                  <a:lnTo>
                    <a:pt x="192" y="23"/>
                  </a:lnTo>
                  <a:lnTo>
                    <a:pt x="196" y="10"/>
                  </a:lnTo>
                  <a:lnTo>
                    <a:pt x="194" y="10"/>
                  </a:lnTo>
                  <a:lnTo>
                    <a:pt x="194" y="12"/>
                  </a:lnTo>
                  <a:lnTo>
                    <a:pt x="192" y="8"/>
                  </a:lnTo>
                  <a:lnTo>
                    <a:pt x="194" y="4"/>
                  </a:lnTo>
                  <a:lnTo>
                    <a:pt x="190" y="4"/>
                  </a:lnTo>
                  <a:lnTo>
                    <a:pt x="190" y="2"/>
                  </a:lnTo>
                  <a:lnTo>
                    <a:pt x="186" y="4"/>
                  </a:lnTo>
                  <a:lnTo>
                    <a:pt x="186" y="2"/>
                  </a:lnTo>
                  <a:lnTo>
                    <a:pt x="186" y="0"/>
                  </a:lnTo>
                  <a:lnTo>
                    <a:pt x="179" y="4"/>
                  </a:lnTo>
                  <a:lnTo>
                    <a:pt x="179" y="2"/>
                  </a:lnTo>
                  <a:lnTo>
                    <a:pt x="163" y="12"/>
                  </a:lnTo>
                  <a:lnTo>
                    <a:pt x="148" y="31"/>
                  </a:lnTo>
                  <a:lnTo>
                    <a:pt x="146" y="39"/>
                  </a:lnTo>
                  <a:lnTo>
                    <a:pt x="144" y="41"/>
                  </a:lnTo>
                  <a:lnTo>
                    <a:pt x="142" y="44"/>
                  </a:lnTo>
                  <a:lnTo>
                    <a:pt x="150" y="48"/>
                  </a:lnTo>
                  <a:lnTo>
                    <a:pt x="140" y="52"/>
                  </a:lnTo>
                  <a:lnTo>
                    <a:pt x="138" y="60"/>
                  </a:lnTo>
                  <a:lnTo>
                    <a:pt x="133" y="64"/>
                  </a:lnTo>
                  <a:lnTo>
                    <a:pt x="131" y="67"/>
                  </a:lnTo>
                  <a:lnTo>
                    <a:pt x="133" y="69"/>
                  </a:lnTo>
                  <a:lnTo>
                    <a:pt x="127" y="75"/>
                  </a:lnTo>
                  <a:lnTo>
                    <a:pt x="125" y="79"/>
                  </a:lnTo>
                  <a:lnTo>
                    <a:pt x="117" y="83"/>
                  </a:lnTo>
                  <a:lnTo>
                    <a:pt x="110" y="96"/>
                  </a:lnTo>
                  <a:lnTo>
                    <a:pt x="106" y="96"/>
                  </a:lnTo>
                  <a:lnTo>
                    <a:pt x="104" y="96"/>
                  </a:lnTo>
                  <a:lnTo>
                    <a:pt x="102" y="98"/>
                  </a:lnTo>
                  <a:lnTo>
                    <a:pt x="102" y="100"/>
                  </a:lnTo>
                  <a:lnTo>
                    <a:pt x="100" y="104"/>
                  </a:lnTo>
                  <a:lnTo>
                    <a:pt x="98" y="102"/>
                  </a:lnTo>
                  <a:lnTo>
                    <a:pt x="81" y="112"/>
                  </a:lnTo>
                  <a:lnTo>
                    <a:pt x="75" y="116"/>
                  </a:lnTo>
                  <a:lnTo>
                    <a:pt x="73" y="117"/>
                  </a:lnTo>
                  <a:lnTo>
                    <a:pt x="75" y="119"/>
                  </a:lnTo>
                  <a:lnTo>
                    <a:pt x="75" y="123"/>
                  </a:lnTo>
                  <a:lnTo>
                    <a:pt x="79" y="119"/>
                  </a:lnTo>
                  <a:lnTo>
                    <a:pt x="79" y="121"/>
                  </a:lnTo>
                  <a:lnTo>
                    <a:pt x="79" y="123"/>
                  </a:lnTo>
                  <a:lnTo>
                    <a:pt x="71" y="133"/>
                  </a:lnTo>
                  <a:lnTo>
                    <a:pt x="75" y="125"/>
                  </a:lnTo>
                  <a:lnTo>
                    <a:pt x="69" y="127"/>
                  </a:lnTo>
                  <a:lnTo>
                    <a:pt x="63" y="135"/>
                  </a:lnTo>
                  <a:lnTo>
                    <a:pt x="61" y="137"/>
                  </a:lnTo>
                  <a:lnTo>
                    <a:pt x="67" y="135"/>
                  </a:lnTo>
                  <a:lnTo>
                    <a:pt x="69" y="135"/>
                  </a:lnTo>
                  <a:lnTo>
                    <a:pt x="52" y="152"/>
                  </a:lnTo>
                  <a:lnTo>
                    <a:pt x="46" y="158"/>
                  </a:lnTo>
                  <a:lnTo>
                    <a:pt x="46" y="160"/>
                  </a:lnTo>
                  <a:lnTo>
                    <a:pt x="40" y="169"/>
                  </a:lnTo>
                  <a:lnTo>
                    <a:pt x="37" y="173"/>
                  </a:lnTo>
                  <a:lnTo>
                    <a:pt x="35" y="177"/>
                  </a:lnTo>
                  <a:lnTo>
                    <a:pt x="40" y="173"/>
                  </a:lnTo>
                  <a:lnTo>
                    <a:pt x="40" y="175"/>
                  </a:lnTo>
                  <a:lnTo>
                    <a:pt x="33" y="185"/>
                  </a:lnTo>
                  <a:lnTo>
                    <a:pt x="31" y="187"/>
                  </a:lnTo>
                  <a:lnTo>
                    <a:pt x="38" y="190"/>
                  </a:lnTo>
                  <a:lnTo>
                    <a:pt x="37" y="192"/>
                  </a:lnTo>
                  <a:lnTo>
                    <a:pt x="27" y="194"/>
                  </a:lnTo>
                  <a:lnTo>
                    <a:pt x="23" y="198"/>
                  </a:lnTo>
                  <a:lnTo>
                    <a:pt x="21" y="202"/>
                  </a:lnTo>
                  <a:lnTo>
                    <a:pt x="23" y="204"/>
                  </a:lnTo>
                  <a:lnTo>
                    <a:pt x="25" y="202"/>
                  </a:lnTo>
                  <a:lnTo>
                    <a:pt x="27" y="202"/>
                  </a:lnTo>
                  <a:lnTo>
                    <a:pt x="23" y="214"/>
                  </a:lnTo>
                  <a:lnTo>
                    <a:pt x="23" y="215"/>
                  </a:lnTo>
                  <a:lnTo>
                    <a:pt x="23" y="214"/>
                  </a:lnTo>
                  <a:lnTo>
                    <a:pt x="17" y="212"/>
                  </a:lnTo>
                  <a:lnTo>
                    <a:pt x="13" y="214"/>
                  </a:lnTo>
                  <a:lnTo>
                    <a:pt x="12" y="214"/>
                  </a:lnTo>
                  <a:lnTo>
                    <a:pt x="8" y="219"/>
                  </a:lnTo>
                  <a:lnTo>
                    <a:pt x="10" y="223"/>
                  </a:lnTo>
                  <a:lnTo>
                    <a:pt x="12" y="221"/>
                  </a:lnTo>
                  <a:lnTo>
                    <a:pt x="13" y="221"/>
                  </a:lnTo>
                  <a:lnTo>
                    <a:pt x="13" y="225"/>
                  </a:lnTo>
                  <a:lnTo>
                    <a:pt x="15" y="223"/>
                  </a:lnTo>
                  <a:lnTo>
                    <a:pt x="23" y="217"/>
                  </a:lnTo>
                  <a:lnTo>
                    <a:pt x="25" y="217"/>
                  </a:lnTo>
                  <a:lnTo>
                    <a:pt x="23" y="221"/>
                  </a:lnTo>
                  <a:lnTo>
                    <a:pt x="29" y="219"/>
                  </a:lnTo>
                  <a:lnTo>
                    <a:pt x="17" y="233"/>
                  </a:lnTo>
                  <a:lnTo>
                    <a:pt x="23" y="231"/>
                  </a:lnTo>
                  <a:lnTo>
                    <a:pt x="29" y="227"/>
                  </a:lnTo>
                  <a:lnTo>
                    <a:pt x="31" y="227"/>
                  </a:lnTo>
                  <a:lnTo>
                    <a:pt x="29" y="229"/>
                  </a:lnTo>
                  <a:lnTo>
                    <a:pt x="31" y="229"/>
                  </a:lnTo>
                  <a:lnTo>
                    <a:pt x="35" y="229"/>
                  </a:lnTo>
                  <a:lnTo>
                    <a:pt x="42" y="225"/>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6" name="Freeform 54"/>
            <p:cNvSpPr>
              <a:spLocks/>
            </p:cNvSpPr>
            <p:nvPr/>
          </p:nvSpPr>
          <p:spPr bwMode="auto">
            <a:xfrm>
              <a:off x="3415" y="891"/>
              <a:ext cx="159" cy="146"/>
            </a:xfrm>
            <a:custGeom>
              <a:avLst/>
              <a:gdLst>
                <a:gd name="T0" fmla="*/ 79 w 159"/>
                <a:gd name="T1" fmla="*/ 66 h 146"/>
                <a:gd name="T2" fmla="*/ 71 w 159"/>
                <a:gd name="T3" fmla="*/ 54 h 146"/>
                <a:gd name="T4" fmla="*/ 61 w 159"/>
                <a:gd name="T5" fmla="*/ 50 h 146"/>
                <a:gd name="T6" fmla="*/ 69 w 159"/>
                <a:gd name="T7" fmla="*/ 41 h 146"/>
                <a:gd name="T8" fmla="*/ 65 w 159"/>
                <a:gd name="T9" fmla="*/ 33 h 146"/>
                <a:gd name="T10" fmla="*/ 59 w 159"/>
                <a:gd name="T11" fmla="*/ 31 h 146"/>
                <a:gd name="T12" fmla="*/ 69 w 159"/>
                <a:gd name="T13" fmla="*/ 14 h 146"/>
                <a:gd name="T14" fmla="*/ 71 w 159"/>
                <a:gd name="T15" fmla="*/ 8 h 146"/>
                <a:gd name="T16" fmla="*/ 73 w 159"/>
                <a:gd name="T17" fmla="*/ 4 h 146"/>
                <a:gd name="T18" fmla="*/ 27 w 159"/>
                <a:gd name="T19" fmla="*/ 16 h 146"/>
                <a:gd name="T20" fmla="*/ 11 w 159"/>
                <a:gd name="T21" fmla="*/ 29 h 146"/>
                <a:gd name="T22" fmla="*/ 6 w 159"/>
                <a:gd name="T23" fmla="*/ 43 h 146"/>
                <a:gd name="T24" fmla="*/ 11 w 159"/>
                <a:gd name="T25" fmla="*/ 50 h 146"/>
                <a:gd name="T26" fmla="*/ 0 w 159"/>
                <a:gd name="T27" fmla="*/ 67 h 146"/>
                <a:gd name="T28" fmla="*/ 17 w 159"/>
                <a:gd name="T29" fmla="*/ 62 h 146"/>
                <a:gd name="T30" fmla="*/ 11 w 159"/>
                <a:gd name="T31" fmla="*/ 69 h 146"/>
                <a:gd name="T32" fmla="*/ 15 w 159"/>
                <a:gd name="T33" fmla="*/ 69 h 146"/>
                <a:gd name="T34" fmla="*/ 13 w 159"/>
                <a:gd name="T35" fmla="*/ 79 h 146"/>
                <a:gd name="T36" fmla="*/ 15 w 159"/>
                <a:gd name="T37" fmla="*/ 83 h 146"/>
                <a:gd name="T38" fmla="*/ 11 w 159"/>
                <a:gd name="T39" fmla="*/ 89 h 146"/>
                <a:gd name="T40" fmla="*/ 15 w 159"/>
                <a:gd name="T41" fmla="*/ 94 h 146"/>
                <a:gd name="T42" fmla="*/ 11 w 159"/>
                <a:gd name="T43" fmla="*/ 100 h 146"/>
                <a:gd name="T44" fmla="*/ 0 w 159"/>
                <a:gd name="T45" fmla="*/ 108 h 146"/>
                <a:gd name="T46" fmla="*/ 11 w 159"/>
                <a:gd name="T47" fmla="*/ 131 h 146"/>
                <a:gd name="T48" fmla="*/ 25 w 159"/>
                <a:gd name="T49" fmla="*/ 123 h 146"/>
                <a:gd name="T50" fmla="*/ 29 w 159"/>
                <a:gd name="T51" fmla="*/ 117 h 146"/>
                <a:gd name="T52" fmla="*/ 38 w 159"/>
                <a:gd name="T53" fmla="*/ 123 h 146"/>
                <a:gd name="T54" fmla="*/ 44 w 159"/>
                <a:gd name="T55" fmla="*/ 121 h 146"/>
                <a:gd name="T56" fmla="*/ 48 w 159"/>
                <a:gd name="T57" fmla="*/ 121 h 146"/>
                <a:gd name="T58" fmla="*/ 50 w 159"/>
                <a:gd name="T59" fmla="*/ 119 h 146"/>
                <a:gd name="T60" fmla="*/ 58 w 159"/>
                <a:gd name="T61" fmla="*/ 117 h 146"/>
                <a:gd name="T62" fmla="*/ 63 w 159"/>
                <a:gd name="T63" fmla="*/ 114 h 146"/>
                <a:gd name="T64" fmla="*/ 71 w 159"/>
                <a:gd name="T65" fmla="*/ 123 h 146"/>
                <a:gd name="T66" fmla="*/ 73 w 159"/>
                <a:gd name="T67" fmla="*/ 123 h 146"/>
                <a:gd name="T68" fmla="*/ 71 w 159"/>
                <a:gd name="T69" fmla="*/ 127 h 146"/>
                <a:gd name="T70" fmla="*/ 73 w 159"/>
                <a:gd name="T71" fmla="*/ 129 h 146"/>
                <a:gd name="T72" fmla="*/ 63 w 159"/>
                <a:gd name="T73" fmla="*/ 133 h 146"/>
                <a:gd name="T74" fmla="*/ 75 w 159"/>
                <a:gd name="T75" fmla="*/ 142 h 146"/>
                <a:gd name="T76" fmla="*/ 71 w 159"/>
                <a:gd name="T77" fmla="*/ 144 h 146"/>
                <a:gd name="T78" fmla="*/ 88 w 159"/>
                <a:gd name="T79" fmla="*/ 139 h 146"/>
                <a:gd name="T80" fmla="*/ 94 w 159"/>
                <a:gd name="T81" fmla="*/ 139 h 146"/>
                <a:gd name="T82" fmla="*/ 98 w 159"/>
                <a:gd name="T83" fmla="*/ 137 h 146"/>
                <a:gd name="T84" fmla="*/ 113 w 159"/>
                <a:gd name="T85" fmla="*/ 137 h 146"/>
                <a:gd name="T86" fmla="*/ 111 w 159"/>
                <a:gd name="T87" fmla="*/ 131 h 146"/>
                <a:gd name="T88" fmla="*/ 117 w 159"/>
                <a:gd name="T89" fmla="*/ 127 h 146"/>
                <a:gd name="T90" fmla="*/ 121 w 159"/>
                <a:gd name="T91" fmla="*/ 129 h 146"/>
                <a:gd name="T92" fmla="*/ 123 w 159"/>
                <a:gd name="T93" fmla="*/ 125 h 146"/>
                <a:gd name="T94" fmla="*/ 138 w 159"/>
                <a:gd name="T95" fmla="*/ 125 h 146"/>
                <a:gd name="T96" fmla="*/ 138 w 159"/>
                <a:gd name="T97" fmla="*/ 119 h 146"/>
                <a:gd name="T98" fmla="*/ 133 w 159"/>
                <a:gd name="T99" fmla="*/ 121 h 146"/>
                <a:gd name="T100" fmla="*/ 136 w 159"/>
                <a:gd name="T101" fmla="*/ 114 h 146"/>
                <a:gd name="T102" fmla="*/ 140 w 159"/>
                <a:gd name="T103" fmla="*/ 117 h 146"/>
                <a:gd name="T104" fmla="*/ 156 w 159"/>
                <a:gd name="T105" fmla="*/ 112 h 146"/>
                <a:gd name="T106" fmla="*/ 157 w 159"/>
                <a:gd name="T107" fmla="*/ 108 h 146"/>
                <a:gd name="T108" fmla="*/ 159 w 159"/>
                <a:gd name="T109" fmla="*/ 102 h 146"/>
                <a:gd name="T110" fmla="*/ 111 w 159"/>
                <a:gd name="T111" fmla="*/ 94 h 146"/>
                <a:gd name="T112" fmla="*/ 84 w 159"/>
                <a:gd name="T113" fmla="*/ 7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 h="146">
                  <a:moveTo>
                    <a:pt x="77" y="73"/>
                  </a:moveTo>
                  <a:lnTo>
                    <a:pt x="81" y="71"/>
                  </a:lnTo>
                  <a:lnTo>
                    <a:pt x="79" y="69"/>
                  </a:lnTo>
                  <a:lnTo>
                    <a:pt x="79" y="66"/>
                  </a:lnTo>
                  <a:lnTo>
                    <a:pt x="75" y="66"/>
                  </a:lnTo>
                  <a:lnTo>
                    <a:pt x="77" y="58"/>
                  </a:lnTo>
                  <a:lnTo>
                    <a:pt x="77" y="56"/>
                  </a:lnTo>
                  <a:lnTo>
                    <a:pt x="71" y="54"/>
                  </a:lnTo>
                  <a:lnTo>
                    <a:pt x="71" y="50"/>
                  </a:lnTo>
                  <a:lnTo>
                    <a:pt x="67" y="48"/>
                  </a:lnTo>
                  <a:lnTo>
                    <a:pt x="63" y="50"/>
                  </a:lnTo>
                  <a:lnTo>
                    <a:pt x="61" y="50"/>
                  </a:lnTo>
                  <a:lnTo>
                    <a:pt x="69" y="44"/>
                  </a:lnTo>
                  <a:lnTo>
                    <a:pt x="67" y="43"/>
                  </a:lnTo>
                  <a:lnTo>
                    <a:pt x="61" y="43"/>
                  </a:lnTo>
                  <a:lnTo>
                    <a:pt x="69" y="41"/>
                  </a:lnTo>
                  <a:lnTo>
                    <a:pt x="69" y="39"/>
                  </a:lnTo>
                  <a:lnTo>
                    <a:pt x="67" y="37"/>
                  </a:lnTo>
                  <a:lnTo>
                    <a:pt x="69" y="35"/>
                  </a:lnTo>
                  <a:lnTo>
                    <a:pt x="65" y="33"/>
                  </a:lnTo>
                  <a:lnTo>
                    <a:pt x="71" y="31"/>
                  </a:lnTo>
                  <a:lnTo>
                    <a:pt x="67" y="29"/>
                  </a:lnTo>
                  <a:lnTo>
                    <a:pt x="59" y="33"/>
                  </a:lnTo>
                  <a:lnTo>
                    <a:pt x="59" y="31"/>
                  </a:lnTo>
                  <a:lnTo>
                    <a:pt x="71" y="25"/>
                  </a:lnTo>
                  <a:lnTo>
                    <a:pt x="73" y="23"/>
                  </a:lnTo>
                  <a:lnTo>
                    <a:pt x="71" y="16"/>
                  </a:lnTo>
                  <a:lnTo>
                    <a:pt x="69" y="14"/>
                  </a:lnTo>
                  <a:lnTo>
                    <a:pt x="59" y="21"/>
                  </a:lnTo>
                  <a:lnTo>
                    <a:pt x="58" y="21"/>
                  </a:lnTo>
                  <a:lnTo>
                    <a:pt x="71" y="12"/>
                  </a:lnTo>
                  <a:lnTo>
                    <a:pt x="71" y="8"/>
                  </a:lnTo>
                  <a:lnTo>
                    <a:pt x="67" y="10"/>
                  </a:lnTo>
                  <a:lnTo>
                    <a:pt x="59" y="16"/>
                  </a:lnTo>
                  <a:lnTo>
                    <a:pt x="67" y="10"/>
                  </a:lnTo>
                  <a:lnTo>
                    <a:pt x="73" y="4"/>
                  </a:lnTo>
                  <a:lnTo>
                    <a:pt x="71" y="2"/>
                  </a:lnTo>
                  <a:lnTo>
                    <a:pt x="67" y="0"/>
                  </a:lnTo>
                  <a:lnTo>
                    <a:pt x="33" y="10"/>
                  </a:lnTo>
                  <a:lnTo>
                    <a:pt x="27" y="16"/>
                  </a:lnTo>
                  <a:lnTo>
                    <a:pt x="25" y="19"/>
                  </a:lnTo>
                  <a:lnTo>
                    <a:pt x="19" y="25"/>
                  </a:lnTo>
                  <a:lnTo>
                    <a:pt x="13" y="27"/>
                  </a:lnTo>
                  <a:lnTo>
                    <a:pt x="11" y="29"/>
                  </a:lnTo>
                  <a:lnTo>
                    <a:pt x="11" y="33"/>
                  </a:lnTo>
                  <a:lnTo>
                    <a:pt x="8" y="33"/>
                  </a:lnTo>
                  <a:lnTo>
                    <a:pt x="4" y="41"/>
                  </a:lnTo>
                  <a:lnTo>
                    <a:pt x="6" y="43"/>
                  </a:lnTo>
                  <a:lnTo>
                    <a:pt x="13" y="44"/>
                  </a:lnTo>
                  <a:lnTo>
                    <a:pt x="8" y="46"/>
                  </a:lnTo>
                  <a:lnTo>
                    <a:pt x="10" y="48"/>
                  </a:lnTo>
                  <a:lnTo>
                    <a:pt x="11" y="50"/>
                  </a:lnTo>
                  <a:lnTo>
                    <a:pt x="15" y="48"/>
                  </a:lnTo>
                  <a:lnTo>
                    <a:pt x="8" y="52"/>
                  </a:lnTo>
                  <a:lnTo>
                    <a:pt x="0" y="60"/>
                  </a:lnTo>
                  <a:lnTo>
                    <a:pt x="0" y="67"/>
                  </a:lnTo>
                  <a:lnTo>
                    <a:pt x="4" y="69"/>
                  </a:lnTo>
                  <a:lnTo>
                    <a:pt x="10" y="66"/>
                  </a:lnTo>
                  <a:lnTo>
                    <a:pt x="11" y="64"/>
                  </a:lnTo>
                  <a:lnTo>
                    <a:pt x="17" y="62"/>
                  </a:lnTo>
                  <a:lnTo>
                    <a:pt x="19" y="62"/>
                  </a:lnTo>
                  <a:lnTo>
                    <a:pt x="11" y="66"/>
                  </a:lnTo>
                  <a:lnTo>
                    <a:pt x="10" y="69"/>
                  </a:lnTo>
                  <a:lnTo>
                    <a:pt x="11" y="69"/>
                  </a:lnTo>
                  <a:lnTo>
                    <a:pt x="10" y="71"/>
                  </a:lnTo>
                  <a:lnTo>
                    <a:pt x="11" y="71"/>
                  </a:lnTo>
                  <a:lnTo>
                    <a:pt x="17" y="66"/>
                  </a:lnTo>
                  <a:lnTo>
                    <a:pt x="15" y="69"/>
                  </a:lnTo>
                  <a:lnTo>
                    <a:pt x="11" y="75"/>
                  </a:lnTo>
                  <a:lnTo>
                    <a:pt x="11" y="77"/>
                  </a:lnTo>
                  <a:lnTo>
                    <a:pt x="15" y="77"/>
                  </a:lnTo>
                  <a:lnTo>
                    <a:pt x="13" y="79"/>
                  </a:lnTo>
                  <a:lnTo>
                    <a:pt x="15" y="81"/>
                  </a:lnTo>
                  <a:lnTo>
                    <a:pt x="17" y="81"/>
                  </a:lnTo>
                  <a:lnTo>
                    <a:pt x="11" y="83"/>
                  </a:lnTo>
                  <a:lnTo>
                    <a:pt x="15" y="83"/>
                  </a:lnTo>
                  <a:lnTo>
                    <a:pt x="15" y="85"/>
                  </a:lnTo>
                  <a:lnTo>
                    <a:pt x="13" y="87"/>
                  </a:lnTo>
                  <a:lnTo>
                    <a:pt x="15" y="87"/>
                  </a:lnTo>
                  <a:lnTo>
                    <a:pt x="11" y="89"/>
                  </a:lnTo>
                  <a:lnTo>
                    <a:pt x="13" y="89"/>
                  </a:lnTo>
                  <a:lnTo>
                    <a:pt x="11" y="91"/>
                  </a:lnTo>
                  <a:lnTo>
                    <a:pt x="15" y="92"/>
                  </a:lnTo>
                  <a:lnTo>
                    <a:pt x="15" y="94"/>
                  </a:lnTo>
                  <a:lnTo>
                    <a:pt x="13" y="94"/>
                  </a:lnTo>
                  <a:lnTo>
                    <a:pt x="15" y="96"/>
                  </a:lnTo>
                  <a:lnTo>
                    <a:pt x="15" y="98"/>
                  </a:lnTo>
                  <a:lnTo>
                    <a:pt x="11" y="100"/>
                  </a:lnTo>
                  <a:lnTo>
                    <a:pt x="10" y="98"/>
                  </a:lnTo>
                  <a:lnTo>
                    <a:pt x="10" y="102"/>
                  </a:lnTo>
                  <a:lnTo>
                    <a:pt x="2" y="100"/>
                  </a:lnTo>
                  <a:lnTo>
                    <a:pt x="0" y="108"/>
                  </a:lnTo>
                  <a:lnTo>
                    <a:pt x="0" y="116"/>
                  </a:lnTo>
                  <a:lnTo>
                    <a:pt x="2" y="121"/>
                  </a:lnTo>
                  <a:lnTo>
                    <a:pt x="10" y="129"/>
                  </a:lnTo>
                  <a:lnTo>
                    <a:pt x="11" y="131"/>
                  </a:lnTo>
                  <a:lnTo>
                    <a:pt x="19" y="133"/>
                  </a:lnTo>
                  <a:lnTo>
                    <a:pt x="29" y="129"/>
                  </a:lnTo>
                  <a:lnTo>
                    <a:pt x="23" y="127"/>
                  </a:lnTo>
                  <a:lnTo>
                    <a:pt x="25" y="123"/>
                  </a:lnTo>
                  <a:lnTo>
                    <a:pt x="27" y="125"/>
                  </a:lnTo>
                  <a:lnTo>
                    <a:pt x="31" y="127"/>
                  </a:lnTo>
                  <a:lnTo>
                    <a:pt x="29" y="123"/>
                  </a:lnTo>
                  <a:lnTo>
                    <a:pt x="29" y="117"/>
                  </a:lnTo>
                  <a:lnTo>
                    <a:pt x="35" y="121"/>
                  </a:lnTo>
                  <a:lnTo>
                    <a:pt x="36" y="125"/>
                  </a:lnTo>
                  <a:lnTo>
                    <a:pt x="40" y="125"/>
                  </a:lnTo>
                  <a:lnTo>
                    <a:pt x="38" y="123"/>
                  </a:lnTo>
                  <a:lnTo>
                    <a:pt x="42" y="123"/>
                  </a:lnTo>
                  <a:lnTo>
                    <a:pt x="42" y="125"/>
                  </a:lnTo>
                  <a:lnTo>
                    <a:pt x="44" y="125"/>
                  </a:lnTo>
                  <a:lnTo>
                    <a:pt x="44" y="121"/>
                  </a:lnTo>
                  <a:lnTo>
                    <a:pt x="42" y="119"/>
                  </a:lnTo>
                  <a:lnTo>
                    <a:pt x="44" y="117"/>
                  </a:lnTo>
                  <a:lnTo>
                    <a:pt x="46" y="121"/>
                  </a:lnTo>
                  <a:lnTo>
                    <a:pt x="48" y="121"/>
                  </a:lnTo>
                  <a:lnTo>
                    <a:pt x="46" y="119"/>
                  </a:lnTo>
                  <a:lnTo>
                    <a:pt x="48" y="112"/>
                  </a:lnTo>
                  <a:lnTo>
                    <a:pt x="50" y="112"/>
                  </a:lnTo>
                  <a:lnTo>
                    <a:pt x="50" y="119"/>
                  </a:lnTo>
                  <a:lnTo>
                    <a:pt x="56" y="123"/>
                  </a:lnTo>
                  <a:lnTo>
                    <a:pt x="58" y="123"/>
                  </a:lnTo>
                  <a:lnTo>
                    <a:pt x="59" y="121"/>
                  </a:lnTo>
                  <a:lnTo>
                    <a:pt x="58" y="117"/>
                  </a:lnTo>
                  <a:lnTo>
                    <a:pt x="59" y="116"/>
                  </a:lnTo>
                  <a:lnTo>
                    <a:pt x="61" y="110"/>
                  </a:lnTo>
                  <a:lnTo>
                    <a:pt x="63" y="110"/>
                  </a:lnTo>
                  <a:lnTo>
                    <a:pt x="63" y="114"/>
                  </a:lnTo>
                  <a:lnTo>
                    <a:pt x="59" y="116"/>
                  </a:lnTo>
                  <a:lnTo>
                    <a:pt x="58" y="125"/>
                  </a:lnTo>
                  <a:lnTo>
                    <a:pt x="61" y="127"/>
                  </a:lnTo>
                  <a:lnTo>
                    <a:pt x="71" y="123"/>
                  </a:lnTo>
                  <a:lnTo>
                    <a:pt x="71" y="119"/>
                  </a:lnTo>
                  <a:lnTo>
                    <a:pt x="73" y="119"/>
                  </a:lnTo>
                  <a:lnTo>
                    <a:pt x="71" y="121"/>
                  </a:lnTo>
                  <a:lnTo>
                    <a:pt x="73" y="123"/>
                  </a:lnTo>
                  <a:lnTo>
                    <a:pt x="73" y="125"/>
                  </a:lnTo>
                  <a:lnTo>
                    <a:pt x="77" y="123"/>
                  </a:lnTo>
                  <a:lnTo>
                    <a:pt x="73" y="127"/>
                  </a:lnTo>
                  <a:lnTo>
                    <a:pt x="71" y="127"/>
                  </a:lnTo>
                  <a:lnTo>
                    <a:pt x="75" y="125"/>
                  </a:lnTo>
                  <a:lnTo>
                    <a:pt x="73" y="125"/>
                  </a:lnTo>
                  <a:lnTo>
                    <a:pt x="69" y="127"/>
                  </a:lnTo>
                  <a:lnTo>
                    <a:pt x="73" y="129"/>
                  </a:lnTo>
                  <a:lnTo>
                    <a:pt x="73" y="131"/>
                  </a:lnTo>
                  <a:lnTo>
                    <a:pt x="69" y="131"/>
                  </a:lnTo>
                  <a:lnTo>
                    <a:pt x="65" y="133"/>
                  </a:lnTo>
                  <a:lnTo>
                    <a:pt x="63" y="133"/>
                  </a:lnTo>
                  <a:lnTo>
                    <a:pt x="71" y="137"/>
                  </a:lnTo>
                  <a:lnTo>
                    <a:pt x="73" y="137"/>
                  </a:lnTo>
                  <a:lnTo>
                    <a:pt x="73" y="141"/>
                  </a:lnTo>
                  <a:lnTo>
                    <a:pt x="75" y="142"/>
                  </a:lnTo>
                  <a:lnTo>
                    <a:pt x="71" y="142"/>
                  </a:lnTo>
                  <a:lnTo>
                    <a:pt x="65" y="146"/>
                  </a:lnTo>
                  <a:lnTo>
                    <a:pt x="71" y="146"/>
                  </a:lnTo>
                  <a:lnTo>
                    <a:pt x="71" y="144"/>
                  </a:lnTo>
                  <a:lnTo>
                    <a:pt x="77" y="142"/>
                  </a:lnTo>
                  <a:lnTo>
                    <a:pt x="84" y="144"/>
                  </a:lnTo>
                  <a:lnTo>
                    <a:pt x="90" y="141"/>
                  </a:lnTo>
                  <a:lnTo>
                    <a:pt x="88" y="139"/>
                  </a:lnTo>
                  <a:lnTo>
                    <a:pt x="96" y="141"/>
                  </a:lnTo>
                  <a:lnTo>
                    <a:pt x="102" y="141"/>
                  </a:lnTo>
                  <a:lnTo>
                    <a:pt x="100" y="139"/>
                  </a:lnTo>
                  <a:lnTo>
                    <a:pt x="94" y="139"/>
                  </a:lnTo>
                  <a:lnTo>
                    <a:pt x="92" y="137"/>
                  </a:lnTo>
                  <a:lnTo>
                    <a:pt x="94" y="137"/>
                  </a:lnTo>
                  <a:lnTo>
                    <a:pt x="92" y="135"/>
                  </a:lnTo>
                  <a:lnTo>
                    <a:pt x="98" y="137"/>
                  </a:lnTo>
                  <a:lnTo>
                    <a:pt x="100" y="139"/>
                  </a:lnTo>
                  <a:lnTo>
                    <a:pt x="108" y="139"/>
                  </a:lnTo>
                  <a:lnTo>
                    <a:pt x="113" y="139"/>
                  </a:lnTo>
                  <a:lnTo>
                    <a:pt x="113" y="137"/>
                  </a:lnTo>
                  <a:lnTo>
                    <a:pt x="111" y="133"/>
                  </a:lnTo>
                  <a:lnTo>
                    <a:pt x="111" y="131"/>
                  </a:lnTo>
                  <a:lnTo>
                    <a:pt x="117" y="131"/>
                  </a:lnTo>
                  <a:lnTo>
                    <a:pt x="111" y="131"/>
                  </a:lnTo>
                  <a:lnTo>
                    <a:pt x="111" y="129"/>
                  </a:lnTo>
                  <a:lnTo>
                    <a:pt x="113" y="127"/>
                  </a:lnTo>
                  <a:lnTo>
                    <a:pt x="121" y="127"/>
                  </a:lnTo>
                  <a:lnTo>
                    <a:pt x="117" y="127"/>
                  </a:lnTo>
                  <a:lnTo>
                    <a:pt x="117" y="125"/>
                  </a:lnTo>
                  <a:lnTo>
                    <a:pt x="121" y="125"/>
                  </a:lnTo>
                  <a:lnTo>
                    <a:pt x="123" y="129"/>
                  </a:lnTo>
                  <a:lnTo>
                    <a:pt x="121" y="129"/>
                  </a:lnTo>
                  <a:lnTo>
                    <a:pt x="131" y="129"/>
                  </a:lnTo>
                  <a:lnTo>
                    <a:pt x="131" y="127"/>
                  </a:lnTo>
                  <a:lnTo>
                    <a:pt x="127" y="127"/>
                  </a:lnTo>
                  <a:lnTo>
                    <a:pt x="123" y="125"/>
                  </a:lnTo>
                  <a:lnTo>
                    <a:pt x="133" y="125"/>
                  </a:lnTo>
                  <a:lnTo>
                    <a:pt x="129" y="125"/>
                  </a:lnTo>
                  <a:lnTo>
                    <a:pt x="140" y="121"/>
                  </a:lnTo>
                  <a:lnTo>
                    <a:pt x="138" y="125"/>
                  </a:lnTo>
                  <a:lnTo>
                    <a:pt x="142" y="123"/>
                  </a:lnTo>
                  <a:lnTo>
                    <a:pt x="142" y="119"/>
                  </a:lnTo>
                  <a:lnTo>
                    <a:pt x="138" y="121"/>
                  </a:lnTo>
                  <a:lnTo>
                    <a:pt x="138" y="119"/>
                  </a:lnTo>
                  <a:lnTo>
                    <a:pt x="136" y="117"/>
                  </a:lnTo>
                  <a:lnTo>
                    <a:pt x="133" y="119"/>
                  </a:lnTo>
                  <a:lnTo>
                    <a:pt x="134" y="121"/>
                  </a:lnTo>
                  <a:lnTo>
                    <a:pt x="133" y="121"/>
                  </a:lnTo>
                  <a:lnTo>
                    <a:pt x="133" y="119"/>
                  </a:lnTo>
                  <a:lnTo>
                    <a:pt x="131" y="119"/>
                  </a:lnTo>
                  <a:lnTo>
                    <a:pt x="134" y="114"/>
                  </a:lnTo>
                  <a:lnTo>
                    <a:pt x="136" y="114"/>
                  </a:lnTo>
                  <a:lnTo>
                    <a:pt x="136" y="116"/>
                  </a:lnTo>
                  <a:lnTo>
                    <a:pt x="138" y="117"/>
                  </a:lnTo>
                  <a:lnTo>
                    <a:pt x="142" y="117"/>
                  </a:lnTo>
                  <a:lnTo>
                    <a:pt x="140" y="117"/>
                  </a:lnTo>
                  <a:lnTo>
                    <a:pt x="140" y="116"/>
                  </a:lnTo>
                  <a:lnTo>
                    <a:pt x="142" y="117"/>
                  </a:lnTo>
                  <a:lnTo>
                    <a:pt x="157" y="114"/>
                  </a:lnTo>
                  <a:lnTo>
                    <a:pt x="156" y="112"/>
                  </a:lnTo>
                  <a:lnTo>
                    <a:pt x="146" y="116"/>
                  </a:lnTo>
                  <a:lnTo>
                    <a:pt x="142" y="114"/>
                  </a:lnTo>
                  <a:lnTo>
                    <a:pt x="159" y="110"/>
                  </a:lnTo>
                  <a:lnTo>
                    <a:pt x="157" y="108"/>
                  </a:lnTo>
                  <a:lnTo>
                    <a:pt x="157" y="104"/>
                  </a:lnTo>
                  <a:lnTo>
                    <a:pt x="156" y="104"/>
                  </a:lnTo>
                  <a:lnTo>
                    <a:pt x="154" y="102"/>
                  </a:lnTo>
                  <a:lnTo>
                    <a:pt x="159" y="102"/>
                  </a:lnTo>
                  <a:lnTo>
                    <a:pt x="152" y="100"/>
                  </a:lnTo>
                  <a:lnTo>
                    <a:pt x="144" y="102"/>
                  </a:lnTo>
                  <a:lnTo>
                    <a:pt x="119" y="96"/>
                  </a:lnTo>
                  <a:lnTo>
                    <a:pt x="111" y="94"/>
                  </a:lnTo>
                  <a:lnTo>
                    <a:pt x="108" y="91"/>
                  </a:lnTo>
                  <a:lnTo>
                    <a:pt x="94" y="83"/>
                  </a:lnTo>
                  <a:lnTo>
                    <a:pt x="86" y="77"/>
                  </a:lnTo>
                  <a:lnTo>
                    <a:pt x="84" y="71"/>
                  </a:lnTo>
                  <a:lnTo>
                    <a:pt x="81" y="71"/>
                  </a:lnTo>
                  <a:lnTo>
                    <a:pt x="77" y="7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7" name="Freeform 55"/>
            <p:cNvSpPr>
              <a:spLocks/>
            </p:cNvSpPr>
            <p:nvPr/>
          </p:nvSpPr>
          <p:spPr bwMode="auto">
            <a:xfrm>
              <a:off x="2808" y="2206"/>
              <a:ext cx="113" cy="61"/>
            </a:xfrm>
            <a:custGeom>
              <a:avLst/>
              <a:gdLst>
                <a:gd name="T0" fmla="*/ 42 w 113"/>
                <a:gd name="T1" fmla="*/ 1 h 61"/>
                <a:gd name="T2" fmla="*/ 9 w 113"/>
                <a:gd name="T3" fmla="*/ 26 h 61"/>
                <a:gd name="T4" fmla="*/ 7 w 113"/>
                <a:gd name="T5" fmla="*/ 46 h 61"/>
                <a:gd name="T6" fmla="*/ 0 w 113"/>
                <a:gd name="T7" fmla="*/ 59 h 61"/>
                <a:gd name="T8" fmla="*/ 11 w 113"/>
                <a:gd name="T9" fmla="*/ 46 h 61"/>
                <a:gd name="T10" fmla="*/ 11 w 113"/>
                <a:gd name="T11" fmla="*/ 42 h 61"/>
                <a:gd name="T12" fmla="*/ 15 w 113"/>
                <a:gd name="T13" fmla="*/ 46 h 61"/>
                <a:gd name="T14" fmla="*/ 17 w 113"/>
                <a:gd name="T15" fmla="*/ 42 h 61"/>
                <a:gd name="T16" fmla="*/ 27 w 113"/>
                <a:gd name="T17" fmla="*/ 42 h 61"/>
                <a:gd name="T18" fmla="*/ 15 w 113"/>
                <a:gd name="T19" fmla="*/ 51 h 61"/>
                <a:gd name="T20" fmla="*/ 11 w 113"/>
                <a:gd name="T21" fmla="*/ 51 h 61"/>
                <a:gd name="T22" fmla="*/ 11 w 113"/>
                <a:gd name="T23" fmla="*/ 55 h 61"/>
                <a:gd name="T24" fmla="*/ 5 w 113"/>
                <a:gd name="T25" fmla="*/ 59 h 61"/>
                <a:gd name="T26" fmla="*/ 25 w 113"/>
                <a:gd name="T27" fmla="*/ 61 h 61"/>
                <a:gd name="T28" fmla="*/ 69 w 113"/>
                <a:gd name="T29" fmla="*/ 61 h 61"/>
                <a:gd name="T30" fmla="*/ 113 w 113"/>
                <a:gd name="T31" fmla="*/ 53 h 61"/>
                <a:gd name="T32" fmla="*/ 109 w 113"/>
                <a:gd name="T33" fmla="*/ 50 h 61"/>
                <a:gd name="T34" fmla="*/ 107 w 113"/>
                <a:gd name="T35" fmla="*/ 38 h 61"/>
                <a:gd name="T36" fmla="*/ 107 w 113"/>
                <a:gd name="T37" fmla="*/ 30 h 61"/>
                <a:gd name="T38" fmla="*/ 111 w 113"/>
                <a:gd name="T39" fmla="*/ 23 h 61"/>
                <a:gd name="T40" fmla="*/ 109 w 113"/>
                <a:gd name="T41" fmla="*/ 19 h 61"/>
                <a:gd name="T42" fmla="*/ 105 w 113"/>
                <a:gd name="T43" fmla="*/ 15 h 61"/>
                <a:gd name="T44" fmla="*/ 103 w 113"/>
                <a:gd name="T45" fmla="*/ 15 h 61"/>
                <a:gd name="T46" fmla="*/ 100 w 113"/>
                <a:gd name="T47" fmla="*/ 9 h 61"/>
                <a:gd name="T48" fmla="*/ 86 w 113"/>
                <a:gd name="T49" fmla="*/ 11 h 61"/>
                <a:gd name="T50" fmla="*/ 82 w 113"/>
                <a:gd name="T51" fmla="*/ 13 h 61"/>
                <a:gd name="T52" fmla="*/ 80 w 113"/>
                <a:gd name="T53" fmla="*/ 9 h 61"/>
                <a:gd name="T54" fmla="*/ 75 w 113"/>
                <a:gd name="T55" fmla="*/ 9 h 61"/>
                <a:gd name="T56" fmla="*/ 65 w 113"/>
                <a:gd name="T57" fmla="*/ 5 h 61"/>
                <a:gd name="T58" fmla="*/ 61 w 113"/>
                <a:gd name="T59" fmla="*/ 5 h 61"/>
                <a:gd name="T60" fmla="*/ 55 w 113"/>
                <a:gd name="T61" fmla="*/ 0 h 61"/>
                <a:gd name="T62" fmla="*/ 52 w 113"/>
                <a:gd name="T63" fmla="*/ 1 h 61"/>
                <a:gd name="T64" fmla="*/ 52 w 113"/>
                <a:gd name="T65" fmla="*/ 5 h 61"/>
                <a:gd name="T66" fmla="*/ 50 w 113"/>
                <a:gd name="T67" fmla="*/ 5 h 61"/>
                <a:gd name="T68" fmla="*/ 53 w 113"/>
                <a:gd name="T69" fmla="*/ 23 h 61"/>
                <a:gd name="T70" fmla="*/ 48 w 113"/>
                <a:gd name="T71" fmla="*/ 26 h 61"/>
                <a:gd name="T72" fmla="*/ 40 w 113"/>
                <a:gd name="T73" fmla="*/ 26 h 61"/>
                <a:gd name="T74" fmla="*/ 38 w 113"/>
                <a:gd name="T75" fmla="*/ 25 h 61"/>
                <a:gd name="T76" fmla="*/ 30 w 113"/>
                <a:gd name="T77" fmla="*/ 25 h 61"/>
                <a:gd name="T78" fmla="*/ 29 w 113"/>
                <a:gd name="T79" fmla="*/ 23 h 61"/>
                <a:gd name="T80" fmla="*/ 42 w 113"/>
                <a:gd name="T81"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61">
                  <a:moveTo>
                    <a:pt x="42" y="1"/>
                  </a:moveTo>
                  <a:lnTo>
                    <a:pt x="9" y="26"/>
                  </a:lnTo>
                  <a:lnTo>
                    <a:pt x="7" y="46"/>
                  </a:lnTo>
                  <a:lnTo>
                    <a:pt x="0" y="59"/>
                  </a:lnTo>
                  <a:lnTo>
                    <a:pt x="11" y="46"/>
                  </a:lnTo>
                  <a:lnTo>
                    <a:pt x="11" y="42"/>
                  </a:lnTo>
                  <a:lnTo>
                    <a:pt x="15" y="46"/>
                  </a:lnTo>
                  <a:lnTo>
                    <a:pt x="17" y="42"/>
                  </a:lnTo>
                  <a:lnTo>
                    <a:pt x="27" y="42"/>
                  </a:lnTo>
                  <a:lnTo>
                    <a:pt x="15" y="51"/>
                  </a:lnTo>
                  <a:lnTo>
                    <a:pt x="11" y="51"/>
                  </a:lnTo>
                  <a:lnTo>
                    <a:pt x="11" y="55"/>
                  </a:lnTo>
                  <a:lnTo>
                    <a:pt x="5" y="59"/>
                  </a:lnTo>
                  <a:lnTo>
                    <a:pt x="25" y="61"/>
                  </a:lnTo>
                  <a:lnTo>
                    <a:pt x="69" y="61"/>
                  </a:lnTo>
                  <a:lnTo>
                    <a:pt x="113" y="53"/>
                  </a:lnTo>
                  <a:lnTo>
                    <a:pt x="109" y="50"/>
                  </a:lnTo>
                  <a:lnTo>
                    <a:pt x="107" y="38"/>
                  </a:lnTo>
                  <a:lnTo>
                    <a:pt x="107" y="30"/>
                  </a:lnTo>
                  <a:lnTo>
                    <a:pt x="111" y="23"/>
                  </a:lnTo>
                  <a:lnTo>
                    <a:pt x="109" y="19"/>
                  </a:lnTo>
                  <a:lnTo>
                    <a:pt x="105" y="15"/>
                  </a:lnTo>
                  <a:lnTo>
                    <a:pt x="103" y="15"/>
                  </a:lnTo>
                  <a:lnTo>
                    <a:pt x="100" y="9"/>
                  </a:lnTo>
                  <a:lnTo>
                    <a:pt x="86" y="11"/>
                  </a:lnTo>
                  <a:lnTo>
                    <a:pt x="82" y="13"/>
                  </a:lnTo>
                  <a:lnTo>
                    <a:pt x="80" y="9"/>
                  </a:lnTo>
                  <a:lnTo>
                    <a:pt x="75" y="9"/>
                  </a:lnTo>
                  <a:lnTo>
                    <a:pt x="65" y="5"/>
                  </a:lnTo>
                  <a:lnTo>
                    <a:pt x="61" y="5"/>
                  </a:lnTo>
                  <a:lnTo>
                    <a:pt x="55" y="0"/>
                  </a:lnTo>
                  <a:lnTo>
                    <a:pt x="52" y="1"/>
                  </a:lnTo>
                  <a:lnTo>
                    <a:pt x="52" y="5"/>
                  </a:lnTo>
                  <a:lnTo>
                    <a:pt x="50" y="5"/>
                  </a:lnTo>
                  <a:lnTo>
                    <a:pt x="53" y="23"/>
                  </a:lnTo>
                  <a:lnTo>
                    <a:pt x="48" y="26"/>
                  </a:lnTo>
                  <a:lnTo>
                    <a:pt x="40" y="26"/>
                  </a:lnTo>
                  <a:lnTo>
                    <a:pt x="38" y="25"/>
                  </a:lnTo>
                  <a:lnTo>
                    <a:pt x="30" y="25"/>
                  </a:lnTo>
                  <a:lnTo>
                    <a:pt x="29" y="23"/>
                  </a:lnTo>
                  <a:lnTo>
                    <a:pt x="42" y="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8" name="Freeform 56"/>
            <p:cNvSpPr>
              <a:spLocks/>
            </p:cNvSpPr>
            <p:nvPr/>
          </p:nvSpPr>
          <p:spPr bwMode="auto">
            <a:xfrm>
              <a:off x="3411" y="1149"/>
              <a:ext cx="50" cy="48"/>
            </a:xfrm>
            <a:custGeom>
              <a:avLst/>
              <a:gdLst>
                <a:gd name="T0" fmla="*/ 2 w 50"/>
                <a:gd name="T1" fmla="*/ 32 h 48"/>
                <a:gd name="T2" fmla="*/ 8 w 50"/>
                <a:gd name="T3" fmla="*/ 42 h 48"/>
                <a:gd name="T4" fmla="*/ 10 w 50"/>
                <a:gd name="T5" fmla="*/ 42 h 48"/>
                <a:gd name="T6" fmla="*/ 19 w 50"/>
                <a:gd name="T7" fmla="*/ 48 h 48"/>
                <a:gd name="T8" fmla="*/ 21 w 50"/>
                <a:gd name="T9" fmla="*/ 44 h 48"/>
                <a:gd name="T10" fmla="*/ 23 w 50"/>
                <a:gd name="T11" fmla="*/ 46 h 48"/>
                <a:gd name="T12" fmla="*/ 37 w 50"/>
                <a:gd name="T13" fmla="*/ 32 h 48"/>
                <a:gd name="T14" fmla="*/ 40 w 50"/>
                <a:gd name="T15" fmla="*/ 27 h 48"/>
                <a:gd name="T16" fmla="*/ 44 w 50"/>
                <a:gd name="T17" fmla="*/ 9 h 48"/>
                <a:gd name="T18" fmla="*/ 46 w 50"/>
                <a:gd name="T19" fmla="*/ 7 h 48"/>
                <a:gd name="T20" fmla="*/ 48 w 50"/>
                <a:gd name="T21" fmla="*/ 17 h 48"/>
                <a:gd name="T22" fmla="*/ 50 w 50"/>
                <a:gd name="T23" fmla="*/ 7 h 48"/>
                <a:gd name="T24" fmla="*/ 40 w 50"/>
                <a:gd name="T25" fmla="*/ 2 h 48"/>
                <a:gd name="T26" fmla="*/ 17 w 50"/>
                <a:gd name="T27" fmla="*/ 0 h 48"/>
                <a:gd name="T28" fmla="*/ 10 w 50"/>
                <a:gd name="T29" fmla="*/ 2 h 48"/>
                <a:gd name="T30" fmla="*/ 4 w 50"/>
                <a:gd name="T31" fmla="*/ 9 h 48"/>
                <a:gd name="T32" fmla="*/ 0 w 50"/>
                <a:gd name="T33" fmla="*/ 17 h 48"/>
                <a:gd name="T34" fmla="*/ 2 w 50"/>
                <a:gd name="T35"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48">
                  <a:moveTo>
                    <a:pt x="2" y="32"/>
                  </a:moveTo>
                  <a:lnTo>
                    <a:pt x="8" y="42"/>
                  </a:lnTo>
                  <a:lnTo>
                    <a:pt x="10" y="42"/>
                  </a:lnTo>
                  <a:lnTo>
                    <a:pt x="19" y="48"/>
                  </a:lnTo>
                  <a:lnTo>
                    <a:pt x="21" y="44"/>
                  </a:lnTo>
                  <a:lnTo>
                    <a:pt x="23" y="46"/>
                  </a:lnTo>
                  <a:lnTo>
                    <a:pt x="37" y="32"/>
                  </a:lnTo>
                  <a:lnTo>
                    <a:pt x="40" y="27"/>
                  </a:lnTo>
                  <a:lnTo>
                    <a:pt x="44" y="9"/>
                  </a:lnTo>
                  <a:lnTo>
                    <a:pt x="46" y="7"/>
                  </a:lnTo>
                  <a:lnTo>
                    <a:pt x="48" y="17"/>
                  </a:lnTo>
                  <a:lnTo>
                    <a:pt x="50" y="7"/>
                  </a:lnTo>
                  <a:lnTo>
                    <a:pt x="40" y="2"/>
                  </a:lnTo>
                  <a:lnTo>
                    <a:pt x="17" y="0"/>
                  </a:lnTo>
                  <a:lnTo>
                    <a:pt x="10" y="2"/>
                  </a:lnTo>
                  <a:lnTo>
                    <a:pt x="4" y="9"/>
                  </a:lnTo>
                  <a:lnTo>
                    <a:pt x="0" y="17"/>
                  </a:lnTo>
                  <a:lnTo>
                    <a:pt x="2" y="3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69" name="Freeform 57"/>
            <p:cNvSpPr>
              <a:spLocks/>
            </p:cNvSpPr>
            <p:nvPr/>
          </p:nvSpPr>
          <p:spPr bwMode="auto">
            <a:xfrm>
              <a:off x="3603" y="987"/>
              <a:ext cx="58" cy="29"/>
            </a:xfrm>
            <a:custGeom>
              <a:avLst/>
              <a:gdLst>
                <a:gd name="T0" fmla="*/ 6 w 58"/>
                <a:gd name="T1" fmla="*/ 0 h 29"/>
                <a:gd name="T2" fmla="*/ 2 w 58"/>
                <a:gd name="T3" fmla="*/ 6 h 29"/>
                <a:gd name="T4" fmla="*/ 2 w 58"/>
                <a:gd name="T5" fmla="*/ 10 h 29"/>
                <a:gd name="T6" fmla="*/ 2 w 58"/>
                <a:gd name="T7" fmla="*/ 12 h 29"/>
                <a:gd name="T8" fmla="*/ 0 w 58"/>
                <a:gd name="T9" fmla="*/ 14 h 29"/>
                <a:gd name="T10" fmla="*/ 4 w 58"/>
                <a:gd name="T11" fmla="*/ 14 h 29"/>
                <a:gd name="T12" fmla="*/ 10 w 58"/>
                <a:gd name="T13" fmla="*/ 14 h 29"/>
                <a:gd name="T14" fmla="*/ 6 w 58"/>
                <a:gd name="T15" fmla="*/ 16 h 29"/>
                <a:gd name="T16" fmla="*/ 0 w 58"/>
                <a:gd name="T17" fmla="*/ 18 h 29"/>
                <a:gd name="T18" fmla="*/ 2 w 58"/>
                <a:gd name="T19" fmla="*/ 18 h 29"/>
                <a:gd name="T20" fmla="*/ 2 w 58"/>
                <a:gd name="T21" fmla="*/ 20 h 29"/>
                <a:gd name="T22" fmla="*/ 4 w 58"/>
                <a:gd name="T23" fmla="*/ 20 h 29"/>
                <a:gd name="T24" fmla="*/ 6 w 58"/>
                <a:gd name="T25" fmla="*/ 20 h 29"/>
                <a:gd name="T26" fmla="*/ 8 w 58"/>
                <a:gd name="T27" fmla="*/ 21 h 29"/>
                <a:gd name="T28" fmla="*/ 8 w 58"/>
                <a:gd name="T29" fmla="*/ 23 h 29"/>
                <a:gd name="T30" fmla="*/ 10 w 58"/>
                <a:gd name="T31" fmla="*/ 25 h 29"/>
                <a:gd name="T32" fmla="*/ 14 w 58"/>
                <a:gd name="T33" fmla="*/ 25 h 29"/>
                <a:gd name="T34" fmla="*/ 23 w 58"/>
                <a:gd name="T35" fmla="*/ 29 h 29"/>
                <a:gd name="T36" fmla="*/ 25 w 58"/>
                <a:gd name="T37" fmla="*/ 29 h 29"/>
                <a:gd name="T38" fmla="*/ 25 w 58"/>
                <a:gd name="T39" fmla="*/ 27 h 29"/>
                <a:gd name="T40" fmla="*/ 27 w 58"/>
                <a:gd name="T41" fmla="*/ 27 h 29"/>
                <a:gd name="T42" fmla="*/ 25 w 58"/>
                <a:gd name="T43" fmla="*/ 27 h 29"/>
                <a:gd name="T44" fmla="*/ 21 w 58"/>
                <a:gd name="T45" fmla="*/ 25 h 29"/>
                <a:gd name="T46" fmla="*/ 33 w 58"/>
                <a:gd name="T47" fmla="*/ 21 h 29"/>
                <a:gd name="T48" fmla="*/ 35 w 58"/>
                <a:gd name="T49" fmla="*/ 23 h 29"/>
                <a:gd name="T50" fmla="*/ 39 w 58"/>
                <a:gd name="T51" fmla="*/ 23 h 29"/>
                <a:gd name="T52" fmla="*/ 39 w 58"/>
                <a:gd name="T53" fmla="*/ 25 h 29"/>
                <a:gd name="T54" fmla="*/ 39 w 58"/>
                <a:gd name="T55" fmla="*/ 27 h 29"/>
                <a:gd name="T56" fmla="*/ 41 w 58"/>
                <a:gd name="T57" fmla="*/ 27 h 29"/>
                <a:gd name="T58" fmla="*/ 44 w 58"/>
                <a:gd name="T59" fmla="*/ 27 h 29"/>
                <a:gd name="T60" fmla="*/ 48 w 58"/>
                <a:gd name="T61" fmla="*/ 23 h 29"/>
                <a:gd name="T62" fmla="*/ 52 w 58"/>
                <a:gd name="T63" fmla="*/ 21 h 29"/>
                <a:gd name="T64" fmla="*/ 56 w 58"/>
                <a:gd name="T65" fmla="*/ 18 h 29"/>
                <a:gd name="T66" fmla="*/ 58 w 58"/>
                <a:gd name="T67" fmla="*/ 16 h 29"/>
                <a:gd name="T68" fmla="*/ 58 w 58"/>
                <a:gd name="T69" fmla="*/ 12 h 29"/>
                <a:gd name="T70" fmla="*/ 52 w 58"/>
                <a:gd name="T71" fmla="*/ 6 h 29"/>
                <a:gd name="T72" fmla="*/ 50 w 58"/>
                <a:gd name="T73" fmla="*/ 6 h 29"/>
                <a:gd name="T74" fmla="*/ 39 w 58"/>
                <a:gd name="T75" fmla="*/ 4 h 29"/>
                <a:gd name="T76" fmla="*/ 37 w 58"/>
                <a:gd name="T77" fmla="*/ 4 h 29"/>
                <a:gd name="T78" fmla="*/ 31 w 58"/>
                <a:gd name="T79" fmla="*/ 4 h 29"/>
                <a:gd name="T80" fmla="*/ 25 w 58"/>
                <a:gd name="T81" fmla="*/ 6 h 29"/>
                <a:gd name="T82" fmla="*/ 25 w 58"/>
                <a:gd name="T83" fmla="*/ 4 h 29"/>
                <a:gd name="T84" fmla="*/ 23 w 58"/>
                <a:gd name="T85" fmla="*/ 4 h 29"/>
                <a:gd name="T86" fmla="*/ 23 w 58"/>
                <a:gd name="T87" fmla="*/ 2 h 29"/>
                <a:gd name="T88" fmla="*/ 12 w 58"/>
                <a:gd name="T89" fmla="*/ 0 h 29"/>
                <a:gd name="T90" fmla="*/ 6 w 58"/>
                <a:gd name="T9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29">
                  <a:moveTo>
                    <a:pt x="6" y="0"/>
                  </a:moveTo>
                  <a:lnTo>
                    <a:pt x="2" y="6"/>
                  </a:lnTo>
                  <a:lnTo>
                    <a:pt x="2" y="10"/>
                  </a:lnTo>
                  <a:lnTo>
                    <a:pt x="2" y="12"/>
                  </a:lnTo>
                  <a:lnTo>
                    <a:pt x="0" y="14"/>
                  </a:lnTo>
                  <a:lnTo>
                    <a:pt x="4" y="14"/>
                  </a:lnTo>
                  <a:lnTo>
                    <a:pt x="10" y="14"/>
                  </a:lnTo>
                  <a:lnTo>
                    <a:pt x="6" y="16"/>
                  </a:lnTo>
                  <a:lnTo>
                    <a:pt x="0" y="18"/>
                  </a:lnTo>
                  <a:lnTo>
                    <a:pt x="2" y="18"/>
                  </a:lnTo>
                  <a:lnTo>
                    <a:pt x="2" y="20"/>
                  </a:lnTo>
                  <a:lnTo>
                    <a:pt x="4" y="20"/>
                  </a:lnTo>
                  <a:lnTo>
                    <a:pt x="6" y="20"/>
                  </a:lnTo>
                  <a:lnTo>
                    <a:pt x="8" y="21"/>
                  </a:lnTo>
                  <a:lnTo>
                    <a:pt x="8" y="23"/>
                  </a:lnTo>
                  <a:lnTo>
                    <a:pt x="10" y="25"/>
                  </a:lnTo>
                  <a:lnTo>
                    <a:pt x="14" y="25"/>
                  </a:lnTo>
                  <a:lnTo>
                    <a:pt x="23" y="29"/>
                  </a:lnTo>
                  <a:lnTo>
                    <a:pt x="25" y="29"/>
                  </a:lnTo>
                  <a:lnTo>
                    <a:pt x="25" y="27"/>
                  </a:lnTo>
                  <a:lnTo>
                    <a:pt x="27" y="27"/>
                  </a:lnTo>
                  <a:lnTo>
                    <a:pt x="25" y="27"/>
                  </a:lnTo>
                  <a:lnTo>
                    <a:pt x="21" y="25"/>
                  </a:lnTo>
                  <a:lnTo>
                    <a:pt x="33" y="21"/>
                  </a:lnTo>
                  <a:lnTo>
                    <a:pt x="35" y="23"/>
                  </a:lnTo>
                  <a:lnTo>
                    <a:pt x="39" y="23"/>
                  </a:lnTo>
                  <a:lnTo>
                    <a:pt x="39" y="25"/>
                  </a:lnTo>
                  <a:lnTo>
                    <a:pt x="39" y="27"/>
                  </a:lnTo>
                  <a:lnTo>
                    <a:pt x="41" y="27"/>
                  </a:lnTo>
                  <a:lnTo>
                    <a:pt x="44" y="27"/>
                  </a:lnTo>
                  <a:lnTo>
                    <a:pt x="48" y="23"/>
                  </a:lnTo>
                  <a:lnTo>
                    <a:pt x="52" y="21"/>
                  </a:lnTo>
                  <a:lnTo>
                    <a:pt x="56" y="18"/>
                  </a:lnTo>
                  <a:lnTo>
                    <a:pt x="58" y="16"/>
                  </a:lnTo>
                  <a:lnTo>
                    <a:pt x="58" y="12"/>
                  </a:lnTo>
                  <a:lnTo>
                    <a:pt x="52" y="6"/>
                  </a:lnTo>
                  <a:lnTo>
                    <a:pt x="50" y="6"/>
                  </a:lnTo>
                  <a:lnTo>
                    <a:pt x="39" y="4"/>
                  </a:lnTo>
                  <a:lnTo>
                    <a:pt x="37" y="4"/>
                  </a:lnTo>
                  <a:lnTo>
                    <a:pt x="31" y="4"/>
                  </a:lnTo>
                  <a:lnTo>
                    <a:pt x="25" y="6"/>
                  </a:lnTo>
                  <a:lnTo>
                    <a:pt x="25" y="4"/>
                  </a:lnTo>
                  <a:lnTo>
                    <a:pt x="23" y="4"/>
                  </a:lnTo>
                  <a:lnTo>
                    <a:pt x="23" y="2"/>
                  </a:lnTo>
                  <a:lnTo>
                    <a:pt x="12" y="0"/>
                  </a:lnTo>
                  <a:lnTo>
                    <a:pt x="6"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0" name="Freeform 58"/>
            <p:cNvSpPr>
              <a:spLocks/>
            </p:cNvSpPr>
            <p:nvPr/>
          </p:nvSpPr>
          <p:spPr bwMode="auto">
            <a:xfrm>
              <a:off x="3446" y="1018"/>
              <a:ext cx="28" cy="17"/>
            </a:xfrm>
            <a:custGeom>
              <a:avLst/>
              <a:gdLst>
                <a:gd name="T0" fmla="*/ 27 w 28"/>
                <a:gd name="T1" fmla="*/ 17 h 17"/>
                <a:gd name="T2" fmla="*/ 28 w 28"/>
                <a:gd name="T3" fmla="*/ 15 h 17"/>
                <a:gd name="T4" fmla="*/ 25 w 28"/>
                <a:gd name="T5" fmla="*/ 14 h 17"/>
                <a:gd name="T6" fmla="*/ 23 w 28"/>
                <a:gd name="T7" fmla="*/ 12 h 17"/>
                <a:gd name="T8" fmla="*/ 25 w 28"/>
                <a:gd name="T9" fmla="*/ 6 h 17"/>
                <a:gd name="T10" fmla="*/ 23 w 28"/>
                <a:gd name="T11" fmla="*/ 2 h 17"/>
                <a:gd name="T12" fmla="*/ 21 w 28"/>
                <a:gd name="T13" fmla="*/ 2 h 17"/>
                <a:gd name="T14" fmla="*/ 19 w 28"/>
                <a:gd name="T15" fmla="*/ 4 h 17"/>
                <a:gd name="T16" fmla="*/ 11 w 28"/>
                <a:gd name="T17" fmla="*/ 2 h 17"/>
                <a:gd name="T18" fmla="*/ 13 w 28"/>
                <a:gd name="T19" fmla="*/ 0 h 17"/>
                <a:gd name="T20" fmla="*/ 15 w 28"/>
                <a:gd name="T21" fmla="*/ 2 h 17"/>
                <a:gd name="T22" fmla="*/ 17 w 28"/>
                <a:gd name="T23" fmla="*/ 2 h 17"/>
                <a:gd name="T24" fmla="*/ 13 w 28"/>
                <a:gd name="T25" fmla="*/ 0 h 17"/>
                <a:gd name="T26" fmla="*/ 9 w 28"/>
                <a:gd name="T27" fmla="*/ 0 h 17"/>
                <a:gd name="T28" fmla="*/ 7 w 28"/>
                <a:gd name="T29" fmla="*/ 0 h 17"/>
                <a:gd name="T30" fmla="*/ 9 w 28"/>
                <a:gd name="T31" fmla="*/ 2 h 17"/>
                <a:gd name="T32" fmla="*/ 5 w 28"/>
                <a:gd name="T33" fmla="*/ 2 h 17"/>
                <a:gd name="T34" fmla="*/ 0 w 28"/>
                <a:gd name="T35" fmla="*/ 8 h 17"/>
                <a:gd name="T36" fmla="*/ 0 w 28"/>
                <a:gd name="T37" fmla="*/ 10 h 17"/>
                <a:gd name="T38" fmla="*/ 2 w 28"/>
                <a:gd name="T39" fmla="*/ 12 h 17"/>
                <a:gd name="T40" fmla="*/ 5 w 28"/>
                <a:gd name="T41" fmla="*/ 12 h 17"/>
                <a:gd name="T42" fmla="*/ 9 w 28"/>
                <a:gd name="T43" fmla="*/ 10 h 17"/>
                <a:gd name="T44" fmla="*/ 25 w 28"/>
                <a:gd name="T45" fmla="*/ 15 h 17"/>
                <a:gd name="T46" fmla="*/ 27 w 28"/>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17">
                  <a:moveTo>
                    <a:pt x="27" y="17"/>
                  </a:moveTo>
                  <a:lnTo>
                    <a:pt x="28" y="15"/>
                  </a:lnTo>
                  <a:lnTo>
                    <a:pt x="25" y="14"/>
                  </a:lnTo>
                  <a:lnTo>
                    <a:pt x="23" y="12"/>
                  </a:lnTo>
                  <a:lnTo>
                    <a:pt x="25" y="6"/>
                  </a:lnTo>
                  <a:lnTo>
                    <a:pt x="23" y="2"/>
                  </a:lnTo>
                  <a:lnTo>
                    <a:pt x="21" y="2"/>
                  </a:lnTo>
                  <a:lnTo>
                    <a:pt x="19" y="4"/>
                  </a:lnTo>
                  <a:lnTo>
                    <a:pt x="11" y="2"/>
                  </a:lnTo>
                  <a:lnTo>
                    <a:pt x="13" y="0"/>
                  </a:lnTo>
                  <a:lnTo>
                    <a:pt x="15" y="2"/>
                  </a:lnTo>
                  <a:lnTo>
                    <a:pt x="17" y="2"/>
                  </a:lnTo>
                  <a:lnTo>
                    <a:pt x="13" y="0"/>
                  </a:lnTo>
                  <a:lnTo>
                    <a:pt x="9" y="0"/>
                  </a:lnTo>
                  <a:lnTo>
                    <a:pt x="7" y="0"/>
                  </a:lnTo>
                  <a:lnTo>
                    <a:pt x="9" y="2"/>
                  </a:lnTo>
                  <a:lnTo>
                    <a:pt x="5" y="2"/>
                  </a:lnTo>
                  <a:lnTo>
                    <a:pt x="0" y="8"/>
                  </a:lnTo>
                  <a:lnTo>
                    <a:pt x="0" y="10"/>
                  </a:lnTo>
                  <a:lnTo>
                    <a:pt x="2" y="12"/>
                  </a:lnTo>
                  <a:lnTo>
                    <a:pt x="5" y="12"/>
                  </a:lnTo>
                  <a:lnTo>
                    <a:pt x="9" y="10"/>
                  </a:lnTo>
                  <a:lnTo>
                    <a:pt x="25" y="15"/>
                  </a:lnTo>
                  <a:lnTo>
                    <a:pt x="27" y="17"/>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1" name="Freeform 59"/>
            <p:cNvSpPr>
              <a:spLocks/>
            </p:cNvSpPr>
            <p:nvPr/>
          </p:nvSpPr>
          <p:spPr bwMode="auto">
            <a:xfrm>
              <a:off x="3561" y="1007"/>
              <a:ext cx="10" cy="3"/>
            </a:xfrm>
            <a:custGeom>
              <a:avLst/>
              <a:gdLst>
                <a:gd name="T0" fmla="*/ 8 w 10"/>
                <a:gd name="T1" fmla="*/ 3 h 3"/>
                <a:gd name="T2" fmla="*/ 10 w 10"/>
                <a:gd name="T3" fmla="*/ 1 h 3"/>
                <a:gd name="T4" fmla="*/ 10 w 10"/>
                <a:gd name="T5" fmla="*/ 0 h 3"/>
                <a:gd name="T6" fmla="*/ 0 w 10"/>
                <a:gd name="T7" fmla="*/ 1 h 3"/>
                <a:gd name="T8" fmla="*/ 4 w 10"/>
                <a:gd name="T9" fmla="*/ 3 h 3"/>
                <a:gd name="T10" fmla="*/ 8 w 10"/>
                <a:gd name="T11" fmla="*/ 3 h 3"/>
              </a:gdLst>
              <a:ahLst/>
              <a:cxnLst>
                <a:cxn ang="0">
                  <a:pos x="T0" y="T1"/>
                </a:cxn>
                <a:cxn ang="0">
                  <a:pos x="T2" y="T3"/>
                </a:cxn>
                <a:cxn ang="0">
                  <a:pos x="T4" y="T5"/>
                </a:cxn>
                <a:cxn ang="0">
                  <a:pos x="T6" y="T7"/>
                </a:cxn>
                <a:cxn ang="0">
                  <a:pos x="T8" y="T9"/>
                </a:cxn>
                <a:cxn ang="0">
                  <a:pos x="T10" y="T11"/>
                </a:cxn>
              </a:cxnLst>
              <a:rect l="0" t="0" r="r" b="b"/>
              <a:pathLst>
                <a:path w="10" h="3">
                  <a:moveTo>
                    <a:pt x="8" y="3"/>
                  </a:moveTo>
                  <a:lnTo>
                    <a:pt x="10" y="1"/>
                  </a:lnTo>
                  <a:lnTo>
                    <a:pt x="10" y="0"/>
                  </a:lnTo>
                  <a:lnTo>
                    <a:pt x="0" y="1"/>
                  </a:lnTo>
                  <a:lnTo>
                    <a:pt x="4" y="3"/>
                  </a:lnTo>
                  <a:lnTo>
                    <a:pt x="8" y="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2" name="Freeform 60"/>
            <p:cNvSpPr>
              <a:spLocks/>
            </p:cNvSpPr>
            <p:nvPr/>
          </p:nvSpPr>
          <p:spPr bwMode="auto">
            <a:xfrm>
              <a:off x="3455" y="745"/>
              <a:ext cx="8" cy="10"/>
            </a:xfrm>
            <a:custGeom>
              <a:avLst/>
              <a:gdLst>
                <a:gd name="T0" fmla="*/ 0 w 8"/>
                <a:gd name="T1" fmla="*/ 10 h 10"/>
                <a:gd name="T2" fmla="*/ 2 w 8"/>
                <a:gd name="T3" fmla="*/ 8 h 10"/>
                <a:gd name="T4" fmla="*/ 8 w 8"/>
                <a:gd name="T5" fmla="*/ 0 h 10"/>
                <a:gd name="T6" fmla="*/ 2 w 8"/>
                <a:gd name="T7" fmla="*/ 6 h 10"/>
                <a:gd name="T8" fmla="*/ 0 w 8"/>
                <a:gd name="T9" fmla="*/ 10 h 10"/>
              </a:gdLst>
              <a:ahLst/>
              <a:cxnLst>
                <a:cxn ang="0">
                  <a:pos x="T0" y="T1"/>
                </a:cxn>
                <a:cxn ang="0">
                  <a:pos x="T2" y="T3"/>
                </a:cxn>
                <a:cxn ang="0">
                  <a:pos x="T4" y="T5"/>
                </a:cxn>
                <a:cxn ang="0">
                  <a:pos x="T6" y="T7"/>
                </a:cxn>
                <a:cxn ang="0">
                  <a:pos x="T8" y="T9"/>
                </a:cxn>
              </a:cxnLst>
              <a:rect l="0" t="0" r="r" b="b"/>
              <a:pathLst>
                <a:path w="8" h="10">
                  <a:moveTo>
                    <a:pt x="0" y="10"/>
                  </a:moveTo>
                  <a:lnTo>
                    <a:pt x="2" y="8"/>
                  </a:lnTo>
                  <a:lnTo>
                    <a:pt x="8" y="0"/>
                  </a:lnTo>
                  <a:lnTo>
                    <a:pt x="2" y="6"/>
                  </a:lnTo>
                  <a:lnTo>
                    <a:pt x="0" y="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3" name="Freeform 61"/>
            <p:cNvSpPr>
              <a:spLocks/>
            </p:cNvSpPr>
            <p:nvPr/>
          </p:nvSpPr>
          <p:spPr bwMode="auto">
            <a:xfrm>
              <a:off x="3471" y="722"/>
              <a:ext cx="9" cy="10"/>
            </a:xfrm>
            <a:custGeom>
              <a:avLst/>
              <a:gdLst>
                <a:gd name="T0" fmla="*/ 0 w 9"/>
                <a:gd name="T1" fmla="*/ 10 h 10"/>
                <a:gd name="T2" fmla="*/ 9 w 9"/>
                <a:gd name="T3" fmla="*/ 2 h 10"/>
                <a:gd name="T4" fmla="*/ 9 w 9"/>
                <a:gd name="T5" fmla="*/ 0 h 10"/>
                <a:gd name="T6" fmla="*/ 2 w 9"/>
                <a:gd name="T7" fmla="*/ 6 h 10"/>
                <a:gd name="T8" fmla="*/ 0 w 9"/>
                <a:gd name="T9" fmla="*/ 10 h 10"/>
              </a:gdLst>
              <a:ahLst/>
              <a:cxnLst>
                <a:cxn ang="0">
                  <a:pos x="T0" y="T1"/>
                </a:cxn>
                <a:cxn ang="0">
                  <a:pos x="T2" y="T3"/>
                </a:cxn>
                <a:cxn ang="0">
                  <a:pos x="T4" y="T5"/>
                </a:cxn>
                <a:cxn ang="0">
                  <a:pos x="T6" y="T7"/>
                </a:cxn>
                <a:cxn ang="0">
                  <a:pos x="T8" y="T9"/>
                </a:cxn>
              </a:cxnLst>
              <a:rect l="0" t="0" r="r" b="b"/>
              <a:pathLst>
                <a:path w="9" h="10">
                  <a:moveTo>
                    <a:pt x="0" y="10"/>
                  </a:moveTo>
                  <a:lnTo>
                    <a:pt x="9" y="2"/>
                  </a:lnTo>
                  <a:lnTo>
                    <a:pt x="9" y="0"/>
                  </a:lnTo>
                  <a:lnTo>
                    <a:pt x="2" y="6"/>
                  </a:lnTo>
                  <a:lnTo>
                    <a:pt x="0" y="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4" name="Freeform 62"/>
            <p:cNvSpPr>
              <a:spLocks/>
            </p:cNvSpPr>
            <p:nvPr/>
          </p:nvSpPr>
          <p:spPr bwMode="auto">
            <a:xfrm>
              <a:off x="3476" y="1020"/>
              <a:ext cx="4" cy="2"/>
            </a:xfrm>
            <a:custGeom>
              <a:avLst/>
              <a:gdLst>
                <a:gd name="T0" fmla="*/ 4 w 4"/>
                <a:gd name="T1" fmla="*/ 2 h 2"/>
                <a:gd name="T2" fmla="*/ 4 w 4"/>
                <a:gd name="T3" fmla="*/ 0 h 2"/>
                <a:gd name="T4" fmla="*/ 2 w 4"/>
                <a:gd name="T5" fmla="*/ 0 h 2"/>
                <a:gd name="T6" fmla="*/ 0 w 4"/>
                <a:gd name="T7" fmla="*/ 0 h 2"/>
                <a:gd name="T8" fmla="*/ 0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2" y="0"/>
                  </a:lnTo>
                  <a:lnTo>
                    <a:pt x="0" y="0"/>
                  </a:lnTo>
                  <a:lnTo>
                    <a:pt x="0" y="2"/>
                  </a:lnTo>
                  <a:lnTo>
                    <a:pt x="4"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5" name="Freeform 63"/>
            <p:cNvSpPr>
              <a:spLocks/>
            </p:cNvSpPr>
            <p:nvPr/>
          </p:nvSpPr>
          <p:spPr bwMode="auto">
            <a:xfrm>
              <a:off x="4053" y="2628"/>
              <a:ext cx="6" cy="6"/>
            </a:xfrm>
            <a:custGeom>
              <a:avLst/>
              <a:gdLst>
                <a:gd name="T0" fmla="*/ 6 w 6"/>
                <a:gd name="T1" fmla="*/ 2 h 6"/>
                <a:gd name="T2" fmla="*/ 6 w 6"/>
                <a:gd name="T3" fmla="*/ 0 h 6"/>
                <a:gd name="T4" fmla="*/ 4 w 6"/>
                <a:gd name="T5" fmla="*/ 0 h 6"/>
                <a:gd name="T6" fmla="*/ 0 w 6"/>
                <a:gd name="T7" fmla="*/ 4 h 6"/>
                <a:gd name="T8" fmla="*/ 2 w 6"/>
                <a:gd name="T9" fmla="*/ 6 h 6"/>
                <a:gd name="T10" fmla="*/ 6 w 6"/>
                <a:gd name="T11" fmla="*/ 2 h 6"/>
              </a:gdLst>
              <a:ahLst/>
              <a:cxnLst>
                <a:cxn ang="0">
                  <a:pos x="T0" y="T1"/>
                </a:cxn>
                <a:cxn ang="0">
                  <a:pos x="T2" y="T3"/>
                </a:cxn>
                <a:cxn ang="0">
                  <a:pos x="T4" y="T5"/>
                </a:cxn>
                <a:cxn ang="0">
                  <a:pos x="T6" y="T7"/>
                </a:cxn>
                <a:cxn ang="0">
                  <a:pos x="T8" y="T9"/>
                </a:cxn>
                <a:cxn ang="0">
                  <a:pos x="T10" y="T11"/>
                </a:cxn>
              </a:cxnLst>
              <a:rect l="0" t="0" r="r" b="b"/>
              <a:pathLst>
                <a:path w="6" h="6">
                  <a:moveTo>
                    <a:pt x="6" y="2"/>
                  </a:moveTo>
                  <a:lnTo>
                    <a:pt x="6" y="0"/>
                  </a:lnTo>
                  <a:lnTo>
                    <a:pt x="4" y="0"/>
                  </a:lnTo>
                  <a:lnTo>
                    <a:pt x="0" y="4"/>
                  </a:lnTo>
                  <a:lnTo>
                    <a:pt x="2" y="6"/>
                  </a:lnTo>
                  <a:lnTo>
                    <a:pt x="6"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6" name="Freeform 64"/>
            <p:cNvSpPr>
              <a:spLocks/>
            </p:cNvSpPr>
            <p:nvPr/>
          </p:nvSpPr>
          <p:spPr bwMode="auto">
            <a:xfrm>
              <a:off x="4032" y="2509"/>
              <a:ext cx="7" cy="6"/>
            </a:xfrm>
            <a:custGeom>
              <a:avLst/>
              <a:gdLst>
                <a:gd name="T0" fmla="*/ 7 w 7"/>
                <a:gd name="T1" fmla="*/ 6 h 6"/>
                <a:gd name="T2" fmla="*/ 4 w 7"/>
                <a:gd name="T3" fmla="*/ 2 h 6"/>
                <a:gd name="T4" fmla="*/ 2 w 7"/>
                <a:gd name="T5" fmla="*/ 0 h 6"/>
                <a:gd name="T6" fmla="*/ 0 w 7"/>
                <a:gd name="T7" fmla="*/ 4 h 6"/>
                <a:gd name="T8" fmla="*/ 4 w 7"/>
                <a:gd name="T9" fmla="*/ 6 h 6"/>
                <a:gd name="T10" fmla="*/ 7 w 7"/>
                <a:gd name="T11" fmla="*/ 6 h 6"/>
              </a:gdLst>
              <a:ahLst/>
              <a:cxnLst>
                <a:cxn ang="0">
                  <a:pos x="T0" y="T1"/>
                </a:cxn>
                <a:cxn ang="0">
                  <a:pos x="T2" y="T3"/>
                </a:cxn>
                <a:cxn ang="0">
                  <a:pos x="T4" y="T5"/>
                </a:cxn>
                <a:cxn ang="0">
                  <a:pos x="T6" y="T7"/>
                </a:cxn>
                <a:cxn ang="0">
                  <a:pos x="T8" y="T9"/>
                </a:cxn>
                <a:cxn ang="0">
                  <a:pos x="T10" y="T11"/>
                </a:cxn>
              </a:cxnLst>
              <a:rect l="0" t="0" r="r" b="b"/>
              <a:pathLst>
                <a:path w="7" h="6">
                  <a:moveTo>
                    <a:pt x="7" y="6"/>
                  </a:moveTo>
                  <a:lnTo>
                    <a:pt x="4" y="2"/>
                  </a:lnTo>
                  <a:lnTo>
                    <a:pt x="2" y="0"/>
                  </a:lnTo>
                  <a:lnTo>
                    <a:pt x="0" y="4"/>
                  </a:lnTo>
                  <a:lnTo>
                    <a:pt x="4" y="6"/>
                  </a:lnTo>
                  <a:lnTo>
                    <a:pt x="7"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7" name="Freeform 65"/>
            <p:cNvSpPr>
              <a:spLocks/>
            </p:cNvSpPr>
            <p:nvPr/>
          </p:nvSpPr>
          <p:spPr bwMode="auto">
            <a:xfrm>
              <a:off x="4036" y="2501"/>
              <a:ext cx="11" cy="8"/>
            </a:xfrm>
            <a:custGeom>
              <a:avLst/>
              <a:gdLst>
                <a:gd name="T0" fmla="*/ 11 w 11"/>
                <a:gd name="T1" fmla="*/ 8 h 8"/>
                <a:gd name="T2" fmla="*/ 0 w 11"/>
                <a:gd name="T3" fmla="*/ 0 h 8"/>
                <a:gd name="T4" fmla="*/ 5 w 11"/>
                <a:gd name="T5" fmla="*/ 6 h 8"/>
                <a:gd name="T6" fmla="*/ 11 w 11"/>
                <a:gd name="T7" fmla="*/ 8 h 8"/>
              </a:gdLst>
              <a:ahLst/>
              <a:cxnLst>
                <a:cxn ang="0">
                  <a:pos x="T0" y="T1"/>
                </a:cxn>
                <a:cxn ang="0">
                  <a:pos x="T2" y="T3"/>
                </a:cxn>
                <a:cxn ang="0">
                  <a:pos x="T4" y="T5"/>
                </a:cxn>
                <a:cxn ang="0">
                  <a:pos x="T6" y="T7"/>
                </a:cxn>
              </a:cxnLst>
              <a:rect l="0" t="0" r="r" b="b"/>
              <a:pathLst>
                <a:path w="11" h="8">
                  <a:moveTo>
                    <a:pt x="11" y="8"/>
                  </a:moveTo>
                  <a:lnTo>
                    <a:pt x="0" y="0"/>
                  </a:lnTo>
                  <a:lnTo>
                    <a:pt x="5" y="6"/>
                  </a:lnTo>
                  <a:lnTo>
                    <a:pt x="11"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8" name="Freeform 66"/>
            <p:cNvSpPr>
              <a:spLocks/>
            </p:cNvSpPr>
            <p:nvPr/>
          </p:nvSpPr>
          <p:spPr bwMode="auto">
            <a:xfrm>
              <a:off x="4020" y="2526"/>
              <a:ext cx="6" cy="8"/>
            </a:xfrm>
            <a:custGeom>
              <a:avLst/>
              <a:gdLst>
                <a:gd name="T0" fmla="*/ 4 w 6"/>
                <a:gd name="T1" fmla="*/ 8 h 8"/>
                <a:gd name="T2" fmla="*/ 6 w 6"/>
                <a:gd name="T3" fmla="*/ 6 h 8"/>
                <a:gd name="T4" fmla="*/ 2 w 6"/>
                <a:gd name="T5" fmla="*/ 0 h 8"/>
                <a:gd name="T6" fmla="*/ 0 w 6"/>
                <a:gd name="T7" fmla="*/ 2 h 8"/>
                <a:gd name="T8" fmla="*/ 4 w 6"/>
                <a:gd name="T9" fmla="*/ 8 h 8"/>
              </a:gdLst>
              <a:ahLst/>
              <a:cxnLst>
                <a:cxn ang="0">
                  <a:pos x="T0" y="T1"/>
                </a:cxn>
                <a:cxn ang="0">
                  <a:pos x="T2" y="T3"/>
                </a:cxn>
                <a:cxn ang="0">
                  <a:pos x="T4" y="T5"/>
                </a:cxn>
                <a:cxn ang="0">
                  <a:pos x="T6" y="T7"/>
                </a:cxn>
                <a:cxn ang="0">
                  <a:pos x="T8" y="T9"/>
                </a:cxn>
              </a:cxnLst>
              <a:rect l="0" t="0" r="r" b="b"/>
              <a:pathLst>
                <a:path w="6" h="8">
                  <a:moveTo>
                    <a:pt x="4" y="8"/>
                  </a:moveTo>
                  <a:lnTo>
                    <a:pt x="6" y="6"/>
                  </a:lnTo>
                  <a:lnTo>
                    <a:pt x="2" y="0"/>
                  </a:lnTo>
                  <a:lnTo>
                    <a:pt x="0" y="2"/>
                  </a:lnTo>
                  <a:lnTo>
                    <a:pt x="4"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79" name="Freeform 67"/>
            <p:cNvSpPr>
              <a:spLocks/>
            </p:cNvSpPr>
            <p:nvPr/>
          </p:nvSpPr>
          <p:spPr bwMode="auto">
            <a:xfrm>
              <a:off x="3499" y="811"/>
              <a:ext cx="2" cy="3"/>
            </a:xfrm>
            <a:custGeom>
              <a:avLst/>
              <a:gdLst>
                <a:gd name="T0" fmla="*/ 2 w 2"/>
                <a:gd name="T1" fmla="*/ 3 h 3"/>
                <a:gd name="T2" fmla="*/ 2 w 2"/>
                <a:gd name="T3" fmla="*/ 1 h 3"/>
                <a:gd name="T4" fmla="*/ 0 w 2"/>
                <a:gd name="T5" fmla="*/ 1 h 3"/>
                <a:gd name="T6" fmla="*/ 0 w 2"/>
                <a:gd name="T7" fmla="*/ 0 h 3"/>
                <a:gd name="T8" fmla="*/ 0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1"/>
                  </a:lnTo>
                  <a:lnTo>
                    <a:pt x="0" y="1"/>
                  </a:lnTo>
                  <a:lnTo>
                    <a:pt x="0" y="0"/>
                  </a:lnTo>
                  <a:lnTo>
                    <a:pt x="0" y="3"/>
                  </a:lnTo>
                  <a:lnTo>
                    <a:pt x="2" y="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0" name="Freeform 68"/>
            <p:cNvSpPr>
              <a:spLocks/>
            </p:cNvSpPr>
            <p:nvPr/>
          </p:nvSpPr>
          <p:spPr bwMode="auto">
            <a:xfrm>
              <a:off x="3465" y="1014"/>
              <a:ext cx="6" cy="2"/>
            </a:xfrm>
            <a:custGeom>
              <a:avLst/>
              <a:gdLst>
                <a:gd name="T0" fmla="*/ 6 w 6"/>
                <a:gd name="T1" fmla="*/ 2 h 2"/>
                <a:gd name="T2" fmla="*/ 2 w 6"/>
                <a:gd name="T3" fmla="*/ 0 h 2"/>
                <a:gd name="T4" fmla="*/ 0 w 6"/>
                <a:gd name="T5" fmla="*/ 2 h 2"/>
                <a:gd name="T6" fmla="*/ 2 w 6"/>
                <a:gd name="T7" fmla="*/ 2 h 2"/>
                <a:gd name="T8" fmla="*/ 6 w 6"/>
                <a:gd name="T9" fmla="*/ 2 h 2"/>
              </a:gdLst>
              <a:ahLst/>
              <a:cxnLst>
                <a:cxn ang="0">
                  <a:pos x="T0" y="T1"/>
                </a:cxn>
                <a:cxn ang="0">
                  <a:pos x="T2" y="T3"/>
                </a:cxn>
                <a:cxn ang="0">
                  <a:pos x="T4" y="T5"/>
                </a:cxn>
                <a:cxn ang="0">
                  <a:pos x="T6" y="T7"/>
                </a:cxn>
                <a:cxn ang="0">
                  <a:pos x="T8" y="T9"/>
                </a:cxn>
              </a:cxnLst>
              <a:rect l="0" t="0" r="r" b="b"/>
              <a:pathLst>
                <a:path w="6" h="2">
                  <a:moveTo>
                    <a:pt x="6" y="2"/>
                  </a:moveTo>
                  <a:lnTo>
                    <a:pt x="2" y="0"/>
                  </a:lnTo>
                  <a:lnTo>
                    <a:pt x="0" y="2"/>
                  </a:lnTo>
                  <a:lnTo>
                    <a:pt x="2" y="2"/>
                  </a:lnTo>
                  <a:lnTo>
                    <a:pt x="6"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1" name="Freeform 69"/>
            <p:cNvSpPr>
              <a:spLocks/>
            </p:cNvSpPr>
            <p:nvPr/>
          </p:nvSpPr>
          <p:spPr bwMode="auto">
            <a:xfrm>
              <a:off x="3461" y="747"/>
              <a:ext cx="4" cy="2"/>
            </a:xfrm>
            <a:custGeom>
              <a:avLst/>
              <a:gdLst>
                <a:gd name="T0" fmla="*/ 2 w 4"/>
                <a:gd name="T1" fmla="*/ 2 h 2"/>
                <a:gd name="T2" fmla="*/ 4 w 4"/>
                <a:gd name="T3" fmla="*/ 0 h 2"/>
                <a:gd name="T4" fmla="*/ 2 w 4"/>
                <a:gd name="T5" fmla="*/ 0 h 2"/>
                <a:gd name="T6" fmla="*/ 0 w 4"/>
                <a:gd name="T7" fmla="*/ 2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4" y="0"/>
                  </a:lnTo>
                  <a:lnTo>
                    <a:pt x="2" y="0"/>
                  </a:lnTo>
                  <a:lnTo>
                    <a:pt x="0" y="2"/>
                  </a:lnTo>
                  <a:lnTo>
                    <a:pt x="2"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2" name="Freeform 70"/>
            <p:cNvSpPr>
              <a:spLocks/>
            </p:cNvSpPr>
            <p:nvPr/>
          </p:nvSpPr>
          <p:spPr bwMode="auto">
            <a:xfrm>
              <a:off x="4032" y="2513"/>
              <a:ext cx="6" cy="6"/>
            </a:xfrm>
            <a:custGeom>
              <a:avLst/>
              <a:gdLst>
                <a:gd name="T0" fmla="*/ 6 w 6"/>
                <a:gd name="T1" fmla="*/ 6 h 6"/>
                <a:gd name="T2" fmla="*/ 0 w 6"/>
                <a:gd name="T3" fmla="*/ 0 h 6"/>
                <a:gd name="T4" fmla="*/ 0 w 6"/>
                <a:gd name="T5" fmla="*/ 2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0" y="2"/>
                  </a:lnTo>
                  <a:lnTo>
                    <a:pt x="6"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3" name="Freeform 71"/>
            <p:cNvSpPr>
              <a:spLocks/>
            </p:cNvSpPr>
            <p:nvPr/>
          </p:nvSpPr>
          <p:spPr bwMode="auto">
            <a:xfrm>
              <a:off x="3755" y="2751"/>
              <a:ext cx="333" cy="133"/>
            </a:xfrm>
            <a:custGeom>
              <a:avLst/>
              <a:gdLst>
                <a:gd name="T0" fmla="*/ 181 w 333"/>
                <a:gd name="T1" fmla="*/ 119 h 133"/>
                <a:gd name="T2" fmla="*/ 186 w 333"/>
                <a:gd name="T3" fmla="*/ 123 h 133"/>
                <a:gd name="T4" fmla="*/ 198 w 333"/>
                <a:gd name="T5" fmla="*/ 125 h 133"/>
                <a:gd name="T6" fmla="*/ 227 w 333"/>
                <a:gd name="T7" fmla="*/ 104 h 133"/>
                <a:gd name="T8" fmla="*/ 252 w 333"/>
                <a:gd name="T9" fmla="*/ 91 h 133"/>
                <a:gd name="T10" fmla="*/ 267 w 333"/>
                <a:gd name="T11" fmla="*/ 71 h 133"/>
                <a:gd name="T12" fmla="*/ 290 w 333"/>
                <a:gd name="T13" fmla="*/ 69 h 133"/>
                <a:gd name="T14" fmla="*/ 296 w 333"/>
                <a:gd name="T15" fmla="*/ 77 h 133"/>
                <a:gd name="T16" fmla="*/ 313 w 333"/>
                <a:gd name="T17" fmla="*/ 69 h 133"/>
                <a:gd name="T18" fmla="*/ 333 w 333"/>
                <a:gd name="T19" fmla="*/ 66 h 133"/>
                <a:gd name="T20" fmla="*/ 309 w 333"/>
                <a:gd name="T21" fmla="*/ 52 h 133"/>
                <a:gd name="T22" fmla="*/ 309 w 333"/>
                <a:gd name="T23" fmla="*/ 46 h 133"/>
                <a:gd name="T24" fmla="*/ 304 w 333"/>
                <a:gd name="T25" fmla="*/ 46 h 133"/>
                <a:gd name="T26" fmla="*/ 298 w 333"/>
                <a:gd name="T27" fmla="*/ 37 h 133"/>
                <a:gd name="T28" fmla="*/ 306 w 333"/>
                <a:gd name="T29" fmla="*/ 25 h 133"/>
                <a:gd name="T30" fmla="*/ 281 w 333"/>
                <a:gd name="T31" fmla="*/ 27 h 133"/>
                <a:gd name="T32" fmla="*/ 263 w 333"/>
                <a:gd name="T33" fmla="*/ 21 h 133"/>
                <a:gd name="T34" fmla="*/ 250 w 333"/>
                <a:gd name="T35" fmla="*/ 2 h 133"/>
                <a:gd name="T36" fmla="*/ 231 w 333"/>
                <a:gd name="T37" fmla="*/ 0 h 133"/>
                <a:gd name="T38" fmla="*/ 219 w 333"/>
                <a:gd name="T39" fmla="*/ 0 h 133"/>
                <a:gd name="T40" fmla="*/ 217 w 333"/>
                <a:gd name="T41" fmla="*/ 12 h 133"/>
                <a:gd name="T42" fmla="*/ 208 w 333"/>
                <a:gd name="T43" fmla="*/ 6 h 133"/>
                <a:gd name="T44" fmla="*/ 192 w 333"/>
                <a:gd name="T45" fmla="*/ 21 h 133"/>
                <a:gd name="T46" fmla="*/ 185 w 333"/>
                <a:gd name="T47" fmla="*/ 29 h 133"/>
                <a:gd name="T48" fmla="*/ 175 w 333"/>
                <a:gd name="T49" fmla="*/ 19 h 133"/>
                <a:gd name="T50" fmla="*/ 140 w 333"/>
                <a:gd name="T51" fmla="*/ 18 h 133"/>
                <a:gd name="T52" fmla="*/ 133 w 333"/>
                <a:gd name="T53" fmla="*/ 12 h 133"/>
                <a:gd name="T54" fmla="*/ 117 w 333"/>
                <a:gd name="T55" fmla="*/ 12 h 133"/>
                <a:gd name="T56" fmla="*/ 102 w 333"/>
                <a:gd name="T57" fmla="*/ 14 h 133"/>
                <a:gd name="T58" fmla="*/ 69 w 333"/>
                <a:gd name="T59" fmla="*/ 27 h 133"/>
                <a:gd name="T60" fmla="*/ 44 w 333"/>
                <a:gd name="T61" fmla="*/ 25 h 133"/>
                <a:gd name="T62" fmla="*/ 19 w 333"/>
                <a:gd name="T63" fmla="*/ 25 h 133"/>
                <a:gd name="T64" fmla="*/ 0 w 333"/>
                <a:gd name="T65" fmla="*/ 27 h 133"/>
                <a:gd name="T66" fmla="*/ 10 w 333"/>
                <a:gd name="T67" fmla="*/ 41 h 133"/>
                <a:gd name="T68" fmla="*/ 21 w 333"/>
                <a:gd name="T69" fmla="*/ 48 h 133"/>
                <a:gd name="T70" fmla="*/ 42 w 333"/>
                <a:gd name="T71" fmla="*/ 48 h 133"/>
                <a:gd name="T72" fmla="*/ 52 w 333"/>
                <a:gd name="T73" fmla="*/ 50 h 133"/>
                <a:gd name="T74" fmla="*/ 75 w 333"/>
                <a:gd name="T75" fmla="*/ 60 h 133"/>
                <a:gd name="T76" fmla="*/ 108 w 333"/>
                <a:gd name="T77" fmla="*/ 106 h 133"/>
                <a:gd name="T78" fmla="*/ 121 w 333"/>
                <a:gd name="T79" fmla="*/ 133 h 133"/>
                <a:gd name="T80" fmla="*/ 148 w 333"/>
                <a:gd name="T81" fmla="*/ 12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3" h="133">
                  <a:moveTo>
                    <a:pt x="150" y="110"/>
                  </a:moveTo>
                  <a:lnTo>
                    <a:pt x="181" y="119"/>
                  </a:lnTo>
                  <a:lnTo>
                    <a:pt x="181" y="121"/>
                  </a:lnTo>
                  <a:lnTo>
                    <a:pt x="186" y="123"/>
                  </a:lnTo>
                  <a:lnTo>
                    <a:pt x="190" y="123"/>
                  </a:lnTo>
                  <a:lnTo>
                    <a:pt x="198" y="125"/>
                  </a:lnTo>
                  <a:lnTo>
                    <a:pt x="225" y="108"/>
                  </a:lnTo>
                  <a:lnTo>
                    <a:pt x="227" y="104"/>
                  </a:lnTo>
                  <a:lnTo>
                    <a:pt x="256" y="94"/>
                  </a:lnTo>
                  <a:lnTo>
                    <a:pt x="252" y="91"/>
                  </a:lnTo>
                  <a:lnTo>
                    <a:pt x="259" y="87"/>
                  </a:lnTo>
                  <a:lnTo>
                    <a:pt x="267" y="71"/>
                  </a:lnTo>
                  <a:lnTo>
                    <a:pt x="275" y="69"/>
                  </a:lnTo>
                  <a:lnTo>
                    <a:pt x="290" y="69"/>
                  </a:lnTo>
                  <a:lnTo>
                    <a:pt x="288" y="75"/>
                  </a:lnTo>
                  <a:lnTo>
                    <a:pt x="296" y="77"/>
                  </a:lnTo>
                  <a:lnTo>
                    <a:pt x="306" y="75"/>
                  </a:lnTo>
                  <a:lnTo>
                    <a:pt x="313" y="69"/>
                  </a:lnTo>
                  <a:lnTo>
                    <a:pt x="329" y="73"/>
                  </a:lnTo>
                  <a:lnTo>
                    <a:pt x="333" y="66"/>
                  </a:lnTo>
                  <a:lnTo>
                    <a:pt x="331" y="56"/>
                  </a:lnTo>
                  <a:lnTo>
                    <a:pt x="309" y="52"/>
                  </a:lnTo>
                  <a:lnTo>
                    <a:pt x="308" y="48"/>
                  </a:lnTo>
                  <a:lnTo>
                    <a:pt x="309" y="46"/>
                  </a:lnTo>
                  <a:lnTo>
                    <a:pt x="306" y="44"/>
                  </a:lnTo>
                  <a:lnTo>
                    <a:pt x="304" y="46"/>
                  </a:lnTo>
                  <a:lnTo>
                    <a:pt x="300" y="43"/>
                  </a:lnTo>
                  <a:lnTo>
                    <a:pt x="298" y="37"/>
                  </a:lnTo>
                  <a:lnTo>
                    <a:pt x="304" y="35"/>
                  </a:lnTo>
                  <a:lnTo>
                    <a:pt x="306" y="25"/>
                  </a:lnTo>
                  <a:lnTo>
                    <a:pt x="294" y="23"/>
                  </a:lnTo>
                  <a:lnTo>
                    <a:pt x="281" y="27"/>
                  </a:lnTo>
                  <a:lnTo>
                    <a:pt x="277" y="21"/>
                  </a:lnTo>
                  <a:lnTo>
                    <a:pt x="263" y="21"/>
                  </a:lnTo>
                  <a:lnTo>
                    <a:pt x="261" y="2"/>
                  </a:lnTo>
                  <a:lnTo>
                    <a:pt x="250" y="2"/>
                  </a:lnTo>
                  <a:lnTo>
                    <a:pt x="242" y="6"/>
                  </a:lnTo>
                  <a:lnTo>
                    <a:pt x="231" y="0"/>
                  </a:lnTo>
                  <a:lnTo>
                    <a:pt x="227" y="2"/>
                  </a:lnTo>
                  <a:lnTo>
                    <a:pt x="219" y="0"/>
                  </a:lnTo>
                  <a:lnTo>
                    <a:pt x="217" y="2"/>
                  </a:lnTo>
                  <a:lnTo>
                    <a:pt x="217" y="12"/>
                  </a:lnTo>
                  <a:lnTo>
                    <a:pt x="213" y="8"/>
                  </a:lnTo>
                  <a:lnTo>
                    <a:pt x="208" y="6"/>
                  </a:lnTo>
                  <a:lnTo>
                    <a:pt x="194" y="14"/>
                  </a:lnTo>
                  <a:lnTo>
                    <a:pt x="192" y="21"/>
                  </a:lnTo>
                  <a:lnTo>
                    <a:pt x="186" y="23"/>
                  </a:lnTo>
                  <a:lnTo>
                    <a:pt x="185" y="29"/>
                  </a:lnTo>
                  <a:lnTo>
                    <a:pt x="173" y="27"/>
                  </a:lnTo>
                  <a:lnTo>
                    <a:pt x="175" y="19"/>
                  </a:lnTo>
                  <a:lnTo>
                    <a:pt x="152" y="18"/>
                  </a:lnTo>
                  <a:lnTo>
                    <a:pt x="140" y="18"/>
                  </a:lnTo>
                  <a:lnTo>
                    <a:pt x="133" y="14"/>
                  </a:lnTo>
                  <a:lnTo>
                    <a:pt x="133" y="12"/>
                  </a:lnTo>
                  <a:lnTo>
                    <a:pt x="123" y="10"/>
                  </a:lnTo>
                  <a:lnTo>
                    <a:pt x="117" y="12"/>
                  </a:lnTo>
                  <a:lnTo>
                    <a:pt x="115" y="16"/>
                  </a:lnTo>
                  <a:lnTo>
                    <a:pt x="102" y="14"/>
                  </a:lnTo>
                  <a:lnTo>
                    <a:pt x="92" y="19"/>
                  </a:lnTo>
                  <a:lnTo>
                    <a:pt x="69" y="27"/>
                  </a:lnTo>
                  <a:lnTo>
                    <a:pt x="60" y="21"/>
                  </a:lnTo>
                  <a:lnTo>
                    <a:pt x="44" y="25"/>
                  </a:lnTo>
                  <a:lnTo>
                    <a:pt x="25" y="21"/>
                  </a:lnTo>
                  <a:lnTo>
                    <a:pt x="19" y="25"/>
                  </a:lnTo>
                  <a:lnTo>
                    <a:pt x="6" y="25"/>
                  </a:lnTo>
                  <a:lnTo>
                    <a:pt x="0" y="27"/>
                  </a:lnTo>
                  <a:lnTo>
                    <a:pt x="0" y="41"/>
                  </a:lnTo>
                  <a:lnTo>
                    <a:pt x="10" y="41"/>
                  </a:lnTo>
                  <a:lnTo>
                    <a:pt x="19" y="50"/>
                  </a:lnTo>
                  <a:lnTo>
                    <a:pt x="21" y="48"/>
                  </a:lnTo>
                  <a:lnTo>
                    <a:pt x="31" y="50"/>
                  </a:lnTo>
                  <a:lnTo>
                    <a:pt x="42" y="48"/>
                  </a:lnTo>
                  <a:lnTo>
                    <a:pt x="48" y="52"/>
                  </a:lnTo>
                  <a:lnTo>
                    <a:pt x="52" y="50"/>
                  </a:lnTo>
                  <a:lnTo>
                    <a:pt x="62" y="60"/>
                  </a:lnTo>
                  <a:lnTo>
                    <a:pt x="75" y="60"/>
                  </a:lnTo>
                  <a:lnTo>
                    <a:pt x="87" y="77"/>
                  </a:lnTo>
                  <a:lnTo>
                    <a:pt x="108" y="106"/>
                  </a:lnTo>
                  <a:lnTo>
                    <a:pt x="106" y="131"/>
                  </a:lnTo>
                  <a:lnTo>
                    <a:pt x="121" y="133"/>
                  </a:lnTo>
                  <a:lnTo>
                    <a:pt x="125" y="125"/>
                  </a:lnTo>
                  <a:lnTo>
                    <a:pt x="148" y="121"/>
                  </a:lnTo>
                  <a:lnTo>
                    <a:pt x="150" y="1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4" name="Freeform 72"/>
            <p:cNvSpPr>
              <a:spLocks/>
            </p:cNvSpPr>
            <p:nvPr/>
          </p:nvSpPr>
          <p:spPr bwMode="auto">
            <a:xfrm>
              <a:off x="3207" y="2861"/>
              <a:ext cx="900" cy="503"/>
            </a:xfrm>
            <a:custGeom>
              <a:avLst/>
              <a:gdLst>
                <a:gd name="T0" fmla="*/ 135 w 900"/>
                <a:gd name="T1" fmla="*/ 221 h 503"/>
                <a:gd name="T2" fmla="*/ 116 w 900"/>
                <a:gd name="T3" fmla="*/ 246 h 503"/>
                <a:gd name="T4" fmla="*/ 45 w 900"/>
                <a:gd name="T5" fmla="*/ 269 h 503"/>
                <a:gd name="T6" fmla="*/ 0 w 900"/>
                <a:gd name="T7" fmla="*/ 332 h 503"/>
                <a:gd name="T8" fmla="*/ 35 w 900"/>
                <a:gd name="T9" fmla="*/ 363 h 503"/>
                <a:gd name="T10" fmla="*/ 47 w 900"/>
                <a:gd name="T11" fmla="*/ 396 h 503"/>
                <a:gd name="T12" fmla="*/ 16 w 900"/>
                <a:gd name="T13" fmla="*/ 392 h 503"/>
                <a:gd name="T14" fmla="*/ 68 w 900"/>
                <a:gd name="T15" fmla="*/ 428 h 503"/>
                <a:gd name="T16" fmla="*/ 87 w 900"/>
                <a:gd name="T17" fmla="*/ 461 h 503"/>
                <a:gd name="T18" fmla="*/ 121 w 900"/>
                <a:gd name="T19" fmla="*/ 474 h 503"/>
                <a:gd name="T20" fmla="*/ 120 w 900"/>
                <a:gd name="T21" fmla="*/ 494 h 503"/>
                <a:gd name="T22" fmla="*/ 171 w 900"/>
                <a:gd name="T23" fmla="*/ 496 h 503"/>
                <a:gd name="T24" fmla="*/ 241 w 900"/>
                <a:gd name="T25" fmla="*/ 484 h 503"/>
                <a:gd name="T26" fmla="*/ 329 w 900"/>
                <a:gd name="T27" fmla="*/ 472 h 503"/>
                <a:gd name="T28" fmla="*/ 417 w 900"/>
                <a:gd name="T29" fmla="*/ 438 h 503"/>
                <a:gd name="T30" fmla="*/ 485 w 900"/>
                <a:gd name="T31" fmla="*/ 405 h 503"/>
                <a:gd name="T32" fmla="*/ 510 w 900"/>
                <a:gd name="T33" fmla="*/ 436 h 503"/>
                <a:gd name="T34" fmla="*/ 515 w 900"/>
                <a:gd name="T35" fmla="*/ 449 h 503"/>
                <a:gd name="T36" fmla="*/ 529 w 900"/>
                <a:gd name="T37" fmla="*/ 394 h 503"/>
                <a:gd name="T38" fmla="*/ 617 w 900"/>
                <a:gd name="T39" fmla="*/ 353 h 503"/>
                <a:gd name="T40" fmla="*/ 731 w 900"/>
                <a:gd name="T41" fmla="*/ 303 h 503"/>
                <a:gd name="T42" fmla="*/ 790 w 900"/>
                <a:gd name="T43" fmla="*/ 275 h 503"/>
                <a:gd name="T44" fmla="*/ 859 w 900"/>
                <a:gd name="T45" fmla="*/ 234 h 503"/>
                <a:gd name="T46" fmla="*/ 900 w 900"/>
                <a:gd name="T47" fmla="*/ 227 h 503"/>
                <a:gd name="T48" fmla="*/ 834 w 900"/>
                <a:gd name="T49" fmla="*/ 134 h 503"/>
                <a:gd name="T50" fmla="*/ 827 w 900"/>
                <a:gd name="T51" fmla="*/ 73 h 503"/>
                <a:gd name="T52" fmla="*/ 813 w 900"/>
                <a:gd name="T53" fmla="*/ 65 h 503"/>
                <a:gd name="T54" fmla="*/ 779 w 900"/>
                <a:gd name="T55" fmla="*/ 71 h 503"/>
                <a:gd name="T56" fmla="*/ 765 w 900"/>
                <a:gd name="T57" fmla="*/ 52 h 503"/>
                <a:gd name="T58" fmla="*/ 746 w 900"/>
                <a:gd name="T59" fmla="*/ 15 h 503"/>
                <a:gd name="T60" fmla="*/ 734 w 900"/>
                <a:gd name="T61" fmla="*/ 13 h 503"/>
                <a:gd name="T62" fmla="*/ 729 w 900"/>
                <a:gd name="T63" fmla="*/ 9 h 503"/>
                <a:gd name="T64" fmla="*/ 696 w 900"/>
                <a:gd name="T65" fmla="*/ 11 h 503"/>
                <a:gd name="T66" fmla="*/ 669 w 900"/>
                <a:gd name="T67" fmla="*/ 23 h 503"/>
                <a:gd name="T68" fmla="*/ 594 w 900"/>
                <a:gd name="T69" fmla="*/ 80 h 503"/>
                <a:gd name="T70" fmla="*/ 419 w 900"/>
                <a:gd name="T71" fmla="*/ 102 h 503"/>
                <a:gd name="T72" fmla="*/ 365 w 900"/>
                <a:gd name="T73" fmla="*/ 88 h 503"/>
                <a:gd name="T74" fmla="*/ 294 w 900"/>
                <a:gd name="T75" fmla="*/ 109 h 503"/>
                <a:gd name="T76" fmla="*/ 196 w 900"/>
                <a:gd name="T77" fmla="*/ 188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00" h="503">
                  <a:moveTo>
                    <a:pt x="110" y="203"/>
                  </a:moveTo>
                  <a:lnTo>
                    <a:pt x="135" y="221"/>
                  </a:lnTo>
                  <a:lnTo>
                    <a:pt x="148" y="221"/>
                  </a:lnTo>
                  <a:lnTo>
                    <a:pt x="116" y="246"/>
                  </a:lnTo>
                  <a:lnTo>
                    <a:pt x="60" y="253"/>
                  </a:lnTo>
                  <a:lnTo>
                    <a:pt x="45" y="269"/>
                  </a:lnTo>
                  <a:lnTo>
                    <a:pt x="0" y="284"/>
                  </a:lnTo>
                  <a:lnTo>
                    <a:pt x="0" y="332"/>
                  </a:lnTo>
                  <a:lnTo>
                    <a:pt x="25" y="330"/>
                  </a:lnTo>
                  <a:lnTo>
                    <a:pt x="35" y="363"/>
                  </a:lnTo>
                  <a:lnTo>
                    <a:pt x="35" y="373"/>
                  </a:lnTo>
                  <a:lnTo>
                    <a:pt x="47" y="396"/>
                  </a:lnTo>
                  <a:lnTo>
                    <a:pt x="29" y="394"/>
                  </a:lnTo>
                  <a:lnTo>
                    <a:pt x="16" y="392"/>
                  </a:lnTo>
                  <a:lnTo>
                    <a:pt x="25" y="413"/>
                  </a:lnTo>
                  <a:lnTo>
                    <a:pt x="68" y="428"/>
                  </a:lnTo>
                  <a:lnTo>
                    <a:pt x="62" y="442"/>
                  </a:lnTo>
                  <a:lnTo>
                    <a:pt x="87" y="461"/>
                  </a:lnTo>
                  <a:lnTo>
                    <a:pt x="83" y="476"/>
                  </a:lnTo>
                  <a:lnTo>
                    <a:pt x="121" y="474"/>
                  </a:lnTo>
                  <a:lnTo>
                    <a:pt x="95" y="497"/>
                  </a:lnTo>
                  <a:lnTo>
                    <a:pt x="120" y="494"/>
                  </a:lnTo>
                  <a:lnTo>
                    <a:pt x="145" y="484"/>
                  </a:lnTo>
                  <a:lnTo>
                    <a:pt x="171" y="496"/>
                  </a:lnTo>
                  <a:lnTo>
                    <a:pt x="219" y="503"/>
                  </a:lnTo>
                  <a:lnTo>
                    <a:pt x="241" y="484"/>
                  </a:lnTo>
                  <a:lnTo>
                    <a:pt x="246" y="455"/>
                  </a:lnTo>
                  <a:lnTo>
                    <a:pt x="329" y="472"/>
                  </a:lnTo>
                  <a:lnTo>
                    <a:pt x="371" y="476"/>
                  </a:lnTo>
                  <a:lnTo>
                    <a:pt x="417" y="438"/>
                  </a:lnTo>
                  <a:lnTo>
                    <a:pt x="452" y="411"/>
                  </a:lnTo>
                  <a:lnTo>
                    <a:pt x="485" y="405"/>
                  </a:lnTo>
                  <a:lnTo>
                    <a:pt x="502" y="386"/>
                  </a:lnTo>
                  <a:lnTo>
                    <a:pt x="510" y="436"/>
                  </a:lnTo>
                  <a:lnTo>
                    <a:pt x="510" y="447"/>
                  </a:lnTo>
                  <a:lnTo>
                    <a:pt x="515" y="449"/>
                  </a:lnTo>
                  <a:lnTo>
                    <a:pt x="533" y="423"/>
                  </a:lnTo>
                  <a:lnTo>
                    <a:pt x="529" y="394"/>
                  </a:lnTo>
                  <a:lnTo>
                    <a:pt x="546" y="382"/>
                  </a:lnTo>
                  <a:lnTo>
                    <a:pt x="617" y="353"/>
                  </a:lnTo>
                  <a:lnTo>
                    <a:pt x="686" y="332"/>
                  </a:lnTo>
                  <a:lnTo>
                    <a:pt x="731" y="303"/>
                  </a:lnTo>
                  <a:lnTo>
                    <a:pt x="773" y="275"/>
                  </a:lnTo>
                  <a:lnTo>
                    <a:pt x="790" y="275"/>
                  </a:lnTo>
                  <a:lnTo>
                    <a:pt x="800" y="259"/>
                  </a:lnTo>
                  <a:lnTo>
                    <a:pt x="859" y="234"/>
                  </a:lnTo>
                  <a:lnTo>
                    <a:pt x="875" y="242"/>
                  </a:lnTo>
                  <a:lnTo>
                    <a:pt x="900" y="227"/>
                  </a:lnTo>
                  <a:lnTo>
                    <a:pt x="859" y="194"/>
                  </a:lnTo>
                  <a:lnTo>
                    <a:pt x="834" y="134"/>
                  </a:lnTo>
                  <a:lnTo>
                    <a:pt x="819" y="104"/>
                  </a:lnTo>
                  <a:lnTo>
                    <a:pt x="827" y="73"/>
                  </a:lnTo>
                  <a:lnTo>
                    <a:pt x="823" y="71"/>
                  </a:lnTo>
                  <a:lnTo>
                    <a:pt x="813" y="65"/>
                  </a:lnTo>
                  <a:lnTo>
                    <a:pt x="792" y="73"/>
                  </a:lnTo>
                  <a:lnTo>
                    <a:pt x="779" y="71"/>
                  </a:lnTo>
                  <a:lnTo>
                    <a:pt x="779" y="67"/>
                  </a:lnTo>
                  <a:lnTo>
                    <a:pt x="765" y="52"/>
                  </a:lnTo>
                  <a:lnTo>
                    <a:pt x="767" y="32"/>
                  </a:lnTo>
                  <a:lnTo>
                    <a:pt x="746" y="15"/>
                  </a:lnTo>
                  <a:lnTo>
                    <a:pt x="738" y="13"/>
                  </a:lnTo>
                  <a:lnTo>
                    <a:pt x="734" y="13"/>
                  </a:lnTo>
                  <a:lnTo>
                    <a:pt x="729" y="11"/>
                  </a:lnTo>
                  <a:lnTo>
                    <a:pt x="729" y="9"/>
                  </a:lnTo>
                  <a:lnTo>
                    <a:pt x="698" y="0"/>
                  </a:lnTo>
                  <a:lnTo>
                    <a:pt x="696" y="11"/>
                  </a:lnTo>
                  <a:lnTo>
                    <a:pt x="673" y="15"/>
                  </a:lnTo>
                  <a:lnTo>
                    <a:pt x="669" y="23"/>
                  </a:lnTo>
                  <a:lnTo>
                    <a:pt x="654" y="21"/>
                  </a:lnTo>
                  <a:lnTo>
                    <a:pt x="594" y="80"/>
                  </a:lnTo>
                  <a:lnTo>
                    <a:pt x="538" y="100"/>
                  </a:lnTo>
                  <a:lnTo>
                    <a:pt x="419" y="102"/>
                  </a:lnTo>
                  <a:lnTo>
                    <a:pt x="400" y="94"/>
                  </a:lnTo>
                  <a:lnTo>
                    <a:pt x="365" y="88"/>
                  </a:lnTo>
                  <a:lnTo>
                    <a:pt x="337" y="92"/>
                  </a:lnTo>
                  <a:lnTo>
                    <a:pt x="294" y="109"/>
                  </a:lnTo>
                  <a:lnTo>
                    <a:pt x="252" y="129"/>
                  </a:lnTo>
                  <a:lnTo>
                    <a:pt x="196" y="188"/>
                  </a:lnTo>
                  <a:lnTo>
                    <a:pt x="110" y="20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5" name="Freeform 73"/>
            <p:cNvSpPr>
              <a:spLocks/>
            </p:cNvSpPr>
            <p:nvPr/>
          </p:nvSpPr>
          <p:spPr bwMode="auto">
            <a:xfrm>
              <a:off x="3184" y="3016"/>
              <a:ext cx="133" cy="141"/>
            </a:xfrm>
            <a:custGeom>
              <a:avLst/>
              <a:gdLst>
                <a:gd name="T0" fmla="*/ 12 w 133"/>
                <a:gd name="T1" fmla="*/ 20 h 141"/>
                <a:gd name="T2" fmla="*/ 10 w 133"/>
                <a:gd name="T3" fmla="*/ 25 h 141"/>
                <a:gd name="T4" fmla="*/ 2 w 133"/>
                <a:gd name="T5" fmla="*/ 27 h 141"/>
                <a:gd name="T6" fmla="*/ 2 w 133"/>
                <a:gd name="T7" fmla="*/ 31 h 141"/>
                <a:gd name="T8" fmla="*/ 4 w 133"/>
                <a:gd name="T9" fmla="*/ 33 h 141"/>
                <a:gd name="T10" fmla="*/ 16 w 133"/>
                <a:gd name="T11" fmla="*/ 39 h 141"/>
                <a:gd name="T12" fmla="*/ 20 w 133"/>
                <a:gd name="T13" fmla="*/ 54 h 141"/>
                <a:gd name="T14" fmla="*/ 8 w 133"/>
                <a:gd name="T15" fmla="*/ 64 h 141"/>
                <a:gd name="T16" fmla="*/ 8 w 133"/>
                <a:gd name="T17" fmla="*/ 72 h 141"/>
                <a:gd name="T18" fmla="*/ 12 w 133"/>
                <a:gd name="T19" fmla="*/ 77 h 141"/>
                <a:gd name="T20" fmla="*/ 10 w 133"/>
                <a:gd name="T21" fmla="*/ 79 h 141"/>
                <a:gd name="T22" fmla="*/ 12 w 133"/>
                <a:gd name="T23" fmla="*/ 81 h 141"/>
                <a:gd name="T24" fmla="*/ 6 w 133"/>
                <a:gd name="T25" fmla="*/ 87 h 141"/>
                <a:gd name="T26" fmla="*/ 2 w 133"/>
                <a:gd name="T27" fmla="*/ 96 h 141"/>
                <a:gd name="T28" fmla="*/ 0 w 133"/>
                <a:gd name="T29" fmla="*/ 98 h 141"/>
                <a:gd name="T30" fmla="*/ 2 w 133"/>
                <a:gd name="T31" fmla="*/ 106 h 141"/>
                <a:gd name="T32" fmla="*/ 6 w 133"/>
                <a:gd name="T33" fmla="*/ 106 h 141"/>
                <a:gd name="T34" fmla="*/ 23 w 133"/>
                <a:gd name="T35" fmla="*/ 104 h 141"/>
                <a:gd name="T36" fmla="*/ 35 w 133"/>
                <a:gd name="T37" fmla="*/ 96 h 141"/>
                <a:gd name="T38" fmla="*/ 37 w 133"/>
                <a:gd name="T39" fmla="*/ 102 h 141"/>
                <a:gd name="T40" fmla="*/ 25 w 133"/>
                <a:gd name="T41" fmla="*/ 110 h 141"/>
                <a:gd name="T42" fmla="*/ 12 w 133"/>
                <a:gd name="T43" fmla="*/ 123 h 141"/>
                <a:gd name="T44" fmla="*/ 16 w 133"/>
                <a:gd name="T45" fmla="*/ 127 h 141"/>
                <a:gd name="T46" fmla="*/ 12 w 133"/>
                <a:gd name="T47" fmla="*/ 141 h 141"/>
                <a:gd name="T48" fmla="*/ 16 w 133"/>
                <a:gd name="T49" fmla="*/ 141 h 141"/>
                <a:gd name="T50" fmla="*/ 21 w 133"/>
                <a:gd name="T51" fmla="*/ 133 h 141"/>
                <a:gd name="T52" fmla="*/ 20 w 133"/>
                <a:gd name="T53" fmla="*/ 129 h 141"/>
                <a:gd name="T54" fmla="*/ 29 w 133"/>
                <a:gd name="T55" fmla="*/ 120 h 141"/>
                <a:gd name="T56" fmla="*/ 33 w 133"/>
                <a:gd name="T57" fmla="*/ 112 h 141"/>
                <a:gd name="T58" fmla="*/ 50 w 133"/>
                <a:gd name="T59" fmla="*/ 96 h 141"/>
                <a:gd name="T60" fmla="*/ 58 w 133"/>
                <a:gd name="T61" fmla="*/ 91 h 141"/>
                <a:gd name="T62" fmla="*/ 62 w 133"/>
                <a:gd name="T63" fmla="*/ 79 h 141"/>
                <a:gd name="T64" fmla="*/ 64 w 133"/>
                <a:gd name="T65" fmla="*/ 72 h 141"/>
                <a:gd name="T66" fmla="*/ 73 w 133"/>
                <a:gd name="T67" fmla="*/ 68 h 141"/>
                <a:gd name="T68" fmla="*/ 85 w 133"/>
                <a:gd name="T69" fmla="*/ 68 h 141"/>
                <a:gd name="T70" fmla="*/ 87 w 133"/>
                <a:gd name="T71" fmla="*/ 64 h 141"/>
                <a:gd name="T72" fmla="*/ 94 w 133"/>
                <a:gd name="T73" fmla="*/ 58 h 141"/>
                <a:gd name="T74" fmla="*/ 114 w 133"/>
                <a:gd name="T75" fmla="*/ 62 h 141"/>
                <a:gd name="T76" fmla="*/ 123 w 133"/>
                <a:gd name="T77" fmla="*/ 60 h 141"/>
                <a:gd name="T78" fmla="*/ 131 w 133"/>
                <a:gd name="T79" fmla="*/ 56 h 141"/>
                <a:gd name="T80" fmla="*/ 133 w 133"/>
                <a:gd name="T81" fmla="*/ 41 h 141"/>
                <a:gd name="T82" fmla="*/ 119 w 133"/>
                <a:gd name="T83" fmla="*/ 41 h 141"/>
                <a:gd name="T84" fmla="*/ 89 w 133"/>
                <a:gd name="T85" fmla="*/ 29 h 141"/>
                <a:gd name="T86" fmla="*/ 75 w 133"/>
                <a:gd name="T87" fmla="*/ 14 h 141"/>
                <a:gd name="T88" fmla="*/ 77 w 133"/>
                <a:gd name="T89" fmla="*/ 8 h 141"/>
                <a:gd name="T90" fmla="*/ 75 w 133"/>
                <a:gd name="T91" fmla="*/ 2 h 141"/>
                <a:gd name="T92" fmla="*/ 66 w 133"/>
                <a:gd name="T93" fmla="*/ 2 h 141"/>
                <a:gd name="T94" fmla="*/ 68 w 133"/>
                <a:gd name="T95" fmla="*/ 6 h 141"/>
                <a:gd name="T96" fmla="*/ 60 w 133"/>
                <a:gd name="T97" fmla="*/ 6 h 141"/>
                <a:gd name="T98" fmla="*/ 56 w 133"/>
                <a:gd name="T99" fmla="*/ 12 h 141"/>
                <a:gd name="T100" fmla="*/ 45 w 133"/>
                <a:gd name="T101" fmla="*/ 2 h 141"/>
                <a:gd name="T102" fmla="*/ 39 w 133"/>
                <a:gd name="T103" fmla="*/ 0 h 141"/>
                <a:gd name="T104" fmla="*/ 37 w 133"/>
                <a:gd name="T105" fmla="*/ 4 h 141"/>
                <a:gd name="T106" fmla="*/ 29 w 133"/>
                <a:gd name="T107" fmla="*/ 4 h 141"/>
                <a:gd name="T108" fmla="*/ 27 w 133"/>
                <a:gd name="T109" fmla="*/ 10 h 141"/>
                <a:gd name="T110" fmla="*/ 21 w 133"/>
                <a:gd name="T111" fmla="*/ 14 h 141"/>
                <a:gd name="T112" fmla="*/ 12 w 133"/>
                <a:gd name="T113" fmla="*/ 14 h 141"/>
                <a:gd name="T114" fmla="*/ 12 w 133"/>
                <a:gd name="T115" fmla="*/ 2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3" h="141">
                  <a:moveTo>
                    <a:pt x="12" y="20"/>
                  </a:moveTo>
                  <a:lnTo>
                    <a:pt x="10" y="25"/>
                  </a:lnTo>
                  <a:lnTo>
                    <a:pt x="2" y="27"/>
                  </a:lnTo>
                  <a:lnTo>
                    <a:pt x="2" y="31"/>
                  </a:lnTo>
                  <a:lnTo>
                    <a:pt x="4" y="33"/>
                  </a:lnTo>
                  <a:lnTo>
                    <a:pt x="16" y="39"/>
                  </a:lnTo>
                  <a:lnTo>
                    <a:pt x="20" y="54"/>
                  </a:lnTo>
                  <a:lnTo>
                    <a:pt x="8" y="64"/>
                  </a:lnTo>
                  <a:lnTo>
                    <a:pt x="8" y="72"/>
                  </a:lnTo>
                  <a:lnTo>
                    <a:pt x="12" y="77"/>
                  </a:lnTo>
                  <a:lnTo>
                    <a:pt x="10" y="79"/>
                  </a:lnTo>
                  <a:lnTo>
                    <a:pt x="12" y="81"/>
                  </a:lnTo>
                  <a:lnTo>
                    <a:pt x="6" y="87"/>
                  </a:lnTo>
                  <a:lnTo>
                    <a:pt x="2" y="96"/>
                  </a:lnTo>
                  <a:lnTo>
                    <a:pt x="0" y="98"/>
                  </a:lnTo>
                  <a:lnTo>
                    <a:pt x="2" y="106"/>
                  </a:lnTo>
                  <a:lnTo>
                    <a:pt x="6" y="106"/>
                  </a:lnTo>
                  <a:lnTo>
                    <a:pt x="23" y="104"/>
                  </a:lnTo>
                  <a:lnTo>
                    <a:pt x="35" y="96"/>
                  </a:lnTo>
                  <a:lnTo>
                    <a:pt x="37" y="102"/>
                  </a:lnTo>
                  <a:lnTo>
                    <a:pt x="25" y="110"/>
                  </a:lnTo>
                  <a:lnTo>
                    <a:pt x="12" y="123"/>
                  </a:lnTo>
                  <a:lnTo>
                    <a:pt x="16" y="127"/>
                  </a:lnTo>
                  <a:lnTo>
                    <a:pt x="12" y="141"/>
                  </a:lnTo>
                  <a:lnTo>
                    <a:pt x="16" y="141"/>
                  </a:lnTo>
                  <a:lnTo>
                    <a:pt x="21" y="133"/>
                  </a:lnTo>
                  <a:lnTo>
                    <a:pt x="20" y="129"/>
                  </a:lnTo>
                  <a:lnTo>
                    <a:pt x="29" y="120"/>
                  </a:lnTo>
                  <a:lnTo>
                    <a:pt x="33" y="112"/>
                  </a:lnTo>
                  <a:lnTo>
                    <a:pt x="50" y="96"/>
                  </a:lnTo>
                  <a:lnTo>
                    <a:pt x="58" y="91"/>
                  </a:lnTo>
                  <a:lnTo>
                    <a:pt x="62" y="79"/>
                  </a:lnTo>
                  <a:lnTo>
                    <a:pt x="64" y="72"/>
                  </a:lnTo>
                  <a:lnTo>
                    <a:pt x="73" y="68"/>
                  </a:lnTo>
                  <a:lnTo>
                    <a:pt x="85" y="68"/>
                  </a:lnTo>
                  <a:lnTo>
                    <a:pt x="87" y="64"/>
                  </a:lnTo>
                  <a:lnTo>
                    <a:pt x="94" y="58"/>
                  </a:lnTo>
                  <a:lnTo>
                    <a:pt x="114" y="62"/>
                  </a:lnTo>
                  <a:lnTo>
                    <a:pt x="123" y="60"/>
                  </a:lnTo>
                  <a:lnTo>
                    <a:pt x="131" y="56"/>
                  </a:lnTo>
                  <a:lnTo>
                    <a:pt x="133" y="41"/>
                  </a:lnTo>
                  <a:lnTo>
                    <a:pt x="119" y="41"/>
                  </a:lnTo>
                  <a:lnTo>
                    <a:pt x="89" y="29"/>
                  </a:lnTo>
                  <a:lnTo>
                    <a:pt x="75" y="14"/>
                  </a:lnTo>
                  <a:lnTo>
                    <a:pt x="77" y="8"/>
                  </a:lnTo>
                  <a:lnTo>
                    <a:pt x="75" y="2"/>
                  </a:lnTo>
                  <a:lnTo>
                    <a:pt x="66" y="2"/>
                  </a:lnTo>
                  <a:lnTo>
                    <a:pt x="68" y="6"/>
                  </a:lnTo>
                  <a:lnTo>
                    <a:pt x="60" y="6"/>
                  </a:lnTo>
                  <a:lnTo>
                    <a:pt x="56" y="12"/>
                  </a:lnTo>
                  <a:lnTo>
                    <a:pt x="45" y="2"/>
                  </a:lnTo>
                  <a:lnTo>
                    <a:pt x="39" y="0"/>
                  </a:lnTo>
                  <a:lnTo>
                    <a:pt x="37" y="4"/>
                  </a:lnTo>
                  <a:lnTo>
                    <a:pt x="29" y="4"/>
                  </a:lnTo>
                  <a:lnTo>
                    <a:pt x="27" y="10"/>
                  </a:lnTo>
                  <a:lnTo>
                    <a:pt x="21" y="14"/>
                  </a:lnTo>
                  <a:lnTo>
                    <a:pt x="12" y="14"/>
                  </a:lnTo>
                  <a:lnTo>
                    <a:pt x="12" y="2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6" name="Freeform 74"/>
            <p:cNvSpPr>
              <a:spLocks/>
            </p:cNvSpPr>
            <p:nvPr/>
          </p:nvSpPr>
          <p:spPr bwMode="auto">
            <a:xfrm>
              <a:off x="4014" y="2740"/>
              <a:ext cx="256" cy="213"/>
            </a:xfrm>
            <a:custGeom>
              <a:avLst/>
              <a:gdLst>
                <a:gd name="T0" fmla="*/ 45 w 256"/>
                <a:gd name="T1" fmla="*/ 46 h 213"/>
                <a:gd name="T2" fmla="*/ 41 w 256"/>
                <a:gd name="T3" fmla="*/ 54 h 213"/>
                <a:gd name="T4" fmla="*/ 47 w 256"/>
                <a:gd name="T5" fmla="*/ 55 h 213"/>
                <a:gd name="T6" fmla="*/ 49 w 256"/>
                <a:gd name="T7" fmla="*/ 59 h 213"/>
                <a:gd name="T8" fmla="*/ 72 w 256"/>
                <a:gd name="T9" fmla="*/ 67 h 213"/>
                <a:gd name="T10" fmla="*/ 70 w 256"/>
                <a:gd name="T11" fmla="*/ 84 h 213"/>
                <a:gd name="T12" fmla="*/ 47 w 256"/>
                <a:gd name="T13" fmla="*/ 86 h 213"/>
                <a:gd name="T14" fmla="*/ 29 w 256"/>
                <a:gd name="T15" fmla="*/ 86 h 213"/>
                <a:gd name="T16" fmla="*/ 16 w 256"/>
                <a:gd name="T17" fmla="*/ 80 h 213"/>
                <a:gd name="T18" fmla="*/ 0 w 256"/>
                <a:gd name="T19" fmla="*/ 98 h 213"/>
                <a:gd name="T20" fmla="*/ 8 w 256"/>
                <a:gd name="T21" fmla="*/ 102 h 213"/>
                <a:gd name="T22" fmla="*/ 8 w 256"/>
                <a:gd name="T23" fmla="*/ 107 h 213"/>
                <a:gd name="T24" fmla="*/ 12 w 256"/>
                <a:gd name="T25" fmla="*/ 107 h 213"/>
                <a:gd name="T26" fmla="*/ 25 w 256"/>
                <a:gd name="T27" fmla="*/ 105 h 213"/>
                <a:gd name="T28" fmla="*/ 37 w 256"/>
                <a:gd name="T29" fmla="*/ 111 h 213"/>
                <a:gd name="T30" fmla="*/ 33 w 256"/>
                <a:gd name="T31" fmla="*/ 125 h 213"/>
                <a:gd name="T32" fmla="*/ 45 w 256"/>
                <a:gd name="T33" fmla="*/ 138 h 213"/>
                <a:gd name="T34" fmla="*/ 66 w 256"/>
                <a:gd name="T35" fmla="*/ 142 h 213"/>
                <a:gd name="T36" fmla="*/ 72 w 256"/>
                <a:gd name="T37" fmla="*/ 157 h 213"/>
                <a:gd name="T38" fmla="*/ 58 w 256"/>
                <a:gd name="T39" fmla="*/ 165 h 213"/>
                <a:gd name="T40" fmla="*/ 74 w 256"/>
                <a:gd name="T41" fmla="*/ 171 h 213"/>
                <a:gd name="T42" fmla="*/ 95 w 256"/>
                <a:gd name="T43" fmla="*/ 176 h 213"/>
                <a:gd name="T44" fmla="*/ 110 w 256"/>
                <a:gd name="T45" fmla="*/ 173 h 213"/>
                <a:gd name="T46" fmla="*/ 106 w 256"/>
                <a:gd name="T47" fmla="*/ 184 h 213"/>
                <a:gd name="T48" fmla="*/ 120 w 256"/>
                <a:gd name="T49" fmla="*/ 194 h 213"/>
                <a:gd name="T50" fmla="*/ 122 w 256"/>
                <a:gd name="T51" fmla="*/ 201 h 213"/>
                <a:gd name="T52" fmla="*/ 127 w 256"/>
                <a:gd name="T53" fmla="*/ 213 h 213"/>
                <a:gd name="T54" fmla="*/ 141 w 256"/>
                <a:gd name="T55" fmla="*/ 186 h 213"/>
                <a:gd name="T56" fmla="*/ 147 w 256"/>
                <a:gd name="T57" fmla="*/ 169 h 213"/>
                <a:gd name="T58" fmla="*/ 154 w 256"/>
                <a:gd name="T59" fmla="*/ 157 h 213"/>
                <a:gd name="T60" fmla="*/ 168 w 256"/>
                <a:gd name="T61" fmla="*/ 138 h 213"/>
                <a:gd name="T62" fmla="*/ 193 w 256"/>
                <a:gd name="T63" fmla="*/ 148 h 213"/>
                <a:gd name="T64" fmla="*/ 187 w 256"/>
                <a:gd name="T65" fmla="*/ 159 h 213"/>
                <a:gd name="T66" fmla="*/ 200 w 256"/>
                <a:gd name="T67" fmla="*/ 167 h 213"/>
                <a:gd name="T68" fmla="*/ 193 w 256"/>
                <a:gd name="T69" fmla="*/ 178 h 213"/>
                <a:gd name="T70" fmla="*/ 195 w 256"/>
                <a:gd name="T71" fmla="*/ 186 h 213"/>
                <a:gd name="T72" fmla="*/ 208 w 256"/>
                <a:gd name="T73" fmla="*/ 192 h 213"/>
                <a:gd name="T74" fmla="*/ 218 w 256"/>
                <a:gd name="T75" fmla="*/ 190 h 213"/>
                <a:gd name="T76" fmla="*/ 241 w 256"/>
                <a:gd name="T77" fmla="*/ 192 h 213"/>
                <a:gd name="T78" fmla="*/ 227 w 256"/>
                <a:gd name="T79" fmla="*/ 169 h 213"/>
                <a:gd name="T80" fmla="*/ 225 w 256"/>
                <a:gd name="T81" fmla="*/ 148 h 213"/>
                <a:gd name="T82" fmla="*/ 235 w 256"/>
                <a:gd name="T83" fmla="*/ 157 h 213"/>
                <a:gd name="T84" fmla="*/ 239 w 256"/>
                <a:gd name="T85" fmla="*/ 152 h 213"/>
                <a:gd name="T86" fmla="*/ 237 w 256"/>
                <a:gd name="T87" fmla="*/ 130 h 213"/>
                <a:gd name="T88" fmla="*/ 229 w 256"/>
                <a:gd name="T89" fmla="*/ 107 h 213"/>
                <a:gd name="T90" fmla="*/ 223 w 256"/>
                <a:gd name="T91" fmla="*/ 94 h 213"/>
                <a:gd name="T92" fmla="*/ 231 w 256"/>
                <a:gd name="T93" fmla="*/ 65 h 213"/>
                <a:gd name="T94" fmla="*/ 239 w 256"/>
                <a:gd name="T95" fmla="*/ 59 h 213"/>
                <a:gd name="T96" fmla="*/ 248 w 256"/>
                <a:gd name="T97" fmla="*/ 54 h 213"/>
                <a:gd name="T98" fmla="*/ 248 w 256"/>
                <a:gd name="T99" fmla="*/ 48 h 213"/>
                <a:gd name="T100" fmla="*/ 229 w 256"/>
                <a:gd name="T101" fmla="*/ 44 h 213"/>
                <a:gd name="T102" fmla="*/ 208 w 256"/>
                <a:gd name="T103" fmla="*/ 50 h 213"/>
                <a:gd name="T104" fmla="*/ 196 w 256"/>
                <a:gd name="T105" fmla="*/ 42 h 213"/>
                <a:gd name="T106" fmla="*/ 175 w 256"/>
                <a:gd name="T107" fmla="*/ 23 h 213"/>
                <a:gd name="T108" fmla="*/ 135 w 256"/>
                <a:gd name="T109" fmla="*/ 0 h 213"/>
                <a:gd name="T110" fmla="*/ 125 w 256"/>
                <a:gd name="T111" fmla="*/ 30 h 213"/>
                <a:gd name="T112" fmla="*/ 123 w 256"/>
                <a:gd name="T113" fmla="*/ 44 h 213"/>
                <a:gd name="T114" fmla="*/ 120 w 256"/>
                <a:gd name="T115" fmla="*/ 54 h 213"/>
                <a:gd name="T116" fmla="*/ 110 w 256"/>
                <a:gd name="T117" fmla="*/ 55 h 213"/>
                <a:gd name="T118" fmla="*/ 85 w 256"/>
                <a:gd name="T119" fmla="*/ 42 h 213"/>
                <a:gd name="T120" fmla="*/ 70 w 256"/>
                <a:gd name="T121" fmla="*/ 38 h 213"/>
                <a:gd name="T122" fmla="*/ 60 w 256"/>
                <a:gd name="T123" fmla="*/ 32 h 213"/>
                <a:gd name="T124" fmla="*/ 50 w 256"/>
                <a:gd name="T125" fmla="*/ 3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213">
                  <a:moveTo>
                    <a:pt x="47" y="36"/>
                  </a:moveTo>
                  <a:lnTo>
                    <a:pt x="45" y="46"/>
                  </a:lnTo>
                  <a:lnTo>
                    <a:pt x="39" y="48"/>
                  </a:lnTo>
                  <a:lnTo>
                    <a:pt x="41" y="54"/>
                  </a:lnTo>
                  <a:lnTo>
                    <a:pt x="45" y="57"/>
                  </a:lnTo>
                  <a:lnTo>
                    <a:pt x="47" y="55"/>
                  </a:lnTo>
                  <a:lnTo>
                    <a:pt x="50" y="57"/>
                  </a:lnTo>
                  <a:lnTo>
                    <a:pt x="49" y="59"/>
                  </a:lnTo>
                  <a:lnTo>
                    <a:pt x="50" y="63"/>
                  </a:lnTo>
                  <a:lnTo>
                    <a:pt x="72" y="67"/>
                  </a:lnTo>
                  <a:lnTo>
                    <a:pt x="74" y="77"/>
                  </a:lnTo>
                  <a:lnTo>
                    <a:pt x="70" y="84"/>
                  </a:lnTo>
                  <a:lnTo>
                    <a:pt x="54" y="80"/>
                  </a:lnTo>
                  <a:lnTo>
                    <a:pt x="47" y="86"/>
                  </a:lnTo>
                  <a:lnTo>
                    <a:pt x="37" y="88"/>
                  </a:lnTo>
                  <a:lnTo>
                    <a:pt x="29" y="86"/>
                  </a:lnTo>
                  <a:lnTo>
                    <a:pt x="31" y="80"/>
                  </a:lnTo>
                  <a:lnTo>
                    <a:pt x="16" y="80"/>
                  </a:lnTo>
                  <a:lnTo>
                    <a:pt x="8" y="82"/>
                  </a:lnTo>
                  <a:lnTo>
                    <a:pt x="0" y="98"/>
                  </a:lnTo>
                  <a:lnTo>
                    <a:pt x="4" y="102"/>
                  </a:lnTo>
                  <a:lnTo>
                    <a:pt x="8" y="102"/>
                  </a:lnTo>
                  <a:lnTo>
                    <a:pt x="14" y="103"/>
                  </a:lnTo>
                  <a:lnTo>
                    <a:pt x="8" y="107"/>
                  </a:lnTo>
                  <a:lnTo>
                    <a:pt x="10" y="109"/>
                  </a:lnTo>
                  <a:lnTo>
                    <a:pt x="12" y="107"/>
                  </a:lnTo>
                  <a:lnTo>
                    <a:pt x="22" y="109"/>
                  </a:lnTo>
                  <a:lnTo>
                    <a:pt x="25" y="105"/>
                  </a:lnTo>
                  <a:lnTo>
                    <a:pt x="27" y="109"/>
                  </a:lnTo>
                  <a:lnTo>
                    <a:pt x="37" y="111"/>
                  </a:lnTo>
                  <a:lnTo>
                    <a:pt x="37" y="117"/>
                  </a:lnTo>
                  <a:lnTo>
                    <a:pt x="33" y="125"/>
                  </a:lnTo>
                  <a:lnTo>
                    <a:pt x="33" y="130"/>
                  </a:lnTo>
                  <a:lnTo>
                    <a:pt x="45" y="138"/>
                  </a:lnTo>
                  <a:lnTo>
                    <a:pt x="64" y="144"/>
                  </a:lnTo>
                  <a:lnTo>
                    <a:pt x="66" y="142"/>
                  </a:lnTo>
                  <a:lnTo>
                    <a:pt x="70" y="144"/>
                  </a:lnTo>
                  <a:lnTo>
                    <a:pt x="72" y="157"/>
                  </a:lnTo>
                  <a:lnTo>
                    <a:pt x="60" y="163"/>
                  </a:lnTo>
                  <a:lnTo>
                    <a:pt x="58" y="165"/>
                  </a:lnTo>
                  <a:lnTo>
                    <a:pt x="68" y="165"/>
                  </a:lnTo>
                  <a:lnTo>
                    <a:pt x="74" y="171"/>
                  </a:lnTo>
                  <a:lnTo>
                    <a:pt x="81" y="171"/>
                  </a:lnTo>
                  <a:lnTo>
                    <a:pt x="95" y="176"/>
                  </a:lnTo>
                  <a:lnTo>
                    <a:pt x="100" y="173"/>
                  </a:lnTo>
                  <a:lnTo>
                    <a:pt x="110" y="173"/>
                  </a:lnTo>
                  <a:lnTo>
                    <a:pt x="112" y="178"/>
                  </a:lnTo>
                  <a:lnTo>
                    <a:pt x="106" y="184"/>
                  </a:lnTo>
                  <a:lnTo>
                    <a:pt x="122" y="192"/>
                  </a:lnTo>
                  <a:lnTo>
                    <a:pt x="120" y="194"/>
                  </a:lnTo>
                  <a:lnTo>
                    <a:pt x="114" y="196"/>
                  </a:lnTo>
                  <a:lnTo>
                    <a:pt x="122" y="201"/>
                  </a:lnTo>
                  <a:lnTo>
                    <a:pt x="123" y="209"/>
                  </a:lnTo>
                  <a:lnTo>
                    <a:pt x="127" y="213"/>
                  </a:lnTo>
                  <a:lnTo>
                    <a:pt x="133" y="192"/>
                  </a:lnTo>
                  <a:lnTo>
                    <a:pt x="141" y="186"/>
                  </a:lnTo>
                  <a:lnTo>
                    <a:pt x="141" y="176"/>
                  </a:lnTo>
                  <a:lnTo>
                    <a:pt x="147" y="169"/>
                  </a:lnTo>
                  <a:lnTo>
                    <a:pt x="148" y="161"/>
                  </a:lnTo>
                  <a:lnTo>
                    <a:pt x="154" y="157"/>
                  </a:lnTo>
                  <a:lnTo>
                    <a:pt x="162" y="142"/>
                  </a:lnTo>
                  <a:lnTo>
                    <a:pt x="168" y="138"/>
                  </a:lnTo>
                  <a:lnTo>
                    <a:pt x="168" y="136"/>
                  </a:lnTo>
                  <a:lnTo>
                    <a:pt x="193" y="148"/>
                  </a:lnTo>
                  <a:lnTo>
                    <a:pt x="187" y="153"/>
                  </a:lnTo>
                  <a:lnTo>
                    <a:pt x="187" y="159"/>
                  </a:lnTo>
                  <a:lnTo>
                    <a:pt x="189" y="163"/>
                  </a:lnTo>
                  <a:lnTo>
                    <a:pt x="200" y="167"/>
                  </a:lnTo>
                  <a:lnTo>
                    <a:pt x="200" y="173"/>
                  </a:lnTo>
                  <a:lnTo>
                    <a:pt x="193" y="178"/>
                  </a:lnTo>
                  <a:lnTo>
                    <a:pt x="191" y="182"/>
                  </a:lnTo>
                  <a:lnTo>
                    <a:pt x="195" y="186"/>
                  </a:lnTo>
                  <a:lnTo>
                    <a:pt x="206" y="188"/>
                  </a:lnTo>
                  <a:lnTo>
                    <a:pt x="208" y="192"/>
                  </a:lnTo>
                  <a:lnTo>
                    <a:pt x="214" y="194"/>
                  </a:lnTo>
                  <a:lnTo>
                    <a:pt x="218" y="190"/>
                  </a:lnTo>
                  <a:lnTo>
                    <a:pt x="231" y="200"/>
                  </a:lnTo>
                  <a:lnTo>
                    <a:pt x="241" y="192"/>
                  </a:lnTo>
                  <a:lnTo>
                    <a:pt x="243" y="192"/>
                  </a:lnTo>
                  <a:lnTo>
                    <a:pt x="227" y="169"/>
                  </a:lnTo>
                  <a:lnTo>
                    <a:pt x="229" y="161"/>
                  </a:lnTo>
                  <a:lnTo>
                    <a:pt x="225" y="148"/>
                  </a:lnTo>
                  <a:lnTo>
                    <a:pt x="233" y="155"/>
                  </a:lnTo>
                  <a:lnTo>
                    <a:pt x="235" y="157"/>
                  </a:lnTo>
                  <a:lnTo>
                    <a:pt x="239" y="155"/>
                  </a:lnTo>
                  <a:lnTo>
                    <a:pt x="239" y="152"/>
                  </a:lnTo>
                  <a:lnTo>
                    <a:pt x="235" y="132"/>
                  </a:lnTo>
                  <a:lnTo>
                    <a:pt x="237" y="130"/>
                  </a:lnTo>
                  <a:lnTo>
                    <a:pt x="227" y="115"/>
                  </a:lnTo>
                  <a:lnTo>
                    <a:pt x="229" y="107"/>
                  </a:lnTo>
                  <a:lnTo>
                    <a:pt x="227" y="103"/>
                  </a:lnTo>
                  <a:lnTo>
                    <a:pt x="223" y="94"/>
                  </a:lnTo>
                  <a:lnTo>
                    <a:pt x="221" y="75"/>
                  </a:lnTo>
                  <a:lnTo>
                    <a:pt x="231" y="65"/>
                  </a:lnTo>
                  <a:lnTo>
                    <a:pt x="231" y="59"/>
                  </a:lnTo>
                  <a:lnTo>
                    <a:pt x="239" y="59"/>
                  </a:lnTo>
                  <a:lnTo>
                    <a:pt x="241" y="55"/>
                  </a:lnTo>
                  <a:lnTo>
                    <a:pt x="248" y="54"/>
                  </a:lnTo>
                  <a:lnTo>
                    <a:pt x="256" y="57"/>
                  </a:lnTo>
                  <a:lnTo>
                    <a:pt x="248" y="48"/>
                  </a:lnTo>
                  <a:lnTo>
                    <a:pt x="243" y="46"/>
                  </a:lnTo>
                  <a:lnTo>
                    <a:pt x="229" y="44"/>
                  </a:lnTo>
                  <a:lnTo>
                    <a:pt x="218" y="52"/>
                  </a:lnTo>
                  <a:lnTo>
                    <a:pt x="208" y="50"/>
                  </a:lnTo>
                  <a:lnTo>
                    <a:pt x="204" y="42"/>
                  </a:lnTo>
                  <a:lnTo>
                    <a:pt x="196" y="42"/>
                  </a:lnTo>
                  <a:lnTo>
                    <a:pt x="185" y="34"/>
                  </a:lnTo>
                  <a:lnTo>
                    <a:pt x="175" y="23"/>
                  </a:lnTo>
                  <a:lnTo>
                    <a:pt x="166" y="15"/>
                  </a:lnTo>
                  <a:lnTo>
                    <a:pt x="135" y="0"/>
                  </a:lnTo>
                  <a:lnTo>
                    <a:pt x="135" y="17"/>
                  </a:lnTo>
                  <a:lnTo>
                    <a:pt x="125" y="30"/>
                  </a:lnTo>
                  <a:lnTo>
                    <a:pt x="125" y="38"/>
                  </a:lnTo>
                  <a:lnTo>
                    <a:pt x="123" y="44"/>
                  </a:lnTo>
                  <a:lnTo>
                    <a:pt x="125" y="48"/>
                  </a:lnTo>
                  <a:lnTo>
                    <a:pt x="120" y="54"/>
                  </a:lnTo>
                  <a:lnTo>
                    <a:pt x="114" y="54"/>
                  </a:lnTo>
                  <a:lnTo>
                    <a:pt x="110" y="55"/>
                  </a:lnTo>
                  <a:lnTo>
                    <a:pt x="97" y="55"/>
                  </a:lnTo>
                  <a:lnTo>
                    <a:pt x="85" y="42"/>
                  </a:lnTo>
                  <a:lnTo>
                    <a:pt x="79" y="46"/>
                  </a:lnTo>
                  <a:lnTo>
                    <a:pt x="70" y="38"/>
                  </a:lnTo>
                  <a:lnTo>
                    <a:pt x="62" y="36"/>
                  </a:lnTo>
                  <a:lnTo>
                    <a:pt x="60" y="32"/>
                  </a:lnTo>
                  <a:lnTo>
                    <a:pt x="54" y="40"/>
                  </a:lnTo>
                  <a:lnTo>
                    <a:pt x="50" y="34"/>
                  </a:lnTo>
                  <a:lnTo>
                    <a:pt x="47" y="3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7" name="Freeform 75"/>
            <p:cNvSpPr>
              <a:spLocks/>
            </p:cNvSpPr>
            <p:nvPr/>
          </p:nvSpPr>
          <p:spPr bwMode="auto">
            <a:xfrm>
              <a:off x="4030" y="2924"/>
              <a:ext cx="84" cy="42"/>
            </a:xfrm>
            <a:custGeom>
              <a:avLst/>
              <a:gdLst>
                <a:gd name="T0" fmla="*/ 19 w 84"/>
                <a:gd name="T1" fmla="*/ 17 h 42"/>
                <a:gd name="T2" fmla="*/ 19 w 84"/>
                <a:gd name="T3" fmla="*/ 17 h 42"/>
                <a:gd name="T4" fmla="*/ 21 w 84"/>
                <a:gd name="T5" fmla="*/ 17 h 42"/>
                <a:gd name="T6" fmla="*/ 23 w 84"/>
                <a:gd name="T7" fmla="*/ 21 h 42"/>
                <a:gd name="T8" fmla="*/ 27 w 84"/>
                <a:gd name="T9" fmla="*/ 23 h 42"/>
                <a:gd name="T10" fmla="*/ 29 w 84"/>
                <a:gd name="T11" fmla="*/ 25 h 42"/>
                <a:gd name="T12" fmla="*/ 29 w 84"/>
                <a:gd name="T13" fmla="*/ 25 h 42"/>
                <a:gd name="T14" fmla="*/ 31 w 84"/>
                <a:gd name="T15" fmla="*/ 25 h 42"/>
                <a:gd name="T16" fmla="*/ 34 w 84"/>
                <a:gd name="T17" fmla="*/ 27 h 42"/>
                <a:gd name="T18" fmla="*/ 36 w 84"/>
                <a:gd name="T19" fmla="*/ 29 h 42"/>
                <a:gd name="T20" fmla="*/ 40 w 84"/>
                <a:gd name="T21" fmla="*/ 31 h 42"/>
                <a:gd name="T22" fmla="*/ 42 w 84"/>
                <a:gd name="T23" fmla="*/ 35 h 42"/>
                <a:gd name="T24" fmla="*/ 46 w 84"/>
                <a:gd name="T25" fmla="*/ 35 h 42"/>
                <a:gd name="T26" fmla="*/ 48 w 84"/>
                <a:gd name="T27" fmla="*/ 33 h 42"/>
                <a:gd name="T28" fmla="*/ 50 w 84"/>
                <a:gd name="T29" fmla="*/ 35 h 42"/>
                <a:gd name="T30" fmla="*/ 52 w 84"/>
                <a:gd name="T31" fmla="*/ 37 h 42"/>
                <a:gd name="T32" fmla="*/ 56 w 84"/>
                <a:gd name="T33" fmla="*/ 37 h 42"/>
                <a:gd name="T34" fmla="*/ 58 w 84"/>
                <a:gd name="T35" fmla="*/ 39 h 42"/>
                <a:gd name="T36" fmla="*/ 59 w 84"/>
                <a:gd name="T37" fmla="*/ 42 h 42"/>
                <a:gd name="T38" fmla="*/ 63 w 84"/>
                <a:gd name="T39" fmla="*/ 42 h 42"/>
                <a:gd name="T40" fmla="*/ 67 w 84"/>
                <a:gd name="T41" fmla="*/ 42 h 42"/>
                <a:gd name="T42" fmla="*/ 71 w 84"/>
                <a:gd name="T43" fmla="*/ 42 h 42"/>
                <a:gd name="T44" fmla="*/ 75 w 84"/>
                <a:gd name="T45" fmla="*/ 42 h 42"/>
                <a:gd name="T46" fmla="*/ 77 w 84"/>
                <a:gd name="T47" fmla="*/ 41 h 42"/>
                <a:gd name="T48" fmla="*/ 81 w 84"/>
                <a:gd name="T49" fmla="*/ 41 h 42"/>
                <a:gd name="T50" fmla="*/ 82 w 84"/>
                <a:gd name="T51" fmla="*/ 41 h 42"/>
                <a:gd name="T52" fmla="*/ 82 w 84"/>
                <a:gd name="T53" fmla="*/ 27 h 42"/>
                <a:gd name="T54" fmla="*/ 77 w 84"/>
                <a:gd name="T55" fmla="*/ 21 h 42"/>
                <a:gd name="T56" fmla="*/ 69 w 84"/>
                <a:gd name="T57" fmla="*/ 4 h 42"/>
                <a:gd name="T58" fmla="*/ 54 w 84"/>
                <a:gd name="T59" fmla="*/ 10 h 42"/>
                <a:gd name="T60" fmla="*/ 44 w 84"/>
                <a:gd name="T61" fmla="*/ 4 h 42"/>
                <a:gd name="T62" fmla="*/ 34 w 84"/>
                <a:gd name="T63" fmla="*/ 6 h 42"/>
                <a:gd name="T64" fmla="*/ 15 w 84"/>
                <a:gd name="T65" fmla="*/ 0 h 42"/>
                <a:gd name="T66" fmla="*/ 11 w 84"/>
                <a:gd name="T6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 h="42">
                  <a:moveTo>
                    <a:pt x="17" y="17"/>
                  </a:moveTo>
                  <a:lnTo>
                    <a:pt x="19" y="17"/>
                  </a:lnTo>
                  <a:lnTo>
                    <a:pt x="19" y="16"/>
                  </a:lnTo>
                  <a:lnTo>
                    <a:pt x="19" y="17"/>
                  </a:lnTo>
                  <a:lnTo>
                    <a:pt x="21" y="16"/>
                  </a:lnTo>
                  <a:lnTo>
                    <a:pt x="21" y="17"/>
                  </a:lnTo>
                  <a:lnTo>
                    <a:pt x="23" y="19"/>
                  </a:lnTo>
                  <a:lnTo>
                    <a:pt x="23" y="21"/>
                  </a:lnTo>
                  <a:lnTo>
                    <a:pt x="25" y="21"/>
                  </a:lnTo>
                  <a:lnTo>
                    <a:pt x="27" y="23"/>
                  </a:lnTo>
                  <a:lnTo>
                    <a:pt x="27" y="25"/>
                  </a:lnTo>
                  <a:lnTo>
                    <a:pt x="29" y="25"/>
                  </a:lnTo>
                  <a:lnTo>
                    <a:pt x="27" y="25"/>
                  </a:lnTo>
                  <a:lnTo>
                    <a:pt x="29" y="25"/>
                  </a:lnTo>
                  <a:lnTo>
                    <a:pt x="29" y="27"/>
                  </a:lnTo>
                  <a:lnTo>
                    <a:pt x="31" y="25"/>
                  </a:lnTo>
                  <a:lnTo>
                    <a:pt x="33" y="27"/>
                  </a:lnTo>
                  <a:lnTo>
                    <a:pt x="34" y="27"/>
                  </a:lnTo>
                  <a:lnTo>
                    <a:pt x="34" y="29"/>
                  </a:lnTo>
                  <a:lnTo>
                    <a:pt x="36" y="29"/>
                  </a:lnTo>
                  <a:lnTo>
                    <a:pt x="38" y="31"/>
                  </a:lnTo>
                  <a:lnTo>
                    <a:pt x="40" y="31"/>
                  </a:lnTo>
                  <a:lnTo>
                    <a:pt x="40" y="33"/>
                  </a:lnTo>
                  <a:lnTo>
                    <a:pt x="42" y="35"/>
                  </a:lnTo>
                  <a:lnTo>
                    <a:pt x="44" y="35"/>
                  </a:lnTo>
                  <a:lnTo>
                    <a:pt x="46" y="35"/>
                  </a:lnTo>
                  <a:lnTo>
                    <a:pt x="48" y="35"/>
                  </a:lnTo>
                  <a:lnTo>
                    <a:pt x="48" y="33"/>
                  </a:lnTo>
                  <a:lnTo>
                    <a:pt x="50" y="33"/>
                  </a:lnTo>
                  <a:lnTo>
                    <a:pt x="50" y="35"/>
                  </a:lnTo>
                  <a:lnTo>
                    <a:pt x="52" y="35"/>
                  </a:lnTo>
                  <a:lnTo>
                    <a:pt x="52" y="37"/>
                  </a:lnTo>
                  <a:lnTo>
                    <a:pt x="54" y="37"/>
                  </a:lnTo>
                  <a:lnTo>
                    <a:pt x="56" y="37"/>
                  </a:lnTo>
                  <a:lnTo>
                    <a:pt x="56" y="39"/>
                  </a:lnTo>
                  <a:lnTo>
                    <a:pt x="58" y="39"/>
                  </a:lnTo>
                  <a:lnTo>
                    <a:pt x="59" y="41"/>
                  </a:lnTo>
                  <a:lnTo>
                    <a:pt x="59" y="42"/>
                  </a:lnTo>
                  <a:lnTo>
                    <a:pt x="61" y="42"/>
                  </a:lnTo>
                  <a:lnTo>
                    <a:pt x="63" y="42"/>
                  </a:lnTo>
                  <a:lnTo>
                    <a:pt x="65" y="42"/>
                  </a:lnTo>
                  <a:lnTo>
                    <a:pt x="67" y="42"/>
                  </a:lnTo>
                  <a:lnTo>
                    <a:pt x="69" y="42"/>
                  </a:lnTo>
                  <a:lnTo>
                    <a:pt x="71" y="42"/>
                  </a:lnTo>
                  <a:lnTo>
                    <a:pt x="71" y="41"/>
                  </a:lnTo>
                  <a:lnTo>
                    <a:pt x="75" y="42"/>
                  </a:lnTo>
                  <a:lnTo>
                    <a:pt x="75" y="41"/>
                  </a:lnTo>
                  <a:lnTo>
                    <a:pt x="77" y="41"/>
                  </a:lnTo>
                  <a:lnTo>
                    <a:pt x="79" y="41"/>
                  </a:lnTo>
                  <a:lnTo>
                    <a:pt x="81" y="41"/>
                  </a:lnTo>
                  <a:lnTo>
                    <a:pt x="82" y="42"/>
                  </a:lnTo>
                  <a:lnTo>
                    <a:pt x="82" y="41"/>
                  </a:lnTo>
                  <a:lnTo>
                    <a:pt x="84" y="41"/>
                  </a:lnTo>
                  <a:lnTo>
                    <a:pt x="82" y="27"/>
                  </a:lnTo>
                  <a:lnTo>
                    <a:pt x="81" y="23"/>
                  </a:lnTo>
                  <a:lnTo>
                    <a:pt x="77" y="21"/>
                  </a:lnTo>
                  <a:lnTo>
                    <a:pt x="75" y="14"/>
                  </a:lnTo>
                  <a:lnTo>
                    <a:pt x="69" y="4"/>
                  </a:lnTo>
                  <a:lnTo>
                    <a:pt x="59" y="6"/>
                  </a:lnTo>
                  <a:lnTo>
                    <a:pt x="54" y="10"/>
                  </a:lnTo>
                  <a:lnTo>
                    <a:pt x="52" y="8"/>
                  </a:lnTo>
                  <a:lnTo>
                    <a:pt x="44" y="4"/>
                  </a:lnTo>
                  <a:lnTo>
                    <a:pt x="40" y="8"/>
                  </a:lnTo>
                  <a:lnTo>
                    <a:pt x="34" y="6"/>
                  </a:lnTo>
                  <a:lnTo>
                    <a:pt x="25" y="0"/>
                  </a:lnTo>
                  <a:lnTo>
                    <a:pt x="15" y="0"/>
                  </a:lnTo>
                  <a:lnTo>
                    <a:pt x="0" y="8"/>
                  </a:lnTo>
                  <a:lnTo>
                    <a:pt x="11" y="14"/>
                  </a:lnTo>
                  <a:lnTo>
                    <a:pt x="17" y="17"/>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8" name="Freeform 76"/>
            <p:cNvSpPr>
              <a:spLocks/>
            </p:cNvSpPr>
            <p:nvPr/>
          </p:nvSpPr>
          <p:spPr bwMode="auto">
            <a:xfrm>
              <a:off x="4262" y="2784"/>
              <a:ext cx="4" cy="4"/>
            </a:xfrm>
            <a:custGeom>
              <a:avLst/>
              <a:gdLst>
                <a:gd name="T0" fmla="*/ 2 w 4"/>
                <a:gd name="T1" fmla="*/ 4 h 4"/>
                <a:gd name="T2" fmla="*/ 4 w 4"/>
                <a:gd name="T3" fmla="*/ 2 h 4"/>
                <a:gd name="T4" fmla="*/ 0 w 4"/>
                <a:gd name="T5" fmla="*/ 0 h 4"/>
                <a:gd name="T6" fmla="*/ 2 w 4"/>
                <a:gd name="T7" fmla="*/ 4 h 4"/>
              </a:gdLst>
              <a:ahLst/>
              <a:cxnLst>
                <a:cxn ang="0">
                  <a:pos x="T0" y="T1"/>
                </a:cxn>
                <a:cxn ang="0">
                  <a:pos x="T2" y="T3"/>
                </a:cxn>
                <a:cxn ang="0">
                  <a:pos x="T4" y="T5"/>
                </a:cxn>
                <a:cxn ang="0">
                  <a:pos x="T6" y="T7"/>
                </a:cxn>
              </a:cxnLst>
              <a:rect l="0" t="0" r="r" b="b"/>
              <a:pathLst>
                <a:path w="4" h="4">
                  <a:moveTo>
                    <a:pt x="2" y="4"/>
                  </a:moveTo>
                  <a:lnTo>
                    <a:pt x="4" y="2"/>
                  </a:lnTo>
                  <a:lnTo>
                    <a:pt x="0" y="0"/>
                  </a:lnTo>
                  <a:lnTo>
                    <a:pt x="2"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89" name="Freeform 77"/>
            <p:cNvSpPr>
              <a:spLocks/>
            </p:cNvSpPr>
            <p:nvPr/>
          </p:nvSpPr>
          <p:spPr bwMode="auto">
            <a:xfrm>
              <a:off x="4274" y="2788"/>
              <a:ext cx="4" cy="2"/>
            </a:xfrm>
            <a:custGeom>
              <a:avLst/>
              <a:gdLst>
                <a:gd name="T0" fmla="*/ 2 w 4"/>
                <a:gd name="T1" fmla="*/ 2 h 2"/>
                <a:gd name="T2" fmla="*/ 4 w 4"/>
                <a:gd name="T3" fmla="*/ 0 h 2"/>
                <a:gd name="T4" fmla="*/ 2 w 4"/>
                <a:gd name="T5" fmla="*/ 0 h 2"/>
                <a:gd name="T6" fmla="*/ 0 w 4"/>
                <a:gd name="T7" fmla="*/ 0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4" y="0"/>
                  </a:lnTo>
                  <a:lnTo>
                    <a:pt x="2" y="0"/>
                  </a:lnTo>
                  <a:lnTo>
                    <a:pt x="0" y="0"/>
                  </a:lnTo>
                  <a:lnTo>
                    <a:pt x="2"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90" name="Freeform 78"/>
            <p:cNvSpPr>
              <a:spLocks/>
            </p:cNvSpPr>
            <p:nvPr/>
          </p:nvSpPr>
          <p:spPr bwMode="auto">
            <a:xfrm>
              <a:off x="3953" y="2838"/>
              <a:ext cx="188" cy="127"/>
            </a:xfrm>
            <a:custGeom>
              <a:avLst/>
              <a:gdLst>
                <a:gd name="T0" fmla="*/ 21 w 188"/>
                <a:gd name="T1" fmla="*/ 55 h 127"/>
                <a:gd name="T2" fmla="*/ 33 w 188"/>
                <a:gd name="T3" fmla="*/ 90 h 127"/>
                <a:gd name="T4" fmla="*/ 46 w 188"/>
                <a:gd name="T5" fmla="*/ 96 h 127"/>
                <a:gd name="T6" fmla="*/ 77 w 188"/>
                <a:gd name="T7" fmla="*/ 94 h 127"/>
                <a:gd name="T8" fmla="*/ 102 w 188"/>
                <a:gd name="T9" fmla="*/ 86 h 127"/>
                <a:gd name="T10" fmla="*/ 117 w 188"/>
                <a:gd name="T11" fmla="*/ 94 h 127"/>
                <a:gd name="T12" fmla="*/ 129 w 188"/>
                <a:gd name="T13" fmla="*/ 94 h 127"/>
                <a:gd name="T14" fmla="*/ 136 w 188"/>
                <a:gd name="T15" fmla="*/ 92 h 127"/>
                <a:gd name="T16" fmla="*/ 152 w 188"/>
                <a:gd name="T17" fmla="*/ 100 h 127"/>
                <a:gd name="T18" fmla="*/ 158 w 188"/>
                <a:gd name="T19" fmla="*/ 109 h 127"/>
                <a:gd name="T20" fmla="*/ 161 w 188"/>
                <a:gd name="T21" fmla="*/ 127 h 127"/>
                <a:gd name="T22" fmla="*/ 167 w 188"/>
                <a:gd name="T23" fmla="*/ 125 h 127"/>
                <a:gd name="T24" fmla="*/ 171 w 188"/>
                <a:gd name="T25" fmla="*/ 125 h 127"/>
                <a:gd name="T26" fmla="*/ 175 w 188"/>
                <a:gd name="T27" fmla="*/ 125 h 127"/>
                <a:gd name="T28" fmla="*/ 175 w 188"/>
                <a:gd name="T29" fmla="*/ 121 h 127"/>
                <a:gd name="T30" fmla="*/ 177 w 188"/>
                <a:gd name="T31" fmla="*/ 119 h 127"/>
                <a:gd name="T32" fmla="*/ 179 w 188"/>
                <a:gd name="T33" fmla="*/ 117 h 127"/>
                <a:gd name="T34" fmla="*/ 184 w 188"/>
                <a:gd name="T35" fmla="*/ 117 h 127"/>
                <a:gd name="T36" fmla="*/ 186 w 188"/>
                <a:gd name="T37" fmla="*/ 115 h 127"/>
                <a:gd name="T38" fmla="*/ 184 w 188"/>
                <a:gd name="T39" fmla="*/ 111 h 127"/>
                <a:gd name="T40" fmla="*/ 175 w 188"/>
                <a:gd name="T41" fmla="*/ 98 h 127"/>
                <a:gd name="T42" fmla="*/ 183 w 188"/>
                <a:gd name="T43" fmla="*/ 94 h 127"/>
                <a:gd name="T44" fmla="*/ 173 w 188"/>
                <a:gd name="T45" fmla="*/ 80 h 127"/>
                <a:gd name="T46" fmla="*/ 161 w 188"/>
                <a:gd name="T47" fmla="*/ 75 h 127"/>
                <a:gd name="T48" fmla="*/ 142 w 188"/>
                <a:gd name="T49" fmla="*/ 73 h 127"/>
                <a:gd name="T50" fmla="*/ 129 w 188"/>
                <a:gd name="T51" fmla="*/ 67 h 127"/>
                <a:gd name="T52" fmla="*/ 121 w 188"/>
                <a:gd name="T53" fmla="*/ 65 h 127"/>
                <a:gd name="T54" fmla="*/ 131 w 188"/>
                <a:gd name="T55" fmla="*/ 46 h 127"/>
                <a:gd name="T56" fmla="*/ 125 w 188"/>
                <a:gd name="T57" fmla="*/ 46 h 127"/>
                <a:gd name="T58" fmla="*/ 94 w 188"/>
                <a:gd name="T59" fmla="*/ 32 h 127"/>
                <a:gd name="T60" fmla="*/ 98 w 188"/>
                <a:gd name="T61" fmla="*/ 19 h 127"/>
                <a:gd name="T62" fmla="*/ 88 w 188"/>
                <a:gd name="T63" fmla="*/ 11 h 127"/>
                <a:gd name="T64" fmla="*/ 83 w 188"/>
                <a:gd name="T65" fmla="*/ 11 h 127"/>
                <a:gd name="T66" fmla="*/ 71 w 188"/>
                <a:gd name="T67" fmla="*/ 11 h 127"/>
                <a:gd name="T68" fmla="*/ 75 w 188"/>
                <a:gd name="T69" fmla="*/ 5 h 127"/>
                <a:gd name="T70" fmla="*/ 65 w 188"/>
                <a:gd name="T71" fmla="*/ 4 h 127"/>
                <a:gd name="T72" fmla="*/ 54 w 188"/>
                <a:gd name="T73" fmla="*/ 4 h 127"/>
                <a:gd name="T74" fmla="*/ 29 w 188"/>
                <a:gd name="T75" fmla="*/ 17 h 127"/>
                <a:gd name="T76" fmla="*/ 0 w 188"/>
                <a:gd name="T77" fmla="*/ 38 h 127"/>
                <a:gd name="T78" fmla="*/ 117 w 188"/>
                <a:gd name="T79" fmla="*/ 54 h 127"/>
                <a:gd name="T80" fmla="*/ 98 w 188"/>
                <a:gd name="T81" fmla="*/ 42 h 127"/>
                <a:gd name="T82" fmla="*/ 88 w 188"/>
                <a:gd name="T83" fmla="*/ 42 h 127"/>
                <a:gd name="T84" fmla="*/ 79 w 188"/>
                <a:gd name="T85" fmla="*/ 48 h 127"/>
                <a:gd name="T86" fmla="*/ 98 w 188"/>
                <a:gd name="T87" fmla="*/ 61 h 127"/>
                <a:gd name="T88" fmla="*/ 115 w 188"/>
                <a:gd name="T89" fmla="*/ 5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 h="127">
                  <a:moveTo>
                    <a:pt x="0" y="38"/>
                  </a:moveTo>
                  <a:lnTo>
                    <a:pt x="21" y="55"/>
                  </a:lnTo>
                  <a:lnTo>
                    <a:pt x="19" y="75"/>
                  </a:lnTo>
                  <a:lnTo>
                    <a:pt x="33" y="90"/>
                  </a:lnTo>
                  <a:lnTo>
                    <a:pt x="33" y="94"/>
                  </a:lnTo>
                  <a:lnTo>
                    <a:pt x="46" y="96"/>
                  </a:lnTo>
                  <a:lnTo>
                    <a:pt x="67" y="88"/>
                  </a:lnTo>
                  <a:lnTo>
                    <a:pt x="77" y="94"/>
                  </a:lnTo>
                  <a:lnTo>
                    <a:pt x="92" y="86"/>
                  </a:lnTo>
                  <a:lnTo>
                    <a:pt x="102" y="86"/>
                  </a:lnTo>
                  <a:lnTo>
                    <a:pt x="111" y="92"/>
                  </a:lnTo>
                  <a:lnTo>
                    <a:pt x="117" y="94"/>
                  </a:lnTo>
                  <a:lnTo>
                    <a:pt x="121" y="90"/>
                  </a:lnTo>
                  <a:lnTo>
                    <a:pt x="129" y="94"/>
                  </a:lnTo>
                  <a:lnTo>
                    <a:pt x="131" y="96"/>
                  </a:lnTo>
                  <a:lnTo>
                    <a:pt x="136" y="92"/>
                  </a:lnTo>
                  <a:lnTo>
                    <a:pt x="146" y="90"/>
                  </a:lnTo>
                  <a:lnTo>
                    <a:pt x="152" y="100"/>
                  </a:lnTo>
                  <a:lnTo>
                    <a:pt x="154" y="107"/>
                  </a:lnTo>
                  <a:lnTo>
                    <a:pt x="158" y="109"/>
                  </a:lnTo>
                  <a:lnTo>
                    <a:pt x="159" y="113"/>
                  </a:lnTo>
                  <a:lnTo>
                    <a:pt x="161" y="127"/>
                  </a:lnTo>
                  <a:lnTo>
                    <a:pt x="163" y="127"/>
                  </a:lnTo>
                  <a:lnTo>
                    <a:pt x="167" y="125"/>
                  </a:lnTo>
                  <a:lnTo>
                    <a:pt x="169" y="125"/>
                  </a:lnTo>
                  <a:lnTo>
                    <a:pt x="171" y="125"/>
                  </a:lnTo>
                  <a:lnTo>
                    <a:pt x="173" y="125"/>
                  </a:lnTo>
                  <a:lnTo>
                    <a:pt x="175" y="125"/>
                  </a:lnTo>
                  <a:lnTo>
                    <a:pt x="175" y="123"/>
                  </a:lnTo>
                  <a:lnTo>
                    <a:pt x="175" y="121"/>
                  </a:lnTo>
                  <a:lnTo>
                    <a:pt x="177" y="121"/>
                  </a:lnTo>
                  <a:lnTo>
                    <a:pt x="177" y="119"/>
                  </a:lnTo>
                  <a:lnTo>
                    <a:pt x="179" y="119"/>
                  </a:lnTo>
                  <a:lnTo>
                    <a:pt x="179" y="117"/>
                  </a:lnTo>
                  <a:lnTo>
                    <a:pt x="183" y="117"/>
                  </a:lnTo>
                  <a:lnTo>
                    <a:pt x="184" y="117"/>
                  </a:lnTo>
                  <a:lnTo>
                    <a:pt x="184" y="115"/>
                  </a:lnTo>
                  <a:lnTo>
                    <a:pt x="186" y="115"/>
                  </a:lnTo>
                  <a:lnTo>
                    <a:pt x="188" y="115"/>
                  </a:lnTo>
                  <a:lnTo>
                    <a:pt x="184" y="111"/>
                  </a:lnTo>
                  <a:lnTo>
                    <a:pt x="183" y="103"/>
                  </a:lnTo>
                  <a:lnTo>
                    <a:pt x="175" y="98"/>
                  </a:lnTo>
                  <a:lnTo>
                    <a:pt x="181" y="96"/>
                  </a:lnTo>
                  <a:lnTo>
                    <a:pt x="183" y="94"/>
                  </a:lnTo>
                  <a:lnTo>
                    <a:pt x="167" y="86"/>
                  </a:lnTo>
                  <a:lnTo>
                    <a:pt x="173" y="80"/>
                  </a:lnTo>
                  <a:lnTo>
                    <a:pt x="171" y="75"/>
                  </a:lnTo>
                  <a:lnTo>
                    <a:pt x="161" y="75"/>
                  </a:lnTo>
                  <a:lnTo>
                    <a:pt x="156" y="78"/>
                  </a:lnTo>
                  <a:lnTo>
                    <a:pt x="142" y="73"/>
                  </a:lnTo>
                  <a:lnTo>
                    <a:pt x="135" y="73"/>
                  </a:lnTo>
                  <a:lnTo>
                    <a:pt x="129" y="67"/>
                  </a:lnTo>
                  <a:lnTo>
                    <a:pt x="119" y="67"/>
                  </a:lnTo>
                  <a:lnTo>
                    <a:pt x="121" y="65"/>
                  </a:lnTo>
                  <a:lnTo>
                    <a:pt x="133" y="59"/>
                  </a:lnTo>
                  <a:lnTo>
                    <a:pt x="131" y="46"/>
                  </a:lnTo>
                  <a:lnTo>
                    <a:pt x="127" y="44"/>
                  </a:lnTo>
                  <a:lnTo>
                    <a:pt x="125" y="46"/>
                  </a:lnTo>
                  <a:lnTo>
                    <a:pt x="106" y="40"/>
                  </a:lnTo>
                  <a:lnTo>
                    <a:pt x="94" y="32"/>
                  </a:lnTo>
                  <a:lnTo>
                    <a:pt x="94" y="27"/>
                  </a:lnTo>
                  <a:lnTo>
                    <a:pt x="98" y="19"/>
                  </a:lnTo>
                  <a:lnTo>
                    <a:pt x="98" y="13"/>
                  </a:lnTo>
                  <a:lnTo>
                    <a:pt x="88" y="11"/>
                  </a:lnTo>
                  <a:lnTo>
                    <a:pt x="86" y="7"/>
                  </a:lnTo>
                  <a:lnTo>
                    <a:pt x="83" y="11"/>
                  </a:lnTo>
                  <a:lnTo>
                    <a:pt x="73" y="9"/>
                  </a:lnTo>
                  <a:lnTo>
                    <a:pt x="71" y="11"/>
                  </a:lnTo>
                  <a:lnTo>
                    <a:pt x="69" y="9"/>
                  </a:lnTo>
                  <a:lnTo>
                    <a:pt x="75" y="5"/>
                  </a:lnTo>
                  <a:lnTo>
                    <a:pt x="69" y="4"/>
                  </a:lnTo>
                  <a:lnTo>
                    <a:pt x="65" y="4"/>
                  </a:lnTo>
                  <a:lnTo>
                    <a:pt x="61" y="0"/>
                  </a:lnTo>
                  <a:lnTo>
                    <a:pt x="54" y="4"/>
                  </a:lnTo>
                  <a:lnTo>
                    <a:pt x="58" y="7"/>
                  </a:lnTo>
                  <a:lnTo>
                    <a:pt x="29" y="17"/>
                  </a:lnTo>
                  <a:lnTo>
                    <a:pt x="27" y="21"/>
                  </a:lnTo>
                  <a:lnTo>
                    <a:pt x="0" y="38"/>
                  </a:lnTo>
                  <a:lnTo>
                    <a:pt x="115" y="55"/>
                  </a:lnTo>
                  <a:lnTo>
                    <a:pt x="117" y="54"/>
                  </a:lnTo>
                  <a:lnTo>
                    <a:pt x="115" y="50"/>
                  </a:lnTo>
                  <a:lnTo>
                    <a:pt x="98" y="42"/>
                  </a:lnTo>
                  <a:lnTo>
                    <a:pt x="96" y="42"/>
                  </a:lnTo>
                  <a:lnTo>
                    <a:pt x="88" y="42"/>
                  </a:lnTo>
                  <a:lnTo>
                    <a:pt x="77" y="40"/>
                  </a:lnTo>
                  <a:lnTo>
                    <a:pt x="79" y="48"/>
                  </a:lnTo>
                  <a:lnTo>
                    <a:pt x="92" y="50"/>
                  </a:lnTo>
                  <a:lnTo>
                    <a:pt x="98" y="61"/>
                  </a:lnTo>
                  <a:lnTo>
                    <a:pt x="104" y="63"/>
                  </a:lnTo>
                  <a:lnTo>
                    <a:pt x="115" y="55"/>
                  </a:lnTo>
                  <a:lnTo>
                    <a:pt x="0" y="38"/>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91" name="Freeform 79"/>
            <p:cNvSpPr>
              <a:spLocks/>
            </p:cNvSpPr>
            <p:nvPr/>
          </p:nvSpPr>
          <p:spPr bwMode="auto">
            <a:xfrm>
              <a:off x="3953" y="2838"/>
              <a:ext cx="188" cy="127"/>
            </a:xfrm>
            <a:custGeom>
              <a:avLst/>
              <a:gdLst>
                <a:gd name="T0" fmla="*/ 21 w 188"/>
                <a:gd name="T1" fmla="*/ 55 h 127"/>
                <a:gd name="T2" fmla="*/ 33 w 188"/>
                <a:gd name="T3" fmla="*/ 90 h 127"/>
                <a:gd name="T4" fmla="*/ 46 w 188"/>
                <a:gd name="T5" fmla="*/ 96 h 127"/>
                <a:gd name="T6" fmla="*/ 77 w 188"/>
                <a:gd name="T7" fmla="*/ 94 h 127"/>
                <a:gd name="T8" fmla="*/ 102 w 188"/>
                <a:gd name="T9" fmla="*/ 86 h 127"/>
                <a:gd name="T10" fmla="*/ 117 w 188"/>
                <a:gd name="T11" fmla="*/ 94 h 127"/>
                <a:gd name="T12" fmla="*/ 129 w 188"/>
                <a:gd name="T13" fmla="*/ 94 h 127"/>
                <a:gd name="T14" fmla="*/ 136 w 188"/>
                <a:gd name="T15" fmla="*/ 92 h 127"/>
                <a:gd name="T16" fmla="*/ 152 w 188"/>
                <a:gd name="T17" fmla="*/ 100 h 127"/>
                <a:gd name="T18" fmla="*/ 158 w 188"/>
                <a:gd name="T19" fmla="*/ 109 h 127"/>
                <a:gd name="T20" fmla="*/ 161 w 188"/>
                <a:gd name="T21" fmla="*/ 127 h 127"/>
                <a:gd name="T22" fmla="*/ 167 w 188"/>
                <a:gd name="T23" fmla="*/ 125 h 127"/>
                <a:gd name="T24" fmla="*/ 171 w 188"/>
                <a:gd name="T25" fmla="*/ 125 h 127"/>
                <a:gd name="T26" fmla="*/ 175 w 188"/>
                <a:gd name="T27" fmla="*/ 125 h 127"/>
                <a:gd name="T28" fmla="*/ 175 w 188"/>
                <a:gd name="T29" fmla="*/ 121 h 127"/>
                <a:gd name="T30" fmla="*/ 177 w 188"/>
                <a:gd name="T31" fmla="*/ 119 h 127"/>
                <a:gd name="T32" fmla="*/ 179 w 188"/>
                <a:gd name="T33" fmla="*/ 117 h 127"/>
                <a:gd name="T34" fmla="*/ 184 w 188"/>
                <a:gd name="T35" fmla="*/ 117 h 127"/>
                <a:gd name="T36" fmla="*/ 186 w 188"/>
                <a:gd name="T37" fmla="*/ 115 h 127"/>
                <a:gd name="T38" fmla="*/ 184 w 188"/>
                <a:gd name="T39" fmla="*/ 111 h 127"/>
                <a:gd name="T40" fmla="*/ 175 w 188"/>
                <a:gd name="T41" fmla="*/ 98 h 127"/>
                <a:gd name="T42" fmla="*/ 183 w 188"/>
                <a:gd name="T43" fmla="*/ 94 h 127"/>
                <a:gd name="T44" fmla="*/ 173 w 188"/>
                <a:gd name="T45" fmla="*/ 80 h 127"/>
                <a:gd name="T46" fmla="*/ 161 w 188"/>
                <a:gd name="T47" fmla="*/ 75 h 127"/>
                <a:gd name="T48" fmla="*/ 142 w 188"/>
                <a:gd name="T49" fmla="*/ 73 h 127"/>
                <a:gd name="T50" fmla="*/ 129 w 188"/>
                <a:gd name="T51" fmla="*/ 67 h 127"/>
                <a:gd name="T52" fmla="*/ 121 w 188"/>
                <a:gd name="T53" fmla="*/ 65 h 127"/>
                <a:gd name="T54" fmla="*/ 131 w 188"/>
                <a:gd name="T55" fmla="*/ 46 h 127"/>
                <a:gd name="T56" fmla="*/ 125 w 188"/>
                <a:gd name="T57" fmla="*/ 46 h 127"/>
                <a:gd name="T58" fmla="*/ 94 w 188"/>
                <a:gd name="T59" fmla="*/ 32 h 127"/>
                <a:gd name="T60" fmla="*/ 98 w 188"/>
                <a:gd name="T61" fmla="*/ 19 h 127"/>
                <a:gd name="T62" fmla="*/ 88 w 188"/>
                <a:gd name="T63" fmla="*/ 11 h 127"/>
                <a:gd name="T64" fmla="*/ 83 w 188"/>
                <a:gd name="T65" fmla="*/ 11 h 127"/>
                <a:gd name="T66" fmla="*/ 71 w 188"/>
                <a:gd name="T67" fmla="*/ 11 h 127"/>
                <a:gd name="T68" fmla="*/ 75 w 188"/>
                <a:gd name="T69" fmla="*/ 5 h 127"/>
                <a:gd name="T70" fmla="*/ 65 w 188"/>
                <a:gd name="T71" fmla="*/ 4 h 127"/>
                <a:gd name="T72" fmla="*/ 54 w 188"/>
                <a:gd name="T73" fmla="*/ 4 h 127"/>
                <a:gd name="T74" fmla="*/ 29 w 188"/>
                <a:gd name="T75" fmla="*/ 17 h 127"/>
                <a:gd name="T76" fmla="*/ 0 w 188"/>
                <a:gd name="T77" fmla="*/ 3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27">
                  <a:moveTo>
                    <a:pt x="0" y="38"/>
                  </a:moveTo>
                  <a:lnTo>
                    <a:pt x="21" y="55"/>
                  </a:lnTo>
                  <a:lnTo>
                    <a:pt x="19" y="75"/>
                  </a:lnTo>
                  <a:lnTo>
                    <a:pt x="33" y="90"/>
                  </a:lnTo>
                  <a:lnTo>
                    <a:pt x="33" y="94"/>
                  </a:lnTo>
                  <a:lnTo>
                    <a:pt x="46" y="96"/>
                  </a:lnTo>
                  <a:lnTo>
                    <a:pt x="67" y="88"/>
                  </a:lnTo>
                  <a:lnTo>
                    <a:pt x="77" y="94"/>
                  </a:lnTo>
                  <a:lnTo>
                    <a:pt x="92" y="86"/>
                  </a:lnTo>
                  <a:lnTo>
                    <a:pt x="102" y="86"/>
                  </a:lnTo>
                  <a:lnTo>
                    <a:pt x="111" y="92"/>
                  </a:lnTo>
                  <a:lnTo>
                    <a:pt x="117" y="94"/>
                  </a:lnTo>
                  <a:lnTo>
                    <a:pt x="121" y="90"/>
                  </a:lnTo>
                  <a:lnTo>
                    <a:pt x="129" y="94"/>
                  </a:lnTo>
                  <a:lnTo>
                    <a:pt x="131" y="96"/>
                  </a:lnTo>
                  <a:lnTo>
                    <a:pt x="136" y="92"/>
                  </a:lnTo>
                  <a:lnTo>
                    <a:pt x="146" y="90"/>
                  </a:lnTo>
                  <a:lnTo>
                    <a:pt x="152" y="100"/>
                  </a:lnTo>
                  <a:lnTo>
                    <a:pt x="154" y="107"/>
                  </a:lnTo>
                  <a:lnTo>
                    <a:pt x="158" y="109"/>
                  </a:lnTo>
                  <a:lnTo>
                    <a:pt x="159" y="113"/>
                  </a:lnTo>
                  <a:lnTo>
                    <a:pt x="161" y="127"/>
                  </a:lnTo>
                  <a:lnTo>
                    <a:pt x="163" y="127"/>
                  </a:lnTo>
                  <a:lnTo>
                    <a:pt x="167" y="125"/>
                  </a:lnTo>
                  <a:lnTo>
                    <a:pt x="169" y="125"/>
                  </a:lnTo>
                  <a:lnTo>
                    <a:pt x="171" y="125"/>
                  </a:lnTo>
                  <a:lnTo>
                    <a:pt x="173" y="125"/>
                  </a:lnTo>
                  <a:lnTo>
                    <a:pt x="175" y="125"/>
                  </a:lnTo>
                  <a:lnTo>
                    <a:pt x="175" y="123"/>
                  </a:lnTo>
                  <a:lnTo>
                    <a:pt x="175" y="121"/>
                  </a:lnTo>
                  <a:lnTo>
                    <a:pt x="177" y="121"/>
                  </a:lnTo>
                  <a:lnTo>
                    <a:pt x="177" y="119"/>
                  </a:lnTo>
                  <a:lnTo>
                    <a:pt x="179" y="119"/>
                  </a:lnTo>
                  <a:lnTo>
                    <a:pt x="179" y="117"/>
                  </a:lnTo>
                  <a:lnTo>
                    <a:pt x="183" y="117"/>
                  </a:lnTo>
                  <a:lnTo>
                    <a:pt x="184" y="117"/>
                  </a:lnTo>
                  <a:lnTo>
                    <a:pt x="184" y="115"/>
                  </a:lnTo>
                  <a:lnTo>
                    <a:pt x="186" y="115"/>
                  </a:lnTo>
                  <a:lnTo>
                    <a:pt x="188" y="115"/>
                  </a:lnTo>
                  <a:lnTo>
                    <a:pt x="184" y="111"/>
                  </a:lnTo>
                  <a:lnTo>
                    <a:pt x="183" y="103"/>
                  </a:lnTo>
                  <a:lnTo>
                    <a:pt x="175" y="98"/>
                  </a:lnTo>
                  <a:lnTo>
                    <a:pt x="181" y="96"/>
                  </a:lnTo>
                  <a:lnTo>
                    <a:pt x="183" y="94"/>
                  </a:lnTo>
                  <a:lnTo>
                    <a:pt x="167" y="86"/>
                  </a:lnTo>
                  <a:lnTo>
                    <a:pt x="173" y="80"/>
                  </a:lnTo>
                  <a:lnTo>
                    <a:pt x="171" y="75"/>
                  </a:lnTo>
                  <a:lnTo>
                    <a:pt x="161" y="75"/>
                  </a:lnTo>
                  <a:lnTo>
                    <a:pt x="156" y="78"/>
                  </a:lnTo>
                  <a:lnTo>
                    <a:pt x="142" y="73"/>
                  </a:lnTo>
                  <a:lnTo>
                    <a:pt x="135" y="73"/>
                  </a:lnTo>
                  <a:lnTo>
                    <a:pt x="129" y="67"/>
                  </a:lnTo>
                  <a:lnTo>
                    <a:pt x="119" y="67"/>
                  </a:lnTo>
                  <a:lnTo>
                    <a:pt x="121" y="65"/>
                  </a:lnTo>
                  <a:lnTo>
                    <a:pt x="133" y="59"/>
                  </a:lnTo>
                  <a:lnTo>
                    <a:pt x="131" y="46"/>
                  </a:lnTo>
                  <a:lnTo>
                    <a:pt x="127" y="44"/>
                  </a:lnTo>
                  <a:lnTo>
                    <a:pt x="125" y="46"/>
                  </a:lnTo>
                  <a:lnTo>
                    <a:pt x="106" y="40"/>
                  </a:lnTo>
                  <a:lnTo>
                    <a:pt x="94" y="32"/>
                  </a:lnTo>
                  <a:lnTo>
                    <a:pt x="94" y="27"/>
                  </a:lnTo>
                  <a:lnTo>
                    <a:pt x="98" y="19"/>
                  </a:lnTo>
                  <a:lnTo>
                    <a:pt x="98" y="13"/>
                  </a:lnTo>
                  <a:lnTo>
                    <a:pt x="88" y="11"/>
                  </a:lnTo>
                  <a:lnTo>
                    <a:pt x="86" y="7"/>
                  </a:lnTo>
                  <a:lnTo>
                    <a:pt x="83" y="11"/>
                  </a:lnTo>
                  <a:lnTo>
                    <a:pt x="73" y="9"/>
                  </a:lnTo>
                  <a:lnTo>
                    <a:pt x="71" y="11"/>
                  </a:lnTo>
                  <a:lnTo>
                    <a:pt x="69" y="9"/>
                  </a:lnTo>
                  <a:lnTo>
                    <a:pt x="75" y="5"/>
                  </a:lnTo>
                  <a:lnTo>
                    <a:pt x="69" y="4"/>
                  </a:lnTo>
                  <a:lnTo>
                    <a:pt x="65" y="4"/>
                  </a:lnTo>
                  <a:lnTo>
                    <a:pt x="61" y="0"/>
                  </a:lnTo>
                  <a:lnTo>
                    <a:pt x="54" y="4"/>
                  </a:lnTo>
                  <a:lnTo>
                    <a:pt x="58" y="7"/>
                  </a:lnTo>
                  <a:lnTo>
                    <a:pt x="29" y="17"/>
                  </a:lnTo>
                  <a:lnTo>
                    <a:pt x="27" y="21"/>
                  </a:lnTo>
                  <a:lnTo>
                    <a:pt x="0" y="3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92" name="Freeform 80"/>
            <p:cNvSpPr>
              <a:spLocks/>
            </p:cNvSpPr>
            <p:nvPr/>
          </p:nvSpPr>
          <p:spPr bwMode="auto">
            <a:xfrm>
              <a:off x="4030" y="2878"/>
              <a:ext cx="40" cy="23"/>
            </a:xfrm>
            <a:custGeom>
              <a:avLst/>
              <a:gdLst>
                <a:gd name="T0" fmla="*/ 38 w 40"/>
                <a:gd name="T1" fmla="*/ 15 h 23"/>
                <a:gd name="T2" fmla="*/ 40 w 40"/>
                <a:gd name="T3" fmla="*/ 14 h 23"/>
                <a:gd name="T4" fmla="*/ 38 w 40"/>
                <a:gd name="T5" fmla="*/ 10 h 23"/>
                <a:gd name="T6" fmla="*/ 21 w 40"/>
                <a:gd name="T7" fmla="*/ 2 h 23"/>
                <a:gd name="T8" fmla="*/ 19 w 40"/>
                <a:gd name="T9" fmla="*/ 2 h 23"/>
                <a:gd name="T10" fmla="*/ 11 w 40"/>
                <a:gd name="T11" fmla="*/ 2 h 23"/>
                <a:gd name="T12" fmla="*/ 0 w 40"/>
                <a:gd name="T13" fmla="*/ 0 h 23"/>
                <a:gd name="T14" fmla="*/ 2 w 40"/>
                <a:gd name="T15" fmla="*/ 8 h 23"/>
                <a:gd name="T16" fmla="*/ 15 w 40"/>
                <a:gd name="T17" fmla="*/ 10 h 23"/>
                <a:gd name="T18" fmla="*/ 21 w 40"/>
                <a:gd name="T19" fmla="*/ 21 h 23"/>
                <a:gd name="T20" fmla="*/ 27 w 40"/>
                <a:gd name="T21" fmla="*/ 23 h 23"/>
                <a:gd name="T22" fmla="*/ 38 w 40"/>
                <a:gd name="T23"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23">
                  <a:moveTo>
                    <a:pt x="38" y="15"/>
                  </a:moveTo>
                  <a:lnTo>
                    <a:pt x="40" y="14"/>
                  </a:lnTo>
                  <a:lnTo>
                    <a:pt x="38" y="10"/>
                  </a:lnTo>
                  <a:lnTo>
                    <a:pt x="21" y="2"/>
                  </a:lnTo>
                  <a:lnTo>
                    <a:pt x="19" y="2"/>
                  </a:lnTo>
                  <a:lnTo>
                    <a:pt x="11" y="2"/>
                  </a:lnTo>
                  <a:lnTo>
                    <a:pt x="0" y="0"/>
                  </a:lnTo>
                  <a:lnTo>
                    <a:pt x="2" y="8"/>
                  </a:lnTo>
                  <a:lnTo>
                    <a:pt x="15" y="10"/>
                  </a:lnTo>
                  <a:lnTo>
                    <a:pt x="21" y="21"/>
                  </a:lnTo>
                  <a:lnTo>
                    <a:pt x="27" y="23"/>
                  </a:lnTo>
                  <a:lnTo>
                    <a:pt x="38" y="15"/>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93" name="Freeform 81"/>
            <p:cNvSpPr>
              <a:spLocks/>
            </p:cNvSpPr>
            <p:nvPr/>
          </p:nvSpPr>
          <p:spPr bwMode="auto">
            <a:xfrm>
              <a:off x="2552" y="2959"/>
              <a:ext cx="6" cy="4"/>
            </a:xfrm>
            <a:custGeom>
              <a:avLst/>
              <a:gdLst>
                <a:gd name="T0" fmla="*/ 6 w 6"/>
                <a:gd name="T1" fmla="*/ 0 h 4"/>
                <a:gd name="T2" fmla="*/ 0 w 6"/>
                <a:gd name="T3" fmla="*/ 2 h 4"/>
                <a:gd name="T4" fmla="*/ 0 w 6"/>
                <a:gd name="T5" fmla="*/ 4 h 4"/>
                <a:gd name="T6" fmla="*/ 4 w 6"/>
                <a:gd name="T7" fmla="*/ 4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0" y="2"/>
                  </a:lnTo>
                  <a:lnTo>
                    <a:pt x="0" y="4"/>
                  </a:lnTo>
                  <a:lnTo>
                    <a:pt x="4" y="4"/>
                  </a:lnTo>
                  <a:lnTo>
                    <a:pt x="6"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94" name="Freeform 82"/>
            <p:cNvSpPr>
              <a:spLocks/>
            </p:cNvSpPr>
            <p:nvPr/>
          </p:nvSpPr>
          <p:spPr bwMode="auto">
            <a:xfrm>
              <a:off x="2429" y="2744"/>
              <a:ext cx="8" cy="13"/>
            </a:xfrm>
            <a:custGeom>
              <a:avLst/>
              <a:gdLst>
                <a:gd name="T0" fmla="*/ 4 w 8"/>
                <a:gd name="T1" fmla="*/ 0 h 13"/>
                <a:gd name="T2" fmla="*/ 2 w 8"/>
                <a:gd name="T3" fmla="*/ 1 h 13"/>
                <a:gd name="T4" fmla="*/ 2 w 8"/>
                <a:gd name="T5" fmla="*/ 3 h 13"/>
                <a:gd name="T6" fmla="*/ 2 w 8"/>
                <a:gd name="T7" fmla="*/ 5 h 13"/>
                <a:gd name="T8" fmla="*/ 2 w 8"/>
                <a:gd name="T9" fmla="*/ 7 h 13"/>
                <a:gd name="T10" fmla="*/ 2 w 8"/>
                <a:gd name="T11" fmla="*/ 9 h 13"/>
                <a:gd name="T12" fmla="*/ 2 w 8"/>
                <a:gd name="T13" fmla="*/ 11 h 13"/>
                <a:gd name="T14" fmla="*/ 0 w 8"/>
                <a:gd name="T15" fmla="*/ 11 h 13"/>
                <a:gd name="T16" fmla="*/ 0 w 8"/>
                <a:gd name="T17" fmla="*/ 13 h 13"/>
                <a:gd name="T18" fmla="*/ 2 w 8"/>
                <a:gd name="T19" fmla="*/ 13 h 13"/>
                <a:gd name="T20" fmla="*/ 4 w 8"/>
                <a:gd name="T21" fmla="*/ 13 h 13"/>
                <a:gd name="T22" fmla="*/ 6 w 8"/>
                <a:gd name="T23" fmla="*/ 13 h 13"/>
                <a:gd name="T24" fmla="*/ 6 w 8"/>
                <a:gd name="T25" fmla="*/ 11 h 13"/>
                <a:gd name="T26" fmla="*/ 8 w 8"/>
                <a:gd name="T27" fmla="*/ 11 h 13"/>
                <a:gd name="T28" fmla="*/ 8 w 8"/>
                <a:gd name="T29" fmla="*/ 9 h 13"/>
                <a:gd name="T30" fmla="*/ 8 w 8"/>
                <a:gd name="T31" fmla="*/ 7 h 13"/>
                <a:gd name="T32" fmla="*/ 6 w 8"/>
                <a:gd name="T33" fmla="*/ 7 h 13"/>
                <a:gd name="T34" fmla="*/ 6 w 8"/>
                <a:gd name="T35" fmla="*/ 5 h 13"/>
                <a:gd name="T36" fmla="*/ 6 w 8"/>
                <a:gd name="T37" fmla="*/ 3 h 13"/>
                <a:gd name="T38" fmla="*/ 6 w 8"/>
                <a:gd name="T39" fmla="*/ 1 h 13"/>
                <a:gd name="T40" fmla="*/ 4 w 8"/>
                <a:gd name="T41" fmla="*/ 1 h 13"/>
                <a:gd name="T42" fmla="*/ 6 w 8"/>
                <a:gd name="T43" fmla="*/ 1 h 13"/>
                <a:gd name="T44" fmla="*/ 4 w 8"/>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13">
                  <a:moveTo>
                    <a:pt x="4" y="0"/>
                  </a:moveTo>
                  <a:lnTo>
                    <a:pt x="2" y="1"/>
                  </a:lnTo>
                  <a:lnTo>
                    <a:pt x="2" y="3"/>
                  </a:lnTo>
                  <a:lnTo>
                    <a:pt x="2" y="5"/>
                  </a:lnTo>
                  <a:lnTo>
                    <a:pt x="2" y="7"/>
                  </a:lnTo>
                  <a:lnTo>
                    <a:pt x="2" y="9"/>
                  </a:lnTo>
                  <a:lnTo>
                    <a:pt x="2" y="11"/>
                  </a:lnTo>
                  <a:lnTo>
                    <a:pt x="0" y="11"/>
                  </a:lnTo>
                  <a:lnTo>
                    <a:pt x="0" y="13"/>
                  </a:lnTo>
                  <a:lnTo>
                    <a:pt x="2" y="13"/>
                  </a:lnTo>
                  <a:lnTo>
                    <a:pt x="4" y="13"/>
                  </a:lnTo>
                  <a:lnTo>
                    <a:pt x="6" y="13"/>
                  </a:lnTo>
                  <a:lnTo>
                    <a:pt x="6" y="11"/>
                  </a:lnTo>
                  <a:lnTo>
                    <a:pt x="8" y="11"/>
                  </a:lnTo>
                  <a:lnTo>
                    <a:pt x="8" y="9"/>
                  </a:lnTo>
                  <a:lnTo>
                    <a:pt x="8" y="7"/>
                  </a:lnTo>
                  <a:lnTo>
                    <a:pt x="6" y="7"/>
                  </a:lnTo>
                  <a:lnTo>
                    <a:pt x="6" y="5"/>
                  </a:lnTo>
                  <a:lnTo>
                    <a:pt x="6" y="3"/>
                  </a:lnTo>
                  <a:lnTo>
                    <a:pt x="6" y="1"/>
                  </a:lnTo>
                  <a:lnTo>
                    <a:pt x="4" y="1"/>
                  </a:lnTo>
                  <a:lnTo>
                    <a:pt x="6" y="1"/>
                  </a:lnTo>
                  <a:lnTo>
                    <a:pt x="4"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95" name="Freeform 83"/>
            <p:cNvSpPr>
              <a:spLocks/>
            </p:cNvSpPr>
            <p:nvPr/>
          </p:nvSpPr>
          <p:spPr bwMode="auto">
            <a:xfrm>
              <a:off x="2696" y="2870"/>
              <a:ext cx="173" cy="169"/>
            </a:xfrm>
            <a:custGeom>
              <a:avLst/>
              <a:gdLst>
                <a:gd name="T0" fmla="*/ 131 w 173"/>
                <a:gd name="T1" fmla="*/ 16 h 169"/>
                <a:gd name="T2" fmla="*/ 108 w 173"/>
                <a:gd name="T3" fmla="*/ 2 h 169"/>
                <a:gd name="T4" fmla="*/ 96 w 173"/>
                <a:gd name="T5" fmla="*/ 2 h 169"/>
                <a:gd name="T6" fmla="*/ 75 w 173"/>
                <a:gd name="T7" fmla="*/ 6 h 169"/>
                <a:gd name="T8" fmla="*/ 66 w 173"/>
                <a:gd name="T9" fmla="*/ 2 h 169"/>
                <a:gd name="T10" fmla="*/ 62 w 173"/>
                <a:gd name="T11" fmla="*/ 6 h 169"/>
                <a:gd name="T12" fmla="*/ 46 w 173"/>
                <a:gd name="T13" fmla="*/ 4 h 169"/>
                <a:gd name="T14" fmla="*/ 23 w 173"/>
                <a:gd name="T15" fmla="*/ 18 h 169"/>
                <a:gd name="T16" fmla="*/ 12 w 173"/>
                <a:gd name="T17" fmla="*/ 4 h 169"/>
                <a:gd name="T18" fmla="*/ 0 w 173"/>
                <a:gd name="T19" fmla="*/ 14 h 169"/>
                <a:gd name="T20" fmla="*/ 0 w 173"/>
                <a:gd name="T21" fmla="*/ 31 h 169"/>
                <a:gd name="T22" fmla="*/ 10 w 173"/>
                <a:gd name="T23" fmla="*/ 37 h 169"/>
                <a:gd name="T24" fmla="*/ 18 w 173"/>
                <a:gd name="T25" fmla="*/ 50 h 169"/>
                <a:gd name="T26" fmla="*/ 19 w 173"/>
                <a:gd name="T27" fmla="*/ 70 h 169"/>
                <a:gd name="T28" fmla="*/ 29 w 173"/>
                <a:gd name="T29" fmla="*/ 77 h 169"/>
                <a:gd name="T30" fmla="*/ 46 w 173"/>
                <a:gd name="T31" fmla="*/ 95 h 169"/>
                <a:gd name="T32" fmla="*/ 71 w 173"/>
                <a:gd name="T33" fmla="*/ 116 h 169"/>
                <a:gd name="T34" fmla="*/ 91 w 173"/>
                <a:gd name="T35" fmla="*/ 139 h 169"/>
                <a:gd name="T36" fmla="*/ 89 w 173"/>
                <a:gd name="T37" fmla="*/ 146 h 169"/>
                <a:gd name="T38" fmla="*/ 94 w 173"/>
                <a:gd name="T39" fmla="*/ 148 h 169"/>
                <a:gd name="T40" fmla="*/ 102 w 173"/>
                <a:gd name="T41" fmla="*/ 154 h 169"/>
                <a:gd name="T42" fmla="*/ 121 w 173"/>
                <a:gd name="T43" fmla="*/ 166 h 169"/>
                <a:gd name="T44" fmla="*/ 129 w 173"/>
                <a:gd name="T45" fmla="*/ 169 h 169"/>
                <a:gd name="T46" fmla="*/ 127 w 173"/>
                <a:gd name="T47" fmla="*/ 152 h 169"/>
                <a:gd name="T48" fmla="*/ 131 w 173"/>
                <a:gd name="T49" fmla="*/ 141 h 169"/>
                <a:gd name="T50" fmla="*/ 137 w 173"/>
                <a:gd name="T51" fmla="*/ 123 h 169"/>
                <a:gd name="T52" fmla="*/ 152 w 173"/>
                <a:gd name="T53" fmla="*/ 123 h 169"/>
                <a:gd name="T54" fmla="*/ 146 w 173"/>
                <a:gd name="T55" fmla="*/ 106 h 169"/>
                <a:gd name="T56" fmla="*/ 152 w 173"/>
                <a:gd name="T57" fmla="*/ 106 h 169"/>
                <a:gd name="T58" fmla="*/ 164 w 173"/>
                <a:gd name="T59" fmla="*/ 98 h 169"/>
                <a:gd name="T60" fmla="*/ 169 w 173"/>
                <a:gd name="T61" fmla="*/ 87 h 169"/>
                <a:gd name="T62" fmla="*/ 156 w 173"/>
                <a:gd name="T63" fmla="*/ 71 h 169"/>
                <a:gd name="T64" fmla="*/ 173 w 173"/>
                <a:gd name="T65" fmla="*/ 70 h 169"/>
                <a:gd name="T66" fmla="*/ 171 w 173"/>
                <a:gd name="T67" fmla="*/ 70 h 169"/>
                <a:gd name="T68" fmla="*/ 165 w 173"/>
                <a:gd name="T69" fmla="*/ 62 h 169"/>
                <a:gd name="T70" fmla="*/ 158 w 173"/>
                <a:gd name="T71" fmla="*/ 56 h 169"/>
                <a:gd name="T72" fmla="*/ 148 w 173"/>
                <a:gd name="T73" fmla="*/ 50 h 169"/>
                <a:gd name="T74" fmla="*/ 148 w 173"/>
                <a:gd name="T75" fmla="*/ 41 h 169"/>
                <a:gd name="T76" fmla="*/ 158 w 173"/>
                <a:gd name="T77" fmla="*/ 18 h 169"/>
                <a:gd name="T78" fmla="*/ 148 w 173"/>
                <a:gd name="T79" fmla="*/ 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69">
                  <a:moveTo>
                    <a:pt x="142" y="18"/>
                  </a:moveTo>
                  <a:lnTo>
                    <a:pt x="131" y="16"/>
                  </a:lnTo>
                  <a:lnTo>
                    <a:pt x="131" y="10"/>
                  </a:lnTo>
                  <a:lnTo>
                    <a:pt x="108" y="2"/>
                  </a:lnTo>
                  <a:lnTo>
                    <a:pt x="104" y="8"/>
                  </a:lnTo>
                  <a:lnTo>
                    <a:pt x="96" y="2"/>
                  </a:lnTo>
                  <a:lnTo>
                    <a:pt x="91" y="10"/>
                  </a:lnTo>
                  <a:lnTo>
                    <a:pt x="75" y="6"/>
                  </a:lnTo>
                  <a:lnTo>
                    <a:pt x="73" y="4"/>
                  </a:lnTo>
                  <a:lnTo>
                    <a:pt x="66" y="2"/>
                  </a:lnTo>
                  <a:lnTo>
                    <a:pt x="64" y="6"/>
                  </a:lnTo>
                  <a:lnTo>
                    <a:pt x="62" y="6"/>
                  </a:lnTo>
                  <a:lnTo>
                    <a:pt x="54" y="0"/>
                  </a:lnTo>
                  <a:lnTo>
                    <a:pt x="46" y="4"/>
                  </a:lnTo>
                  <a:lnTo>
                    <a:pt x="33" y="2"/>
                  </a:lnTo>
                  <a:lnTo>
                    <a:pt x="23" y="18"/>
                  </a:lnTo>
                  <a:lnTo>
                    <a:pt x="16" y="12"/>
                  </a:lnTo>
                  <a:lnTo>
                    <a:pt x="12" y="4"/>
                  </a:lnTo>
                  <a:lnTo>
                    <a:pt x="4" y="4"/>
                  </a:lnTo>
                  <a:lnTo>
                    <a:pt x="0" y="14"/>
                  </a:lnTo>
                  <a:lnTo>
                    <a:pt x="2" y="27"/>
                  </a:lnTo>
                  <a:lnTo>
                    <a:pt x="0" y="31"/>
                  </a:lnTo>
                  <a:lnTo>
                    <a:pt x="6" y="37"/>
                  </a:lnTo>
                  <a:lnTo>
                    <a:pt x="10" y="37"/>
                  </a:lnTo>
                  <a:lnTo>
                    <a:pt x="14" y="46"/>
                  </a:lnTo>
                  <a:lnTo>
                    <a:pt x="18" y="50"/>
                  </a:lnTo>
                  <a:lnTo>
                    <a:pt x="23" y="60"/>
                  </a:lnTo>
                  <a:lnTo>
                    <a:pt x="19" y="70"/>
                  </a:lnTo>
                  <a:lnTo>
                    <a:pt x="25" y="70"/>
                  </a:lnTo>
                  <a:lnTo>
                    <a:pt x="29" y="77"/>
                  </a:lnTo>
                  <a:lnTo>
                    <a:pt x="39" y="81"/>
                  </a:lnTo>
                  <a:lnTo>
                    <a:pt x="46" y="95"/>
                  </a:lnTo>
                  <a:lnTo>
                    <a:pt x="58" y="108"/>
                  </a:lnTo>
                  <a:lnTo>
                    <a:pt x="71" y="116"/>
                  </a:lnTo>
                  <a:lnTo>
                    <a:pt x="75" y="127"/>
                  </a:lnTo>
                  <a:lnTo>
                    <a:pt x="91" y="139"/>
                  </a:lnTo>
                  <a:lnTo>
                    <a:pt x="92" y="144"/>
                  </a:lnTo>
                  <a:lnTo>
                    <a:pt x="89" y="146"/>
                  </a:lnTo>
                  <a:lnTo>
                    <a:pt x="92" y="150"/>
                  </a:lnTo>
                  <a:lnTo>
                    <a:pt x="94" y="148"/>
                  </a:lnTo>
                  <a:lnTo>
                    <a:pt x="98" y="148"/>
                  </a:lnTo>
                  <a:lnTo>
                    <a:pt x="102" y="154"/>
                  </a:lnTo>
                  <a:lnTo>
                    <a:pt x="112" y="158"/>
                  </a:lnTo>
                  <a:lnTo>
                    <a:pt x="121" y="166"/>
                  </a:lnTo>
                  <a:lnTo>
                    <a:pt x="125" y="166"/>
                  </a:lnTo>
                  <a:lnTo>
                    <a:pt x="129" y="169"/>
                  </a:lnTo>
                  <a:lnTo>
                    <a:pt x="135" y="164"/>
                  </a:lnTo>
                  <a:lnTo>
                    <a:pt x="127" y="152"/>
                  </a:lnTo>
                  <a:lnTo>
                    <a:pt x="129" y="143"/>
                  </a:lnTo>
                  <a:lnTo>
                    <a:pt x="131" y="141"/>
                  </a:lnTo>
                  <a:lnTo>
                    <a:pt x="135" y="137"/>
                  </a:lnTo>
                  <a:lnTo>
                    <a:pt x="137" y="123"/>
                  </a:lnTo>
                  <a:lnTo>
                    <a:pt x="146" y="116"/>
                  </a:lnTo>
                  <a:lnTo>
                    <a:pt x="152" y="123"/>
                  </a:lnTo>
                  <a:lnTo>
                    <a:pt x="154" y="118"/>
                  </a:lnTo>
                  <a:lnTo>
                    <a:pt x="146" y="106"/>
                  </a:lnTo>
                  <a:lnTo>
                    <a:pt x="148" y="102"/>
                  </a:lnTo>
                  <a:lnTo>
                    <a:pt x="152" y="106"/>
                  </a:lnTo>
                  <a:lnTo>
                    <a:pt x="158" y="104"/>
                  </a:lnTo>
                  <a:lnTo>
                    <a:pt x="164" y="98"/>
                  </a:lnTo>
                  <a:lnTo>
                    <a:pt x="171" y="100"/>
                  </a:lnTo>
                  <a:lnTo>
                    <a:pt x="169" y="87"/>
                  </a:lnTo>
                  <a:lnTo>
                    <a:pt x="158" y="75"/>
                  </a:lnTo>
                  <a:lnTo>
                    <a:pt x="156" y="71"/>
                  </a:lnTo>
                  <a:lnTo>
                    <a:pt x="169" y="75"/>
                  </a:lnTo>
                  <a:lnTo>
                    <a:pt x="173" y="70"/>
                  </a:lnTo>
                  <a:lnTo>
                    <a:pt x="171" y="68"/>
                  </a:lnTo>
                  <a:lnTo>
                    <a:pt x="171" y="70"/>
                  </a:lnTo>
                  <a:lnTo>
                    <a:pt x="167" y="66"/>
                  </a:lnTo>
                  <a:lnTo>
                    <a:pt x="165" y="62"/>
                  </a:lnTo>
                  <a:lnTo>
                    <a:pt x="160" y="60"/>
                  </a:lnTo>
                  <a:lnTo>
                    <a:pt x="158" y="56"/>
                  </a:lnTo>
                  <a:lnTo>
                    <a:pt x="152" y="54"/>
                  </a:lnTo>
                  <a:lnTo>
                    <a:pt x="148" y="50"/>
                  </a:lnTo>
                  <a:lnTo>
                    <a:pt x="150" y="45"/>
                  </a:lnTo>
                  <a:lnTo>
                    <a:pt x="148" y="41"/>
                  </a:lnTo>
                  <a:lnTo>
                    <a:pt x="156" y="27"/>
                  </a:lnTo>
                  <a:lnTo>
                    <a:pt x="158" y="18"/>
                  </a:lnTo>
                  <a:lnTo>
                    <a:pt x="156" y="16"/>
                  </a:lnTo>
                  <a:lnTo>
                    <a:pt x="148" y="14"/>
                  </a:lnTo>
                  <a:lnTo>
                    <a:pt x="142" y="1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96" name="Freeform 84"/>
            <p:cNvSpPr>
              <a:spLocks/>
            </p:cNvSpPr>
            <p:nvPr/>
          </p:nvSpPr>
          <p:spPr bwMode="auto">
            <a:xfrm>
              <a:off x="2598" y="2788"/>
              <a:ext cx="256" cy="228"/>
            </a:xfrm>
            <a:custGeom>
              <a:avLst/>
              <a:gdLst>
                <a:gd name="T0" fmla="*/ 189 w 256"/>
                <a:gd name="T1" fmla="*/ 221 h 228"/>
                <a:gd name="T2" fmla="*/ 156 w 256"/>
                <a:gd name="T3" fmla="*/ 190 h 228"/>
                <a:gd name="T4" fmla="*/ 127 w 256"/>
                <a:gd name="T5" fmla="*/ 159 h 228"/>
                <a:gd name="T6" fmla="*/ 121 w 256"/>
                <a:gd name="T7" fmla="*/ 142 h 228"/>
                <a:gd name="T8" fmla="*/ 108 w 256"/>
                <a:gd name="T9" fmla="*/ 119 h 228"/>
                <a:gd name="T10" fmla="*/ 100 w 256"/>
                <a:gd name="T11" fmla="*/ 109 h 228"/>
                <a:gd name="T12" fmla="*/ 110 w 256"/>
                <a:gd name="T13" fmla="*/ 86 h 228"/>
                <a:gd name="T14" fmla="*/ 131 w 256"/>
                <a:gd name="T15" fmla="*/ 84 h 228"/>
                <a:gd name="T16" fmla="*/ 160 w 256"/>
                <a:gd name="T17" fmla="*/ 88 h 228"/>
                <a:gd name="T18" fmla="*/ 171 w 256"/>
                <a:gd name="T19" fmla="*/ 86 h 228"/>
                <a:gd name="T20" fmla="*/ 194 w 256"/>
                <a:gd name="T21" fmla="*/ 84 h 228"/>
                <a:gd name="T22" fmla="*/ 229 w 256"/>
                <a:gd name="T23" fmla="*/ 92 h 228"/>
                <a:gd name="T24" fmla="*/ 239 w 256"/>
                <a:gd name="T25" fmla="*/ 98 h 228"/>
                <a:gd name="T26" fmla="*/ 244 w 256"/>
                <a:gd name="T27" fmla="*/ 80 h 228"/>
                <a:gd name="T28" fmla="*/ 254 w 256"/>
                <a:gd name="T29" fmla="*/ 75 h 228"/>
                <a:gd name="T30" fmla="*/ 235 w 256"/>
                <a:gd name="T31" fmla="*/ 67 h 228"/>
                <a:gd name="T32" fmla="*/ 240 w 256"/>
                <a:gd name="T33" fmla="*/ 57 h 228"/>
                <a:gd name="T34" fmla="*/ 231 w 256"/>
                <a:gd name="T35" fmla="*/ 55 h 228"/>
                <a:gd name="T36" fmla="*/ 233 w 256"/>
                <a:gd name="T37" fmla="*/ 42 h 228"/>
                <a:gd name="T38" fmla="*/ 219 w 256"/>
                <a:gd name="T39" fmla="*/ 32 h 228"/>
                <a:gd name="T40" fmla="*/ 198 w 256"/>
                <a:gd name="T41" fmla="*/ 44 h 228"/>
                <a:gd name="T42" fmla="*/ 177 w 256"/>
                <a:gd name="T43" fmla="*/ 40 h 228"/>
                <a:gd name="T44" fmla="*/ 154 w 256"/>
                <a:gd name="T45" fmla="*/ 21 h 228"/>
                <a:gd name="T46" fmla="*/ 140 w 256"/>
                <a:gd name="T47" fmla="*/ 7 h 228"/>
                <a:gd name="T48" fmla="*/ 119 w 256"/>
                <a:gd name="T49" fmla="*/ 0 h 228"/>
                <a:gd name="T50" fmla="*/ 112 w 256"/>
                <a:gd name="T51" fmla="*/ 7 h 228"/>
                <a:gd name="T52" fmla="*/ 106 w 256"/>
                <a:gd name="T53" fmla="*/ 15 h 228"/>
                <a:gd name="T54" fmla="*/ 91 w 256"/>
                <a:gd name="T55" fmla="*/ 21 h 228"/>
                <a:gd name="T56" fmla="*/ 94 w 256"/>
                <a:gd name="T57" fmla="*/ 46 h 228"/>
                <a:gd name="T58" fmla="*/ 77 w 256"/>
                <a:gd name="T59" fmla="*/ 55 h 228"/>
                <a:gd name="T60" fmla="*/ 77 w 256"/>
                <a:gd name="T61" fmla="*/ 61 h 228"/>
                <a:gd name="T62" fmla="*/ 62 w 256"/>
                <a:gd name="T63" fmla="*/ 67 h 228"/>
                <a:gd name="T64" fmla="*/ 52 w 256"/>
                <a:gd name="T65" fmla="*/ 67 h 228"/>
                <a:gd name="T66" fmla="*/ 39 w 256"/>
                <a:gd name="T67" fmla="*/ 71 h 228"/>
                <a:gd name="T68" fmla="*/ 21 w 256"/>
                <a:gd name="T69" fmla="*/ 69 h 228"/>
                <a:gd name="T70" fmla="*/ 10 w 256"/>
                <a:gd name="T71" fmla="*/ 75 h 228"/>
                <a:gd name="T72" fmla="*/ 2 w 256"/>
                <a:gd name="T73" fmla="*/ 82 h 228"/>
                <a:gd name="T74" fmla="*/ 19 w 256"/>
                <a:gd name="T75" fmla="*/ 119 h 228"/>
                <a:gd name="T76" fmla="*/ 35 w 256"/>
                <a:gd name="T77" fmla="*/ 82 h 228"/>
                <a:gd name="T78" fmla="*/ 56 w 256"/>
                <a:gd name="T79" fmla="*/ 96 h 228"/>
                <a:gd name="T80" fmla="*/ 46 w 256"/>
                <a:gd name="T81" fmla="*/ 94 h 228"/>
                <a:gd name="T82" fmla="*/ 41 w 256"/>
                <a:gd name="T83" fmla="*/ 107 h 228"/>
                <a:gd name="T84" fmla="*/ 39 w 256"/>
                <a:gd name="T85" fmla="*/ 125 h 228"/>
                <a:gd name="T86" fmla="*/ 42 w 256"/>
                <a:gd name="T87" fmla="*/ 104 h 228"/>
                <a:gd name="T88" fmla="*/ 56 w 256"/>
                <a:gd name="T89" fmla="*/ 100 h 228"/>
                <a:gd name="T90" fmla="*/ 62 w 256"/>
                <a:gd name="T91" fmla="*/ 119 h 228"/>
                <a:gd name="T92" fmla="*/ 73 w 256"/>
                <a:gd name="T93" fmla="*/ 144 h 228"/>
                <a:gd name="T94" fmla="*/ 66 w 256"/>
                <a:gd name="T95" fmla="*/ 128 h 228"/>
                <a:gd name="T96" fmla="*/ 87 w 256"/>
                <a:gd name="T97" fmla="*/ 150 h 228"/>
                <a:gd name="T98" fmla="*/ 75 w 256"/>
                <a:gd name="T99" fmla="*/ 152 h 228"/>
                <a:gd name="T100" fmla="*/ 77 w 256"/>
                <a:gd name="T101" fmla="*/ 175 h 228"/>
                <a:gd name="T102" fmla="*/ 73 w 256"/>
                <a:gd name="T103" fmla="*/ 161 h 228"/>
                <a:gd name="T104" fmla="*/ 96 w 256"/>
                <a:gd name="T105" fmla="*/ 175 h 228"/>
                <a:gd name="T106" fmla="*/ 102 w 256"/>
                <a:gd name="T107" fmla="*/ 182 h 228"/>
                <a:gd name="T108" fmla="*/ 110 w 256"/>
                <a:gd name="T109" fmla="*/ 192 h 228"/>
                <a:gd name="T110" fmla="*/ 154 w 256"/>
                <a:gd name="T111" fmla="*/ 202 h 228"/>
                <a:gd name="T112" fmla="*/ 127 w 256"/>
                <a:gd name="T113" fmla="*/ 203 h 228"/>
                <a:gd name="T114" fmla="*/ 167 w 256"/>
                <a:gd name="T115" fmla="*/ 219 h 228"/>
                <a:gd name="T116" fmla="*/ 131 w 256"/>
                <a:gd name="T117" fmla="*/ 219 h 228"/>
                <a:gd name="T118" fmla="*/ 187 w 256"/>
                <a:gd name="T11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6" h="228">
                  <a:moveTo>
                    <a:pt x="187" y="228"/>
                  </a:moveTo>
                  <a:lnTo>
                    <a:pt x="190" y="226"/>
                  </a:lnTo>
                  <a:lnTo>
                    <a:pt x="189" y="221"/>
                  </a:lnTo>
                  <a:lnTo>
                    <a:pt x="173" y="209"/>
                  </a:lnTo>
                  <a:lnTo>
                    <a:pt x="169" y="198"/>
                  </a:lnTo>
                  <a:lnTo>
                    <a:pt x="156" y="190"/>
                  </a:lnTo>
                  <a:lnTo>
                    <a:pt x="144" y="177"/>
                  </a:lnTo>
                  <a:lnTo>
                    <a:pt x="137" y="163"/>
                  </a:lnTo>
                  <a:lnTo>
                    <a:pt x="127" y="159"/>
                  </a:lnTo>
                  <a:lnTo>
                    <a:pt x="123" y="152"/>
                  </a:lnTo>
                  <a:lnTo>
                    <a:pt x="117" y="152"/>
                  </a:lnTo>
                  <a:lnTo>
                    <a:pt x="121" y="142"/>
                  </a:lnTo>
                  <a:lnTo>
                    <a:pt x="116" y="132"/>
                  </a:lnTo>
                  <a:lnTo>
                    <a:pt x="112" y="128"/>
                  </a:lnTo>
                  <a:lnTo>
                    <a:pt x="108" y="119"/>
                  </a:lnTo>
                  <a:lnTo>
                    <a:pt x="104" y="119"/>
                  </a:lnTo>
                  <a:lnTo>
                    <a:pt x="98" y="113"/>
                  </a:lnTo>
                  <a:lnTo>
                    <a:pt x="100" y="109"/>
                  </a:lnTo>
                  <a:lnTo>
                    <a:pt x="98" y="96"/>
                  </a:lnTo>
                  <a:lnTo>
                    <a:pt x="102" y="86"/>
                  </a:lnTo>
                  <a:lnTo>
                    <a:pt x="110" y="86"/>
                  </a:lnTo>
                  <a:lnTo>
                    <a:pt x="114" y="94"/>
                  </a:lnTo>
                  <a:lnTo>
                    <a:pt x="121" y="100"/>
                  </a:lnTo>
                  <a:lnTo>
                    <a:pt x="131" y="84"/>
                  </a:lnTo>
                  <a:lnTo>
                    <a:pt x="144" y="86"/>
                  </a:lnTo>
                  <a:lnTo>
                    <a:pt x="152" y="82"/>
                  </a:lnTo>
                  <a:lnTo>
                    <a:pt x="160" y="88"/>
                  </a:lnTo>
                  <a:lnTo>
                    <a:pt x="162" y="88"/>
                  </a:lnTo>
                  <a:lnTo>
                    <a:pt x="164" y="84"/>
                  </a:lnTo>
                  <a:lnTo>
                    <a:pt x="171" y="86"/>
                  </a:lnTo>
                  <a:lnTo>
                    <a:pt x="173" y="88"/>
                  </a:lnTo>
                  <a:lnTo>
                    <a:pt x="189" y="92"/>
                  </a:lnTo>
                  <a:lnTo>
                    <a:pt x="194" y="84"/>
                  </a:lnTo>
                  <a:lnTo>
                    <a:pt x="202" y="90"/>
                  </a:lnTo>
                  <a:lnTo>
                    <a:pt x="206" y="84"/>
                  </a:lnTo>
                  <a:lnTo>
                    <a:pt x="229" y="92"/>
                  </a:lnTo>
                  <a:lnTo>
                    <a:pt x="229" y="98"/>
                  </a:lnTo>
                  <a:lnTo>
                    <a:pt x="240" y="100"/>
                  </a:lnTo>
                  <a:lnTo>
                    <a:pt x="239" y="98"/>
                  </a:lnTo>
                  <a:lnTo>
                    <a:pt x="244" y="94"/>
                  </a:lnTo>
                  <a:lnTo>
                    <a:pt x="240" y="82"/>
                  </a:lnTo>
                  <a:lnTo>
                    <a:pt x="244" y="80"/>
                  </a:lnTo>
                  <a:lnTo>
                    <a:pt x="244" y="77"/>
                  </a:lnTo>
                  <a:lnTo>
                    <a:pt x="256" y="79"/>
                  </a:lnTo>
                  <a:lnTo>
                    <a:pt x="254" y="75"/>
                  </a:lnTo>
                  <a:lnTo>
                    <a:pt x="242" y="73"/>
                  </a:lnTo>
                  <a:lnTo>
                    <a:pt x="240" y="69"/>
                  </a:lnTo>
                  <a:lnTo>
                    <a:pt x="235" y="67"/>
                  </a:lnTo>
                  <a:lnTo>
                    <a:pt x="239" y="65"/>
                  </a:lnTo>
                  <a:lnTo>
                    <a:pt x="237" y="59"/>
                  </a:lnTo>
                  <a:lnTo>
                    <a:pt x="240" y="57"/>
                  </a:lnTo>
                  <a:lnTo>
                    <a:pt x="237" y="55"/>
                  </a:lnTo>
                  <a:lnTo>
                    <a:pt x="233" y="57"/>
                  </a:lnTo>
                  <a:lnTo>
                    <a:pt x="231" y="55"/>
                  </a:lnTo>
                  <a:lnTo>
                    <a:pt x="233" y="48"/>
                  </a:lnTo>
                  <a:lnTo>
                    <a:pt x="231" y="46"/>
                  </a:lnTo>
                  <a:lnTo>
                    <a:pt x="233" y="42"/>
                  </a:lnTo>
                  <a:lnTo>
                    <a:pt x="225" y="32"/>
                  </a:lnTo>
                  <a:lnTo>
                    <a:pt x="225" y="34"/>
                  </a:lnTo>
                  <a:lnTo>
                    <a:pt x="219" y="32"/>
                  </a:lnTo>
                  <a:lnTo>
                    <a:pt x="215" y="40"/>
                  </a:lnTo>
                  <a:lnTo>
                    <a:pt x="210" y="46"/>
                  </a:lnTo>
                  <a:lnTo>
                    <a:pt x="198" y="44"/>
                  </a:lnTo>
                  <a:lnTo>
                    <a:pt x="187" y="46"/>
                  </a:lnTo>
                  <a:lnTo>
                    <a:pt x="185" y="42"/>
                  </a:lnTo>
                  <a:lnTo>
                    <a:pt x="177" y="40"/>
                  </a:lnTo>
                  <a:lnTo>
                    <a:pt x="173" y="34"/>
                  </a:lnTo>
                  <a:lnTo>
                    <a:pt x="164" y="34"/>
                  </a:lnTo>
                  <a:lnTo>
                    <a:pt x="154" y="21"/>
                  </a:lnTo>
                  <a:lnTo>
                    <a:pt x="144" y="17"/>
                  </a:lnTo>
                  <a:lnTo>
                    <a:pt x="142" y="13"/>
                  </a:lnTo>
                  <a:lnTo>
                    <a:pt x="140" y="7"/>
                  </a:lnTo>
                  <a:lnTo>
                    <a:pt x="137" y="9"/>
                  </a:lnTo>
                  <a:lnTo>
                    <a:pt x="131" y="4"/>
                  </a:lnTo>
                  <a:lnTo>
                    <a:pt x="119" y="0"/>
                  </a:lnTo>
                  <a:lnTo>
                    <a:pt x="116" y="2"/>
                  </a:lnTo>
                  <a:lnTo>
                    <a:pt x="117" y="9"/>
                  </a:lnTo>
                  <a:lnTo>
                    <a:pt x="112" y="7"/>
                  </a:lnTo>
                  <a:lnTo>
                    <a:pt x="108" y="9"/>
                  </a:lnTo>
                  <a:lnTo>
                    <a:pt x="108" y="13"/>
                  </a:lnTo>
                  <a:lnTo>
                    <a:pt x="106" y="15"/>
                  </a:lnTo>
                  <a:lnTo>
                    <a:pt x="98" y="19"/>
                  </a:lnTo>
                  <a:lnTo>
                    <a:pt x="96" y="21"/>
                  </a:lnTo>
                  <a:lnTo>
                    <a:pt x="91" y="21"/>
                  </a:lnTo>
                  <a:lnTo>
                    <a:pt x="89" y="27"/>
                  </a:lnTo>
                  <a:lnTo>
                    <a:pt x="94" y="32"/>
                  </a:lnTo>
                  <a:lnTo>
                    <a:pt x="94" y="46"/>
                  </a:lnTo>
                  <a:lnTo>
                    <a:pt x="85" y="46"/>
                  </a:lnTo>
                  <a:lnTo>
                    <a:pt x="77" y="52"/>
                  </a:lnTo>
                  <a:lnTo>
                    <a:pt x="77" y="55"/>
                  </a:lnTo>
                  <a:lnTo>
                    <a:pt x="79" y="55"/>
                  </a:lnTo>
                  <a:lnTo>
                    <a:pt x="81" y="59"/>
                  </a:lnTo>
                  <a:lnTo>
                    <a:pt x="77" y="61"/>
                  </a:lnTo>
                  <a:lnTo>
                    <a:pt x="79" y="71"/>
                  </a:lnTo>
                  <a:lnTo>
                    <a:pt x="73" y="75"/>
                  </a:lnTo>
                  <a:lnTo>
                    <a:pt x="62" y="67"/>
                  </a:lnTo>
                  <a:lnTo>
                    <a:pt x="62" y="71"/>
                  </a:lnTo>
                  <a:lnTo>
                    <a:pt x="58" y="71"/>
                  </a:lnTo>
                  <a:lnTo>
                    <a:pt x="52" y="67"/>
                  </a:lnTo>
                  <a:lnTo>
                    <a:pt x="48" y="59"/>
                  </a:lnTo>
                  <a:lnTo>
                    <a:pt x="42" y="69"/>
                  </a:lnTo>
                  <a:lnTo>
                    <a:pt x="39" y="71"/>
                  </a:lnTo>
                  <a:lnTo>
                    <a:pt x="33" y="71"/>
                  </a:lnTo>
                  <a:lnTo>
                    <a:pt x="27" y="73"/>
                  </a:lnTo>
                  <a:lnTo>
                    <a:pt x="21" y="69"/>
                  </a:lnTo>
                  <a:lnTo>
                    <a:pt x="21" y="73"/>
                  </a:lnTo>
                  <a:lnTo>
                    <a:pt x="16" y="73"/>
                  </a:lnTo>
                  <a:lnTo>
                    <a:pt x="10" y="75"/>
                  </a:lnTo>
                  <a:lnTo>
                    <a:pt x="4" y="73"/>
                  </a:lnTo>
                  <a:lnTo>
                    <a:pt x="0" y="71"/>
                  </a:lnTo>
                  <a:lnTo>
                    <a:pt x="2" y="82"/>
                  </a:lnTo>
                  <a:lnTo>
                    <a:pt x="6" y="82"/>
                  </a:lnTo>
                  <a:lnTo>
                    <a:pt x="6" y="94"/>
                  </a:lnTo>
                  <a:lnTo>
                    <a:pt x="19" y="119"/>
                  </a:lnTo>
                  <a:lnTo>
                    <a:pt x="23" y="111"/>
                  </a:lnTo>
                  <a:lnTo>
                    <a:pt x="29" y="105"/>
                  </a:lnTo>
                  <a:lnTo>
                    <a:pt x="35" y="82"/>
                  </a:lnTo>
                  <a:lnTo>
                    <a:pt x="44" y="82"/>
                  </a:lnTo>
                  <a:lnTo>
                    <a:pt x="56" y="94"/>
                  </a:lnTo>
                  <a:lnTo>
                    <a:pt x="56" y="96"/>
                  </a:lnTo>
                  <a:lnTo>
                    <a:pt x="52" y="96"/>
                  </a:lnTo>
                  <a:lnTo>
                    <a:pt x="46" y="88"/>
                  </a:lnTo>
                  <a:lnTo>
                    <a:pt x="46" y="94"/>
                  </a:lnTo>
                  <a:lnTo>
                    <a:pt x="42" y="98"/>
                  </a:lnTo>
                  <a:lnTo>
                    <a:pt x="37" y="92"/>
                  </a:lnTo>
                  <a:lnTo>
                    <a:pt x="41" y="107"/>
                  </a:lnTo>
                  <a:lnTo>
                    <a:pt x="37" y="107"/>
                  </a:lnTo>
                  <a:lnTo>
                    <a:pt x="41" y="121"/>
                  </a:lnTo>
                  <a:lnTo>
                    <a:pt x="39" y="125"/>
                  </a:lnTo>
                  <a:lnTo>
                    <a:pt x="46" y="127"/>
                  </a:lnTo>
                  <a:lnTo>
                    <a:pt x="42" y="121"/>
                  </a:lnTo>
                  <a:lnTo>
                    <a:pt x="42" y="104"/>
                  </a:lnTo>
                  <a:lnTo>
                    <a:pt x="56" y="105"/>
                  </a:lnTo>
                  <a:lnTo>
                    <a:pt x="58" y="104"/>
                  </a:lnTo>
                  <a:lnTo>
                    <a:pt x="56" y="100"/>
                  </a:lnTo>
                  <a:lnTo>
                    <a:pt x="58" y="96"/>
                  </a:lnTo>
                  <a:lnTo>
                    <a:pt x="62" y="113"/>
                  </a:lnTo>
                  <a:lnTo>
                    <a:pt x="62" y="119"/>
                  </a:lnTo>
                  <a:lnTo>
                    <a:pt x="56" y="117"/>
                  </a:lnTo>
                  <a:lnTo>
                    <a:pt x="64" y="132"/>
                  </a:lnTo>
                  <a:lnTo>
                    <a:pt x="73" y="144"/>
                  </a:lnTo>
                  <a:lnTo>
                    <a:pt x="75" y="146"/>
                  </a:lnTo>
                  <a:lnTo>
                    <a:pt x="75" y="144"/>
                  </a:lnTo>
                  <a:lnTo>
                    <a:pt x="66" y="128"/>
                  </a:lnTo>
                  <a:lnTo>
                    <a:pt x="75" y="140"/>
                  </a:lnTo>
                  <a:lnTo>
                    <a:pt x="91" y="150"/>
                  </a:lnTo>
                  <a:lnTo>
                    <a:pt x="87" y="150"/>
                  </a:lnTo>
                  <a:lnTo>
                    <a:pt x="79" y="146"/>
                  </a:lnTo>
                  <a:lnTo>
                    <a:pt x="79" y="150"/>
                  </a:lnTo>
                  <a:lnTo>
                    <a:pt x="75" y="152"/>
                  </a:lnTo>
                  <a:lnTo>
                    <a:pt x="85" y="165"/>
                  </a:lnTo>
                  <a:lnTo>
                    <a:pt x="58" y="152"/>
                  </a:lnTo>
                  <a:lnTo>
                    <a:pt x="77" y="175"/>
                  </a:lnTo>
                  <a:lnTo>
                    <a:pt x="79" y="173"/>
                  </a:lnTo>
                  <a:lnTo>
                    <a:pt x="71" y="161"/>
                  </a:lnTo>
                  <a:lnTo>
                    <a:pt x="73" y="161"/>
                  </a:lnTo>
                  <a:lnTo>
                    <a:pt x="85" y="171"/>
                  </a:lnTo>
                  <a:lnTo>
                    <a:pt x="91" y="171"/>
                  </a:lnTo>
                  <a:lnTo>
                    <a:pt x="96" y="175"/>
                  </a:lnTo>
                  <a:lnTo>
                    <a:pt x="98" y="178"/>
                  </a:lnTo>
                  <a:lnTo>
                    <a:pt x="98" y="184"/>
                  </a:lnTo>
                  <a:lnTo>
                    <a:pt x="102" y="182"/>
                  </a:lnTo>
                  <a:lnTo>
                    <a:pt x="110" y="186"/>
                  </a:lnTo>
                  <a:lnTo>
                    <a:pt x="112" y="188"/>
                  </a:lnTo>
                  <a:lnTo>
                    <a:pt x="110" y="192"/>
                  </a:lnTo>
                  <a:lnTo>
                    <a:pt x="116" y="198"/>
                  </a:lnTo>
                  <a:lnTo>
                    <a:pt x="133" y="196"/>
                  </a:lnTo>
                  <a:lnTo>
                    <a:pt x="154" y="202"/>
                  </a:lnTo>
                  <a:lnTo>
                    <a:pt x="162" y="211"/>
                  </a:lnTo>
                  <a:lnTo>
                    <a:pt x="144" y="205"/>
                  </a:lnTo>
                  <a:lnTo>
                    <a:pt x="127" y="203"/>
                  </a:lnTo>
                  <a:lnTo>
                    <a:pt x="125" y="205"/>
                  </a:lnTo>
                  <a:lnTo>
                    <a:pt x="137" y="209"/>
                  </a:lnTo>
                  <a:lnTo>
                    <a:pt x="167" y="219"/>
                  </a:lnTo>
                  <a:lnTo>
                    <a:pt x="152" y="219"/>
                  </a:lnTo>
                  <a:lnTo>
                    <a:pt x="142" y="217"/>
                  </a:lnTo>
                  <a:lnTo>
                    <a:pt x="131" y="219"/>
                  </a:lnTo>
                  <a:lnTo>
                    <a:pt x="140" y="221"/>
                  </a:lnTo>
                  <a:lnTo>
                    <a:pt x="167" y="221"/>
                  </a:lnTo>
                  <a:lnTo>
                    <a:pt x="187" y="22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97" name="Freeform 85"/>
            <p:cNvSpPr>
              <a:spLocks/>
            </p:cNvSpPr>
            <p:nvPr/>
          </p:nvSpPr>
          <p:spPr bwMode="auto">
            <a:xfrm>
              <a:off x="2758" y="3013"/>
              <a:ext cx="71" cy="36"/>
            </a:xfrm>
            <a:custGeom>
              <a:avLst/>
              <a:gdLst>
                <a:gd name="T0" fmla="*/ 27 w 71"/>
                <a:gd name="T1" fmla="*/ 3 h 36"/>
                <a:gd name="T2" fmla="*/ 0 w 71"/>
                <a:gd name="T3" fmla="*/ 0 h 36"/>
                <a:gd name="T4" fmla="*/ 0 w 71"/>
                <a:gd name="T5" fmla="*/ 1 h 36"/>
                <a:gd name="T6" fmla="*/ 9 w 71"/>
                <a:gd name="T7" fmla="*/ 3 h 36"/>
                <a:gd name="T8" fmla="*/ 21 w 71"/>
                <a:gd name="T9" fmla="*/ 9 h 36"/>
                <a:gd name="T10" fmla="*/ 32 w 71"/>
                <a:gd name="T11" fmla="*/ 11 h 36"/>
                <a:gd name="T12" fmla="*/ 48 w 71"/>
                <a:gd name="T13" fmla="*/ 19 h 36"/>
                <a:gd name="T14" fmla="*/ 50 w 71"/>
                <a:gd name="T15" fmla="*/ 23 h 36"/>
                <a:gd name="T16" fmla="*/ 55 w 71"/>
                <a:gd name="T17" fmla="*/ 23 h 36"/>
                <a:gd name="T18" fmla="*/ 57 w 71"/>
                <a:gd name="T19" fmla="*/ 26 h 36"/>
                <a:gd name="T20" fmla="*/ 63 w 71"/>
                <a:gd name="T21" fmla="*/ 30 h 36"/>
                <a:gd name="T22" fmla="*/ 71 w 71"/>
                <a:gd name="T23" fmla="*/ 36 h 36"/>
                <a:gd name="T24" fmla="*/ 71 w 71"/>
                <a:gd name="T25" fmla="*/ 34 h 36"/>
                <a:gd name="T26" fmla="*/ 67 w 71"/>
                <a:gd name="T27" fmla="*/ 26 h 36"/>
                <a:gd name="T28" fmla="*/ 63 w 71"/>
                <a:gd name="T29" fmla="*/ 23 h 36"/>
                <a:gd name="T30" fmla="*/ 59 w 71"/>
                <a:gd name="T31" fmla="*/ 23 h 36"/>
                <a:gd name="T32" fmla="*/ 50 w 71"/>
                <a:gd name="T33" fmla="*/ 15 h 36"/>
                <a:gd name="T34" fmla="*/ 40 w 71"/>
                <a:gd name="T35" fmla="*/ 11 h 36"/>
                <a:gd name="T36" fmla="*/ 36 w 71"/>
                <a:gd name="T37" fmla="*/ 5 h 36"/>
                <a:gd name="T38" fmla="*/ 32 w 71"/>
                <a:gd name="T39" fmla="*/ 5 h 36"/>
                <a:gd name="T40" fmla="*/ 30 w 71"/>
                <a:gd name="T41" fmla="*/ 7 h 36"/>
                <a:gd name="T42" fmla="*/ 27 w 71"/>
                <a:gd name="T43"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 h="36">
                  <a:moveTo>
                    <a:pt x="27" y="3"/>
                  </a:moveTo>
                  <a:lnTo>
                    <a:pt x="0" y="0"/>
                  </a:lnTo>
                  <a:lnTo>
                    <a:pt x="0" y="1"/>
                  </a:lnTo>
                  <a:lnTo>
                    <a:pt x="9" y="3"/>
                  </a:lnTo>
                  <a:lnTo>
                    <a:pt x="21" y="9"/>
                  </a:lnTo>
                  <a:lnTo>
                    <a:pt x="32" y="11"/>
                  </a:lnTo>
                  <a:lnTo>
                    <a:pt x="48" y="19"/>
                  </a:lnTo>
                  <a:lnTo>
                    <a:pt x="50" y="23"/>
                  </a:lnTo>
                  <a:lnTo>
                    <a:pt x="55" y="23"/>
                  </a:lnTo>
                  <a:lnTo>
                    <a:pt x="57" y="26"/>
                  </a:lnTo>
                  <a:lnTo>
                    <a:pt x="63" y="30"/>
                  </a:lnTo>
                  <a:lnTo>
                    <a:pt x="71" y="36"/>
                  </a:lnTo>
                  <a:lnTo>
                    <a:pt x="71" y="34"/>
                  </a:lnTo>
                  <a:lnTo>
                    <a:pt x="67" y="26"/>
                  </a:lnTo>
                  <a:lnTo>
                    <a:pt x="63" y="23"/>
                  </a:lnTo>
                  <a:lnTo>
                    <a:pt x="59" y="23"/>
                  </a:lnTo>
                  <a:lnTo>
                    <a:pt x="50" y="15"/>
                  </a:lnTo>
                  <a:lnTo>
                    <a:pt x="40" y="11"/>
                  </a:lnTo>
                  <a:lnTo>
                    <a:pt x="36" y="5"/>
                  </a:lnTo>
                  <a:lnTo>
                    <a:pt x="32" y="5"/>
                  </a:lnTo>
                  <a:lnTo>
                    <a:pt x="30" y="7"/>
                  </a:lnTo>
                  <a:lnTo>
                    <a:pt x="27" y="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98" name="Freeform 86"/>
            <p:cNvSpPr>
              <a:spLocks/>
            </p:cNvSpPr>
            <p:nvPr/>
          </p:nvSpPr>
          <p:spPr bwMode="auto">
            <a:xfrm>
              <a:off x="2592" y="2767"/>
              <a:ext cx="137" cy="96"/>
            </a:xfrm>
            <a:custGeom>
              <a:avLst/>
              <a:gdLst>
                <a:gd name="T0" fmla="*/ 110 w 137"/>
                <a:gd name="T1" fmla="*/ 7 h 96"/>
                <a:gd name="T2" fmla="*/ 112 w 137"/>
                <a:gd name="T3" fmla="*/ 11 h 96"/>
                <a:gd name="T4" fmla="*/ 110 w 137"/>
                <a:gd name="T5" fmla="*/ 11 h 96"/>
                <a:gd name="T6" fmla="*/ 104 w 137"/>
                <a:gd name="T7" fmla="*/ 9 h 96"/>
                <a:gd name="T8" fmla="*/ 98 w 137"/>
                <a:gd name="T9" fmla="*/ 11 h 96"/>
                <a:gd name="T10" fmla="*/ 97 w 137"/>
                <a:gd name="T11" fmla="*/ 11 h 96"/>
                <a:gd name="T12" fmla="*/ 93 w 137"/>
                <a:gd name="T13" fmla="*/ 13 h 96"/>
                <a:gd name="T14" fmla="*/ 93 w 137"/>
                <a:gd name="T15" fmla="*/ 13 h 96"/>
                <a:gd name="T16" fmla="*/ 91 w 137"/>
                <a:gd name="T17" fmla="*/ 17 h 96"/>
                <a:gd name="T18" fmla="*/ 87 w 137"/>
                <a:gd name="T19" fmla="*/ 15 h 96"/>
                <a:gd name="T20" fmla="*/ 81 w 137"/>
                <a:gd name="T21" fmla="*/ 15 h 96"/>
                <a:gd name="T22" fmla="*/ 75 w 137"/>
                <a:gd name="T23" fmla="*/ 15 h 96"/>
                <a:gd name="T24" fmla="*/ 70 w 137"/>
                <a:gd name="T25" fmla="*/ 15 h 96"/>
                <a:gd name="T26" fmla="*/ 68 w 137"/>
                <a:gd name="T27" fmla="*/ 17 h 96"/>
                <a:gd name="T28" fmla="*/ 64 w 137"/>
                <a:gd name="T29" fmla="*/ 19 h 96"/>
                <a:gd name="T30" fmla="*/ 62 w 137"/>
                <a:gd name="T31" fmla="*/ 23 h 96"/>
                <a:gd name="T32" fmla="*/ 58 w 137"/>
                <a:gd name="T33" fmla="*/ 25 h 96"/>
                <a:gd name="T34" fmla="*/ 58 w 137"/>
                <a:gd name="T35" fmla="*/ 27 h 96"/>
                <a:gd name="T36" fmla="*/ 56 w 137"/>
                <a:gd name="T37" fmla="*/ 28 h 96"/>
                <a:gd name="T38" fmla="*/ 54 w 137"/>
                <a:gd name="T39" fmla="*/ 28 h 96"/>
                <a:gd name="T40" fmla="*/ 52 w 137"/>
                <a:gd name="T41" fmla="*/ 32 h 96"/>
                <a:gd name="T42" fmla="*/ 50 w 137"/>
                <a:gd name="T43" fmla="*/ 32 h 96"/>
                <a:gd name="T44" fmla="*/ 47 w 137"/>
                <a:gd name="T45" fmla="*/ 32 h 96"/>
                <a:gd name="T46" fmla="*/ 45 w 137"/>
                <a:gd name="T47" fmla="*/ 28 h 96"/>
                <a:gd name="T48" fmla="*/ 39 w 137"/>
                <a:gd name="T49" fmla="*/ 30 h 96"/>
                <a:gd name="T50" fmla="*/ 33 w 137"/>
                <a:gd name="T51" fmla="*/ 30 h 96"/>
                <a:gd name="T52" fmla="*/ 27 w 137"/>
                <a:gd name="T53" fmla="*/ 27 h 96"/>
                <a:gd name="T54" fmla="*/ 24 w 137"/>
                <a:gd name="T55" fmla="*/ 25 h 96"/>
                <a:gd name="T56" fmla="*/ 20 w 137"/>
                <a:gd name="T57" fmla="*/ 25 h 96"/>
                <a:gd name="T58" fmla="*/ 18 w 137"/>
                <a:gd name="T59" fmla="*/ 25 h 96"/>
                <a:gd name="T60" fmla="*/ 14 w 137"/>
                <a:gd name="T61" fmla="*/ 25 h 96"/>
                <a:gd name="T62" fmla="*/ 12 w 137"/>
                <a:gd name="T63" fmla="*/ 30 h 96"/>
                <a:gd name="T64" fmla="*/ 6 w 137"/>
                <a:gd name="T65" fmla="*/ 36 h 96"/>
                <a:gd name="T66" fmla="*/ 0 w 137"/>
                <a:gd name="T67" fmla="*/ 46 h 96"/>
                <a:gd name="T68" fmla="*/ 8 w 137"/>
                <a:gd name="T69" fmla="*/ 50 h 96"/>
                <a:gd name="T70" fmla="*/ 10 w 137"/>
                <a:gd name="T71" fmla="*/ 55 h 96"/>
                <a:gd name="T72" fmla="*/ 10 w 137"/>
                <a:gd name="T73" fmla="*/ 61 h 96"/>
                <a:gd name="T74" fmla="*/ 10 w 137"/>
                <a:gd name="T75" fmla="*/ 69 h 96"/>
                <a:gd name="T76" fmla="*/ 14 w 137"/>
                <a:gd name="T77" fmla="*/ 75 h 96"/>
                <a:gd name="T78" fmla="*/ 24 w 137"/>
                <a:gd name="T79" fmla="*/ 82 h 96"/>
                <a:gd name="T80" fmla="*/ 20 w 137"/>
                <a:gd name="T81" fmla="*/ 88 h 96"/>
                <a:gd name="T82" fmla="*/ 18 w 137"/>
                <a:gd name="T83" fmla="*/ 88 h 96"/>
                <a:gd name="T84" fmla="*/ 16 w 137"/>
                <a:gd name="T85" fmla="*/ 96 h 96"/>
                <a:gd name="T86" fmla="*/ 27 w 137"/>
                <a:gd name="T87" fmla="*/ 90 h 96"/>
                <a:gd name="T88" fmla="*/ 45 w 137"/>
                <a:gd name="T89" fmla="*/ 92 h 96"/>
                <a:gd name="T90" fmla="*/ 58 w 137"/>
                <a:gd name="T91" fmla="*/ 88 h 96"/>
                <a:gd name="T92" fmla="*/ 68 w 137"/>
                <a:gd name="T93" fmla="*/ 88 h 96"/>
                <a:gd name="T94" fmla="*/ 83 w 137"/>
                <a:gd name="T95" fmla="*/ 82 h 96"/>
                <a:gd name="T96" fmla="*/ 83 w 137"/>
                <a:gd name="T97" fmla="*/ 76 h 96"/>
                <a:gd name="T98" fmla="*/ 100 w 137"/>
                <a:gd name="T99" fmla="*/ 67 h 96"/>
                <a:gd name="T100" fmla="*/ 97 w 137"/>
                <a:gd name="T101" fmla="*/ 42 h 96"/>
                <a:gd name="T102" fmla="*/ 112 w 137"/>
                <a:gd name="T103" fmla="*/ 36 h 96"/>
                <a:gd name="T104" fmla="*/ 118 w 137"/>
                <a:gd name="T105" fmla="*/ 28 h 96"/>
                <a:gd name="T106" fmla="*/ 125 w 137"/>
                <a:gd name="T107" fmla="*/ 21 h 96"/>
                <a:gd name="T108" fmla="*/ 127 w 137"/>
                <a:gd name="T109" fmla="*/ 9 h 96"/>
                <a:gd name="T110" fmla="*/ 123 w 137"/>
                <a:gd name="T111" fmla="*/ 0 h 96"/>
                <a:gd name="T112" fmla="*/ 112 w 137"/>
                <a:gd name="T113"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7" h="96">
                  <a:moveTo>
                    <a:pt x="110" y="2"/>
                  </a:moveTo>
                  <a:lnTo>
                    <a:pt x="110" y="3"/>
                  </a:lnTo>
                  <a:lnTo>
                    <a:pt x="110" y="7"/>
                  </a:lnTo>
                  <a:lnTo>
                    <a:pt x="110" y="9"/>
                  </a:lnTo>
                  <a:lnTo>
                    <a:pt x="112" y="9"/>
                  </a:lnTo>
                  <a:lnTo>
                    <a:pt x="112" y="11"/>
                  </a:lnTo>
                  <a:lnTo>
                    <a:pt x="112" y="13"/>
                  </a:lnTo>
                  <a:lnTo>
                    <a:pt x="110" y="13"/>
                  </a:lnTo>
                  <a:lnTo>
                    <a:pt x="110" y="11"/>
                  </a:lnTo>
                  <a:lnTo>
                    <a:pt x="108" y="11"/>
                  </a:lnTo>
                  <a:lnTo>
                    <a:pt x="106" y="9"/>
                  </a:lnTo>
                  <a:lnTo>
                    <a:pt x="104" y="9"/>
                  </a:lnTo>
                  <a:lnTo>
                    <a:pt x="102" y="9"/>
                  </a:lnTo>
                  <a:lnTo>
                    <a:pt x="100" y="11"/>
                  </a:lnTo>
                  <a:lnTo>
                    <a:pt x="98" y="11"/>
                  </a:lnTo>
                  <a:lnTo>
                    <a:pt x="97" y="11"/>
                  </a:lnTo>
                  <a:lnTo>
                    <a:pt x="95" y="11"/>
                  </a:lnTo>
                  <a:lnTo>
                    <a:pt x="97" y="11"/>
                  </a:lnTo>
                  <a:lnTo>
                    <a:pt x="95" y="11"/>
                  </a:lnTo>
                  <a:lnTo>
                    <a:pt x="95" y="13"/>
                  </a:lnTo>
                  <a:lnTo>
                    <a:pt x="93" y="13"/>
                  </a:lnTo>
                  <a:lnTo>
                    <a:pt x="95" y="11"/>
                  </a:lnTo>
                  <a:lnTo>
                    <a:pt x="93" y="11"/>
                  </a:lnTo>
                  <a:lnTo>
                    <a:pt x="93" y="13"/>
                  </a:lnTo>
                  <a:lnTo>
                    <a:pt x="91" y="13"/>
                  </a:lnTo>
                  <a:lnTo>
                    <a:pt x="91" y="15"/>
                  </a:lnTo>
                  <a:lnTo>
                    <a:pt x="91" y="17"/>
                  </a:lnTo>
                  <a:lnTo>
                    <a:pt x="89" y="17"/>
                  </a:lnTo>
                  <a:lnTo>
                    <a:pt x="87" y="17"/>
                  </a:lnTo>
                  <a:lnTo>
                    <a:pt x="87" y="15"/>
                  </a:lnTo>
                  <a:lnTo>
                    <a:pt x="85" y="15"/>
                  </a:lnTo>
                  <a:lnTo>
                    <a:pt x="83" y="15"/>
                  </a:lnTo>
                  <a:lnTo>
                    <a:pt x="81" y="15"/>
                  </a:lnTo>
                  <a:lnTo>
                    <a:pt x="79" y="15"/>
                  </a:lnTo>
                  <a:lnTo>
                    <a:pt x="77" y="15"/>
                  </a:lnTo>
                  <a:lnTo>
                    <a:pt x="75" y="15"/>
                  </a:lnTo>
                  <a:lnTo>
                    <a:pt x="73" y="15"/>
                  </a:lnTo>
                  <a:lnTo>
                    <a:pt x="72" y="15"/>
                  </a:lnTo>
                  <a:lnTo>
                    <a:pt x="70" y="15"/>
                  </a:lnTo>
                  <a:lnTo>
                    <a:pt x="70" y="17"/>
                  </a:lnTo>
                  <a:lnTo>
                    <a:pt x="68" y="19"/>
                  </a:lnTo>
                  <a:lnTo>
                    <a:pt x="68" y="17"/>
                  </a:lnTo>
                  <a:lnTo>
                    <a:pt x="66" y="17"/>
                  </a:lnTo>
                  <a:lnTo>
                    <a:pt x="66" y="19"/>
                  </a:lnTo>
                  <a:lnTo>
                    <a:pt x="64" y="19"/>
                  </a:lnTo>
                  <a:lnTo>
                    <a:pt x="62" y="19"/>
                  </a:lnTo>
                  <a:lnTo>
                    <a:pt x="62" y="21"/>
                  </a:lnTo>
                  <a:lnTo>
                    <a:pt x="62" y="23"/>
                  </a:lnTo>
                  <a:lnTo>
                    <a:pt x="62" y="25"/>
                  </a:lnTo>
                  <a:lnTo>
                    <a:pt x="60" y="25"/>
                  </a:lnTo>
                  <a:lnTo>
                    <a:pt x="58" y="25"/>
                  </a:lnTo>
                  <a:lnTo>
                    <a:pt x="58" y="27"/>
                  </a:lnTo>
                  <a:lnTo>
                    <a:pt x="58" y="25"/>
                  </a:lnTo>
                  <a:lnTo>
                    <a:pt x="58" y="27"/>
                  </a:lnTo>
                  <a:lnTo>
                    <a:pt x="56" y="25"/>
                  </a:lnTo>
                  <a:lnTo>
                    <a:pt x="56" y="27"/>
                  </a:lnTo>
                  <a:lnTo>
                    <a:pt x="56" y="28"/>
                  </a:lnTo>
                  <a:lnTo>
                    <a:pt x="54" y="28"/>
                  </a:lnTo>
                  <a:lnTo>
                    <a:pt x="56" y="28"/>
                  </a:lnTo>
                  <a:lnTo>
                    <a:pt x="54" y="28"/>
                  </a:lnTo>
                  <a:lnTo>
                    <a:pt x="54" y="30"/>
                  </a:lnTo>
                  <a:lnTo>
                    <a:pt x="52" y="30"/>
                  </a:lnTo>
                  <a:lnTo>
                    <a:pt x="52" y="32"/>
                  </a:lnTo>
                  <a:lnTo>
                    <a:pt x="52" y="34"/>
                  </a:lnTo>
                  <a:lnTo>
                    <a:pt x="50" y="34"/>
                  </a:lnTo>
                  <a:lnTo>
                    <a:pt x="50" y="32"/>
                  </a:lnTo>
                  <a:lnTo>
                    <a:pt x="48" y="30"/>
                  </a:lnTo>
                  <a:lnTo>
                    <a:pt x="48" y="32"/>
                  </a:lnTo>
                  <a:lnTo>
                    <a:pt x="47" y="32"/>
                  </a:lnTo>
                  <a:lnTo>
                    <a:pt x="47" y="30"/>
                  </a:lnTo>
                  <a:lnTo>
                    <a:pt x="45" y="30"/>
                  </a:lnTo>
                  <a:lnTo>
                    <a:pt x="45" y="28"/>
                  </a:lnTo>
                  <a:lnTo>
                    <a:pt x="45" y="30"/>
                  </a:lnTo>
                  <a:lnTo>
                    <a:pt x="41" y="30"/>
                  </a:lnTo>
                  <a:lnTo>
                    <a:pt x="39" y="30"/>
                  </a:lnTo>
                  <a:lnTo>
                    <a:pt x="37" y="30"/>
                  </a:lnTo>
                  <a:lnTo>
                    <a:pt x="35" y="30"/>
                  </a:lnTo>
                  <a:lnTo>
                    <a:pt x="33" y="30"/>
                  </a:lnTo>
                  <a:lnTo>
                    <a:pt x="31" y="28"/>
                  </a:lnTo>
                  <a:lnTo>
                    <a:pt x="29" y="27"/>
                  </a:lnTo>
                  <a:lnTo>
                    <a:pt x="27" y="27"/>
                  </a:lnTo>
                  <a:lnTo>
                    <a:pt x="27" y="28"/>
                  </a:lnTo>
                  <a:lnTo>
                    <a:pt x="25" y="27"/>
                  </a:lnTo>
                  <a:lnTo>
                    <a:pt x="24" y="25"/>
                  </a:lnTo>
                  <a:lnTo>
                    <a:pt x="22" y="25"/>
                  </a:lnTo>
                  <a:lnTo>
                    <a:pt x="22" y="27"/>
                  </a:lnTo>
                  <a:lnTo>
                    <a:pt x="20" y="25"/>
                  </a:lnTo>
                  <a:lnTo>
                    <a:pt x="20" y="27"/>
                  </a:lnTo>
                  <a:lnTo>
                    <a:pt x="18" y="27"/>
                  </a:lnTo>
                  <a:lnTo>
                    <a:pt x="18" y="25"/>
                  </a:lnTo>
                  <a:lnTo>
                    <a:pt x="18" y="27"/>
                  </a:lnTo>
                  <a:lnTo>
                    <a:pt x="16" y="25"/>
                  </a:lnTo>
                  <a:lnTo>
                    <a:pt x="14" y="25"/>
                  </a:lnTo>
                  <a:lnTo>
                    <a:pt x="12" y="25"/>
                  </a:lnTo>
                  <a:lnTo>
                    <a:pt x="12" y="27"/>
                  </a:lnTo>
                  <a:lnTo>
                    <a:pt x="12" y="30"/>
                  </a:lnTo>
                  <a:lnTo>
                    <a:pt x="12" y="32"/>
                  </a:lnTo>
                  <a:lnTo>
                    <a:pt x="8" y="34"/>
                  </a:lnTo>
                  <a:lnTo>
                    <a:pt x="6" y="36"/>
                  </a:lnTo>
                  <a:lnTo>
                    <a:pt x="4" y="40"/>
                  </a:lnTo>
                  <a:lnTo>
                    <a:pt x="0" y="42"/>
                  </a:lnTo>
                  <a:lnTo>
                    <a:pt x="0" y="46"/>
                  </a:lnTo>
                  <a:lnTo>
                    <a:pt x="4" y="46"/>
                  </a:lnTo>
                  <a:lnTo>
                    <a:pt x="6" y="46"/>
                  </a:lnTo>
                  <a:lnTo>
                    <a:pt x="8" y="50"/>
                  </a:lnTo>
                  <a:lnTo>
                    <a:pt x="10" y="50"/>
                  </a:lnTo>
                  <a:lnTo>
                    <a:pt x="10" y="53"/>
                  </a:lnTo>
                  <a:lnTo>
                    <a:pt x="10" y="55"/>
                  </a:lnTo>
                  <a:lnTo>
                    <a:pt x="6" y="59"/>
                  </a:lnTo>
                  <a:lnTo>
                    <a:pt x="6" y="61"/>
                  </a:lnTo>
                  <a:lnTo>
                    <a:pt x="10" y="61"/>
                  </a:lnTo>
                  <a:lnTo>
                    <a:pt x="12" y="65"/>
                  </a:lnTo>
                  <a:lnTo>
                    <a:pt x="12" y="67"/>
                  </a:lnTo>
                  <a:lnTo>
                    <a:pt x="10" y="69"/>
                  </a:lnTo>
                  <a:lnTo>
                    <a:pt x="8" y="69"/>
                  </a:lnTo>
                  <a:lnTo>
                    <a:pt x="10" y="73"/>
                  </a:lnTo>
                  <a:lnTo>
                    <a:pt x="14" y="75"/>
                  </a:lnTo>
                  <a:lnTo>
                    <a:pt x="16" y="76"/>
                  </a:lnTo>
                  <a:lnTo>
                    <a:pt x="22" y="78"/>
                  </a:lnTo>
                  <a:lnTo>
                    <a:pt x="24" y="82"/>
                  </a:lnTo>
                  <a:lnTo>
                    <a:pt x="24" y="86"/>
                  </a:lnTo>
                  <a:lnTo>
                    <a:pt x="22" y="88"/>
                  </a:lnTo>
                  <a:lnTo>
                    <a:pt x="20" y="88"/>
                  </a:lnTo>
                  <a:lnTo>
                    <a:pt x="18" y="88"/>
                  </a:lnTo>
                  <a:lnTo>
                    <a:pt x="16" y="86"/>
                  </a:lnTo>
                  <a:lnTo>
                    <a:pt x="18" y="88"/>
                  </a:lnTo>
                  <a:lnTo>
                    <a:pt x="10" y="90"/>
                  </a:lnTo>
                  <a:lnTo>
                    <a:pt x="10" y="94"/>
                  </a:lnTo>
                  <a:lnTo>
                    <a:pt x="16" y="96"/>
                  </a:lnTo>
                  <a:lnTo>
                    <a:pt x="22" y="94"/>
                  </a:lnTo>
                  <a:lnTo>
                    <a:pt x="27" y="94"/>
                  </a:lnTo>
                  <a:lnTo>
                    <a:pt x="27" y="90"/>
                  </a:lnTo>
                  <a:lnTo>
                    <a:pt x="33" y="94"/>
                  </a:lnTo>
                  <a:lnTo>
                    <a:pt x="39" y="92"/>
                  </a:lnTo>
                  <a:lnTo>
                    <a:pt x="45" y="92"/>
                  </a:lnTo>
                  <a:lnTo>
                    <a:pt x="48" y="90"/>
                  </a:lnTo>
                  <a:lnTo>
                    <a:pt x="54" y="80"/>
                  </a:lnTo>
                  <a:lnTo>
                    <a:pt x="58" y="88"/>
                  </a:lnTo>
                  <a:lnTo>
                    <a:pt x="64" y="92"/>
                  </a:lnTo>
                  <a:lnTo>
                    <a:pt x="68" y="92"/>
                  </a:lnTo>
                  <a:lnTo>
                    <a:pt x="68" y="88"/>
                  </a:lnTo>
                  <a:lnTo>
                    <a:pt x="79" y="96"/>
                  </a:lnTo>
                  <a:lnTo>
                    <a:pt x="85" y="92"/>
                  </a:lnTo>
                  <a:lnTo>
                    <a:pt x="83" y="82"/>
                  </a:lnTo>
                  <a:lnTo>
                    <a:pt x="87" y="80"/>
                  </a:lnTo>
                  <a:lnTo>
                    <a:pt x="85" y="76"/>
                  </a:lnTo>
                  <a:lnTo>
                    <a:pt x="83" y="76"/>
                  </a:lnTo>
                  <a:lnTo>
                    <a:pt x="83" y="73"/>
                  </a:lnTo>
                  <a:lnTo>
                    <a:pt x="91" y="67"/>
                  </a:lnTo>
                  <a:lnTo>
                    <a:pt x="100" y="67"/>
                  </a:lnTo>
                  <a:lnTo>
                    <a:pt x="100" y="53"/>
                  </a:lnTo>
                  <a:lnTo>
                    <a:pt x="95" y="48"/>
                  </a:lnTo>
                  <a:lnTo>
                    <a:pt x="97" y="42"/>
                  </a:lnTo>
                  <a:lnTo>
                    <a:pt x="102" y="42"/>
                  </a:lnTo>
                  <a:lnTo>
                    <a:pt x="104" y="40"/>
                  </a:lnTo>
                  <a:lnTo>
                    <a:pt x="112" y="36"/>
                  </a:lnTo>
                  <a:lnTo>
                    <a:pt x="114" y="34"/>
                  </a:lnTo>
                  <a:lnTo>
                    <a:pt x="114" y="30"/>
                  </a:lnTo>
                  <a:lnTo>
                    <a:pt x="118" y="28"/>
                  </a:lnTo>
                  <a:lnTo>
                    <a:pt x="123" y="30"/>
                  </a:lnTo>
                  <a:lnTo>
                    <a:pt x="122" y="23"/>
                  </a:lnTo>
                  <a:lnTo>
                    <a:pt x="125" y="21"/>
                  </a:lnTo>
                  <a:lnTo>
                    <a:pt x="137" y="25"/>
                  </a:lnTo>
                  <a:lnTo>
                    <a:pt x="127" y="13"/>
                  </a:lnTo>
                  <a:lnTo>
                    <a:pt x="127" y="9"/>
                  </a:lnTo>
                  <a:lnTo>
                    <a:pt x="125" y="7"/>
                  </a:lnTo>
                  <a:lnTo>
                    <a:pt x="123" y="3"/>
                  </a:lnTo>
                  <a:lnTo>
                    <a:pt x="123" y="0"/>
                  </a:lnTo>
                  <a:lnTo>
                    <a:pt x="114" y="0"/>
                  </a:lnTo>
                  <a:lnTo>
                    <a:pt x="112" y="0"/>
                  </a:lnTo>
                  <a:lnTo>
                    <a:pt x="112" y="2"/>
                  </a:lnTo>
                  <a:lnTo>
                    <a:pt x="11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299" name="Freeform 87"/>
            <p:cNvSpPr>
              <a:spLocks/>
            </p:cNvSpPr>
            <p:nvPr/>
          </p:nvSpPr>
          <p:spPr bwMode="auto">
            <a:xfrm>
              <a:off x="2433" y="2628"/>
              <a:ext cx="313" cy="173"/>
            </a:xfrm>
            <a:custGeom>
              <a:avLst/>
              <a:gdLst>
                <a:gd name="T0" fmla="*/ 75 w 313"/>
                <a:gd name="T1" fmla="*/ 137 h 173"/>
                <a:gd name="T2" fmla="*/ 38 w 313"/>
                <a:gd name="T3" fmla="*/ 144 h 173"/>
                <a:gd name="T4" fmla="*/ 33 w 313"/>
                <a:gd name="T5" fmla="*/ 135 h 173"/>
                <a:gd name="T6" fmla="*/ 23 w 313"/>
                <a:gd name="T7" fmla="*/ 144 h 173"/>
                <a:gd name="T8" fmla="*/ 13 w 313"/>
                <a:gd name="T9" fmla="*/ 135 h 173"/>
                <a:gd name="T10" fmla="*/ 4 w 313"/>
                <a:gd name="T11" fmla="*/ 129 h 173"/>
                <a:gd name="T12" fmla="*/ 0 w 313"/>
                <a:gd name="T13" fmla="*/ 117 h 173"/>
                <a:gd name="T14" fmla="*/ 4 w 313"/>
                <a:gd name="T15" fmla="*/ 104 h 173"/>
                <a:gd name="T16" fmla="*/ 11 w 313"/>
                <a:gd name="T17" fmla="*/ 96 h 173"/>
                <a:gd name="T18" fmla="*/ 29 w 313"/>
                <a:gd name="T19" fmla="*/ 114 h 173"/>
                <a:gd name="T20" fmla="*/ 44 w 313"/>
                <a:gd name="T21" fmla="*/ 98 h 173"/>
                <a:gd name="T22" fmla="*/ 67 w 313"/>
                <a:gd name="T23" fmla="*/ 106 h 173"/>
                <a:gd name="T24" fmla="*/ 85 w 313"/>
                <a:gd name="T25" fmla="*/ 96 h 173"/>
                <a:gd name="T26" fmla="*/ 109 w 313"/>
                <a:gd name="T27" fmla="*/ 89 h 173"/>
                <a:gd name="T28" fmla="*/ 131 w 313"/>
                <a:gd name="T29" fmla="*/ 91 h 173"/>
                <a:gd name="T30" fmla="*/ 144 w 313"/>
                <a:gd name="T31" fmla="*/ 96 h 173"/>
                <a:gd name="T32" fmla="*/ 138 w 313"/>
                <a:gd name="T33" fmla="*/ 71 h 173"/>
                <a:gd name="T34" fmla="*/ 136 w 313"/>
                <a:gd name="T35" fmla="*/ 56 h 173"/>
                <a:gd name="T36" fmla="*/ 159 w 313"/>
                <a:gd name="T37" fmla="*/ 31 h 173"/>
                <a:gd name="T38" fmla="*/ 175 w 313"/>
                <a:gd name="T39" fmla="*/ 21 h 173"/>
                <a:gd name="T40" fmla="*/ 183 w 313"/>
                <a:gd name="T41" fmla="*/ 25 h 173"/>
                <a:gd name="T42" fmla="*/ 198 w 313"/>
                <a:gd name="T43" fmla="*/ 29 h 173"/>
                <a:gd name="T44" fmla="*/ 206 w 313"/>
                <a:gd name="T45" fmla="*/ 27 h 173"/>
                <a:gd name="T46" fmla="*/ 213 w 313"/>
                <a:gd name="T47" fmla="*/ 21 h 173"/>
                <a:gd name="T48" fmla="*/ 221 w 313"/>
                <a:gd name="T49" fmla="*/ 14 h 173"/>
                <a:gd name="T50" fmla="*/ 225 w 313"/>
                <a:gd name="T51" fmla="*/ 0 h 173"/>
                <a:gd name="T52" fmla="*/ 236 w 313"/>
                <a:gd name="T53" fmla="*/ 2 h 173"/>
                <a:gd name="T54" fmla="*/ 256 w 313"/>
                <a:gd name="T55" fmla="*/ 8 h 173"/>
                <a:gd name="T56" fmla="*/ 265 w 313"/>
                <a:gd name="T57" fmla="*/ 16 h 173"/>
                <a:gd name="T58" fmla="*/ 279 w 313"/>
                <a:gd name="T59" fmla="*/ 16 h 173"/>
                <a:gd name="T60" fmla="*/ 290 w 313"/>
                <a:gd name="T61" fmla="*/ 12 h 173"/>
                <a:gd name="T62" fmla="*/ 298 w 313"/>
                <a:gd name="T63" fmla="*/ 16 h 173"/>
                <a:gd name="T64" fmla="*/ 300 w 313"/>
                <a:gd name="T65" fmla="*/ 31 h 173"/>
                <a:gd name="T66" fmla="*/ 304 w 313"/>
                <a:gd name="T67" fmla="*/ 46 h 173"/>
                <a:gd name="T68" fmla="*/ 309 w 313"/>
                <a:gd name="T69" fmla="*/ 58 h 173"/>
                <a:gd name="T70" fmla="*/ 311 w 313"/>
                <a:gd name="T71" fmla="*/ 66 h 173"/>
                <a:gd name="T72" fmla="*/ 309 w 313"/>
                <a:gd name="T73" fmla="*/ 73 h 173"/>
                <a:gd name="T74" fmla="*/ 296 w 313"/>
                <a:gd name="T75" fmla="*/ 85 h 173"/>
                <a:gd name="T76" fmla="*/ 286 w 313"/>
                <a:gd name="T77" fmla="*/ 85 h 173"/>
                <a:gd name="T78" fmla="*/ 294 w 313"/>
                <a:gd name="T79" fmla="*/ 89 h 173"/>
                <a:gd name="T80" fmla="*/ 292 w 313"/>
                <a:gd name="T81" fmla="*/ 100 h 173"/>
                <a:gd name="T82" fmla="*/ 286 w 313"/>
                <a:gd name="T83" fmla="*/ 106 h 173"/>
                <a:gd name="T84" fmla="*/ 284 w 313"/>
                <a:gd name="T85" fmla="*/ 116 h 173"/>
                <a:gd name="T86" fmla="*/ 288 w 313"/>
                <a:gd name="T87" fmla="*/ 125 h 173"/>
                <a:gd name="T88" fmla="*/ 282 w 313"/>
                <a:gd name="T89" fmla="*/ 129 h 173"/>
                <a:gd name="T90" fmla="*/ 271 w 313"/>
                <a:gd name="T91" fmla="*/ 139 h 173"/>
                <a:gd name="T92" fmla="*/ 269 w 313"/>
                <a:gd name="T93" fmla="*/ 150 h 173"/>
                <a:gd name="T94" fmla="*/ 254 w 313"/>
                <a:gd name="T95" fmla="*/ 150 h 173"/>
                <a:gd name="T96" fmla="*/ 246 w 313"/>
                <a:gd name="T97" fmla="*/ 156 h 173"/>
                <a:gd name="T98" fmla="*/ 229 w 313"/>
                <a:gd name="T99" fmla="*/ 154 h 173"/>
                <a:gd name="T100" fmla="*/ 221 w 313"/>
                <a:gd name="T101" fmla="*/ 164 h 173"/>
                <a:gd name="T102" fmla="*/ 215 w 313"/>
                <a:gd name="T103" fmla="*/ 167 h 173"/>
                <a:gd name="T104" fmla="*/ 206 w 313"/>
                <a:gd name="T105" fmla="*/ 171 h 173"/>
                <a:gd name="T106" fmla="*/ 190 w 313"/>
                <a:gd name="T107" fmla="*/ 167 h 173"/>
                <a:gd name="T108" fmla="*/ 177 w 313"/>
                <a:gd name="T109" fmla="*/ 166 h 173"/>
                <a:gd name="T110" fmla="*/ 158 w 313"/>
                <a:gd name="T111" fmla="*/ 162 h 173"/>
                <a:gd name="T112" fmla="*/ 115 w 313"/>
                <a:gd name="T113" fmla="*/ 15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3" h="173">
                  <a:moveTo>
                    <a:pt x="111" y="129"/>
                  </a:moveTo>
                  <a:lnTo>
                    <a:pt x="108" y="127"/>
                  </a:lnTo>
                  <a:lnTo>
                    <a:pt x="104" y="127"/>
                  </a:lnTo>
                  <a:lnTo>
                    <a:pt x="100" y="129"/>
                  </a:lnTo>
                  <a:lnTo>
                    <a:pt x="92" y="135"/>
                  </a:lnTo>
                  <a:lnTo>
                    <a:pt x="90" y="137"/>
                  </a:lnTo>
                  <a:lnTo>
                    <a:pt x="86" y="135"/>
                  </a:lnTo>
                  <a:lnTo>
                    <a:pt x="79" y="133"/>
                  </a:lnTo>
                  <a:lnTo>
                    <a:pt x="77" y="135"/>
                  </a:lnTo>
                  <a:lnTo>
                    <a:pt x="75" y="137"/>
                  </a:lnTo>
                  <a:lnTo>
                    <a:pt x="69" y="137"/>
                  </a:lnTo>
                  <a:lnTo>
                    <a:pt x="63" y="141"/>
                  </a:lnTo>
                  <a:lnTo>
                    <a:pt x="61" y="146"/>
                  </a:lnTo>
                  <a:lnTo>
                    <a:pt x="58" y="146"/>
                  </a:lnTo>
                  <a:lnTo>
                    <a:pt x="54" y="146"/>
                  </a:lnTo>
                  <a:lnTo>
                    <a:pt x="50" y="144"/>
                  </a:lnTo>
                  <a:lnTo>
                    <a:pt x="46" y="142"/>
                  </a:lnTo>
                  <a:lnTo>
                    <a:pt x="44" y="142"/>
                  </a:lnTo>
                  <a:lnTo>
                    <a:pt x="42" y="144"/>
                  </a:lnTo>
                  <a:lnTo>
                    <a:pt x="38" y="144"/>
                  </a:lnTo>
                  <a:lnTo>
                    <a:pt x="38" y="142"/>
                  </a:lnTo>
                  <a:lnTo>
                    <a:pt x="36" y="141"/>
                  </a:lnTo>
                  <a:lnTo>
                    <a:pt x="38" y="141"/>
                  </a:lnTo>
                  <a:lnTo>
                    <a:pt x="38" y="139"/>
                  </a:lnTo>
                  <a:lnTo>
                    <a:pt x="38" y="137"/>
                  </a:lnTo>
                  <a:lnTo>
                    <a:pt x="36" y="137"/>
                  </a:lnTo>
                  <a:lnTo>
                    <a:pt x="36" y="135"/>
                  </a:lnTo>
                  <a:lnTo>
                    <a:pt x="35" y="135"/>
                  </a:lnTo>
                  <a:lnTo>
                    <a:pt x="35" y="133"/>
                  </a:lnTo>
                  <a:lnTo>
                    <a:pt x="33" y="135"/>
                  </a:lnTo>
                  <a:lnTo>
                    <a:pt x="33" y="137"/>
                  </a:lnTo>
                  <a:lnTo>
                    <a:pt x="31" y="137"/>
                  </a:lnTo>
                  <a:lnTo>
                    <a:pt x="31" y="139"/>
                  </a:lnTo>
                  <a:lnTo>
                    <a:pt x="29" y="139"/>
                  </a:lnTo>
                  <a:lnTo>
                    <a:pt x="27" y="139"/>
                  </a:lnTo>
                  <a:lnTo>
                    <a:pt x="27" y="141"/>
                  </a:lnTo>
                  <a:lnTo>
                    <a:pt x="27" y="142"/>
                  </a:lnTo>
                  <a:lnTo>
                    <a:pt x="25" y="142"/>
                  </a:lnTo>
                  <a:lnTo>
                    <a:pt x="23" y="142"/>
                  </a:lnTo>
                  <a:lnTo>
                    <a:pt x="23" y="144"/>
                  </a:lnTo>
                  <a:lnTo>
                    <a:pt x="21" y="142"/>
                  </a:lnTo>
                  <a:lnTo>
                    <a:pt x="19" y="142"/>
                  </a:lnTo>
                  <a:lnTo>
                    <a:pt x="19" y="141"/>
                  </a:lnTo>
                  <a:lnTo>
                    <a:pt x="21" y="141"/>
                  </a:lnTo>
                  <a:lnTo>
                    <a:pt x="19" y="141"/>
                  </a:lnTo>
                  <a:lnTo>
                    <a:pt x="19" y="139"/>
                  </a:lnTo>
                  <a:lnTo>
                    <a:pt x="17" y="139"/>
                  </a:lnTo>
                  <a:lnTo>
                    <a:pt x="15" y="139"/>
                  </a:lnTo>
                  <a:lnTo>
                    <a:pt x="13" y="137"/>
                  </a:lnTo>
                  <a:lnTo>
                    <a:pt x="13" y="135"/>
                  </a:lnTo>
                  <a:lnTo>
                    <a:pt x="13" y="133"/>
                  </a:lnTo>
                  <a:lnTo>
                    <a:pt x="13" y="131"/>
                  </a:lnTo>
                  <a:lnTo>
                    <a:pt x="11" y="131"/>
                  </a:lnTo>
                  <a:lnTo>
                    <a:pt x="11" y="133"/>
                  </a:lnTo>
                  <a:lnTo>
                    <a:pt x="11" y="131"/>
                  </a:lnTo>
                  <a:lnTo>
                    <a:pt x="10" y="131"/>
                  </a:lnTo>
                  <a:lnTo>
                    <a:pt x="8" y="131"/>
                  </a:lnTo>
                  <a:lnTo>
                    <a:pt x="8" y="129"/>
                  </a:lnTo>
                  <a:lnTo>
                    <a:pt x="6" y="129"/>
                  </a:lnTo>
                  <a:lnTo>
                    <a:pt x="4" y="129"/>
                  </a:lnTo>
                  <a:lnTo>
                    <a:pt x="2" y="129"/>
                  </a:lnTo>
                  <a:lnTo>
                    <a:pt x="2" y="127"/>
                  </a:lnTo>
                  <a:lnTo>
                    <a:pt x="4" y="127"/>
                  </a:lnTo>
                  <a:lnTo>
                    <a:pt x="4" y="125"/>
                  </a:lnTo>
                  <a:lnTo>
                    <a:pt x="4" y="123"/>
                  </a:lnTo>
                  <a:lnTo>
                    <a:pt x="2" y="123"/>
                  </a:lnTo>
                  <a:lnTo>
                    <a:pt x="2" y="121"/>
                  </a:lnTo>
                  <a:lnTo>
                    <a:pt x="2" y="119"/>
                  </a:lnTo>
                  <a:lnTo>
                    <a:pt x="2" y="117"/>
                  </a:lnTo>
                  <a:lnTo>
                    <a:pt x="0" y="117"/>
                  </a:lnTo>
                  <a:lnTo>
                    <a:pt x="2" y="117"/>
                  </a:lnTo>
                  <a:lnTo>
                    <a:pt x="0" y="116"/>
                  </a:lnTo>
                  <a:lnTo>
                    <a:pt x="0" y="114"/>
                  </a:lnTo>
                  <a:lnTo>
                    <a:pt x="2" y="112"/>
                  </a:lnTo>
                  <a:lnTo>
                    <a:pt x="2" y="110"/>
                  </a:lnTo>
                  <a:lnTo>
                    <a:pt x="4" y="108"/>
                  </a:lnTo>
                  <a:lnTo>
                    <a:pt x="6" y="108"/>
                  </a:lnTo>
                  <a:lnTo>
                    <a:pt x="6" y="106"/>
                  </a:lnTo>
                  <a:lnTo>
                    <a:pt x="4" y="106"/>
                  </a:lnTo>
                  <a:lnTo>
                    <a:pt x="4" y="104"/>
                  </a:lnTo>
                  <a:lnTo>
                    <a:pt x="6" y="104"/>
                  </a:lnTo>
                  <a:lnTo>
                    <a:pt x="4" y="102"/>
                  </a:lnTo>
                  <a:lnTo>
                    <a:pt x="2" y="102"/>
                  </a:lnTo>
                  <a:lnTo>
                    <a:pt x="2" y="100"/>
                  </a:lnTo>
                  <a:lnTo>
                    <a:pt x="8" y="98"/>
                  </a:lnTo>
                  <a:lnTo>
                    <a:pt x="8" y="96"/>
                  </a:lnTo>
                  <a:lnTo>
                    <a:pt x="10" y="94"/>
                  </a:lnTo>
                  <a:lnTo>
                    <a:pt x="11" y="94"/>
                  </a:lnTo>
                  <a:lnTo>
                    <a:pt x="13" y="94"/>
                  </a:lnTo>
                  <a:lnTo>
                    <a:pt x="11" y="96"/>
                  </a:lnTo>
                  <a:lnTo>
                    <a:pt x="13" y="98"/>
                  </a:lnTo>
                  <a:lnTo>
                    <a:pt x="19" y="98"/>
                  </a:lnTo>
                  <a:lnTo>
                    <a:pt x="19" y="102"/>
                  </a:lnTo>
                  <a:lnTo>
                    <a:pt x="21" y="102"/>
                  </a:lnTo>
                  <a:lnTo>
                    <a:pt x="25" y="106"/>
                  </a:lnTo>
                  <a:lnTo>
                    <a:pt x="23" y="106"/>
                  </a:lnTo>
                  <a:lnTo>
                    <a:pt x="23" y="110"/>
                  </a:lnTo>
                  <a:lnTo>
                    <a:pt x="27" y="108"/>
                  </a:lnTo>
                  <a:lnTo>
                    <a:pt x="31" y="108"/>
                  </a:lnTo>
                  <a:lnTo>
                    <a:pt x="29" y="114"/>
                  </a:lnTo>
                  <a:lnTo>
                    <a:pt x="27" y="116"/>
                  </a:lnTo>
                  <a:lnTo>
                    <a:pt x="29" y="116"/>
                  </a:lnTo>
                  <a:lnTo>
                    <a:pt x="35" y="114"/>
                  </a:lnTo>
                  <a:lnTo>
                    <a:pt x="40" y="106"/>
                  </a:lnTo>
                  <a:lnTo>
                    <a:pt x="38" y="100"/>
                  </a:lnTo>
                  <a:lnTo>
                    <a:pt x="38" y="96"/>
                  </a:lnTo>
                  <a:lnTo>
                    <a:pt x="40" y="96"/>
                  </a:lnTo>
                  <a:lnTo>
                    <a:pt x="40" y="98"/>
                  </a:lnTo>
                  <a:lnTo>
                    <a:pt x="44" y="100"/>
                  </a:lnTo>
                  <a:lnTo>
                    <a:pt x="44" y="98"/>
                  </a:lnTo>
                  <a:lnTo>
                    <a:pt x="48" y="98"/>
                  </a:lnTo>
                  <a:lnTo>
                    <a:pt x="52" y="100"/>
                  </a:lnTo>
                  <a:lnTo>
                    <a:pt x="56" y="100"/>
                  </a:lnTo>
                  <a:lnTo>
                    <a:pt x="58" y="100"/>
                  </a:lnTo>
                  <a:lnTo>
                    <a:pt x="56" y="102"/>
                  </a:lnTo>
                  <a:lnTo>
                    <a:pt x="58" y="102"/>
                  </a:lnTo>
                  <a:lnTo>
                    <a:pt x="60" y="106"/>
                  </a:lnTo>
                  <a:lnTo>
                    <a:pt x="60" y="108"/>
                  </a:lnTo>
                  <a:lnTo>
                    <a:pt x="65" y="106"/>
                  </a:lnTo>
                  <a:lnTo>
                    <a:pt x="67" y="106"/>
                  </a:lnTo>
                  <a:lnTo>
                    <a:pt x="69" y="104"/>
                  </a:lnTo>
                  <a:lnTo>
                    <a:pt x="69" y="106"/>
                  </a:lnTo>
                  <a:lnTo>
                    <a:pt x="71" y="106"/>
                  </a:lnTo>
                  <a:lnTo>
                    <a:pt x="73" y="104"/>
                  </a:lnTo>
                  <a:lnTo>
                    <a:pt x="77" y="104"/>
                  </a:lnTo>
                  <a:lnTo>
                    <a:pt x="77" y="102"/>
                  </a:lnTo>
                  <a:lnTo>
                    <a:pt x="77" y="100"/>
                  </a:lnTo>
                  <a:lnTo>
                    <a:pt x="79" y="100"/>
                  </a:lnTo>
                  <a:lnTo>
                    <a:pt x="85" y="98"/>
                  </a:lnTo>
                  <a:lnTo>
                    <a:pt x="85" y="96"/>
                  </a:lnTo>
                  <a:lnTo>
                    <a:pt x="86" y="94"/>
                  </a:lnTo>
                  <a:lnTo>
                    <a:pt x="88" y="94"/>
                  </a:lnTo>
                  <a:lnTo>
                    <a:pt x="92" y="94"/>
                  </a:lnTo>
                  <a:lnTo>
                    <a:pt x="96" y="96"/>
                  </a:lnTo>
                  <a:lnTo>
                    <a:pt x="96" y="94"/>
                  </a:lnTo>
                  <a:lnTo>
                    <a:pt x="102" y="93"/>
                  </a:lnTo>
                  <a:lnTo>
                    <a:pt x="104" y="93"/>
                  </a:lnTo>
                  <a:lnTo>
                    <a:pt x="109" y="94"/>
                  </a:lnTo>
                  <a:lnTo>
                    <a:pt x="109" y="93"/>
                  </a:lnTo>
                  <a:lnTo>
                    <a:pt x="109" y="89"/>
                  </a:lnTo>
                  <a:lnTo>
                    <a:pt x="111" y="85"/>
                  </a:lnTo>
                  <a:lnTo>
                    <a:pt x="111" y="89"/>
                  </a:lnTo>
                  <a:lnTo>
                    <a:pt x="115" y="89"/>
                  </a:lnTo>
                  <a:lnTo>
                    <a:pt x="117" y="89"/>
                  </a:lnTo>
                  <a:lnTo>
                    <a:pt x="119" y="89"/>
                  </a:lnTo>
                  <a:lnTo>
                    <a:pt x="121" y="91"/>
                  </a:lnTo>
                  <a:lnTo>
                    <a:pt x="123" y="94"/>
                  </a:lnTo>
                  <a:lnTo>
                    <a:pt x="125" y="93"/>
                  </a:lnTo>
                  <a:lnTo>
                    <a:pt x="127" y="91"/>
                  </a:lnTo>
                  <a:lnTo>
                    <a:pt x="131" y="91"/>
                  </a:lnTo>
                  <a:lnTo>
                    <a:pt x="133" y="91"/>
                  </a:lnTo>
                  <a:lnTo>
                    <a:pt x="133" y="93"/>
                  </a:lnTo>
                  <a:lnTo>
                    <a:pt x="134" y="96"/>
                  </a:lnTo>
                  <a:lnTo>
                    <a:pt x="133" y="98"/>
                  </a:lnTo>
                  <a:lnTo>
                    <a:pt x="134" y="100"/>
                  </a:lnTo>
                  <a:lnTo>
                    <a:pt x="136" y="100"/>
                  </a:lnTo>
                  <a:lnTo>
                    <a:pt x="142" y="104"/>
                  </a:lnTo>
                  <a:lnTo>
                    <a:pt x="144" y="104"/>
                  </a:lnTo>
                  <a:lnTo>
                    <a:pt x="146" y="102"/>
                  </a:lnTo>
                  <a:lnTo>
                    <a:pt x="144" y="96"/>
                  </a:lnTo>
                  <a:lnTo>
                    <a:pt x="146" y="93"/>
                  </a:lnTo>
                  <a:lnTo>
                    <a:pt x="146" y="89"/>
                  </a:lnTo>
                  <a:lnTo>
                    <a:pt x="142" y="87"/>
                  </a:lnTo>
                  <a:lnTo>
                    <a:pt x="142" y="89"/>
                  </a:lnTo>
                  <a:lnTo>
                    <a:pt x="138" y="89"/>
                  </a:lnTo>
                  <a:lnTo>
                    <a:pt x="138" y="87"/>
                  </a:lnTo>
                  <a:lnTo>
                    <a:pt x="140" y="85"/>
                  </a:lnTo>
                  <a:lnTo>
                    <a:pt x="138" y="85"/>
                  </a:lnTo>
                  <a:lnTo>
                    <a:pt x="142" y="79"/>
                  </a:lnTo>
                  <a:lnTo>
                    <a:pt x="138" y="71"/>
                  </a:lnTo>
                  <a:lnTo>
                    <a:pt x="136" y="71"/>
                  </a:lnTo>
                  <a:lnTo>
                    <a:pt x="136" y="69"/>
                  </a:lnTo>
                  <a:lnTo>
                    <a:pt x="136" y="68"/>
                  </a:lnTo>
                  <a:lnTo>
                    <a:pt x="134" y="66"/>
                  </a:lnTo>
                  <a:lnTo>
                    <a:pt x="133" y="64"/>
                  </a:lnTo>
                  <a:lnTo>
                    <a:pt x="133" y="62"/>
                  </a:lnTo>
                  <a:lnTo>
                    <a:pt x="133" y="60"/>
                  </a:lnTo>
                  <a:lnTo>
                    <a:pt x="134" y="60"/>
                  </a:lnTo>
                  <a:lnTo>
                    <a:pt x="136" y="58"/>
                  </a:lnTo>
                  <a:lnTo>
                    <a:pt x="136" y="56"/>
                  </a:lnTo>
                  <a:lnTo>
                    <a:pt x="140" y="56"/>
                  </a:lnTo>
                  <a:lnTo>
                    <a:pt x="142" y="54"/>
                  </a:lnTo>
                  <a:lnTo>
                    <a:pt x="144" y="52"/>
                  </a:lnTo>
                  <a:lnTo>
                    <a:pt x="150" y="50"/>
                  </a:lnTo>
                  <a:lnTo>
                    <a:pt x="152" y="50"/>
                  </a:lnTo>
                  <a:lnTo>
                    <a:pt x="156" y="48"/>
                  </a:lnTo>
                  <a:lnTo>
                    <a:pt x="158" y="44"/>
                  </a:lnTo>
                  <a:lnTo>
                    <a:pt x="159" y="41"/>
                  </a:lnTo>
                  <a:lnTo>
                    <a:pt x="161" y="35"/>
                  </a:lnTo>
                  <a:lnTo>
                    <a:pt x="159" y="31"/>
                  </a:lnTo>
                  <a:lnTo>
                    <a:pt x="161" y="31"/>
                  </a:lnTo>
                  <a:lnTo>
                    <a:pt x="163" y="29"/>
                  </a:lnTo>
                  <a:lnTo>
                    <a:pt x="165" y="31"/>
                  </a:lnTo>
                  <a:lnTo>
                    <a:pt x="167" y="31"/>
                  </a:lnTo>
                  <a:lnTo>
                    <a:pt x="171" y="35"/>
                  </a:lnTo>
                  <a:lnTo>
                    <a:pt x="173" y="31"/>
                  </a:lnTo>
                  <a:lnTo>
                    <a:pt x="175" y="31"/>
                  </a:lnTo>
                  <a:lnTo>
                    <a:pt x="175" y="29"/>
                  </a:lnTo>
                  <a:lnTo>
                    <a:pt x="177" y="21"/>
                  </a:lnTo>
                  <a:lnTo>
                    <a:pt x="175" y="21"/>
                  </a:lnTo>
                  <a:lnTo>
                    <a:pt x="177" y="18"/>
                  </a:lnTo>
                  <a:lnTo>
                    <a:pt x="179" y="19"/>
                  </a:lnTo>
                  <a:lnTo>
                    <a:pt x="181" y="21"/>
                  </a:lnTo>
                  <a:lnTo>
                    <a:pt x="183" y="21"/>
                  </a:lnTo>
                  <a:lnTo>
                    <a:pt x="183" y="23"/>
                  </a:lnTo>
                  <a:lnTo>
                    <a:pt x="184" y="23"/>
                  </a:lnTo>
                  <a:lnTo>
                    <a:pt x="183" y="23"/>
                  </a:lnTo>
                  <a:lnTo>
                    <a:pt x="184" y="23"/>
                  </a:lnTo>
                  <a:lnTo>
                    <a:pt x="184" y="25"/>
                  </a:lnTo>
                  <a:lnTo>
                    <a:pt x="183" y="25"/>
                  </a:lnTo>
                  <a:lnTo>
                    <a:pt x="184" y="27"/>
                  </a:lnTo>
                  <a:lnTo>
                    <a:pt x="184" y="29"/>
                  </a:lnTo>
                  <a:lnTo>
                    <a:pt x="186" y="29"/>
                  </a:lnTo>
                  <a:lnTo>
                    <a:pt x="188" y="29"/>
                  </a:lnTo>
                  <a:lnTo>
                    <a:pt x="190" y="29"/>
                  </a:lnTo>
                  <a:lnTo>
                    <a:pt x="192" y="29"/>
                  </a:lnTo>
                  <a:lnTo>
                    <a:pt x="194" y="29"/>
                  </a:lnTo>
                  <a:lnTo>
                    <a:pt x="194" y="31"/>
                  </a:lnTo>
                  <a:lnTo>
                    <a:pt x="196" y="31"/>
                  </a:lnTo>
                  <a:lnTo>
                    <a:pt x="198" y="29"/>
                  </a:lnTo>
                  <a:lnTo>
                    <a:pt x="198" y="31"/>
                  </a:lnTo>
                  <a:lnTo>
                    <a:pt x="198" y="29"/>
                  </a:lnTo>
                  <a:lnTo>
                    <a:pt x="200" y="29"/>
                  </a:lnTo>
                  <a:lnTo>
                    <a:pt x="200" y="27"/>
                  </a:lnTo>
                  <a:lnTo>
                    <a:pt x="202" y="27"/>
                  </a:lnTo>
                  <a:lnTo>
                    <a:pt x="200" y="25"/>
                  </a:lnTo>
                  <a:lnTo>
                    <a:pt x="202" y="25"/>
                  </a:lnTo>
                  <a:lnTo>
                    <a:pt x="202" y="27"/>
                  </a:lnTo>
                  <a:lnTo>
                    <a:pt x="204" y="27"/>
                  </a:lnTo>
                  <a:lnTo>
                    <a:pt x="206" y="27"/>
                  </a:lnTo>
                  <a:lnTo>
                    <a:pt x="207" y="25"/>
                  </a:lnTo>
                  <a:lnTo>
                    <a:pt x="207" y="27"/>
                  </a:lnTo>
                  <a:lnTo>
                    <a:pt x="209" y="27"/>
                  </a:lnTo>
                  <a:lnTo>
                    <a:pt x="209" y="29"/>
                  </a:lnTo>
                  <a:lnTo>
                    <a:pt x="211" y="29"/>
                  </a:lnTo>
                  <a:lnTo>
                    <a:pt x="211" y="27"/>
                  </a:lnTo>
                  <a:lnTo>
                    <a:pt x="211" y="25"/>
                  </a:lnTo>
                  <a:lnTo>
                    <a:pt x="211" y="23"/>
                  </a:lnTo>
                  <a:lnTo>
                    <a:pt x="211" y="21"/>
                  </a:lnTo>
                  <a:lnTo>
                    <a:pt x="213" y="21"/>
                  </a:lnTo>
                  <a:lnTo>
                    <a:pt x="215" y="19"/>
                  </a:lnTo>
                  <a:lnTo>
                    <a:pt x="215" y="18"/>
                  </a:lnTo>
                  <a:lnTo>
                    <a:pt x="215" y="16"/>
                  </a:lnTo>
                  <a:lnTo>
                    <a:pt x="217" y="16"/>
                  </a:lnTo>
                  <a:lnTo>
                    <a:pt x="219" y="16"/>
                  </a:lnTo>
                  <a:lnTo>
                    <a:pt x="219" y="18"/>
                  </a:lnTo>
                  <a:lnTo>
                    <a:pt x="219" y="16"/>
                  </a:lnTo>
                  <a:lnTo>
                    <a:pt x="221" y="18"/>
                  </a:lnTo>
                  <a:lnTo>
                    <a:pt x="221" y="16"/>
                  </a:lnTo>
                  <a:lnTo>
                    <a:pt x="221" y="14"/>
                  </a:lnTo>
                  <a:lnTo>
                    <a:pt x="221" y="12"/>
                  </a:lnTo>
                  <a:lnTo>
                    <a:pt x="221" y="10"/>
                  </a:lnTo>
                  <a:lnTo>
                    <a:pt x="221" y="8"/>
                  </a:lnTo>
                  <a:lnTo>
                    <a:pt x="221" y="6"/>
                  </a:lnTo>
                  <a:lnTo>
                    <a:pt x="221" y="4"/>
                  </a:lnTo>
                  <a:lnTo>
                    <a:pt x="221" y="2"/>
                  </a:lnTo>
                  <a:lnTo>
                    <a:pt x="223" y="0"/>
                  </a:lnTo>
                  <a:lnTo>
                    <a:pt x="221" y="0"/>
                  </a:lnTo>
                  <a:lnTo>
                    <a:pt x="223" y="0"/>
                  </a:lnTo>
                  <a:lnTo>
                    <a:pt x="225" y="0"/>
                  </a:lnTo>
                  <a:lnTo>
                    <a:pt x="225" y="2"/>
                  </a:lnTo>
                  <a:lnTo>
                    <a:pt x="227" y="2"/>
                  </a:lnTo>
                  <a:lnTo>
                    <a:pt x="227" y="0"/>
                  </a:lnTo>
                  <a:lnTo>
                    <a:pt x="229" y="2"/>
                  </a:lnTo>
                  <a:lnTo>
                    <a:pt x="229" y="4"/>
                  </a:lnTo>
                  <a:lnTo>
                    <a:pt x="231" y="4"/>
                  </a:lnTo>
                  <a:lnTo>
                    <a:pt x="232" y="4"/>
                  </a:lnTo>
                  <a:lnTo>
                    <a:pt x="232" y="2"/>
                  </a:lnTo>
                  <a:lnTo>
                    <a:pt x="234" y="2"/>
                  </a:lnTo>
                  <a:lnTo>
                    <a:pt x="236" y="2"/>
                  </a:lnTo>
                  <a:lnTo>
                    <a:pt x="238" y="2"/>
                  </a:lnTo>
                  <a:lnTo>
                    <a:pt x="240" y="4"/>
                  </a:lnTo>
                  <a:lnTo>
                    <a:pt x="242" y="4"/>
                  </a:lnTo>
                  <a:lnTo>
                    <a:pt x="242" y="6"/>
                  </a:lnTo>
                  <a:lnTo>
                    <a:pt x="246" y="8"/>
                  </a:lnTo>
                  <a:lnTo>
                    <a:pt x="248" y="8"/>
                  </a:lnTo>
                  <a:lnTo>
                    <a:pt x="250" y="10"/>
                  </a:lnTo>
                  <a:lnTo>
                    <a:pt x="252" y="10"/>
                  </a:lnTo>
                  <a:lnTo>
                    <a:pt x="254" y="8"/>
                  </a:lnTo>
                  <a:lnTo>
                    <a:pt x="256" y="8"/>
                  </a:lnTo>
                  <a:lnTo>
                    <a:pt x="256" y="10"/>
                  </a:lnTo>
                  <a:lnTo>
                    <a:pt x="257" y="10"/>
                  </a:lnTo>
                  <a:lnTo>
                    <a:pt x="259" y="10"/>
                  </a:lnTo>
                  <a:lnTo>
                    <a:pt x="257" y="10"/>
                  </a:lnTo>
                  <a:lnTo>
                    <a:pt x="259" y="10"/>
                  </a:lnTo>
                  <a:lnTo>
                    <a:pt x="259" y="12"/>
                  </a:lnTo>
                  <a:lnTo>
                    <a:pt x="261" y="12"/>
                  </a:lnTo>
                  <a:lnTo>
                    <a:pt x="261" y="14"/>
                  </a:lnTo>
                  <a:lnTo>
                    <a:pt x="263" y="14"/>
                  </a:lnTo>
                  <a:lnTo>
                    <a:pt x="265" y="16"/>
                  </a:lnTo>
                  <a:lnTo>
                    <a:pt x="267" y="16"/>
                  </a:lnTo>
                  <a:lnTo>
                    <a:pt x="269" y="16"/>
                  </a:lnTo>
                  <a:lnTo>
                    <a:pt x="271" y="16"/>
                  </a:lnTo>
                  <a:lnTo>
                    <a:pt x="273" y="16"/>
                  </a:lnTo>
                  <a:lnTo>
                    <a:pt x="275" y="16"/>
                  </a:lnTo>
                  <a:lnTo>
                    <a:pt x="277" y="18"/>
                  </a:lnTo>
                  <a:lnTo>
                    <a:pt x="277" y="16"/>
                  </a:lnTo>
                  <a:lnTo>
                    <a:pt x="277" y="18"/>
                  </a:lnTo>
                  <a:lnTo>
                    <a:pt x="279" y="18"/>
                  </a:lnTo>
                  <a:lnTo>
                    <a:pt x="279" y="16"/>
                  </a:lnTo>
                  <a:lnTo>
                    <a:pt x="281" y="14"/>
                  </a:lnTo>
                  <a:lnTo>
                    <a:pt x="281" y="12"/>
                  </a:lnTo>
                  <a:lnTo>
                    <a:pt x="282" y="12"/>
                  </a:lnTo>
                  <a:lnTo>
                    <a:pt x="284" y="12"/>
                  </a:lnTo>
                  <a:lnTo>
                    <a:pt x="284" y="10"/>
                  </a:lnTo>
                  <a:lnTo>
                    <a:pt x="284" y="12"/>
                  </a:lnTo>
                  <a:lnTo>
                    <a:pt x="286" y="12"/>
                  </a:lnTo>
                  <a:lnTo>
                    <a:pt x="288" y="14"/>
                  </a:lnTo>
                  <a:lnTo>
                    <a:pt x="288" y="12"/>
                  </a:lnTo>
                  <a:lnTo>
                    <a:pt x="290" y="12"/>
                  </a:lnTo>
                  <a:lnTo>
                    <a:pt x="290" y="14"/>
                  </a:lnTo>
                  <a:lnTo>
                    <a:pt x="290" y="16"/>
                  </a:lnTo>
                  <a:lnTo>
                    <a:pt x="292" y="16"/>
                  </a:lnTo>
                  <a:lnTo>
                    <a:pt x="294" y="16"/>
                  </a:lnTo>
                  <a:lnTo>
                    <a:pt x="294" y="18"/>
                  </a:lnTo>
                  <a:lnTo>
                    <a:pt x="296" y="18"/>
                  </a:lnTo>
                  <a:lnTo>
                    <a:pt x="296" y="16"/>
                  </a:lnTo>
                  <a:lnTo>
                    <a:pt x="296" y="18"/>
                  </a:lnTo>
                  <a:lnTo>
                    <a:pt x="298" y="18"/>
                  </a:lnTo>
                  <a:lnTo>
                    <a:pt x="298" y="16"/>
                  </a:lnTo>
                  <a:lnTo>
                    <a:pt x="300" y="16"/>
                  </a:lnTo>
                  <a:lnTo>
                    <a:pt x="300" y="18"/>
                  </a:lnTo>
                  <a:lnTo>
                    <a:pt x="300" y="19"/>
                  </a:lnTo>
                  <a:lnTo>
                    <a:pt x="300" y="21"/>
                  </a:lnTo>
                  <a:lnTo>
                    <a:pt x="302" y="23"/>
                  </a:lnTo>
                  <a:lnTo>
                    <a:pt x="302" y="25"/>
                  </a:lnTo>
                  <a:lnTo>
                    <a:pt x="302" y="27"/>
                  </a:lnTo>
                  <a:lnTo>
                    <a:pt x="302" y="29"/>
                  </a:lnTo>
                  <a:lnTo>
                    <a:pt x="300" y="29"/>
                  </a:lnTo>
                  <a:lnTo>
                    <a:pt x="300" y="31"/>
                  </a:lnTo>
                  <a:lnTo>
                    <a:pt x="298" y="33"/>
                  </a:lnTo>
                  <a:lnTo>
                    <a:pt x="298" y="35"/>
                  </a:lnTo>
                  <a:lnTo>
                    <a:pt x="298" y="37"/>
                  </a:lnTo>
                  <a:lnTo>
                    <a:pt x="298" y="39"/>
                  </a:lnTo>
                  <a:lnTo>
                    <a:pt x="298" y="41"/>
                  </a:lnTo>
                  <a:lnTo>
                    <a:pt x="300" y="41"/>
                  </a:lnTo>
                  <a:lnTo>
                    <a:pt x="302" y="43"/>
                  </a:lnTo>
                  <a:lnTo>
                    <a:pt x="300" y="43"/>
                  </a:lnTo>
                  <a:lnTo>
                    <a:pt x="302" y="44"/>
                  </a:lnTo>
                  <a:lnTo>
                    <a:pt x="304" y="46"/>
                  </a:lnTo>
                  <a:lnTo>
                    <a:pt x="304" y="48"/>
                  </a:lnTo>
                  <a:lnTo>
                    <a:pt x="304" y="50"/>
                  </a:lnTo>
                  <a:lnTo>
                    <a:pt x="304" y="52"/>
                  </a:lnTo>
                  <a:lnTo>
                    <a:pt x="305" y="52"/>
                  </a:lnTo>
                  <a:lnTo>
                    <a:pt x="307" y="54"/>
                  </a:lnTo>
                  <a:lnTo>
                    <a:pt x="309" y="54"/>
                  </a:lnTo>
                  <a:lnTo>
                    <a:pt x="307" y="56"/>
                  </a:lnTo>
                  <a:lnTo>
                    <a:pt x="309" y="56"/>
                  </a:lnTo>
                  <a:lnTo>
                    <a:pt x="307" y="58"/>
                  </a:lnTo>
                  <a:lnTo>
                    <a:pt x="309" y="58"/>
                  </a:lnTo>
                  <a:lnTo>
                    <a:pt x="307" y="58"/>
                  </a:lnTo>
                  <a:lnTo>
                    <a:pt x="309" y="60"/>
                  </a:lnTo>
                  <a:lnTo>
                    <a:pt x="307" y="60"/>
                  </a:lnTo>
                  <a:lnTo>
                    <a:pt x="309" y="60"/>
                  </a:lnTo>
                  <a:lnTo>
                    <a:pt x="309" y="62"/>
                  </a:lnTo>
                  <a:lnTo>
                    <a:pt x="309" y="60"/>
                  </a:lnTo>
                  <a:lnTo>
                    <a:pt x="311" y="62"/>
                  </a:lnTo>
                  <a:lnTo>
                    <a:pt x="313" y="62"/>
                  </a:lnTo>
                  <a:lnTo>
                    <a:pt x="309" y="64"/>
                  </a:lnTo>
                  <a:lnTo>
                    <a:pt x="311" y="66"/>
                  </a:lnTo>
                  <a:lnTo>
                    <a:pt x="309" y="68"/>
                  </a:lnTo>
                  <a:lnTo>
                    <a:pt x="311" y="68"/>
                  </a:lnTo>
                  <a:lnTo>
                    <a:pt x="309" y="69"/>
                  </a:lnTo>
                  <a:lnTo>
                    <a:pt x="311" y="69"/>
                  </a:lnTo>
                  <a:lnTo>
                    <a:pt x="309" y="71"/>
                  </a:lnTo>
                  <a:lnTo>
                    <a:pt x="309" y="69"/>
                  </a:lnTo>
                  <a:lnTo>
                    <a:pt x="307" y="71"/>
                  </a:lnTo>
                  <a:lnTo>
                    <a:pt x="309" y="73"/>
                  </a:lnTo>
                  <a:lnTo>
                    <a:pt x="307" y="73"/>
                  </a:lnTo>
                  <a:lnTo>
                    <a:pt x="309" y="73"/>
                  </a:lnTo>
                  <a:lnTo>
                    <a:pt x="309" y="75"/>
                  </a:lnTo>
                  <a:lnTo>
                    <a:pt x="309" y="77"/>
                  </a:lnTo>
                  <a:lnTo>
                    <a:pt x="309" y="81"/>
                  </a:lnTo>
                  <a:lnTo>
                    <a:pt x="311" y="81"/>
                  </a:lnTo>
                  <a:lnTo>
                    <a:pt x="309" y="81"/>
                  </a:lnTo>
                  <a:lnTo>
                    <a:pt x="305" y="83"/>
                  </a:lnTo>
                  <a:lnTo>
                    <a:pt x="302" y="83"/>
                  </a:lnTo>
                  <a:lnTo>
                    <a:pt x="302" y="81"/>
                  </a:lnTo>
                  <a:lnTo>
                    <a:pt x="300" y="83"/>
                  </a:lnTo>
                  <a:lnTo>
                    <a:pt x="296" y="85"/>
                  </a:lnTo>
                  <a:lnTo>
                    <a:pt x="296" y="83"/>
                  </a:lnTo>
                  <a:lnTo>
                    <a:pt x="296" y="81"/>
                  </a:lnTo>
                  <a:lnTo>
                    <a:pt x="292" y="81"/>
                  </a:lnTo>
                  <a:lnTo>
                    <a:pt x="292" y="79"/>
                  </a:lnTo>
                  <a:lnTo>
                    <a:pt x="290" y="79"/>
                  </a:lnTo>
                  <a:lnTo>
                    <a:pt x="288" y="79"/>
                  </a:lnTo>
                  <a:lnTo>
                    <a:pt x="288" y="81"/>
                  </a:lnTo>
                  <a:lnTo>
                    <a:pt x="288" y="83"/>
                  </a:lnTo>
                  <a:lnTo>
                    <a:pt x="286" y="83"/>
                  </a:lnTo>
                  <a:lnTo>
                    <a:pt x="286" y="85"/>
                  </a:lnTo>
                  <a:lnTo>
                    <a:pt x="284" y="85"/>
                  </a:lnTo>
                  <a:lnTo>
                    <a:pt x="284" y="83"/>
                  </a:lnTo>
                  <a:lnTo>
                    <a:pt x="284" y="85"/>
                  </a:lnTo>
                  <a:lnTo>
                    <a:pt x="282" y="85"/>
                  </a:lnTo>
                  <a:lnTo>
                    <a:pt x="284" y="87"/>
                  </a:lnTo>
                  <a:lnTo>
                    <a:pt x="286" y="87"/>
                  </a:lnTo>
                  <a:lnTo>
                    <a:pt x="290" y="89"/>
                  </a:lnTo>
                  <a:lnTo>
                    <a:pt x="292" y="87"/>
                  </a:lnTo>
                  <a:lnTo>
                    <a:pt x="292" y="89"/>
                  </a:lnTo>
                  <a:lnTo>
                    <a:pt x="294" y="89"/>
                  </a:lnTo>
                  <a:lnTo>
                    <a:pt x="294" y="91"/>
                  </a:lnTo>
                  <a:lnTo>
                    <a:pt x="294" y="93"/>
                  </a:lnTo>
                  <a:lnTo>
                    <a:pt x="296" y="93"/>
                  </a:lnTo>
                  <a:lnTo>
                    <a:pt x="296" y="94"/>
                  </a:lnTo>
                  <a:lnTo>
                    <a:pt x="294" y="94"/>
                  </a:lnTo>
                  <a:lnTo>
                    <a:pt x="294" y="96"/>
                  </a:lnTo>
                  <a:lnTo>
                    <a:pt x="294" y="94"/>
                  </a:lnTo>
                  <a:lnTo>
                    <a:pt x="294" y="96"/>
                  </a:lnTo>
                  <a:lnTo>
                    <a:pt x="294" y="98"/>
                  </a:lnTo>
                  <a:lnTo>
                    <a:pt x="292" y="100"/>
                  </a:lnTo>
                  <a:lnTo>
                    <a:pt x="290" y="100"/>
                  </a:lnTo>
                  <a:lnTo>
                    <a:pt x="290" y="102"/>
                  </a:lnTo>
                  <a:lnTo>
                    <a:pt x="288" y="102"/>
                  </a:lnTo>
                  <a:lnTo>
                    <a:pt x="288" y="104"/>
                  </a:lnTo>
                  <a:lnTo>
                    <a:pt x="288" y="102"/>
                  </a:lnTo>
                  <a:lnTo>
                    <a:pt x="286" y="104"/>
                  </a:lnTo>
                  <a:lnTo>
                    <a:pt x="286" y="102"/>
                  </a:lnTo>
                  <a:lnTo>
                    <a:pt x="284" y="102"/>
                  </a:lnTo>
                  <a:lnTo>
                    <a:pt x="286" y="104"/>
                  </a:lnTo>
                  <a:lnTo>
                    <a:pt x="286" y="106"/>
                  </a:lnTo>
                  <a:lnTo>
                    <a:pt x="284" y="106"/>
                  </a:lnTo>
                  <a:lnTo>
                    <a:pt x="286" y="106"/>
                  </a:lnTo>
                  <a:lnTo>
                    <a:pt x="286" y="108"/>
                  </a:lnTo>
                  <a:lnTo>
                    <a:pt x="288" y="110"/>
                  </a:lnTo>
                  <a:lnTo>
                    <a:pt x="286" y="112"/>
                  </a:lnTo>
                  <a:lnTo>
                    <a:pt x="284" y="112"/>
                  </a:lnTo>
                  <a:lnTo>
                    <a:pt x="284" y="114"/>
                  </a:lnTo>
                  <a:lnTo>
                    <a:pt x="286" y="114"/>
                  </a:lnTo>
                  <a:lnTo>
                    <a:pt x="286" y="116"/>
                  </a:lnTo>
                  <a:lnTo>
                    <a:pt x="284" y="116"/>
                  </a:lnTo>
                  <a:lnTo>
                    <a:pt x="284" y="117"/>
                  </a:lnTo>
                  <a:lnTo>
                    <a:pt x="286" y="117"/>
                  </a:lnTo>
                  <a:lnTo>
                    <a:pt x="286" y="119"/>
                  </a:lnTo>
                  <a:lnTo>
                    <a:pt x="288" y="119"/>
                  </a:lnTo>
                  <a:lnTo>
                    <a:pt x="290" y="119"/>
                  </a:lnTo>
                  <a:lnTo>
                    <a:pt x="290" y="121"/>
                  </a:lnTo>
                  <a:lnTo>
                    <a:pt x="288" y="121"/>
                  </a:lnTo>
                  <a:lnTo>
                    <a:pt x="286" y="123"/>
                  </a:lnTo>
                  <a:lnTo>
                    <a:pt x="288" y="123"/>
                  </a:lnTo>
                  <a:lnTo>
                    <a:pt x="288" y="125"/>
                  </a:lnTo>
                  <a:lnTo>
                    <a:pt x="290" y="125"/>
                  </a:lnTo>
                  <a:lnTo>
                    <a:pt x="288" y="125"/>
                  </a:lnTo>
                  <a:lnTo>
                    <a:pt x="286" y="127"/>
                  </a:lnTo>
                  <a:lnTo>
                    <a:pt x="288" y="127"/>
                  </a:lnTo>
                  <a:lnTo>
                    <a:pt x="288" y="129"/>
                  </a:lnTo>
                  <a:lnTo>
                    <a:pt x="290" y="129"/>
                  </a:lnTo>
                  <a:lnTo>
                    <a:pt x="288" y="129"/>
                  </a:lnTo>
                  <a:lnTo>
                    <a:pt x="286" y="129"/>
                  </a:lnTo>
                  <a:lnTo>
                    <a:pt x="284" y="129"/>
                  </a:lnTo>
                  <a:lnTo>
                    <a:pt x="282" y="129"/>
                  </a:lnTo>
                  <a:lnTo>
                    <a:pt x="281" y="129"/>
                  </a:lnTo>
                  <a:lnTo>
                    <a:pt x="281" y="131"/>
                  </a:lnTo>
                  <a:lnTo>
                    <a:pt x="279" y="131"/>
                  </a:lnTo>
                  <a:lnTo>
                    <a:pt x="279" y="133"/>
                  </a:lnTo>
                  <a:lnTo>
                    <a:pt x="277" y="133"/>
                  </a:lnTo>
                  <a:lnTo>
                    <a:pt x="277" y="135"/>
                  </a:lnTo>
                  <a:lnTo>
                    <a:pt x="275" y="135"/>
                  </a:lnTo>
                  <a:lnTo>
                    <a:pt x="275" y="139"/>
                  </a:lnTo>
                  <a:lnTo>
                    <a:pt x="273" y="139"/>
                  </a:lnTo>
                  <a:lnTo>
                    <a:pt x="271" y="139"/>
                  </a:lnTo>
                  <a:lnTo>
                    <a:pt x="271" y="141"/>
                  </a:lnTo>
                  <a:lnTo>
                    <a:pt x="269" y="141"/>
                  </a:lnTo>
                  <a:lnTo>
                    <a:pt x="269" y="142"/>
                  </a:lnTo>
                  <a:lnTo>
                    <a:pt x="269" y="146"/>
                  </a:lnTo>
                  <a:lnTo>
                    <a:pt x="269" y="148"/>
                  </a:lnTo>
                  <a:lnTo>
                    <a:pt x="271" y="148"/>
                  </a:lnTo>
                  <a:lnTo>
                    <a:pt x="271" y="150"/>
                  </a:lnTo>
                  <a:lnTo>
                    <a:pt x="271" y="152"/>
                  </a:lnTo>
                  <a:lnTo>
                    <a:pt x="269" y="152"/>
                  </a:lnTo>
                  <a:lnTo>
                    <a:pt x="269" y="150"/>
                  </a:lnTo>
                  <a:lnTo>
                    <a:pt x="267" y="150"/>
                  </a:lnTo>
                  <a:lnTo>
                    <a:pt x="265" y="148"/>
                  </a:lnTo>
                  <a:lnTo>
                    <a:pt x="263" y="148"/>
                  </a:lnTo>
                  <a:lnTo>
                    <a:pt x="261" y="148"/>
                  </a:lnTo>
                  <a:lnTo>
                    <a:pt x="259" y="150"/>
                  </a:lnTo>
                  <a:lnTo>
                    <a:pt x="257" y="150"/>
                  </a:lnTo>
                  <a:lnTo>
                    <a:pt x="256" y="150"/>
                  </a:lnTo>
                  <a:lnTo>
                    <a:pt x="254" y="150"/>
                  </a:lnTo>
                  <a:lnTo>
                    <a:pt x="256" y="150"/>
                  </a:lnTo>
                  <a:lnTo>
                    <a:pt x="254" y="150"/>
                  </a:lnTo>
                  <a:lnTo>
                    <a:pt x="254" y="152"/>
                  </a:lnTo>
                  <a:lnTo>
                    <a:pt x="252" y="152"/>
                  </a:lnTo>
                  <a:lnTo>
                    <a:pt x="254" y="150"/>
                  </a:lnTo>
                  <a:lnTo>
                    <a:pt x="252" y="150"/>
                  </a:lnTo>
                  <a:lnTo>
                    <a:pt x="252" y="152"/>
                  </a:lnTo>
                  <a:lnTo>
                    <a:pt x="250" y="152"/>
                  </a:lnTo>
                  <a:lnTo>
                    <a:pt x="250" y="154"/>
                  </a:lnTo>
                  <a:lnTo>
                    <a:pt x="250" y="156"/>
                  </a:lnTo>
                  <a:lnTo>
                    <a:pt x="248" y="156"/>
                  </a:lnTo>
                  <a:lnTo>
                    <a:pt x="246" y="156"/>
                  </a:lnTo>
                  <a:lnTo>
                    <a:pt x="246" y="154"/>
                  </a:lnTo>
                  <a:lnTo>
                    <a:pt x="244" y="154"/>
                  </a:lnTo>
                  <a:lnTo>
                    <a:pt x="242" y="154"/>
                  </a:lnTo>
                  <a:lnTo>
                    <a:pt x="240" y="154"/>
                  </a:lnTo>
                  <a:lnTo>
                    <a:pt x="238" y="154"/>
                  </a:lnTo>
                  <a:lnTo>
                    <a:pt x="236" y="154"/>
                  </a:lnTo>
                  <a:lnTo>
                    <a:pt x="234" y="154"/>
                  </a:lnTo>
                  <a:lnTo>
                    <a:pt x="232" y="154"/>
                  </a:lnTo>
                  <a:lnTo>
                    <a:pt x="231" y="154"/>
                  </a:lnTo>
                  <a:lnTo>
                    <a:pt x="229" y="154"/>
                  </a:lnTo>
                  <a:lnTo>
                    <a:pt x="229" y="156"/>
                  </a:lnTo>
                  <a:lnTo>
                    <a:pt x="227" y="158"/>
                  </a:lnTo>
                  <a:lnTo>
                    <a:pt x="227" y="156"/>
                  </a:lnTo>
                  <a:lnTo>
                    <a:pt x="225" y="156"/>
                  </a:lnTo>
                  <a:lnTo>
                    <a:pt x="225" y="158"/>
                  </a:lnTo>
                  <a:lnTo>
                    <a:pt x="223" y="158"/>
                  </a:lnTo>
                  <a:lnTo>
                    <a:pt x="221" y="158"/>
                  </a:lnTo>
                  <a:lnTo>
                    <a:pt x="221" y="160"/>
                  </a:lnTo>
                  <a:lnTo>
                    <a:pt x="221" y="162"/>
                  </a:lnTo>
                  <a:lnTo>
                    <a:pt x="221" y="164"/>
                  </a:lnTo>
                  <a:lnTo>
                    <a:pt x="219" y="164"/>
                  </a:lnTo>
                  <a:lnTo>
                    <a:pt x="217" y="164"/>
                  </a:lnTo>
                  <a:lnTo>
                    <a:pt x="217" y="166"/>
                  </a:lnTo>
                  <a:lnTo>
                    <a:pt x="217" y="164"/>
                  </a:lnTo>
                  <a:lnTo>
                    <a:pt x="217" y="166"/>
                  </a:lnTo>
                  <a:lnTo>
                    <a:pt x="215" y="164"/>
                  </a:lnTo>
                  <a:lnTo>
                    <a:pt x="215" y="166"/>
                  </a:lnTo>
                  <a:lnTo>
                    <a:pt x="215" y="167"/>
                  </a:lnTo>
                  <a:lnTo>
                    <a:pt x="213" y="167"/>
                  </a:lnTo>
                  <a:lnTo>
                    <a:pt x="215" y="167"/>
                  </a:lnTo>
                  <a:lnTo>
                    <a:pt x="213" y="167"/>
                  </a:lnTo>
                  <a:lnTo>
                    <a:pt x="213" y="169"/>
                  </a:lnTo>
                  <a:lnTo>
                    <a:pt x="211" y="169"/>
                  </a:lnTo>
                  <a:lnTo>
                    <a:pt x="211" y="171"/>
                  </a:lnTo>
                  <a:lnTo>
                    <a:pt x="211" y="173"/>
                  </a:lnTo>
                  <a:lnTo>
                    <a:pt x="209" y="173"/>
                  </a:lnTo>
                  <a:lnTo>
                    <a:pt x="209" y="171"/>
                  </a:lnTo>
                  <a:lnTo>
                    <a:pt x="207" y="169"/>
                  </a:lnTo>
                  <a:lnTo>
                    <a:pt x="207" y="171"/>
                  </a:lnTo>
                  <a:lnTo>
                    <a:pt x="206" y="171"/>
                  </a:lnTo>
                  <a:lnTo>
                    <a:pt x="206" y="169"/>
                  </a:lnTo>
                  <a:lnTo>
                    <a:pt x="204" y="169"/>
                  </a:lnTo>
                  <a:lnTo>
                    <a:pt x="204" y="167"/>
                  </a:lnTo>
                  <a:lnTo>
                    <a:pt x="204" y="169"/>
                  </a:lnTo>
                  <a:lnTo>
                    <a:pt x="200" y="169"/>
                  </a:lnTo>
                  <a:lnTo>
                    <a:pt x="198" y="169"/>
                  </a:lnTo>
                  <a:lnTo>
                    <a:pt x="196" y="169"/>
                  </a:lnTo>
                  <a:lnTo>
                    <a:pt x="194" y="169"/>
                  </a:lnTo>
                  <a:lnTo>
                    <a:pt x="192" y="169"/>
                  </a:lnTo>
                  <a:lnTo>
                    <a:pt x="190" y="167"/>
                  </a:lnTo>
                  <a:lnTo>
                    <a:pt x="188" y="166"/>
                  </a:lnTo>
                  <a:lnTo>
                    <a:pt x="186" y="166"/>
                  </a:lnTo>
                  <a:lnTo>
                    <a:pt x="186" y="167"/>
                  </a:lnTo>
                  <a:lnTo>
                    <a:pt x="184" y="166"/>
                  </a:lnTo>
                  <a:lnTo>
                    <a:pt x="183" y="164"/>
                  </a:lnTo>
                  <a:lnTo>
                    <a:pt x="181" y="164"/>
                  </a:lnTo>
                  <a:lnTo>
                    <a:pt x="181" y="166"/>
                  </a:lnTo>
                  <a:lnTo>
                    <a:pt x="179" y="164"/>
                  </a:lnTo>
                  <a:lnTo>
                    <a:pt x="179" y="166"/>
                  </a:lnTo>
                  <a:lnTo>
                    <a:pt x="177" y="166"/>
                  </a:lnTo>
                  <a:lnTo>
                    <a:pt x="177" y="164"/>
                  </a:lnTo>
                  <a:lnTo>
                    <a:pt x="177" y="166"/>
                  </a:lnTo>
                  <a:lnTo>
                    <a:pt x="175" y="164"/>
                  </a:lnTo>
                  <a:lnTo>
                    <a:pt x="173" y="164"/>
                  </a:lnTo>
                  <a:lnTo>
                    <a:pt x="171" y="164"/>
                  </a:lnTo>
                  <a:lnTo>
                    <a:pt x="169" y="164"/>
                  </a:lnTo>
                  <a:lnTo>
                    <a:pt x="165" y="164"/>
                  </a:lnTo>
                  <a:lnTo>
                    <a:pt x="163" y="164"/>
                  </a:lnTo>
                  <a:lnTo>
                    <a:pt x="159" y="162"/>
                  </a:lnTo>
                  <a:lnTo>
                    <a:pt x="158" y="162"/>
                  </a:lnTo>
                  <a:lnTo>
                    <a:pt x="154" y="162"/>
                  </a:lnTo>
                  <a:lnTo>
                    <a:pt x="152" y="162"/>
                  </a:lnTo>
                  <a:lnTo>
                    <a:pt x="146" y="160"/>
                  </a:lnTo>
                  <a:lnTo>
                    <a:pt x="142" y="160"/>
                  </a:lnTo>
                  <a:lnTo>
                    <a:pt x="138" y="160"/>
                  </a:lnTo>
                  <a:lnTo>
                    <a:pt x="134" y="160"/>
                  </a:lnTo>
                  <a:lnTo>
                    <a:pt x="131" y="158"/>
                  </a:lnTo>
                  <a:lnTo>
                    <a:pt x="125" y="156"/>
                  </a:lnTo>
                  <a:lnTo>
                    <a:pt x="117" y="154"/>
                  </a:lnTo>
                  <a:lnTo>
                    <a:pt x="115" y="150"/>
                  </a:lnTo>
                  <a:lnTo>
                    <a:pt x="111" y="144"/>
                  </a:lnTo>
                  <a:lnTo>
                    <a:pt x="113" y="142"/>
                  </a:lnTo>
                  <a:lnTo>
                    <a:pt x="113" y="141"/>
                  </a:lnTo>
                  <a:lnTo>
                    <a:pt x="109" y="139"/>
                  </a:lnTo>
                  <a:lnTo>
                    <a:pt x="109" y="135"/>
                  </a:lnTo>
                  <a:lnTo>
                    <a:pt x="108" y="133"/>
                  </a:lnTo>
                  <a:lnTo>
                    <a:pt x="111" y="12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00" name="Freeform 88"/>
            <p:cNvSpPr>
              <a:spLocks/>
            </p:cNvSpPr>
            <p:nvPr/>
          </p:nvSpPr>
          <p:spPr bwMode="auto">
            <a:xfrm>
              <a:off x="2304" y="2755"/>
              <a:ext cx="536" cy="592"/>
            </a:xfrm>
            <a:custGeom>
              <a:avLst/>
              <a:gdLst>
                <a:gd name="T0" fmla="*/ 246 w 536"/>
                <a:gd name="T1" fmla="*/ 135 h 592"/>
                <a:gd name="T2" fmla="*/ 250 w 536"/>
                <a:gd name="T3" fmla="*/ 104 h 592"/>
                <a:gd name="T4" fmla="*/ 275 w 536"/>
                <a:gd name="T5" fmla="*/ 96 h 592"/>
                <a:gd name="T6" fmla="*/ 296 w 536"/>
                <a:gd name="T7" fmla="*/ 88 h 592"/>
                <a:gd name="T8" fmla="*/ 312 w 536"/>
                <a:gd name="T9" fmla="*/ 94 h 592"/>
                <a:gd name="T10" fmla="*/ 298 w 536"/>
                <a:gd name="T11" fmla="*/ 67 h 592"/>
                <a:gd name="T12" fmla="*/ 300 w 536"/>
                <a:gd name="T13" fmla="*/ 42 h 592"/>
                <a:gd name="T14" fmla="*/ 254 w 536"/>
                <a:gd name="T15" fmla="*/ 29 h 592"/>
                <a:gd name="T16" fmla="*/ 229 w 536"/>
                <a:gd name="T17" fmla="*/ 2 h 592"/>
                <a:gd name="T18" fmla="*/ 175 w 536"/>
                <a:gd name="T19" fmla="*/ 15 h 592"/>
                <a:gd name="T20" fmla="*/ 156 w 536"/>
                <a:gd name="T21" fmla="*/ 29 h 592"/>
                <a:gd name="T22" fmla="*/ 150 w 536"/>
                <a:gd name="T23" fmla="*/ 56 h 592"/>
                <a:gd name="T24" fmla="*/ 129 w 536"/>
                <a:gd name="T25" fmla="*/ 50 h 592"/>
                <a:gd name="T26" fmla="*/ 114 w 536"/>
                <a:gd name="T27" fmla="*/ 58 h 592"/>
                <a:gd name="T28" fmla="*/ 98 w 536"/>
                <a:gd name="T29" fmla="*/ 65 h 592"/>
                <a:gd name="T30" fmla="*/ 66 w 536"/>
                <a:gd name="T31" fmla="*/ 50 h 592"/>
                <a:gd name="T32" fmla="*/ 42 w 536"/>
                <a:gd name="T33" fmla="*/ 69 h 592"/>
                <a:gd name="T34" fmla="*/ 12 w 536"/>
                <a:gd name="T35" fmla="*/ 77 h 592"/>
                <a:gd name="T36" fmla="*/ 25 w 536"/>
                <a:gd name="T37" fmla="*/ 108 h 592"/>
                <a:gd name="T38" fmla="*/ 4 w 536"/>
                <a:gd name="T39" fmla="*/ 129 h 592"/>
                <a:gd name="T40" fmla="*/ 12 w 536"/>
                <a:gd name="T41" fmla="*/ 154 h 592"/>
                <a:gd name="T42" fmla="*/ 14 w 536"/>
                <a:gd name="T43" fmla="*/ 181 h 592"/>
                <a:gd name="T44" fmla="*/ 44 w 536"/>
                <a:gd name="T45" fmla="*/ 194 h 592"/>
                <a:gd name="T46" fmla="*/ 44 w 536"/>
                <a:gd name="T47" fmla="*/ 211 h 592"/>
                <a:gd name="T48" fmla="*/ 79 w 536"/>
                <a:gd name="T49" fmla="*/ 177 h 592"/>
                <a:gd name="T50" fmla="*/ 117 w 536"/>
                <a:gd name="T51" fmla="*/ 183 h 592"/>
                <a:gd name="T52" fmla="*/ 142 w 536"/>
                <a:gd name="T53" fmla="*/ 198 h 592"/>
                <a:gd name="T54" fmla="*/ 160 w 536"/>
                <a:gd name="T55" fmla="*/ 240 h 592"/>
                <a:gd name="T56" fmla="*/ 175 w 536"/>
                <a:gd name="T57" fmla="*/ 277 h 592"/>
                <a:gd name="T58" fmla="*/ 190 w 536"/>
                <a:gd name="T59" fmla="*/ 306 h 592"/>
                <a:gd name="T60" fmla="*/ 221 w 536"/>
                <a:gd name="T61" fmla="*/ 327 h 592"/>
                <a:gd name="T62" fmla="*/ 262 w 536"/>
                <a:gd name="T63" fmla="*/ 367 h 592"/>
                <a:gd name="T64" fmla="*/ 288 w 536"/>
                <a:gd name="T65" fmla="*/ 377 h 592"/>
                <a:gd name="T66" fmla="*/ 323 w 536"/>
                <a:gd name="T67" fmla="*/ 402 h 592"/>
                <a:gd name="T68" fmla="*/ 342 w 536"/>
                <a:gd name="T69" fmla="*/ 419 h 592"/>
                <a:gd name="T70" fmla="*/ 361 w 536"/>
                <a:gd name="T71" fmla="*/ 417 h 592"/>
                <a:gd name="T72" fmla="*/ 377 w 536"/>
                <a:gd name="T73" fmla="*/ 450 h 592"/>
                <a:gd name="T74" fmla="*/ 410 w 536"/>
                <a:gd name="T75" fmla="*/ 467 h 592"/>
                <a:gd name="T76" fmla="*/ 433 w 536"/>
                <a:gd name="T77" fmla="*/ 534 h 592"/>
                <a:gd name="T78" fmla="*/ 419 w 536"/>
                <a:gd name="T79" fmla="*/ 555 h 592"/>
                <a:gd name="T80" fmla="*/ 408 w 536"/>
                <a:gd name="T81" fmla="*/ 584 h 592"/>
                <a:gd name="T82" fmla="*/ 436 w 536"/>
                <a:gd name="T83" fmla="*/ 573 h 592"/>
                <a:gd name="T84" fmla="*/ 452 w 536"/>
                <a:gd name="T85" fmla="*/ 534 h 592"/>
                <a:gd name="T86" fmla="*/ 479 w 536"/>
                <a:gd name="T87" fmla="*/ 517 h 592"/>
                <a:gd name="T88" fmla="*/ 448 w 536"/>
                <a:gd name="T89" fmla="*/ 479 h 592"/>
                <a:gd name="T90" fmla="*/ 448 w 536"/>
                <a:gd name="T91" fmla="*/ 450 h 592"/>
                <a:gd name="T92" fmla="*/ 473 w 536"/>
                <a:gd name="T93" fmla="*/ 421 h 592"/>
                <a:gd name="T94" fmla="*/ 498 w 536"/>
                <a:gd name="T95" fmla="*/ 431 h 592"/>
                <a:gd name="T96" fmla="*/ 511 w 536"/>
                <a:gd name="T97" fmla="*/ 450 h 592"/>
                <a:gd name="T98" fmla="*/ 533 w 536"/>
                <a:gd name="T99" fmla="*/ 454 h 592"/>
                <a:gd name="T100" fmla="*/ 517 w 536"/>
                <a:gd name="T101" fmla="*/ 417 h 592"/>
                <a:gd name="T102" fmla="*/ 488 w 536"/>
                <a:gd name="T103" fmla="*/ 400 h 592"/>
                <a:gd name="T104" fmla="*/ 448 w 536"/>
                <a:gd name="T105" fmla="*/ 377 h 592"/>
                <a:gd name="T106" fmla="*/ 410 w 536"/>
                <a:gd name="T107" fmla="*/ 354 h 592"/>
                <a:gd name="T108" fmla="*/ 396 w 536"/>
                <a:gd name="T109" fmla="*/ 331 h 592"/>
                <a:gd name="T110" fmla="*/ 354 w 536"/>
                <a:gd name="T111" fmla="*/ 317 h 592"/>
                <a:gd name="T112" fmla="*/ 312 w 536"/>
                <a:gd name="T113" fmla="*/ 258 h 592"/>
                <a:gd name="T114" fmla="*/ 281 w 536"/>
                <a:gd name="T115" fmla="*/ 219 h 592"/>
                <a:gd name="T116" fmla="*/ 240 w 536"/>
                <a:gd name="T117" fmla="*/ 171 h 592"/>
                <a:gd name="T118" fmla="*/ 248 w 536"/>
                <a:gd name="T119" fmla="*/ 208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592">
                  <a:moveTo>
                    <a:pt x="244" y="148"/>
                  </a:moveTo>
                  <a:lnTo>
                    <a:pt x="246" y="150"/>
                  </a:lnTo>
                  <a:lnTo>
                    <a:pt x="248" y="150"/>
                  </a:lnTo>
                  <a:lnTo>
                    <a:pt x="248" y="146"/>
                  </a:lnTo>
                  <a:lnTo>
                    <a:pt x="250" y="148"/>
                  </a:lnTo>
                  <a:lnTo>
                    <a:pt x="252" y="144"/>
                  </a:lnTo>
                  <a:lnTo>
                    <a:pt x="252" y="142"/>
                  </a:lnTo>
                  <a:lnTo>
                    <a:pt x="252" y="138"/>
                  </a:lnTo>
                  <a:lnTo>
                    <a:pt x="252" y="137"/>
                  </a:lnTo>
                  <a:lnTo>
                    <a:pt x="250" y="137"/>
                  </a:lnTo>
                  <a:lnTo>
                    <a:pt x="248" y="135"/>
                  </a:lnTo>
                  <a:lnTo>
                    <a:pt x="246" y="135"/>
                  </a:lnTo>
                  <a:lnTo>
                    <a:pt x="246" y="133"/>
                  </a:lnTo>
                  <a:lnTo>
                    <a:pt x="244" y="131"/>
                  </a:lnTo>
                  <a:lnTo>
                    <a:pt x="242" y="129"/>
                  </a:lnTo>
                  <a:lnTo>
                    <a:pt x="242" y="123"/>
                  </a:lnTo>
                  <a:lnTo>
                    <a:pt x="240" y="125"/>
                  </a:lnTo>
                  <a:lnTo>
                    <a:pt x="238" y="121"/>
                  </a:lnTo>
                  <a:lnTo>
                    <a:pt x="238" y="117"/>
                  </a:lnTo>
                  <a:lnTo>
                    <a:pt x="242" y="108"/>
                  </a:lnTo>
                  <a:lnTo>
                    <a:pt x="244" y="106"/>
                  </a:lnTo>
                  <a:lnTo>
                    <a:pt x="246" y="106"/>
                  </a:lnTo>
                  <a:lnTo>
                    <a:pt x="248" y="104"/>
                  </a:lnTo>
                  <a:lnTo>
                    <a:pt x="250" y="104"/>
                  </a:lnTo>
                  <a:lnTo>
                    <a:pt x="252" y="102"/>
                  </a:lnTo>
                  <a:lnTo>
                    <a:pt x="254" y="102"/>
                  </a:lnTo>
                  <a:lnTo>
                    <a:pt x="254" y="104"/>
                  </a:lnTo>
                  <a:lnTo>
                    <a:pt x="252" y="106"/>
                  </a:lnTo>
                  <a:lnTo>
                    <a:pt x="250" y="108"/>
                  </a:lnTo>
                  <a:lnTo>
                    <a:pt x="248" y="108"/>
                  </a:lnTo>
                  <a:lnTo>
                    <a:pt x="248" y="110"/>
                  </a:lnTo>
                  <a:lnTo>
                    <a:pt x="250" y="110"/>
                  </a:lnTo>
                  <a:lnTo>
                    <a:pt x="258" y="106"/>
                  </a:lnTo>
                  <a:lnTo>
                    <a:pt x="263" y="102"/>
                  </a:lnTo>
                  <a:lnTo>
                    <a:pt x="271" y="96"/>
                  </a:lnTo>
                  <a:lnTo>
                    <a:pt x="275" y="96"/>
                  </a:lnTo>
                  <a:lnTo>
                    <a:pt x="277" y="94"/>
                  </a:lnTo>
                  <a:lnTo>
                    <a:pt x="279" y="92"/>
                  </a:lnTo>
                  <a:lnTo>
                    <a:pt x="275" y="92"/>
                  </a:lnTo>
                  <a:lnTo>
                    <a:pt x="277" y="88"/>
                  </a:lnTo>
                  <a:lnTo>
                    <a:pt x="281" y="87"/>
                  </a:lnTo>
                  <a:lnTo>
                    <a:pt x="283" y="88"/>
                  </a:lnTo>
                  <a:lnTo>
                    <a:pt x="288" y="88"/>
                  </a:lnTo>
                  <a:lnTo>
                    <a:pt x="290" y="90"/>
                  </a:lnTo>
                  <a:lnTo>
                    <a:pt x="292" y="88"/>
                  </a:lnTo>
                  <a:lnTo>
                    <a:pt x="294" y="90"/>
                  </a:lnTo>
                  <a:lnTo>
                    <a:pt x="294" y="88"/>
                  </a:lnTo>
                  <a:lnTo>
                    <a:pt x="296" y="88"/>
                  </a:lnTo>
                  <a:lnTo>
                    <a:pt x="296" y="87"/>
                  </a:lnTo>
                  <a:lnTo>
                    <a:pt x="298" y="85"/>
                  </a:lnTo>
                  <a:lnTo>
                    <a:pt x="300" y="87"/>
                  </a:lnTo>
                  <a:lnTo>
                    <a:pt x="300" y="88"/>
                  </a:lnTo>
                  <a:lnTo>
                    <a:pt x="304" y="94"/>
                  </a:lnTo>
                  <a:lnTo>
                    <a:pt x="306" y="98"/>
                  </a:lnTo>
                  <a:lnTo>
                    <a:pt x="304" y="98"/>
                  </a:lnTo>
                  <a:lnTo>
                    <a:pt x="306" y="100"/>
                  </a:lnTo>
                  <a:lnTo>
                    <a:pt x="308" y="100"/>
                  </a:lnTo>
                  <a:lnTo>
                    <a:pt x="310" y="100"/>
                  </a:lnTo>
                  <a:lnTo>
                    <a:pt x="312" y="98"/>
                  </a:lnTo>
                  <a:lnTo>
                    <a:pt x="312" y="94"/>
                  </a:lnTo>
                  <a:lnTo>
                    <a:pt x="310" y="90"/>
                  </a:lnTo>
                  <a:lnTo>
                    <a:pt x="304" y="88"/>
                  </a:lnTo>
                  <a:lnTo>
                    <a:pt x="302" y="87"/>
                  </a:lnTo>
                  <a:lnTo>
                    <a:pt x="298" y="85"/>
                  </a:lnTo>
                  <a:lnTo>
                    <a:pt x="296" y="81"/>
                  </a:lnTo>
                  <a:lnTo>
                    <a:pt x="298" y="81"/>
                  </a:lnTo>
                  <a:lnTo>
                    <a:pt x="300" y="79"/>
                  </a:lnTo>
                  <a:lnTo>
                    <a:pt x="300" y="77"/>
                  </a:lnTo>
                  <a:lnTo>
                    <a:pt x="298" y="73"/>
                  </a:lnTo>
                  <a:lnTo>
                    <a:pt x="294" y="73"/>
                  </a:lnTo>
                  <a:lnTo>
                    <a:pt x="294" y="71"/>
                  </a:lnTo>
                  <a:lnTo>
                    <a:pt x="298" y="67"/>
                  </a:lnTo>
                  <a:lnTo>
                    <a:pt x="298" y="65"/>
                  </a:lnTo>
                  <a:lnTo>
                    <a:pt x="298" y="62"/>
                  </a:lnTo>
                  <a:lnTo>
                    <a:pt x="296" y="62"/>
                  </a:lnTo>
                  <a:lnTo>
                    <a:pt x="294" y="58"/>
                  </a:lnTo>
                  <a:lnTo>
                    <a:pt x="292" y="58"/>
                  </a:lnTo>
                  <a:lnTo>
                    <a:pt x="288" y="58"/>
                  </a:lnTo>
                  <a:lnTo>
                    <a:pt x="288" y="54"/>
                  </a:lnTo>
                  <a:lnTo>
                    <a:pt x="292" y="52"/>
                  </a:lnTo>
                  <a:lnTo>
                    <a:pt x="294" y="48"/>
                  </a:lnTo>
                  <a:lnTo>
                    <a:pt x="296" y="46"/>
                  </a:lnTo>
                  <a:lnTo>
                    <a:pt x="300" y="44"/>
                  </a:lnTo>
                  <a:lnTo>
                    <a:pt x="300" y="42"/>
                  </a:lnTo>
                  <a:lnTo>
                    <a:pt x="300" y="39"/>
                  </a:lnTo>
                  <a:lnTo>
                    <a:pt x="300" y="37"/>
                  </a:lnTo>
                  <a:lnTo>
                    <a:pt x="298" y="37"/>
                  </a:lnTo>
                  <a:lnTo>
                    <a:pt x="292" y="37"/>
                  </a:lnTo>
                  <a:lnTo>
                    <a:pt x="288" y="35"/>
                  </a:lnTo>
                  <a:lnTo>
                    <a:pt x="283" y="35"/>
                  </a:lnTo>
                  <a:lnTo>
                    <a:pt x="281" y="35"/>
                  </a:lnTo>
                  <a:lnTo>
                    <a:pt x="271" y="33"/>
                  </a:lnTo>
                  <a:lnTo>
                    <a:pt x="267" y="33"/>
                  </a:lnTo>
                  <a:lnTo>
                    <a:pt x="263" y="33"/>
                  </a:lnTo>
                  <a:lnTo>
                    <a:pt x="260" y="31"/>
                  </a:lnTo>
                  <a:lnTo>
                    <a:pt x="254" y="29"/>
                  </a:lnTo>
                  <a:lnTo>
                    <a:pt x="246" y="27"/>
                  </a:lnTo>
                  <a:lnTo>
                    <a:pt x="244" y="23"/>
                  </a:lnTo>
                  <a:lnTo>
                    <a:pt x="240" y="17"/>
                  </a:lnTo>
                  <a:lnTo>
                    <a:pt x="242" y="15"/>
                  </a:lnTo>
                  <a:lnTo>
                    <a:pt x="242" y="14"/>
                  </a:lnTo>
                  <a:lnTo>
                    <a:pt x="238" y="12"/>
                  </a:lnTo>
                  <a:lnTo>
                    <a:pt x="238" y="8"/>
                  </a:lnTo>
                  <a:lnTo>
                    <a:pt x="237" y="6"/>
                  </a:lnTo>
                  <a:lnTo>
                    <a:pt x="240" y="2"/>
                  </a:lnTo>
                  <a:lnTo>
                    <a:pt x="237" y="0"/>
                  </a:lnTo>
                  <a:lnTo>
                    <a:pt x="233" y="0"/>
                  </a:lnTo>
                  <a:lnTo>
                    <a:pt x="229" y="2"/>
                  </a:lnTo>
                  <a:lnTo>
                    <a:pt x="219" y="10"/>
                  </a:lnTo>
                  <a:lnTo>
                    <a:pt x="215" y="8"/>
                  </a:lnTo>
                  <a:lnTo>
                    <a:pt x="208" y="6"/>
                  </a:lnTo>
                  <a:lnTo>
                    <a:pt x="206" y="8"/>
                  </a:lnTo>
                  <a:lnTo>
                    <a:pt x="204" y="10"/>
                  </a:lnTo>
                  <a:lnTo>
                    <a:pt x="198" y="10"/>
                  </a:lnTo>
                  <a:lnTo>
                    <a:pt x="192" y="14"/>
                  </a:lnTo>
                  <a:lnTo>
                    <a:pt x="190" y="19"/>
                  </a:lnTo>
                  <a:lnTo>
                    <a:pt x="187" y="19"/>
                  </a:lnTo>
                  <a:lnTo>
                    <a:pt x="183" y="19"/>
                  </a:lnTo>
                  <a:lnTo>
                    <a:pt x="179" y="17"/>
                  </a:lnTo>
                  <a:lnTo>
                    <a:pt x="175" y="15"/>
                  </a:lnTo>
                  <a:lnTo>
                    <a:pt x="173" y="15"/>
                  </a:lnTo>
                  <a:lnTo>
                    <a:pt x="171" y="17"/>
                  </a:lnTo>
                  <a:lnTo>
                    <a:pt x="167" y="17"/>
                  </a:lnTo>
                  <a:lnTo>
                    <a:pt x="165" y="19"/>
                  </a:lnTo>
                  <a:lnTo>
                    <a:pt x="167" y="23"/>
                  </a:lnTo>
                  <a:lnTo>
                    <a:pt x="165" y="29"/>
                  </a:lnTo>
                  <a:lnTo>
                    <a:pt x="167" y="31"/>
                  </a:lnTo>
                  <a:lnTo>
                    <a:pt x="167" y="35"/>
                  </a:lnTo>
                  <a:lnTo>
                    <a:pt x="164" y="35"/>
                  </a:lnTo>
                  <a:lnTo>
                    <a:pt x="160" y="35"/>
                  </a:lnTo>
                  <a:lnTo>
                    <a:pt x="158" y="31"/>
                  </a:lnTo>
                  <a:lnTo>
                    <a:pt x="156" y="29"/>
                  </a:lnTo>
                  <a:lnTo>
                    <a:pt x="152" y="31"/>
                  </a:lnTo>
                  <a:lnTo>
                    <a:pt x="150" y="33"/>
                  </a:lnTo>
                  <a:lnTo>
                    <a:pt x="150" y="35"/>
                  </a:lnTo>
                  <a:lnTo>
                    <a:pt x="150" y="37"/>
                  </a:lnTo>
                  <a:lnTo>
                    <a:pt x="148" y="40"/>
                  </a:lnTo>
                  <a:lnTo>
                    <a:pt x="154" y="42"/>
                  </a:lnTo>
                  <a:lnTo>
                    <a:pt x="154" y="44"/>
                  </a:lnTo>
                  <a:lnTo>
                    <a:pt x="152" y="48"/>
                  </a:lnTo>
                  <a:lnTo>
                    <a:pt x="154" y="50"/>
                  </a:lnTo>
                  <a:lnTo>
                    <a:pt x="154" y="54"/>
                  </a:lnTo>
                  <a:lnTo>
                    <a:pt x="152" y="56"/>
                  </a:lnTo>
                  <a:lnTo>
                    <a:pt x="150" y="56"/>
                  </a:lnTo>
                  <a:lnTo>
                    <a:pt x="148" y="54"/>
                  </a:lnTo>
                  <a:lnTo>
                    <a:pt x="148" y="50"/>
                  </a:lnTo>
                  <a:lnTo>
                    <a:pt x="148" y="48"/>
                  </a:lnTo>
                  <a:lnTo>
                    <a:pt x="146" y="46"/>
                  </a:lnTo>
                  <a:lnTo>
                    <a:pt x="148" y="44"/>
                  </a:lnTo>
                  <a:lnTo>
                    <a:pt x="146" y="44"/>
                  </a:lnTo>
                  <a:lnTo>
                    <a:pt x="144" y="44"/>
                  </a:lnTo>
                  <a:lnTo>
                    <a:pt x="139" y="44"/>
                  </a:lnTo>
                  <a:lnTo>
                    <a:pt x="137" y="46"/>
                  </a:lnTo>
                  <a:lnTo>
                    <a:pt x="137" y="50"/>
                  </a:lnTo>
                  <a:lnTo>
                    <a:pt x="131" y="50"/>
                  </a:lnTo>
                  <a:lnTo>
                    <a:pt x="129" y="50"/>
                  </a:lnTo>
                  <a:lnTo>
                    <a:pt x="123" y="44"/>
                  </a:lnTo>
                  <a:lnTo>
                    <a:pt x="125" y="40"/>
                  </a:lnTo>
                  <a:lnTo>
                    <a:pt x="125" y="39"/>
                  </a:lnTo>
                  <a:lnTo>
                    <a:pt x="123" y="37"/>
                  </a:lnTo>
                  <a:lnTo>
                    <a:pt x="121" y="37"/>
                  </a:lnTo>
                  <a:lnTo>
                    <a:pt x="117" y="39"/>
                  </a:lnTo>
                  <a:lnTo>
                    <a:pt x="116" y="40"/>
                  </a:lnTo>
                  <a:lnTo>
                    <a:pt x="116" y="42"/>
                  </a:lnTo>
                  <a:lnTo>
                    <a:pt x="116" y="46"/>
                  </a:lnTo>
                  <a:lnTo>
                    <a:pt x="117" y="50"/>
                  </a:lnTo>
                  <a:lnTo>
                    <a:pt x="116" y="54"/>
                  </a:lnTo>
                  <a:lnTo>
                    <a:pt x="114" y="58"/>
                  </a:lnTo>
                  <a:lnTo>
                    <a:pt x="112" y="62"/>
                  </a:lnTo>
                  <a:lnTo>
                    <a:pt x="104" y="67"/>
                  </a:lnTo>
                  <a:lnTo>
                    <a:pt x="104" y="69"/>
                  </a:lnTo>
                  <a:lnTo>
                    <a:pt x="106" y="75"/>
                  </a:lnTo>
                  <a:lnTo>
                    <a:pt x="106" y="77"/>
                  </a:lnTo>
                  <a:lnTo>
                    <a:pt x="106" y="81"/>
                  </a:lnTo>
                  <a:lnTo>
                    <a:pt x="104" y="83"/>
                  </a:lnTo>
                  <a:lnTo>
                    <a:pt x="100" y="81"/>
                  </a:lnTo>
                  <a:lnTo>
                    <a:pt x="102" y="79"/>
                  </a:lnTo>
                  <a:lnTo>
                    <a:pt x="102" y="75"/>
                  </a:lnTo>
                  <a:lnTo>
                    <a:pt x="96" y="69"/>
                  </a:lnTo>
                  <a:lnTo>
                    <a:pt x="98" y="65"/>
                  </a:lnTo>
                  <a:lnTo>
                    <a:pt x="98" y="63"/>
                  </a:lnTo>
                  <a:lnTo>
                    <a:pt x="96" y="62"/>
                  </a:lnTo>
                  <a:lnTo>
                    <a:pt x="92" y="63"/>
                  </a:lnTo>
                  <a:lnTo>
                    <a:pt x="89" y="62"/>
                  </a:lnTo>
                  <a:lnTo>
                    <a:pt x="85" y="54"/>
                  </a:lnTo>
                  <a:lnTo>
                    <a:pt x="83" y="52"/>
                  </a:lnTo>
                  <a:lnTo>
                    <a:pt x="81" y="52"/>
                  </a:lnTo>
                  <a:lnTo>
                    <a:pt x="83" y="42"/>
                  </a:lnTo>
                  <a:lnTo>
                    <a:pt x="81" y="39"/>
                  </a:lnTo>
                  <a:lnTo>
                    <a:pt x="79" y="39"/>
                  </a:lnTo>
                  <a:lnTo>
                    <a:pt x="75" y="44"/>
                  </a:lnTo>
                  <a:lnTo>
                    <a:pt x="66" y="50"/>
                  </a:lnTo>
                  <a:lnTo>
                    <a:pt x="66" y="52"/>
                  </a:lnTo>
                  <a:lnTo>
                    <a:pt x="67" y="58"/>
                  </a:lnTo>
                  <a:lnTo>
                    <a:pt x="67" y="60"/>
                  </a:lnTo>
                  <a:lnTo>
                    <a:pt x="64" y="63"/>
                  </a:lnTo>
                  <a:lnTo>
                    <a:pt x="62" y="63"/>
                  </a:lnTo>
                  <a:lnTo>
                    <a:pt x="62" y="67"/>
                  </a:lnTo>
                  <a:lnTo>
                    <a:pt x="56" y="69"/>
                  </a:lnTo>
                  <a:lnTo>
                    <a:pt x="56" y="73"/>
                  </a:lnTo>
                  <a:lnTo>
                    <a:pt x="50" y="71"/>
                  </a:lnTo>
                  <a:lnTo>
                    <a:pt x="46" y="69"/>
                  </a:lnTo>
                  <a:lnTo>
                    <a:pt x="44" y="71"/>
                  </a:lnTo>
                  <a:lnTo>
                    <a:pt x="42" y="69"/>
                  </a:lnTo>
                  <a:lnTo>
                    <a:pt x="39" y="71"/>
                  </a:lnTo>
                  <a:lnTo>
                    <a:pt x="35" y="71"/>
                  </a:lnTo>
                  <a:lnTo>
                    <a:pt x="33" y="71"/>
                  </a:lnTo>
                  <a:lnTo>
                    <a:pt x="27" y="75"/>
                  </a:lnTo>
                  <a:lnTo>
                    <a:pt x="25" y="75"/>
                  </a:lnTo>
                  <a:lnTo>
                    <a:pt x="23" y="75"/>
                  </a:lnTo>
                  <a:lnTo>
                    <a:pt x="21" y="71"/>
                  </a:lnTo>
                  <a:lnTo>
                    <a:pt x="19" y="71"/>
                  </a:lnTo>
                  <a:lnTo>
                    <a:pt x="17" y="75"/>
                  </a:lnTo>
                  <a:lnTo>
                    <a:pt x="16" y="77"/>
                  </a:lnTo>
                  <a:lnTo>
                    <a:pt x="14" y="77"/>
                  </a:lnTo>
                  <a:lnTo>
                    <a:pt x="12" y="77"/>
                  </a:lnTo>
                  <a:lnTo>
                    <a:pt x="10" y="77"/>
                  </a:lnTo>
                  <a:lnTo>
                    <a:pt x="10" y="81"/>
                  </a:lnTo>
                  <a:lnTo>
                    <a:pt x="10" y="85"/>
                  </a:lnTo>
                  <a:lnTo>
                    <a:pt x="12" y="85"/>
                  </a:lnTo>
                  <a:lnTo>
                    <a:pt x="14" y="87"/>
                  </a:lnTo>
                  <a:lnTo>
                    <a:pt x="14" y="88"/>
                  </a:lnTo>
                  <a:lnTo>
                    <a:pt x="17" y="88"/>
                  </a:lnTo>
                  <a:lnTo>
                    <a:pt x="17" y="96"/>
                  </a:lnTo>
                  <a:lnTo>
                    <a:pt x="19" y="98"/>
                  </a:lnTo>
                  <a:lnTo>
                    <a:pt x="19" y="100"/>
                  </a:lnTo>
                  <a:lnTo>
                    <a:pt x="23" y="104"/>
                  </a:lnTo>
                  <a:lnTo>
                    <a:pt x="25" y="108"/>
                  </a:lnTo>
                  <a:lnTo>
                    <a:pt x="21" y="112"/>
                  </a:lnTo>
                  <a:lnTo>
                    <a:pt x="23" y="113"/>
                  </a:lnTo>
                  <a:lnTo>
                    <a:pt x="19" y="117"/>
                  </a:lnTo>
                  <a:lnTo>
                    <a:pt x="16" y="117"/>
                  </a:lnTo>
                  <a:lnTo>
                    <a:pt x="14" y="119"/>
                  </a:lnTo>
                  <a:lnTo>
                    <a:pt x="12" y="121"/>
                  </a:lnTo>
                  <a:lnTo>
                    <a:pt x="10" y="123"/>
                  </a:lnTo>
                  <a:lnTo>
                    <a:pt x="6" y="121"/>
                  </a:lnTo>
                  <a:lnTo>
                    <a:pt x="0" y="123"/>
                  </a:lnTo>
                  <a:lnTo>
                    <a:pt x="0" y="125"/>
                  </a:lnTo>
                  <a:lnTo>
                    <a:pt x="0" y="129"/>
                  </a:lnTo>
                  <a:lnTo>
                    <a:pt x="4" y="129"/>
                  </a:lnTo>
                  <a:lnTo>
                    <a:pt x="4" y="133"/>
                  </a:lnTo>
                  <a:lnTo>
                    <a:pt x="6" y="137"/>
                  </a:lnTo>
                  <a:lnTo>
                    <a:pt x="8" y="140"/>
                  </a:lnTo>
                  <a:lnTo>
                    <a:pt x="14" y="140"/>
                  </a:lnTo>
                  <a:lnTo>
                    <a:pt x="16" y="142"/>
                  </a:lnTo>
                  <a:lnTo>
                    <a:pt x="16" y="144"/>
                  </a:lnTo>
                  <a:lnTo>
                    <a:pt x="16" y="148"/>
                  </a:lnTo>
                  <a:lnTo>
                    <a:pt x="16" y="150"/>
                  </a:lnTo>
                  <a:lnTo>
                    <a:pt x="17" y="152"/>
                  </a:lnTo>
                  <a:lnTo>
                    <a:pt x="16" y="152"/>
                  </a:lnTo>
                  <a:lnTo>
                    <a:pt x="14" y="152"/>
                  </a:lnTo>
                  <a:lnTo>
                    <a:pt x="12" y="154"/>
                  </a:lnTo>
                  <a:lnTo>
                    <a:pt x="12" y="156"/>
                  </a:lnTo>
                  <a:lnTo>
                    <a:pt x="10" y="160"/>
                  </a:lnTo>
                  <a:lnTo>
                    <a:pt x="8" y="160"/>
                  </a:lnTo>
                  <a:lnTo>
                    <a:pt x="8" y="161"/>
                  </a:lnTo>
                  <a:lnTo>
                    <a:pt x="8" y="163"/>
                  </a:lnTo>
                  <a:lnTo>
                    <a:pt x="8" y="165"/>
                  </a:lnTo>
                  <a:lnTo>
                    <a:pt x="10" y="167"/>
                  </a:lnTo>
                  <a:lnTo>
                    <a:pt x="8" y="167"/>
                  </a:lnTo>
                  <a:lnTo>
                    <a:pt x="10" y="169"/>
                  </a:lnTo>
                  <a:lnTo>
                    <a:pt x="8" y="173"/>
                  </a:lnTo>
                  <a:lnTo>
                    <a:pt x="12" y="177"/>
                  </a:lnTo>
                  <a:lnTo>
                    <a:pt x="14" y="181"/>
                  </a:lnTo>
                  <a:lnTo>
                    <a:pt x="19" y="183"/>
                  </a:lnTo>
                  <a:lnTo>
                    <a:pt x="21" y="185"/>
                  </a:lnTo>
                  <a:lnTo>
                    <a:pt x="23" y="185"/>
                  </a:lnTo>
                  <a:lnTo>
                    <a:pt x="25" y="186"/>
                  </a:lnTo>
                  <a:lnTo>
                    <a:pt x="27" y="188"/>
                  </a:lnTo>
                  <a:lnTo>
                    <a:pt x="33" y="186"/>
                  </a:lnTo>
                  <a:lnTo>
                    <a:pt x="37" y="188"/>
                  </a:lnTo>
                  <a:lnTo>
                    <a:pt x="41" y="186"/>
                  </a:lnTo>
                  <a:lnTo>
                    <a:pt x="41" y="190"/>
                  </a:lnTo>
                  <a:lnTo>
                    <a:pt x="42" y="192"/>
                  </a:lnTo>
                  <a:lnTo>
                    <a:pt x="44" y="192"/>
                  </a:lnTo>
                  <a:lnTo>
                    <a:pt x="44" y="194"/>
                  </a:lnTo>
                  <a:lnTo>
                    <a:pt x="42" y="196"/>
                  </a:lnTo>
                  <a:lnTo>
                    <a:pt x="41" y="196"/>
                  </a:lnTo>
                  <a:lnTo>
                    <a:pt x="39" y="200"/>
                  </a:lnTo>
                  <a:lnTo>
                    <a:pt x="37" y="200"/>
                  </a:lnTo>
                  <a:lnTo>
                    <a:pt x="37" y="204"/>
                  </a:lnTo>
                  <a:lnTo>
                    <a:pt x="33" y="204"/>
                  </a:lnTo>
                  <a:lnTo>
                    <a:pt x="33" y="208"/>
                  </a:lnTo>
                  <a:lnTo>
                    <a:pt x="35" y="211"/>
                  </a:lnTo>
                  <a:lnTo>
                    <a:pt x="37" y="211"/>
                  </a:lnTo>
                  <a:lnTo>
                    <a:pt x="39" y="211"/>
                  </a:lnTo>
                  <a:lnTo>
                    <a:pt x="41" y="211"/>
                  </a:lnTo>
                  <a:lnTo>
                    <a:pt x="44" y="211"/>
                  </a:lnTo>
                  <a:lnTo>
                    <a:pt x="48" y="208"/>
                  </a:lnTo>
                  <a:lnTo>
                    <a:pt x="50" y="208"/>
                  </a:lnTo>
                  <a:lnTo>
                    <a:pt x="54" y="208"/>
                  </a:lnTo>
                  <a:lnTo>
                    <a:pt x="60" y="204"/>
                  </a:lnTo>
                  <a:lnTo>
                    <a:pt x="62" y="200"/>
                  </a:lnTo>
                  <a:lnTo>
                    <a:pt x="64" y="196"/>
                  </a:lnTo>
                  <a:lnTo>
                    <a:pt x="66" y="194"/>
                  </a:lnTo>
                  <a:lnTo>
                    <a:pt x="66" y="190"/>
                  </a:lnTo>
                  <a:lnTo>
                    <a:pt x="67" y="188"/>
                  </a:lnTo>
                  <a:lnTo>
                    <a:pt x="73" y="186"/>
                  </a:lnTo>
                  <a:lnTo>
                    <a:pt x="75" y="185"/>
                  </a:lnTo>
                  <a:lnTo>
                    <a:pt x="79" y="177"/>
                  </a:lnTo>
                  <a:lnTo>
                    <a:pt x="83" y="175"/>
                  </a:lnTo>
                  <a:lnTo>
                    <a:pt x="87" y="173"/>
                  </a:lnTo>
                  <a:lnTo>
                    <a:pt x="89" y="171"/>
                  </a:lnTo>
                  <a:lnTo>
                    <a:pt x="91" y="171"/>
                  </a:lnTo>
                  <a:lnTo>
                    <a:pt x="94" y="171"/>
                  </a:lnTo>
                  <a:lnTo>
                    <a:pt x="106" y="177"/>
                  </a:lnTo>
                  <a:lnTo>
                    <a:pt x="108" y="179"/>
                  </a:lnTo>
                  <a:lnTo>
                    <a:pt x="108" y="181"/>
                  </a:lnTo>
                  <a:lnTo>
                    <a:pt x="110" y="179"/>
                  </a:lnTo>
                  <a:lnTo>
                    <a:pt x="110" y="177"/>
                  </a:lnTo>
                  <a:lnTo>
                    <a:pt x="114" y="181"/>
                  </a:lnTo>
                  <a:lnTo>
                    <a:pt x="117" y="183"/>
                  </a:lnTo>
                  <a:lnTo>
                    <a:pt x="119" y="185"/>
                  </a:lnTo>
                  <a:lnTo>
                    <a:pt x="119" y="186"/>
                  </a:lnTo>
                  <a:lnTo>
                    <a:pt x="123" y="186"/>
                  </a:lnTo>
                  <a:lnTo>
                    <a:pt x="127" y="192"/>
                  </a:lnTo>
                  <a:lnTo>
                    <a:pt x="131" y="192"/>
                  </a:lnTo>
                  <a:lnTo>
                    <a:pt x="135" y="196"/>
                  </a:lnTo>
                  <a:lnTo>
                    <a:pt x="135" y="198"/>
                  </a:lnTo>
                  <a:lnTo>
                    <a:pt x="135" y="196"/>
                  </a:lnTo>
                  <a:lnTo>
                    <a:pt x="135" y="194"/>
                  </a:lnTo>
                  <a:lnTo>
                    <a:pt x="137" y="194"/>
                  </a:lnTo>
                  <a:lnTo>
                    <a:pt x="139" y="196"/>
                  </a:lnTo>
                  <a:lnTo>
                    <a:pt x="142" y="198"/>
                  </a:lnTo>
                  <a:lnTo>
                    <a:pt x="144" y="198"/>
                  </a:lnTo>
                  <a:lnTo>
                    <a:pt x="146" y="200"/>
                  </a:lnTo>
                  <a:lnTo>
                    <a:pt x="148" y="204"/>
                  </a:lnTo>
                  <a:lnTo>
                    <a:pt x="150" y="206"/>
                  </a:lnTo>
                  <a:lnTo>
                    <a:pt x="152" y="208"/>
                  </a:lnTo>
                  <a:lnTo>
                    <a:pt x="154" y="213"/>
                  </a:lnTo>
                  <a:lnTo>
                    <a:pt x="154" y="221"/>
                  </a:lnTo>
                  <a:lnTo>
                    <a:pt x="154" y="225"/>
                  </a:lnTo>
                  <a:lnTo>
                    <a:pt x="154" y="227"/>
                  </a:lnTo>
                  <a:lnTo>
                    <a:pt x="156" y="233"/>
                  </a:lnTo>
                  <a:lnTo>
                    <a:pt x="158" y="238"/>
                  </a:lnTo>
                  <a:lnTo>
                    <a:pt x="160" y="240"/>
                  </a:lnTo>
                  <a:lnTo>
                    <a:pt x="162" y="244"/>
                  </a:lnTo>
                  <a:lnTo>
                    <a:pt x="165" y="252"/>
                  </a:lnTo>
                  <a:lnTo>
                    <a:pt x="164" y="265"/>
                  </a:lnTo>
                  <a:lnTo>
                    <a:pt x="164" y="267"/>
                  </a:lnTo>
                  <a:lnTo>
                    <a:pt x="164" y="269"/>
                  </a:lnTo>
                  <a:lnTo>
                    <a:pt x="164" y="271"/>
                  </a:lnTo>
                  <a:lnTo>
                    <a:pt x="165" y="271"/>
                  </a:lnTo>
                  <a:lnTo>
                    <a:pt x="165" y="269"/>
                  </a:lnTo>
                  <a:lnTo>
                    <a:pt x="167" y="269"/>
                  </a:lnTo>
                  <a:lnTo>
                    <a:pt x="171" y="269"/>
                  </a:lnTo>
                  <a:lnTo>
                    <a:pt x="175" y="271"/>
                  </a:lnTo>
                  <a:lnTo>
                    <a:pt x="175" y="277"/>
                  </a:lnTo>
                  <a:lnTo>
                    <a:pt x="173" y="279"/>
                  </a:lnTo>
                  <a:lnTo>
                    <a:pt x="175" y="281"/>
                  </a:lnTo>
                  <a:lnTo>
                    <a:pt x="181" y="283"/>
                  </a:lnTo>
                  <a:lnTo>
                    <a:pt x="183" y="284"/>
                  </a:lnTo>
                  <a:lnTo>
                    <a:pt x="185" y="288"/>
                  </a:lnTo>
                  <a:lnTo>
                    <a:pt x="187" y="290"/>
                  </a:lnTo>
                  <a:lnTo>
                    <a:pt x="190" y="294"/>
                  </a:lnTo>
                  <a:lnTo>
                    <a:pt x="192" y="296"/>
                  </a:lnTo>
                  <a:lnTo>
                    <a:pt x="192" y="302"/>
                  </a:lnTo>
                  <a:lnTo>
                    <a:pt x="190" y="302"/>
                  </a:lnTo>
                  <a:lnTo>
                    <a:pt x="189" y="304"/>
                  </a:lnTo>
                  <a:lnTo>
                    <a:pt x="190" y="306"/>
                  </a:lnTo>
                  <a:lnTo>
                    <a:pt x="192" y="308"/>
                  </a:lnTo>
                  <a:lnTo>
                    <a:pt x="194" y="308"/>
                  </a:lnTo>
                  <a:lnTo>
                    <a:pt x="196" y="306"/>
                  </a:lnTo>
                  <a:lnTo>
                    <a:pt x="198" y="306"/>
                  </a:lnTo>
                  <a:lnTo>
                    <a:pt x="206" y="308"/>
                  </a:lnTo>
                  <a:lnTo>
                    <a:pt x="210" y="309"/>
                  </a:lnTo>
                  <a:lnTo>
                    <a:pt x="212" y="311"/>
                  </a:lnTo>
                  <a:lnTo>
                    <a:pt x="214" y="313"/>
                  </a:lnTo>
                  <a:lnTo>
                    <a:pt x="215" y="315"/>
                  </a:lnTo>
                  <a:lnTo>
                    <a:pt x="217" y="319"/>
                  </a:lnTo>
                  <a:lnTo>
                    <a:pt x="217" y="321"/>
                  </a:lnTo>
                  <a:lnTo>
                    <a:pt x="221" y="327"/>
                  </a:lnTo>
                  <a:lnTo>
                    <a:pt x="223" y="329"/>
                  </a:lnTo>
                  <a:lnTo>
                    <a:pt x="225" y="329"/>
                  </a:lnTo>
                  <a:lnTo>
                    <a:pt x="227" y="329"/>
                  </a:lnTo>
                  <a:lnTo>
                    <a:pt x="235" y="334"/>
                  </a:lnTo>
                  <a:lnTo>
                    <a:pt x="240" y="340"/>
                  </a:lnTo>
                  <a:lnTo>
                    <a:pt x="240" y="344"/>
                  </a:lnTo>
                  <a:lnTo>
                    <a:pt x="242" y="346"/>
                  </a:lnTo>
                  <a:lnTo>
                    <a:pt x="250" y="352"/>
                  </a:lnTo>
                  <a:lnTo>
                    <a:pt x="252" y="356"/>
                  </a:lnTo>
                  <a:lnTo>
                    <a:pt x="256" y="359"/>
                  </a:lnTo>
                  <a:lnTo>
                    <a:pt x="258" y="365"/>
                  </a:lnTo>
                  <a:lnTo>
                    <a:pt x="262" y="367"/>
                  </a:lnTo>
                  <a:lnTo>
                    <a:pt x="263" y="367"/>
                  </a:lnTo>
                  <a:lnTo>
                    <a:pt x="265" y="369"/>
                  </a:lnTo>
                  <a:lnTo>
                    <a:pt x="267" y="369"/>
                  </a:lnTo>
                  <a:lnTo>
                    <a:pt x="269" y="371"/>
                  </a:lnTo>
                  <a:lnTo>
                    <a:pt x="273" y="373"/>
                  </a:lnTo>
                  <a:lnTo>
                    <a:pt x="277" y="377"/>
                  </a:lnTo>
                  <a:lnTo>
                    <a:pt x="279" y="382"/>
                  </a:lnTo>
                  <a:lnTo>
                    <a:pt x="281" y="382"/>
                  </a:lnTo>
                  <a:lnTo>
                    <a:pt x="283" y="381"/>
                  </a:lnTo>
                  <a:lnTo>
                    <a:pt x="283" y="379"/>
                  </a:lnTo>
                  <a:lnTo>
                    <a:pt x="285" y="377"/>
                  </a:lnTo>
                  <a:lnTo>
                    <a:pt x="288" y="377"/>
                  </a:lnTo>
                  <a:lnTo>
                    <a:pt x="292" y="377"/>
                  </a:lnTo>
                  <a:lnTo>
                    <a:pt x="296" y="379"/>
                  </a:lnTo>
                  <a:lnTo>
                    <a:pt x="300" y="382"/>
                  </a:lnTo>
                  <a:lnTo>
                    <a:pt x="302" y="382"/>
                  </a:lnTo>
                  <a:lnTo>
                    <a:pt x="304" y="382"/>
                  </a:lnTo>
                  <a:lnTo>
                    <a:pt x="304" y="381"/>
                  </a:lnTo>
                  <a:lnTo>
                    <a:pt x="308" y="381"/>
                  </a:lnTo>
                  <a:lnTo>
                    <a:pt x="310" y="381"/>
                  </a:lnTo>
                  <a:lnTo>
                    <a:pt x="313" y="388"/>
                  </a:lnTo>
                  <a:lnTo>
                    <a:pt x="317" y="390"/>
                  </a:lnTo>
                  <a:lnTo>
                    <a:pt x="319" y="396"/>
                  </a:lnTo>
                  <a:lnTo>
                    <a:pt x="323" y="402"/>
                  </a:lnTo>
                  <a:lnTo>
                    <a:pt x="325" y="404"/>
                  </a:lnTo>
                  <a:lnTo>
                    <a:pt x="325" y="409"/>
                  </a:lnTo>
                  <a:lnTo>
                    <a:pt x="327" y="411"/>
                  </a:lnTo>
                  <a:lnTo>
                    <a:pt x="327" y="409"/>
                  </a:lnTo>
                  <a:lnTo>
                    <a:pt x="331" y="407"/>
                  </a:lnTo>
                  <a:lnTo>
                    <a:pt x="338" y="407"/>
                  </a:lnTo>
                  <a:lnTo>
                    <a:pt x="342" y="411"/>
                  </a:lnTo>
                  <a:lnTo>
                    <a:pt x="344" y="413"/>
                  </a:lnTo>
                  <a:lnTo>
                    <a:pt x="346" y="415"/>
                  </a:lnTo>
                  <a:lnTo>
                    <a:pt x="344" y="417"/>
                  </a:lnTo>
                  <a:lnTo>
                    <a:pt x="344" y="419"/>
                  </a:lnTo>
                  <a:lnTo>
                    <a:pt x="342" y="419"/>
                  </a:lnTo>
                  <a:lnTo>
                    <a:pt x="340" y="419"/>
                  </a:lnTo>
                  <a:lnTo>
                    <a:pt x="338" y="423"/>
                  </a:lnTo>
                  <a:lnTo>
                    <a:pt x="340" y="423"/>
                  </a:lnTo>
                  <a:lnTo>
                    <a:pt x="342" y="421"/>
                  </a:lnTo>
                  <a:lnTo>
                    <a:pt x="344" y="421"/>
                  </a:lnTo>
                  <a:lnTo>
                    <a:pt x="346" y="421"/>
                  </a:lnTo>
                  <a:lnTo>
                    <a:pt x="350" y="421"/>
                  </a:lnTo>
                  <a:lnTo>
                    <a:pt x="352" y="419"/>
                  </a:lnTo>
                  <a:lnTo>
                    <a:pt x="356" y="419"/>
                  </a:lnTo>
                  <a:lnTo>
                    <a:pt x="358" y="415"/>
                  </a:lnTo>
                  <a:lnTo>
                    <a:pt x="360" y="415"/>
                  </a:lnTo>
                  <a:lnTo>
                    <a:pt x="361" y="417"/>
                  </a:lnTo>
                  <a:lnTo>
                    <a:pt x="367" y="425"/>
                  </a:lnTo>
                  <a:lnTo>
                    <a:pt x="367" y="429"/>
                  </a:lnTo>
                  <a:lnTo>
                    <a:pt x="371" y="436"/>
                  </a:lnTo>
                  <a:lnTo>
                    <a:pt x="369" y="436"/>
                  </a:lnTo>
                  <a:lnTo>
                    <a:pt x="369" y="438"/>
                  </a:lnTo>
                  <a:lnTo>
                    <a:pt x="367" y="440"/>
                  </a:lnTo>
                  <a:lnTo>
                    <a:pt x="367" y="442"/>
                  </a:lnTo>
                  <a:lnTo>
                    <a:pt x="367" y="444"/>
                  </a:lnTo>
                  <a:lnTo>
                    <a:pt x="369" y="446"/>
                  </a:lnTo>
                  <a:lnTo>
                    <a:pt x="373" y="448"/>
                  </a:lnTo>
                  <a:lnTo>
                    <a:pt x="375" y="448"/>
                  </a:lnTo>
                  <a:lnTo>
                    <a:pt x="377" y="450"/>
                  </a:lnTo>
                  <a:lnTo>
                    <a:pt x="379" y="452"/>
                  </a:lnTo>
                  <a:lnTo>
                    <a:pt x="385" y="455"/>
                  </a:lnTo>
                  <a:lnTo>
                    <a:pt x="385" y="457"/>
                  </a:lnTo>
                  <a:lnTo>
                    <a:pt x="392" y="457"/>
                  </a:lnTo>
                  <a:lnTo>
                    <a:pt x="394" y="455"/>
                  </a:lnTo>
                  <a:lnTo>
                    <a:pt x="396" y="454"/>
                  </a:lnTo>
                  <a:lnTo>
                    <a:pt x="400" y="454"/>
                  </a:lnTo>
                  <a:lnTo>
                    <a:pt x="402" y="454"/>
                  </a:lnTo>
                  <a:lnTo>
                    <a:pt x="404" y="457"/>
                  </a:lnTo>
                  <a:lnTo>
                    <a:pt x="406" y="461"/>
                  </a:lnTo>
                  <a:lnTo>
                    <a:pt x="410" y="465"/>
                  </a:lnTo>
                  <a:lnTo>
                    <a:pt x="410" y="467"/>
                  </a:lnTo>
                  <a:lnTo>
                    <a:pt x="411" y="473"/>
                  </a:lnTo>
                  <a:lnTo>
                    <a:pt x="411" y="477"/>
                  </a:lnTo>
                  <a:lnTo>
                    <a:pt x="413" y="484"/>
                  </a:lnTo>
                  <a:lnTo>
                    <a:pt x="419" y="490"/>
                  </a:lnTo>
                  <a:lnTo>
                    <a:pt x="421" y="500"/>
                  </a:lnTo>
                  <a:lnTo>
                    <a:pt x="425" y="515"/>
                  </a:lnTo>
                  <a:lnTo>
                    <a:pt x="427" y="519"/>
                  </a:lnTo>
                  <a:lnTo>
                    <a:pt x="427" y="521"/>
                  </a:lnTo>
                  <a:lnTo>
                    <a:pt x="429" y="523"/>
                  </a:lnTo>
                  <a:lnTo>
                    <a:pt x="431" y="525"/>
                  </a:lnTo>
                  <a:lnTo>
                    <a:pt x="433" y="527"/>
                  </a:lnTo>
                  <a:lnTo>
                    <a:pt x="433" y="534"/>
                  </a:lnTo>
                  <a:lnTo>
                    <a:pt x="431" y="536"/>
                  </a:lnTo>
                  <a:lnTo>
                    <a:pt x="431" y="538"/>
                  </a:lnTo>
                  <a:lnTo>
                    <a:pt x="423" y="538"/>
                  </a:lnTo>
                  <a:lnTo>
                    <a:pt x="423" y="540"/>
                  </a:lnTo>
                  <a:lnTo>
                    <a:pt x="421" y="542"/>
                  </a:lnTo>
                  <a:lnTo>
                    <a:pt x="419" y="542"/>
                  </a:lnTo>
                  <a:lnTo>
                    <a:pt x="417" y="542"/>
                  </a:lnTo>
                  <a:lnTo>
                    <a:pt x="415" y="544"/>
                  </a:lnTo>
                  <a:lnTo>
                    <a:pt x="415" y="546"/>
                  </a:lnTo>
                  <a:lnTo>
                    <a:pt x="419" y="552"/>
                  </a:lnTo>
                  <a:lnTo>
                    <a:pt x="419" y="553"/>
                  </a:lnTo>
                  <a:lnTo>
                    <a:pt x="419" y="555"/>
                  </a:lnTo>
                  <a:lnTo>
                    <a:pt x="417" y="561"/>
                  </a:lnTo>
                  <a:lnTo>
                    <a:pt x="415" y="567"/>
                  </a:lnTo>
                  <a:lnTo>
                    <a:pt x="415" y="569"/>
                  </a:lnTo>
                  <a:lnTo>
                    <a:pt x="411" y="571"/>
                  </a:lnTo>
                  <a:lnTo>
                    <a:pt x="410" y="573"/>
                  </a:lnTo>
                  <a:lnTo>
                    <a:pt x="408" y="571"/>
                  </a:lnTo>
                  <a:lnTo>
                    <a:pt x="408" y="573"/>
                  </a:lnTo>
                  <a:lnTo>
                    <a:pt x="406" y="573"/>
                  </a:lnTo>
                  <a:lnTo>
                    <a:pt x="408" y="577"/>
                  </a:lnTo>
                  <a:lnTo>
                    <a:pt x="408" y="578"/>
                  </a:lnTo>
                  <a:lnTo>
                    <a:pt x="408" y="580"/>
                  </a:lnTo>
                  <a:lnTo>
                    <a:pt x="408" y="584"/>
                  </a:lnTo>
                  <a:lnTo>
                    <a:pt x="408" y="586"/>
                  </a:lnTo>
                  <a:lnTo>
                    <a:pt x="410" y="588"/>
                  </a:lnTo>
                  <a:lnTo>
                    <a:pt x="413" y="590"/>
                  </a:lnTo>
                  <a:lnTo>
                    <a:pt x="415" y="592"/>
                  </a:lnTo>
                  <a:lnTo>
                    <a:pt x="423" y="592"/>
                  </a:lnTo>
                  <a:lnTo>
                    <a:pt x="429" y="590"/>
                  </a:lnTo>
                  <a:lnTo>
                    <a:pt x="429" y="588"/>
                  </a:lnTo>
                  <a:lnTo>
                    <a:pt x="433" y="582"/>
                  </a:lnTo>
                  <a:lnTo>
                    <a:pt x="433" y="578"/>
                  </a:lnTo>
                  <a:lnTo>
                    <a:pt x="433" y="577"/>
                  </a:lnTo>
                  <a:lnTo>
                    <a:pt x="434" y="575"/>
                  </a:lnTo>
                  <a:lnTo>
                    <a:pt x="436" y="573"/>
                  </a:lnTo>
                  <a:lnTo>
                    <a:pt x="440" y="565"/>
                  </a:lnTo>
                  <a:lnTo>
                    <a:pt x="442" y="565"/>
                  </a:lnTo>
                  <a:lnTo>
                    <a:pt x="446" y="563"/>
                  </a:lnTo>
                  <a:lnTo>
                    <a:pt x="448" y="561"/>
                  </a:lnTo>
                  <a:lnTo>
                    <a:pt x="452" y="557"/>
                  </a:lnTo>
                  <a:lnTo>
                    <a:pt x="452" y="553"/>
                  </a:lnTo>
                  <a:lnTo>
                    <a:pt x="452" y="550"/>
                  </a:lnTo>
                  <a:lnTo>
                    <a:pt x="452" y="548"/>
                  </a:lnTo>
                  <a:lnTo>
                    <a:pt x="452" y="546"/>
                  </a:lnTo>
                  <a:lnTo>
                    <a:pt x="450" y="540"/>
                  </a:lnTo>
                  <a:lnTo>
                    <a:pt x="448" y="538"/>
                  </a:lnTo>
                  <a:lnTo>
                    <a:pt x="452" y="534"/>
                  </a:lnTo>
                  <a:lnTo>
                    <a:pt x="452" y="532"/>
                  </a:lnTo>
                  <a:lnTo>
                    <a:pt x="454" y="530"/>
                  </a:lnTo>
                  <a:lnTo>
                    <a:pt x="458" y="529"/>
                  </a:lnTo>
                  <a:lnTo>
                    <a:pt x="463" y="525"/>
                  </a:lnTo>
                  <a:lnTo>
                    <a:pt x="467" y="523"/>
                  </a:lnTo>
                  <a:lnTo>
                    <a:pt x="469" y="525"/>
                  </a:lnTo>
                  <a:lnTo>
                    <a:pt x="471" y="525"/>
                  </a:lnTo>
                  <a:lnTo>
                    <a:pt x="473" y="525"/>
                  </a:lnTo>
                  <a:lnTo>
                    <a:pt x="475" y="525"/>
                  </a:lnTo>
                  <a:lnTo>
                    <a:pt x="475" y="523"/>
                  </a:lnTo>
                  <a:lnTo>
                    <a:pt x="477" y="517"/>
                  </a:lnTo>
                  <a:lnTo>
                    <a:pt x="479" y="517"/>
                  </a:lnTo>
                  <a:lnTo>
                    <a:pt x="479" y="515"/>
                  </a:lnTo>
                  <a:lnTo>
                    <a:pt x="477" y="515"/>
                  </a:lnTo>
                  <a:lnTo>
                    <a:pt x="475" y="513"/>
                  </a:lnTo>
                  <a:lnTo>
                    <a:pt x="473" y="511"/>
                  </a:lnTo>
                  <a:lnTo>
                    <a:pt x="475" y="494"/>
                  </a:lnTo>
                  <a:lnTo>
                    <a:pt x="475" y="492"/>
                  </a:lnTo>
                  <a:lnTo>
                    <a:pt x="469" y="488"/>
                  </a:lnTo>
                  <a:lnTo>
                    <a:pt x="461" y="484"/>
                  </a:lnTo>
                  <a:lnTo>
                    <a:pt x="459" y="482"/>
                  </a:lnTo>
                  <a:lnTo>
                    <a:pt x="456" y="480"/>
                  </a:lnTo>
                  <a:lnTo>
                    <a:pt x="452" y="480"/>
                  </a:lnTo>
                  <a:lnTo>
                    <a:pt x="448" y="479"/>
                  </a:lnTo>
                  <a:lnTo>
                    <a:pt x="446" y="479"/>
                  </a:lnTo>
                  <a:lnTo>
                    <a:pt x="444" y="477"/>
                  </a:lnTo>
                  <a:lnTo>
                    <a:pt x="444" y="475"/>
                  </a:lnTo>
                  <a:lnTo>
                    <a:pt x="442" y="473"/>
                  </a:lnTo>
                  <a:lnTo>
                    <a:pt x="442" y="467"/>
                  </a:lnTo>
                  <a:lnTo>
                    <a:pt x="444" y="465"/>
                  </a:lnTo>
                  <a:lnTo>
                    <a:pt x="446" y="461"/>
                  </a:lnTo>
                  <a:lnTo>
                    <a:pt x="448" y="459"/>
                  </a:lnTo>
                  <a:lnTo>
                    <a:pt x="448" y="457"/>
                  </a:lnTo>
                  <a:lnTo>
                    <a:pt x="448" y="455"/>
                  </a:lnTo>
                  <a:lnTo>
                    <a:pt x="448" y="452"/>
                  </a:lnTo>
                  <a:lnTo>
                    <a:pt x="448" y="450"/>
                  </a:lnTo>
                  <a:lnTo>
                    <a:pt x="452" y="444"/>
                  </a:lnTo>
                  <a:lnTo>
                    <a:pt x="454" y="440"/>
                  </a:lnTo>
                  <a:lnTo>
                    <a:pt x="454" y="436"/>
                  </a:lnTo>
                  <a:lnTo>
                    <a:pt x="456" y="434"/>
                  </a:lnTo>
                  <a:lnTo>
                    <a:pt x="458" y="431"/>
                  </a:lnTo>
                  <a:lnTo>
                    <a:pt x="459" y="429"/>
                  </a:lnTo>
                  <a:lnTo>
                    <a:pt x="461" y="423"/>
                  </a:lnTo>
                  <a:lnTo>
                    <a:pt x="463" y="423"/>
                  </a:lnTo>
                  <a:lnTo>
                    <a:pt x="467" y="419"/>
                  </a:lnTo>
                  <a:lnTo>
                    <a:pt x="469" y="419"/>
                  </a:lnTo>
                  <a:lnTo>
                    <a:pt x="471" y="419"/>
                  </a:lnTo>
                  <a:lnTo>
                    <a:pt x="473" y="421"/>
                  </a:lnTo>
                  <a:lnTo>
                    <a:pt x="475" y="421"/>
                  </a:lnTo>
                  <a:lnTo>
                    <a:pt x="477" y="421"/>
                  </a:lnTo>
                  <a:lnTo>
                    <a:pt x="479" y="421"/>
                  </a:lnTo>
                  <a:lnTo>
                    <a:pt x="479" y="423"/>
                  </a:lnTo>
                  <a:lnTo>
                    <a:pt x="475" y="423"/>
                  </a:lnTo>
                  <a:lnTo>
                    <a:pt x="475" y="425"/>
                  </a:lnTo>
                  <a:lnTo>
                    <a:pt x="475" y="427"/>
                  </a:lnTo>
                  <a:lnTo>
                    <a:pt x="479" y="427"/>
                  </a:lnTo>
                  <a:lnTo>
                    <a:pt x="481" y="429"/>
                  </a:lnTo>
                  <a:lnTo>
                    <a:pt x="486" y="431"/>
                  </a:lnTo>
                  <a:lnTo>
                    <a:pt x="488" y="432"/>
                  </a:lnTo>
                  <a:lnTo>
                    <a:pt x="498" y="431"/>
                  </a:lnTo>
                  <a:lnTo>
                    <a:pt x="504" y="432"/>
                  </a:lnTo>
                  <a:lnTo>
                    <a:pt x="508" y="434"/>
                  </a:lnTo>
                  <a:lnTo>
                    <a:pt x="508" y="438"/>
                  </a:lnTo>
                  <a:lnTo>
                    <a:pt x="511" y="440"/>
                  </a:lnTo>
                  <a:lnTo>
                    <a:pt x="513" y="442"/>
                  </a:lnTo>
                  <a:lnTo>
                    <a:pt x="513" y="444"/>
                  </a:lnTo>
                  <a:lnTo>
                    <a:pt x="511" y="444"/>
                  </a:lnTo>
                  <a:lnTo>
                    <a:pt x="511" y="446"/>
                  </a:lnTo>
                  <a:lnTo>
                    <a:pt x="513" y="448"/>
                  </a:lnTo>
                  <a:lnTo>
                    <a:pt x="515" y="448"/>
                  </a:lnTo>
                  <a:lnTo>
                    <a:pt x="513" y="450"/>
                  </a:lnTo>
                  <a:lnTo>
                    <a:pt x="511" y="450"/>
                  </a:lnTo>
                  <a:lnTo>
                    <a:pt x="513" y="452"/>
                  </a:lnTo>
                  <a:lnTo>
                    <a:pt x="515" y="452"/>
                  </a:lnTo>
                  <a:lnTo>
                    <a:pt x="517" y="454"/>
                  </a:lnTo>
                  <a:lnTo>
                    <a:pt x="519" y="457"/>
                  </a:lnTo>
                  <a:lnTo>
                    <a:pt x="523" y="459"/>
                  </a:lnTo>
                  <a:lnTo>
                    <a:pt x="525" y="459"/>
                  </a:lnTo>
                  <a:lnTo>
                    <a:pt x="527" y="461"/>
                  </a:lnTo>
                  <a:lnTo>
                    <a:pt x="531" y="463"/>
                  </a:lnTo>
                  <a:lnTo>
                    <a:pt x="533" y="461"/>
                  </a:lnTo>
                  <a:lnTo>
                    <a:pt x="533" y="459"/>
                  </a:lnTo>
                  <a:lnTo>
                    <a:pt x="533" y="457"/>
                  </a:lnTo>
                  <a:lnTo>
                    <a:pt x="533" y="454"/>
                  </a:lnTo>
                  <a:lnTo>
                    <a:pt x="533" y="450"/>
                  </a:lnTo>
                  <a:lnTo>
                    <a:pt x="534" y="444"/>
                  </a:lnTo>
                  <a:lnTo>
                    <a:pt x="536" y="442"/>
                  </a:lnTo>
                  <a:lnTo>
                    <a:pt x="536" y="438"/>
                  </a:lnTo>
                  <a:lnTo>
                    <a:pt x="534" y="436"/>
                  </a:lnTo>
                  <a:lnTo>
                    <a:pt x="534" y="434"/>
                  </a:lnTo>
                  <a:lnTo>
                    <a:pt x="533" y="431"/>
                  </a:lnTo>
                  <a:lnTo>
                    <a:pt x="533" y="429"/>
                  </a:lnTo>
                  <a:lnTo>
                    <a:pt x="529" y="427"/>
                  </a:lnTo>
                  <a:lnTo>
                    <a:pt x="525" y="423"/>
                  </a:lnTo>
                  <a:lnTo>
                    <a:pt x="521" y="419"/>
                  </a:lnTo>
                  <a:lnTo>
                    <a:pt x="517" y="417"/>
                  </a:lnTo>
                  <a:lnTo>
                    <a:pt x="513" y="413"/>
                  </a:lnTo>
                  <a:lnTo>
                    <a:pt x="513" y="409"/>
                  </a:lnTo>
                  <a:lnTo>
                    <a:pt x="511" y="409"/>
                  </a:lnTo>
                  <a:lnTo>
                    <a:pt x="511" y="407"/>
                  </a:lnTo>
                  <a:lnTo>
                    <a:pt x="508" y="409"/>
                  </a:lnTo>
                  <a:lnTo>
                    <a:pt x="508" y="407"/>
                  </a:lnTo>
                  <a:lnTo>
                    <a:pt x="504" y="406"/>
                  </a:lnTo>
                  <a:lnTo>
                    <a:pt x="500" y="406"/>
                  </a:lnTo>
                  <a:lnTo>
                    <a:pt x="496" y="402"/>
                  </a:lnTo>
                  <a:lnTo>
                    <a:pt x="494" y="402"/>
                  </a:lnTo>
                  <a:lnTo>
                    <a:pt x="490" y="400"/>
                  </a:lnTo>
                  <a:lnTo>
                    <a:pt x="488" y="400"/>
                  </a:lnTo>
                  <a:lnTo>
                    <a:pt x="486" y="398"/>
                  </a:lnTo>
                  <a:lnTo>
                    <a:pt x="484" y="396"/>
                  </a:lnTo>
                  <a:lnTo>
                    <a:pt x="483" y="396"/>
                  </a:lnTo>
                  <a:lnTo>
                    <a:pt x="481" y="392"/>
                  </a:lnTo>
                  <a:lnTo>
                    <a:pt x="477" y="390"/>
                  </a:lnTo>
                  <a:lnTo>
                    <a:pt x="475" y="388"/>
                  </a:lnTo>
                  <a:lnTo>
                    <a:pt x="473" y="388"/>
                  </a:lnTo>
                  <a:lnTo>
                    <a:pt x="471" y="386"/>
                  </a:lnTo>
                  <a:lnTo>
                    <a:pt x="469" y="384"/>
                  </a:lnTo>
                  <a:lnTo>
                    <a:pt x="465" y="384"/>
                  </a:lnTo>
                  <a:lnTo>
                    <a:pt x="463" y="382"/>
                  </a:lnTo>
                  <a:lnTo>
                    <a:pt x="448" y="377"/>
                  </a:lnTo>
                  <a:lnTo>
                    <a:pt x="446" y="377"/>
                  </a:lnTo>
                  <a:lnTo>
                    <a:pt x="444" y="377"/>
                  </a:lnTo>
                  <a:lnTo>
                    <a:pt x="438" y="375"/>
                  </a:lnTo>
                  <a:lnTo>
                    <a:pt x="436" y="373"/>
                  </a:lnTo>
                  <a:lnTo>
                    <a:pt x="433" y="371"/>
                  </a:lnTo>
                  <a:lnTo>
                    <a:pt x="429" y="369"/>
                  </a:lnTo>
                  <a:lnTo>
                    <a:pt x="425" y="369"/>
                  </a:lnTo>
                  <a:lnTo>
                    <a:pt x="419" y="365"/>
                  </a:lnTo>
                  <a:lnTo>
                    <a:pt x="415" y="363"/>
                  </a:lnTo>
                  <a:lnTo>
                    <a:pt x="411" y="359"/>
                  </a:lnTo>
                  <a:lnTo>
                    <a:pt x="410" y="357"/>
                  </a:lnTo>
                  <a:lnTo>
                    <a:pt x="410" y="354"/>
                  </a:lnTo>
                  <a:lnTo>
                    <a:pt x="410" y="352"/>
                  </a:lnTo>
                  <a:lnTo>
                    <a:pt x="413" y="348"/>
                  </a:lnTo>
                  <a:lnTo>
                    <a:pt x="415" y="348"/>
                  </a:lnTo>
                  <a:lnTo>
                    <a:pt x="421" y="340"/>
                  </a:lnTo>
                  <a:lnTo>
                    <a:pt x="423" y="340"/>
                  </a:lnTo>
                  <a:lnTo>
                    <a:pt x="423" y="338"/>
                  </a:lnTo>
                  <a:lnTo>
                    <a:pt x="421" y="334"/>
                  </a:lnTo>
                  <a:lnTo>
                    <a:pt x="421" y="333"/>
                  </a:lnTo>
                  <a:lnTo>
                    <a:pt x="417" y="331"/>
                  </a:lnTo>
                  <a:lnTo>
                    <a:pt x="415" y="329"/>
                  </a:lnTo>
                  <a:lnTo>
                    <a:pt x="400" y="333"/>
                  </a:lnTo>
                  <a:lnTo>
                    <a:pt x="396" y="331"/>
                  </a:lnTo>
                  <a:lnTo>
                    <a:pt x="390" y="333"/>
                  </a:lnTo>
                  <a:lnTo>
                    <a:pt x="386" y="333"/>
                  </a:lnTo>
                  <a:lnTo>
                    <a:pt x="383" y="333"/>
                  </a:lnTo>
                  <a:lnTo>
                    <a:pt x="377" y="333"/>
                  </a:lnTo>
                  <a:lnTo>
                    <a:pt x="375" y="333"/>
                  </a:lnTo>
                  <a:lnTo>
                    <a:pt x="365" y="327"/>
                  </a:lnTo>
                  <a:lnTo>
                    <a:pt x="363" y="327"/>
                  </a:lnTo>
                  <a:lnTo>
                    <a:pt x="360" y="325"/>
                  </a:lnTo>
                  <a:lnTo>
                    <a:pt x="356" y="323"/>
                  </a:lnTo>
                  <a:lnTo>
                    <a:pt x="354" y="323"/>
                  </a:lnTo>
                  <a:lnTo>
                    <a:pt x="354" y="319"/>
                  </a:lnTo>
                  <a:lnTo>
                    <a:pt x="354" y="317"/>
                  </a:lnTo>
                  <a:lnTo>
                    <a:pt x="346" y="315"/>
                  </a:lnTo>
                  <a:lnTo>
                    <a:pt x="340" y="309"/>
                  </a:lnTo>
                  <a:lnTo>
                    <a:pt x="336" y="306"/>
                  </a:lnTo>
                  <a:lnTo>
                    <a:pt x="333" y="302"/>
                  </a:lnTo>
                  <a:lnTo>
                    <a:pt x="327" y="296"/>
                  </a:lnTo>
                  <a:lnTo>
                    <a:pt x="321" y="286"/>
                  </a:lnTo>
                  <a:lnTo>
                    <a:pt x="319" y="283"/>
                  </a:lnTo>
                  <a:lnTo>
                    <a:pt x="317" y="277"/>
                  </a:lnTo>
                  <a:lnTo>
                    <a:pt x="317" y="273"/>
                  </a:lnTo>
                  <a:lnTo>
                    <a:pt x="313" y="265"/>
                  </a:lnTo>
                  <a:lnTo>
                    <a:pt x="313" y="263"/>
                  </a:lnTo>
                  <a:lnTo>
                    <a:pt x="312" y="258"/>
                  </a:lnTo>
                  <a:lnTo>
                    <a:pt x="310" y="252"/>
                  </a:lnTo>
                  <a:lnTo>
                    <a:pt x="308" y="248"/>
                  </a:lnTo>
                  <a:lnTo>
                    <a:pt x="306" y="242"/>
                  </a:lnTo>
                  <a:lnTo>
                    <a:pt x="304" y="238"/>
                  </a:lnTo>
                  <a:lnTo>
                    <a:pt x="302" y="233"/>
                  </a:lnTo>
                  <a:lnTo>
                    <a:pt x="302" y="231"/>
                  </a:lnTo>
                  <a:lnTo>
                    <a:pt x="298" y="229"/>
                  </a:lnTo>
                  <a:lnTo>
                    <a:pt x="296" y="225"/>
                  </a:lnTo>
                  <a:lnTo>
                    <a:pt x="294" y="227"/>
                  </a:lnTo>
                  <a:lnTo>
                    <a:pt x="292" y="225"/>
                  </a:lnTo>
                  <a:lnTo>
                    <a:pt x="288" y="223"/>
                  </a:lnTo>
                  <a:lnTo>
                    <a:pt x="281" y="219"/>
                  </a:lnTo>
                  <a:lnTo>
                    <a:pt x="277" y="213"/>
                  </a:lnTo>
                  <a:lnTo>
                    <a:pt x="275" y="211"/>
                  </a:lnTo>
                  <a:lnTo>
                    <a:pt x="271" y="208"/>
                  </a:lnTo>
                  <a:lnTo>
                    <a:pt x="265" y="206"/>
                  </a:lnTo>
                  <a:lnTo>
                    <a:pt x="260" y="202"/>
                  </a:lnTo>
                  <a:lnTo>
                    <a:pt x="250" y="192"/>
                  </a:lnTo>
                  <a:lnTo>
                    <a:pt x="248" y="188"/>
                  </a:lnTo>
                  <a:lnTo>
                    <a:pt x="244" y="181"/>
                  </a:lnTo>
                  <a:lnTo>
                    <a:pt x="242" y="177"/>
                  </a:lnTo>
                  <a:lnTo>
                    <a:pt x="242" y="175"/>
                  </a:lnTo>
                  <a:lnTo>
                    <a:pt x="242" y="173"/>
                  </a:lnTo>
                  <a:lnTo>
                    <a:pt x="240" y="171"/>
                  </a:lnTo>
                  <a:lnTo>
                    <a:pt x="242" y="165"/>
                  </a:lnTo>
                  <a:lnTo>
                    <a:pt x="242" y="163"/>
                  </a:lnTo>
                  <a:lnTo>
                    <a:pt x="240" y="161"/>
                  </a:lnTo>
                  <a:lnTo>
                    <a:pt x="240" y="160"/>
                  </a:lnTo>
                  <a:lnTo>
                    <a:pt x="240" y="158"/>
                  </a:lnTo>
                  <a:lnTo>
                    <a:pt x="238" y="154"/>
                  </a:lnTo>
                  <a:lnTo>
                    <a:pt x="240" y="154"/>
                  </a:lnTo>
                  <a:lnTo>
                    <a:pt x="240" y="150"/>
                  </a:lnTo>
                  <a:lnTo>
                    <a:pt x="240" y="148"/>
                  </a:lnTo>
                  <a:lnTo>
                    <a:pt x="244" y="148"/>
                  </a:lnTo>
                  <a:lnTo>
                    <a:pt x="252" y="208"/>
                  </a:lnTo>
                  <a:lnTo>
                    <a:pt x="248" y="208"/>
                  </a:lnTo>
                  <a:lnTo>
                    <a:pt x="248" y="206"/>
                  </a:lnTo>
                  <a:lnTo>
                    <a:pt x="254" y="204"/>
                  </a:lnTo>
                  <a:lnTo>
                    <a:pt x="252" y="208"/>
                  </a:lnTo>
                  <a:lnTo>
                    <a:pt x="244" y="148"/>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301" name="Freeform 89"/>
            <p:cNvSpPr>
              <a:spLocks/>
            </p:cNvSpPr>
            <p:nvPr/>
          </p:nvSpPr>
          <p:spPr bwMode="auto">
            <a:xfrm>
              <a:off x="2304" y="2755"/>
              <a:ext cx="536" cy="592"/>
            </a:xfrm>
            <a:custGeom>
              <a:avLst/>
              <a:gdLst>
                <a:gd name="T0" fmla="*/ 246 w 536"/>
                <a:gd name="T1" fmla="*/ 135 h 592"/>
                <a:gd name="T2" fmla="*/ 250 w 536"/>
                <a:gd name="T3" fmla="*/ 104 h 592"/>
                <a:gd name="T4" fmla="*/ 275 w 536"/>
                <a:gd name="T5" fmla="*/ 96 h 592"/>
                <a:gd name="T6" fmla="*/ 296 w 536"/>
                <a:gd name="T7" fmla="*/ 88 h 592"/>
                <a:gd name="T8" fmla="*/ 312 w 536"/>
                <a:gd name="T9" fmla="*/ 94 h 592"/>
                <a:gd name="T10" fmla="*/ 298 w 536"/>
                <a:gd name="T11" fmla="*/ 67 h 592"/>
                <a:gd name="T12" fmla="*/ 300 w 536"/>
                <a:gd name="T13" fmla="*/ 42 h 592"/>
                <a:gd name="T14" fmla="*/ 254 w 536"/>
                <a:gd name="T15" fmla="*/ 29 h 592"/>
                <a:gd name="T16" fmla="*/ 229 w 536"/>
                <a:gd name="T17" fmla="*/ 2 h 592"/>
                <a:gd name="T18" fmla="*/ 175 w 536"/>
                <a:gd name="T19" fmla="*/ 15 h 592"/>
                <a:gd name="T20" fmla="*/ 156 w 536"/>
                <a:gd name="T21" fmla="*/ 29 h 592"/>
                <a:gd name="T22" fmla="*/ 150 w 536"/>
                <a:gd name="T23" fmla="*/ 56 h 592"/>
                <a:gd name="T24" fmla="*/ 129 w 536"/>
                <a:gd name="T25" fmla="*/ 50 h 592"/>
                <a:gd name="T26" fmla="*/ 114 w 536"/>
                <a:gd name="T27" fmla="*/ 58 h 592"/>
                <a:gd name="T28" fmla="*/ 98 w 536"/>
                <a:gd name="T29" fmla="*/ 65 h 592"/>
                <a:gd name="T30" fmla="*/ 66 w 536"/>
                <a:gd name="T31" fmla="*/ 50 h 592"/>
                <a:gd name="T32" fmla="*/ 42 w 536"/>
                <a:gd name="T33" fmla="*/ 69 h 592"/>
                <a:gd name="T34" fmla="*/ 12 w 536"/>
                <a:gd name="T35" fmla="*/ 77 h 592"/>
                <a:gd name="T36" fmla="*/ 25 w 536"/>
                <a:gd name="T37" fmla="*/ 108 h 592"/>
                <a:gd name="T38" fmla="*/ 4 w 536"/>
                <a:gd name="T39" fmla="*/ 129 h 592"/>
                <a:gd name="T40" fmla="*/ 12 w 536"/>
                <a:gd name="T41" fmla="*/ 154 h 592"/>
                <a:gd name="T42" fmla="*/ 14 w 536"/>
                <a:gd name="T43" fmla="*/ 181 h 592"/>
                <a:gd name="T44" fmla="*/ 44 w 536"/>
                <a:gd name="T45" fmla="*/ 194 h 592"/>
                <a:gd name="T46" fmla="*/ 44 w 536"/>
                <a:gd name="T47" fmla="*/ 211 h 592"/>
                <a:gd name="T48" fmla="*/ 79 w 536"/>
                <a:gd name="T49" fmla="*/ 177 h 592"/>
                <a:gd name="T50" fmla="*/ 117 w 536"/>
                <a:gd name="T51" fmla="*/ 183 h 592"/>
                <a:gd name="T52" fmla="*/ 142 w 536"/>
                <a:gd name="T53" fmla="*/ 198 h 592"/>
                <a:gd name="T54" fmla="*/ 160 w 536"/>
                <a:gd name="T55" fmla="*/ 240 h 592"/>
                <a:gd name="T56" fmla="*/ 175 w 536"/>
                <a:gd name="T57" fmla="*/ 277 h 592"/>
                <a:gd name="T58" fmla="*/ 190 w 536"/>
                <a:gd name="T59" fmla="*/ 306 h 592"/>
                <a:gd name="T60" fmla="*/ 221 w 536"/>
                <a:gd name="T61" fmla="*/ 327 h 592"/>
                <a:gd name="T62" fmla="*/ 262 w 536"/>
                <a:gd name="T63" fmla="*/ 367 h 592"/>
                <a:gd name="T64" fmla="*/ 288 w 536"/>
                <a:gd name="T65" fmla="*/ 377 h 592"/>
                <a:gd name="T66" fmla="*/ 323 w 536"/>
                <a:gd name="T67" fmla="*/ 402 h 592"/>
                <a:gd name="T68" fmla="*/ 342 w 536"/>
                <a:gd name="T69" fmla="*/ 419 h 592"/>
                <a:gd name="T70" fmla="*/ 361 w 536"/>
                <a:gd name="T71" fmla="*/ 417 h 592"/>
                <a:gd name="T72" fmla="*/ 377 w 536"/>
                <a:gd name="T73" fmla="*/ 450 h 592"/>
                <a:gd name="T74" fmla="*/ 410 w 536"/>
                <a:gd name="T75" fmla="*/ 467 h 592"/>
                <a:gd name="T76" fmla="*/ 433 w 536"/>
                <a:gd name="T77" fmla="*/ 534 h 592"/>
                <a:gd name="T78" fmla="*/ 419 w 536"/>
                <a:gd name="T79" fmla="*/ 555 h 592"/>
                <a:gd name="T80" fmla="*/ 408 w 536"/>
                <a:gd name="T81" fmla="*/ 584 h 592"/>
                <a:gd name="T82" fmla="*/ 436 w 536"/>
                <a:gd name="T83" fmla="*/ 573 h 592"/>
                <a:gd name="T84" fmla="*/ 452 w 536"/>
                <a:gd name="T85" fmla="*/ 534 h 592"/>
                <a:gd name="T86" fmla="*/ 479 w 536"/>
                <a:gd name="T87" fmla="*/ 517 h 592"/>
                <a:gd name="T88" fmla="*/ 448 w 536"/>
                <a:gd name="T89" fmla="*/ 479 h 592"/>
                <a:gd name="T90" fmla="*/ 448 w 536"/>
                <a:gd name="T91" fmla="*/ 450 h 592"/>
                <a:gd name="T92" fmla="*/ 473 w 536"/>
                <a:gd name="T93" fmla="*/ 421 h 592"/>
                <a:gd name="T94" fmla="*/ 498 w 536"/>
                <a:gd name="T95" fmla="*/ 431 h 592"/>
                <a:gd name="T96" fmla="*/ 511 w 536"/>
                <a:gd name="T97" fmla="*/ 450 h 592"/>
                <a:gd name="T98" fmla="*/ 533 w 536"/>
                <a:gd name="T99" fmla="*/ 454 h 592"/>
                <a:gd name="T100" fmla="*/ 517 w 536"/>
                <a:gd name="T101" fmla="*/ 417 h 592"/>
                <a:gd name="T102" fmla="*/ 488 w 536"/>
                <a:gd name="T103" fmla="*/ 400 h 592"/>
                <a:gd name="T104" fmla="*/ 448 w 536"/>
                <a:gd name="T105" fmla="*/ 377 h 592"/>
                <a:gd name="T106" fmla="*/ 410 w 536"/>
                <a:gd name="T107" fmla="*/ 354 h 592"/>
                <a:gd name="T108" fmla="*/ 396 w 536"/>
                <a:gd name="T109" fmla="*/ 331 h 592"/>
                <a:gd name="T110" fmla="*/ 354 w 536"/>
                <a:gd name="T111" fmla="*/ 317 h 592"/>
                <a:gd name="T112" fmla="*/ 312 w 536"/>
                <a:gd name="T113" fmla="*/ 258 h 592"/>
                <a:gd name="T114" fmla="*/ 281 w 536"/>
                <a:gd name="T115" fmla="*/ 219 h 592"/>
                <a:gd name="T116" fmla="*/ 240 w 536"/>
                <a:gd name="T117" fmla="*/ 171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6" h="592">
                  <a:moveTo>
                    <a:pt x="244" y="148"/>
                  </a:moveTo>
                  <a:lnTo>
                    <a:pt x="246" y="150"/>
                  </a:lnTo>
                  <a:lnTo>
                    <a:pt x="248" y="150"/>
                  </a:lnTo>
                  <a:lnTo>
                    <a:pt x="248" y="146"/>
                  </a:lnTo>
                  <a:lnTo>
                    <a:pt x="250" y="148"/>
                  </a:lnTo>
                  <a:lnTo>
                    <a:pt x="252" y="144"/>
                  </a:lnTo>
                  <a:lnTo>
                    <a:pt x="252" y="142"/>
                  </a:lnTo>
                  <a:lnTo>
                    <a:pt x="252" y="138"/>
                  </a:lnTo>
                  <a:lnTo>
                    <a:pt x="252" y="137"/>
                  </a:lnTo>
                  <a:lnTo>
                    <a:pt x="250" y="137"/>
                  </a:lnTo>
                  <a:lnTo>
                    <a:pt x="248" y="135"/>
                  </a:lnTo>
                  <a:lnTo>
                    <a:pt x="246" y="135"/>
                  </a:lnTo>
                  <a:lnTo>
                    <a:pt x="246" y="133"/>
                  </a:lnTo>
                  <a:lnTo>
                    <a:pt x="244" y="131"/>
                  </a:lnTo>
                  <a:lnTo>
                    <a:pt x="242" y="129"/>
                  </a:lnTo>
                  <a:lnTo>
                    <a:pt x="242" y="123"/>
                  </a:lnTo>
                  <a:lnTo>
                    <a:pt x="240" y="125"/>
                  </a:lnTo>
                  <a:lnTo>
                    <a:pt x="238" y="121"/>
                  </a:lnTo>
                  <a:lnTo>
                    <a:pt x="238" y="117"/>
                  </a:lnTo>
                  <a:lnTo>
                    <a:pt x="242" y="108"/>
                  </a:lnTo>
                  <a:lnTo>
                    <a:pt x="244" y="106"/>
                  </a:lnTo>
                  <a:lnTo>
                    <a:pt x="246" y="106"/>
                  </a:lnTo>
                  <a:lnTo>
                    <a:pt x="248" y="104"/>
                  </a:lnTo>
                  <a:lnTo>
                    <a:pt x="250" y="104"/>
                  </a:lnTo>
                  <a:lnTo>
                    <a:pt x="252" y="102"/>
                  </a:lnTo>
                  <a:lnTo>
                    <a:pt x="254" y="102"/>
                  </a:lnTo>
                  <a:lnTo>
                    <a:pt x="254" y="104"/>
                  </a:lnTo>
                  <a:lnTo>
                    <a:pt x="252" y="106"/>
                  </a:lnTo>
                  <a:lnTo>
                    <a:pt x="250" y="108"/>
                  </a:lnTo>
                  <a:lnTo>
                    <a:pt x="248" y="108"/>
                  </a:lnTo>
                  <a:lnTo>
                    <a:pt x="248" y="110"/>
                  </a:lnTo>
                  <a:lnTo>
                    <a:pt x="250" y="110"/>
                  </a:lnTo>
                  <a:lnTo>
                    <a:pt x="258" y="106"/>
                  </a:lnTo>
                  <a:lnTo>
                    <a:pt x="263" y="102"/>
                  </a:lnTo>
                  <a:lnTo>
                    <a:pt x="271" y="96"/>
                  </a:lnTo>
                  <a:lnTo>
                    <a:pt x="275" y="96"/>
                  </a:lnTo>
                  <a:lnTo>
                    <a:pt x="277" y="94"/>
                  </a:lnTo>
                  <a:lnTo>
                    <a:pt x="279" y="92"/>
                  </a:lnTo>
                  <a:lnTo>
                    <a:pt x="275" y="92"/>
                  </a:lnTo>
                  <a:lnTo>
                    <a:pt x="277" y="88"/>
                  </a:lnTo>
                  <a:lnTo>
                    <a:pt x="281" y="87"/>
                  </a:lnTo>
                  <a:lnTo>
                    <a:pt x="283" y="88"/>
                  </a:lnTo>
                  <a:lnTo>
                    <a:pt x="288" y="88"/>
                  </a:lnTo>
                  <a:lnTo>
                    <a:pt x="290" y="90"/>
                  </a:lnTo>
                  <a:lnTo>
                    <a:pt x="292" y="88"/>
                  </a:lnTo>
                  <a:lnTo>
                    <a:pt x="294" y="90"/>
                  </a:lnTo>
                  <a:lnTo>
                    <a:pt x="294" y="88"/>
                  </a:lnTo>
                  <a:lnTo>
                    <a:pt x="296" y="88"/>
                  </a:lnTo>
                  <a:lnTo>
                    <a:pt x="296" y="87"/>
                  </a:lnTo>
                  <a:lnTo>
                    <a:pt x="298" y="85"/>
                  </a:lnTo>
                  <a:lnTo>
                    <a:pt x="300" y="87"/>
                  </a:lnTo>
                  <a:lnTo>
                    <a:pt x="300" y="88"/>
                  </a:lnTo>
                  <a:lnTo>
                    <a:pt x="304" y="94"/>
                  </a:lnTo>
                  <a:lnTo>
                    <a:pt x="306" y="98"/>
                  </a:lnTo>
                  <a:lnTo>
                    <a:pt x="304" y="98"/>
                  </a:lnTo>
                  <a:lnTo>
                    <a:pt x="306" y="100"/>
                  </a:lnTo>
                  <a:lnTo>
                    <a:pt x="308" y="100"/>
                  </a:lnTo>
                  <a:lnTo>
                    <a:pt x="310" y="100"/>
                  </a:lnTo>
                  <a:lnTo>
                    <a:pt x="312" y="98"/>
                  </a:lnTo>
                  <a:lnTo>
                    <a:pt x="312" y="94"/>
                  </a:lnTo>
                  <a:lnTo>
                    <a:pt x="310" y="90"/>
                  </a:lnTo>
                  <a:lnTo>
                    <a:pt x="304" y="88"/>
                  </a:lnTo>
                  <a:lnTo>
                    <a:pt x="302" y="87"/>
                  </a:lnTo>
                  <a:lnTo>
                    <a:pt x="298" y="85"/>
                  </a:lnTo>
                  <a:lnTo>
                    <a:pt x="296" y="81"/>
                  </a:lnTo>
                  <a:lnTo>
                    <a:pt x="298" y="81"/>
                  </a:lnTo>
                  <a:lnTo>
                    <a:pt x="300" y="79"/>
                  </a:lnTo>
                  <a:lnTo>
                    <a:pt x="300" y="77"/>
                  </a:lnTo>
                  <a:lnTo>
                    <a:pt x="298" y="73"/>
                  </a:lnTo>
                  <a:lnTo>
                    <a:pt x="294" y="73"/>
                  </a:lnTo>
                  <a:lnTo>
                    <a:pt x="294" y="71"/>
                  </a:lnTo>
                  <a:lnTo>
                    <a:pt x="298" y="67"/>
                  </a:lnTo>
                  <a:lnTo>
                    <a:pt x="298" y="65"/>
                  </a:lnTo>
                  <a:lnTo>
                    <a:pt x="298" y="62"/>
                  </a:lnTo>
                  <a:lnTo>
                    <a:pt x="296" y="62"/>
                  </a:lnTo>
                  <a:lnTo>
                    <a:pt x="294" y="58"/>
                  </a:lnTo>
                  <a:lnTo>
                    <a:pt x="292" y="58"/>
                  </a:lnTo>
                  <a:lnTo>
                    <a:pt x="288" y="58"/>
                  </a:lnTo>
                  <a:lnTo>
                    <a:pt x="288" y="54"/>
                  </a:lnTo>
                  <a:lnTo>
                    <a:pt x="292" y="52"/>
                  </a:lnTo>
                  <a:lnTo>
                    <a:pt x="294" y="48"/>
                  </a:lnTo>
                  <a:lnTo>
                    <a:pt x="296" y="46"/>
                  </a:lnTo>
                  <a:lnTo>
                    <a:pt x="300" y="44"/>
                  </a:lnTo>
                  <a:lnTo>
                    <a:pt x="300" y="42"/>
                  </a:lnTo>
                  <a:lnTo>
                    <a:pt x="300" y="39"/>
                  </a:lnTo>
                  <a:lnTo>
                    <a:pt x="300" y="37"/>
                  </a:lnTo>
                  <a:lnTo>
                    <a:pt x="298" y="37"/>
                  </a:lnTo>
                  <a:lnTo>
                    <a:pt x="292" y="37"/>
                  </a:lnTo>
                  <a:lnTo>
                    <a:pt x="288" y="35"/>
                  </a:lnTo>
                  <a:lnTo>
                    <a:pt x="283" y="35"/>
                  </a:lnTo>
                  <a:lnTo>
                    <a:pt x="281" y="35"/>
                  </a:lnTo>
                  <a:lnTo>
                    <a:pt x="271" y="33"/>
                  </a:lnTo>
                  <a:lnTo>
                    <a:pt x="267" y="33"/>
                  </a:lnTo>
                  <a:lnTo>
                    <a:pt x="263" y="33"/>
                  </a:lnTo>
                  <a:lnTo>
                    <a:pt x="260" y="31"/>
                  </a:lnTo>
                  <a:lnTo>
                    <a:pt x="254" y="29"/>
                  </a:lnTo>
                  <a:lnTo>
                    <a:pt x="246" y="27"/>
                  </a:lnTo>
                  <a:lnTo>
                    <a:pt x="244" y="23"/>
                  </a:lnTo>
                  <a:lnTo>
                    <a:pt x="240" y="17"/>
                  </a:lnTo>
                  <a:lnTo>
                    <a:pt x="242" y="15"/>
                  </a:lnTo>
                  <a:lnTo>
                    <a:pt x="242" y="14"/>
                  </a:lnTo>
                  <a:lnTo>
                    <a:pt x="238" y="12"/>
                  </a:lnTo>
                  <a:lnTo>
                    <a:pt x="238" y="8"/>
                  </a:lnTo>
                  <a:lnTo>
                    <a:pt x="237" y="6"/>
                  </a:lnTo>
                  <a:lnTo>
                    <a:pt x="240" y="2"/>
                  </a:lnTo>
                  <a:lnTo>
                    <a:pt x="237" y="0"/>
                  </a:lnTo>
                  <a:lnTo>
                    <a:pt x="233" y="0"/>
                  </a:lnTo>
                  <a:lnTo>
                    <a:pt x="229" y="2"/>
                  </a:lnTo>
                  <a:lnTo>
                    <a:pt x="219" y="10"/>
                  </a:lnTo>
                  <a:lnTo>
                    <a:pt x="215" y="8"/>
                  </a:lnTo>
                  <a:lnTo>
                    <a:pt x="208" y="6"/>
                  </a:lnTo>
                  <a:lnTo>
                    <a:pt x="206" y="8"/>
                  </a:lnTo>
                  <a:lnTo>
                    <a:pt x="204" y="10"/>
                  </a:lnTo>
                  <a:lnTo>
                    <a:pt x="198" y="10"/>
                  </a:lnTo>
                  <a:lnTo>
                    <a:pt x="192" y="14"/>
                  </a:lnTo>
                  <a:lnTo>
                    <a:pt x="190" y="19"/>
                  </a:lnTo>
                  <a:lnTo>
                    <a:pt x="187" y="19"/>
                  </a:lnTo>
                  <a:lnTo>
                    <a:pt x="183" y="19"/>
                  </a:lnTo>
                  <a:lnTo>
                    <a:pt x="179" y="17"/>
                  </a:lnTo>
                  <a:lnTo>
                    <a:pt x="175" y="15"/>
                  </a:lnTo>
                  <a:lnTo>
                    <a:pt x="173" y="15"/>
                  </a:lnTo>
                  <a:lnTo>
                    <a:pt x="171" y="17"/>
                  </a:lnTo>
                  <a:lnTo>
                    <a:pt x="167" y="17"/>
                  </a:lnTo>
                  <a:lnTo>
                    <a:pt x="165" y="19"/>
                  </a:lnTo>
                  <a:lnTo>
                    <a:pt x="167" y="23"/>
                  </a:lnTo>
                  <a:lnTo>
                    <a:pt x="165" y="29"/>
                  </a:lnTo>
                  <a:lnTo>
                    <a:pt x="167" y="31"/>
                  </a:lnTo>
                  <a:lnTo>
                    <a:pt x="167" y="35"/>
                  </a:lnTo>
                  <a:lnTo>
                    <a:pt x="164" y="35"/>
                  </a:lnTo>
                  <a:lnTo>
                    <a:pt x="160" y="35"/>
                  </a:lnTo>
                  <a:lnTo>
                    <a:pt x="158" y="31"/>
                  </a:lnTo>
                  <a:lnTo>
                    <a:pt x="156" y="29"/>
                  </a:lnTo>
                  <a:lnTo>
                    <a:pt x="152" y="31"/>
                  </a:lnTo>
                  <a:lnTo>
                    <a:pt x="150" y="33"/>
                  </a:lnTo>
                  <a:lnTo>
                    <a:pt x="150" y="35"/>
                  </a:lnTo>
                  <a:lnTo>
                    <a:pt x="150" y="37"/>
                  </a:lnTo>
                  <a:lnTo>
                    <a:pt x="148" y="40"/>
                  </a:lnTo>
                  <a:lnTo>
                    <a:pt x="154" y="42"/>
                  </a:lnTo>
                  <a:lnTo>
                    <a:pt x="154" y="44"/>
                  </a:lnTo>
                  <a:lnTo>
                    <a:pt x="152" y="48"/>
                  </a:lnTo>
                  <a:lnTo>
                    <a:pt x="154" y="50"/>
                  </a:lnTo>
                  <a:lnTo>
                    <a:pt x="154" y="54"/>
                  </a:lnTo>
                  <a:lnTo>
                    <a:pt x="152" y="56"/>
                  </a:lnTo>
                  <a:lnTo>
                    <a:pt x="150" y="56"/>
                  </a:lnTo>
                  <a:lnTo>
                    <a:pt x="148" y="54"/>
                  </a:lnTo>
                  <a:lnTo>
                    <a:pt x="148" y="50"/>
                  </a:lnTo>
                  <a:lnTo>
                    <a:pt x="148" y="48"/>
                  </a:lnTo>
                  <a:lnTo>
                    <a:pt x="146" y="46"/>
                  </a:lnTo>
                  <a:lnTo>
                    <a:pt x="148" y="44"/>
                  </a:lnTo>
                  <a:lnTo>
                    <a:pt x="146" y="44"/>
                  </a:lnTo>
                  <a:lnTo>
                    <a:pt x="144" y="44"/>
                  </a:lnTo>
                  <a:lnTo>
                    <a:pt x="139" y="44"/>
                  </a:lnTo>
                  <a:lnTo>
                    <a:pt x="137" y="46"/>
                  </a:lnTo>
                  <a:lnTo>
                    <a:pt x="137" y="50"/>
                  </a:lnTo>
                  <a:lnTo>
                    <a:pt x="131" y="50"/>
                  </a:lnTo>
                  <a:lnTo>
                    <a:pt x="129" y="50"/>
                  </a:lnTo>
                  <a:lnTo>
                    <a:pt x="123" y="44"/>
                  </a:lnTo>
                  <a:lnTo>
                    <a:pt x="125" y="40"/>
                  </a:lnTo>
                  <a:lnTo>
                    <a:pt x="125" y="39"/>
                  </a:lnTo>
                  <a:lnTo>
                    <a:pt x="123" y="37"/>
                  </a:lnTo>
                  <a:lnTo>
                    <a:pt x="121" y="37"/>
                  </a:lnTo>
                  <a:lnTo>
                    <a:pt x="117" y="39"/>
                  </a:lnTo>
                  <a:lnTo>
                    <a:pt x="116" y="40"/>
                  </a:lnTo>
                  <a:lnTo>
                    <a:pt x="116" y="42"/>
                  </a:lnTo>
                  <a:lnTo>
                    <a:pt x="116" y="46"/>
                  </a:lnTo>
                  <a:lnTo>
                    <a:pt x="117" y="50"/>
                  </a:lnTo>
                  <a:lnTo>
                    <a:pt x="116" y="54"/>
                  </a:lnTo>
                  <a:lnTo>
                    <a:pt x="114" y="58"/>
                  </a:lnTo>
                  <a:lnTo>
                    <a:pt x="112" y="62"/>
                  </a:lnTo>
                  <a:lnTo>
                    <a:pt x="104" y="67"/>
                  </a:lnTo>
                  <a:lnTo>
                    <a:pt x="104" y="69"/>
                  </a:lnTo>
                  <a:lnTo>
                    <a:pt x="106" y="75"/>
                  </a:lnTo>
                  <a:lnTo>
                    <a:pt x="106" y="77"/>
                  </a:lnTo>
                  <a:lnTo>
                    <a:pt x="106" y="81"/>
                  </a:lnTo>
                  <a:lnTo>
                    <a:pt x="104" y="83"/>
                  </a:lnTo>
                  <a:lnTo>
                    <a:pt x="100" y="81"/>
                  </a:lnTo>
                  <a:lnTo>
                    <a:pt x="102" y="79"/>
                  </a:lnTo>
                  <a:lnTo>
                    <a:pt x="102" y="75"/>
                  </a:lnTo>
                  <a:lnTo>
                    <a:pt x="96" y="69"/>
                  </a:lnTo>
                  <a:lnTo>
                    <a:pt x="98" y="65"/>
                  </a:lnTo>
                  <a:lnTo>
                    <a:pt x="98" y="63"/>
                  </a:lnTo>
                  <a:lnTo>
                    <a:pt x="96" y="62"/>
                  </a:lnTo>
                  <a:lnTo>
                    <a:pt x="92" y="63"/>
                  </a:lnTo>
                  <a:lnTo>
                    <a:pt x="89" y="62"/>
                  </a:lnTo>
                  <a:lnTo>
                    <a:pt x="85" y="54"/>
                  </a:lnTo>
                  <a:lnTo>
                    <a:pt x="83" y="52"/>
                  </a:lnTo>
                  <a:lnTo>
                    <a:pt x="81" y="52"/>
                  </a:lnTo>
                  <a:lnTo>
                    <a:pt x="83" y="42"/>
                  </a:lnTo>
                  <a:lnTo>
                    <a:pt x="81" y="39"/>
                  </a:lnTo>
                  <a:lnTo>
                    <a:pt x="79" y="39"/>
                  </a:lnTo>
                  <a:lnTo>
                    <a:pt x="75" y="44"/>
                  </a:lnTo>
                  <a:lnTo>
                    <a:pt x="66" y="50"/>
                  </a:lnTo>
                  <a:lnTo>
                    <a:pt x="66" y="52"/>
                  </a:lnTo>
                  <a:lnTo>
                    <a:pt x="67" y="58"/>
                  </a:lnTo>
                  <a:lnTo>
                    <a:pt x="67" y="60"/>
                  </a:lnTo>
                  <a:lnTo>
                    <a:pt x="64" y="63"/>
                  </a:lnTo>
                  <a:lnTo>
                    <a:pt x="62" y="63"/>
                  </a:lnTo>
                  <a:lnTo>
                    <a:pt x="62" y="67"/>
                  </a:lnTo>
                  <a:lnTo>
                    <a:pt x="56" y="69"/>
                  </a:lnTo>
                  <a:lnTo>
                    <a:pt x="56" y="73"/>
                  </a:lnTo>
                  <a:lnTo>
                    <a:pt x="50" y="71"/>
                  </a:lnTo>
                  <a:lnTo>
                    <a:pt x="46" y="69"/>
                  </a:lnTo>
                  <a:lnTo>
                    <a:pt x="44" y="71"/>
                  </a:lnTo>
                  <a:lnTo>
                    <a:pt x="42" y="69"/>
                  </a:lnTo>
                  <a:lnTo>
                    <a:pt x="39" y="71"/>
                  </a:lnTo>
                  <a:lnTo>
                    <a:pt x="35" y="71"/>
                  </a:lnTo>
                  <a:lnTo>
                    <a:pt x="33" y="71"/>
                  </a:lnTo>
                  <a:lnTo>
                    <a:pt x="27" y="75"/>
                  </a:lnTo>
                  <a:lnTo>
                    <a:pt x="25" y="75"/>
                  </a:lnTo>
                  <a:lnTo>
                    <a:pt x="23" y="75"/>
                  </a:lnTo>
                  <a:lnTo>
                    <a:pt x="21" y="71"/>
                  </a:lnTo>
                  <a:lnTo>
                    <a:pt x="19" y="71"/>
                  </a:lnTo>
                  <a:lnTo>
                    <a:pt x="17" y="75"/>
                  </a:lnTo>
                  <a:lnTo>
                    <a:pt x="16" y="77"/>
                  </a:lnTo>
                  <a:lnTo>
                    <a:pt x="14" y="77"/>
                  </a:lnTo>
                  <a:lnTo>
                    <a:pt x="12" y="77"/>
                  </a:lnTo>
                  <a:lnTo>
                    <a:pt x="10" y="77"/>
                  </a:lnTo>
                  <a:lnTo>
                    <a:pt x="10" y="81"/>
                  </a:lnTo>
                  <a:lnTo>
                    <a:pt x="10" y="85"/>
                  </a:lnTo>
                  <a:lnTo>
                    <a:pt x="12" y="85"/>
                  </a:lnTo>
                  <a:lnTo>
                    <a:pt x="14" y="87"/>
                  </a:lnTo>
                  <a:lnTo>
                    <a:pt x="14" y="88"/>
                  </a:lnTo>
                  <a:lnTo>
                    <a:pt x="17" y="88"/>
                  </a:lnTo>
                  <a:lnTo>
                    <a:pt x="17" y="96"/>
                  </a:lnTo>
                  <a:lnTo>
                    <a:pt x="19" y="98"/>
                  </a:lnTo>
                  <a:lnTo>
                    <a:pt x="19" y="100"/>
                  </a:lnTo>
                  <a:lnTo>
                    <a:pt x="23" y="104"/>
                  </a:lnTo>
                  <a:lnTo>
                    <a:pt x="25" y="108"/>
                  </a:lnTo>
                  <a:lnTo>
                    <a:pt x="21" y="112"/>
                  </a:lnTo>
                  <a:lnTo>
                    <a:pt x="23" y="113"/>
                  </a:lnTo>
                  <a:lnTo>
                    <a:pt x="19" y="117"/>
                  </a:lnTo>
                  <a:lnTo>
                    <a:pt x="16" y="117"/>
                  </a:lnTo>
                  <a:lnTo>
                    <a:pt x="14" y="119"/>
                  </a:lnTo>
                  <a:lnTo>
                    <a:pt x="12" y="121"/>
                  </a:lnTo>
                  <a:lnTo>
                    <a:pt x="10" y="123"/>
                  </a:lnTo>
                  <a:lnTo>
                    <a:pt x="6" y="121"/>
                  </a:lnTo>
                  <a:lnTo>
                    <a:pt x="0" y="123"/>
                  </a:lnTo>
                  <a:lnTo>
                    <a:pt x="0" y="125"/>
                  </a:lnTo>
                  <a:lnTo>
                    <a:pt x="0" y="129"/>
                  </a:lnTo>
                  <a:lnTo>
                    <a:pt x="4" y="129"/>
                  </a:lnTo>
                  <a:lnTo>
                    <a:pt x="4" y="133"/>
                  </a:lnTo>
                  <a:lnTo>
                    <a:pt x="6" y="137"/>
                  </a:lnTo>
                  <a:lnTo>
                    <a:pt x="8" y="140"/>
                  </a:lnTo>
                  <a:lnTo>
                    <a:pt x="14" y="140"/>
                  </a:lnTo>
                  <a:lnTo>
                    <a:pt x="16" y="142"/>
                  </a:lnTo>
                  <a:lnTo>
                    <a:pt x="16" y="144"/>
                  </a:lnTo>
                  <a:lnTo>
                    <a:pt x="16" y="148"/>
                  </a:lnTo>
                  <a:lnTo>
                    <a:pt x="16" y="150"/>
                  </a:lnTo>
                  <a:lnTo>
                    <a:pt x="17" y="152"/>
                  </a:lnTo>
                  <a:lnTo>
                    <a:pt x="16" y="152"/>
                  </a:lnTo>
                  <a:lnTo>
                    <a:pt x="14" y="152"/>
                  </a:lnTo>
                  <a:lnTo>
                    <a:pt x="12" y="154"/>
                  </a:lnTo>
                  <a:lnTo>
                    <a:pt x="12" y="156"/>
                  </a:lnTo>
                  <a:lnTo>
                    <a:pt x="10" y="160"/>
                  </a:lnTo>
                  <a:lnTo>
                    <a:pt x="8" y="160"/>
                  </a:lnTo>
                  <a:lnTo>
                    <a:pt x="8" y="161"/>
                  </a:lnTo>
                  <a:lnTo>
                    <a:pt x="8" y="163"/>
                  </a:lnTo>
                  <a:lnTo>
                    <a:pt x="8" y="165"/>
                  </a:lnTo>
                  <a:lnTo>
                    <a:pt x="10" y="167"/>
                  </a:lnTo>
                  <a:lnTo>
                    <a:pt x="8" y="167"/>
                  </a:lnTo>
                  <a:lnTo>
                    <a:pt x="10" y="169"/>
                  </a:lnTo>
                  <a:lnTo>
                    <a:pt x="8" y="173"/>
                  </a:lnTo>
                  <a:lnTo>
                    <a:pt x="12" y="177"/>
                  </a:lnTo>
                  <a:lnTo>
                    <a:pt x="14" y="181"/>
                  </a:lnTo>
                  <a:lnTo>
                    <a:pt x="19" y="183"/>
                  </a:lnTo>
                  <a:lnTo>
                    <a:pt x="21" y="185"/>
                  </a:lnTo>
                  <a:lnTo>
                    <a:pt x="23" y="185"/>
                  </a:lnTo>
                  <a:lnTo>
                    <a:pt x="25" y="186"/>
                  </a:lnTo>
                  <a:lnTo>
                    <a:pt x="27" y="188"/>
                  </a:lnTo>
                  <a:lnTo>
                    <a:pt x="33" y="186"/>
                  </a:lnTo>
                  <a:lnTo>
                    <a:pt x="37" y="188"/>
                  </a:lnTo>
                  <a:lnTo>
                    <a:pt x="41" y="186"/>
                  </a:lnTo>
                  <a:lnTo>
                    <a:pt x="41" y="190"/>
                  </a:lnTo>
                  <a:lnTo>
                    <a:pt x="42" y="192"/>
                  </a:lnTo>
                  <a:lnTo>
                    <a:pt x="44" y="192"/>
                  </a:lnTo>
                  <a:lnTo>
                    <a:pt x="44" y="194"/>
                  </a:lnTo>
                  <a:lnTo>
                    <a:pt x="42" y="196"/>
                  </a:lnTo>
                  <a:lnTo>
                    <a:pt x="41" y="196"/>
                  </a:lnTo>
                  <a:lnTo>
                    <a:pt x="39" y="200"/>
                  </a:lnTo>
                  <a:lnTo>
                    <a:pt x="37" y="200"/>
                  </a:lnTo>
                  <a:lnTo>
                    <a:pt x="37" y="204"/>
                  </a:lnTo>
                  <a:lnTo>
                    <a:pt x="33" y="204"/>
                  </a:lnTo>
                  <a:lnTo>
                    <a:pt x="33" y="208"/>
                  </a:lnTo>
                  <a:lnTo>
                    <a:pt x="35" y="211"/>
                  </a:lnTo>
                  <a:lnTo>
                    <a:pt x="37" y="211"/>
                  </a:lnTo>
                  <a:lnTo>
                    <a:pt x="39" y="211"/>
                  </a:lnTo>
                  <a:lnTo>
                    <a:pt x="41" y="211"/>
                  </a:lnTo>
                  <a:lnTo>
                    <a:pt x="44" y="211"/>
                  </a:lnTo>
                  <a:lnTo>
                    <a:pt x="48" y="208"/>
                  </a:lnTo>
                  <a:lnTo>
                    <a:pt x="50" y="208"/>
                  </a:lnTo>
                  <a:lnTo>
                    <a:pt x="54" y="208"/>
                  </a:lnTo>
                  <a:lnTo>
                    <a:pt x="60" y="204"/>
                  </a:lnTo>
                  <a:lnTo>
                    <a:pt x="62" y="200"/>
                  </a:lnTo>
                  <a:lnTo>
                    <a:pt x="64" y="196"/>
                  </a:lnTo>
                  <a:lnTo>
                    <a:pt x="66" y="194"/>
                  </a:lnTo>
                  <a:lnTo>
                    <a:pt x="66" y="190"/>
                  </a:lnTo>
                  <a:lnTo>
                    <a:pt x="67" y="188"/>
                  </a:lnTo>
                  <a:lnTo>
                    <a:pt x="73" y="186"/>
                  </a:lnTo>
                  <a:lnTo>
                    <a:pt x="75" y="185"/>
                  </a:lnTo>
                  <a:lnTo>
                    <a:pt x="79" y="177"/>
                  </a:lnTo>
                  <a:lnTo>
                    <a:pt x="83" y="175"/>
                  </a:lnTo>
                  <a:lnTo>
                    <a:pt x="87" y="173"/>
                  </a:lnTo>
                  <a:lnTo>
                    <a:pt x="89" y="171"/>
                  </a:lnTo>
                  <a:lnTo>
                    <a:pt x="91" y="171"/>
                  </a:lnTo>
                  <a:lnTo>
                    <a:pt x="94" y="171"/>
                  </a:lnTo>
                  <a:lnTo>
                    <a:pt x="106" y="177"/>
                  </a:lnTo>
                  <a:lnTo>
                    <a:pt x="108" y="179"/>
                  </a:lnTo>
                  <a:lnTo>
                    <a:pt x="108" y="181"/>
                  </a:lnTo>
                  <a:lnTo>
                    <a:pt x="110" y="179"/>
                  </a:lnTo>
                  <a:lnTo>
                    <a:pt x="110" y="177"/>
                  </a:lnTo>
                  <a:lnTo>
                    <a:pt x="114" y="181"/>
                  </a:lnTo>
                  <a:lnTo>
                    <a:pt x="117" y="183"/>
                  </a:lnTo>
                  <a:lnTo>
                    <a:pt x="119" y="185"/>
                  </a:lnTo>
                  <a:lnTo>
                    <a:pt x="119" y="186"/>
                  </a:lnTo>
                  <a:lnTo>
                    <a:pt x="123" y="186"/>
                  </a:lnTo>
                  <a:lnTo>
                    <a:pt x="127" y="192"/>
                  </a:lnTo>
                  <a:lnTo>
                    <a:pt x="131" y="192"/>
                  </a:lnTo>
                  <a:lnTo>
                    <a:pt x="135" y="196"/>
                  </a:lnTo>
                  <a:lnTo>
                    <a:pt x="135" y="198"/>
                  </a:lnTo>
                  <a:lnTo>
                    <a:pt x="135" y="196"/>
                  </a:lnTo>
                  <a:lnTo>
                    <a:pt x="135" y="194"/>
                  </a:lnTo>
                  <a:lnTo>
                    <a:pt x="137" y="194"/>
                  </a:lnTo>
                  <a:lnTo>
                    <a:pt x="139" y="196"/>
                  </a:lnTo>
                  <a:lnTo>
                    <a:pt x="142" y="198"/>
                  </a:lnTo>
                  <a:lnTo>
                    <a:pt x="144" y="198"/>
                  </a:lnTo>
                  <a:lnTo>
                    <a:pt x="146" y="200"/>
                  </a:lnTo>
                  <a:lnTo>
                    <a:pt x="148" y="204"/>
                  </a:lnTo>
                  <a:lnTo>
                    <a:pt x="150" y="206"/>
                  </a:lnTo>
                  <a:lnTo>
                    <a:pt x="152" y="208"/>
                  </a:lnTo>
                  <a:lnTo>
                    <a:pt x="154" y="213"/>
                  </a:lnTo>
                  <a:lnTo>
                    <a:pt x="154" y="221"/>
                  </a:lnTo>
                  <a:lnTo>
                    <a:pt x="154" y="225"/>
                  </a:lnTo>
                  <a:lnTo>
                    <a:pt x="154" y="227"/>
                  </a:lnTo>
                  <a:lnTo>
                    <a:pt x="156" y="233"/>
                  </a:lnTo>
                  <a:lnTo>
                    <a:pt x="158" y="238"/>
                  </a:lnTo>
                  <a:lnTo>
                    <a:pt x="160" y="240"/>
                  </a:lnTo>
                  <a:lnTo>
                    <a:pt x="162" y="244"/>
                  </a:lnTo>
                  <a:lnTo>
                    <a:pt x="165" y="252"/>
                  </a:lnTo>
                  <a:lnTo>
                    <a:pt x="164" y="265"/>
                  </a:lnTo>
                  <a:lnTo>
                    <a:pt x="164" y="267"/>
                  </a:lnTo>
                  <a:lnTo>
                    <a:pt x="164" y="269"/>
                  </a:lnTo>
                  <a:lnTo>
                    <a:pt x="164" y="271"/>
                  </a:lnTo>
                  <a:lnTo>
                    <a:pt x="165" y="271"/>
                  </a:lnTo>
                  <a:lnTo>
                    <a:pt x="165" y="269"/>
                  </a:lnTo>
                  <a:lnTo>
                    <a:pt x="167" y="269"/>
                  </a:lnTo>
                  <a:lnTo>
                    <a:pt x="171" y="269"/>
                  </a:lnTo>
                  <a:lnTo>
                    <a:pt x="175" y="271"/>
                  </a:lnTo>
                  <a:lnTo>
                    <a:pt x="175" y="277"/>
                  </a:lnTo>
                  <a:lnTo>
                    <a:pt x="173" y="279"/>
                  </a:lnTo>
                  <a:lnTo>
                    <a:pt x="175" y="281"/>
                  </a:lnTo>
                  <a:lnTo>
                    <a:pt x="181" y="283"/>
                  </a:lnTo>
                  <a:lnTo>
                    <a:pt x="183" y="284"/>
                  </a:lnTo>
                  <a:lnTo>
                    <a:pt x="185" y="288"/>
                  </a:lnTo>
                  <a:lnTo>
                    <a:pt x="187" y="290"/>
                  </a:lnTo>
                  <a:lnTo>
                    <a:pt x="190" y="294"/>
                  </a:lnTo>
                  <a:lnTo>
                    <a:pt x="192" y="296"/>
                  </a:lnTo>
                  <a:lnTo>
                    <a:pt x="192" y="302"/>
                  </a:lnTo>
                  <a:lnTo>
                    <a:pt x="190" y="302"/>
                  </a:lnTo>
                  <a:lnTo>
                    <a:pt x="189" y="304"/>
                  </a:lnTo>
                  <a:lnTo>
                    <a:pt x="190" y="306"/>
                  </a:lnTo>
                  <a:lnTo>
                    <a:pt x="192" y="308"/>
                  </a:lnTo>
                  <a:lnTo>
                    <a:pt x="194" y="308"/>
                  </a:lnTo>
                  <a:lnTo>
                    <a:pt x="196" y="306"/>
                  </a:lnTo>
                  <a:lnTo>
                    <a:pt x="198" y="306"/>
                  </a:lnTo>
                  <a:lnTo>
                    <a:pt x="206" y="308"/>
                  </a:lnTo>
                  <a:lnTo>
                    <a:pt x="210" y="309"/>
                  </a:lnTo>
                  <a:lnTo>
                    <a:pt x="212" y="311"/>
                  </a:lnTo>
                  <a:lnTo>
                    <a:pt x="214" y="313"/>
                  </a:lnTo>
                  <a:lnTo>
                    <a:pt x="215" y="315"/>
                  </a:lnTo>
                  <a:lnTo>
                    <a:pt x="217" y="319"/>
                  </a:lnTo>
                  <a:lnTo>
                    <a:pt x="217" y="321"/>
                  </a:lnTo>
                  <a:lnTo>
                    <a:pt x="221" y="327"/>
                  </a:lnTo>
                  <a:lnTo>
                    <a:pt x="223" y="329"/>
                  </a:lnTo>
                  <a:lnTo>
                    <a:pt x="225" y="329"/>
                  </a:lnTo>
                  <a:lnTo>
                    <a:pt x="227" y="329"/>
                  </a:lnTo>
                  <a:lnTo>
                    <a:pt x="235" y="334"/>
                  </a:lnTo>
                  <a:lnTo>
                    <a:pt x="240" y="340"/>
                  </a:lnTo>
                  <a:lnTo>
                    <a:pt x="240" y="344"/>
                  </a:lnTo>
                  <a:lnTo>
                    <a:pt x="242" y="346"/>
                  </a:lnTo>
                  <a:lnTo>
                    <a:pt x="250" y="352"/>
                  </a:lnTo>
                  <a:lnTo>
                    <a:pt x="252" y="356"/>
                  </a:lnTo>
                  <a:lnTo>
                    <a:pt x="256" y="359"/>
                  </a:lnTo>
                  <a:lnTo>
                    <a:pt x="258" y="365"/>
                  </a:lnTo>
                  <a:lnTo>
                    <a:pt x="262" y="367"/>
                  </a:lnTo>
                  <a:lnTo>
                    <a:pt x="263" y="367"/>
                  </a:lnTo>
                  <a:lnTo>
                    <a:pt x="265" y="369"/>
                  </a:lnTo>
                  <a:lnTo>
                    <a:pt x="267" y="369"/>
                  </a:lnTo>
                  <a:lnTo>
                    <a:pt x="269" y="371"/>
                  </a:lnTo>
                  <a:lnTo>
                    <a:pt x="273" y="373"/>
                  </a:lnTo>
                  <a:lnTo>
                    <a:pt x="277" y="377"/>
                  </a:lnTo>
                  <a:lnTo>
                    <a:pt x="279" y="382"/>
                  </a:lnTo>
                  <a:lnTo>
                    <a:pt x="281" y="382"/>
                  </a:lnTo>
                  <a:lnTo>
                    <a:pt x="283" y="381"/>
                  </a:lnTo>
                  <a:lnTo>
                    <a:pt x="283" y="379"/>
                  </a:lnTo>
                  <a:lnTo>
                    <a:pt x="285" y="377"/>
                  </a:lnTo>
                  <a:lnTo>
                    <a:pt x="288" y="377"/>
                  </a:lnTo>
                  <a:lnTo>
                    <a:pt x="292" y="377"/>
                  </a:lnTo>
                  <a:lnTo>
                    <a:pt x="296" y="379"/>
                  </a:lnTo>
                  <a:lnTo>
                    <a:pt x="300" y="382"/>
                  </a:lnTo>
                  <a:lnTo>
                    <a:pt x="302" y="382"/>
                  </a:lnTo>
                  <a:lnTo>
                    <a:pt x="304" y="382"/>
                  </a:lnTo>
                  <a:lnTo>
                    <a:pt x="304" y="381"/>
                  </a:lnTo>
                  <a:lnTo>
                    <a:pt x="308" y="381"/>
                  </a:lnTo>
                  <a:lnTo>
                    <a:pt x="310" y="381"/>
                  </a:lnTo>
                  <a:lnTo>
                    <a:pt x="313" y="388"/>
                  </a:lnTo>
                  <a:lnTo>
                    <a:pt x="317" y="390"/>
                  </a:lnTo>
                  <a:lnTo>
                    <a:pt x="319" y="396"/>
                  </a:lnTo>
                  <a:lnTo>
                    <a:pt x="323" y="402"/>
                  </a:lnTo>
                  <a:lnTo>
                    <a:pt x="325" y="404"/>
                  </a:lnTo>
                  <a:lnTo>
                    <a:pt x="325" y="409"/>
                  </a:lnTo>
                  <a:lnTo>
                    <a:pt x="327" y="411"/>
                  </a:lnTo>
                  <a:lnTo>
                    <a:pt x="327" y="409"/>
                  </a:lnTo>
                  <a:lnTo>
                    <a:pt x="331" y="407"/>
                  </a:lnTo>
                  <a:lnTo>
                    <a:pt x="338" y="407"/>
                  </a:lnTo>
                  <a:lnTo>
                    <a:pt x="342" y="411"/>
                  </a:lnTo>
                  <a:lnTo>
                    <a:pt x="344" y="413"/>
                  </a:lnTo>
                  <a:lnTo>
                    <a:pt x="346" y="415"/>
                  </a:lnTo>
                  <a:lnTo>
                    <a:pt x="344" y="417"/>
                  </a:lnTo>
                  <a:lnTo>
                    <a:pt x="344" y="419"/>
                  </a:lnTo>
                  <a:lnTo>
                    <a:pt x="342" y="419"/>
                  </a:lnTo>
                  <a:lnTo>
                    <a:pt x="340" y="419"/>
                  </a:lnTo>
                  <a:lnTo>
                    <a:pt x="338" y="423"/>
                  </a:lnTo>
                  <a:lnTo>
                    <a:pt x="340" y="423"/>
                  </a:lnTo>
                  <a:lnTo>
                    <a:pt x="342" y="421"/>
                  </a:lnTo>
                  <a:lnTo>
                    <a:pt x="344" y="421"/>
                  </a:lnTo>
                  <a:lnTo>
                    <a:pt x="346" y="421"/>
                  </a:lnTo>
                  <a:lnTo>
                    <a:pt x="350" y="421"/>
                  </a:lnTo>
                  <a:lnTo>
                    <a:pt x="352" y="419"/>
                  </a:lnTo>
                  <a:lnTo>
                    <a:pt x="356" y="419"/>
                  </a:lnTo>
                  <a:lnTo>
                    <a:pt x="358" y="415"/>
                  </a:lnTo>
                  <a:lnTo>
                    <a:pt x="360" y="415"/>
                  </a:lnTo>
                  <a:lnTo>
                    <a:pt x="361" y="417"/>
                  </a:lnTo>
                  <a:lnTo>
                    <a:pt x="367" y="425"/>
                  </a:lnTo>
                  <a:lnTo>
                    <a:pt x="367" y="429"/>
                  </a:lnTo>
                  <a:lnTo>
                    <a:pt x="371" y="436"/>
                  </a:lnTo>
                  <a:lnTo>
                    <a:pt x="369" y="436"/>
                  </a:lnTo>
                  <a:lnTo>
                    <a:pt x="369" y="438"/>
                  </a:lnTo>
                  <a:lnTo>
                    <a:pt x="367" y="440"/>
                  </a:lnTo>
                  <a:lnTo>
                    <a:pt x="367" y="442"/>
                  </a:lnTo>
                  <a:lnTo>
                    <a:pt x="367" y="444"/>
                  </a:lnTo>
                  <a:lnTo>
                    <a:pt x="369" y="446"/>
                  </a:lnTo>
                  <a:lnTo>
                    <a:pt x="373" y="448"/>
                  </a:lnTo>
                  <a:lnTo>
                    <a:pt x="375" y="448"/>
                  </a:lnTo>
                  <a:lnTo>
                    <a:pt x="377" y="450"/>
                  </a:lnTo>
                  <a:lnTo>
                    <a:pt x="379" y="452"/>
                  </a:lnTo>
                  <a:lnTo>
                    <a:pt x="385" y="455"/>
                  </a:lnTo>
                  <a:lnTo>
                    <a:pt x="385" y="457"/>
                  </a:lnTo>
                  <a:lnTo>
                    <a:pt x="392" y="457"/>
                  </a:lnTo>
                  <a:lnTo>
                    <a:pt x="394" y="455"/>
                  </a:lnTo>
                  <a:lnTo>
                    <a:pt x="396" y="454"/>
                  </a:lnTo>
                  <a:lnTo>
                    <a:pt x="400" y="454"/>
                  </a:lnTo>
                  <a:lnTo>
                    <a:pt x="402" y="454"/>
                  </a:lnTo>
                  <a:lnTo>
                    <a:pt x="404" y="457"/>
                  </a:lnTo>
                  <a:lnTo>
                    <a:pt x="406" y="461"/>
                  </a:lnTo>
                  <a:lnTo>
                    <a:pt x="410" y="465"/>
                  </a:lnTo>
                  <a:lnTo>
                    <a:pt x="410" y="467"/>
                  </a:lnTo>
                  <a:lnTo>
                    <a:pt x="411" y="473"/>
                  </a:lnTo>
                  <a:lnTo>
                    <a:pt x="411" y="477"/>
                  </a:lnTo>
                  <a:lnTo>
                    <a:pt x="413" y="484"/>
                  </a:lnTo>
                  <a:lnTo>
                    <a:pt x="419" y="490"/>
                  </a:lnTo>
                  <a:lnTo>
                    <a:pt x="421" y="500"/>
                  </a:lnTo>
                  <a:lnTo>
                    <a:pt x="425" y="515"/>
                  </a:lnTo>
                  <a:lnTo>
                    <a:pt x="427" y="519"/>
                  </a:lnTo>
                  <a:lnTo>
                    <a:pt x="427" y="521"/>
                  </a:lnTo>
                  <a:lnTo>
                    <a:pt x="429" y="523"/>
                  </a:lnTo>
                  <a:lnTo>
                    <a:pt x="431" y="525"/>
                  </a:lnTo>
                  <a:lnTo>
                    <a:pt x="433" y="527"/>
                  </a:lnTo>
                  <a:lnTo>
                    <a:pt x="433" y="534"/>
                  </a:lnTo>
                  <a:lnTo>
                    <a:pt x="431" y="536"/>
                  </a:lnTo>
                  <a:lnTo>
                    <a:pt x="431" y="538"/>
                  </a:lnTo>
                  <a:lnTo>
                    <a:pt x="423" y="538"/>
                  </a:lnTo>
                  <a:lnTo>
                    <a:pt x="423" y="540"/>
                  </a:lnTo>
                  <a:lnTo>
                    <a:pt x="421" y="542"/>
                  </a:lnTo>
                  <a:lnTo>
                    <a:pt x="419" y="542"/>
                  </a:lnTo>
                  <a:lnTo>
                    <a:pt x="417" y="542"/>
                  </a:lnTo>
                  <a:lnTo>
                    <a:pt x="415" y="544"/>
                  </a:lnTo>
                  <a:lnTo>
                    <a:pt x="415" y="546"/>
                  </a:lnTo>
                  <a:lnTo>
                    <a:pt x="419" y="552"/>
                  </a:lnTo>
                  <a:lnTo>
                    <a:pt x="419" y="553"/>
                  </a:lnTo>
                  <a:lnTo>
                    <a:pt x="419" y="555"/>
                  </a:lnTo>
                  <a:lnTo>
                    <a:pt x="417" y="561"/>
                  </a:lnTo>
                  <a:lnTo>
                    <a:pt x="415" y="567"/>
                  </a:lnTo>
                  <a:lnTo>
                    <a:pt x="415" y="569"/>
                  </a:lnTo>
                  <a:lnTo>
                    <a:pt x="411" y="571"/>
                  </a:lnTo>
                  <a:lnTo>
                    <a:pt x="410" y="573"/>
                  </a:lnTo>
                  <a:lnTo>
                    <a:pt x="408" y="571"/>
                  </a:lnTo>
                  <a:lnTo>
                    <a:pt x="408" y="573"/>
                  </a:lnTo>
                  <a:lnTo>
                    <a:pt x="406" y="573"/>
                  </a:lnTo>
                  <a:lnTo>
                    <a:pt x="408" y="577"/>
                  </a:lnTo>
                  <a:lnTo>
                    <a:pt x="408" y="578"/>
                  </a:lnTo>
                  <a:lnTo>
                    <a:pt x="408" y="580"/>
                  </a:lnTo>
                  <a:lnTo>
                    <a:pt x="408" y="584"/>
                  </a:lnTo>
                  <a:lnTo>
                    <a:pt x="408" y="586"/>
                  </a:lnTo>
                  <a:lnTo>
                    <a:pt x="410" y="588"/>
                  </a:lnTo>
                  <a:lnTo>
                    <a:pt x="413" y="590"/>
                  </a:lnTo>
                  <a:lnTo>
                    <a:pt x="415" y="592"/>
                  </a:lnTo>
                  <a:lnTo>
                    <a:pt x="423" y="592"/>
                  </a:lnTo>
                  <a:lnTo>
                    <a:pt x="429" y="590"/>
                  </a:lnTo>
                  <a:lnTo>
                    <a:pt x="429" y="588"/>
                  </a:lnTo>
                  <a:lnTo>
                    <a:pt x="433" y="582"/>
                  </a:lnTo>
                  <a:lnTo>
                    <a:pt x="433" y="578"/>
                  </a:lnTo>
                  <a:lnTo>
                    <a:pt x="433" y="577"/>
                  </a:lnTo>
                  <a:lnTo>
                    <a:pt x="434" y="575"/>
                  </a:lnTo>
                  <a:lnTo>
                    <a:pt x="436" y="573"/>
                  </a:lnTo>
                  <a:lnTo>
                    <a:pt x="440" y="565"/>
                  </a:lnTo>
                  <a:lnTo>
                    <a:pt x="442" y="565"/>
                  </a:lnTo>
                  <a:lnTo>
                    <a:pt x="446" y="563"/>
                  </a:lnTo>
                  <a:lnTo>
                    <a:pt x="448" y="561"/>
                  </a:lnTo>
                  <a:lnTo>
                    <a:pt x="452" y="557"/>
                  </a:lnTo>
                  <a:lnTo>
                    <a:pt x="452" y="553"/>
                  </a:lnTo>
                  <a:lnTo>
                    <a:pt x="452" y="550"/>
                  </a:lnTo>
                  <a:lnTo>
                    <a:pt x="452" y="548"/>
                  </a:lnTo>
                  <a:lnTo>
                    <a:pt x="452" y="546"/>
                  </a:lnTo>
                  <a:lnTo>
                    <a:pt x="450" y="540"/>
                  </a:lnTo>
                  <a:lnTo>
                    <a:pt x="448" y="538"/>
                  </a:lnTo>
                  <a:lnTo>
                    <a:pt x="452" y="534"/>
                  </a:lnTo>
                  <a:lnTo>
                    <a:pt x="452" y="532"/>
                  </a:lnTo>
                  <a:lnTo>
                    <a:pt x="454" y="530"/>
                  </a:lnTo>
                  <a:lnTo>
                    <a:pt x="458" y="529"/>
                  </a:lnTo>
                  <a:lnTo>
                    <a:pt x="463" y="525"/>
                  </a:lnTo>
                  <a:lnTo>
                    <a:pt x="467" y="523"/>
                  </a:lnTo>
                  <a:lnTo>
                    <a:pt x="469" y="525"/>
                  </a:lnTo>
                  <a:lnTo>
                    <a:pt x="471" y="525"/>
                  </a:lnTo>
                  <a:lnTo>
                    <a:pt x="473" y="525"/>
                  </a:lnTo>
                  <a:lnTo>
                    <a:pt x="475" y="525"/>
                  </a:lnTo>
                  <a:lnTo>
                    <a:pt x="475" y="523"/>
                  </a:lnTo>
                  <a:lnTo>
                    <a:pt x="477" y="517"/>
                  </a:lnTo>
                  <a:lnTo>
                    <a:pt x="479" y="517"/>
                  </a:lnTo>
                  <a:lnTo>
                    <a:pt x="479" y="515"/>
                  </a:lnTo>
                  <a:lnTo>
                    <a:pt x="477" y="515"/>
                  </a:lnTo>
                  <a:lnTo>
                    <a:pt x="475" y="513"/>
                  </a:lnTo>
                  <a:lnTo>
                    <a:pt x="473" y="511"/>
                  </a:lnTo>
                  <a:lnTo>
                    <a:pt x="475" y="494"/>
                  </a:lnTo>
                  <a:lnTo>
                    <a:pt x="475" y="492"/>
                  </a:lnTo>
                  <a:lnTo>
                    <a:pt x="469" y="488"/>
                  </a:lnTo>
                  <a:lnTo>
                    <a:pt x="461" y="484"/>
                  </a:lnTo>
                  <a:lnTo>
                    <a:pt x="459" y="482"/>
                  </a:lnTo>
                  <a:lnTo>
                    <a:pt x="456" y="480"/>
                  </a:lnTo>
                  <a:lnTo>
                    <a:pt x="452" y="480"/>
                  </a:lnTo>
                  <a:lnTo>
                    <a:pt x="448" y="479"/>
                  </a:lnTo>
                  <a:lnTo>
                    <a:pt x="446" y="479"/>
                  </a:lnTo>
                  <a:lnTo>
                    <a:pt x="444" y="477"/>
                  </a:lnTo>
                  <a:lnTo>
                    <a:pt x="444" y="475"/>
                  </a:lnTo>
                  <a:lnTo>
                    <a:pt x="442" y="473"/>
                  </a:lnTo>
                  <a:lnTo>
                    <a:pt x="442" y="467"/>
                  </a:lnTo>
                  <a:lnTo>
                    <a:pt x="444" y="465"/>
                  </a:lnTo>
                  <a:lnTo>
                    <a:pt x="446" y="461"/>
                  </a:lnTo>
                  <a:lnTo>
                    <a:pt x="448" y="459"/>
                  </a:lnTo>
                  <a:lnTo>
                    <a:pt x="448" y="457"/>
                  </a:lnTo>
                  <a:lnTo>
                    <a:pt x="448" y="455"/>
                  </a:lnTo>
                  <a:lnTo>
                    <a:pt x="448" y="452"/>
                  </a:lnTo>
                  <a:lnTo>
                    <a:pt x="448" y="450"/>
                  </a:lnTo>
                  <a:lnTo>
                    <a:pt x="452" y="444"/>
                  </a:lnTo>
                  <a:lnTo>
                    <a:pt x="454" y="440"/>
                  </a:lnTo>
                  <a:lnTo>
                    <a:pt x="454" y="436"/>
                  </a:lnTo>
                  <a:lnTo>
                    <a:pt x="456" y="434"/>
                  </a:lnTo>
                  <a:lnTo>
                    <a:pt x="458" y="431"/>
                  </a:lnTo>
                  <a:lnTo>
                    <a:pt x="459" y="429"/>
                  </a:lnTo>
                  <a:lnTo>
                    <a:pt x="461" y="423"/>
                  </a:lnTo>
                  <a:lnTo>
                    <a:pt x="463" y="423"/>
                  </a:lnTo>
                  <a:lnTo>
                    <a:pt x="467" y="419"/>
                  </a:lnTo>
                  <a:lnTo>
                    <a:pt x="469" y="419"/>
                  </a:lnTo>
                  <a:lnTo>
                    <a:pt x="471" y="419"/>
                  </a:lnTo>
                  <a:lnTo>
                    <a:pt x="473" y="421"/>
                  </a:lnTo>
                  <a:lnTo>
                    <a:pt x="475" y="421"/>
                  </a:lnTo>
                  <a:lnTo>
                    <a:pt x="477" y="421"/>
                  </a:lnTo>
                  <a:lnTo>
                    <a:pt x="479" y="421"/>
                  </a:lnTo>
                  <a:lnTo>
                    <a:pt x="479" y="423"/>
                  </a:lnTo>
                  <a:lnTo>
                    <a:pt x="475" y="423"/>
                  </a:lnTo>
                  <a:lnTo>
                    <a:pt x="475" y="425"/>
                  </a:lnTo>
                  <a:lnTo>
                    <a:pt x="475" y="427"/>
                  </a:lnTo>
                  <a:lnTo>
                    <a:pt x="479" y="427"/>
                  </a:lnTo>
                  <a:lnTo>
                    <a:pt x="481" y="429"/>
                  </a:lnTo>
                  <a:lnTo>
                    <a:pt x="486" y="431"/>
                  </a:lnTo>
                  <a:lnTo>
                    <a:pt x="488" y="432"/>
                  </a:lnTo>
                  <a:lnTo>
                    <a:pt x="498" y="431"/>
                  </a:lnTo>
                  <a:lnTo>
                    <a:pt x="504" y="432"/>
                  </a:lnTo>
                  <a:lnTo>
                    <a:pt x="508" y="434"/>
                  </a:lnTo>
                  <a:lnTo>
                    <a:pt x="508" y="438"/>
                  </a:lnTo>
                  <a:lnTo>
                    <a:pt x="511" y="440"/>
                  </a:lnTo>
                  <a:lnTo>
                    <a:pt x="513" y="442"/>
                  </a:lnTo>
                  <a:lnTo>
                    <a:pt x="513" y="444"/>
                  </a:lnTo>
                  <a:lnTo>
                    <a:pt x="511" y="444"/>
                  </a:lnTo>
                  <a:lnTo>
                    <a:pt x="511" y="446"/>
                  </a:lnTo>
                  <a:lnTo>
                    <a:pt x="513" y="448"/>
                  </a:lnTo>
                  <a:lnTo>
                    <a:pt x="515" y="448"/>
                  </a:lnTo>
                  <a:lnTo>
                    <a:pt x="513" y="450"/>
                  </a:lnTo>
                  <a:lnTo>
                    <a:pt x="511" y="450"/>
                  </a:lnTo>
                  <a:lnTo>
                    <a:pt x="513" y="452"/>
                  </a:lnTo>
                  <a:lnTo>
                    <a:pt x="515" y="452"/>
                  </a:lnTo>
                  <a:lnTo>
                    <a:pt x="517" y="454"/>
                  </a:lnTo>
                  <a:lnTo>
                    <a:pt x="519" y="457"/>
                  </a:lnTo>
                  <a:lnTo>
                    <a:pt x="523" y="459"/>
                  </a:lnTo>
                  <a:lnTo>
                    <a:pt x="525" y="459"/>
                  </a:lnTo>
                  <a:lnTo>
                    <a:pt x="527" y="461"/>
                  </a:lnTo>
                  <a:lnTo>
                    <a:pt x="531" y="463"/>
                  </a:lnTo>
                  <a:lnTo>
                    <a:pt x="533" y="461"/>
                  </a:lnTo>
                  <a:lnTo>
                    <a:pt x="533" y="459"/>
                  </a:lnTo>
                  <a:lnTo>
                    <a:pt x="533" y="457"/>
                  </a:lnTo>
                  <a:lnTo>
                    <a:pt x="533" y="454"/>
                  </a:lnTo>
                  <a:lnTo>
                    <a:pt x="533" y="450"/>
                  </a:lnTo>
                  <a:lnTo>
                    <a:pt x="534" y="444"/>
                  </a:lnTo>
                  <a:lnTo>
                    <a:pt x="536" y="442"/>
                  </a:lnTo>
                  <a:lnTo>
                    <a:pt x="536" y="438"/>
                  </a:lnTo>
                  <a:lnTo>
                    <a:pt x="534" y="436"/>
                  </a:lnTo>
                  <a:lnTo>
                    <a:pt x="534" y="434"/>
                  </a:lnTo>
                  <a:lnTo>
                    <a:pt x="533" y="431"/>
                  </a:lnTo>
                  <a:lnTo>
                    <a:pt x="533" y="429"/>
                  </a:lnTo>
                  <a:lnTo>
                    <a:pt x="529" y="427"/>
                  </a:lnTo>
                  <a:lnTo>
                    <a:pt x="525" y="423"/>
                  </a:lnTo>
                  <a:lnTo>
                    <a:pt x="521" y="419"/>
                  </a:lnTo>
                  <a:lnTo>
                    <a:pt x="517" y="417"/>
                  </a:lnTo>
                  <a:lnTo>
                    <a:pt x="513" y="413"/>
                  </a:lnTo>
                  <a:lnTo>
                    <a:pt x="513" y="409"/>
                  </a:lnTo>
                  <a:lnTo>
                    <a:pt x="511" y="409"/>
                  </a:lnTo>
                  <a:lnTo>
                    <a:pt x="511" y="407"/>
                  </a:lnTo>
                  <a:lnTo>
                    <a:pt x="508" y="409"/>
                  </a:lnTo>
                  <a:lnTo>
                    <a:pt x="508" y="407"/>
                  </a:lnTo>
                  <a:lnTo>
                    <a:pt x="504" y="406"/>
                  </a:lnTo>
                  <a:lnTo>
                    <a:pt x="500" y="406"/>
                  </a:lnTo>
                  <a:lnTo>
                    <a:pt x="496" y="402"/>
                  </a:lnTo>
                  <a:lnTo>
                    <a:pt x="494" y="402"/>
                  </a:lnTo>
                  <a:lnTo>
                    <a:pt x="490" y="400"/>
                  </a:lnTo>
                  <a:lnTo>
                    <a:pt x="488" y="400"/>
                  </a:lnTo>
                  <a:lnTo>
                    <a:pt x="486" y="398"/>
                  </a:lnTo>
                  <a:lnTo>
                    <a:pt x="484" y="396"/>
                  </a:lnTo>
                  <a:lnTo>
                    <a:pt x="483" y="396"/>
                  </a:lnTo>
                  <a:lnTo>
                    <a:pt x="481" y="392"/>
                  </a:lnTo>
                  <a:lnTo>
                    <a:pt x="477" y="390"/>
                  </a:lnTo>
                  <a:lnTo>
                    <a:pt x="475" y="388"/>
                  </a:lnTo>
                  <a:lnTo>
                    <a:pt x="473" y="388"/>
                  </a:lnTo>
                  <a:lnTo>
                    <a:pt x="471" y="386"/>
                  </a:lnTo>
                  <a:lnTo>
                    <a:pt x="469" y="384"/>
                  </a:lnTo>
                  <a:lnTo>
                    <a:pt x="465" y="384"/>
                  </a:lnTo>
                  <a:lnTo>
                    <a:pt x="463" y="382"/>
                  </a:lnTo>
                  <a:lnTo>
                    <a:pt x="448" y="377"/>
                  </a:lnTo>
                  <a:lnTo>
                    <a:pt x="446" y="377"/>
                  </a:lnTo>
                  <a:lnTo>
                    <a:pt x="444" y="377"/>
                  </a:lnTo>
                  <a:lnTo>
                    <a:pt x="438" y="375"/>
                  </a:lnTo>
                  <a:lnTo>
                    <a:pt x="436" y="373"/>
                  </a:lnTo>
                  <a:lnTo>
                    <a:pt x="433" y="371"/>
                  </a:lnTo>
                  <a:lnTo>
                    <a:pt x="429" y="369"/>
                  </a:lnTo>
                  <a:lnTo>
                    <a:pt x="425" y="369"/>
                  </a:lnTo>
                  <a:lnTo>
                    <a:pt x="419" y="365"/>
                  </a:lnTo>
                  <a:lnTo>
                    <a:pt x="415" y="363"/>
                  </a:lnTo>
                  <a:lnTo>
                    <a:pt x="411" y="359"/>
                  </a:lnTo>
                  <a:lnTo>
                    <a:pt x="410" y="357"/>
                  </a:lnTo>
                  <a:lnTo>
                    <a:pt x="410" y="354"/>
                  </a:lnTo>
                  <a:lnTo>
                    <a:pt x="410" y="352"/>
                  </a:lnTo>
                  <a:lnTo>
                    <a:pt x="413" y="348"/>
                  </a:lnTo>
                  <a:lnTo>
                    <a:pt x="415" y="348"/>
                  </a:lnTo>
                  <a:lnTo>
                    <a:pt x="421" y="340"/>
                  </a:lnTo>
                  <a:lnTo>
                    <a:pt x="423" y="340"/>
                  </a:lnTo>
                  <a:lnTo>
                    <a:pt x="423" y="338"/>
                  </a:lnTo>
                  <a:lnTo>
                    <a:pt x="421" y="334"/>
                  </a:lnTo>
                  <a:lnTo>
                    <a:pt x="421" y="333"/>
                  </a:lnTo>
                  <a:lnTo>
                    <a:pt x="417" y="331"/>
                  </a:lnTo>
                  <a:lnTo>
                    <a:pt x="415" y="329"/>
                  </a:lnTo>
                  <a:lnTo>
                    <a:pt x="400" y="333"/>
                  </a:lnTo>
                  <a:lnTo>
                    <a:pt x="396" y="331"/>
                  </a:lnTo>
                  <a:lnTo>
                    <a:pt x="390" y="333"/>
                  </a:lnTo>
                  <a:lnTo>
                    <a:pt x="386" y="333"/>
                  </a:lnTo>
                  <a:lnTo>
                    <a:pt x="383" y="333"/>
                  </a:lnTo>
                  <a:lnTo>
                    <a:pt x="377" y="333"/>
                  </a:lnTo>
                  <a:lnTo>
                    <a:pt x="375" y="333"/>
                  </a:lnTo>
                  <a:lnTo>
                    <a:pt x="365" y="327"/>
                  </a:lnTo>
                  <a:lnTo>
                    <a:pt x="363" y="327"/>
                  </a:lnTo>
                  <a:lnTo>
                    <a:pt x="360" y="325"/>
                  </a:lnTo>
                  <a:lnTo>
                    <a:pt x="356" y="323"/>
                  </a:lnTo>
                  <a:lnTo>
                    <a:pt x="354" y="323"/>
                  </a:lnTo>
                  <a:lnTo>
                    <a:pt x="354" y="319"/>
                  </a:lnTo>
                  <a:lnTo>
                    <a:pt x="354" y="317"/>
                  </a:lnTo>
                  <a:lnTo>
                    <a:pt x="346" y="315"/>
                  </a:lnTo>
                  <a:lnTo>
                    <a:pt x="340" y="309"/>
                  </a:lnTo>
                  <a:lnTo>
                    <a:pt x="336" y="306"/>
                  </a:lnTo>
                  <a:lnTo>
                    <a:pt x="333" y="302"/>
                  </a:lnTo>
                  <a:lnTo>
                    <a:pt x="327" y="296"/>
                  </a:lnTo>
                  <a:lnTo>
                    <a:pt x="321" y="286"/>
                  </a:lnTo>
                  <a:lnTo>
                    <a:pt x="319" y="283"/>
                  </a:lnTo>
                  <a:lnTo>
                    <a:pt x="317" y="277"/>
                  </a:lnTo>
                  <a:lnTo>
                    <a:pt x="317" y="273"/>
                  </a:lnTo>
                  <a:lnTo>
                    <a:pt x="313" y="265"/>
                  </a:lnTo>
                  <a:lnTo>
                    <a:pt x="313" y="263"/>
                  </a:lnTo>
                  <a:lnTo>
                    <a:pt x="312" y="258"/>
                  </a:lnTo>
                  <a:lnTo>
                    <a:pt x="310" y="252"/>
                  </a:lnTo>
                  <a:lnTo>
                    <a:pt x="308" y="248"/>
                  </a:lnTo>
                  <a:lnTo>
                    <a:pt x="306" y="242"/>
                  </a:lnTo>
                  <a:lnTo>
                    <a:pt x="304" y="238"/>
                  </a:lnTo>
                  <a:lnTo>
                    <a:pt x="302" y="233"/>
                  </a:lnTo>
                  <a:lnTo>
                    <a:pt x="302" y="231"/>
                  </a:lnTo>
                  <a:lnTo>
                    <a:pt x="298" y="229"/>
                  </a:lnTo>
                  <a:lnTo>
                    <a:pt x="296" y="225"/>
                  </a:lnTo>
                  <a:lnTo>
                    <a:pt x="294" y="227"/>
                  </a:lnTo>
                  <a:lnTo>
                    <a:pt x="292" y="225"/>
                  </a:lnTo>
                  <a:lnTo>
                    <a:pt x="288" y="223"/>
                  </a:lnTo>
                  <a:lnTo>
                    <a:pt x="281" y="219"/>
                  </a:lnTo>
                  <a:lnTo>
                    <a:pt x="277" y="213"/>
                  </a:lnTo>
                  <a:lnTo>
                    <a:pt x="275" y="211"/>
                  </a:lnTo>
                  <a:lnTo>
                    <a:pt x="271" y="208"/>
                  </a:lnTo>
                  <a:lnTo>
                    <a:pt x="265" y="206"/>
                  </a:lnTo>
                  <a:lnTo>
                    <a:pt x="260" y="202"/>
                  </a:lnTo>
                  <a:lnTo>
                    <a:pt x="250" y="192"/>
                  </a:lnTo>
                  <a:lnTo>
                    <a:pt x="248" y="188"/>
                  </a:lnTo>
                  <a:lnTo>
                    <a:pt x="244" y="181"/>
                  </a:lnTo>
                  <a:lnTo>
                    <a:pt x="242" y="177"/>
                  </a:lnTo>
                  <a:lnTo>
                    <a:pt x="242" y="175"/>
                  </a:lnTo>
                  <a:lnTo>
                    <a:pt x="242" y="173"/>
                  </a:lnTo>
                  <a:lnTo>
                    <a:pt x="240" y="171"/>
                  </a:lnTo>
                  <a:lnTo>
                    <a:pt x="242" y="165"/>
                  </a:lnTo>
                  <a:lnTo>
                    <a:pt x="242" y="163"/>
                  </a:lnTo>
                  <a:lnTo>
                    <a:pt x="240" y="161"/>
                  </a:lnTo>
                  <a:lnTo>
                    <a:pt x="240" y="160"/>
                  </a:lnTo>
                  <a:lnTo>
                    <a:pt x="240" y="158"/>
                  </a:lnTo>
                  <a:lnTo>
                    <a:pt x="238" y="154"/>
                  </a:lnTo>
                  <a:lnTo>
                    <a:pt x="240" y="154"/>
                  </a:lnTo>
                  <a:lnTo>
                    <a:pt x="240" y="150"/>
                  </a:lnTo>
                  <a:lnTo>
                    <a:pt x="240" y="148"/>
                  </a:lnTo>
                  <a:lnTo>
                    <a:pt x="244" y="148"/>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302" name="Freeform 90"/>
            <p:cNvSpPr>
              <a:spLocks/>
            </p:cNvSpPr>
            <p:nvPr/>
          </p:nvSpPr>
          <p:spPr bwMode="auto">
            <a:xfrm>
              <a:off x="2304" y="2770"/>
              <a:ext cx="536" cy="577"/>
            </a:xfrm>
            <a:custGeom>
              <a:avLst/>
              <a:gdLst>
                <a:gd name="T0" fmla="*/ 164 w 536"/>
                <a:gd name="T1" fmla="*/ 20 h 577"/>
                <a:gd name="T2" fmla="*/ 154 w 536"/>
                <a:gd name="T3" fmla="*/ 29 h 577"/>
                <a:gd name="T4" fmla="*/ 148 w 536"/>
                <a:gd name="T5" fmla="*/ 29 h 577"/>
                <a:gd name="T6" fmla="*/ 125 w 536"/>
                <a:gd name="T7" fmla="*/ 24 h 577"/>
                <a:gd name="T8" fmla="*/ 112 w 536"/>
                <a:gd name="T9" fmla="*/ 47 h 577"/>
                <a:gd name="T10" fmla="*/ 96 w 536"/>
                <a:gd name="T11" fmla="*/ 54 h 577"/>
                <a:gd name="T12" fmla="*/ 81 w 536"/>
                <a:gd name="T13" fmla="*/ 24 h 577"/>
                <a:gd name="T14" fmla="*/ 56 w 536"/>
                <a:gd name="T15" fmla="*/ 54 h 577"/>
                <a:gd name="T16" fmla="*/ 25 w 536"/>
                <a:gd name="T17" fmla="*/ 60 h 577"/>
                <a:gd name="T18" fmla="*/ 10 w 536"/>
                <a:gd name="T19" fmla="*/ 70 h 577"/>
                <a:gd name="T20" fmla="*/ 21 w 536"/>
                <a:gd name="T21" fmla="*/ 97 h 577"/>
                <a:gd name="T22" fmla="*/ 0 w 536"/>
                <a:gd name="T23" fmla="*/ 114 h 577"/>
                <a:gd name="T24" fmla="*/ 17 w 536"/>
                <a:gd name="T25" fmla="*/ 137 h 577"/>
                <a:gd name="T26" fmla="*/ 10 w 536"/>
                <a:gd name="T27" fmla="*/ 152 h 577"/>
                <a:gd name="T28" fmla="*/ 27 w 536"/>
                <a:gd name="T29" fmla="*/ 173 h 577"/>
                <a:gd name="T30" fmla="*/ 39 w 536"/>
                <a:gd name="T31" fmla="*/ 185 h 577"/>
                <a:gd name="T32" fmla="*/ 48 w 536"/>
                <a:gd name="T33" fmla="*/ 193 h 577"/>
                <a:gd name="T34" fmla="*/ 75 w 536"/>
                <a:gd name="T35" fmla="*/ 170 h 577"/>
                <a:gd name="T36" fmla="*/ 110 w 536"/>
                <a:gd name="T37" fmla="*/ 164 h 577"/>
                <a:gd name="T38" fmla="*/ 135 w 536"/>
                <a:gd name="T39" fmla="*/ 183 h 577"/>
                <a:gd name="T40" fmla="*/ 152 w 536"/>
                <a:gd name="T41" fmla="*/ 193 h 577"/>
                <a:gd name="T42" fmla="*/ 164 w 536"/>
                <a:gd name="T43" fmla="*/ 250 h 577"/>
                <a:gd name="T44" fmla="*/ 173 w 536"/>
                <a:gd name="T45" fmla="*/ 264 h 577"/>
                <a:gd name="T46" fmla="*/ 189 w 536"/>
                <a:gd name="T47" fmla="*/ 289 h 577"/>
                <a:gd name="T48" fmla="*/ 215 w 536"/>
                <a:gd name="T49" fmla="*/ 300 h 577"/>
                <a:gd name="T50" fmla="*/ 242 w 536"/>
                <a:gd name="T51" fmla="*/ 331 h 577"/>
                <a:gd name="T52" fmla="*/ 273 w 536"/>
                <a:gd name="T53" fmla="*/ 358 h 577"/>
                <a:gd name="T54" fmla="*/ 300 w 536"/>
                <a:gd name="T55" fmla="*/ 367 h 577"/>
                <a:gd name="T56" fmla="*/ 325 w 536"/>
                <a:gd name="T57" fmla="*/ 389 h 577"/>
                <a:gd name="T58" fmla="*/ 344 w 536"/>
                <a:gd name="T59" fmla="*/ 404 h 577"/>
                <a:gd name="T60" fmla="*/ 356 w 536"/>
                <a:gd name="T61" fmla="*/ 404 h 577"/>
                <a:gd name="T62" fmla="*/ 367 w 536"/>
                <a:gd name="T63" fmla="*/ 427 h 577"/>
                <a:gd name="T64" fmla="*/ 394 w 536"/>
                <a:gd name="T65" fmla="*/ 440 h 577"/>
                <a:gd name="T66" fmla="*/ 413 w 536"/>
                <a:gd name="T67" fmla="*/ 469 h 577"/>
                <a:gd name="T68" fmla="*/ 431 w 536"/>
                <a:gd name="T69" fmla="*/ 521 h 577"/>
                <a:gd name="T70" fmla="*/ 419 w 536"/>
                <a:gd name="T71" fmla="*/ 538 h 577"/>
                <a:gd name="T72" fmla="*/ 408 w 536"/>
                <a:gd name="T73" fmla="*/ 562 h 577"/>
                <a:gd name="T74" fmla="*/ 429 w 536"/>
                <a:gd name="T75" fmla="*/ 573 h 577"/>
                <a:gd name="T76" fmla="*/ 452 w 536"/>
                <a:gd name="T77" fmla="*/ 542 h 577"/>
                <a:gd name="T78" fmla="*/ 458 w 536"/>
                <a:gd name="T79" fmla="*/ 514 h 577"/>
                <a:gd name="T80" fmla="*/ 479 w 536"/>
                <a:gd name="T81" fmla="*/ 500 h 577"/>
                <a:gd name="T82" fmla="*/ 452 w 536"/>
                <a:gd name="T83" fmla="*/ 465 h 577"/>
                <a:gd name="T84" fmla="*/ 448 w 536"/>
                <a:gd name="T85" fmla="*/ 442 h 577"/>
                <a:gd name="T86" fmla="*/ 461 w 536"/>
                <a:gd name="T87" fmla="*/ 408 h 577"/>
                <a:gd name="T88" fmla="*/ 475 w 536"/>
                <a:gd name="T89" fmla="*/ 408 h 577"/>
                <a:gd name="T90" fmla="*/ 508 w 536"/>
                <a:gd name="T91" fmla="*/ 423 h 577"/>
                <a:gd name="T92" fmla="*/ 513 w 536"/>
                <a:gd name="T93" fmla="*/ 437 h 577"/>
                <a:gd name="T94" fmla="*/ 533 w 536"/>
                <a:gd name="T95" fmla="*/ 442 h 577"/>
                <a:gd name="T96" fmla="*/ 529 w 536"/>
                <a:gd name="T97" fmla="*/ 412 h 577"/>
                <a:gd name="T98" fmla="*/ 504 w 536"/>
                <a:gd name="T99" fmla="*/ 391 h 577"/>
                <a:gd name="T100" fmla="*/ 477 w 536"/>
                <a:gd name="T101" fmla="*/ 375 h 577"/>
                <a:gd name="T102" fmla="*/ 438 w 536"/>
                <a:gd name="T103" fmla="*/ 360 h 577"/>
                <a:gd name="T104" fmla="*/ 410 w 536"/>
                <a:gd name="T105" fmla="*/ 337 h 577"/>
                <a:gd name="T106" fmla="*/ 400 w 536"/>
                <a:gd name="T107" fmla="*/ 318 h 577"/>
                <a:gd name="T108" fmla="*/ 356 w 536"/>
                <a:gd name="T109" fmla="*/ 308 h 577"/>
                <a:gd name="T110" fmla="*/ 319 w 536"/>
                <a:gd name="T111" fmla="*/ 268 h 577"/>
                <a:gd name="T112" fmla="*/ 302 w 536"/>
                <a:gd name="T113" fmla="*/ 218 h 577"/>
                <a:gd name="T114" fmla="*/ 271 w 536"/>
                <a:gd name="T115" fmla="*/ 193 h 577"/>
                <a:gd name="T116" fmla="*/ 242 w 536"/>
                <a:gd name="T117" fmla="*/ 15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6" h="577">
                  <a:moveTo>
                    <a:pt x="175" y="0"/>
                  </a:moveTo>
                  <a:lnTo>
                    <a:pt x="173" y="0"/>
                  </a:lnTo>
                  <a:lnTo>
                    <a:pt x="171" y="2"/>
                  </a:lnTo>
                  <a:lnTo>
                    <a:pt x="167" y="2"/>
                  </a:lnTo>
                  <a:lnTo>
                    <a:pt x="165" y="4"/>
                  </a:lnTo>
                  <a:lnTo>
                    <a:pt x="167" y="8"/>
                  </a:lnTo>
                  <a:lnTo>
                    <a:pt x="165" y="14"/>
                  </a:lnTo>
                  <a:lnTo>
                    <a:pt x="167" y="16"/>
                  </a:lnTo>
                  <a:lnTo>
                    <a:pt x="167" y="20"/>
                  </a:lnTo>
                  <a:lnTo>
                    <a:pt x="164" y="20"/>
                  </a:lnTo>
                  <a:lnTo>
                    <a:pt x="160" y="20"/>
                  </a:lnTo>
                  <a:lnTo>
                    <a:pt x="158" y="16"/>
                  </a:lnTo>
                  <a:lnTo>
                    <a:pt x="156" y="14"/>
                  </a:lnTo>
                  <a:lnTo>
                    <a:pt x="152" y="16"/>
                  </a:lnTo>
                  <a:lnTo>
                    <a:pt x="150" y="18"/>
                  </a:lnTo>
                  <a:lnTo>
                    <a:pt x="150" y="20"/>
                  </a:lnTo>
                  <a:lnTo>
                    <a:pt x="150" y="22"/>
                  </a:lnTo>
                  <a:lnTo>
                    <a:pt x="148" y="25"/>
                  </a:lnTo>
                  <a:lnTo>
                    <a:pt x="154" y="27"/>
                  </a:lnTo>
                  <a:lnTo>
                    <a:pt x="154" y="29"/>
                  </a:lnTo>
                  <a:lnTo>
                    <a:pt x="152" y="33"/>
                  </a:lnTo>
                  <a:lnTo>
                    <a:pt x="154" y="35"/>
                  </a:lnTo>
                  <a:lnTo>
                    <a:pt x="154" y="39"/>
                  </a:lnTo>
                  <a:lnTo>
                    <a:pt x="152" y="41"/>
                  </a:lnTo>
                  <a:lnTo>
                    <a:pt x="150" y="41"/>
                  </a:lnTo>
                  <a:lnTo>
                    <a:pt x="148" y="39"/>
                  </a:lnTo>
                  <a:lnTo>
                    <a:pt x="148" y="35"/>
                  </a:lnTo>
                  <a:lnTo>
                    <a:pt x="148" y="33"/>
                  </a:lnTo>
                  <a:lnTo>
                    <a:pt x="146" y="31"/>
                  </a:lnTo>
                  <a:lnTo>
                    <a:pt x="148" y="29"/>
                  </a:lnTo>
                  <a:lnTo>
                    <a:pt x="146" y="29"/>
                  </a:lnTo>
                  <a:lnTo>
                    <a:pt x="144" y="29"/>
                  </a:lnTo>
                  <a:lnTo>
                    <a:pt x="139" y="29"/>
                  </a:lnTo>
                  <a:lnTo>
                    <a:pt x="137" y="31"/>
                  </a:lnTo>
                  <a:lnTo>
                    <a:pt x="137" y="35"/>
                  </a:lnTo>
                  <a:lnTo>
                    <a:pt x="131" y="35"/>
                  </a:lnTo>
                  <a:lnTo>
                    <a:pt x="129" y="35"/>
                  </a:lnTo>
                  <a:lnTo>
                    <a:pt x="123" y="29"/>
                  </a:lnTo>
                  <a:lnTo>
                    <a:pt x="125" y="25"/>
                  </a:lnTo>
                  <a:lnTo>
                    <a:pt x="125" y="24"/>
                  </a:lnTo>
                  <a:lnTo>
                    <a:pt x="123" y="22"/>
                  </a:lnTo>
                  <a:lnTo>
                    <a:pt x="121" y="22"/>
                  </a:lnTo>
                  <a:lnTo>
                    <a:pt x="117" y="24"/>
                  </a:lnTo>
                  <a:lnTo>
                    <a:pt x="116" y="25"/>
                  </a:lnTo>
                  <a:lnTo>
                    <a:pt x="116" y="27"/>
                  </a:lnTo>
                  <a:lnTo>
                    <a:pt x="116" y="31"/>
                  </a:lnTo>
                  <a:lnTo>
                    <a:pt x="117" y="35"/>
                  </a:lnTo>
                  <a:lnTo>
                    <a:pt x="116" y="39"/>
                  </a:lnTo>
                  <a:lnTo>
                    <a:pt x="114" y="43"/>
                  </a:lnTo>
                  <a:lnTo>
                    <a:pt x="112" y="47"/>
                  </a:lnTo>
                  <a:lnTo>
                    <a:pt x="104" y="52"/>
                  </a:lnTo>
                  <a:lnTo>
                    <a:pt x="104" y="54"/>
                  </a:lnTo>
                  <a:lnTo>
                    <a:pt x="106" y="60"/>
                  </a:lnTo>
                  <a:lnTo>
                    <a:pt x="106" y="62"/>
                  </a:lnTo>
                  <a:lnTo>
                    <a:pt x="106" y="66"/>
                  </a:lnTo>
                  <a:lnTo>
                    <a:pt x="104" y="68"/>
                  </a:lnTo>
                  <a:lnTo>
                    <a:pt x="100" y="66"/>
                  </a:lnTo>
                  <a:lnTo>
                    <a:pt x="102" y="64"/>
                  </a:lnTo>
                  <a:lnTo>
                    <a:pt x="102" y="60"/>
                  </a:lnTo>
                  <a:lnTo>
                    <a:pt x="96" y="54"/>
                  </a:lnTo>
                  <a:lnTo>
                    <a:pt x="98" y="50"/>
                  </a:lnTo>
                  <a:lnTo>
                    <a:pt x="98" y="48"/>
                  </a:lnTo>
                  <a:lnTo>
                    <a:pt x="96" y="47"/>
                  </a:lnTo>
                  <a:lnTo>
                    <a:pt x="92" y="48"/>
                  </a:lnTo>
                  <a:lnTo>
                    <a:pt x="89" y="47"/>
                  </a:lnTo>
                  <a:lnTo>
                    <a:pt x="85" y="39"/>
                  </a:lnTo>
                  <a:lnTo>
                    <a:pt x="83" y="37"/>
                  </a:lnTo>
                  <a:lnTo>
                    <a:pt x="81" y="37"/>
                  </a:lnTo>
                  <a:lnTo>
                    <a:pt x="83" y="27"/>
                  </a:lnTo>
                  <a:lnTo>
                    <a:pt x="81" y="24"/>
                  </a:lnTo>
                  <a:lnTo>
                    <a:pt x="79" y="24"/>
                  </a:lnTo>
                  <a:lnTo>
                    <a:pt x="75" y="29"/>
                  </a:lnTo>
                  <a:lnTo>
                    <a:pt x="66" y="35"/>
                  </a:lnTo>
                  <a:lnTo>
                    <a:pt x="66" y="37"/>
                  </a:lnTo>
                  <a:lnTo>
                    <a:pt x="67" y="43"/>
                  </a:lnTo>
                  <a:lnTo>
                    <a:pt x="67" y="45"/>
                  </a:lnTo>
                  <a:lnTo>
                    <a:pt x="64" y="48"/>
                  </a:lnTo>
                  <a:lnTo>
                    <a:pt x="62" y="48"/>
                  </a:lnTo>
                  <a:lnTo>
                    <a:pt x="62" y="52"/>
                  </a:lnTo>
                  <a:lnTo>
                    <a:pt x="56" y="54"/>
                  </a:lnTo>
                  <a:lnTo>
                    <a:pt x="56" y="58"/>
                  </a:lnTo>
                  <a:lnTo>
                    <a:pt x="50" y="56"/>
                  </a:lnTo>
                  <a:lnTo>
                    <a:pt x="46" y="54"/>
                  </a:lnTo>
                  <a:lnTo>
                    <a:pt x="44" y="56"/>
                  </a:lnTo>
                  <a:lnTo>
                    <a:pt x="42" y="54"/>
                  </a:lnTo>
                  <a:lnTo>
                    <a:pt x="39" y="56"/>
                  </a:lnTo>
                  <a:lnTo>
                    <a:pt x="35" y="56"/>
                  </a:lnTo>
                  <a:lnTo>
                    <a:pt x="33" y="56"/>
                  </a:lnTo>
                  <a:lnTo>
                    <a:pt x="27" y="60"/>
                  </a:lnTo>
                  <a:lnTo>
                    <a:pt x="25" y="60"/>
                  </a:lnTo>
                  <a:lnTo>
                    <a:pt x="23" y="60"/>
                  </a:lnTo>
                  <a:lnTo>
                    <a:pt x="21" y="56"/>
                  </a:lnTo>
                  <a:lnTo>
                    <a:pt x="19" y="56"/>
                  </a:lnTo>
                  <a:lnTo>
                    <a:pt x="17" y="60"/>
                  </a:lnTo>
                  <a:lnTo>
                    <a:pt x="16" y="62"/>
                  </a:lnTo>
                  <a:lnTo>
                    <a:pt x="14" y="62"/>
                  </a:lnTo>
                  <a:lnTo>
                    <a:pt x="12" y="62"/>
                  </a:lnTo>
                  <a:lnTo>
                    <a:pt x="10" y="62"/>
                  </a:lnTo>
                  <a:lnTo>
                    <a:pt x="10" y="66"/>
                  </a:lnTo>
                  <a:lnTo>
                    <a:pt x="10" y="70"/>
                  </a:lnTo>
                  <a:lnTo>
                    <a:pt x="12" y="70"/>
                  </a:lnTo>
                  <a:lnTo>
                    <a:pt x="14" y="72"/>
                  </a:lnTo>
                  <a:lnTo>
                    <a:pt x="14" y="73"/>
                  </a:lnTo>
                  <a:lnTo>
                    <a:pt x="17" y="73"/>
                  </a:lnTo>
                  <a:lnTo>
                    <a:pt x="17" y="81"/>
                  </a:lnTo>
                  <a:lnTo>
                    <a:pt x="19" y="83"/>
                  </a:lnTo>
                  <a:lnTo>
                    <a:pt x="19" y="85"/>
                  </a:lnTo>
                  <a:lnTo>
                    <a:pt x="23" y="89"/>
                  </a:lnTo>
                  <a:lnTo>
                    <a:pt x="25" y="93"/>
                  </a:lnTo>
                  <a:lnTo>
                    <a:pt x="21" y="97"/>
                  </a:lnTo>
                  <a:lnTo>
                    <a:pt x="23" y="98"/>
                  </a:lnTo>
                  <a:lnTo>
                    <a:pt x="19" y="102"/>
                  </a:lnTo>
                  <a:lnTo>
                    <a:pt x="16" y="102"/>
                  </a:lnTo>
                  <a:lnTo>
                    <a:pt x="14" y="104"/>
                  </a:lnTo>
                  <a:lnTo>
                    <a:pt x="12" y="106"/>
                  </a:lnTo>
                  <a:lnTo>
                    <a:pt x="10" y="108"/>
                  </a:lnTo>
                  <a:lnTo>
                    <a:pt x="6" y="106"/>
                  </a:lnTo>
                  <a:lnTo>
                    <a:pt x="0" y="108"/>
                  </a:lnTo>
                  <a:lnTo>
                    <a:pt x="0" y="110"/>
                  </a:lnTo>
                  <a:lnTo>
                    <a:pt x="0" y="114"/>
                  </a:lnTo>
                  <a:lnTo>
                    <a:pt x="4" y="114"/>
                  </a:lnTo>
                  <a:lnTo>
                    <a:pt x="4" y="118"/>
                  </a:lnTo>
                  <a:lnTo>
                    <a:pt x="6" y="122"/>
                  </a:lnTo>
                  <a:lnTo>
                    <a:pt x="8" y="125"/>
                  </a:lnTo>
                  <a:lnTo>
                    <a:pt x="14" y="125"/>
                  </a:lnTo>
                  <a:lnTo>
                    <a:pt x="16" y="127"/>
                  </a:lnTo>
                  <a:lnTo>
                    <a:pt x="16" y="129"/>
                  </a:lnTo>
                  <a:lnTo>
                    <a:pt x="16" y="133"/>
                  </a:lnTo>
                  <a:lnTo>
                    <a:pt x="16" y="135"/>
                  </a:lnTo>
                  <a:lnTo>
                    <a:pt x="17" y="137"/>
                  </a:lnTo>
                  <a:lnTo>
                    <a:pt x="16" y="137"/>
                  </a:lnTo>
                  <a:lnTo>
                    <a:pt x="14" y="137"/>
                  </a:lnTo>
                  <a:lnTo>
                    <a:pt x="12" y="139"/>
                  </a:lnTo>
                  <a:lnTo>
                    <a:pt x="12" y="141"/>
                  </a:lnTo>
                  <a:lnTo>
                    <a:pt x="10" y="145"/>
                  </a:lnTo>
                  <a:lnTo>
                    <a:pt x="8" y="145"/>
                  </a:lnTo>
                  <a:lnTo>
                    <a:pt x="8" y="146"/>
                  </a:lnTo>
                  <a:lnTo>
                    <a:pt x="8" y="148"/>
                  </a:lnTo>
                  <a:lnTo>
                    <a:pt x="8" y="150"/>
                  </a:lnTo>
                  <a:lnTo>
                    <a:pt x="10" y="152"/>
                  </a:lnTo>
                  <a:lnTo>
                    <a:pt x="8" y="152"/>
                  </a:lnTo>
                  <a:lnTo>
                    <a:pt x="10" y="154"/>
                  </a:lnTo>
                  <a:lnTo>
                    <a:pt x="8" y="158"/>
                  </a:lnTo>
                  <a:lnTo>
                    <a:pt x="12" y="162"/>
                  </a:lnTo>
                  <a:lnTo>
                    <a:pt x="14" y="166"/>
                  </a:lnTo>
                  <a:lnTo>
                    <a:pt x="19" y="168"/>
                  </a:lnTo>
                  <a:lnTo>
                    <a:pt x="21" y="170"/>
                  </a:lnTo>
                  <a:lnTo>
                    <a:pt x="23" y="170"/>
                  </a:lnTo>
                  <a:lnTo>
                    <a:pt x="25" y="171"/>
                  </a:lnTo>
                  <a:lnTo>
                    <a:pt x="27" y="173"/>
                  </a:lnTo>
                  <a:lnTo>
                    <a:pt x="33" y="171"/>
                  </a:lnTo>
                  <a:lnTo>
                    <a:pt x="37" y="173"/>
                  </a:lnTo>
                  <a:lnTo>
                    <a:pt x="41" y="171"/>
                  </a:lnTo>
                  <a:lnTo>
                    <a:pt x="41" y="175"/>
                  </a:lnTo>
                  <a:lnTo>
                    <a:pt x="42" y="177"/>
                  </a:lnTo>
                  <a:lnTo>
                    <a:pt x="44" y="177"/>
                  </a:lnTo>
                  <a:lnTo>
                    <a:pt x="44" y="179"/>
                  </a:lnTo>
                  <a:lnTo>
                    <a:pt x="42" y="181"/>
                  </a:lnTo>
                  <a:lnTo>
                    <a:pt x="41" y="181"/>
                  </a:lnTo>
                  <a:lnTo>
                    <a:pt x="39" y="185"/>
                  </a:lnTo>
                  <a:lnTo>
                    <a:pt x="37" y="185"/>
                  </a:lnTo>
                  <a:lnTo>
                    <a:pt x="37" y="189"/>
                  </a:lnTo>
                  <a:lnTo>
                    <a:pt x="33" y="189"/>
                  </a:lnTo>
                  <a:lnTo>
                    <a:pt x="33" y="193"/>
                  </a:lnTo>
                  <a:lnTo>
                    <a:pt x="35" y="196"/>
                  </a:lnTo>
                  <a:lnTo>
                    <a:pt x="37" y="196"/>
                  </a:lnTo>
                  <a:lnTo>
                    <a:pt x="39" y="196"/>
                  </a:lnTo>
                  <a:lnTo>
                    <a:pt x="41" y="196"/>
                  </a:lnTo>
                  <a:lnTo>
                    <a:pt x="44" y="196"/>
                  </a:lnTo>
                  <a:lnTo>
                    <a:pt x="48" y="193"/>
                  </a:lnTo>
                  <a:lnTo>
                    <a:pt x="50" y="193"/>
                  </a:lnTo>
                  <a:lnTo>
                    <a:pt x="54" y="193"/>
                  </a:lnTo>
                  <a:lnTo>
                    <a:pt x="60" y="189"/>
                  </a:lnTo>
                  <a:lnTo>
                    <a:pt x="62" y="185"/>
                  </a:lnTo>
                  <a:lnTo>
                    <a:pt x="64" y="181"/>
                  </a:lnTo>
                  <a:lnTo>
                    <a:pt x="66" y="179"/>
                  </a:lnTo>
                  <a:lnTo>
                    <a:pt x="66" y="175"/>
                  </a:lnTo>
                  <a:lnTo>
                    <a:pt x="67" y="173"/>
                  </a:lnTo>
                  <a:lnTo>
                    <a:pt x="73" y="171"/>
                  </a:lnTo>
                  <a:lnTo>
                    <a:pt x="75" y="170"/>
                  </a:lnTo>
                  <a:lnTo>
                    <a:pt x="79" y="162"/>
                  </a:lnTo>
                  <a:lnTo>
                    <a:pt x="83" y="160"/>
                  </a:lnTo>
                  <a:lnTo>
                    <a:pt x="87" y="158"/>
                  </a:lnTo>
                  <a:lnTo>
                    <a:pt x="89" y="156"/>
                  </a:lnTo>
                  <a:lnTo>
                    <a:pt x="91" y="156"/>
                  </a:lnTo>
                  <a:lnTo>
                    <a:pt x="94" y="156"/>
                  </a:lnTo>
                  <a:lnTo>
                    <a:pt x="106" y="162"/>
                  </a:lnTo>
                  <a:lnTo>
                    <a:pt x="108" y="164"/>
                  </a:lnTo>
                  <a:lnTo>
                    <a:pt x="108" y="166"/>
                  </a:lnTo>
                  <a:lnTo>
                    <a:pt x="110" y="164"/>
                  </a:lnTo>
                  <a:lnTo>
                    <a:pt x="110" y="162"/>
                  </a:lnTo>
                  <a:lnTo>
                    <a:pt x="114" y="166"/>
                  </a:lnTo>
                  <a:lnTo>
                    <a:pt x="117" y="168"/>
                  </a:lnTo>
                  <a:lnTo>
                    <a:pt x="119" y="170"/>
                  </a:lnTo>
                  <a:lnTo>
                    <a:pt x="119" y="171"/>
                  </a:lnTo>
                  <a:lnTo>
                    <a:pt x="123" y="171"/>
                  </a:lnTo>
                  <a:lnTo>
                    <a:pt x="127" y="177"/>
                  </a:lnTo>
                  <a:lnTo>
                    <a:pt x="131" y="177"/>
                  </a:lnTo>
                  <a:lnTo>
                    <a:pt x="135" y="181"/>
                  </a:lnTo>
                  <a:lnTo>
                    <a:pt x="135" y="183"/>
                  </a:lnTo>
                  <a:lnTo>
                    <a:pt x="135" y="181"/>
                  </a:lnTo>
                  <a:lnTo>
                    <a:pt x="135" y="179"/>
                  </a:lnTo>
                  <a:lnTo>
                    <a:pt x="137" y="179"/>
                  </a:lnTo>
                  <a:lnTo>
                    <a:pt x="139" y="181"/>
                  </a:lnTo>
                  <a:lnTo>
                    <a:pt x="142" y="183"/>
                  </a:lnTo>
                  <a:lnTo>
                    <a:pt x="144" y="183"/>
                  </a:lnTo>
                  <a:lnTo>
                    <a:pt x="146" y="185"/>
                  </a:lnTo>
                  <a:lnTo>
                    <a:pt x="148" y="189"/>
                  </a:lnTo>
                  <a:lnTo>
                    <a:pt x="150" y="191"/>
                  </a:lnTo>
                  <a:lnTo>
                    <a:pt x="152" y="193"/>
                  </a:lnTo>
                  <a:lnTo>
                    <a:pt x="154" y="198"/>
                  </a:lnTo>
                  <a:lnTo>
                    <a:pt x="154" y="206"/>
                  </a:lnTo>
                  <a:lnTo>
                    <a:pt x="154" y="210"/>
                  </a:lnTo>
                  <a:lnTo>
                    <a:pt x="154" y="212"/>
                  </a:lnTo>
                  <a:lnTo>
                    <a:pt x="156" y="218"/>
                  </a:lnTo>
                  <a:lnTo>
                    <a:pt x="158" y="223"/>
                  </a:lnTo>
                  <a:lnTo>
                    <a:pt x="160" y="225"/>
                  </a:lnTo>
                  <a:lnTo>
                    <a:pt x="162" y="229"/>
                  </a:lnTo>
                  <a:lnTo>
                    <a:pt x="165" y="237"/>
                  </a:lnTo>
                  <a:lnTo>
                    <a:pt x="164" y="250"/>
                  </a:lnTo>
                  <a:lnTo>
                    <a:pt x="164" y="252"/>
                  </a:lnTo>
                  <a:lnTo>
                    <a:pt x="164" y="254"/>
                  </a:lnTo>
                  <a:lnTo>
                    <a:pt x="164" y="256"/>
                  </a:lnTo>
                  <a:lnTo>
                    <a:pt x="165" y="256"/>
                  </a:lnTo>
                  <a:lnTo>
                    <a:pt x="165" y="254"/>
                  </a:lnTo>
                  <a:lnTo>
                    <a:pt x="167" y="254"/>
                  </a:lnTo>
                  <a:lnTo>
                    <a:pt x="171" y="254"/>
                  </a:lnTo>
                  <a:lnTo>
                    <a:pt x="175" y="256"/>
                  </a:lnTo>
                  <a:lnTo>
                    <a:pt x="175" y="262"/>
                  </a:lnTo>
                  <a:lnTo>
                    <a:pt x="173" y="264"/>
                  </a:lnTo>
                  <a:lnTo>
                    <a:pt x="175" y="266"/>
                  </a:lnTo>
                  <a:lnTo>
                    <a:pt x="181" y="268"/>
                  </a:lnTo>
                  <a:lnTo>
                    <a:pt x="183" y="269"/>
                  </a:lnTo>
                  <a:lnTo>
                    <a:pt x="185" y="273"/>
                  </a:lnTo>
                  <a:lnTo>
                    <a:pt x="187" y="275"/>
                  </a:lnTo>
                  <a:lnTo>
                    <a:pt x="190" y="279"/>
                  </a:lnTo>
                  <a:lnTo>
                    <a:pt x="192" y="281"/>
                  </a:lnTo>
                  <a:lnTo>
                    <a:pt x="192" y="287"/>
                  </a:lnTo>
                  <a:lnTo>
                    <a:pt x="190" y="287"/>
                  </a:lnTo>
                  <a:lnTo>
                    <a:pt x="189" y="289"/>
                  </a:lnTo>
                  <a:lnTo>
                    <a:pt x="190" y="291"/>
                  </a:lnTo>
                  <a:lnTo>
                    <a:pt x="192" y="293"/>
                  </a:lnTo>
                  <a:lnTo>
                    <a:pt x="194" y="293"/>
                  </a:lnTo>
                  <a:lnTo>
                    <a:pt x="196" y="291"/>
                  </a:lnTo>
                  <a:lnTo>
                    <a:pt x="198" y="291"/>
                  </a:lnTo>
                  <a:lnTo>
                    <a:pt x="206" y="293"/>
                  </a:lnTo>
                  <a:lnTo>
                    <a:pt x="210" y="294"/>
                  </a:lnTo>
                  <a:lnTo>
                    <a:pt x="212" y="296"/>
                  </a:lnTo>
                  <a:lnTo>
                    <a:pt x="214" y="298"/>
                  </a:lnTo>
                  <a:lnTo>
                    <a:pt x="215" y="300"/>
                  </a:lnTo>
                  <a:lnTo>
                    <a:pt x="217" y="304"/>
                  </a:lnTo>
                  <a:lnTo>
                    <a:pt x="217" y="306"/>
                  </a:lnTo>
                  <a:lnTo>
                    <a:pt x="221" y="312"/>
                  </a:lnTo>
                  <a:lnTo>
                    <a:pt x="223" y="314"/>
                  </a:lnTo>
                  <a:lnTo>
                    <a:pt x="225" y="314"/>
                  </a:lnTo>
                  <a:lnTo>
                    <a:pt x="227" y="314"/>
                  </a:lnTo>
                  <a:lnTo>
                    <a:pt x="235" y="319"/>
                  </a:lnTo>
                  <a:lnTo>
                    <a:pt x="240" y="325"/>
                  </a:lnTo>
                  <a:lnTo>
                    <a:pt x="240" y="329"/>
                  </a:lnTo>
                  <a:lnTo>
                    <a:pt x="242" y="331"/>
                  </a:lnTo>
                  <a:lnTo>
                    <a:pt x="250" y="337"/>
                  </a:lnTo>
                  <a:lnTo>
                    <a:pt x="252" y="341"/>
                  </a:lnTo>
                  <a:lnTo>
                    <a:pt x="256" y="344"/>
                  </a:lnTo>
                  <a:lnTo>
                    <a:pt x="258" y="350"/>
                  </a:lnTo>
                  <a:lnTo>
                    <a:pt x="262" y="352"/>
                  </a:lnTo>
                  <a:lnTo>
                    <a:pt x="263" y="352"/>
                  </a:lnTo>
                  <a:lnTo>
                    <a:pt x="265" y="354"/>
                  </a:lnTo>
                  <a:lnTo>
                    <a:pt x="267" y="354"/>
                  </a:lnTo>
                  <a:lnTo>
                    <a:pt x="269" y="356"/>
                  </a:lnTo>
                  <a:lnTo>
                    <a:pt x="273" y="358"/>
                  </a:lnTo>
                  <a:lnTo>
                    <a:pt x="277" y="362"/>
                  </a:lnTo>
                  <a:lnTo>
                    <a:pt x="279" y="367"/>
                  </a:lnTo>
                  <a:lnTo>
                    <a:pt x="281" y="367"/>
                  </a:lnTo>
                  <a:lnTo>
                    <a:pt x="283" y="366"/>
                  </a:lnTo>
                  <a:lnTo>
                    <a:pt x="283" y="364"/>
                  </a:lnTo>
                  <a:lnTo>
                    <a:pt x="285" y="362"/>
                  </a:lnTo>
                  <a:lnTo>
                    <a:pt x="288" y="362"/>
                  </a:lnTo>
                  <a:lnTo>
                    <a:pt x="292" y="362"/>
                  </a:lnTo>
                  <a:lnTo>
                    <a:pt x="296" y="364"/>
                  </a:lnTo>
                  <a:lnTo>
                    <a:pt x="300" y="367"/>
                  </a:lnTo>
                  <a:lnTo>
                    <a:pt x="302" y="367"/>
                  </a:lnTo>
                  <a:lnTo>
                    <a:pt x="304" y="367"/>
                  </a:lnTo>
                  <a:lnTo>
                    <a:pt x="304" y="366"/>
                  </a:lnTo>
                  <a:lnTo>
                    <a:pt x="308" y="366"/>
                  </a:lnTo>
                  <a:lnTo>
                    <a:pt x="310" y="366"/>
                  </a:lnTo>
                  <a:lnTo>
                    <a:pt x="313" y="373"/>
                  </a:lnTo>
                  <a:lnTo>
                    <a:pt x="317" y="375"/>
                  </a:lnTo>
                  <a:lnTo>
                    <a:pt x="319" y="381"/>
                  </a:lnTo>
                  <a:lnTo>
                    <a:pt x="323" y="387"/>
                  </a:lnTo>
                  <a:lnTo>
                    <a:pt x="325" y="389"/>
                  </a:lnTo>
                  <a:lnTo>
                    <a:pt x="325" y="394"/>
                  </a:lnTo>
                  <a:lnTo>
                    <a:pt x="327" y="396"/>
                  </a:lnTo>
                  <a:lnTo>
                    <a:pt x="327" y="394"/>
                  </a:lnTo>
                  <a:lnTo>
                    <a:pt x="331" y="392"/>
                  </a:lnTo>
                  <a:lnTo>
                    <a:pt x="338" y="392"/>
                  </a:lnTo>
                  <a:lnTo>
                    <a:pt x="342" y="396"/>
                  </a:lnTo>
                  <a:lnTo>
                    <a:pt x="344" y="398"/>
                  </a:lnTo>
                  <a:lnTo>
                    <a:pt x="346" y="400"/>
                  </a:lnTo>
                  <a:lnTo>
                    <a:pt x="344" y="402"/>
                  </a:lnTo>
                  <a:lnTo>
                    <a:pt x="344" y="404"/>
                  </a:lnTo>
                  <a:lnTo>
                    <a:pt x="342" y="404"/>
                  </a:lnTo>
                  <a:lnTo>
                    <a:pt x="340" y="404"/>
                  </a:lnTo>
                  <a:lnTo>
                    <a:pt x="338" y="408"/>
                  </a:lnTo>
                  <a:lnTo>
                    <a:pt x="340" y="408"/>
                  </a:lnTo>
                  <a:lnTo>
                    <a:pt x="342" y="406"/>
                  </a:lnTo>
                  <a:lnTo>
                    <a:pt x="344" y="406"/>
                  </a:lnTo>
                  <a:lnTo>
                    <a:pt x="346" y="406"/>
                  </a:lnTo>
                  <a:lnTo>
                    <a:pt x="350" y="406"/>
                  </a:lnTo>
                  <a:lnTo>
                    <a:pt x="352" y="404"/>
                  </a:lnTo>
                  <a:lnTo>
                    <a:pt x="356" y="404"/>
                  </a:lnTo>
                  <a:lnTo>
                    <a:pt x="358" y="400"/>
                  </a:lnTo>
                  <a:lnTo>
                    <a:pt x="360" y="400"/>
                  </a:lnTo>
                  <a:lnTo>
                    <a:pt x="361" y="402"/>
                  </a:lnTo>
                  <a:lnTo>
                    <a:pt x="367" y="410"/>
                  </a:lnTo>
                  <a:lnTo>
                    <a:pt x="367" y="414"/>
                  </a:lnTo>
                  <a:lnTo>
                    <a:pt x="371" y="421"/>
                  </a:lnTo>
                  <a:lnTo>
                    <a:pt x="369" y="421"/>
                  </a:lnTo>
                  <a:lnTo>
                    <a:pt x="369" y="423"/>
                  </a:lnTo>
                  <a:lnTo>
                    <a:pt x="367" y="425"/>
                  </a:lnTo>
                  <a:lnTo>
                    <a:pt x="367" y="427"/>
                  </a:lnTo>
                  <a:lnTo>
                    <a:pt x="367" y="429"/>
                  </a:lnTo>
                  <a:lnTo>
                    <a:pt x="369" y="431"/>
                  </a:lnTo>
                  <a:lnTo>
                    <a:pt x="373" y="433"/>
                  </a:lnTo>
                  <a:lnTo>
                    <a:pt x="375" y="433"/>
                  </a:lnTo>
                  <a:lnTo>
                    <a:pt x="377" y="435"/>
                  </a:lnTo>
                  <a:lnTo>
                    <a:pt x="379" y="437"/>
                  </a:lnTo>
                  <a:lnTo>
                    <a:pt x="385" y="440"/>
                  </a:lnTo>
                  <a:lnTo>
                    <a:pt x="385" y="442"/>
                  </a:lnTo>
                  <a:lnTo>
                    <a:pt x="392" y="442"/>
                  </a:lnTo>
                  <a:lnTo>
                    <a:pt x="394" y="440"/>
                  </a:lnTo>
                  <a:lnTo>
                    <a:pt x="396" y="439"/>
                  </a:lnTo>
                  <a:lnTo>
                    <a:pt x="400" y="439"/>
                  </a:lnTo>
                  <a:lnTo>
                    <a:pt x="402" y="439"/>
                  </a:lnTo>
                  <a:lnTo>
                    <a:pt x="404" y="442"/>
                  </a:lnTo>
                  <a:lnTo>
                    <a:pt x="406" y="446"/>
                  </a:lnTo>
                  <a:lnTo>
                    <a:pt x="410" y="450"/>
                  </a:lnTo>
                  <a:lnTo>
                    <a:pt x="410" y="452"/>
                  </a:lnTo>
                  <a:lnTo>
                    <a:pt x="411" y="458"/>
                  </a:lnTo>
                  <a:lnTo>
                    <a:pt x="411" y="462"/>
                  </a:lnTo>
                  <a:lnTo>
                    <a:pt x="413" y="469"/>
                  </a:lnTo>
                  <a:lnTo>
                    <a:pt x="419" y="475"/>
                  </a:lnTo>
                  <a:lnTo>
                    <a:pt x="421" y="485"/>
                  </a:lnTo>
                  <a:lnTo>
                    <a:pt x="425" y="500"/>
                  </a:lnTo>
                  <a:lnTo>
                    <a:pt x="427" y="504"/>
                  </a:lnTo>
                  <a:lnTo>
                    <a:pt x="427" y="506"/>
                  </a:lnTo>
                  <a:lnTo>
                    <a:pt x="429" y="508"/>
                  </a:lnTo>
                  <a:lnTo>
                    <a:pt x="431" y="510"/>
                  </a:lnTo>
                  <a:lnTo>
                    <a:pt x="433" y="512"/>
                  </a:lnTo>
                  <a:lnTo>
                    <a:pt x="433" y="519"/>
                  </a:lnTo>
                  <a:lnTo>
                    <a:pt x="431" y="521"/>
                  </a:lnTo>
                  <a:lnTo>
                    <a:pt x="431" y="523"/>
                  </a:lnTo>
                  <a:lnTo>
                    <a:pt x="423" y="523"/>
                  </a:lnTo>
                  <a:lnTo>
                    <a:pt x="423" y="525"/>
                  </a:lnTo>
                  <a:lnTo>
                    <a:pt x="421" y="527"/>
                  </a:lnTo>
                  <a:lnTo>
                    <a:pt x="419" y="527"/>
                  </a:lnTo>
                  <a:lnTo>
                    <a:pt x="417" y="527"/>
                  </a:lnTo>
                  <a:lnTo>
                    <a:pt x="415" y="529"/>
                  </a:lnTo>
                  <a:lnTo>
                    <a:pt x="415" y="531"/>
                  </a:lnTo>
                  <a:lnTo>
                    <a:pt x="419" y="537"/>
                  </a:lnTo>
                  <a:lnTo>
                    <a:pt x="419" y="538"/>
                  </a:lnTo>
                  <a:lnTo>
                    <a:pt x="419" y="540"/>
                  </a:lnTo>
                  <a:lnTo>
                    <a:pt x="417" y="546"/>
                  </a:lnTo>
                  <a:lnTo>
                    <a:pt x="415" y="552"/>
                  </a:lnTo>
                  <a:lnTo>
                    <a:pt x="415" y="554"/>
                  </a:lnTo>
                  <a:lnTo>
                    <a:pt x="411" y="556"/>
                  </a:lnTo>
                  <a:lnTo>
                    <a:pt x="410" y="558"/>
                  </a:lnTo>
                  <a:lnTo>
                    <a:pt x="408" y="556"/>
                  </a:lnTo>
                  <a:lnTo>
                    <a:pt x="408" y="558"/>
                  </a:lnTo>
                  <a:lnTo>
                    <a:pt x="406" y="558"/>
                  </a:lnTo>
                  <a:lnTo>
                    <a:pt x="408" y="562"/>
                  </a:lnTo>
                  <a:lnTo>
                    <a:pt x="408" y="563"/>
                  </a:lnTo>
                  <a:lnTo>
                    <a:pt x="408" y="565"/>
                  </a:lnTo>
                  <a:lnTo>
                    <a:pt x="408" y="569"/>
                  </a:lnTo>
                  <a:lnTo>
                    <a:pt x="408" y="571"/>
                  </a:lnTo>
                  <a:lnTo>
                    <a:pt x="410" y="573"/>
                  </a:lnTo>
                  <a:lnTo>
                    <a:pt x="413" y="575"/>
                  </a:lnTo>
                  <a:lnTo>
                    <a:pt x="415" y="577"/>
                  </a:lnTo>
                  <a:lnTo>
                    <a:pt x="423" y="577"/>
                  </a:lnTo>
                  <a:lnTo>
                    <a:pt x="429" y="575"/>
                  </a:lnTo>
                  <a:lnTo>
                    <a:pt x="429" y="573"/>
                  </a:lnTo>
                  <a:lnTo>
                    <a:pt x="433" y="567"/>
                  </a:lnTo>
                  <a:lnTo>
                    <a:pt x="433" y="563"/>
                  </a:lnTo>
                  <a:lnTo>
                    <a:pt x="433" y="562"/>
                  </a:lnTo>
                  <a:lnTo>
                    <a:pt x="434" y="560"/>
                  </a:lnTo>
                  <a:lnTo>
                    <a:pt x="436" y="558"/>
                  </a:lnTo>
                  <a:lnTo>
                    <a:pt x="440" y="550"/>
                  </a:lnTo>
                  <a:lnTo>
                    <a:pt x="442" y="550"/>
                  </a:lnTo>
                  <a:lnTo>
                    <a:pt x="446" y="548"/>
                  </a:lnTo>
                  <a:lnTo>
                    <a:pt x="448" y="546"/>
                  </a:lnTo>
                  <a:lnTo>
                    <a:pt x="452" y="542"/>
                  </a:lnTo>
                  <a:lnTo>
                    <a:pt x="452" y="538"/>
                  </a:lnTo>
                  <a:lnTo>
                    <a:pt x="452" y="535"/>
                  </a:lnTo>
                  <a:lnTo>
                    <a:pt x="452" y="533"/>
                  </a:lnTo>
                  <a:lnTo>
                    <a:pt x="452" y="531"/>
                  </a:lnTo>
                  <a:lnTo>
                    <a:pt x="450" y="525"/>
                  </a:lnTo>
                  <a:lnTo>
                    <a:pt x="448" y="523"/>
                  </a:lnTo>
                  <a:lnTo>
                    <a:pt x="452" y="519"/>
                  </a:lnTo>
                  <a:lnTo>
                    <a:pt x="452" y="517"/>
                  </a:lnTo>
                  <a:lnTo>
                    <a:pt x="454" y="515"/>
                  </a:lnTo>
                  <a:lnTo>
                    <a:pt x="458" y="514"/>
                  </a:lnTo>
                  <a:lnTo>
                    <a:pt x="463" y="510"/>
                  </a:lnTo>
                  <a:lnTo>
                    <a:pt x="467" y="508"/>
                  </a:lnTo>
                  <a:lnTo>
                    <a:pt x="469" y="510"/>
                  </a:lnTo>
                  <a:lnTo>
                    <a:pt x="471" y="510"/>
                  </a:lnTo>
                  <a:lnTo>
                    <a:pt x="473" y="510"/>
                  </a:lnTo>
                  <a:lnTo>
                    <a:pt x="475" y="510"/>
                  </a:lnTo>
                  <a:lnTo>
                    <a:pt x="475" y="508"/>
                  </a:lnTo>
                  <a:lnTo>
                    <a:pt x="477" y="502"/>
                  </a:lnTo>
                  <a:lnTo>
                    <a:pt x="479" y="502"/>
                  </a:lnTo>
                  <a:lnTo>
                    <a:pt x="479" y="500"/>
                  </a:lnTo>
                  <a:lnTo>
                    <a:pt x="477" y="500"/>
                  </a:lnTo>
                  <a:lnTo>
                    <a:pt x="475" y="498"/>
                  </a:lnTo>
                  <a:lnTo>
                    <a:pt x="473" y="496"/>
                  </a:lnTo>
                  <a:lnTo>
                    <a:pt x="475" y="479"/>
                  </a:lnTo>
                  <a:lnTo>
                    <a:pt x="475" y="477"/>
                  </a:lnTo>
                  <a:lnTo>
                    <a:pt x="469" y="473"/>
                  </a:lnTo>
                  <a:lnTo>
                    <a:pt x="461" y="469"/>
                  </a:lnTo>
                  <a:lnTo>
                    <a:pt x="459" y="467"/>
                  </a:lnTo>
                  <a:lnTo>
                    <a:pt x="456" y="465"/>
                  </a:lnTo>
                  <a:lnTo>
                    <a:pt x="452" y="465"/>
                  </a:lnTo>
                  <a:lnTo>
                    <a:pt x="448" y="464"/>
                  </a:lnTo>
                  <a:lnTo>
                    <a:pt x="446" y="464"/>
                  </a:lnTo>
                  <a:lnTo>
                    <a:pt x="444" y="462"/>
                  </a:lnTo>
                  <a:lnTo>
                    <a:pt x="444" y="460"/>
                  </a:lnTo>
                  <a:lnTo>
                    <a:pt x="442" y="458"/>
                  </a:lnTo>
                  <a:lnTo>
                    <a:pt x="442" y="452"/>
                  </a:lnTo>
                  <a:lnTo>
                    <a:pt x="444" y="450"/>
                  </a:lnTo>
                  <a:lnTo>
                    <a:pt x="446" y="446"/>
                  </a:lnTo>
                  <a:lnTo>
                    <a:pt x="448" y="444"/>
                  </a:lnTo>
                  <a:lnTo>
                    <a:pt x="448" y="442"/>
                  </a:lnTo>
                  <a:lnTo>
                    <a:pt x="448" y="440"/>
                  </a:lnTo>
                  <a:lnTo>
                    <a:pt x="448" y="437"/>
                  </a:lnTo>
                  <a:lnTo>
                    <a:pt x="448" y="435"/>
                  </a:lnTo>
                  <a:lnTo>
                    <a:pt x="452" y="429"/>
                  </a:lnTo>
                  <a:lnTo>
                    <a:pt x="454" y="425"/>
                  </a:lnTo>
                  <a:lnTo>
                    <a:pt x="454" y="421"/>
                  </a:lnTo>
                  <a:lnTo>
                    <a:pt x="456" y="419"/>
                  </a:lnTo>
                  <a:lnTo>
                    <a:pt x="458" y="416"/>
                  </a:lnTo>
                  <a:lnTo>
                    <a:pt x="459" y="414"/>
                  </a:lnTo>
                  <a:lnTo>
                    <a:pt x="461" y="408"/>
                  </a:lnTo>
                  <a:lnTo>
                    <a:pt x="463" y="408"/>
                  </a:lnTo>
                  <a:lnTo>
                    <a:pt x="467" y="404"/>
                  </a:lnTo>
                  <a:lnTo>
                    <a:pt x="469" y="404"/>
                  </a:lnTo>
                  <a:lnTo>
                    <a:pt x="471" y="404"/>
                  </a:lnTo>
                  <a:lnTo>
                    <a:pt x="473" y="406"/>
                  </a:lnTo>
                  <a:lnTo>
                    <a:pt x="475" y="406"/>
                  </a:lnTo>
                  <a:lnTo>
                    <a:pt x="477" y="406"/>
                  </a:lnTo>
                  <a:lnTo>
                    <a:pt x="479" y="406"/>
                  </a:lnTo>
                  <a:lnTo>
                    <a:pt x="479" y="408"/>
                  </a:lnTo>
                  <a:lnTo>
                    <a:pt x="475" y="408"/>
                  </a:lnTo>
                  <a:lnTo>
                    <a:pt x="475" y="410"/>
                  </a:lnTo>
                  <a:lnTo>
                    <a:pt x="475" y="412"/>
                  </a:lnTo>
                  <a:lnTo>
                    <a:pt x="479" y="412"/>
                  </a:lnTo>
                  <a:lnTo>
                    <a:pt x="481" y="414"/>
                  </a:lnTo>
                  <a:lnTo>
                    <a:pt x="486" y="416"/>
                  </a:lnTo>
                  <a:lnTo>
                    <a:pt x="488" y="417"/>
                  </a:lnTo>
                  <a:lnTo>
                    <a:pt x="498" y="416"/>
                  </a:lnTo>
                  <a:lnTo>
                    <a:pt x="504" y="417"/>
                  </a:lnTo>
                  <a:lnTo>
                    <a:pt x="508" y="419"/>
                  </a:lnTo>
                  <a:lnTo>
                    <a:pt x="508" y="423"/>
                  </a:lnTo>
                  <a:lnTo>
                    <a:pt x="511" y="425"/>
                  </a:lnTo>
                  <a:lnTo>
                    <a:pt x="513" y="427"/>
                  </a:lnTo>
                  <a:lnTo>
                    <a:pt x="513" y="429"/>
                  </a:lnTo>
                  <a:lnTo>
                    <a:pt x="511" y="429"/>
                  </a:lnTo>
                  <a:lnTo>
                    <a:pt x="511" y="431"/>
                  </a:lnTo>
                  <a:lnTo>
                    <a:pt x="513" y="433"/>
                  </a:lnTo>
                  <a:lnTo>
                    <a:pt x="515" y="433"/>
                  </a:lnTo>
                  <a:lnTo>
                    <a:pt x="513" y="435"/>
                  </a:lnTo>
                  <a:lnTo>
                    <a:pt x="511" y="435"/>
                  </a:lnTo>
                  <a:lnTo>
                    <a:pt x="513" y="437"/>
                  </a:lnTo>
                  <a:lnTo>
                    <a:pt x="515" y="437"/>
                  </a:lnTo>
                  <a:lnTo>
                    <a:pt x="517" y="439"/>
                  </a:lnTo>
                  <a:lnTo>
                    <a:pt x="519" y="442"/>
                  </a:lnTo>
                  <a:lnTo>
                    <a:pt x="523" y="444"/>
                  </a:lnTo>
                  <a:lnTo>
                    <a:pt x="525" y="444"/>
                  </a:lnTo>
                  <a:lnTo>
                    <a:pt x="527" y="446"/>
                  </a:lnTo>
                  <a:lnTo>
                    <a:pt x="531" y="448"/>
                  </a:lnTo>
                  <a:lnTo>
                    <a:pt x="533" y="446"/>
                  </a:lnTo>
                  <a:lnTo>
                    <a:pt x="533" y="444"/>
                  </a:lnTo>
                  <a:lnTo>
                    <a:pt x="533" y="442"/>
                  </a:lnTo>
                  <a:lnTo>
                    <a:pt x="533" y="439"/>
                  </a:lnTo>
                  <a:lnTo>
                    <a:pt x="533" y="435"/>
                  </a:lnTo>
                  <a:lnTo>
                    <a:pt x="534" y="429"/>
                  </a:lnTo>
                  <a:lnTo>
                    <a:pt x="536" y="427"/>
                  </a:lnTo>
                  <a:lnTo>
                    <a:pt x="536" y="423"/>
                  </a:lnTo>
                  <a:lnTo>
                    <a:pt x="534" y="421"/>
                  </a:lnTo>
                  <a:lnTo>
                    <a:pt x="534" y="419"/>
                  </a:lnTo>
                  <a:lnTo>
                    <a:pt x="533" y="416"/>
                  </a:lnTo>
                  <a:lnTo>
                    <a:pt x="533" y="414"/>
                  </a:lnTo>
                  <a:lnTo>
                    <a:pt x="529" y="412"/>
                  </a:lnTo>
                  <a:lnTo>
                    <a:pt x="525" y="408"/>
                  </a:lnTo>
                  <a:lnTo>
                    <a:pt x="521" y="404"/>
                  </a:lnTo>
                  <a:lnTo>
                    <a:pt x="517" y="402"/>
                  </a:lnTo>
                  <a:lnTo>
                    <a:pt x="513" y="398"/>
                  </a:lnTo>
                  <a:lnTo>
                    <a:pt x="513" y="394"/>
                  </a:lnTo>
                  <a:lnTo>
                    <a:pt x="511" y="394"/>
                  </a:lnTo>
                  <a:lnTo>
                    <a:pt x="511" y="392"/>
                  </a:lnTo>
                  <a:lnTo>
                    <a:pt x="508" y="394"/>
                  </a:lnTo>
                  <a:lnTo>
                    <a:pt x="508" y="392"/>
                  </a:lnTo>
                  <a:lnTo>
                    <a:pt x="504" y="391"/>
                  </a:lnTo>
                  <a:lnTo>
                    <a:pt x="500" y="391"/>
                  </a:lnTo>
                  <a:lnTo>
                    <a:pt x="496" y="387"/>
                  </a:lnTo>
                  <a:lnTo>
                    <a:pt x="494" y="387"/>
                  </a:lnTo>
                  <a:lnTo>
                    <a:pt x="490" y="385"/>
                  </a:lnTo>
                  <a:lnTo>
                    <a:pt x="488" y="385"/>
                  </a:lnTo>
                  <a:lnTo>
                    <a:pt x="486" y="383"/>
                  </a:lnTo>
                  <a:lnTo>
                    <a:pt x="484" y="381"/>
                  </a:lnTo>
                  <a:lnTo>
                    <a:pt x="483" y="381"/>
                  </a:lnTo>
                  <a:lnTo>
                    <a:pt x="481" y="377"/>
                  </a:lnTo>
                  <a:lnTo>
                    <a:pt x="477" y="375"/>
                  </a:lnTo>
                  <a:lnTo>
                    <a:pt x="475" y="373"/>
                  </a:lnTo>
                  <a:lnTo>
                    <a:pt x="473" y="373"/>
                  </a:lnTo>
                  <a:lnTo>
                    <a:pt x="471" y="371"/>
                  </a:lnTo>
                  <a:lnTo>
                    <a:pt x="469" y="369"/>
                  </a:lnTo>
                  <a:lnTo>
                    <a:pt x="465" y="369"/>
                  </a:lnTo>
                  <a:lnTo>
                    <a:pt x="463" y="367"/>
                  </a:lnTo>
                  <a:lnTo>
                    <a:pt x="448" y="362"/>
                  </a:lnTo>
                  <a:lnTo>
                    <a:pt x="446" y="362"/>
                  </a:lnTo>
                  <a:lnTo>
                    <a:pt x="444" y="362"/>
                  </a:lnTo>
                  <a:lnTo>
                    <a:pt x="438" y="360"/>
                  </a:lnTo>
                  <a:lnTo>
                    <a:pt x="436" y="358"/>
                  </a:lnTo>
                  <a:lnTo>
                    <a:pt x="433" y="356"/>
                  </a:lnTo>
                  <a:lnTo>
                    <a:pt x="429" y="354"/>
                  </a:lnTo>
                  <a:lnTo>
                    <a:pt x="425" y="354"/>
                  </a:lnTo>
                  <a:lnTo>
                    <a:pt x="419" y="350"/>
                  </a:lnTo>
                  <a:lnTo>
                    <a:pt x="415" y="348"/>
                  </a:lnTo>
                  <a:lnTo>
                    <a:pt x="411" y="344"/>
                  </a:lnTo>
                  <a:lnTo>
                    <a:pt x="410" y="342"/>
                  </a:lnTo>
                  <a:lnTo>
                    <a:pt x="410" y="339"/>
                  </a:lnTo>
                  <a:lnTo>
                    <a:pt x="410" y="337"/>
                  </a:lnTo>
                  <a:lnTo>
                    <a:pt x="413" y="333"/>
                  </a:lnTo>
                  <a:lnTo>
                    <a:pt x="415" y="333"/>
                  </a:lnTo>
                  <a:lnTo>
                    <a:pt x="421" y="325"/>
                  </a:lnTo>
                  <a:lnTo>
                    <a:pt x="423" y="325"/>
                  </a:lnTo>
                  <a:lnTo>
                    <a:pt x="423" y="323"/>
                  </a:lnTo>
                  <a:lnTo>
                    <a:pt x="421" y="319"/>
                  </a:lnTo>
                  <a:lnTo>
                    <a:pt x="421" y="318"/>
                  </a:lnTo>
                  <a:lnTo>
                    <a:pt x="417" y="316"/>
                  </a:lnTo>
                  <a:lnTo>
                    <a:pt x="415" y="314"/>
                  </a:lnTo>
                  <a:lnTo>
                    <a:pt x="400" y="318"/>
                  </a:lnTo>
                  <a:lnTo>
                    <a:pt x="396" y="316"/>
                  </a:lnTo>
                  <a:lnTo>
                    <a:pt x="390" y="318"/>
                  </a:lnTo>
                  <a:lnTo>
                    <a:pt x="386" y="318"/>
                  </a:lnTo>
                  <a:lnTo>
                    <a:pt x="383" y="318"/>
                  </a:lnTo>
                  <a:lnTo>
                    <a:pt x="377" y="318"/>
                  </a:lnTo>
                  <a:lnTo>
                    <a:pt x="375" y="318"/>
                  </a:lnTo>
                  <a:lnTo>
                    <a:pt x="365" y="312"/>
                  </a:lnTo>
                  <a:lnTo>
                    <a:pt x="363" y="312"/>
                  </a:lnTo>
                  <a:lnTo>
                    <a:pt x="360" y="310"/>
                  </a:lnTo>
                  <a:lnTo>
                    <a:pt x="356" y="308"/>
                  </a:lnTo>
                  <a:lnTo>
                    <a:pt x="354" y="308"/>
                  </a:lnTo>
                  <a:lnTo>
                    <a:pt x="354" y="304"/>
                  </a:lnTo>
                  <a:lnTo>
                    <a:pt x="354" y="302"/>
                  </a:lnTo>
                  <a:lnTo>
                    <a:pt x="346" y="300"/>
                  </a:lnTo>
                  <a:lnTo>
                    <a:pt x="340" y="294"/>
                  </a:lnTo>
                  <a:lnTo>
                    <a:pt x="336" y="291"/>
                  </a:lnTo>
                  <a:lnTo>
                    <a:pt x="333" y="287"/>
                  </a:lnTo>
                  <a:lnTo>
                    <a:pt x="327" y="281"/>
                  </a:lnTo>
                  <a:lnTo>
                    <a:pt x="321" y="271"/>
                  </a:lnTo>
                  <a:lnTo>
                    <a:pt x="319" y="268"/>
                  </a:lnTo>
                  <a:lnTo>
                    <a:pt x="317" y="262"/>
                  </a:lnTo>
                  <a:lnTo>
                    <a:pt x="317" y="258"/>
                  </a:lnTo>
                  <a:lnTo>
                    <a:pt x="313" y="250"/>
                  </a:lnTo>
                  <a:lnTo>
                    <a:pt x="313" y="248"/>
                  </a:lnTo>
                  <a:lnTo>
                    <a:pt x="312" y="243"/>
                  </a:lnTo>
                  <a:lnTo>
                    <a:pt x="310" y="237"/>
                  </a:lnTo>
                  <a:lnTo>
                    <a:pt x="308" y="233"/>
                  </a:lnTo>
                  <a:lnTo>
                    <a:pt x="306" y="227"/>
                  </a:lnTo>
                  <a:lnTo>
                    <a:pt x="304" y="223"/>
                  </a:lnTo>
                  <a:lnTo>
                    <a:pt x="302" y="218"/>
                  </a:lnTo>
                  <a:lnTo>
                    <a:pt x="302" y="216"/>
                  </a:lnTo>
                  <a:lnTo>
                    <a:pt x="298" y="214"/>
                  </a:lnTo>
                  <a:lnTo>
                    <a:pt x="296" y="210"/>
                  </a:lnTo>
                  <a:lnTo>
                    <a:pt x="294" y="212"/>
                  </a:lnTo>
                  <a:lnTo>
                    <a:pt x="292" y="210"/>
                  </a:lnTo>
                  <a:lnTo>
                    <a:pt x="288" y="208"/>
                  </a:lnTo>
                  <a:lnTo>
                    <a:pt x="281" y="204"/>
                  </a:lnTo>
                  <a:lnTo>
                    <a:pt x="277" y="198"/>
                  </a:lnTo>
                  <a:lnTo>
                    <a:pt x="275" y="196"/>
                  </a:lnTo>
                  <a:lnTo>
                    <a:pt x="271" y="193"/>
                  </a:lnTo>
                  <a:lnTo>
                    <a:pt x="265" y="191"/>
                  </a:lnTo>
                  <a:lnTo>
                    <a:pt x="260" y="187"/>
                  </a:lnTo>
                  <a:lnTo>
                    <a:pt x="250" y="177"/>
                  </a:lnTo>
                  <a:lnTo>
                    <a:pt x="248" y="173"/>
                  </a:lnTo>
                  <a:lnTo>
                    <a:pt x="244" y="166"/>
                  </a:lnTo>
                  <a:lnTo>
                    <a:pt x="242" y="162"/>
                  </a:lnTo>
                  <a:lnTo>
                    <a:pt x="242" y="160"/>
                  </a:lnTo>
                  <a:lnTo>
                    <a:pt x="242" y="158"/>
                  </a:lnTo>
                  <a:lnTo>
                    <a:pt x="240" y="156"/>
                  </a:lnTo>
                  <a:lnTo>
                    <a:pt x="242" y="150"/>
                  </a:lnTo>
                  <a:lnTo>
                    <a:pt x="242" y="148"/>
                  </a:lnTo>
                  <a:lnTo>
                    <a:pt x="240" y="146"/>
                  </a:lnTo>
                  <a:lnTo>
                    <a:pt x="240" y="145"/>
                  </a:lnTo>
                  <a:lnTo>
                    <a:pt x="240" y="143"/>
                  </a:lnTo>
                  <a:lnTo>
                    <a:pt x="238" y="139"/>
                  </a:lnTo>
                  <a:lnTo>
                    <a:pt x="240" y="139"/>
                  </a:lnTo>
                  <a:lnTo>
                    <a:pt x="240" y="135"/>
                  </a:lnTo>
                  <a:lnTo>
                    <a:pt x="240" y="133"/>
                  </a:lnTo>
                  <a:lnTo>
                    <a:pt x="244" y="133"/>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03" name="Freeform 91"/>
            <p:cNvSpPr>
              <a:spLocks/>
            </p:cNvSpPr>
            <p:nvPr/>
          </p:nvSpPr>
          <p:spPr bwMode="auto">
            <a:xfrm>
              <a:off x="2479" y="2755"/>
              <a:ext cx="137" cy="150"/>
            </a:xfrm>
            <a:custGeom>
              <a:avLst/>
              <a:gdLst>
                <a:gd name="T0" fmla="*/ 71 w 137"/>
                <a:gd name="T1" fmla="*/ 150 h 150"/>
                <a:gd name="T2" fmla="*/ 73 w 137"/>
                <a:gd name="T3" fmla="*/ 146 h 150"/>
                <a:gd name="T4" fmla="*/ 77 w 137"/>
                <a:gd name="T5" fmla="*/ 144 h 150"/>
                <a:gd name="T6" fmla="*/ 77 w 137"/>
                <a:gd name="T7" fmla="*/ 138 h 150"/>
                <a:gd name="T8" fmla="*/ 75 w 137"/>
                <a:gd name="T9" fmla="*/ 137 h 150"/>
                <a:gd name="T10" fmla="*/ 71 w 137"/>
                <a:gd name="T11" fmla="*/ 135 h 150"/>
                <a:gd name="T12" fmla="*/ 69 w 137"/>
                <a:gd name="T13" fmla="*/ 131 h 150"/>
                <a:gd name="T14" fmla="*/ 67 w 137"/>
                <a:gd name="T15" fmla="*/ 123 h 150"/>
                <a:gd name="T16" fmla="*/ 63 w 137"/>
                <a:gd name="T17" fmla="*/ 121 h 150"/>
                <a:gd name="T18" fmla="*/ 67 w 137"/>
                <a:gd name="T19" fmla="*/ 108 h 150"/>
                <a:gd name="T20" fmla="*/ 71 w 137"/>
                <a:gd name="T21" fmla="*/ 106 h 150"/>
                <a:gd name="T22" fmla="*/ 75 w 137"/>
                <a:gd name="T23" fmla="*/ 104 h 150"/>
                <a:gd name="T24" fmla="*/ 79 w 137"/>
                <a:gd name="T25" fmla="*/ 102 h 150"/>
                <a:gd name="T26" fmla="*/ 77 w 137"/>
                <a:gd name="T27" fmla="*/ 106 h 150"/>
                <a:gd name="T28" fmla="*/ 73 w 137"/>
                <a:gd name="T29" fmla="*/ 108 h 150"/>
                <a:gd name="T30" fmla="*/ 75 w 137"/>
                <a:gd name="T31" fmla="*/ 110 h 150"/>
                <a:gd name="T32" fmla="*/ 88 w 137"/>
                <a:gd name="T33" fmla="*/ 102 h 150"/>
                <a:gd name="T34" fmla="*/ 100 w 137"/>
                <a:gd name="T35" fmla="*/ 96 h 150"/>
                <a:gd name="T36" fmla="*/ 104 w 137"/>
                <a:gd name="T37" fmla="*/ 92 h 150"/>
                <a:gd name="T38" fmla="*/ 102 w 137"/>
                <a:gd name="T39" fmla="*/ 88 h 150"/>
                <a:gd name="T40" fmla="*/ 108 w 137"/>
                <a:gd name="T41" fmla="*/ 88 h 150"/>
                <a:gd name="T42" fmla="*/ 115 w 137"/>
                <a:gd name="T43" fmla="*/ 90 h 150"/>
                <a:gd name="T44" fmla="*/ 119 w 137"/>
                <a:gd name="T45" fmla="*/ 90 h 150"/>
                <a:gd name="T46" fmla="*/ 121 w 137"/>
                <a:gd name="T47" fmla="*/ 88 h 150"/>
                <a:gd name="T48" fmla="*/ 123 w 137"/>
                <a:gd name="T49" fmla="*/ 85 h 150"/>
                <a:gd name="T50" fmla="*/ 125 w 137"/>
                <a:gd name="T51" fmla="*/ 88 h 150"/>
                <a:gd name="T52" fmla="*/ 131 w 137"/>
                <a:gd name="T53" fmla="*/ 98 h 150"/>
                <a:gd name="T54" fmla="*/ 131 w 137"/>
                <a:gd name="T55" fmla="*/ 100 h 150"/>
                <a:gd name="T56" fmla="*/ 135 w 137"/>
                <a:gd name="T57" fmla="*/ 100 h 150"/>
                <a:gd name="T58" fmla="*/ 137 w 137"/>
                <a:gd name="T59" fmla="*/ 94 h 150"/>
                <a:gd name="T60" fmla="*/ 129 w 137"/>
                <a:gd name="T61" fmla="*/ 88 h 150"/>
                <a:gd name="T62" fmla="*/ 123 w 137"/>
                <a:gd name="T63" fmla="*/ 85 h 150"/>
                <a:gd name="T64" fmla="*/ 123 w 137"/>
                <a:gd name="T65" fmla="*/ 81 h 150"/>
                <a:gd name="T66" fmla="*/ 125 w 137"/>
                <a:gd name="T67" fmla="*/ 77 h 150"/>
                <a:gd name="T68" fmla="*/ 119 w 137"/>
                <a:gd name="T69" fmla="*/ 73 h 150"/>
                <a:gd name="T70" fmla="*/ 123 w 137"/>
                <a:gd name="T71" fmla="*/ 67 h 150"/>
                <a:gd name="T72" fmla="*/ 123 w 137"/>
                <a:gd name="T73" fmla="*/ 62 h 150"/>
                <a:gd name="T74" fmla="*/ 119 w 137"/>
                <a:gd name="T75" fmla="*/ 58 h 150"/>
                <a:gd name="T76" fmla="*/ 113 w 137"/>
                <a:gd name="T77" fmla="*/ 58 h 150"/>
                <a:gd name="T78" fmla="*/ 117 w 137"/>
                <a:gd name="T79" fmla="*/ 52 h 150"/>
                <a:gd name="T80" fmla="*/ 121 w 137"/>
                <a:gd name="T81" fmla="*/ 46 h 150"/>
                <a:gd name="T82" fmla="*/ 125 w 137"/>
                <a:gd name="T83" fmla="*/ 42 h 150"/>
                <a:gd name="T84" fmla="*/ 125 w 137"/>
                <a:gd name="T85" fmla="*/ 37 h 150"/>
                <a:gd name="T86" fmla="*/ 117 w 137"/>
                <a:gd name="T87" fmla="*/ 37 h 150"/>
                <a:gd name="T88" fmla="*/ 108 w 137"/>
                <a:gd name="T89" fmla="*/ 35 h 150"/>
                <a:gd name="T90" fmla="*/ 96 w 137"/>
                <a:gd name="T91" fmla="*/ 33 h 150"/>
                <a:gd name="T92" fmla="*/ 88 w 137"/>
                <a:gd name="T93" fmla="*/ 33 h 150"/>
                <a:gd name="T94" fmla="*/ 79 w 137"/>
                <a:gd name="T95" fmla="*/ 29 h 150"/>
                <a:gd name="T96" fmla="*/ 69 w 137"/>
                <a:gd name="T97" fmla="*/ 23 h 150"/>
                <a:gd name="T98" fmla="*/ 67 w 137"/>
                <a:gd name="T99" fmla="*/ 15 h 150"/>
                <a:gd name="T100" fmla="*/ 63 w 137"/>
                <a:gd name="T101" fmla="*/ 12 h 150"/>
                <a:gd name="T102" fmla="*/ 62 w 137"/>
                <a:gd name="T103" fmla="*/ 6 h 150"/>
                <a:gd name="T104" fmla="*/ 62 w 137"/>
                <a:gd name="T105" fmla="*/ 0 h 150"/>
                <a:gd name="T106" fmla="*/ 54 w 137"/>
                <a:gd name="T107" fmla="*/ 2 h 150"/>
                <a:gd name="T108" fmla="*/ 40 w 137"/>
                <a:gd name="T109" fmla="*/ 8 h 150"/>
                <a:gd name="T110" fmla="*/ 31 w 137"/>
                <a:gd name="T111" fmla="*/ 8 h 150"/>
                <a:gd name="T112" fmla="*/ 23 w 137"/>
                <a:gd name="T113" fmla="*/ 10 h 150"/>
                <a:gd name="T114" fmla="*/ 15 w 137"/>
                <a:gd name="T115" fmla="*/ 19 h 150"/>
                <a:gd name="T116" fmla="*/ 8 w 137"/>
                <a:gd name="T117" fmla="*/ 19 h 150"/>
                <a:gd name="T118" fmla="*/ 0 w 137"/>
                <a:gd name="T119" fmla="*/ 1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50">
                  <a:moveTo>
                    <a:pt x="69" y="148"/>
                  </a:moveTo>
                  <a:lnTo>
                    <a:pt x="71" y="150"/>
                  </a:lnTo>
                  <a:lnTo>
                    <a:pt x="73" y="150"/>
                  </a:lnTo>
                  <a:lnTo>
                    <a:pt x="73" y="146"/>
                  </a:lnTo>
                  <a:lnTo>
                    <a:pt x="75" y="148"/>
                  </a:lnTo>
                  <a:lnTo>
                    <a:pt x="77" y="144"/>
                  </a:lnTo>
                  <a:lnTo>
                    <a:pt x="77" y="142"/>
                  </a:lnTo>
                  <a:lnTo>
                    <a:pt x="77" y="138"/>
                  </a:lnTo>
                  <a:lnTo>
                    <a:pt x="77" y="137"/>
                  </a:lnTo>
                  <a:lnTo>
                    <a:pt x="75" y="137"/>
                  </a:lnTo>
                  <a:lnTo>
                    <a:pt x="73" y="135"/>
                  </a:lnTo>
                  <a:lnTo>
                    <a:pt x="71" y="135"/>
                  </a:lnTo>
                  <a:lnTo>
                    <a:pt x="71" y="133"/>
                  </a:lnTo>
                  <a:lnTo>
                    <a:pt x="69" y="131"/>
                  </a:lnTo>
                  <a:lnTo>
                    <a:pt x="67" y="129"/>
                  </a:lnTo>
                  <a:lnTo>
                    <a:pt x="67" y="123"/>
                  </a:lnTo>
                  <a:lnTo>
                    <a:pt x="65" y="125"/>
                  </a:lnTo>
                  <a:lnTo>
                    <a:pt x="63" y="121"/>
                  </a:lnTo>
                  <a:lnTo>
                    <a:pt x="63" y="117"/>
                  </a:lnTo>
                  <a:lnTo>
                    <a:pt x="67" y="108"/>
                  </a:lnTo>
                  <a:lnTo>
                    <a:pt x="69" y="106"/>
                  </a:lnTo>
                  <a:lnTo>
                    <a:pt x="71" y="106"/>
                  </a:lnTo>
                  <a:lnTo>
                    <a:pt x="73" y="104"/>
                  </a:lnTo>
                  <a:lnTo>
                    <a:pt x="75" y="104"/>
                  </a:lnTo>
                  <a:lnTo>
                    <a:pt x="77" y="102"/>
                  </a:lnTo>
                  <a:lnTo>
                    <a:pt x="79" y="102"/>
                  </a:lnTo>
                  <a:lnTo>
                    <a:pt x="79" y="104"/>
                  </a:lnTo>
                  <a:lnTo>
                    <a:pt x="77" y="106"/>
                  </a:lnTo>
                  <a:lnTo>
                    <a:pt x="75" y="108"/>
                  </a:lnTo>
                  <a:lnTo>
                    <a:pt x="73" y="108"/>
                  </a:lnTo>
                  <a:lnTo>
                    <a:pt x="73" y="110"/>
                  </a:lnTo>
                  <a:lnTo>
                    <a:pt x="75" y="110"/>
                  </a:lnTo>
                  <a:lnTo>
                    <a:pt x="83" y="106"/>
                  </a:lnTo>
                  <a:lnTo>
                    <a:pt x="88" y="102"/>
                  </a:lnTo>
                  <a:lnTo>
                    <a:pt x="96" y="96"/>
                  </a:lnTo>
                  <a:lnTo>
                    <a:pt x="100" y="96"/>
                  </a:lnTo>
                  <a:lnTo>
                    <a:pt x="102" y="94"/>
                  </a:lnTo>
                  <a:lnTo>
                    <a:pt x="104" y="92"/>
                  </a:lnTo>
                  <a:lnTo>
                    <a:pt x="100" y="92"/>
                  </a:lnTo>
                  <a:lnTo>
                    <a:pt x="102" y="88"/>
                  </a:lnTo>
                  <a:lnTo>
                    <a:pt x="106" y="87"/>
                  </a:lnTo>
                  <a:lnTo>
                    <a:pt x="108" y="88"/>
                  </a:lnTo>
                  <a:lnTo>
                    <a:pt x="113" y="88"/>
                  </a:lnTo>
                  <a:lnTo>
                    <a:pt x="115" y="90"/>
                  </a:lnTo>
                  <a:lnTo>
                    <a:pt x="117" y="88"/>
                  </a:lnTo>
                  <a:lnTo>
                    <a:pt x="119" y="90"/>
                  </a:lnTo>
                  <a:lnTo>
                    <a:pt x="119" y="88"/>
                  </a:lnTo>
                  <a:lnTo>
                    <a:pt x="121" y="88"/>
                  </a:lnTo>
                  <a:lnTo>
                    <a:pt x="121" y="87"/>
                  </a:lnTo>
                  <a:lnTo>
                    <a:pt x="123" y="85"/>
                  </a:lnTo>
                  <a:lnTo>
                    <a:pt x="125" y="87"/>
                  </a:lnTo>
                  <a:lnTo>
                    <a:pt x="125" y="88"/>
                  </a:lnTo>
                  <a:lnTo>
                    <a:pt x="129" y="94"/>
                  </a:lnTo>
                  <a:lnTo>
                    <a:pt x="131" y="98"/>
                  </a:lnTo>
                  <a:lnTo>
                    <a:pt x="129" y="98"/>
                  </a:lnTo>
                  <a:lnTo>
                    <a:pt x="131" y="100"/>
                  </a:lnTo>
                  <a:lnTo>
                    <a:pt x="133" y="100"/>
                  </a:lnTo>
                  <a:lnTo>
                    <a:pt x="135" y="100"/>
                  </a:lnTo>
                  <a:lnTo>
                    <a:pt x="137" y="98"/>
                  </a:lnTo>
                  <a:lnTo>
                    <a:pt x="137" y="94"/>
                  </a:lnTo>
                  <a:lnTo>
                    <a:pt x="135" y="90"/>
                  </a:lnTo>
                  <a:lnTo>
                    <a:pt x="129" y="88"/>
                  </a:lnTo>
                  <a:lnTo>
                    <a:pt x="127" y="87"/>
                  </a:lnTo>
                  <a:lnTo>
                    <a:pt x="123" y="85"/>
                  </a:lnTo>
                  <a:lnTo>
                    <a:pt x="121" y="81"/>
                  </a:lnTo>
                  <a:lnTo>
                    <a:pt x="123" y="81"/>
                  </a:lnTo>
                  <a:lnTo>
                    <a:pt x="125" y="79"/>
                  </a:lnTo>
                  <a:lnTo>
                    <a:pt x="125" y="77"/>
                  </a:lnTo>
                  <a:lnTo>
                    <a:pt x="123" y="73"/>
                  </a:lnTo>
                  <a:lnTo>
                    <a:pt x="119" y="73"/>
                  </a:lnTo>
                  <a:lnTo>
                    <a:pt x="119" y="71"/>
                  </a:lnTo>
                  <a:lnTo>
                    <a:pt x="123" y="67"/>
                  </a:lnTo>
                  <a:lnTo>
                    <a:pt x="123" y="65"/>
                  </a:lnTo>
                  <a:lnTo>
                    <a:pt x="123" y="62"/>
                  </a:lnTo>
                  <a:lnTo>
                    <a:pt x="121" y="62"/>
                  </a:lnTo>
                  <a:lnTo>
                    <a:pt x="119" y="58"/>
                  </a:lnTo>
                  <a:lnTo>
                    <a:pt x="117" y="58"/>
                  </a:lnTo>
                  <a:lnTo>
                    <a:pt x="113" y="58"/>
                  </a:lnTo>
                  <a:lnTo>
                    <a:pt x="113" y="54"/>
                  </a:lnTo>
                  <a:lnTo>
                    <a:pt x="117" y="52"/>
                  </a:lnTo>
                  <a:lnTo>
                    <a:pt x="119" y="48"/>
                  </a:lnTo>
                  <a:lnTo>
                    <a:pt x="121" y="46"/>
                  </a:lnTo>
                  <a:lnTo>
                    <a:pt x="125" y="44"/>
                  </a:lnTo>
                  <a:lnTo>
                    <a:pt x="125" y="42"/>
                  </a:lnTo>
                  <a:lnTo>
                    <a:pt x="125" y="39"/>
                  </a:lnTo>
                  <a:lnTo>
                    <a:pt x="125" y="37"/>
                  </a:lnTo>
                  <a:lnTo>
                    <a:pt x="123" y="37"/>
                  </a:lnTo>
                  <a:lnTo>
                    <a:pt x="117" y="37"/>
                  </a:lnTo>
                  <a:lnTo>
                    <a:pt x="113" y="35"/>
                  </a:lnTo>
                  <a:lnTo>
                    <a:pt x="108" y="35"/>
                  </a:lnTo>
                  <a:lnTo>
                    <a:pt x="106" y="35"/>
                  </a:lnTo>
                  <a:lnTo>
                    <a:pt x="96" y="33"/>
                  </a:lnTo>
                  <a:lnTo>
                    <a:pt x="92" y="33"/>
                  </a:lnTo>
                  <a:lnTo>
                    <a:pt x="88" y="33"/>
                  </a:lnTo>
                  <a:lnTo>
                    <a:pt x="85" y="31"/>
                  </a:lnTo>
                  <a:lnTo>
                    <a:pt x="79" y="29"/>
                  </a:lnTo>
                  <a:lnTo>
                    <a:pt x="71" y="27"/>
                  </a:lnTo>
                  <a:lnTo>
                    <a:pt x="69" y="23"/>
                  </a:lnTo>
                  <a:lnTo>
                    <a:pt x="65" y="17"/>
                  </a:lnTo>
                  <a:lnTo>
                    <a:pt x="67" y="15"/>
                  </a:lnTo>
                  <a:lnTo>
                    <a:pt x="67" y="14"/>
                  </a:lnTo>
                  <a:lnTo>
                    <a:pt x="63" y="12"/>
                  </a:lnTo>
                  <a:lnTo>
                    <a:pt x="63" y="8"/>
                  </a:lnTo>
                  <a:lnTo>
                    <a:pt x="62" y="6"/>
                  </a:lnTo>
                  <a:lnTo>
                    <a:pt x="65" y="2"/>
                  </a:lnTo>
                  <a:lnTo>
                    <a:pt x="62" y="0"/>
                  </a:lnTo>
                  <a:lnTo>
                    <a:pt x="58" y="0"/>
                  </a:lnTo>
                  <a:lnTo>
                    <a:pt x="54" y="2"/>
                  </a:lnTo>
                  <a:lnTo>
                    <a:pt x="44" y="10"/>
                  </a:lnTo>
                  <a:lnTo>
                    <a:pt x="40" y="8"/>
                  </a:lnTo>
                  <a:lnTo>
                    <a:pt x="33" y="6"/>
                  </a:lnTo>
                  <a:lnTo>
                    <a:pt x="31" y="8"/>
                  </a:lnTo>
                  <a:lnTo>
                    <a:pt x="29" y="10"/>
                  </a:lnTo>
                  <a:lnTo>
                    <a:pt x="23" y="10"/>
                  </a:lnTo>
                  <a:lnTo>
                    <a:pt x="17" y="14"/>
                  </a:lnTo>
                  <a:lnTo>
                    <a:pt x="15" y="19"/>
                  </a:lnTo>
                  <a:lnTo>
                    <a:pt x="12" y="19"/>
                  </a:lnTo>
                  <a:lnTo>
                    <a:pt x="8" y="19"/>
                  </a:lnTo>
                  <a:lnTo>
                    <a:pt x="4" y="17"/>
                  </a:lnTo>
                  <a:lnTo>
                    <a:pt x="0" y="15"/>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04" name="Freeform 92"/>
            <p:cNvSpPr>
              <a:spLocks/>
            </p:cNvSpPr>
            <p:nvPr/>
          </p:nvSpPr>
          <p:spPr bwMode="auto">
            <a:xfrm>
              <a:off x="2552" y="2959"/>
              <a:ext cx="6" cy="4"/>
            </a:xfrm>
            <a:custGeom>
              <a:avLst/>
              <a:gdLst>
                <a:gd name="T0" fmla="*/ 4 w 6"/>
                <a:gd name="T1" fmla="*/ 4 h 4"/>
                <a:gd name="T2" fmla="*/ 0 w 6"/>
                <a:gd name="T3" fmla="*/ 4 h 4"/>
                <a:gd name="T4" fmla="*/ 0 w 6"/>
                <a:gd name="T5" fmla="*/ 2 h 4"/>
                <a:gd name="T6" fmla="*/ 6 w 6"/>
                <a:gd name="T7" fmla="*/ 0 h 4"/>
                <a:gd name="T8" fmla="*/ 4 w 6"/>
                <a:gd name="T9" fmla="*/ 4 h 4"/>
              </a:gdLst>
              <a:ahLst/>
              <a:cxnLst>
                <a:cxn ang="0">
                  <a:pos x="T0" y="T1"/>
                </a:cxn>
                <a:cxn ang="0">
                  <a:pos x="T2" y="T3"/>
                </a:cxn>
                <a:cxn ang="0">
                  <a:pos x="T4" y="T5"/>
                </a:cxn>
                <a:cxn ang="0">
                  <a:pos x="T6" y="T7"/>
                </a:cxn>
                <a:cxn ang="0">
                  <a:pos x="T8" y="T9"/>
                </a:cxn>
              </a:cxnLst>
              <a:rect l="0" t="0" r="r" b="b"/>
              <a:pathLst>
                <a:path w="6" h="4">
                  <a:moveTo>
                    <a:pt x="4" y="4"/>
                  </a:moveTo>
                  <a:lnTo>
                    <a:pt x="0" y="4"/>
                  </a:lnTo>
                  <a:lnTo>
                    <a:pt x="0" y="2"/>
                  </a:lnTo>
                  <a:lnTo>
                    <a:pt x="6" y="0"/>
                  </a:lnTo>
                  <a:lnTo>
                    <a:pt x="4"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05" name="Freeform 93"/>
            <p:cNvSpPr>
              <a:spLocks/>
            </p:cNvSpPr>
            <p:nvPr/>
          </p:nvSpPr>
          <p:spPr bwMode="auto">
            <a:xfrm>
              <a:off x="2556" y="3322"/>
              <a:ext cx="156" cy="108"/>
            </a:xfrm>
            <a:custGeom>
              <a:avLst/>
              <a:gdLst>
                <a:gd name="T0" fmla="*/ 31 w 156"/>
                <a:gd name="T1" fmla="*/ 17 h 108"/>
                <a:gd name="T2" fmla="*/ 31 w 156"/>
                <a:gd name="T3" fmla="*/ 10 h 108"/>
                <a:gd name="T4" fmla="*/ 38 w 156"/>
                <a:gd name="T5" fmla="*/ 8 h 108"/>
                <a:gd name="T6" fmla="*/ 42 w 156"/>
                <a:gd name="T7" fmla="*/ 10 h 108"/>
                <a:gd name="T8" fmla="*/ 46 w 156"/>
                <a:gd name="T9" fmla="*/ 15 h 108"/>
                <a:gd name="T10" fmla="*/ 54 w 156"/>
                <a:gd name="T11" fmla="*/ 17 h 108"/>
                <a:gd name="T12" fmla="*/ 61 w 156"/>
                <a:gd name="T13" fmla="*/ 25 h 108"/>
                <a:gd name="T14" fmla="*/ 75 w 156"/>
                <a:gd name="T15" fmla="*/ 21 h 108"/>
                <a:gd name="T16" fmla="*/ 90 w 156"/>
                <a:gd name="T17" fmla="*/ 21 h 108"/>
                <a:gd name="T18" fmla="*/ 98 w 156"/>
                <a:gd name="T19" fmla="*/ 19 h 108"/>
                <a:gd name="T20" fmla="*/ 104 w 156"/>
                <a:gd name="T21" fmla="*/ 17 h 108"/>
                <a:gd name="T22" fmla="*/ 115 w 156"/>
                <a:gd name="T23" fmla="*/ 10 h 108"/>
                <a:gd name="T24" fmla="*/ 125 w 156"/>
                <a:gd name="T25" fmla="*/ 10 h 108"/>
                <a:gd name="T26" fmla="*/ 133 w 156"/>
                <a:gd name="T27" fmla="*/ 10 h 108"/>
                <a:gd name="T28" fmla="*/ 134 w 156"/>
                <a:gd name="T29" fmla="*/ 2 h 108"/>
                <a:gd name="T30" fmla="*/ 136 w 156"/>
                <a:gd name="T31" fmla="*/ 8 h 108"/>
                <a:gd name="T32" fmla="*/ 150 w 156"/>
                <a:gd name="T33" fmla="*/ 0 h 108"/>
                <a:gd name="T34" fmla="*/ 150 w 156"/>
                <a:gd name="T35" fmla="*/ 4 h 108"/>
                <a:gd name="T36" fmla="*/ 140 w 156"/>
                <a:gd name="T37" fmla="*/ 29 h 108"/>
                <a:gd name="T38" fmla="*/ 136 w 156"/>
                <a:gd name="T39" fmla="*/ 36 h 108"/>
                <a:gd name="T40" fmla="*/ 134 w 156"/>
                <a:gd name="T41" fmla="*/ 42 h 108"/>
                <a:gd name="T42" fmla="*/ 131 w 156"/>
                <a:gd name="T43" fmla="*/ 50 h 108"/>
                <a:gd name="T44" fmla="*/ 131 w 156"/>
                <a:gd name="T45" fmla="*/ 59 h 108"/>
                <a:gd name="T46" fmla="*/ 133 w 156"/>
                <a:gd name="T47" fmla="*/ 65 h 108"/>
                <a:gd name="T48" fmla="*/ 136 w 156"/>
                <a:gd name="T49" fmla="*/ 65 h 108"/>
                <a:gd name="T50" fmla="*/ 136 w 156"/>
                <a:gd name="T51" fmla="*/ 69 h 108"/>
                <a:gd name="T52" fmla="*/ 136 w 156"/>
                <a:gd name="T53" fmla="*/ 75 h 108"/>
                <a:gd name="T54" fmla="*/ 140 w 156"/>
                <a:gd name="T55" fmla="*/ 81 h 108"/>
                <a:gd name="T56" fmla="*/ 144 w 156"/>
                <a:gd name="T57" fmla="*/ 84 h 108"/>
                <a:gd name="T58" fmla="*/ 140 w 156"/>
                <a:gd name="T59" fmla="*/ 86 h 108"/>
                <a:gd name="T60" fmla="*/ 133 w 156"/>
                <a:gd name="T61" fmla="*/ 92 h 108"/>
                <a:gd name="T62" fmla="*/ 133 w 156"/>
                <a:gd name="T63" fmla="*/ 104 h 108"/>
                <a:gd name="T64" fmla="*/ 129 w 156"/>
                <a:gd name="T65" fmla="*/ 106 h 108"/>
                <a:gd name="T66" fmla="*/ 121 w 156"/>
                <a:gd name="T67" fmla="*/ 104 h 108"/>
                <a:gd name="T68" fmla="*/ 113 w 156"/>
                <a:gd name="T69" fmla="*/ 102 h 108"/>
                <a:gd name="T70" fmla="*/ 106 w 156"/>
                <a:gd name="T71" fmla="*/ 100 h 108"/>
                <a:gd name="T72" fmla="*/ 100 w 156"/>
                <a:gd name="T73" fmla="*/ 92 h 108"/>
                <a:gd name="T74" fmla="*/ 88 w 156"/>
                <a:gd name="T75" fmla="*/ 81 h 108"/>
                <a:gd name="T76" fmla="*/ 75 w 156"/>
                <a:gd name="T77" fmla="*/ 81 h 108"/>
                <a:gd name="T78" fmla="*/ 65 w 156"/>
                <a:gd name="T79" fmla="*/ 77 h 108"/>
                <a:gd name="T80" fmla="*/ 58 w 156"/>
                <a:gd name="T81" fmla="*/ 69 h 108"/>
                <a:gd name="T82" fmla="*/ 50 w 156"/>
                <a:gd name="T83" fmla="*/ 67 h 108"/>
                <a:gd name="T84" fmla="*/ 42 w 156"/>
                <a:gd name="T85" fmla="*/ 61 h 108"/>
                <a:gd name="T86" fmla="*/ 33 w 156"/>
                <a:gd name="T87" fmla="*/ 56 h 108"/>
                <a:gd name="T88" fmla="*/ 27 w 156"/>
                <a:gd name="T89" fmla="*/ 52 h 108"/>
                <a:gd name="T90" fmla="*/ 13 w 156"/>
                <a:gd name="T91" fmla="*/ 52 h 108"/>
                <a:gd name="T92" fmla="*/ 10 w 156"/>
                <a:gd name="T93" fmla="*/ 46 h 108"/>
                <a:gd name="T94" fmla="*/ 4 w 156"/>
                <a:gd name="T95" fmla="*/ 44 h 108"/>
                <a:gd name="T96" fmla="*/ 2 w 156"/>
                <a:gd name="T97" fmla="*/ 36 h 108"/>
                <a:gd name="T98" fmla="*/ 2 w 156"/>
                <a:gd name="T99" fmla="*/ 31 h 108"/>
                <a:gd name="T100" fmla="*/ 4 w 156"/>
                <a:gd name="T101" fmla="*/ 21 h 108"/>
                <a:gd name="T102" fmla="*/ 13 w 156"/>
                <a:gd name="T103" fmla="*/ 15 h 108"/>
                <a:gd name="T104" fmla="*/ 13 w 156"/>
                <a:gd name="T105" fmla="*/ 11 h 108"/>
                <a:gd name="T106" fmla="*/ 17 w 156"/>
                <a:gd name="T107" fmla="*/ 17 h 108"/>
                <a:gd name="T108" fmla="*/ 29 w 156"/>
                <a:gd name="T109" fmla="*/ 2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6" h="108">
                  <a:moveTo>
                    <a:pt x="29" y="21"/>
                  </a:moveTo>
                  <a:lnTo>
                    <a:pt x="29" y="19"/>
                  </a:lnTo>
                  <a:lnTo>
                    <a:pt x="31" y="17"/>
                  </a:lnTo>
                  <a:lnTo>
                    <a:pt x="31" y="15"/>
                  </a:lnTo>
                  <a:lnTo>
                    <a:pt x="31" y="11"/>
                  </a:lnTo>
                  <a:lnTo>
                    <a:pt x="31" y="10"/>
                  </a:lnTo>
                  <a:lnTo>
                    <a:pt x="35" y="10"/>
                  </a:lnTo>
                  <a:lnTo>
                    <a:pt x="36" y="10"/>
                  </a:lnTo>
                  <a:lnTo>
                    <a:pt x="38" y="8"/>
                  </a:lnTo>
                  <a:lnTo>
                    <a:pt x="40" y="8"/>
                  </a:lnTo>
                  <a:lnTo>
                    <a:pt x="42" y="8"/>
                  </a:lnTo>
                  <a:lnTo>
                    <a:pt x="42" y="10"/>
                  </a:lnTo>
                  <a:lnTo>
                    <a:pt x="44" y="11"/>
                  </a:lnTo>
                  <a:lnTo>
                    <a:pt x="46" y="13"/>
                  </a:lnTo>
                  <a:lnTo>
                    <a:pt x="46" y="15"/>
                  </a:lnTo>
                  <a:lnTo>
                    <a:pt x="48" y="15"/>
                  </a:lnTo>
                  <a:lnTo>
                    <a:pt x="54" y="15"/>
                  </a:lnTo>
                  <a:lnTo>
                    <a:pt x="54" y="17"/>
                  </a:lnTo>
                  <a:lnTo>
                    <a:pt x="58" y="21"/>
                  </a:lnTo>
                  <a:lnTo>
                    <a:pt x="60" y="23"/>
                  </a:lnTo>
                  <a:lnTo>
                    <a:pt x="61" y="25"/>
                  </a:lnTo>
                  <a:lnTo>
                    <a:pt x="65" y="25"/>
                  </a:lnTo>
                  <a:lnTo>
                    <a:pt x="69" y="23"/>
                  </a:lnTo>
                  <a:lnTo>
                    <a:pt x="75" y="21"/>
                  </a:lnTo>
                  <a:lnTo>
                    <a:pt x="77" y="21"/>
                  </a:lnTo>
                  <a:lnTo>
                    <a:pt x="84" y="21"/>
                  </a:lnTo>
                  <a:lnTo>
                    <a:pt x="90" y="21"/>
                  </a:lnTo>
                  <a:lnTo>
                    <a:pt x="92" y="21"/>
                  </a:lnTo>
                  <a:lnTo>
                    <a:pt x="96" y="21"/>
                  </a:lnTo>
                  <a:lnTo>
                    <a:pt x="98" y="19"/>
                  </a:lnTo>
                  <a:lnTo>
                    <a:pt x="100" y="19"/>
                  </a:lnTo>
                  <a:lnTo>
                    <a:pt x="102" y="19"/>
                  </a:lnTo>
                  <a:lnTo>
                    <a:pt x="104" y="17"/>
                  </a:lnTo>
                  <a:lnTo>
                    <a:pt x="111" y="11"/>
                  </a:lnTo>
                  <a:lnTo>
                    <a:pt x="111" y="10"/>
                  </a:lnTo>
                  <a:lnTo>
                    <a:pt x="115" y="10"/>
                  </a:lnTo>
                  <a:lnTo>
                    <a:pt x="121" y="8"/>
                  </a:lnTo>
                  <a:lnTo>
                    <a:pt x="123" y="10"/>
                  </a:lnTo>
                  <a:lnTo>
                    <a:pt x="125" y="10"/>
                  </a:lnTo>
                  <a:lnTo>
                    <a:pt x="127" y="11"/>
                  </a:lnTo>
                  <a:lnTo>
                    <a:pt x="129" y="11"/>
                  </a:lnTo>
                  <a:lnTo>
                    <a:pt x="133" y="10"/>
                  </a:lnTo>
                  <a:lnTo>
                    <a:pt x="134" y="8"/>
                  </a:lnTo>
                  <a:lnTo>
                    <a:pt x="134" y="4"/>
                  </a:lnTo>
                  <a:lnTo>
                    <a:pt x="134" y="2"/>
                  </a:lnTo>
                  <a:lnTo>
                    <a:pt x="136" y="4"/>
                  </a:lnTo>
                  <a:lnTo>
                    <a:pt x="136" y="6"/>
                  </a:lnTo>
                  <a:lnTo>
                    <a:pt x="136" y="8"/>
                  </a:lnTo>
                  <a:lnTo>
                    <a:pt x="140" y="6"/>
                  </a:lnTo>
                  <a:lnTo>
                    <a:pt x="148" y="0"/>
                  </a:lnTo>
                  <a:lnTo>
                    <a:pt x="150" y="0"/>
                  </a:lnTo>
                  <a:lnTo>
                    <a:pt x="156" y="2"/>
                  </a:lnTo>
                  <a:lnTo>
                    <a:pt x="154" y="4"/>
                  </a:lnTo>
                  <a:lnTo>
                    <a:pt x="150" y="4"/>
                  </a:lnTo>
                  <a:lnTo>
                    <a:pt x="150" y="8"/>
                  </a:lnTo>
                  <a:lnTo>
                    <a:pt x="142" y="23"/>
                  </a:lnTo>
                  <a:lnTo>
                    <a:pt x="140" y="29"/>
                  </a:lnTo>
                  <a:lnTo>
                    <a:pt x="138" y="33"/>
                  </a:lnTo>
                  <a:lnTo>
                    <a:pt x="136" y="35"/>
                  </a:lnTo>
                  <a:lnTo>
                    <a:pt x="136" y="36"/>
                  </a:lnTo>
                  <a:lnTo>
                    <a:pt x="136" y="38"/>
                  </a:lnTo>
                  <a:lnTo>
                    <a:pt x="136" y="40"/>
                  </a:lnTo>
                  <a:lnTo>
                    <a:pt x="134" y="42"/>
                  </a:lnTo>
                  <a:lnTo>
                    <a:pt x="133" y="44"/>
                  </a:lnTo>
                  <a:lnTo>
                    <a:pt x="134" y="48"/>
                  </a:lnTo>
                  <a:lnTo>
                    <a:pt x="131" y="50"/>
                  </a:lnTo>
                  <a:lnTo>
                    <a:pt x="131" y="52"/>
                  </a:lnTo>
                  <a:lnTo>
                    <a:pt x="131" y="54"/>
                  </a:lnTo>
                  <a:lnTo>
                    <a:pt x="131" y="59"/>
                  </a:lnTo>
                  <a:lnTo>
                    <a:pt x="131" y="61"/>
                  </a:lnTo>
                  <a:lnTo>
                    <a:pt x="133" y="63"/>
                  </a:lnTo>
                  <a:lnTo>
                    <a:pt x="133" y="65"/>
                  </a:lnTo>
                  <a:lnTo>
                    <a:pt x="134" y="65"/>
                  </a:lnTo>
                  <a:lnTo>
                    <a:pt x="134" y="63"/>
                  </a:lnTo>
                  <a:lnTo>
                    <a:pt x="136" y="65"/>
                  </a:lnTo>
                  <a:lnTo>
                    <a:pt x="138" y="67"/>
                  </a:lnTo>
                  <a:lnTo>
                    <a:pt x="138" y="69"/>
                  </a:lnTo>
                  <a:lnTo>
                    <a:pt x="136" y="69"/>
                  </a:lnTo>
                  <a:lnTo>
                    <a:pt x="134" y="73"/>
                  </a:lnTo>
                  <a:lnTo>
                    <a:pt x="136" y="73"/>
                  </a:lnTo>
                  <a:lnTo>
                    <a:pt x="136" y="75"/>
                  </a:lnTo>
                  <a:lnTo>
                    <a:pt x="138" y="75"/>
                  </a:lnTo>
                  <a:lnTo>
                    <a:pt x="140" y="77"/>
                  </a:lnTo>
                  <a:lnTo>
                    <a:pt x="140" y="81"/>
                  </a:lnTo>
                  <a:lnTo>
                    <a:pt x="142" y="81"/>
                  </a:lnTo>
                  <a:lnTo>
                    <a:pt x="144" y="83"/>
                  </a:lnTo>
                  <a:lnTo>
                    <a:pt x="144" y="84"/>
                  </a:lnTo>
                  <a:lnTo>
                    <a:pt x="142" y="84"/>
                  </a:lnTo>
                  <a:lnTo>
                    <a:pt x="140" y="84"/>
                  </a:lnTo>
                  <a:lnTo>
                    <a:pt x="140" y="86"/>
                  </a:lnTo>
                  <a:lnTo>
                    <a:pt x="136" y="86"/>
                  </a:lnTo>
                  <a:lnTo>
                    <a:pt x="133" y="90"/>
                  </a:lnTo>
                  <a:lnTo>
                    <a:pt x="133" y="92"/>
                  </a:lnTo>
                  <a:lnTo>
                    <a:pt x="131" y="98"/>
                  </a:lnTo>
                  <a:lnTo>
                    <a:pt x="133" y="102"/>
                  </a:lnTo>
                  <a:lnTo>
                    <a:pt x="133" y="104"/>
                  </a:lnTo>
                  <a:lnTo>
                    <a:pt x="133" y="106"/>
                  </a:lnTo>
                  <a:lnTo>
                    <a:pt x="133" y="108"/>
                  </a:lnTo>
                  <a:lnTo>
                    <a:pt x="129" y="106"/>
                  </a:lnTo>
                  <a:lnTo>
                    <a:pt x="127" y="106"/>
                  </a:lnTo>
                  <a:lnTo>
                    <a:pt x="125" y="106"/>
                  </a:lnTo>
                  <a:lnTo>
                    <a:pt x="121" y="104"/>
                  </a:lnTo>
                  <a:lnTo>
                    <a:pt x="119" y="104"/>
                  </a:lnTo>
                  <a:lnTo>
                    <a:pt x="115" y="104"/>
                  </a:lnTo>
                  <a:lnTo>
                    <a:pt x="113" y="102"/>
                  </a:lnTo>
                  <a:lnTo>
                    <a:pt x="111" y="104"/>
                  </a:lnTo>
                  <a:lnTo>
                    <a:pt x="109" y="100"/>
                  </a:lnTo>
                  <a:lnTo>
                    <a:pt x="106" y="100"/>
                  </a:lnTo>
                  <a:lnTo>
                    <a:pt x="104" y="98"/>
                  </a:lnTo>
                  <a:lnTo>
                    <a:pt x="102" y="98"/>
                  </a:lnTo>
                  <a:lnTo>
                    <a:pt x="100" y="92"/>
                  </a:lnTo>
                  <a:lnTo>
                    <a:pt x="96" y="86"/>
                  </a:lnTo>
                  <a:lnTo>
                    <a:pt x="92" y="84"/>
                  </a:lnTo>
                  <a:lnTo>
                    <a:pt x="88" y="81"/>
                  </a:lnTo>
                  <a:lnTo>
                    <a:pt x="83" y="79"/>
                  </a:lnTo>
                  <a:lnTo>
                    <a:pt x="77" y="79"/>
                  </a:lnTo>
                  <a:lnTo>
                    <a:pt x="75" y="81"/>
                  </a:lnTo>
                  <a:lnTo>
                    <a:pt x="73" y="81"/>
                  </a:lnTo>
                  <a:lnTo>
                    <a:pt x="69" y="79"/>
                  </a:lnTo>
                  <a:lnTo>
                    <a:pt x="65" y="77"/>
                  </a:lnTo>
                  <a:lnTo>
                    <a:pt x="61" y="75"/>
                  </a:lnTo>
                  <a:lnTo>
                    <a:pt x="60" y="73"/>
                  </a:lnTo>
                  <a:lnTo>
                    <a:pt x="58" y="69"/>
                  </a:lnTo>
                  <a:lnTo>
                    <a:pt x="56" y="69"/>
                  </a:lnTo>
                  <a:lnTo>
                    <a:pt x="52" y="67"/>
                  </a:lnTo>
                  <a:lnTo>
                    <a:pt x="50" y="67"/>
                  </a:lnTo>
                  <a:lnTo>
                    <a:pt x="48" y="65"/>
                  </a:lnTo>
                  <a:lnTo>
                    <a:pt x="44" y="63"/>
                  </a:lnTo>
                  <a:lnTo>
                    <a:pt x="42" y="61"/>
                  </a:lnTo>
                  <a:lnTo>
                    <a:pt x="42" y="59"/>
                  </a:lnTo>
                  <a:lnTo>
                    <a:pt x="36" y="58"/>
                  </a:lnTo>
                  <a:lnTo>
                    <a:pt x="33" y="56"/>
                  </a:lnTo>
                  <a:lnTo>
                    <a:pt x="31" y="56"/>
                  </a:lnTo>
                  <a:lnTo>
                    <a:pt x="29" y="56"/>
                  </a:lnTo>
                  <a:lnTo>
                    <a:pt x="27" y="52"/>
                  </a:lnTo>
                  <a:lnTo>
                    <a:pt x="25" y="50"/>
                  </a:lnTo>
                  <a:lnTo>
                    <a:pt x="23" y="50"/>
                  </a:lnTo>
                  <a:lnTo>
                    <a:pt x="13" y="52"/>
                  </a:lnTo>
                  <a:lnTo>
                    <a:pt x="11" y="52"/>
                  </a:lnTo>
                  <a:lnTo>
                    <a:pt x="10" y="48"/>
                  </a:lnTo>
                  <a:lnTo>
                    <a:pt x="10" y="46"/>
                  </a:lnTo>
                  <a:lnTo>
                    <a:pt x="6" y="46"/>
                  </a:lnTo>
                  <a:lnTo>
                    <a:pt x="6" y="44"/>
                  </a:lnTo>
                  <a:lnTo>
                    <a:pt x="4" y="44"/>
                  </a:lnTo>
                  <a:lnTo>
                    <a:pt x="2" y="40"/>
                  </a:lnTo>
                  <a:lnTo>
                    <a:pt x="2" y="38"/>
                  </a:lnTo>
                  <a:lnTo>
                    <a:pt x="2" y="36"/>
                  </a:lnTo>
                  <a:lnTo>
                    <a:pt x="0" y="36"/>
                  </a:lnTo>
                  <a:lnTo>
                    <a:pt x="0" y="35"/>
                  </a:lnTo>
                  <a:lnTo>
                    <a:pt x="2" y="31"/>
                  </a:lnTo>
                  <a:lnTo>
                    <a:pt x="2" y="27"/>
                  </a:lnTo>
                  <a:lnTo>
                    <a:pt x="4" y="25"/>
                  </a:lnTo>
                  <a:lnTo>
                    <a:pt x="4" y="21"/>
                  </a:lnTo>
                  <a:lnTo>
                    <a:pt x="6" y="19"/>
                  </a:lnTo>
                  <a:lnTo>
                    <a:pt x="8" y="17"/>
                  </a:lnTo>
                  <a:lnTo>
                    <a:pt x="13" y="15"/>
                  </a:lnTo>
                  <a:lnTo>
                    <a:pt x="13" y="13"/>
                  </a:lnTo>
                  <a:lnTo>
                    <a:pt x="11" y="11"/>
                  </a:lnTo>
                  <a:lnTo>
                    <a:pt x="13" y="11"/>
                  </a:lnTo>
                  <a:lnTo>
                    <a:pt x="15" y="11"/>
                  </a:lnTo>
                  <a:lnTo>
                    <a:pt x="15" y="13"/>
                  </a:lnTo>
                  <a:lnTo>
                    <a:pt x="17" y="17"/>
                  </a:lnTo>
                  <a:lnTo>
                    <a:pt x="21" y="19"/>
                  </a:lnTo>
                  <a:lnTo>
                    <a:pt x="25" y="21"/>
                  </a:lnTo>
                  <a:lnTo>
                    <a:pt x="29" y="2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06" name="Freeform 94"/>
            <p:cNvSpPr>
              <a:spLocks/>
            </p:cNvSpPr>
            <p:nvPr/>
          </p:nvSpPr>
          <p:spPr bwMode="auto">
            <a:xfrm>
              <a:off x="2354" y="3132"/>
              <a:ext cx="81" cy="152"/>
            </a:xfrm>
            <a:custGeom>
              <a:avLst/>
              <a:gdLst>
                <a:gd name="T0" fmla="*/ 12 w 81"/>
                <a:gd name="T1" fmla="*/ 55 h 152"/>
                <a:gd name="T2" fmla="*/ 16 w 81"/>
                <a:gd name="T3" fmla="*/ 59 h 152"/>
                <a:gd name="T4" fmla="*/ 14 w 81"/>
                <a:gd name="T5" fmla="*/ 73 h 152"/>
                <a:gd name="T6" fmla="*/ 10 w 81"/>
                <a:gd name="T7" fmla="*/ 77 h 152"/>
                <a:gd name="T8" fmla="*/ 10 w 81"/>
                <a:gd name="T9" fmla="*/ 80 h 152"/>
                <a:gd name="T10" fmla="*/ 12 w 81"/>
                <a:gd name="T11" fmla="*/ 88 h 152"/>
                <a:gd name="T12" fmla="*/ 16 w 81"/>
                <a:gd name="T13" fmla="*/ 84 h 152"/>
                <a:gd name="T14" fmla="*/ 16 w 81"/>
                <a:gd name="T15" fmla="*/ 92 h 152"/>
                <a:gd name="T16" fmla="*/ 16 w 81"/>
                <a:gd name="T17" fmla="*/ 100 h 152"/>
                <a:gd name="T18" fmla="*/ 14 w 81"/>
                <a:gd name="T19" fmla="*/ 98 h 152"/>
                <a:gd name="T20" fmla="*/ 10 w 81"/>
                <a:gd name="T21" fmla="*/ 113 h 152"/>
                <a:gd name="T22" fmla="*/ 12 w 81"/>
                <a:gd name="T23" fmla="*/ 134 h 152"/>
                <a:gd name="T24" fmla="*/ 16 w 81"/>
                <a:gd name="T25" fmla="*/ 138 h 152"/>
                <a:gd name="T26" fmla="*/ 19 w 81"/>
                <a:gd name="T27" fmla="*/ 152 h 152"/>
                <a:gd name="T28" fmla="*/ 25 w 81"/>
                <a:gd name="T29" fmla="*/ 148 h 152"/>
                <a:gd name="T30" fmla="*/ 33 w 81"/>
                <a:gd name="T31" fmla="*/ 150 h 152"/>
                <a:gd name="T32" fmla="*/ 39 w 81"/>
                <a:gd name="T33" fmla="*/ 146 h 152"/>
                <a:gd name="T34" fmla="*/ 41 w 81"/>
                <a:gd name="T35" fmla="*/ 132 h 152"/>
                <a:gd name="T36" fmla="*/ 46 w 81"/>
                <a:gd name="T37" fmla="*/ 132 h 152"/>
                <a:gd name="T38" fmla="*/ 52 w 81"/>
                <a:gd name="T39" fmla="*/ 130 h 152"/>
                <a:gd name="T40" fmla="*/ 60 w 81"/>
                <a:gd name="T41" fmla="*/ 136 h 152"/>
                <a:gd name="T42" fmla="*/ 66 w 81"/>
                <a:gd name="T43" fmla="*/ 134 h 152"/>
                <a:gd name="T44" fmla="*/ 69 w 81"/>
                <a:gd name="T45" fmla="*/ 113 h 152"/>
                <a:gd name="T46" fmla="*/ 69 w 81"/>
                <a:gd name="T47" fmla="*/ 103 h 152"/>
                <a:gd name="T48" fmla="*/ 71 w 81"/>
                <a:gd name="T49" fmla="*/ 94 h 152"/>
                <a:gd name="T50" fmla="*/ 73 w 81"/>
                <a:gd name="T51" fmla="*/ 82 h 152"/>
                <a:gd name="T52" fmla="*/ 73 w 81"/>
                <a:gd name="T53" fmla="*/ 75 h 152"/>
                <a:gd name="T54" fmla="*/ 69 w 81"/>
                <a:gd name="T55" fmla="*/ 65 h 152"/>
                <a:gd name="T56" fmla="*/ 75 w 81"/>
                <a:gd name="T57" fmla="*/ 57 h 152"/>
                <a:gd name="T58" fmla="*/ 81 w 81"/>
                <a:gd name="T59" fmla="*/ 50 h 152"/>
                <a:gd name="T60" fmla="*/ 77 w 81"/>
                <a:gd name="T61" fmla="*/ 44 h 152"/>
                <a:gd name="T62" fmla="*/ 75 w 81"/>
                <a:gd name="T63" fmla="*/ 32 h 152"/>
                <a:gd name="T64" fmla="*/ 75 w 81"/>
                <a:gd name="T65" fmla="*/ 27 h 152"/>
                <a:gd name="T66" fmla="*/ 71 w 81"/>
                <a:gd name="T67" fmla="*/ 23 h 152"/>
                <a:gd name="T68" fmla="*/ 67 w 81"/>
                <a:gd name="T69" fmla="*/ 21 h 152"/>
                <a:gd name="T70" fmla="*/ 71 w 81"/>
                <a:gd name="T71" fmla="*/ 15 h 152"/>
                <a:gd name="T72" fmla="*/ 66 w 81"/>
                <a:gd name="T73" fmla="*/ 15 h 152"/>
                <a:gd name="T74" fmla="*/ 67 w 81"/>
                <a:gd name="T75" fmla="*/ 7 h 152"/>
                <a:gd name="T76" fmla="*/ 62 w 81"/>
                <a:gd name="T77" fmla="*/ 5 h 152"/>
                <a:gd name="T78" fmla="*/ 58 w 81"/>
                <a:gd name="T79" fmla="*/ 4 h 152"/>
                <a:gd name="T80" fmla="*/ 50 w 81"/>
                <a:gd name="T81" fmla="*/ 0 h 152"/>
                <a:gd name="T82" fmla="*/ 44 w 81"/>
                <a:gd name="T83" fmla="*/ 7 h 152"/>
                <a:gd name="T84" fmla="*/ 37 w 81"/>
                <a:gd name="T85" fmla="*/ 13 h 152"/>
                <a:gd name="T86" fmla="*/ 27 w 81"/>
                <a:gd name="T87" fmla="*/ 21 h 152"/>
                <a:gd name="T88" fmla="*/ 19 w 81"/>
                <a:gd name="T89" fmla="*/ 25 h 152"/>
                <a:gd name="T90" fmla="*/ 6 w 81"/>
                <a:gd name="T91" fmla="*/ 19 h 152"/>
                <a:gd name="T92" fmla="*/ 4 w 81"/>
                <a:gd name="T93" fmla="*/ 17 h 152"/>
                <a:gd name="T94" fmla="*/ 2 w 81"/>
                <a:gd name="T95" fmla="*/ 27 h 152"/>
                <a:gd name="T96" fmla="*/ 4 w 81"/>
                <a:gd name="T97" fmla="*/ 34 h 152"/>
                <a:gd name="T98" fmla="*/ 0 w 81"/>
                <a:gd name="T99" fmla="*/ 42 h 152"/>
                <a:gd name="T100" fmla="*/ 6 w 81"/>
                <a:gd name="T101" fmla="*/ 42 h 152"/>
                <a:gd name="T102" fmla="*/ 12 w 81"/>
                <a:gd name="T103" fmla="*/ 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 h="152">
                  <a:moveTo>
                    <a:pt x="12" y="52"/>
                  </a:moveTo>
                  <a:lnTo>
                    <a:pt x="12" y="54"/>
                  </a:lnTo>
                  <a:lnTo>
                    <a:pt x="12" y="55"/>
                  </a:lnTo>
                  <a:lnTo>
                    <a:pt x="12" y="57"/>
                  </a:lnTo>
                  <a:lnTo>
                    <a:pt x="14" y="59"/>
                  </a:lnTo>
                  <a:lnTo>
                    <a:pt x="16" y="59"/>
                  </a:lnTo>
                  <a:lnTo>
                    <a:pt x="14" y="69"/>
                  </a:lnTo>
                  <a:lnTo>
                    <a:pt x="14" y="71"/>
                  </a:lnTo>
                  <a:lnTo>
                    <a:pt x="14" y="73"/>
                  </a:lnTo>
                  <a:lnTo>
                    <a:pt x="12" y="75"/>
                  </a:lnTo>
                  <a:lnTo>
                    <a:pt x="10" y="75"/>
                  </a:lnTo>
                  <a:lnTo>
                    <a:pt x="10" y="77"/>
                  </a:lnTo>
                  <a:lnTo>
                    <a:pt x="12" y="77"/>
                  </a:lnTo>
                  <a:lnTo>
                    <a:pt x="10" y="78"/>
                  </a:lnTo>
                  <a:lnTo>
                    <a:pt x="10" y="80"/>
                  </a:lnTo>
                  <a:lnTo>
                    <a:pt x="10" y="84"/>
                  </a:lnTo>
                  <a:lnTo>
                    <a:pt x="12" y="86"/>
                  </a:lnTo>
                  <a:lnTo>
                    <a:pt x="12" y="88"/>
                  </a:lnTo>
                  <a:lnTo>
                    <a:pt x="14" y="88"/>
                  </a:lnTo>
                  <a:lnTo>
                    <a:pt x="14" y="84"/>
                  </a:lnTo>
                  <a:lnTo>
                    <a:pt x="16" y="84"/>
                  </a:lnTo>
                  <a:lnTo>
                    <a:pt x="17" y="88"/>
                  </a:lnTo>
                  <a:lnTo>
                    <a:pt x="17" y="90"/>
                  </a:lnTo>
                  <a:lnTo>
                    <a:pt x="16" y="92"/>
                  </a:lnTo>
                  <a:lnTo>
                    <a:pt x="17" y="96"/>
                  </a:lnTo>
                  <a:lnTo>
                    <a:pt x="21" y="100"/>
                  </a:lnTo>
                  <a:lnTo>
                    <a:pt x="16" y="100"/>
                  </a:lnTo>
                  <a:lnTo>
                    <a:pt x="14" y="94"/>
                  </a:lnTo>
                  <a:lnTo>
                    <a:pt x="12" y="96"/>
                  </a:lnTo>
                  <a:lnTo>
                    <a:pt x="14" y="98"/>
                  </a:lnTo>
                  <a:lnTo>
                    <a:pt x="12" y="100"/>
                  </a:lnTo>
                  <a:lnTo>
                    <a:pt x="12" y="107"/>
                  </a:lnTo>
                  <a:lnTo>
                    <a:pt x="10" y="113"/>
                  </a:lnTo>
                  <a:lnTo>
                    <a:pt x="8" y="130"/>
                  </a:lnTo>
                  <a:lnTo>
                    <a:pt x="10" y="132"/>
                  </a:lnTo>
                  <a:lnTo>
                    <a:pt x="12" y="134"/>
                  </a:lnTo>
                  <a:lnTo>
                    <a:pt x="12" y="136"/>
                  </a:lnTo>
                  <a:lnTo>
                    <a:pt x="14" y="138"/>
                  </a:lnTo>
                  <a:lnTo>
                    <a:pt x="16" y="138"/>
                  </a:lnTo>
                  <a:lnTo>
                    <a:pt x="16" y="140"/>
                  </a:lnTo>
                  <a:lnTo>
                    <a:pt x="17" y="146"/>
                  </a:lnTo>
                  <a:lnTo>
                    <a:pt x="19" y="152"/>
                  </a:lnTo>
                  <a:lnTo>
                    <a:pt x="21" y="150"/>
                  </a:lnTo>
                  <a:lnTo>
                    <a:pt x="23" y="148"/>
                  </a:lnTo>
                  <a:lnTo>
                    <a:pt x="25" y="148"/>
                  </a:lnTo>
                  <a:lnTo>
                    <a:pt x="27" y="152"/>
                  </a:lnTo>
                  <a:lnTo>
                    <a:pt x="31" y="152"/>
                  </a:lnTo>
                  <a:lnTo>
                    <a:pt x="33" y="150"/>
                  </a:lnTo>
                  <a:lnTo>
                    <a:pt x="35" y="148"/>
                  </a:lnTo>
                  <a:lnTo>
                    <a:pt x="37" y="146"/>
                  </a:lnTo>
                  <a:lnTo>
                    <a:pt x="39" y="146"/>
                  </a:lnTo>
                  <a:lnTo>
                    <a:pt x="41" y="140"/>
                  </a:lnTo>
                  <a:lnTo>
                    <a:pt x="39" y="136"/>
                  </a:lnTo>
                  <a:lnTo>
                    <a:pt x="41" y="132"/>
                  </a:lnTo>
                  <a:lnTo>
                    <a:pt x="42" y="132"/>
                  </a:lnTo>
                  <a:lnTo>
                    <a:pt x="44" y="130"/>
                  </a:lnTo>
                  <a:lnTo>
                    <a:pt x="46" y="132"/>
                  </a:lnTo>
                  <a:lnTo>
                    <a:pt x="46" y="130"/>
                  </a:lnTo>
                  <a:lnTo>
                    <a:pt x="48" y="130"/>
                  </a:lnTo>
                  <a:lnTo>
                    <a:pt x="52" y="130"/>
                  </a:lnTo>
                  <a:lnTo>
                    <a:pt x="56" y="134"/>
                  </a:lnTo>
                  <a:lnTo>
                    <a:pt x="58" y="136"/>
                  </a:lnTo>
                  <a:lnTo>
                    <a:pt x="60" y="136"/>
                  </a:lnTo>
                  <a:lnTo>
                    <a:pt x="62" y="136"/>
                  </a:lnTo>
                  <a:lnTo>
                    <a:pt x="64" y="138"/>
                  </a:lnTo>
                  <a:lnTo>
                    <a:pt x="66" y="134"/>
                  </a:lnTo>
                  <a:lnTo>
                    <a:pt x="66" y="128"/>
                  </a:lnTo>
                  <a:lnTo>
                    <a:pt x="67" y="127"/>
                  </a:lnTo>
                  <a:lnTo>
                    <a:pt x="69" y="113"/>
                  </a:lnTo>
                  <a:lnTo>
                    <a:pt x="71" y="109"/>
                  </a:lnTo>
                  <a:lnTo>
                    <a:pt x="69" y="105"/>
                  </a:lnTo>
                  <a:lnTo>
                    <a:pt x="69" y="103"/>
                  </a:lnTo>
                  <a:lnTo>
                    <a:pt x="71" y="100"/>
                  </a:lnTo>
                  <a:lnTo>
                    <a:pt x="71" y="96"/>
                  </a:lnTo>
                  <a:lnTo>
                    <a:pt x="71" y="94"/>
                  </a:lnTo>
                  <a:lnTo>
                    <a:pt x="73" y="88"/>
                  </a:lnTo>
                  <a:lnTo>
                    <a:pt x="73" y="86"/>
                  </a:lnTo>
                  <a:lnTo>
                    <a:pt x="73" y="82"/>
                  </a:lnTo>
                  <a:lnTo>
                    <a:pt x="73" y="80"/>
                  </a:lnTo>
                  <a:lnTo>
                    <a:pt x="73" y="77"/>
                  </a:lnTo>
                  <a:lnTo>
                    <a:pt x="73" y="75"/>
                  </a:lnTo>
                  <a:lnTo>
                    <a:pt x="71" y="73"/>
                  </a:lnTo>
                  <a:lnTo>
                    <a:pt x="71" y="69"/>
                  </a:lnTo>
                  <a:lnTo>
                    <a:pt x="69" y="65"/>
                  </a:lnTo>
                  <a:lnTo>
                    <a:pt x="71" y="61"/>
                  </a:lnTo>
                  <a:lnTo>
                    <a:pt x="73" y="59"/>
                  </a:lnTo>
                  <a:lnTo>
                    <a:pt x="75" y="57"/>
                  </a:lnTo>
                  <a:lnTo>
                    <a:pt x="77" y="55"/>
                  </a:lnTo>
                  <a:lnTo>
                    <a:pt x="77" y="54"/>
                  </a:lnTo>
                  <a:lnTo>
                    <a:pt x="81" y="50"/>
                  </a:lnTo>
                  <a:lnTo>
                    <a:pt x="79" y="48"/>
                  </a:lnTo>
                  <a:lnTo>
                    <a:pt x="79" y="44"/>
                  </a:lnTo>
                  <a:lnTo>
                    <a:pt x="77" y="44"/>
                  </a:lnTo>
                  <a:lnTo>
                    <a:pt x="77" y="38"/>
                  </a:lnTo>
                  <a:lnTo>
                    <a:pt x="75" y="36"/>
                  </a:lnTo>
                  <a:lnTo>
                    <a:pt x="75" y="32"/>
                  </a:lnTo>
                  <a:lnTo>
                    <a:pt x="75" y="30"/>
                  </a:lnTo>
                  <a:lnTo>
                    <a:pt x="75" y="29"/>
                  </a:lnTo>
                  <a:lnTo>
                    <a:pt x="75" y="27"/>
                  </a:lnTo>
                  <a:lnTo>
                    <a:pt x="73" y="27"/>
                  </a:lnTo>
                  <a:lnTo>
                    <a:pt x="73" y="25"/>
                  </a:lnTo>
                  <a:lnTo>
                    <a:pt x="71" y="23"/>
                  </a:lnTo>
                  <a:lnTo>
                    <a:pt x="69" y="21"/>
                  </a:lnTo>
                  <a:lnTo>
                    <a:pt x="67" y="23"/>
                  </a:lnTo>
                  <a:lnTo>
                    <a:pt x="67" y="21"/>
                  </a:lnTo>
                  <a:lnTo>
                    <a:pt x="69" y="19"/>
                  </a:lnTo>
                  <a:lnTo>
                    <a:pt x="71" y="17"/>
                  </a:lnTo>
                  <a:lnTo>
                    <a:pt x="71" y="15"/>
                  </a:lnTo>
                  <a:lnTo>
                    <a:pt x="69" y="15"/>
                  </a:lnTo>
                  <a:lnTo>
                    <a:pt x="67" y="15"/>
                  </a:lnTo>
                  <a:lnTo>
                    <a:pt x="66" y="15"/>
                  </a:lnTo>
                  <a:lnTo>
                    <a:pt x="67" y="11"/>
                  </a:lnTo>
                  <a:lnTo>
                    <a:pt x="69" y="11"/>
                  </a:lnTo>
                  <a:lnTo>
                    <a:pt x="67" y="7"/>
                  </a:lnTo>
                  <a:lnTo>
                    <a:pt x="66" y="5"/>
                  </a:lnTo>
                  <a:lnTo>
                    <a:pt x="64" y="7"/>
                  </a:lnTo>
                  <a:lnTo>
                    <a:pt x="62" y="5"/>
                  </a:lnTo>
                  <a:lnTo>
                    <a:pt x="62" y="4"/>
                  </a:lnTo>
                  <a:lnTo>
                    <a:pt x="60" y="4"/>
                  </a:lnTo>
                  <a:lnTo>
                    <a:pt x="58" y="4"/>
                  </a:lnTo>
                  <a:lnTo>
                    <a:pt x="56" y="2"/>
                  </a:lnTo>
                  <a:lnTo>
                    <a:pt x="54" y="0"/>
                  </a:lnTo>
                  <a:lnTo>
                    <a:pt x="50" y="0"/>
                  </a:lnTo>
                  <a:lnTo>
                    <a:pt x="50" y="2"/>
                  </a:lnTo>
                  <a:lnTo>
                    <a:pt x="50" y="5"/>
                  </a:lnTo>
                  <a:lnTo>
                    <a:pt x="44" y="7"/>
                  </a:lnTo>
                  <a:lnTo>
                    <a:pt x="42" y="7"/>
                  </a:lnTo>
                  <a:lnTo>
                    <a:pt x="39" y="13"/>
                  </a:lnTo>
                  <a:lnTo>
                    <a:pt x="37" y="13"/>
                  </a:lnTo>
                  <a:lnTo>
                    <a:pt x="33" y="19"/>
                  </a:lnTo>
                  <a:lnTo>
                    <a:pt x="31" y="19"/>
                  </a:lnTo>
                  <a:lnTo>
                    <a:pt x="27" y="21"/>
                  </a:lnTo>
                  <a:lnTo>
                    <a:pt x="25" y="23"/>
                  </a:lnTo>
                  <a:lnTo>
                    <a:pt x="23" y="25"/>
                  </a:lnTo>
                  <a:lnTo>
                    <a:pt x="19" y="25"/>
                  </a:lnTo>
                  <a:lnTo>
                    <a:pt x="16" y="27"/>
                  </a:lnTo>
                  <a:lnTo>
                    <a:pt x="10" y="25"/>
                  </a:lnTo>
                  <a:lnTo>
                    <a:pt x="6" y="19"/>
                  </a:lnTo>
                  <a:lnTo>
                    <a:pt x="6" y="17"/>
                  </a:lnTo>
                  <a:lnTo>
                    <a:pt x="4" y="15"/>
                  </a:lnTo>
                  <a:lnTo>
                    <a:pt x="4" y="17"/>
                  </a:lnTo>
                  <a:lnTo>
                    <a:pt x="4" y="21"/>
                  </a:lnTo>
                  <a:lnTo>
                    <a:pt x="4" y="25"/>
                  </a:lnTo>
                  <a:lnTo>
                    <a:pt x="2" y="27"/>
                  </a:lnTo>
                  <a:lnTo>
                    <a:pt x="0" y="30"/>
                  </a:lnTo>
                  <a:lnTo>
                    <a:pt x="2" y="32"/>
                  </a:lnTo>
                  <a:lnTo>
                    <a:pt x="4" y="34"/>
                  </a:lnTo>
                  <a:lnTo>
                    <a:pt x="2" y="34"/>
                  </a:lnTo>
                  <a:lnTo>
                    <a:pt x="0" y="36"/>
                  </a:lnTo>
                  <a:lnTo>
                    <a:pt x="0" y="42"/>
                  </a:lnTo>
                  <a:lnTo>
                    <a:pt x="4" y="40"/>
                  </a:lnTo>
                  <a:lnTo>
                    <a:pt x="4" y="42"/>
                  </a:lnTo>
                  <a:lnTo>
                    <a:pt x="6" y="42"/>
                  </a:lnTo>
                  <a:lnTo>
                    <a:pt x="8" y="42"/>
                  </a:lnTo>
                  <a:lnTo>
                    <a:pt x="8" y="46"/>
                  </a:lnTo>
                  <a:lnTo>
                    <a:pt x="12" y="50"/>
                  </a:lnTo>
                  <a:lnTo>
                    <a:pt x="12" y="5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07" name="Freeform 95"/>
            <p:cNvSpPr>
              <a:spLocks/>
            </p:cNvSpPr>
            <p:nvPr/>
          </p:nvSpPr>
          <p:spPr bwMode="auto">
            <a:xfrm>
              <a:off x="2450" y="3030"/>
              <a:ext cx="16" cy="9"/>
            </a:xfrm>
            <a:custGeom>
              <a:avLst/>
              <a:gdLst>
                <a:gd name="T0" fmla="*/ 0 w 16"/>
                <a:gd name="T1" fmla="*/ 6 h 9"/>
                <a:gd name="T2" fmla="*/ 0 w 16"/>
                <a:gd name="T3" fmla="*/ 4 h 9"/>
                <a:gd name="T4" fmla="*/ 2 w 16"/>
                <a:gd name="T5" fmla="*/ 4 h 9"/>
                <a:gd name="T6" fmla="*/ 4 w 16"/>
                <a:gd name="T7" fmla="*/ 4 h 9"/>
                <a:gd name="T8" fmla="*/ 6 w 16"/>
                <a:gd name="T9" fmla="*/ 4 h 9"/>
                <a:gd name="T10" fmla="*/ 8 w 16"/>
                <a:gd name="T11" fmla="*/ 2 h 9"/>
                <a:gd name="T12" fmla="*/ 10 w 16"/>
                <a:gd name="T13" fmla="*/ 2 h 9"/>
                <a:gd name="T14" fmla="*/ 14 w 16"/>
                <a:gd name="T15" fmla="*/ 0 h 9"/>
                <a:gd name="T16" fmla="*/ 16 w 16"/>
                <a:gd name="T17" fmla="*/ 0 h 9"/>
                <a:gd name="T18" fmla="*/ 16 w 16"/>
                <a:gd name="T19" fmla="*/ 6 h 9"/>
                <a:gd name="T20" fmla="*/ 14 w 16"/>
                <a:gd name="T21" fmla="*/ 6 h 9"/>
                <a:gd name="T22" fmla="*/ 14 w 16"/>
                <a:gd name="T23" fmla="*/ 8 h 9"/>
                <a:gd name="T24" fmla="*/ 14 w 16"/>
                <a:gd name="T25" fmla="*/ 9 h 9"/>
                <a:gd name="T26" fmla="*/ 12 w 16"/>
                <a:gd name="T27" fmla="*/ 8 h 9"/>
                <a:gd name="T28" fmla="*/ 6 w 16"/>
                <a:gd name="T29" fmla="*/ 8 h 9"/>
                <a:gd name="T30" fmla="*/ 2 w 16"/>
                <a:gd name="T31" fmla="*/ 8 h 9"/>
                <a:gd name="T32" fmla="*/ 0 w 16"/>
                <a:gd name="T33" fmla="*/ 8 h 9"/>
                <a:gd name="T34" fmla="*/ 0 w 16"/>
                <a:gd name="T3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9">
                  <a:moveTo>
                    <a:pt x="0" y="6"/>
                  </a:moveTo>
                  <a:lnTo>
                    <a:pt x="0" y="4"/>
                  </a:lnTo>
                  <a:lnTo>
                    <a:pt x="2" y="4"/>
                  </a:lnTo>
                  <a:lnTo>
                    <a:pt x="4" y="4"/>
                  </a:lnTo>
                  <a:lnTo>
                    <a:pt x="6" y="4"/>
                  </a:lnTo>
                  <a:lnTo>
                    <a:pt x="8" y="2"/>
                  </a:lnTo>
                  <a:lnTo>
                    <a:pt x="10" y="2"/>
                  </a:lnTo>
                  <a:lnTo>
                    <a:pt x="14" y="0"/>
                  </a:lnTo>
                  <a:lnTo>
                    <a:pt x="16" y="0"/>
                  </a:lnTo>
                  <a:lnTo>
                    <a:pt x="16" y="6"/>
                  </a:lnTo>
                  <a:lnTo>
                    <a:pt x="14" y="6"/>
                  </a:lnTo>
                  <a:lnTo>
                    <a:pt x="14" y="8"/>
                  </a:lnTo>
                  <a:lnTo>
                    <a:pt x="14" y="9"/>
                  </a:lnTo>
                  <a:lnTo>
                    <a:pt x="12" y="8"/>
                  </a:lnTo>
                  <a:lnTo>
                    <a:pt x="6" y="8"/>
                  </a:lnTo>
                  <a:lnTo>
                    <a:pt x="2" y="8"/>
                  </a:lnTo>
                  <a:lnTo>
                    <a:pt x="0" y="8"/>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08" name="Freeform 96"/>
            <p:cNvSpPr>
              <a:spLocks/>
            </p:cNvSpPr>
            <p:nvPr/>
          </p:nvSpPr>
          <p:spPr bwMode="auto">
            <a:xfrm>
              <a:off x="2360" y="3268"/>
              <a:ext cx="6" cy="10"/>
            </a:xfrm>
            <a:custGeom>
              <a:avLst/>
              <a:gdLst>
                <a:gd name="T0" fmla="*/ 0 w 6"/>
                <a:gd name="T1" fmla="*/ 4 h 10"/>
                <a:gd name="T2" fmla="*/ 2 w 6"/>
                <a:gd name="T3" fmla="*/ 6 h 10"/>
                <a:gd name="T4" fmla="*/ 2 w 6"/>
                <a:gd name="T5" fmla="*/ 10 h 10"/>
                <a:gd name="T6" fmla="*/ 4 w 6"/>
                <a:gd name="T7" fmla="*/ 10 h 10"/>
                <a:gd name="T8" fmla="*/ 6 w 6"/>
                <a:gd name="T9" fmla="*/ 10 h 10"/>
                <a:gd name="T10" fmla="*/ 6 w 6"/>
                <a:gd name="T11" fmla="*/ 2 h 10"/>
                <a:gd name="T12" fmla="*/ 4 w 6"/>
                <a:gd name="T13" fmla="*/ 0 h 10"/>
                <a:gd name="T14" fmla="*/ 2 w 6"/>
                <a:gd name="T15" fmla="*/ 0 h 10"/>
                <a:gd name="T16" fmla="*/ 0 w 6"/>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0" y="4"/>
                  </a:moveTo>
                  <a:lnTo>
                    <a:pt x="2" y="6"/>
                  </a:lnTo>
                  <a:lnTo>
                    <a:pt x="2" y="10"/>
                  </a:lnTo>
                  <a:lnTo>
                    <a:pt x="4" y="10"/>
                  </a:lnTo>
                  <a:lnTo>
                    <a:pt x="6" y="10"/>
                  </a:lnTo>
                  <a:lnTo>
                    <a:pt x="6" y="2"/>
                  </a:lnTo>
                  <a:lnTo>
                    <a:pt x="4" y="0"/>
                  </a:lnTo>
                  <a:lnTo>
                    <a:pt x="2" y="0"/>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09" name="Freeform 97"/>
            <p:cNvSpPr>
              <a:spLocks/>
            </p:cNvSpPr>
            <p:nvPr/>
          </p:nvSpPr>
          <p:spPr bwMode="auto">
            <a:xfrm>
              <a:off x="2619" y="3170"/>
              <a:ext cx="6" cy="4"/>
            </a:xfrm>
            <a:custGeom>
              <a:avLst/>
              <a:gdLst>
                <a:gd name="T0" fmla="*/ 0 w 6"/>
                <a:gd name="T1" fmla="*/ 0 h 4"/>
                <a:gd name="T2" fmla="*/ 2 w 6"/>
                <a:gd name="T3" fmla="*/ 0 h 4"/>
                <a:gd name="T4" fmla="*/ 4 w 6"/>
                <a:gd name="T5" fmla="*/ 0 h 4"/>
                <a:gd name="T6" fmla="*/ 6 w 6"/>
                <a:gd name="T7" fmla="*/ 0 h 4"/>
                <a:gd name="T8" fmla="*/ 6 w 6"/>
                <a:gd name="T9" fmla="*/ 4 h 4"/>
                <a:gd name="T10" fmla="*/ 4 w 6"/>
                <a:gd name="T11" fmla="*/ 4 h 4"/>
                <a:gd name="T12" fmla="*/ 2 w 6"/>
                <a:gd name="T13" fmla="*/ 4 h 4"/>
                <a:gd name="T14" fmla="*/ 0 w 6"/>
                <a:gd name="T15" fmla="*/ 2 h 4"/>
                <a:gd name="T16" fmla="*/ 0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0" y="0"/>
                  </a:moveTo>
                  <a:lnTo>
                    <a:pt x="2" y="0"/>
                  </a:lnTo>
                  <a:lnTo>
                    <a:pt x="4" y="0"/>
                  </a:lnTo>
                  <a:lnTo>
                    <a:pt x="6" y="0"/>
                  </a:lnTo>
                  <a:lnTo>
                    <a:pt x="6" y="4"/>
                  </a:lnTo>
                  <a:lnTo>
                    <a:pt x="4" y="4"/>
                  </a:lnTo>
                  <a:lnTo>
                    <a:pt x="2" y="4"/>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0" name="Freeform 98"/>
            <p:cNvSpPr>
              <a:spLocks/>
            </p:cNvSpPr>
            <p:nvPr/>
          </p:nvSpPr>
          <p:spPr bwMode="auto">
            <a:xfrm>
              <a:off x="2354" y="3262"/>
              <a:ext cx="4" cy="6"/>
            </a:xfrm>
            <a:custGeom>
              <a:avLst/>
              <a:gdLst>
                <a:gd name="T0" fmla="*/ 0 w 4"/>
                <a:gd name="T1" fmla="*/ 2 h 6"/>
                <a:gd name="T2" fmla="*/ 2 w 4"/>
                <a:gd name="T3" fmla="*/ 4 h 6"/>
                <a:gd name="T4" fmla="*/ 2 w 4"/>
                <a:gd name="T5" fmla="*/ 6 h 6"/>
                <a:gd name="T6" fmla="*/ 4 w 4"/>
                <a:gd name="T7" fmla="*/ 6 h 6"/>
                <a:gd name="T8" fmla="*/ 4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lnTo>
                    <a:pt x="2" y="4"/>
                  </a:lnTo>
                  <a:lnTo>
                    <a:pt x="2" y="6"/>
                  </a:lnTo>
                  <a:lnTo>
                    <a:pt x="4" y="6"/>
                  </a:lnTo>
                  <a:lnTo>
                    <a:pt x="4" y="0"/>
                  </a:lnTo>
                  <a:lnTo>
                    <a:pt x="2"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1" name="Freeform 99"/>
            <p:cNvSpPr>
              <a:spLocks/>
            </p:cNvSpPr>
            <p:nvPr/>
          </p:nvSpPr>
          <p:spPr bwMode="auto">
            <a:xfrm>
              <a:off x="2675" y="3310"/>
              <a:ext cx="4" cy="4"/>
            </a:xfrm>
            <a:custGeom>
              <a:avLst/>
              <a:gdLst>
                <a:gd name="T0" fmla="*/ 0 w 4"/>
                <a:gd name="T1" fmla="*/ 2 h 4"/>
                <a:gd name="T2" fmla="*/ 2 w 4"/>
                <a:gd name="T3" fmla="*/ 4 h 4"/>
                <a:gd name="T4" fmla="*/ 4 w 4"/>
                <a:gd name="T5" fmla="*/ 2 h 4"/>
                <a:gd name="T6" fmla="*/ 4 w 4"/>
                <a:gd name="T7" fmla="*/ 0 h 4"/>
                <a:gd name="T8" fmla="*/ 2 w 4"/>
                <a:gd name="T9" fmla="*/ 0 h 4"/>
                <a:gd name="T10" fmla="*/ 0 w 4"/>
                <a:gd name="T11" fmla="*/ 0 h 4"/>
                <a:gd name="T12" fmla="*/ 0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2"/>
                  </a:moveTo>
                  <a:lnTo>
                    <a:pt x="2" y="4"/>
                  </a:lnTo>
                  <a:lnTo>
                    <a:pt x="4" y="2"/>
                  </a:lnTo>
                  <a:lnTo>
                    <a:pt x="4" y="0"/>
                  </a:lnTo>
                  <a:lnTo>
                    <a:pt x="2" y="0"/>
                  </a:ln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2" name="Freeform 100"/>
            <p:cNvSpPr>
              <a:spLocks/>
            </p:cNvSpPr>
            <p:nvPr/>
          </p:nvSpPr>
          <p:spPr bwMode="auto">
            <a:xfrm>
              <a:off x="2669" y="3307"/>
              <a:ext cx="4" cy="3"/>
            </a:xfrm>
            <a:custGeom>
              <a:avLst/>
              <a:gdLst>
                <a:gd name="T0" fmla="*/ 0 w 4"/>
                <a:gd name="T1" fmla="*/ 0 h 3"/>
                <a:gd name="T2" fmla="*/ 2 w 4"/>
                <a:gd name="T3" fmla="*/ 0 h 3"/>
                <a:gd name="T4" fmla="*/ 4 w 4"/>
                <a:gd name="T5" fmla="*/ 0 h 3"/>
                <a:gd name="T6" fmla="*/ 4 w 4"/>
                <a:gd name="T7" fmla="*/ 3 h 3"/>
                <a:gd name="T8" fmla="*/ 2 w 4"/>
                <a:gd name="T9" fmla="*/ 1 h 3"/>
                <a:gd name="T10" fmla="*/ 0 w 4"/>
                <a:gd name="T11" fmla="*/ 1 h 3"/>
                <a:gd name="T12" fmla="*/ 0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0"/>
                  </a:moveTo>
                  <a:lnTo>
                    <a:pt x="2" y="0"/>
                  </a:lnTo>
                  <a:lnTo>
                    <a:pt x="4" y="0"/>
                  </a:lnTo>
                  <a:lnTo>
                    <a:pt x="4" y="3"/>
                  </a:lnTo>
                  <a:lnTo>
                    <a:pt x="2" y="1"/>
                  </a:lnTo>
                  <a:lnTo>
                    <a:pt x="0" y="1"/>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3" name="Freeform 101"/>
            <p:cNvSpPr>
              <a:spLocks/>
            </p:cNvSpPr>
            <p:nvPr/>
          </p:nvSpPr>
          <p:spPr bwMode="auto">
            <a:xfrm>
              <a:off x="2548" y="3351"/>
              <a:ext cx="4" cy="2"/>
            </a:xfrm>
            <a:custGeom>
              <a:avLst/>
              <a:gdLst>
                <a:gd name="T0" fmla="*/ 0 w 4"/>
                <a:gd name="T1" fmla="*/ 0 h 2"/>
                <a:gd name="T2" fmla="*/ 2 w 4"/>
                <a:gd name="T3" fmla="*/ 0 h 2"/>
                <a:gd name="T4" fmla="*/ 4 w 4"/>
                <a:gd name="T5" fmla="*/ 2 h 2"/>
                <a:gd name="T6" fmla="*/ 0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4" name="Freeform 102"/>
            <p:cNvSpPr>
              <a:spLocks/>
            </p:cNvSpPr>
            <p:nvPr/>
          </p:nvSpPr>
          <p:spPr bwMode="auto">
            <a:xfrm>
              <a:off x="2637" y="3180"/>
              <a:ext cx="3" cy="2"/>
            </a:xfrm>
            <a:custGeom>
              <a:avLst/>
              <a:gdLst>
                <a:gd name="T0" fmla="*/ 0 w 3"/>
                <a:gd name="T1" fmla="*/ 0 h 2"/>
                <a:gd name="T2" fmla="*/ 2 w 3"/>
                <a:gd name="T3" fmla="*/ 2 h 2"/>
                <a:gd name="T4" fmla="*/ 3 w 3"/>
                <a:gd name="T5" fmla="*/ 2 h 2"/>
                <a:gd name="T6" fmla="*/ 3 w 3"/>
                <a:gd name="T7" fmla="*/ 0 h 2"/>
                <a:gd name="T8" fmla="*/ 2 w 3"/>
                <a:gd name="T9" fmla="*/ 0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0" y="0"/>
                  </a:moveTo>
                  <a:lnTo>
                    <a:pt x="2" y="2"/>
                  </a:lnTo>
                  <a:lnTo>
                    <a:pt x="3" y="2"/>
                  </a:lnTo>
                  <a:lnTo>
                    <a:pt x="3" y="0"/>
                  </a:ln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5" name="Freeform 103"/>
            <p:cNvSpPr>
              <a:spLocks/>
            </p:cNvSpPr>
            <p:nvPr/>
          </p:nvSpPr>
          <p:spPr bwMode="auto">
            <a:xfrm>
              <a:off x="2677" y="3316"/>
              <a:ext cx="4" cy="4"/>
            </a:xfrm>
            <a:custGeom>
              <a:avLst/>
              <a:gdLst>
                <a:gd name="T0" fmla="*/ 0 w 4"/>
                <a:gd name="T1" fmla="*/ 2 h 4"/>
                <a:gd name="T2" fmla="*/ 2 w 4"/>
                <a:gd name="T3" fmla="*/ 2 h 4"/>
                <a:gd name="T4" fmla="*/ 2 w 4"/>
                <a:gd name="T5" fmla="*/ 4 h 4"/>
                <a:gd name="T6" fmla="*/ 4 w 4"/>
                <a:gd name="T7" fmla="*/ 2 h 4"/>
                <a:gd name="T8" fmla="*/ 2 w 4"/>
                <a:gd name="T9" fmla="*/ 0 h 4"/>
                <a:gd name="T10" fmla="*/ 0 w 4"/>
                <a:gd name="T11" fmla="*/ 0 h 4"/>
                <a:gd name="T12" fmla="*/ 0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2"/>
                  </a:moveTo>
                  <a:lnTo>
                    <a:pt x="2" y="2"/>
                  </a:lnTo>
                  <a:lnTo>
                    <a:pt x="2" y="4"/>
                  </a:lnTo>
                  <a:lnTo>
                    <a:pt x="4" y="2"/>
                  </a:lnTo>
                  <a:lnTo>
                    <a:pt x="2" y="0"/>
                  </a:ln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6" name="Freeform 104"/>
            <p:cNvSpPr>
              <a:spLocks/>
            </p:cNvSpPr>
            <p:nvPr/>
          </p:nvSpPr>
          <p:spPr bwMode="auto">
            <a:xfrm>
              <a:off x="2689" y="3289"/>
              <a:ext cx="1" cy="4"/>
            </a:xfrm>
            <a:custGeom>
              <a:avLst/>
              <a:gdLst>
                <a:gd name="T0" fmla="*/ 0 w 1"/>
                <a:gd name="T1" fmla="*/ 2 h 4"/>
                <a:gd name="T2" fmla="*/ 0 w 1"/>
                <a:gd name="T3" fmla="*/ 0 h 4"/>
                <a:gd name="T4" fmla="*/ 1 w 1"/>
                <a:gd name="T5" fmla="*/ 0 h 4"/>
                <a:gd name="T6" fmla="*/ 1 w 1"/>
                <a:gd name="T7" fmla="*/ 2 h 4"/>
                <a:gd name="T8" fmla="*/ 0 w 1"/>
                <a:gd name="T9" fmla="*/ 4 h 4"/>
                <a:gd name="T10" fmla="*/ 0 w 1"/>
                <a:gd name="T11" fmla="*/ 2 h 4"/>
              </a:gdLst>
              <a:ahLst/>
              <a:cxnLst>
                <a:cxn ang="0">
                  <a:pos x="T0" y="T1"/>
                </a:cxn>
                <a:cxn ang="0">
                  <a:pos x="T2" y="T3"/>
                </a:cxn>
                <a:cxn ang="0">
                  <a:pos x="T4" y="T5"/>
                </a:cxn>
                <a:cxn ang="0">
                  <a:pos x="T6" y="T7"/>
                </a:cxn>
                <a:cxn ang="0">
                  <a:pos x="T8" y="T9"/>
                </a:cxn>
                <a:cxn ang="0">
                  <a:pos x="T10" y="T11"/>
                </a:cxn>
              </a:cxnLst>
              <a:rect l="0" t="0" r="r" b="b"/>
              <a:pathLst>
                <a:path w="1" h="4">
                  <a:moveTo>
                    <a:pt x="0" y="2"/>
                  </a:moveTo>
                  <a:lnTo>
                    <a:pt x="0" y="0"/>
                  </a:lnTo>
                  <a:lnTo>
                    <a:pt x="1" y="0"/>
                  </a:lnTo>
                  <a:lnTo>
                    <a:pt x="1" y="2"/>
                  </a:lnTo>
                  <a:lnTo>
                    <a:pt x="0"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7" name="Freeform 105"/>
            <p:cNvSpPr>
              <a:spLocks/>
            </p:cNvSpPr>
            <p:nvPr/>
          </p:nvSpPr>
          <p:spPr bwMode="auto">
            <a:xfrm>
              <a:off x="2706" y="2638"/>
              <a:ext cx="273" cy="196"/>
            </a:xfrm>
            <a:custGeom>
              <a:avLst/>
              <a:gdLst>
                <a:gd name="T0" fmla="*/ 17 w 273"/>
                <a:gd name="T1" fmla="*/ 92 h 196"/>
                <a:gd name="T2" fmla="*/ 13 w 273"/>
                <a:gd name="T3" fmla="*/ 94 h 196"/>
                <a:gd name="T4" fmla="*/ 13 w 273"/>
                <a:gd name="T5" fmla="*/ 96 h 196"/>
                <a:gd name="T6" fmla="*/ 15 w 273"/>
                <a:gd name="T7" fmla="*/ 100 h 196"/>
                <a:gd name="T8" fmla="*/ 13 w 273"/>
                <a:gd name="T9" fmla="*/ 104 h 196"/>
                <a:gd name="T10" fmla="*/ 13 w 273"/>
                <a:gd name="T11" fmla="*/ 107 h 196"/>
                <a:gd name="T12" fmla="*/ 17 w 273"/>
                <a:gd name="T13" fmla="*/ 111 h 196"/>
                <a:gd name="T14" fmla="*/ 15 w 273"/>
                <a:gd name="T15" fmla="*/ 115 h 196"/>
                <a:gd name="T16" fmla="*/ 15 w 273"/>
                <a:gd name="T17" fmla="*/ 117 h 196"/>
                <a:gd name="T18" fmla="*/ 13 w 273"/>
                <a:gd name="T19" fmla="*/ 119 h 196"/>
                <a:gd name="T20" fmla="*/ 8 w 273"/>
                <a:gd name="T21" fmla="*/ 121 h 196"/>
                <a:gd name="T22" fmla="*/ 4 w 273"/>
                <a:gd name="T23" fmla="*/ 125 h 196"/>
                <a:gd name="T24" fmla="*/ 9 w 273"/>
                <a:gd name="T25" fmla="*/ 129 h 196"/>
                <a:gd name="T26" fmla="*/ 13 w 273"/>
                <a:gd name="T27" fmla="*/ 142 h 196"/>
                <a:gd name="T28" fmla="*/ 34 w 273"/>
                <a:gd name="T29" fmla="*/ 163 h 196"/>
                <a:gd name="T30" fmla="*/ 65 w 273"/>
                <a:gd name="T31" fmla="*/ 184 h 196"/>
                <a:gd name="T32" fmla="*/ 90 w 273"/>
                <a:gd name="T33" fmla="*/ 194 h 196"/>
                <a:gd name="T34" fmla="*/ 117 w 273"/>
                <a:gd name="T35" fmla="*/ 184 h 196"/>
                <a:gd name="T36" fmla="*/ 132 w 273"/>
                <a:gd name="T37" fmla="*/ 177 h 196"/>
                <a:gd name="T38" fmla="*/ 148 w 273"/>
                <a:gd name="T39" fmla="*/ 163 h 196"/>
                <a:gd name="T40" fmla="*/ 177 w 273"/>
                <a:gd name="T41" fmla="*/ 165 h 196"/>
                <a:gd name="T42" fmla="*/ 192 w 273"/>
                <a:gd name="T43" fmla="*/ 161 h 196"/>
                <a:gd name="T44" fmla="*/ 209 w 273"/>
                <a:gd name="T45" fmla="*/ 154 h 196"/>
                <a:gd name="T46" fmla="*/ 217 w 273"/>
                <a:gd name="T47" fmla="*/ 134 h 196"/>
                <a:gd name="T48" fmla="*/ 225 w 273"/>
                <a:gd name="T49" fmla="*/ 113 h 196"/>
                <a:gd name="T50" fmla="*/ 230 w 273"/>
                <a:gd name="T51" fmla="*/ 100 h 196"/>
                <a:gd name="T52" fmla="*/ 240 w 273"/>
                <a:gd name="T53" fmla="*/ 75 h 196"/>
                <a:gd name="T54" fmla="*/ 250 w 273"/>
                <a:gd name="T55" fmla="*/ 50 h 196"/>
                <a:gd name="T56" fmla="*/ 273 w 273"/>
                <a:gd name="T57" fmla="*/ 33 h 196"/>
                <a:gd name="T58" fmla="*/ 261 w 273"/>
                <a:gd name="T59" fmla="*/ 25 h 196"/>
                <a:gd name="T60" fmla="*/ 244 w 273"/>
                <a:gd name="T61" fmla="*/ 9 h 196"/>
                <a:gd name="T62" fmla="*/ 225 w 273"/>
                <a:gd name="T63" fmla="*/ 13 h 196"/>
                <a:gd name="T64" fmla="*/ 204 w 273"/>
                <a:gd name="T65" fmla="*/ 2 h 196"/>
                <a:gd name="T66" fmla="*/ 184 w 273"/>
                <a:gd name="T67" fmla="*/ 2 h 196"/>
                <a:gd name="T68" fmla="*/ 167 w 273"/>
                <a:gd name="T69" fmla="*/ 23 h 196"/>
                <a:gd name="T70" fmla="*/ 157 w 273"/>
                <a:gd name="T71" fmla="*/ 33 h 196"/>
                <a:gd name="T72" fmla="*/ 132 w 273"/>
                <a:gd name="T73" fmla="*/ 40 h 196"/>
                <a:gd name="T74" fmla="*/ 104 w 273"/>
                <a:gd name="T75" fmla="*/ 50 h 196"/>
                <a:gd name="T76" fmla="*/ 102 w 273"/>
                <a:gd name="T77" fmla="*/ 63 h 196"/>
                <a:gd name="T78" fmla="*/ 46 w 273"/>
                <a:gd name="T79" fmla="*/ 52 h 196"/>
                <a:gd name="T80" fmla="*/ 36 w 273"/>
                <a:gd name="T81" fmla="*/ 54 h 196"/>
                <a:gd name="T82" fmla="*/ 36 w 273"/>
                <a:gd name="T83" fmla="*/ 59 h 196"/>
                <a:gd name="T84" fmla="*/ 34 w 273"/>
                <a:gd name="T85" fmla="*/ 61 h 196"/>
                <a:gd name="T86" fmla="*/ 36 w 273"/>
                <a:gd name="T87" fmla="*/ 65 h 196"/>
                <a:gd name="T88" fmla="*/ 36 w 273"/>
                <a:gd name="T89" fmla="*/ 71 h 196"/>
                <a:gd name="T90" fmla="*/ 27 w 273"/>
                <a:gd name="T91" fmla="*/ 73 h 196"/>
                <a:gd name="T92" fmla="*/ 19 w 273"/>
                <a:gd name="T93" fmla="*/ 71 h 196"/>
                <a:gd name="T94" fmla="*/ 15 w 273"/>
                <a:gd name="T95" fmla="*/ 71 h 196"/>
                <a:gd name="T96" fmla="*/ 11 w 273"/>
                <a:gd name="T97" fmla="*/ 75 h 196"/>
                <a:gd name="T98" fmla="*/ 11 w 273"/>
                <a:gd name="T99" fmla="*/ 77 h 196"/>
                <a:gd name="T100" fmla="*/ 19 w 273"/>
                <a:gd name="T101" fmla="*/ 79 h 196"/>
                <a:gd name="T102" fmla="*/ 23 w 273"/>
                <a:gd name="T103" fmla="*/ 83 h 196"/>
                <a:gd name="T104" fmla="*/ 21 w 273"/>
                <a:gd name="T105" fmla="*/ 8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3" h="196">
                  <a:moveTo>
                    <a:pt x="21" y="88"/>
                  </a:moveTo>
                  <a:lnTo>
                    <a:pt x="19" y="90"/>
                  </a:lnTo>
                  <a:lnTo>
                    <a:pt x="17" y="90"/>
                  </a:lnTo>
                  <a:lnTo>
                    <a:pt x="17" y="92"/>
                  </a:lnTo>
                  <a:lnTo>
                    <a:pt x="15" y="92"/>
                  </a:lnTo>
                  <a:lnTo>
                    <a:pt x="15" y="94"/>
                  </a:lnTo>
                  <a:lnTo>
                    <a:pt x="15" y="92"/>
                  </a:lnTo>
                  <a:lnTo>
                    <a:pt x="13" y="94"/>
                  </a:lnTo>
                  <a:lnTo>
                    <a:pt x="13" y="92"/>
                  </a:lnTo>
                  <a:lnTo>
                    <a:pt x="11" y="92"/>
                  </a:lnTo>
                  <a:lnTo>
                    <a:pt x="13" y="94"/>
                  </a:lnTo>
                  <a:lnTo>
                    <a:pt x="13" y="96"/>
                  </a:lnTo>
                  <a:lnTo>
                    <a:pt x="11" y="96"/>
                  </a:lnTo>
                  <a:lnTo>
                    <a:pt x="13" y="96"/>
                  </a:lnTo>
                  <a:lnTo>
                    <a:pt x="13" y="98"/>
                  </a:lnTo>
                  <a:lnTo>
                    <a:pt x="15" y="100"/>
                  </a:lnTo>
                  <a:lnTo>
                    <a:pt x="13" y="102"/>
                  </a:lnTo>
                  <a:lnTo>
                    <a:pt x="11" y="102"/>
                  </a:lnTo>
                  <a:lnTo>
                    <a:pt x="11" y="104"/>
                  </a:lnTo>
                  <a:lnTo>
                    <a:pt x="13" y="104"/>
                  </a:lnTo>
                  <a:lnTo>
                    <a:pt x="13" y="106"/>
                  </a:lnTo>
                  <a:lnTo>
                    <a:pt x="11" y="106"/>
                  </a:lnTo>
                  <a:lnTo>
                    <a:pt x="11" y="107"/>
                  </a:lnTo>
                  <a:lnTo>
                    <a:pt x="13" y="107"/>
                  </a:lnTo>
                  <a:lnTo>
                    <a:pt x="13" y="109"/>
                  </a:lnTo>
                  <a:lnTo>
                    <a:pt x="15" y="109"/>
                  </a:lnTo>
                  <a:lnTo>
                    <a:pt x="17" y="109"/>
                  </a:lnTo>
                  <a:lnTo>
                    <a:pt x="17" y="111"/>
                  </a:lnTo>
                  <a:lnTo>
                    <a:pt x="15" y="111"/>
                  </a:lnTo>
                  <a:lnTo>
                    <a:pt x="13" y="113"/>
                  </a:lnTo>
                  <a:lnTo>
                    <a:pt x="15" y="113"/>
                  </a:lnTo>
                  <a:lnTo>
                    <a:pt x="15" y="115"/>
                  </a:lnTo>
                  <a:lnTo>
                    <a:pt x="17" y="115"/>
                  </a:lnTo>
                  <a:lnTo>
                    <a:pt x="15" y="115"/>
                  </a:lnTo>
                  <a:lnTo>
                    <a:pt x="13" y="117"/>
                  </a:lnTo>
                  <a:lnTo>
                    <a:pt x="15" y="117"/>
                  </a:lnTo>
                  <a:lnTo>
                    <a:pt x="15" y="119"/>
                  </a:lnTo>
                  <a:lnTo>
                    <a:pt x="17" y="119"/>
                  </a:lnTo>
                  <a:lnTo>
                    <a:pt x="15" y="119"/>
                  </a:lnTo>
                  <a:lnTo>
                    <a:pt x="13" y="119"/>
                  </a:lnTo>
                  <a:lnTo>
                    <a:pt x="11" y="119"/>
                  </a:lnTo>
                  <a:lnTo>
                    <a:pt x="9" y="119"/>
                  </a:lnTo>
                  <a:lnTo>
                    <a:pt x="8" y="119"/>
                  </a:lnTo>
                  <a:lnTo>
                    <a:pt x="8" y="121"/>
                  </a:lnTo>
                  <a:lnTo>
                    <a:pt x="6" y="121"/>
                  </a:lnTo>
                  <a:lnTo>
                    <a:pt x="6" y="123"/>
                  </a:lnTo>
                  <a:lnTo>
                    <a:pt x="4" y="123"/>
                  </a:lnTo>
                  <a:lnTo>
                    <a:pt x="4" y="125"/>
                  </a:lnTo>
                  <a:lnTo>
                    <a:pt x="2" y="125"/>
                  </a:lnTo>
                  <a:lnTo>
                    <a:pt x="2" y="129"/>
                  </a:lnTo>
                  <a:lnTo>
                    <a:pt x="0" y="129"/>
                  </a:lnTo>
                  <a:lnTo>
                    <a:pt x="9" y="129"/>
                  </a:lnTo>
                  <a:lnTo>
                    <a:pt x="9" y="132"/>
                  </a:lnTo>
                  <a:lnTo>
                    <a:pt x="11" y="136"/>
                  </a:lnTo>
                  <a:lnTo>
                    <a:pt x="13" y="138"/>
                  </a:lnTo>
                  <a:lnTo>
                    <a:pt x="13" y="142"/>
                  </a:lnTo>
                  <a:lnTo>
                    <a:pt x="23" y="154"/>
                  </a:lnTo>
                  <a:lnTo>
                    <a:pt x="29" y="159"/>
                  </a:lnTo>
                  <a:lnTo>
                    <a:pt x="32" y="157"/>
                  </a:lnTo>
                  <a:lnTo>
                    <a:pt x="34" y="163"/>
                  </a:lnTo>
                  <a:lnTo>
                    <a:pt x="36" y="167"/>
                  </a:lnTo>
                  <a:lnTo>
                    <a:pt x="46" y="171"/>
                  </a:lnTo>
                  <a:lnTo>
                    <a:pt x="56" y="184"/>
                  </a:lnTo>
                  <a:lnTo>
                    <a:pt x="65" y="184"/>
                  </a:lnTo>
                  <a:lnTo>
                    <a:pt x="69" y="190"/>
                  </a:lnTo>
                  <a:lnTo>
                    <a:pt x="77" y="192"/>
                  </a:lnTo>
                  <a:lnTo>
                    <a:pt x="79" y="196"/>
                  </a:lnTo>
                  <a:lnTo>
                    <a:pt x="90" y="194"/>
                  </a:lnTo>
                  <a:lnTo>
                    <a:pt x="102" y="196"/>
                  </a:lnTo>
                  <a:lnTo>
                    <a:pt x="107" y="190"/>
                  </a:lnTo>
                  <a:lnTo>
                    <a:pt x="111" y="182"/>
                  </a:lnTo>
                  <a:lnTo>
                    <a:pt x="117" y="184"/>
                  </a:lnTo>
                  <a:lnTo>
                    <a:pt x="117" y="182"/>
                  </a:lnTo>
                  <a:lnTo>
                    <a:pt x="125" y="180"/>
                  </a:lnTo>
                  <a:lnTo>
                    <a:pt x="129" y="175"/>
                  </a:lnTo>
                  <a:lnTo>
                    <a:pt x="132" y="177"/>
                  </a:lnTo>
                  <a:lnTo>
                    <a:pt x="136" y="177"/>
                  </a:lnTo>
                  <a:lnTo>
                    <a:pt x="138" y="175"/>
                  </a:lnTo>
                  <a:lnTo>
                    <a:pt x="144" y="169"/>
                  </a:lnTo>
                  <a:lnTo>
                    <a:pt x="148" y="163"/>
                  </a:lnTo>
                  <a:lnTo>
                    <a:pt x="154" y="163"/>
                  </a:lnTo>
                  <a:lnTo>
                    <a:pt x="157" y="165"/>
                  </a:lnTo>
                  <a:lnTo>
                    <a:pt x="171" y="161"/>
                  </a:lnTo>
                  <a:lnTo>
                    <a:pt x="177" y="165"/>
                  </a:lnTo>
                  <a:lnTo>
                    <a:pt x="180" y="161"/>
                  </a:lnTo>
                  <a:lnTo>
                    <a:pt x="186" y="161"/>
                  </a:lnTo>
                  <a:lnTo>
                    <a:pt x="186" y="159"/>
                  </a:lnTo>
                  <a:lnTo>
                    <a:pt x="192" y="161"/>
                  </a:lnTo>
                  <a:lnTo>
                    <a:pt x="196" y="157"/>
                  </a:lnTo>
                  <a:lnTo>
                    <a:pt x="200" y="152"/>
                  </a:lnTo>
                  <a:lnTo>
                    <a:pt x="205" y="152"/>
                  </a:lnTo>
                  <a:lnTo>
                    <a:pt x="209" y="154"/>
                  </a:lnTo>
                  <a:lnTo>
                    <a:pt x="215" y="148"/>
                  </a:lnTo>
                  <a:lnTo>
                    <a:pt x="215" y="142"/>
                  </a:lnTo>
                  <a:lnTo>
                    <a:pt x="219" y="140"/>
                  </a:lnTo>
                  <a:lnTo>
                    <a:pt x="217" y="134"/>
                  </a:lnTo>
                  <a:lnTo>
                    <a:pt x="219" y="127"/>
                  </a:lnTo>
                  <a:lnTo>
                    <a:pt x="221" y="127"/>
                  </a:lnTo>
                  <a:lnTo>
                    <a:pt x="225" y="123"/>
                  </a:lnTo>
                  <a:lnTo>
                    <a:pt x="225" y="113"/>
                  </a:lnTo>
                  <a:lnTo>
                    <a:pt x="229" y="109"/>
                  </a:lnTo>
                  <a:lnTo>
                    <a:pt x="229" y="106"/>
                  </a:lnTo>
                  <a:lnTo>
                    <a:pt x="230" y="104"/>
                  </a:lnTo>
                  <a:lnTo>
                    <a:pt x="230" y="100"/>
                  </a:lnTo>
                  <a:lnTo>
                    <a:pt x="229" y="100"/>
                  </a:lnTo>
                  <a:lnTo>
                    <a:pt x="236" y="88"/>
                  </a:lnTo>
                  <a:lnTo>
                    <a:pt x="238" y="77"/>
                  </a:lnTo>
                  <a:lnTo>
                    <a:pt x="240" y="75"/>
                  </a:lnTo>
                  <a:lnTo>
                    <a:pt x="240" y="65"/>
                  </a:lnTo>
                  <a:lnTo>
                    <a:pt x="244" y="61"/>
                  </a:lnTo>
                  <a:lnTo>
                    <a:pt x="246" y="59"/>
                  </a:lnTo>
                  <a:lnTo>
                    <a:pt x="250" y="50"/>
                  </a:lnTo>
                  <a:lnTo>
                    <a:pt x="255" y="50"/>
                  </a:lnTo>
                  <a:lnTo>
                    <a:pt x="255" y="46"/>
                  </a:lnTo>
                  <a:lnTo>
                    <a:pt x="265" y="46"/>
                  </a:lnTo>
                  <a:lnTo>
                    <a:pt x="273" y="33"/>
                  </a:lnTo>
                  <a:lnTo>
                    <a:pt x="271" y="31"/>
                  </a:lnTo>
                  <a:lnTo>
                    <a:pt x="271" y="27"/>
                  </a:lnTo>
                  <a:lnTo>
                    <a:pt x="267" y="23"/>
                  </a:lnTo>
                  <a:lnTo>
                    <a:pt x="261" y="25"/>
                  </a:lnTo>
                  <a:lnTo>
                    <a:pt x="253" y="15"/>
                  </a:lnTo>
                  <a:lnTo>
                    <a:pt x="250" y="17"/>
                  </a:lnTo>
                  <a:lnTo>
                    <a:pt x="246" y="9"/>
                  </a:lnTo>
                  <a:lnTo>
                    <a:pt x="244" y="9"/>
                  </a:lnTo>
                  <a:lnTo>
                    <a:pt x="244" y="8"/>
                  </a:lnTo>
                  <a:lnTo>
                    <a:pt x="240" y="8"/>
                  </a:lnTo>
                  <a:lnTo>
                    <a:pt x="236" y="9"/>
                  </a:lnTo>
                  <a:lnTo>
                    <a:pt x="225" y="13"/>
                  </a:lnTo>
                  <a:lnTo>
                    <a:pt x="221" y="13"/>
                  </a:lnTo>
                  <a:lnTo>
                    <a:pt x="217" y="4"/>
                  </a:lnTo>
                  <a:lnTo>
                    <a:pt x="209" y="0"/>
                  </a:lnTo>
                  <a:lnTo>
                    <a:pt x="204" y="2"/>
                  </a:lnTo>
                  <a:lnTo>
                    <a:pt x="204" y="6"/>
                  </a:lnTo>
                  <a:lnTo>
                    <a:pt x="202" y="4"/>
                  </a:lnTo>
                  <a:lnTo>
                    <a:pt x="196" y="8"/>
                  </a:lnTo>
                  <a:lnTo>
                    <a:pt x="184" y="2"/>
                  </a:lnTo>
                  <a:lnTo>
                    <a:pt x="180" y="4"/>
                  </a:lnTo>
                  <a:lnTo>
                    <a:pt x="171" y="6"/>
                  </a:lnTo>
                  <a:lnTo>
                    <a:pt x="171" y="9"/>
                  </a:lnTo>
                  <a:lnTo>
                    <a:pt x="167" y="23"/>
                  </a:lnTo>
                  <a:lnTo>
                    <a:pt x="165" y="25"/>
                  </a:lnTo>
                  <a:lnTo>
                    <a:pt x="163" y="25"/>
                  </a:lnTo>
                  <a:lnTo>
                    <a:pt x="161" y="27"/>
                  </a:lnTo>
                  <a:lnTo>
                    <a:pt x="157" y="33"/>
                  </a:lnTo>
                  <a:lnTo>
                    <a:pt x="150" y="34"/>
                  </a:lnTo>
                  <a:lnTo>
                    <a:pt x="138" y="29"/>
                  </a:lnTo>
                  <a:lnTo>
                    <a:pt x="134" y="33"/>
                  </a:lnTo>
                  <a:lnTo>
                    <a:pt x="132" y="40"/>
                  </a:lnTo>
                  <a:lnTo>
                    <a:pt x="123" y="42"/>
                  </a:lnTo>
                  <a:lnTo>
                    <a:pt x="113" y="42"/>
                  </a:lnTo>
                  <a:lnTo>
                    <a:pt x="107" y="44"/>
                  </a:lnTo>
                  <a:lnTo>
                    <a:pt x="104" y="50"/>
                  </a:lnTo>
                  <a:lnTo>
                    <a:pt x="106" y="56"/>
                  </a:lnTo>
                  <a:lnTo>
                    <a:pt x="109" y="59"/>
                  </a:lnTo>
                  <a:lnTo>
                    <a:pt x="106" y="59"/>
                  </a:lnTo>
                  <a:lnTo>
                    <a:pt x="102" y="63"/>
                  </a:lnTo>
                  <a:lnTo>
                    <a:pt x="71" y="67"/>
                  </a:lnTo>
                  <a:lnTo>
                    <a:pt x="65" y="67"/>
                  </a:lnTo>
                  <a:lnTo>
                    <a:pt x="57" y="63"/>
                  </a:lnTo>
                  <a:lnTo>
                    <a:pt x="46" y="52"/>
                  </a:lnTo>
                  <a:lnTo>
                    <a:pt x="40" y="52"/>
                  </a:lnTo>
                  <a:lnTo>
                    <a:pt x="38" y="52"/>
                  </a:lnTo>
                  <a:lnTo>
                    <a:pt x="40" y="52"/>
                  </a:lnTo>
                  <a:lnTo>
                    <a:pt x="36" y="54"/>
                  </a:lnTo>
                  <a:lnTo>
                    <a:pt x="38" y="56"/>
                  </a:lnTo>
                  <a:lnTo>
                    <a:pt x="36" y="58"/>
                  </a:lnTo>
                  <a:lnTo>
                    <a:pt x="38" y="58"/>
                  </a:lnTo>
                  <a:lnTo>
                    <a:pt x="36" y="59"/>
                  </a:lnTo>
                  <a:lnTo>
                    <a:pt x="38" y="59"/>
                  </a:lnTo>
                  <a:lnTo>
                    <a:pt x="36" y="61"/>
                  </a:lnTo>
                  <a:lnTo>
                    <a:pt x="36" y="59"/>
                  </a:lnTo>
                  <a:lnTo>
                    <a:pt x="34" y="61"/>
                  </a:lnTo>
                  <a:lnTo>
                    <a:pt x="36" y="63"/>
                  </a:lnTo>
                  <a:lnTo>
                    <a:pt x="34" y="63"/>
                  </a:lnTo>
                  <a:lnTo>
                    <a:pt x="36" y="63"/>
                  </a:lnTo>
                  <a:lnTo>
                    <a:pt x="36" y="65"/>
                  </a:lnTo>
                  <a:lnTo>
                    <a:pt x="36" y="67"/>
                  </a:lnTo>
                  <a:lnTo>
                    <a:pt x="36" y="71"/>
                  </a:lnTo>
                  <a:lnTo>
                    <a:pt x="38" y="71"/>
                  </a:lnTo>
                  <a:lnTo>
                    <a:pt x="36" y="71"/>
                  </a:lnTo>
                  <a:lnTo>
                    <a:pt x="32" y="73"/>
                  </a:lnTo>
                  <a:lnTo>
                    <a:pt x="29" y="73"/>
                  </a:lnTo>
                  <a:lnTo>
                    <a:pt x="29" y="71"/>
                  </a:lnTo>
                  <a:lnTo>
                    <a:pt x="27" y="73"/>
                  </a:lnTo>
                  <a:lnTo>
                    <a:pt x="23" y="75"/>
                  </a:lnTo>
                  <a:lnTo>
                    <a:pt x="23" y="73"/>
                  </a:lnTo>
                  <a:lnTo>
                    <a:pt x="23" y="71"/>
                  </a:lnTo>
                  <a:lnTo>
                    <a:pt x="19" y="71"/>
                  </a:lnTo>
                  <a:lnTo>
                    <a:pt x="19" y="69"/>
                  </a:lnTo>
                  <a:lnTo>
                    <a:pt x="17" y="69"/>
                  </a:lnTo>
                  <a:lnTo>
                    <a:pt x="15" y="69"/>
                  </a:lnTo>
                  <a:lnTo>
                    <a:pt x="15" y="71"/>
                  </a:lnTo>
                  <a:lnTo>
                    <a:pt x="15" y="73"/>
                  </a:lnTo>
                  <a:lnTo>
                    <a:pt x="13" y="73"/>
                  </a:lnTo>
                  <a:lnTo>
                    <a:pt x="13" y="75"/>
                  </a:lnTo>
                  <a:lnTo>
                    <a:pt x="11" y="75"/>
                  </a:lnTo>
                  <a:lnTo>
                    <a:pt x="11" y="73"/>
                  </a:lnTo>
                  <a:lnTo>
                    <a:pt x="11" y="75"/>
                  </a:lnTo>
                  <a:lnTo>
                    <a:pt x="9" y="75"/>
                  </a:lnTo>
                  <a:lnTo>
                    <a:pt x="11" y="77"/>
                  </a:lnTo>
                  <a:lnTo>
                    <a:pt x="13" y="77"/>
                  </a:lnTo>
                  <a:lnTo>
                    <a:pt x="17" y="79"/>
                  </a:lnTo>
                  <a:lnTo>
                    <a:pt x="19" y="77"/>
                  </a:lnTo>
                  <a:lnTo>
                    <a:pt x="19" y="79"/>
                  </a:lnTo>
                  <a:lnTo>
                    <a:pt x="21" y="79"/>
                  </a:lnTo>
                  <a:lnTo>
                    <a:pt x="21" y="81"/>
                  </a:lnTo>
                  <a:lnTo>
                    <a:pt x="21" y="83"/>
                  </a:lnTo>
                  <a:lnTo>
                    <a:pt x="23" y="83"/>
                  </a:lnTo>
                  <a:lnTo>
                    <a:pt x="23" y="84"/>
                  </a:lnTo>
                  <a:lnTo>
                    <a:pt x="21" y="84"/>
                  </a:lnTo>
                  <a:lnTo>
                    <a:pt x="21" y="86"/>
                  </a:lnTo>
                  <a:lnTo>
                    <a:pt x="21" y="84"/>
                  </a:lnTo>
                  <a:lnTo>
                    <a:pt x="21" y="86"/>
                  </a:lnTo>
                  <a:lnTo>
                    <a:pt x="21" y="8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8" name="Freeform 106"/>
            <p:cNvSpPr>
              <a:spLocks/>
            </p:cNvSpPr>
            <p:nvPr/>
          </p:nvSpPr>
          <p:spPr bwMode="auto">
            <a:xfrm>
              <a:off x="2731" y="2578"/>
              <a:ext cx="225" cy="127"/>
            </a:xfrm>
            <a:custGeom>
              <a:avLst/>
              <a:gdLst>
                <a:gd name="T0" fmla="*/ 98 w 225"/>
                <a:gd name="T1" fmla="*/ 102 h 127"/>
                <a:gd name="T2" fmla="*/ 109 w 225"/>
                <a:gd name="T3" fmla="*/ 93 h 127"/>
                <a:gd name="T4" fmla="*/ 125 w 225"/>
                <a:gd name="T5" fmla="*/ 94 h 127"/>
                <a:gd name="T6" fmla="*/ 136 w 225"/>
                <a:gd name="T7" fmla="*/ 87 h 127"/>
                <a:gd name="T8" fmla="*/ 140 w 225"/>
                <a:gd name="T9" fmla="*/ 85 h 127"/>
                <a:gd name="T10" fmla="*/ 146 w 225"/>
                <a:gd name="T11" fmla="*/ 69 h 127"/>
                <a:gd name="T12" fmla="*/ 155 w 225"/>
                <a:gd name="T13" fmla="*/ 64 h 127"/>
                <a:gd name="T14" fmla="*/ 171 w 225"/>
                <a:gd name="T15" fmla="*/ 68 h 127"/>
                <a:gd name="T16" fmla="*/ 179 w 225"/>
                <a:gd name="T17" fmla="*/ 66 h 127"/>
                <a:gd name="T18" fmla="*/ 184 w 225"/>
                <a:gd name="T19" fmla="*/ 60 h 127"/>
                <a:gd name="T20" fmla="*/ 196 w 225"/>
                <a:gd name="T21" fmla="*/ 73 h 127"/>
                <a:gd name="T22" fmla="*/ 211 w 225"/>
                <a:gd name="T23" fmla="*/ 69 h 127"/>
                <a:gd name="T24" fmla="*/ 213 w 225"/>
                <a:gd name="T25" fmla="*/ 56 h 127"/>
                <a:gd name="T26" fmla="*/ 219 w 225"/>
                <a:gd name="T27" fmla="*/ 37 h 127"/>
                <a:gd name="T28" fmla="*/ 225 w 225"/>
                <a:gd name="T29" fmla="*/ 27 h 127"/>
                <a:gd name="T30" fmla="*/ 204 w 225"/>
                <a:gd name="T31" fmla="*/ 16 h 127"/>
                <a:gd name="T32" fmla="*/ 194 w 225"/>
                <a:gd name="T33" fmla="*/ 6 h 127"/>
                <a:gd name="T34" fmla="*/ 184 w 225"/>
                <a:gd name="T35" fmla="*/ 4 h 127"/>
                <a:gd name="T36" fmla="*/ 171 w 225"/>
                <a:gd name="T37" fmla="*/ 4 h 127"/>
                <a:gd name="T38" fmla="*/ 163 w 225"/>
                <a:gd name="T39" fmla="*/ 6 h 127"/>
                <a:gd name="T40" fmla="*/ 157 w 225"/>
                <a:gd name="T41" fmla="*/ 16 h 127"/>
                <a:gd name="T42" fmla="*/ 144 w 225"/>
                <a:gd name="T43" fmla="*/ 12 h 127"/>
                <a:gd name="T44" fmla="*/ 136 w 225"/>
                <a:gd name="T45" fmla="*/ 12 h 127"/>
                <a:gd name="T46" fmla="*/ 134 w 225"/>
                <a:gd name="T47" fmla="*/ 16 h 127"/>
                <a:gd name="T48" fmla="*/ 127 w 225"/>
                <a:gd name="T49" fmla="*/ 27 h 127"/>
                <a:gd name="T50" fmla="*/ 115 w 225"/>
                <a:gd name="T51" fmla="*/ 25 h 127"/>
                <a:gd name="T52" fmla="*/ 113 w 225"/>
                <a:gd name="T53" fmla="*/ 12 h 127"/>
                <a:gd name="T54" fmla="*/ 107 w 225"/>
                <a:gd name="T55" fmla="*/ 10 h 127"/>
                <a:gd name="T56" fmla="*/ 102 w 225"/>
                <a:gd name="T57" fmla="*/ 2 h 127"/>
                <a:gd name="T58" fmla="*/ 96 w 225"/>
                <a:gd name="T59" fmla="*/ 6 h 127"/>
                <a:gd name="T60" fmla="*/ 88 w 225"/>
                <a:gd name="T61" fmla="*/ 16 h 127"/>
                <a:gd name="T62" fmla="*/ 81 w 225"/>
                <a:gd name="T63" fmla="*/ 10 h 127"/>
                <a:gd name="T64" fmla="*/ 71 w 225"/>
                <a:gd name="T65" fmla="*/ 12 h 127"/>
                <a:gd name="T66" fmla="*/ 57 w 225"/>
                <a:gd name="T67" fmla="*/ 18 h 127"/>
                <a:gd name="T68" fmla="*/ 50 w 225"/>
                <a:gd name="T69" fmla="*/ 25 h 127"/>
                <a:gd name="T70" fmla="*/ 44 w 225"/>
                <a:gd name="T71" fmla="*/ 43 h 127"/>
                <a:gd name="T72" fmla="*/ 40 w 225"/>
                <a:gd name="T73" fmla="*/ 50 h 127"/>
                <a:gd name="T74" fmla="*/ 32 w 225"/>
                <a:gd name="T75" fmla="*/ 56 h 127"/>
                <a:gd name="T76" fmla="*/ 23 w 225"/>
                <a:gd name="T77" fmla="*/ 56 h 127"/>
                <a:gd name="T78" fmla="*/ 11 w 225"/>
                <a:gd name="T79" fmla="*/ 56 h 127"/>
                <a:gd name="T80" fmla="*/ 2 w 225"/>
                <a:gd name="T81" fmla="*/ 71 h 127"/>
                <a:gd name="T82" fmla="*/ 4 w 225"/>
                <a:gd name="T83" fmla="*/ 75 h 127"/>
                <a:gd name="T84" fmla="*/ 4 w 225"/>
                <a:gd name="T85" fmla="*/ 79 h 127"/>
                <a:gd name="T86" fmla="*/ 2 w 225"/>
                <a:gd name="T87" fmla="*/ 81 h 127"/>
                <a:gd name="T88" fmla="*/ 0 w 225"/>
                <a:gd name="T89" fmla="*/ 85 h 127"/>
                <a:gd name="T90" fmla="*/ 0 w 225"/>
                <a:gd name="T91" fmla="*/ 89 h 127"/>
                <a:gd name="T92" fmla="*/ 2 w 225"/>
                <a:gd name="T93" fmla="*/ 91 h 127"/>
                <a:gd name="T94" fmla="*/ 2 w 225"/>
                <a:gd name="T95" fmla="*/ 93 h 127"/>
                <a:gd name="T96" fmla="*/ 6 w 225"/>
                <a:gd name="T97" fmla="*/ 96 h 127"/>
                <a:gd name="T98" fmla="*/ 6 w 225"/>
                <a:gd name="T99" fmla="*/ 100 h 127"/>
                <a:gd name="T100" fmla="*/ 7 w 225"/>
                <a:gd name="T101" fmla="*/ 102 h 127"/>
                <a:gd name="T102" fmla="*/ 11 w 225"/>
                <a:gd name="T103" fmla="*/ 104 h 127"/>
                <a:gd name="T104" fmla="*/ 11 w 225"/>
                <a:gd name="T105" fmla="*/ 106 h 127"/>
                <a:gd name="T106" fmla="*/ 11 w 225"/>
                <a:gd name="T107" fmla="*/ 108 h 127"/>
                <a:gd name="T108" fmla="*/ 11 w 225"/>
                <a:gd name="T109" fmla="*/ 110 h 127"/>
                <a:gd name="T110" fmla="*/ 11 w 225"/>
                <a:gd name="T111" fmla="*/ 110 h 127"/>
                <a:gd name="T112" fmla="*/ 11 w 225"/>
                <a:gd name="T113" fmla="*/ 110 h 127"/>
                <a:gd name="T114" fmla="*/ 15 w 225"/>
                <a:gd name="T115" fmla="*/ 112 h 127"/>
                <a:gd name="T116" fmla="*/ 32 w 225"/>
                <a:gd name="T117" fmla="*/ 123 h 127"/>
                <a:gd name="T118" fmla="*/ 46 w 225"/>
                <a:gd name="T119" fmla="*/ 127 h 127"/>
                <a:gd name="T120" fmla="*/ 81 w 225"/>
                <a:gd name="T121" fmla="*/ 119 h 127"/>
                <a:gd name="T122" fmla="*/ 81 w 225"/>
                <a:gd name="T123" fmla="*/ 116 h 127"/>
                <a:gd name="T124" fmla="*/ 82 w 225"/>
                <a:gd name="T125" fmla="*/ 10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5" h="127">
                  <a:moveTo>
                    <a:pt x="88" y="102"/>
                  </a:moveTo>
                  <a:lnTo>
                    <a:pt x="98" y="102"/>
                  </a:lnTo>
                  <a:lnTo>
                    <a:pt x="107" y="100"/>
                  </a:lnTo>
                  <a:lnTo>
                    <a:pt x="109" y="93"/>
                  </a:lnTo>
                  <a:lnTo>
                    <a:pt x="113" y="89"/>
                  </a:lnTo>
                  <a:lnTo>
                    <a:pt x="125" y="94"/>
                  </a:lnTo>
                  <a:lnTo>
                    <a:pt x="132" y="93"/>
                  </a:lnTo>
                  <a:lnTo>
                    <a:pt x="136" y="87"/>
                  </a:lnTo>
                  <a:lnTo>
                    <a:pt x="138" y="85"/>
                  </a:lnTo>
                  <a:lnTo>
                    <a:pt x="140" y="85"/>
                  </a:lnTo>
                  <a:lnTo>
                    <a:pt x="142" y="83"/>
                  </a:lnTo>
                  <a:lnTo>
                    <a:pt x="146" y="69"/>
                  </a:lnTo>
                  <a:lnTo>
                    <a:pt x="146" y="66"/>
                  </a:lnTo>
                  <a:lnTo>
                    <a:pt x="155" y="64"/>
                  </a:lnTo>
                  <a:lnTo>
                    <a:pt x="159" y="62"/>
                  </a:lnTo>
                  <a:lnTo>
                    <a:pt x="171" y="68"/>
                  </a:lnTo>
                  <a:lnTo>
                    <a:pt x="177" y="64"/>
                  </a:lnTo>
                  <a:lnTo>
                    <a:pt x="179" y="66"/>
                  </a:lnTo>
                  <a:lnTo>
                    <a:pt x="179" y="62"/>
                  </a:lnTo>
                  <a:lnTo>
                    <a:pt x="184" y="60"/>
                  </a:lnTo>
                  <a:lnTo>
                    <a:pt x="192" y="64"/>
                  </a:lnTo>
                  <a:lnTo>
                    <a:pt x="196" y="73"/>
                  </a:lnTo>
                  <a:lnTo>
                    <a:pt x="200" y="73"/>
                  </a:lnTo>
                  <a:lnTo>
                    <a:pt x="211" y="69"/>
                  </a:lnTo>
                  <a:lnTo>
                    <a:pt x="215" y="68"/>
                  </a:lnTo>
                  <a:lnTo>
                    <a:pt x="213" y="56"/>
                  </a:lnTo>
                  <a:lnTo>
                    <a:pt x="219" y="48"/>
                  </a:lnTo>
                  <a:lnTo>
                    <a:pt x="219" y="37"/>
                  </a:lnTo>
                  <a:lnTo>
                    <a:pt x="223" y="29"/>
                  </a:lnTo>
                  <a:lnTo>
                    <a:pt x="225" y="27"/>
                  </a:lnTo>
                  <a:lnTo>
                    <a:pt x="225" y="21"/>
                  </a:lnTo>
                  <a:lnTo>
                    <a:pt x="204" y="16"/>
                  </a:lnTo>
                  <a:lnTo>
                    <a:pt x="200" y="8"/>
                  </a:lnTo>
                  <a:lnTo>
                    <a:pt x="194" y="6"/>
                  </a:lnTo>
                  <a:lnTo>
                    <a:pt x="192" y="8"/>
                  </a:lnTo>
                  <a:lnTo>
                    <a:pt x="184" y="4"/>
                  </a:lnTo>
                  <a:lnTo>
                    <a:pt x="177" y="4"/>
                  </a:lnTo>
                  <a:lnTo>
                    <a:pt x="171" y="4"/>
                  </a:lnTo>
                  <a:lnTo>
                    <a:pt x="169" y="8"/>
                  </a:lnTo>
                  <a:lnTo>
                    <a:pt x="163" y="6"/>
                  </a:lnTo>
                  <a:lnTo>
                    <a:pt x="165" y="10"/>
                  </a:lnTo>
                  <a:lnTo>
                    <a:pt x="157" y="16"/>
                  </a:lnTo>
                  <a:lnTo>
                    <a:pt x="148" y="8"/>
                  </a:lnTo>
                  <a:lnTo>
                    <a:pt x="144" y="12"/>
                  </a:lnTo>
                  <a:lnTo>
                    <a:pt x="138" y="10"/>
                  </a:lnTo>
                  <a:lnTo>
                    <a:pt x="136" y="12"/>
                  </a:lnTo>
                  <a:lnTo>
                    <a:pt x="134" y="12"/>
                  </a:lnTo>
                  <a:lnTo>
                    <a:pt x="134" y="16"/>
                  </a:lnTo>
                  <a:lnTo>
                    <a:pt x="127" y="18"/>
                  </a:lnTo>
                  <a:lnTo>
                    <a:pt x="127" y="27"/>
                  </a:lnTo>
                  <a:lnTo>
                    <a:pt x="121" y="23"/>
                  </a:lnTo>
                  <a:lnTo>
                    <a:pt x="115" y="25"/>
                  </a:lnTo>
                  <a:lnTo>
                    <a:pt x="115" y="21"/>
                  </a:lnTo>
                  <a:lnTo>
                    <a:pt x="113" y="12"/>
                  </a:lnTo>
                  <a:lnTo>
                    <a:pt x="107" y="14"/>
                  </a:lnTo>
                  <a:lnTo>
                    <a:pt x="107" y="10"/>
                  </a:lnTo>
                  <a:lnTo>
                    <a:pt x="104" y="10"/>
                  </a:lnTo>
                  <a:lnTo>
                    <a:pt x="102" y="2"/>
                  </a:lnTo>
                  <a:lnTo>
                    <a:pt x="98" y="0"/>
                  </a:lnTo>
                  <a:lnTo>
                    <a:pt x="96" y="6"/>
                  </a:lnTo>
                  <a:lnTo>
                    <a:pt x="92" y="6"/>
                  </a:lnTo>
                  <a:lnTo>
                    <a:pt x="88" y="16"/>
                  </a:lnTo>
                  <a:lnTo>
                    <a:pt x="81" y="16"/>
                  </a:lnTo>
                  <a:lnTo>
                    <a:pt x="81" y="10"/>
                  </a:lnTo>
                  <a:lnTo>
                    <a:pt x="75" y="8"/>
                  </a:lnTo>
                  <a:lnTo>
                    <a:pt x="71" y="12"/>
                  </a:lnTo>
                  <a:lnTo>
                    <a:pt x="63" y="12"/>
                  </a:lnTo>
                  <a:lnTo>
                    <a:pt x="57" y="18"/>
                  </a:lnTo>
                  <a:lnTo>
                    <a:pt x="57" y="23"/>
                  </a:lnTo>
                  <a:lnTo>
                    <a:pt x="50" y="25"/>
                  </a:lnTo>
                  <a:lnTo>
                    <a:pt x="46" y="43"/>
                  </a:lnTo>
                  <a:lnTo>
                    <a:pt x="44" y="43"/>
                  </a:lnTo>
                  <a:lnTo>
                    <a:pt x="40" y="45"/>
                  </a:lnTo>
                  <a:lnTo>
                    <a:pt x="40" y="50"/>
                  </a:lnTo>
                  <a:lnTo>
                    <a:pt x="36" y="50"/>
                  </a:lnTo>
                  <a:lnTo>
                    <a:pt x="32" y="56"/>
                  </a:lnTo>
                  <a:lnTo>
                    <a:pt x="25" y="58"/>
                  </a:lnTo>
                  <a:lnTo>
                    <a:pt x="23" y="56"/>
                  </a:lnTo>
                  <a:lnTo>
                    <a:pt x="21" y="58"/>
                  </a:lnTo>
                  <a:lnTo>
                    <a:pt x="11" y="56"/>
                  </a:lnTo>
                  <a:lnTo>
                    <a:pt x="6" y="62"/>
                  </a:lnTo>
                  <a:lnTo>
                    <a:pt x="2" y="71"/>
                  </a:lnTo>
                  <a:lnTo>
                    <a:pt x="4" y="73"/>
                  </a:lnTo>
                  <a:lnTo>
                    <a:pt x="4" y="75"/>
                  </a:lnTo>
                  <a:lnTo>
                    <a:pt x="4" y="77"/>
                  </a:lnTo>
                  <a:lnTo>
                    <a:pt x="4" y="79"/>
                  </a:lnTo>
                  <a:lnTo>
                    <a:pt x="2" y="79"/>
                  </a:lnTo>
                  <a:lnTo>
                    <a:pt x="2" y="81"/>
                  </a:lnTo>
                  <a:lnTo>
                    <a:pt x="0" y="83"/>
                  </a:lnTo>
                  <a:lnTo>
                    <a:pt x="0" y="85"/>
                  </a:lnTo>
                  <a:lnTo>
                    <a:pt x="0" y="87"/>
                  </a:lnTo>
                  <a:lnTo>
                    <a:pt x="0" y="89"/>
                  </a:lnTo>
                  <a:lnTo>
                    <a:pt x="0" y="91"/>
                  </a:lnTo>
                  <a:lnTo>
                    <a:pt x="2" y="91"/>
                  </a:lnTo>
                  <a:lnTo>
                    <a:pt x="4" y="93"/>
                  </a:lnTo>
                  <a:lnTo>
                    <a:pt x="2" y="93"/>
                  </a:lnTo>
                  <a:lnTo>
                    <a:pt x="4" y="94"/>
                  </a:lnTo>
                  <a:lnTo>
                    <a:pt x="6" y="96"/>
                  </a:lnTo>
                  <a:lnTo>
                    <a:pt x="6" y="98"/>
                  </a:lnTo>
                  <a:lnTo>
                    <a:pt x="6" y="100"/>
                  </a:lnTo>
                  <a:lnTo>
                    <a:pt x="6" y="102"/>
                  </a:lnTo>
                  <a:lnTo>
                    <a:pt x="7" y="102"/>
                  </a:lnTo>
                  <a:lnTo>
                    <a:pt x="9" y="104"/>
                  </a:lnTo>
                  <a:lnTo>
                    <a:pt x="11" y="104"/>
                  </a:lnTo>
                  <a:lnTo>
                    <a:pt x="9" y="106"/>
                  </a:lnTo>
                  <a:lnTo>
                    <a:pt x="11" y="106"/>
                  </a:lnTo>
                  <a:lnTo>
                    <a:pt x="9" y="108"/>
                  </a:lnTo>
                  <a:lnTo>
                    <a:pt x="11" y="108"/>
                  </a:lnTo>
                  <a:lnTo>
                    <a:pt x="9" y="108"/>
                  </a:lnTo>
                  <a:lnTo>
                    <a:pt x="11" y="110"/>
                  </a:lnTo>
                  <a:lnTo>
                    <a:pt x="9" y="110"/>
                  </a:lnTo>
                  <a:lnTo>
                    <a:pt x="11" y="110"/>
                  </a:lnTo>
                  <a:lnTo>
                    <a:pt x="11" y="112"/>
                  </a:lnTo>
                  <a:lnTo>
                    <a:pt x="11" y="110"/>
                  </a:lnTo>
                  <a:lnTo>
                    <a:pt x="13" y="112"/>
                  </a:lnTo>
                  <a:lnTo>
                    <a:pt x="15" y="112"/>
                  </a:lnTo>
                  <a:lnTo>
                    <a:pt x="21" y="112"/>
                  </a:lnTo>
                  <a:lnTo>
                    <a:pt x="32" y="123"/>
                  </a:lnTo>
                  <a:lnTo>
                    <a:pt x="40" y="127"/>
                  </a:lnTo>
                  <a:lnTo>
                    <a:pt x="46" y="127"/>
                  </a:lnTo>
                  <a:lnTo>
                    <a:pt x="77" y="123"/>
                  </a:lnTo>
                  <a:lnTo>
                    <a:pt x="81" y="119"/>
                  </a:lnTo>
                  <a:lnTo>
                    <a:pt x="84" y="119"/>
                  </a:lnTo>
                  <a:lnTo>
                    <a:pt x="81" y="116"/>
                  </a:lnTo>
                  <a:lnTo>
                    <a:pt x="79" y="110"/>
                  </a:lnTo>
                  <a:lnTo>
                    <a:pt x="82" y="104"/>
                  </a:lnTo>
                  <a:lnTo>
                    <a:pt x="88" y="10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19" name="Freeform 107"/>
            <p:cNvSpPr>
              <a:spLocks/>
            </p:cNvSpPr>
            <p:nvPr/>
          </p:nvSpPr>
          <p:spPr bwMode="auto">
            <a:xfrm>
              <a:off x="2539" y="2496"/>
              <a:ext cx="267" cy="163"/>
            </a:xfrm>
            <a:custGeom>
              <a:avLst/>
              <a:gdLst>
                <a:gd name="T0" fmla="*/ 27 w 267"/>
                <a:gd name="T1" fmla="*/ 42 h 163"/>
                <a:gd name="T2" fmla="*/ 17 w 267"/>
                <a:gd name="T3" fmla="*/ 44 h 163"/>
                <a:gd name="T4" fmla="*/ 11 w 267"/>
                <a:gd name="T5" fmla="*/ 50 h 163"/>
                <a:gd name="T6" fmla="*/ 9 w 267"/>
                <a:gd name="T7" fmla="*/ 59 h 163"/>
                <a:gd name="T8" fmla="*/ 5 w 267"/>
                <a:gd name="T9" fmla="*/ 53 h 163"/>
                <a:gd name="T10" fmla="*/ 2 w 267"/>
                <a:gd name="T11" fmla="*/ 52 h 163"/>
                <a:gd name="T12" fmla="*/ 2 w 267"/>
                <a:gd name="T13" fmla="*/ 55 h 163"/>
                <a:gd name="T14" fmla="*/ 5 w 267"/>
                <a:gd name="T15" fmla="*/ 65 h 163"/>
                <a:gd name="T16" fmla="*/ 15 w 267"/>
                <a:gd name="T17" fmla="*/ 75 h 163"/>
                <a:gd name="T18" fmla="*/ 15 w 267"/>
                <a:gd name="T19" fmla="*/ 84 h 163"/>
                <a:gd name="T20" fmla="*/ 19 w 267"/>
                <a:gd name="T21" fmla="*/ 96 h 163"/>
                <a:gd name="T22" fmla="*/ 27 w 267"/>
                <a:gd name="T23" fmla="*/ 111 h 163"/>
                <a:gd name="T24" fmla="*/ 36 w 267"/>
                <a:gd name="T25" fmla="*/ 117 h 163"/>
                <a:gd name="T26" fmla="*/ 44 w 267"/>
                <a:gd name="T27" fmla="*/ 128 h 163"/>
                <a:gd name="T28" fmla="*/ 55 w 267"/>
                <a:gd name="T29" fmla="*/ 138 h 163"/>
                <a:gd name="T30" fmla="*/ 65 w 267"/>
                <a:gd name="T31" fmla="*/ 142 h 163"/>
                <a:gd name="T32" fmla="*/ 73 w 267"/>
                <a:gd name="T33" fmla="*/ 151 h 163"/>
                <a:gd name="T34" fmla="*/ 77 w 267"/>
                <a:gd name="T35" fmla="*/ 155 h 163"/>
                <a:gd name="T36" fmla="*/ 78 w 267"/>
                <a:gd name="T37" fmla="*/ 161 h 163"/>
                <a:gd name="T38" fmla="*/ 88 w 267"/>
                <a:gd name="T39" fmla="*/ 161 h 163"/>
                <a:gd name="T40" fmla="*/ 92 w 267"/>
                <a:gd name="T41" fmla="*/ 161 h 163"/>
                <a:gd name="T42" fmla="*/ 96 w 267"/>
                <a:gd name="T43" fmla="*/ 157 h 163"/>
                <a:gd name="T44" fmla="*/ 101 w 267"/>
                <a:gd name="T45" fmla="*/ 159 h 163"/>
                <a:gd name="T46" fmla="*/ 109 w 267"/>
                <a:gd name="T47" fmla="*/ 163 h 163"/>
                <a:gd name="T48" fmla="*/ 136 w 267"/>
                <a:gd name="T49" fmla="*/ 138 h 163"/>
                <a:gd name="T50" fmla="*/ 148 w 267"/>
                <a:gd name="T51" fmla="*/ 140 h 163"/>
                <a:gd name="T52" fmla="*/ 151 w 267"/>
                <a:gd name="T53" fmla="*/ 142 h 163"/>
                <a:gd name="T54" fmla="*/ 157 w 267"/>
                <a:gd name="T55" fmla="*/ 146 h 163"/>
                <a:gd name="T56" fmla="*/ 167 w 267"/>
                <a:gd name="T57" fmla="*/ 148 h 163"/>
                <a:gd name="T58" fmla="*/ 173 w 267"/>
                <a:gd name="T59" fmla="*/ 150 h 163"/>
                <a:gd name="T60" fmla="*/ 178 w 267"/>
                <a:gd name="T61" fmla="*/ 144 h 163"/>
                <a:gd name="T62" fmla="*/ 182 w 267"/>
                <a:gd name="T63" fmla="*/ 144 h 163"/>
                <a:gd name="T64" fmla="*/ 188 w 267"/>
                <a:gd name="T65" fmla="*/ 148 h 163"/>
                <a:gd name="T66" fmla="*/ 192 w 267"/>
                <a:gd name="T67" fmla="*/ 150 h 163"/>
                <a:gd name="T68" fmla="*/ 194 w 267"/>
                <a:gd name="T69" fmla="*/ 153 h 163"/>
                <a:gd name="T70" fmla="*/ 215 w 267"/>
                <a:gd name="T71" fmla="*/ 138 h 163"/>
                <a:gd name="T72" fmla="*/ 232 w 267"/>
                <a:gd name="T73" fmla="*/ 127 h 163"/>
                <a:gd name="T74" fmla="*/ 249 w 267"/>
                <a:gd name="T75" fmla="*/ 100 h 163"/>
                <a:gd name="T76" fmla="*/ 257 w 267"/>
                <a:gd name="T77" fmla="*/ 78 h 163"/>
                <a:gd name="T78" fmla="*/ 232 w 267"/>
                <a:gd name="T79" fmla="*/ 59 h 163"/>
                <a:gd name="T80" fmla="*/ 217 w 267"/>
                <a:gd name="T81" fmla="*/ 55 h 163"/>
                <a:gd name="T82" fmla="*/ 209 w 267"/>
                <a:gd name="T83" fmla="*/ 48 h 163"/>
                <a:gd name="T84" fmla="*/ 186 w 267"/>
                <a:gd name="T85" fmla="*/ 52 h 163"/>
                <a:gd name="T86" fmla="*/ 165 w 267"/>
                <a:gd name="T87" fmla="*/ 42 h 163"/>
                <a:gd name="T88" fmla="*/ 163 w 267"/>
                <a:gd name="T89" fmla="*/ 23 h 163"/>
                <a:gd name="T90" fmla="*/ 150 w 267"/>
                <a:gd name="T91" fmla="*/ 23 h 163"/>
                <a:gd name="T92" fmla="*/ 126 w 267"/>
                <a:gd name="T93" fmla="*/ 17 h 163"/>
                <a:gd name="T94" fmla="*/ 113 w 267"/>
                <a:gd name="T95" fmla="*/ 5 h 163"/>
                <a:gd name="T96" fmla="*/ 103 w 267"/>
                <a:gd name="T97" fmla="*/ 13 h 163"/>
                <a:gd name="T98" fmla="*/ 98 w 267"/>
                <a:gd name="T99" fmla="*/ 13 h 163"/>
                <a:gd name="T100" fmla="*/ 96 w 267"/>
                <a:gd name="T101" fmla="*/ 5 h 163"/>
                <a:gd name="T102" fmla="*/ 84 w 267"/>
                <a:gd name="T103" fmla="*/ 2 h 163"/>
                <a:gd name="T104" fmla="*/ 84 w 267"/>
                <a:gd name="T105" fmla="*/ 5 h 163"/>
                <a:gd name="T106" fmla="*/ 86 w 267"/>
                <a:gd name="T107" fmla="*/ 11 h 163"/>
                <a:gd name="T108" fmla="*/ 75 w 267"/>
                <a:gd name="T109" fmla="*/ 15 h 163"/>
                <a:gd name="T110" fmla="*/ 69 w 267"/>
                <a:gd name="T111" fmla="*/ 23 h 163"/>
                <a:gd name="T112" fmla="*/ 57 w 267"/>
                <a:gd name="T113" fmla="*/ 25 h 163"/>
                <a:gd name="T114" fmla="*/ 50 w 267"/>
                <a:gd name="T115" fmla="*/ 29 h 163"/>
                <a:gd name="T116" fmla="*/ 40 w 267"/>
                <a:gd name="T117" fmla="*/ 38 h 163"/>
                <a:gd name="T118" fmla="*/ 34 w 267"/>
                <a:gd name="T119" fmla="*/ 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7" h="163">
                  <a:moveTo>
                    <a:pt x="32" y="44"/>
                  </a:moveTo>
                  <a:lnTo>
                    <a:pt x="30" y="44"/>
                  </a:lnTo>
                  <a:lnTo>
                    <a:pt x="28" y="42"/>
                  </a:lnTo>
                  <a:lnTo>
                    <a:pt x="28" y="40"/>
                  </a:lnTo>
                  <a:lnTo>
                    <a:pt x="27" y="42"/>
                  </a:lnTo>
                  <a:lnTo>
                    <a:pt x="25" y="42"/>
                  </a:lnTo>
                  <a:lnTo>
                    <a:pt x="23" y="44"/>
                  </a:lnTo>
                  <a:lnTo>
                    <a:pt x="21" y="44"/>
                  </a:lnTo>
                  <a:lnTo>
                    <a:pt x="19" y="44"/>
                  </a:lnTo>
                  <a:lnTo>
                    <a:pt x="17" y="44"/>
                  </a:lnTo>
                  <a:lnTo>
                    <a:pt x="15" y="46"/>
                  </a:lnTo>
                  <a:lnTo>
                    <a:pt x="15" y="48"/>
                  </a:lnTo>
                  <a:lnTo>
                    <a:pt x="13" y="48"/>
                  </a:lnTo>
                  <a:lnTo>
                    <a:pt x="13" y="50"/>
                  </a:lnTo>
                  <a:lnTo>
                    <a:pt x="11" y="50"/>
                  </a:lnTo>
                  <a:lnTo>
                    <a:pt x="11" y="52"/>
                  </a:lnTo>
                  <a:lnTo>
                    <a:pt x="9" y="53"/>
                  </a:lnTo>
                  <a:lnTo>
                    <a:pt x="9" y="55"/>
                  </a:lnTo>
                  <a:lnTo>
                    <a:pt x="9" y="57"/>
                  </a:lnTo>
                  <a:lnTo>
                    <a:pt x="9" y="59"/>
                  </a:lnTo>
                  <a:lnTo>
                    <a:pt x="7" y="59"/>
                  </a:lnTo>
                  <a:lnTo>
                    <a:pt x="7" y="57"/>
                  </a:lnTo>
                  <a:lnTo>
                    <a:pt x="5" y="57"/>
                  </a:lnTo>
                  <a:lnTo>
                    <a:pt x="5" y="55"/>
                  </a:lnTo>
                  <a:lnTo>
                    <a:pt x="5" y="53"/>
                  </a:lnTo>
                  <a:lnTo>
                    <a:pt x="3" y="53"/>
                  </a:lnTo>
                  <a:lnTo>
                    <a:pt x="3" y="52"/>
                  </a:lnTo>
                  <a:lnTo>
                    <a:pt x="3" y="50"/>
                  </a:lnTo>
                  <a:lnTo>
                    <a:pt x="2" y="50"/>
                  </a:lnTo>
                  <a:lnTo>
                    <a:pt x="2" y="52"/>
                  </a:lnTo>
                  <a:lnTo>
                    <a:pt x="0" y="50"/>
                  </a:lnTo>
                  <a:lnTo>
                    <a:pt x="2" y="53"/>
                  </a:lnTo>
                  <a:lnTo>
                    <a:pt x="0" y="53"/>
                  </a:lnTo>
                  <a:lnTo>
                    <a:pt x="0" y="55"/>
                  </a:lnTo>
                  <a:lnTo>
                    <a:pt x="2" y="55"/>
                  </a:lnTo>
                  <a:lnTo>
                    <a:pt x="3" y="55"/>
                  </a:lnTo>
                  <a:lnTo>
                    <a:pt x="3" y="59"/>
                  </a:lnTo>
                  <a:lnTo>
                    <a:pt x="3" y="61"/>
                  </a:lnTo>
                  <a:lnTo>
                    <a:pt x="3" y="63"/>
                  </a:lnTo>
                  <a:lnTo>
                    <a:pt x="5" y="65"/>
                  </a:lnTo>
                  <a:lnTo>
                    <a:pt x="7" y="65"/>
                  </a:lnTo>
                  <a:lnTo>
                    <a:pt x="9" y="69"/>
                  </a:lnTo>
                  <a:lnTo>
                    <a:pt x="11" y="71"/>
                  </a:lnTo>
                  <a:lnTo>
                    <a:pt x="15" y="73"/>
                  </a:lnTo>
                  <a:lnTo>
                    <a:pt x="15" y="75"/>
                  </a:lnTo>
                  <a:lnTo>
                    <a:pt x="17" y="77"/>
                  </a:lnTo>
                  <a:lnTo>
                    <a:pt x="17" y="78"/>
                  </a:lnTo>
                  <a:lnTo>
                    <a:pt x="17" y="80"/>
                  </a:lnTo>
                  <a:lnTo>
                    <a:pt x="15" y="80"/>
                  </a:lnTo>
                  <a:lnTo>
                    <a:pt x="15" y="84"/>
                  </a:lnTo>
                  <a:lnTo>
                    <a:pt x="11" y="86"/>
                  </a:lnTo>
                  <a:lnTo>
                    <a:pt x="13" y="90"/>
                  </a:lnTo>
                  <a:lnTo>
                    <a:pt x="17" y="90"/>
                  </a:lnTo>
                  <a:lnTo>
                    <a:pt x="17" y="94"/>
                  </a:lnTo>
                  <a:lnTo>
                    <a:pt x="19" y="96"/>
                  </a:lnTo>
                  <a:lnTo>
                    <a:pt x="21" y="100"/>
                  </a:lnTo>
                  <a:lnTo>
                    <a:pt x="21" y="102"/>
                  </a:lnTo>
                  <a:lnTo>
                    <a:pt x="21" y="103"/>
                  </a:lnTo>
                  <a:lnTo>
                    <a:pt x="23" y="107"/>
                  </a:lnTo>
                  <a:lnTo>
                    <a:pt x="27" y="111"/>
                  </a:lnTo>
                  <a:lnTo>
                    <a:pt x="27" y="113"/>
                  </a:lnTo>
                  <a:lnTo>
                    <a:pt x="30" y="115"/>
                  </a:lnTo>
                  <a:lnTo>
                    <a:pt x="30" y="113"/>
                  </a:lnTo>
                  <a:lnTo>
                    <a:pt x="34" y="113"/>
                  </a:lnTo>
                  <a:lnTo>
                    <a:pt x="36" y="117"/>
                  </a:lnTo>
                  <a:lnTo>
                    <a:pt x="38" y="119"/>
                  </a:lnTo>
                  <a:lnTo>
                    <a:pt x="40" y="123"/>
                  </a:lnTo>
                  <a:lnTo>
                    <a:pt x="44" y="125"/>
                  </a:lnTo>
                  <a:lnTo>
                    <a:pt x="42" y="127"/>
                  </a:lnTo>
                  <a:lnTo>
                    <a:pt x="44" y="128"/>
                  </a:lnTo>
                  <a:lnTo>
                    <a:pt x="48" y="127"/>
                  </a:lnTo>
                  <a:lnTo>
                    <a:pt x="50" y="128"/>
                  </a:lnTo>
                  <a:lnTo>
                    <a:pt x="52" y="132"/>
                  </a:lnTo>
                  <a:lnTo>
                    <a:pt x="52" y="136"/>
                  </a:lnTo>
                  <a:lnTo>
                    <a:pt x="55" y="138"/>
                  </a:lnTo>
                  <a:lnTo>
                    <a:pt x="57" y="136"/>
                  </a:lnTo>
                  <a:lnTo>
                    <a:pt x="59" y="138"/>
                  </a:lnTo>
                  <a:lnTo>
                    <a:pt x="61" y="140"/>
                  </a:lnTo>
                  <a:lnTo>
                    <a:pt x="63" y="142"/>
                  </a:lnTo>
                  <a:lnTo>
                    <a:pt x="65" y="142"/>
                  </a:lnTo>
                  <a:lnTo>
                    <a:pt x="67" y="146"/>
                  </a:lnTo>
                  <a:lnTo>
                    <a:pt x="69" y="148"/>
                  </a:lnTo>
                  <a:lnTo>
                    <a:pt x="69" y="150"/>
                  </a:lnTo>
                  <a:lnTo>
                    <a:pt x="71" y="150"/>
                  </a:lnTo>
                  <a:lnTo>
                    <a:pt x="73" y="151"/>
                  </a:lnTo>
                  <a:lnTo>
                    <a:pt x="75" y="153"/>
                  </a:lnTo>
                  <a:lnTo>
                    <a:pt x="77" y="153"/>
                  </a:lnTo>
                  <a:lnTo>
                    <a:pt x="77" y="155"/>
                  </a:lnTo>
                  <a:lnTo>
                    <a:pt x="78" y="155"/>
                  </a:lnTo>
                  <a:lnTo>
                    <a:pt x="77" y="155"/>
                  </a:lnTo>
                  <a:lnTo>
                    <a:pt x="78" y="155"/>
                  </a:lnTo>
                  <a:lnTo>
                    <a:pt x="78" y="157"/>
                  </a:lnTo>
                  <a:lnTo>
                    <a:pt x="77" y="157"/>
                  </a:lnTo>
                  <a:lnTo>
                    <a:pt x="78" y="159"/>
                  </a:lnTo>
                  <a:lnTo>
                    <a:pt x="78" y="161"/>
                  </a:lnTo>
                  <a:lnTo>
                    <a:pt x="80" y="161"/>
                  </a:lnTo>
                  <a:lnTo>
                    <a:pt x="82" y="161"/>
                  </a:lnTo>
                  <a:lnTo>
                    <a:pt x="84" y="161"/>
                  </a:lnTo>
                  <a:lnTo>
                    <a:pt x="86" y="161"/>
                  </a:lnTo>
                  <a:lnTo>
                    <a:pt x="88" y="161"/>
                  </a:lnTo>
                  <a:lnTo>
                    <a:pt x="88" y="163"/>
                  </a:lnTo>
                  <a:lnTo>
                    <a:pt x="90" y="163"/>
                  </a:lnTo>
                  <a:lnTo>
                    <a:pt x="92" y="161"/>
                  </a:lnTo>
                  <a:lnTo>
                    <a:pt x="92" y="163"/>
                  </a:lnTo>
                  <a:lnTo>
                    <a:pt x="92" y="161"/>
                  </a:lnTo>
                  <a:lnTo>
                    <a:pt x="94" y="161"/>
                  </a:lnTo>
                  <a:lnTo>
                    <a:pt x="94" y="159"/>
                  </a:lnTo>
                  <a:lnTo>
                    <a:pt x="96" y="159"/>
                  </a:lnTo>
                  <a:lnTo>
                    <a:pt x="94" y="157"/>
                  </a:lnTo>
                  <a:lnTo>
                    <a:pt x="96" y="157"/>
                  </a:lnTo>
                  <a:lnTo>
                    <a:pt x="96" y="159"/>
                  </a:lnTo>
                  <a:lnTo>
                    <a:pt x="98" y="159"/>
                  </a:lnTo>
                  <a:lnTo>
                    <a:pt x="100" y="159"/>
                  </a:lnTo>
                  <a:lnTo>
                    <a:pt x="101" y="157"/>
                  </a:lnTo>
                  <a:lnTo>
                    <a:pt x="101" y="159"/>
                  </a:lnTo>
                  <a:lnTo>
                    <a:pt x="103" y="159"/>
                  </a:lnTo>
                  <a:lnTo>
                    <a:pt x="103" y="161"/>
                  </a:lnTo>
                  <a:lnTo>
                    <a:pt x="105" y="161"/>
                  </a:lnTo>
                  <a:lnTo>
                    <a:pt x="107" y="163"/>
                  </a:lnTo>
                  <a:lnTo>
                    <a:pt x="109" y="163"/>
                  </a:lnTo>
                  <a:lnTo>
                    <a:pt x="111" y="163"/>
                  </a:lnTo>
                  <a:lnTo>
                    <a:pt x="132" y="148"/>
                  </a:lnTo>
                  <a:lnTo>
                    <a:pt x="134" y="136"/>
                  </a:lnTo>
                  <a:lnTo>
                    <a:pt x="136" y="136"/>
                  </a:lnTo>
                  <a:lnTo>
                    <a:pt x="136" y="138"/>
                  </a:lnTo>
                  <a:lnTo>
                    <a:pt x="140" y="140"/>
                  </a:lnTo>
                  <a:lnTo>
                    <a:pt x="142" y="140"/>
                  </a:lnTo>
                  <a:lnTo>
                    <a:pt x="144" y="142"/>
                  </a:lnTo>
                  <a:lnTo>
                    <a:pt x="146" y="142"/>
                  </a:lnTo>
                  <a:lnTo>
                    <a:pt x="148" y="140"/>
                  </a:lnTo>
                  <a:lnTo>
                    <a:pt x="150" y="140"/>
                  </a:lnTo>
                  <a:lnTo>
                    <a:pt x="150" y="142"/>
                  </a:lnTo>
                  <a:lnTo>
                    <a:pt x="151" y="142"/>
                  </a:lnTo>
                  <a:lnTo>
                    <a:pt x="153" y="142"/>
                  </a:lnTo>
                  <a:lnTo>
                    <a:pt x="151" y="142"/>
                  </a:lnTo>
                  <a:lnTo>
                    <a:pt x="153" y="142"/>
                  </a:lnTo>
                  <a:lnTo>
                    <a:pt x="153" y="144"/>
                  </a:lnTo>
                  <a:lnTo>
                    <a:pt x="155" y="144"/>
                  </a:lnTo>
                  <a:lnTo>
                    <a:pt x="155" y="146"/>
                  </a:lnTo>
                  <a:lnTo>
                    <a:pt x="157" y="146"/>
                  </a:lnTo>
                  <a:lnTo>
                    <a:pt x="159" y="148"/>
                  </a:lnTo>
                  <a:lnTo>
                    <a:pt x="161" y="148"/>
                  </a:lnTo>
                  <a:lnTo>
                    <a:pt x="163" y="148"/>
                  </a:lnTo>
                  <a:lnTo>
                    <a:pt x="165" y="148"/>
                  </a:lnTo>
                  <a:lnTo>
                    <a:pt x="167" y="148"/>
                  </a:lnTo>
                  <a:lnTo>
                    <a:pt x="169" y="148"/>
                  </a:lnTo>
                  <a:lnTo>
                    <a:pt x="171" y="150"/>
                  </a:lnTo>
                  <a:lnTo>
                    <a:pt x="171" y="148"/>
                  </a:lnTo>
                  <a:lnTo>
                    <a:pt x="171" y="150"/>
                  </a:lnTo>
                  <a:lnTo>
                    <a:pt x="173" y="150"/>
                  </a:lnTo>
                  <a:lnTo>
                    <a:pt x="173" y="148"/>
                  </a:lnTo>
                  <a:lnTo>
                    <a:pt x="175" y="146"/>
                  </a:lnTo>
                  <a:lnTo>
                    <a:pt x="175" y="144"/>
                  </a:lnTo>
                  <a:lnTo>
                    <a:pt x="176" y="144"/>
                  </a:lnTo>
                  <a:lnTo>
                    <a:pt x="178" y="144"/>
                  </a:lnTo>
                  <a:lnTo>
                    <a:pt x="178" y="142"/>
                  </a:lnTo>
                  <a:lnTo>
                    <a:pt x="178" y="144"/>
                  </a:lnTo>
                  <a:lnTo>
                    <a:pt x="180" y="144"/>
                  </a:lnTo>
                  <a:lnTo>
                    <a:pt x="182" y="146"/>
                  </a:lnTo>
                  <a:lnTo>
                    <a:pt x="182" y="144"/>
                  </a:lnTo>
                  <a:lnTo>
                    <a:pt x="184" y="144"/>
                  </a:lnTo>
                  <a:lnTo>
                    <a:pt x="184" y="146"/>
                  </a:lnTo>
                  <a:lnTo>
                    <a:pt x="184" y="148"/>
                  </a:lnTo>
                  <a:lnTo>
                    <a:pt x="186" y="148"/>
                  </a:lnTo>
                  <a:lnTo>
                    <a:pt x="188" y="148"/>
                  </a:lnTo>
                  <a:lnTo>
                    <a:pt x="188" y="150"/>
                  </a:lnTo>
                  <a:lnTo>
                    <a:pt x="190" y="150"/>
                  </a:lnTo>
                  <a:lnTo>
                    <a:pt x="190" y="148"/>
                  </a:lnTo>
                  <a:lnTo>
                    <a:pt x="190" y="150"/>
                  </a:lnTo>
                  <a:lnTo>
                    <a:pt x="192" y="150"/>
                  </a:lnTo>
                  <a:lnTo>
                    <a:pt x="192" y="148"/>
                  </a:lnTo>
                  <a:lnTo>
                    <a:pt x="194" y="148"/>
                  </a:lnTo>
                  <a:lnTo>
                    <a:pt x="194" y="150"/>
                  </a:lnTo>
                  <a:lnTo>
                    <a:pt x="194" y="151"/>
                  </a:lnTo>
                  <a:lnTo>
                    <a:pt x="194" y="153"/>
                  </a:lnTo>
                  <a:lnTo>
                    <a:pt x="196" y="155"/>
                  </a:lnTo>
                  <a:lnTo>
                    <a:pt x="198" y="144"/>
                  </a:lnTo>
                  <a:lnTo>
                    <a:pt x="203" y="138"/>
                  </a:lnTo>
                  <a:lnTo>
                    <a:pt x="213" y="140"/>
                  </a:lnTo>
                  <a:lnTo>
                    <a:pt x="215" y="138"/>
                  </a:lnTo>
                  <a:lnTo>
                    <a:pt x="217" y="140"/>
                  </a:lnTo>
                  <a:lnTo>
                    <a:pt x="224" y="138"/>
                  </a:lnTo>
                  <a:lnTo>
                    <a:pt x="228" y="132"/>
                  </a:lnTo>
                  <a:lnTo>
                    <a:pt x="232" y="132"/>
                  </a:lnTo>
                  <a:lnTo>
                    <a:pt x="232" y="127"/>
                  </a:lnTo>
                  <a:lnTo>
                    <a:pt x="236" y="125"/>
                  </a:lnTo>
                  <a:lnTo>
                    <a:pt x="238" y="125"/>
                  </a:lnTo>
                  <a:lnTo>
                    <a:pt x="242" y="107"/>
                  </a:lnTo>
                  <a:lnTo>
                    <a:pt x="249" y="105"/>
                  </a:lnTo>
                  <a:lnTo>
                    <a:pt x="249" y="100"/>
                  </a:lnTo>
                  <a:lnTo>
                    <a:pt x="255" y="94"/>
                  </a:lnTo>
                  <a:lnTo>
                    <a:pt x="263" y="94"/>
                  </a:lnTo>
                  <a:lnTo>
                    <a:pt x="267" y="90"/>
                  </a:lnTo>
                  <a:lnTo>
                    <a:pt x="265" y="80"/>
                  </a:lnTo>
                  <a:lnTo>
                    <a:pt x="257" y="78"/>
                  </a:lnTo>
                  <a:lnTo>
                    <a:pt x="255" y="73"/>
                  </a:lnTo>
                  <a:lnTo>
                    <a:pt x="253" y="67"/>
                  </a:lnTo>
                  <a:lnTo>
                    <a:pt x="246" y="65"/>
                  </a:lnTo>
                  <a:lnTo>
                    <a:pt x="244" y="67"/>
                  </a:lnTo>
                  <a:lnTo>
                    <a:pt x="232" y="59"/>
                  </a:lnTo>
                  <a:lnTo>
                    <a:pt x="232" y="61"/>
                  </a:lnTo>
                  <a:lnTo>
                    <a:pt x="228" y="63"/>
                  </a:lnTo>
                  <a:lnTo>
                    <a:pt x="223" y="61"/>
                  </a:lnTo>
                  <a:lnTo>
                    <a:pt x="221" y="55"/>
                  </a:lnTo>
                  <a:lnTo>
                    <a:pt x="217" y="55"/>
                  </a:lnTo>
                  <a:lnTo>
                    <a:pt x="215" y="53"/>
                  </a:lnTo>
                  <a:lnTo>
                    <a:pt x="221" y="50"/>
                  </a:lnTo>
                  <a:lnTo>
                    <a:pt x="219" y="42"/>
                  </a:lnTo>
                  <a:lnTo>
                    <a:pt x="217" y="46"/>
                  </a:lnTo>
                  <a:lnTo>
                    <a:pt x="209" y="48"/>
                  </a:lnTo>
                  <a:lnTo>
                    <a:pt x="198" y="38"/>
                  </a:lnTo>
                  <a:lnTo>
                    <a:pt x="186" y="36"/>
                  </a:lnTo>
                  <a:lnTo>
                    <a:pt x="186" y="38"/>
                  </a:lnTo>
                  <a:lnTo>
                    <a:pt x="192" y="50"/>
                  </a:lnTo>
                  <a:lnTo>
                    <a:pt x="186" y="52"/>
                  </a:lnTo>
                  <a:lnTo>
                    <a:pt x="184" y="53"/>
                  </a:lnTo>
                  <a:lnTo>
                    <a:pt x="180" y="59"/>
                  </a:lnTo>
                  <a:lnTo>
                    <a:pt x="175" y="57"/>
                  </a:lnTo>
                  <a:lnTo>
                    <a:pt x="173" y="52"/>
                  </a:lnTo>
                  <a:lnTo>
                    <a:pt x="165" y="42"/>
                  </a:lnTo>
                  <a:lnTo>
                    <a:pt x="163" y="42"/>
                  </a:lnTo>
                  <a:lnTo>
                    <a:pt x="159" y="38"/>
                  </a:lnTo>
                  <a:lnTo>
                    <a:pt x="167" y="32"/>
                  </a:lnTo>
                  <a:lnTo>
                    <a:pt x="167" y="27"/>
                  </a:lnTo>
                  <a:lnTo>
                    <a:pt x="163" y="23"/>
                  </a:lnTo>
                  <a:lnTo>
                    <a:pt x="159" y="23"/>
                  </a:lnTo>
                  <a:lnTo>
                    <a:pt x="157" y="25"/>
                  </a:lnTo>
                  <a:lnTo>
                    <a:pt x="155" y="25"/>
                  </a:lnTo>
                  <a:lnTo>
                    <a:pt x="151" y="29"/>
                  </a:lnTo>
                  <a:lnTo>
                    <a:pt x="150" y="23"/>
                  </a:lnTo>
                  <a:lnTo>
                    <a:pt x="146" y="23"/>
                  </a:lnTo>
                  <a:lnTo>
                    <a:pt x="144" y="19"/>
                  </a:lnTo>
                  <a:lnTo>
                    <a:pt x="138" y="19"/>
                  </a:lnTo>
                  <a:lnTo>
                    <a:pt x="128" y="15"/>
                  </a:lnTo>
                  <a:lnTo>
                    <a:pt x="126" y="17"/>
                  </a:lnTo>
                  <a:lnTo>
                    <a:pt x="125" y="13"/>
                  </a:lnTo>
                  <a:lnTo>
                    <a:pt x="121" y="4"/>
                  </a:lnTo>
                  <a:lnTo>
                    <a:pt x="111" y="2"/>
                  </a:lnTo>
                  <a:lnTo>
                    <a:pt x="111" y="4"/>
                  </a:lnTo>
                  <a:lnTo>
                    <a:pt x="113" y="5"/>
                  </a:lnTo>
                  <a:lnTo>
                    <a:pt x="111" y="11"/>
                  </a:lnTo>
                  <a:lnTo>
                    <a:pt x="105" y="13"/>
                  </a:lnTo>
                  <a:lnTo>
                    <a:pt x="103" y="13"/>
                  </a:lnTo>
                  <a:lnTo>
                    <a:pt x="105" y="13"/>
                  </a:lnTo>
                  <a:lnTo>
                    <a:pt x="103" y="13"/>
                  </a:lnTo>
                  <a:lnTo>
                    <a:pt x="103" y="15"/>
                  </a:lnTo>
                  <a:lnTo>
                    <a:pt x="103" y="17"/>
                  </a:lnTo>
                  <a:lnTo>
                    <a:pt x="101" y="19"/>
                  </a:lnTo>
                  <a:lnTo>
                    <a:pt x="100" y="19"/>
                  </a:lnTo>
                  <a:lnTo>
                    <a:pt x="98" y="13"/>
                  </a:lnTo>
                  <a:lnTo>
                    <a:pt x="98" y="11"/>
                  </a:lnTo>
                  <a:lnTo>
                    <a:pt x="98" y="9"/>
                  </a:lnTo>
                  <a:lnTo>
                    <a:pt x="94" y="9"/>
                  </a:lnTo>
                  <a:lnTo>
                    <a:pt x="96" y="7"/>
                  </a:lnTo>
                  <a:lnTo>
                    <a:pt x="96" y="5"/>
                  </a:lnTo>
                  <a:lnTo>
                    <a:pt x="94" y="4"/>
                  </a:lnTo>
                  <a:lnTo>
                    <a:pt x="92" y="4"/>
                  </a:lnTo>
                  <a:lnTo>
                    <a:pt x="88" y="4"/>
                  </a:lnTo>
                  <a:lnTo>
                    <a:pt x="86" y="2"/>
                  </a:lnTo>
                  <a:lnTo>
                    <a:pt x="84" y="2"/>
                  </a:lnTo>
                  <a:lnTo>
                    <a:pt x="84" y="0"/>
                  </a:lnTo>
                  <a:lnTo>
                    <a:pt x="82" y="2"/>
                  </a:lnTo>
                  <a:lnTo>
                    <a:pt x="82" y="4"/>
                  </a:lnTo>
                  <a:lnTo>
                    <a:pt x="82" y="5"/>
                  </a:lnTo>
                  <a:lnTo>
                    <a:pt x="84" y="5"/>
                  </a:lnTo>
                  <a:lnTo>
                    <a:pt x="84" y="7"/>
                  </a:lnTo>
                  <a:lnTo>
                    <a:pt x="86" y="7"/>
                  </a:lnTo>
                  <a:lnTo>
                    <a:pt x="88" y="7"/>
                  </a:lnTo>
                  <a:lnTo>
                    <a:pt x="88" y="9"/>
                  </a:lnTo>
                  <a:lnTo>
                    <a:pt x="86" y="11"/>
                  </a:lnTo>
                  <a:lnTo>
                    <a:pt x="84" y="11"/>
                  </a:lnTo>
                  <a:lnTo>
                    <a:pt x="82" y="11"/>
                  </a:lnTo>
                  <a:lnTo>
                    <a:pt x="80" y="15"/>
                  </a:lnTo>
                  <a:lnTo>
                    <a:pt x="77" y="15"/>
                  </a:lnTo>
                  <a:lnTo>
                    <a:pt x="75" y="15"/>
                  </a:lnTo>
                  <a:lnTo>
                    <a:pt x="75" y="17"/>
                  </a:lnTo>
                  <a:lnTo>
                    <a:pt x="73" y="17"/>
                  </a:lnTo>
                  <a:lnTo>
                    <a:pt x="71" y="19"/>
                  </a:lnTo>
                  <a:lnTo>
                    <a:pt x="69" y="21"/>
                  </a:lnTo>
                  <a:lnTo>
                    <a:pt x="69" y="23"/>
                  </a:lnTo>
                  <a:lnTo>
                    <a:pt x="67" y="23"/>
                  </a:lnTo>
                  <a:lnTo>
                    <a:pt x="63" y="23"/>
                  </a:lnTo>
                  <a:lnTo>
                    <a:pt x="61" y="23"/>
                  </a:lnTo>
                  <a:lnTo>
                    <a:pt x="59" y="23"/>
                  </a:lnTo>
                  <a:lnTo>
                    <a:pt x="57" y="25"/>
                  </a:lnTo>
                  <a:lnTo>
                    <a:pt x="55" y="25"/>
                  </a:lnTo>
                  <a:lnTo>
                    <a:pt x="55" y="29"/>
                  </a:lnTo>
                  <a:lnTo>
                    <a:pt x="55" y="30"/>
                  </a:lnTo>
                  <a:lnTo>
                    <a:pt x="53" y="30"/>
                  </a:lnTo>
                  <a:lnTo>
                    <a:pt x="50" y="29"/>
                  </a:lnTo>
                  <a:lnTo>
                    <a:pt x="48" y="30"/>
                  </a:lnTo>
                  <a:lnTo>
                    <a:pt x="48" y="32"/>
                  </a:lnTo>
                  <a:lnTo>
                    <a:pt x="46" y="32"/>
                  </a:lnTo>
                  <a:lnTo>
                    <a:pt x="44" y="36"/>
                  </a:lnTo>
                  <a:lnTo>
                    <a:pt x="40" y="38"/>
                  </a:lnTo>
                  <a:lnTo>
                    <a:pt x="38" y="36"/>
                  </a:lnTo>
                  <a:lnTo>
                    <a:pt x="38" y="38"/>
                  </a:lnTo>
                  <a:lnTo>
                    <a:pt x="36" y="36"/>
                  </a:lnTo>
                  <a:lnTo>
                    <a:pt x="36" y="38"/>
                  </a:lnTo>
                  <a:lnTo>
                    <a:pt x="34" y="42"/>
                  </a:lnTo>
                  <a:lnTo>
                    <a:pt x="32" y="4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0" name="Freeform 108"/>
            <p:cNvSpPr>
              <a:spLocks/>
            </p:cNvSpPr>
            <p:nvPr/>
          </p:nvSpPr>
          <p:spPr bwMode="auto">
            <a:xfrm>
              <a:off x="2990" y="2888"/>
              <a:ext cx="275" cy="209"/>
            </a:xfrm>
            <a:custGeom>
              <a:avLst/>
              <a:gdLst>
                <a:gd name="T0" fmla="*/ 215 w 275"/>
                <a:gd name="T1" fmla="*/ 142 h 209"/>
                <a:gd name="T2" fmla="*/ 231 w 275"/>
                <a:gd name="T3" fmla="*/ 132 h 209"/>
                <a:gd name="T4" fmla="*/ 250 w 275"/>
                <a:gd name="T5" fmla="*/ 140 h 209"/>
                <a:gd name="T6" fmla="*/ 260 w 275"/>
                <a:gd name="T7" fmla="*/ 130 h 209"/>
                <a:gd name="T8" fmla="*/ 254 w 275"/>
                <a:gd name="T9" fmla="*/ 115 h 209"/>
                <a:gd name="T10" fmla="*/ 244 w 275"/>
                <a:gd name="T11" fmla="*/ 103 h 209"/>
                <a:gd name="T12" fmla="*/ 240 w 275"/>
                <a:gd name="T13" fmla="*/ 98 h 209"/>
                <a:gd name="T14" fmla="*/ 246 w 275"/>
                <a:gd name="T15" fmla="*/ 86 h 209"/>
                <a:gd name="T16" fmla="*/ 250 w 275"/>
                <a:gd name="T17" fmla="*/ 65 h 209"/>
                <a:gd name="T18" fmla="*/ 254 w 275"/>
                <a:gd name="T19" fmla="*/ 52 h 209"/>
                <a:gd name="T20" fmla="*/ 271 w 275"/>
                <a:gd name="T21" fmla="*/ 38 h 209"/>
                <a:gd name="T22" fmla="*/ 256 w 275"/>
                <a:gd name="T23" fmla="*/ 15 h 209"/>
                <a:gd name="T24" fmla="*/ 233 w 275"/>
                <a:gd name="T25" fmla="*/ 7 h 209"/>
                <a:gd name="T26" fmla="*/ 217 w 275"/>
                <a:gd name="T27" fmla="*/ 5 h 209"/>
                <a:gd name="T28" fmla="*/ 200 w 275"/>
                <a:gd name="T29" fmla="*/ 0 h 209"/>
                <a:gd name="T30" fmla="*/ 162 w 275"/>
                <a:gd name="T31" fmla="*/ 23 h 209"/>
                <a:gd name="T32" fmla="*/ 137 w 275"/>
                <a:gd name="T33" fmla="*/ 46 h 209"/>
                <a:gd name="T34" fmla="*/ 116 w 275"/>
                <a:gd name="T35" fmla="*/ 42 h 209"/>
                <a:gd name="T36" fmla="*/ 87 w 275"/>
                <a:gd name="T37" fmla="*/ 50 h 209"/>
                <a:gd name="T38" fmla="*/ 31 w 275"/>
                <a:gd name="T39" fmla="*/ 50 h 209"/>
                <a:gd name="T40" fmla="*/ 21 w 275"/>
                <a:gd name="T41" fmla="*/ 40 h 209"/>
                <a:gd name="T42" fmla="*/ 10 w 275"/>
                <a:gd name="T43" fmla="*/ 25 h 209"/>
                <a:gd name="T44" fmla="*/ 0 w 275"/>
                <a:gd name="T45" fmla="*/ 40 h 209"/>
                <a:gd name="T46" fmla="*/ 12 w 275"/>
                <a:gd name="T47" fmla="*/ 75 h 209"/>
                <a:gd name="T48" fmla="*/ 33 w 275"/>
                <a:gd name="T49" fmla="*/ 90 h 209"/>
                <a:gd name="T50" fmla="*/ 25 w 275"/>
                <a:gd name="T51" fmla="*/ 109 h 209"/>
                <a:gd name="T52" fmla="*/ 16 w 275"/>
                <a:gd name="T53" fmla="*/ 121 h 209"/>
                <a:gd name="T54" fmla="*/ 16 w 275"/>
                <a:gd name="T55" fmla="*/ 148 h 209"/>
                <a:gd name="T56" fmla="*/ 29 w 275"/>
                <a:gd name="T57" fmla="*/ 163 h 209"/>
                <a:gd name="T58" fmla="*/ 46 w 275"/>
                <a:gd name="T59" fmla="*/ 184 h 209"/>
                <a:gd name="T60" fmla="*/ 46 w 275"/>
                <a:gd name="T61" fmla="*/ 209 h 209"/>
                <a:gd name="T62" fmla="*/ 64 w 275"/>
                <a:gd name="T63" fmla="*/ 205 h 209"/>
                <a:gd name="T64" fmla="*/ 79 w 275"/>
                <a:gd name="T65" fmla="*/ 200 h 209"/>
                <a:gd name="T66" fmla="*/ 92 w 275"/>
                <a:gd name="T67" fmla="*/ 196 h 209"/>
                <a:gd name="T68" fmla="*/ 102 w 275"/>
                <a:gd name="T69" fmla="*/ 190 h 209"/>
                <a:gd name="T70" fmla="*/ 108 w 275"/>
                <a:gd name="T71" fmla="*/ 188 h 209"/>
                <a:gd name="T72" fmla="*/ 121 w 275"/>
                <a:gd name="T73" fmla="*/ 192 h 209"/>
                <a:gd name="T74" fmla="*/ 135 w 275"/>
                <a:gd name="T75" fmla="*/ 192 h 209"/>
                <a:gd name="T76" fmla="*/ 164 w 275"/>
                <a:gd name="T77" fmla="*/ 196 h 209"/>
                <a:gd name="T78" fmla="*/ 177 w 275"/>
                <a:gd name="T79" fmla="*/ 188 h 209"/>
                <a:gd name="T80" fmla="*/ 192 w 275"/>
                <a:gd name="T81" fmla="*/ 180 h 209"/>
                <a:gd name="T82" fmla="*/ 194 w 275"/>
                <a:gd name="T83" fmla="*/ 163 h 209"/>
                <a:gd name="T84" fmla="*/ 196 w 275"/>
                <a:gd name="T85" fmla="*/ 15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 h="209">
                  <a:moveTo>
                    <a:pt x="206" y="148"/>
                  </a:moveTo>
                  <a:lnTo>
                    <a:pt x="206" y="142"/>
                  </a:lnTo>
                  <a:lnTo>
                    <a:pt x="215" y="142"/>
                  </a:lnTo>
                  <a:lnTo>
                    <a:pt x="221" y="138"/>
                  </a:lnTo>
                  <a:lnTo>
                    <a:pt x="223" y="132"/>
                  </a:lnTo>
                  <a:lnTo>
                    <a:pt x="231" y="132"/>
                  </a:lnTo>
                  <a:lnTo>
                    <a:pt x="233" y="128"/>
                  </a:lnTo>
                  <a:lnTo>
                    <a:pt x="239" y="130"/>
                  </a:lnTo>
                  <a:lnTo>
                    <a:pt x="250" y="140"/>
                  </a:lnTo>
                  <a:lnTo>
                    <a:pt x="254" y="134"/>
                  </a:lnTo>
                  <a:lnTo>
                    <a:pt x="262" y="134"/>
                  </a:lnTo>
                  <a:lnTo>
                    <a:pt x="260" y="130"/>
                  </a:lnTo>
                  <a:lnTo>
                    <a:pt x="269" y="130"/>
                  </a:lnTo>
                  <a:lnTo>
                    <a:pt x="265" y="126"/>
                  </a:lnTo>
                  <a:lnTo>
                    <a:pt x="254" y="115"/>
                  </a:lnTo>
                  <a:lnTo>
                    <a:pt x="254" y="111"/>
                  </a:lnTo>
                  <a:lnTo>
                    <a:pt x="250" y="105"/>
                  </a:lnTo>
                  <a:lnTo>
                    <a:pt x="244" y="103"/>
                  </a:lnTo>
                  <a:lnTo>
                    <a:pt x="240" y="107"/>
                  </a:lnTo>
                  <a:lnTo>
                    <a:pt x="237" y="105"/>
                  </a:lnTo>
                  <a:lnTo>
                    <a:pt x="240" y="98"/>
                  </a:lnTo>
                  <a:lnTo>
                    <a:pt x="246" y="98"/>
                  </a:lnTo>
                  <a:lnTo>
                    <a:pt x="244" y="94"/>
                  </a:lnTo>
                  <a:lnTo>
                    <a:pt x="246" y="86"/>
                  </a:lnTo>
                  <a:lnTo>
                    <a:pt x="254" y="86"/>
                  </a:lnTo>
                  <a:lnTo>
                    <a:pt x="252" y="77"/>
                  </a:lnTo>
                  <a:lnTo>
                    <a:pt x="250" y="65"/>
                  </a:lnTo>
                  <a:lnTo>
                    <a:pt x="250" y="55"/>
                  </a:lnTo>
                  <a:lnTo>
                    <a:pt x="248" y="53"/>
                  </a:lnTo>
                  <a:lnTo>
                    <a:pt x="254" y="52"/>
                  </a:lnTo>
                  <a:lnTo>
                    <a:pt x="256" y="42"/>
                  </a:lnTo>
                  <a:lnTo>
                    <a:pt x="265" y="36"/>
                  </a:lnTo>
                  <a:lnTo>
                    <a:pt x="271" y="38"/>
                  </a:lnTo>
                  <a:lnTo>
                    <a:pt x="275" y="27"/>
                  </a:lnTo>
                  <a:lnTo>
                    <a:pt x="271" y="13"/>
                  </a:lnTo>
                  <a:lnTo>
                    <a:pt x="256" y="15"/>
                  </a:lnTo>
                  <a:lnTo>
                    <a:pt x="244" y="11"/>
                  </a:lnTo>
                  <a:lnTo>
                    <a:pt x="240" y="4"/>
                  </a:lnTo>
                  <a:lnTo>
                    <a:pt x="233" y="7"/>
                  </a:lnTo>
                  <a:lnTo>
                    <a:pt x="231" y="5"/>
                  </a:lnTo>
                  <a:lnTo>
                    <a:pt x="227" y="2"/>
                  </a:lnTo>
                  <a:lnTo>
                    <a:pt x="217" y="5"/>
                  </a:lnTo>
                  <a:lnTo>
                    <a:pt x="212" y="2"/>
                  </a:lnTo>
                  <a:lnTo>
                    <a:pt x="210" y="0"/>
                  </a:lnTo>
                  <a:lnTo>
                    <a:pt x="200" y="0"/>
                  </a:lnTo>
                  <a:lnTo>
                    <a:pt x="175" y="11"/>
                  </a:lnTo>
                  <a:lnTo>
                    <a:pt x="164" y="17"/>
                  </a:lnTo>
                  <a:lnTo>
                    <a:pt x="162" y="23"/>
                  </a:lnTo>
                  <a:lnTo>
                    <a:pt x="150" y="38"/>
                  </a:lnTo>
                  <a:lnTo>
                    <a:pt x="146" y="40"/>
                  </a:lnTo>
                  <a:lnTo>
                    <a:pt x="137" y="46"/>
                  </a:lnTo>
                  <a:lnTo>
                    <a:pt x="133" y="46"/>
                  </a:lnTo>
                  <a:lnTo>
                    <a:pt x="127" y="44"/>
                  </a:lnTo>
                  <a:lnTo>
                    <a:pt x="116" y="42"/>
                  </a:lnTo>
                  <a:lnTo>
                    <a:pt x="102" y="46"/>
                  </a:lnTo>
                  <a:lnTo>
                    <a:pt x="94" y="44"/>
                  </a:lnTo>
                  <a:lnTo>
                    <a:pt x="87" y="50"/>
                  </a:lnTo>
                  <a:lnTo>
                    <a:pt x="77" y="50"/>
                  </a:lnTo>
                  <a:lnTo>
                    <a:pt x="46" y="44"/>
                  </a:lnTo>
                  <a:lnTo>
                    <a:pt x="31" y="50"/>
                  </a:lnTo>
                  <a:lnTo>
                    <a:pt x="21" y="48"/>
                  </a:lnTo>
                  <a:lnTo>
                    <a:pt x="19" y="46"/>
                  </a:lnTo>
                  <a:lnTo>
                    <a:pt x="21" y="40"/>
                  </a:lnTo>
                  <a:lnTo>
                    <a:pt x="27" y="34"/>
                  </a:lnTo>
                  <a:lnTo>
                    <a:pt x="25" y="30"/>
                  </a:lnTo>
                  <a:lnTo>
                    <a:pt x="10" y="25"/>
                  </a:lnTo>
                  <a:lnTo>
                    <a:pt x="8" y="28"/>
                  </a:lnTo>
                  <a:lnTo>
                    <a:pt x="10" y="34"/>
                  </a:lnTo>
                  <a:lnTo>
                    <a:pt x="0" y="40"/>
                  </a:lnTo>
                  <a:lnTo>
                    <a:pt x="0" y="53"/>
                  </a:lnTo>
                  <a:lnTo>
                    <a:pt x="8" y="63"/>
                  </a:lnTo>
                  <a:lnTo>
                    <a:pt x="12" y="75"/>
                  </a:lnTo>
                  <a:lnTo>
                    <a:pt x="21" y="78"/>
                  </a:lnTo>
                  <a:lnTo>
                    <a:pt x="29" y="88"/>
                  </a:lnTo>
                  <a:lnTo>
                    <a:pt x="33" y="90"/>
                  </a:lnTo>
                  <a:lnTo>
                    <a:pt x="33" y="96"/>
                  </a:lnTo>
                  <a:lnTo>
                    <a:pt x="25" y="103"/>
                  </a:lnTo>
                  <a:lnTo>
                    <a:pt x="25" y="109"/>
                  </a:lnTo>
                  <a:lnTo>
                    <a:pt x="16" y="113"/>
                  </a:lnTo>
                  <a:lnTo>
                    <a:pt x="12" y="117"/>
                  </a:lnTo>
                  <a:lnTo>
                    <a:pt x="16" y="121"/>
                  </a:lnTo>
                  <a:lnTo>
                    <a:pt x="14" y="132"/>
                  </a:lnTo>
                  <a:lnTo>
                    <a:pt x="19" y="138"/>
                  </a:lnTo>
                  <a:lnTo>
                    <a:pt x="16" y="148"/>
                  </a:lnTo>
                  <a:lnTo>
                    <a:pt x="12" y="150"/>
                  </a:lnTo>
                  <a:lnTo>
                    <a:pt x="21" y="159"/>
                  </a:lnTo>
                  <a:lnTo>
                    <a:pt x="29" y="163"/>
                  </a:lnTo>
                  <a:lnTo>
                    <a:pt x="37" y="165"/>
                  </a:lnTo>
                  <a:lnTo>
                    <a:pt x="41" y="175"/>
                  </a:lnTo>
                  <a:lnTo>
                    <a:pt x="46" y="184"/>
                  </a:lnTo>
                  <a:lnTo>
                    <a:pt x="44" y="190"/>
                  </a:lnTo>
                  <a:lnTo>
                    <a:pt x="46" y="201"/>
                  </a:lnTo>
                  <a:lnTo>
                    <a:pt x="46" y="209"/>
                  </a:lnTo>
                  <a:lnTo>
                    <a:pt x="58" y="209"/>
                  </a:lnTo>
                  <a:lnTo>
                    <a:pt x="62" y="203"/>
                  </a:lnTo>
                  <a:lnTo>
                    <a:pt x="64" y="205"/>
                  </a:lnTo>
                  <a:lnTo>
                    <a:pt x="67" y="201"/>
                  </a:lnTo>
                  <a:lnTo>
                    <a:pt x="77" y="201"/>
                  </a:lnTo>
                  <a:lnTo>
                    <a:pt x="79" y="200"/>
                  </a:lnTo>
                  <a:lnTo>
                    <a:pt x="83" y="200"/>
                  </a:lnTo>
                  <a:lnTo>
                    <a:pt x="89" y="194"/>
                  </a:lnTo>
                  <a:lnTo>
                    <a:pt x="92" y="196"/>
                  </a:lnTo>
                  <a:lnTo>
                    <a:pt x="96" y="194"/>
                  </a:lnTo>
                  <a:lnTo>
                    <a:pt x="96" y="188"/>
                  </a:lnTo>
                  <a:lnTo>
                    <a:pt x="102" y="190"/>
                  </a:lnTo>
                  <a:lnTo>
                    <a:pt x="102" y="188"/>
                  </a:lnTo>
                  <a:lnTo>
                    <a:pt x="104" y="186"/>
                  </a:lnTo>
                  <a:lnTo>
                    <a:pt x="108" y="188"/>
                  </a:lnTo>
                  <a:lnTo>
                    <a:pt x="114" y="188"/>
                  </a:lnTo>
                  <a:lnTo>
                    <a:pt x="116" y="184"/>
                  </a:lnTo>
                  <a:lnTo>
                    <a:pt x="121" y="192"/>
                  </a:lnTo>
                  <a:lnTo>
                    <a:pt x="125" y="192"/>
                  </a:lnTo>
                  <a:lnTo>
                    <a:pt x="129" y="196"/>
                  </a:lnTo>
                  <a:lnTo>
                    <a:pt x="135" y="192"/>
                  </a:lnTo>
                  <a:lnTo>
                    <a:pt x="148" y="196"/>
                  </a:lnTo>
                  <a:lnTo>
                    <a:pt x="152" y="200"/>
                  </a:lnTo>
                  <a:lnTo>
                    <a:pt x="164" y="196"/>
                  </a:lnTo>
                  <a:lnTo>
                    <a:pt x="165" y="192"/>
                  </a:lnTo>
                  <a:lnTo>
                    <a:pt x="173" y="194"/>
                  </a:lnTo>
                  <a:lnTo>
                    <a:pt x="177" y="188"/>
                  </a:lnTo>
                  <a:lnTo>
                    <a:pt x="181" y="190"/>
                  </a:lnTo>
                  <a:lnTo>
                    <a:pt x="192" y="186"/>
                  </a:lnTo>
                  <a:lnTo>
                    <a:pt x="192" y="180"/>
                  </a:lnTo>
                  <a:lnTo>
                    <a:pt x="185" y="163"/>
                  </a:lnTo>
                  <a:lnTo>
                    <a:pt x="190" y="159"/>
                  </a:lnTo>
                  <a:lnTo>
                    <a:pt x="194" y="163"/>
                  </a:lnTo>
                  <a:lnTo>
                    <a:pt x="198" y="161"/>
                  </a:lnTo>
                  <a:lnTo>
                    <a:pt x="196" y="159"/>
                  </a:lnTo>
                  <a:lnTo>
                    <a:pt x="196" y="155"/>
                  </a:lnTo>
                  <a:lnTo>
                    <a:pt x="204" y="153"/>
                  </a:lnTo>
                  <a:lnTo>
                    <a:pt x="206" y="14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1" name="Freeform 109"/>
            <p:cNvSpPr>
              <a:spLocks/>
            </p:cNvSpPr>
            <p:nvPr/>
          </p:nvSpPr>
          <p:spPr bwMode="auto">
            <a:xfrm>
              <a:off x="2921" y="3036"/>
              <a:ext cx="115" cy="103"/>
            </a:xfrm>
            <a:custGeom>
              <a:avLst/>
              <a:gdLst>
                <a:gd name="T0" fmla="*/ 48 w 115"/>
                <a:gd name="T1" fmla="*/ 9 h 103"/>
                <a:gd name="T2" fmla="*/ 40 w 115"/>
                <a:gd name="T3" fmla="*/ 9 h 103"/>
                <a:gd name="T4" fmla="*/ 35 w 115"/>
                <a:gd name="T5" fmla="*/ 17 h 103"/>
                <a:gd name="T6" fmla="*/ 35 w 115"/>
                <a:gd name="T7" fmla="*/ 21 h 103"/>
                <a:gd name="T8" fmla="*/ 25 w 115"/>
                <a:gd name="T9" fmla="*/ 15 h 103"/>
                <a:gd name="T10" fmla="*/ 12 w 115"/>
                <a:gd name="T11" fmla="*/ 25 h 103"/>
                <a:gd name="T12" fmla="*/ 12 w 115"/>
                <a:gd name="T13" fmla="*/ 38 h 103"/>
                <a:gd name="T14" fmla="*/ 4 w 115"/>
                <a:gd name="T15" fmla="*/ 40 h 103"/>
                <a:gd name="T16" fmla="*/ 2 w 115"/>
                <a:gd name="T17" fmla="*/ 50 h 103"/>
                <a:gd name="T18" fmla="*/ 4 w 115"/>
                <a:gd name="T19" fmla="*/ 57 h 103"/>
                <a:gd name="T20" fmla="*/ 0 w 115"/>
                <a:gd name="T21" fmla="*/ 61 h 103"/>
                <a:gd name="T22" fmla="*/ 6 w 115"/>
                <a:gd name="T23" fmla="*/ 69 h 103"/>
                <a:gd name="T24" fmla="*/ 4 w 115"/>
                <a:gd name="T25" fmla="*/ 76 h 103"/>
                <a:gd name="T26" fmla="*/ 10 w 115"/>
                <a:gd name="T27" fmla="*/ 90 h 103"/>
                <a:gd name="T28" fmla="*/ 14 w 115"/>
                <a:gd name="T29" fmla="*/ 90 h 103"/>
                <a:gd name="T30" fmla="*/ 17 w 115"/>
                <a:gd name="T31" fmla="*/ 100 h 103"/>
                <a:gd name="T32" fmla="*/ 21 w 115"/>
                <a:gd name="T33" fmla="*/ 100 h 103"/>
                <a:gd name="T34" fmla="*/ 23 w 115"/>
                <a:gd name="T35" fmla="*/ 98 h 103"/>
                <a:gd name="T36" fmla="*/ 27 w 115"/>
                <a:gd name="T37" fmla="*/ 100 h 103"/>
                <a:gd name="T38" fmla="*/ 29 w 115"/>
                <a:gd name="T39" fmla="*/ 103 h 103"/>
                <a:gd name="T40" fmla="*/ 46 w 115"/>
                <a:gd name="T41" fmla="*/ 100 h 103"/>
                <a:gd name="T42" fmla="*/ 48 w 115"/>
                <a:gd name="T43" fmla="*/ 96 h 103"/>
                <a:gd name="T44" fmla="*/ 58 w 115"/>
                <a:gd name="T45" fmla="*/ 98 h 103"/>
                <a:gd name="T46" fmla="*/ 62 w 115"/>
                <a:gd name="T47" fmla="*/ 94 h 103"/>
                <a:gd name="T48" fmla="*/ 65 w 115"/>
                <a:gd name="T49" fmla="*/ 94 h 103"/>
                <a:gd name="T50" fmla="*/ 73 w 115"/>
                <a:gd name="T51" fmla="*/ 80 h 103"/>
                <a:gd name="T52" fmla="*/ 77 w 115"/>
                <a:gd name="T53" fmla="*/ 78 h 103"/>
                <a:gd name="T54" fmla="*/ 81 w 115"/>
                <a:gd name="T55" fmla="*/ 78 h 103"/>
                <a:gd name="T56" fmla="*/ 85 w 115"/>
                <a:gd name="T57" fmla="*/ 76 h 103"/>
                <a:gd name="T58" fmla="*/ 88 w 115"/>
                <a:gd name="T59" fmla="*/ 78 h 103"/>
                <a:gd name="T60" fmla="*/ 102 w 115"/>
                <a:gd name="T61" fmla="*/ 76 h 103"/>
                <a:gd name="T62" fmla="*/ 104 w 115"/>
                <a:gd name="T63" fmla="*/ 73 h 103"/>
                <a:gd name="T64" fmla="*/ 108 w 115"/>
                <a:gd name="T65" fmla="*/ 75 h 103"/>
                <a:gd name="T66" fmla="*/ 108 w 115"/>
                <a:gd name="T67" fmla="*/ 63 h 103"/>
                <a:gd name="T68" fmla="*/ 112 w 115"/>
                <a:gd name="T69" fmla="*/ 61 h 103"/>
                <a:gd name="T70" fmla="*/ 115 w 115"/>
                <a:gd name="T71" fmla="*/ 61 h 103"/>
                <a:gd name="T72" fmla="*/ 115 w 115"/>
                <a:gd name="T73" fmla="*/ 53 h 103"/>
                <a:gd name="T74" fmla="*/ 113 w 115"/>
                <a:gd name="T75" fmla="*/ 42 h 103"/>
                <a:gd name="T76" fmla="*/ 115 w 115"/>
                <a:gd name="T77" fmla="*/ 36 h 103"/>
                <a:gd name="T78" fmla="*/ 110 w 115"/>
                <a:gd name="T79" fmla="*/ 27 h 103"/>
                <a:gd name="T80" fmla="*/ 106 w 115"/>
                <a:gd name="T81" fmla="*/ 17 h 103"/>
                <a:gd name="T82" fmla="*/ 98 w 115"/>
                <a:gd name="T83" fmla="*/ 15 h 103"/>
                <a:gd name="T84" fmla="*/ 90 w 115"/>
                <a:gd name="T85" fmla="*/ 11 h 103"/>
                <a:gd name="T86" fmla="*/ 81 w 115"/>
                <a:gd name="T87" fmla="*/ 2 h 103"/>
                <a:gd name="T88" fmla="*/ 79 w 115"/>
                <a:gd name="T89" fmla="*/ 0 h 103"/>
                <a:gd name="T90" fmla="*/ 69 w 115"/>
                <a:gd name="T91" fmla="*/ 3 h 103"/>
                <a:gd name="T92" fmla="*/ 58 w 115"/>
                <a:gd name="T93" fmla="*/ 3 h 103"/>
                <a:gd name="T94" fmla="*/ 54 w 115"/>
                <a:gd name="T95" fmla="*/ 9 h 103"/>
                <a:gd name="T96" fmla="*/ 48 w 115"/>
                <a:gd name="T97" fmla="*/ 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03">
                  <a:moveTo>
                    <a:pt x="48" y="9"/>
                  </a:moveTo>
                  <a:lnTo>
                    <a:pt x="40" y="9"/>
                  </a:lnTo>
                  <a:lnTo>
                    <a:pt x="35" y="17"/>
                  </a:lnTo>
                  <a:lnTo>
                    <a:pt x="35" y="21"/>
                  </a:lnTo>
                  <a:lnTo>
                    <a:pt x="25" y="15"/>
                  </a:lnTo>
                  <a:lnTo>
                    <a:pt x="12" y="25"/>
                  </a:lnTo>
                  <a:lnTo>
                    <a:pt x="12" y="38"/>
                  </a:lnTo>
                  <a:lnTo>
                    <a:pt x="4" y="40"/>
                  </a:lnTo>
                  <a:lnTo>
                    <a:pt x="2" y="50"/>
                  </a:lnTo>
                  <a:lnTo>
                    <a:pt x="4" y="57"/>
                  </a:lnTo>
                  <a:lnTo>
                    <a:pt x="0" y="61"/>
                  </a:lnTo>
                  <a:lnTo>
                    <a:pt x="6" y="69"/>
                  </a:lnTo>
                  <a:lnTo>
                    <a:pt x="4" y="76"/>
                  </a:lnTo>
                  <a:lnTo>
                    <a:pt x="10" y="90"/>
                  </a:lnTo>
                  <a:lnTo>
                    <a:pt x="14" y="90"/>
                  </a:lnTo>
                  <a:lnTo>
                    <a:pt x="17" y="100"/>
                  </a:lnTo>
                  <a:lnTo>
                    <a:pt x="21" y="100"/>
                  </a:lnTo>
                  <a:lnTo>
                    <a:pt x="23" y="98"/>
                  </a:lnTo>
                  <a:lnTo>
                    <a:pt x="27" y="100"/>
                  </a:lnTo>
                  <a:lnTo>
                    <a:pt x="29" y="103"/>
                  </a:lnTo>
                  <a:lnTo>
                    <a:pt x="46" y="100"/>
                  </a:lnTo>
                  <a:lnTo>
                    <a:pt x="48" y="96"/>
                  </a:lnTo>
                  <a:lnTo>
                    <a:pt x="58" y="98"/>
                  </a:lnTo>
                  <a:lnTo>
                    <a:pt x="62" y="94"/>
                  </a:lnTo>
                  <a:lnTo>
                    <a:pt x="65" y="94"/>
                  </a:lnTo>
                  <a:lnTo>
                    <a:pt x="73" y="80"/>
                  </a:lnTo>
                  <a:lnTo>
                    <a:pt x="77" y="78"/>
                  </a:lnTo>
                  <a:lnTo>
                    <a:pt x="81" y="78"/>
                  </a:lnTo>
                  <a:lnTo>
                    <a:pt x="85" y="76"/>
                  </a:lnTo>
                  <a:lnTo>
                    <a:pt x="88" y="78"/>
                  </a:lnTo>
                  <a:lnTo>
                    <a:pt x="102" y="76"/>
                  </a:lnTo>
                  <a:lnTo>
                    <a:pt x="104" y="73"/>
                  </a:lnTo>
                  <a:lnTo>
                    <a:pt x="108" y="75"/>
                  </a:lnTo>
                  <a:lnTo>
                    <a:pt x="108" y="63"/>
                  </a:lnTo>
                  <a:lnTo>
                    <a:pt x="112" y="61"/>
                  </a:lnTo>
                  <a:lnTo>
                    <a:pt x="115" y="61"/>
                  </a:lnTo>
                  <a:lnTo>
                    <a:pt x="115" y="53"/>
                  </a:lnTo>
                  <a:lnTo>
                    <a:pt x="113" y="42"/>
                  </a:lnTo>
                  <a:lnTo>
                    <a:pt x="115" y="36"/>
                  </a:lnTo>
                  <a:lnTo>
                    <a:pt x="110" y="27"/>
                  </a:lnTo>
                  <a:lnTo>
                    <a:pt x="106" y="17"/>
                  </a:lnTo>
                  <a:lnTo>
                    <a:pt x="98" y="15"/>
                  </a:lnTo>
                  <a:lnTo>
                    <a:pt x="90" y="11"/>
                  </a:lnTo>
                  <a:lnTo>
                    <a:pt x="81" y="2"/>
                  </a:lnTo>
                  <a:lnTo>
                    <a:pt x="79" y="0"/>
                  </a:lnTo>
                  <a:lnTo>
                    <a:pt x="69" y="3"/>
                  </a:lnTo>
                  <a:lnTo>
                    <a:pt x="58" y="3"/>
                  </a:lnTo>
                  <a:lnTo>
                    <a:pt x="54" y="9"/>
                  </a:lnTo>
                  <a:lnTo>
                    <a:pt x="48" y="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2" name="Freeform 110"/>
            <p:cNvSpPr>
              <a:spLocks/>
            </p:cNvSpPr>
            <p:nvPr/>
          </p:nvSpPr>
          <p:spPr bwMode="auto">
            <a:xfrm>
              <a:off x="1561" y="1333"/>
              <a:ext cx="278" cy="219"/>
            </a:xfrm>
            <a:custGeom>
              <a:avLst/>
              <a:gdLst>
                <a:gd name="T0" fmla="*/ 228 w 278"/>
                <a:gd name="T1" fmla="*/ 66 h 219"/>
                <a:gd name="T2" fmla="*/ 222 w 278"/>
                <a:gd name="T3" fmla="*/ 77 h 219"/>
                <a:gd name="T4" fmla="*/ 194 w 278"/>
                <a:gd name="T5" fmla="*/ 81 h 219"/>
                <a:gd name="T6" fmla="*/ 176 w 278"/>
                <a:gd name="T7" fmla="*/ 67 h 219"/>
                <a:gd name="T8" fmla="*/ 167 w 278"/>
                <a:gd name="T9" fmla="*/ 90 h 219"/>
                <a:gd name="T10" fmla="*/ 169 w 278"/>
                <a:gd name="T11" fmla="*/ 83 h 219"/>
                <a:gd name="T12" fmla="*/ 149 w 278"/>
                <a:gd name="T13" fmla="*/ 60 h 219"/>
                <a:gd name="T14" fmla="*/ 138 w 278"/>
                <a:gd name="T15" fmla="*/ 73 h 219"/>
                <a:gd name="T16" fmla="*/ 124 w 278"/>
                <a:gd name="T17" fmla="*/ 50 h 219"/>
                <a:gd name="T18" fmla="*/ 99 w 278"/>
                <a:gd name="T19" fmla="*/ 77 h 219"/>
                <a:gd name="T20" fmla="*/ 82 w 278"/>
                <a:gd name="T21" fmla="*/ 83 h 219"/>
                <a:gd name="T22" fmla="*/ 76 w 278"/>
                <a:gd name="T23" fmla="*/ 62 h 219"/>
                <a:gd name="T24" fmla="*/ 88 w 278"/>
                <a:gd name="T25" fmla="*/ 52 h 219"/>
                <a:gd name="T26" fmla="*/ 63 w 278"/>
                <a:gd name="T27" fmla="*/ 0 h 219"/>
                <a:gd name="T28" fmla="*/ 65 w 278"/>
                <a:gd name="T29" fmla="*/ 17 h 219"/>
                <a:gd name="T30" fmla="*/ 65 w 278"/>
                <a:gd name="T31" fmla="*/ 39 h 219"/>
                <a:gd name="T32" fmla="*/ 49 w 278"/>
                <a:gd name="T33" fmla="*/ 16 h 219"/>
                <a:gd name="T34" fmla="*/ 40 w 278"/>
                <a:gd name="T35" fmla="*/ 19 h 219"/>
                <a:gd name="T36" fmla="*/ 36 w 278"/>
                <a:gd name="T37" fmla="*/ 27 h 219"/>
                <a:gd name="T38" fmla="*/ 40 w 278"/>
                <a:gd name="T39" fmla="*/ 35 h 219"/>
                <a:gd name="T40" fmla="*/ 38 w 278"/>
                <a:gd name="T41" fmla="*/ 37 h 219"/>
                <a:gd name="T42" fmla="*/ 19 w 278"/>
                <a:gd name="T43" fmla="*/ 23 h 219"/>
                <a:gd name="T44" fmla="*/ 21 w 278"/>
                <a:gd name="T45" fmla="*/ 39 h 219"/>
                <a:gd name="T46" fmla="*/ 5 w 278"/>
                <a:gd name="T47" fmla="*/ 33 h 219"/>
                <a:gd name="T48" fmla="*/ 61 w 278"/>
                <a:gd name="T49" fmla="*/ 64 h 219"/>
                <a:gd name="T50" fmla="*/ 48 w 278"/>
                <a:gd name="T51" fmla="*/ 73 h 219"/>
                <a:gd name="T52" fmla="*/ 51 w 278"/>
                <a:gd name="T53" fmla="*/ 85 h 219"/>
                <a:gd name="T54" fmla="*/ 0 w 278"/>
                <a:gd name="T55" fmla="*/ 73 h 219"/>
                <a:gd name="T56" fmla="*/ 34 w 278"/>
                <a:gd name="T57" fmla="*/ 108 h 219"/>
                <a:gd name="T58" fmla="*/ 46 w 278"/>
                <a:gd name="T59" fmla="*/ 117 h 219"/>
                <a:gd name="T60" fmla="*/ 36 w 278"/>
                <a:gd name="T61" fmla="*/ 125 h 219"/>
                <a:gd name="T62" fmla="*/ 44 w 278"/>
                <a:gd name="T63" fmla="*/ 129 h 219"/>
                <a:gd name="T64" fmla="*/ 34 w 278"/>
                <a:gd name="T65" fmla="*/ 135 h 219"/>
                <a:gd name="T66" fmla="*/ 7 w 278"/>
                <a:gd name="T67" fmla="*/ 140 h 219"/>
                <a:gd name="T68" fmla="*/ 23 w 278"/>
                <a:gd name="T69" fmla="*/ 156 h 219"/>
                <a:gd name="T70" fmla="*/ 59 w 278"/>
                <a:gd name="T71" fmla="*/ 177 h 219"/>
                <a:gd name="T72" fmla="*/ 115 w 278"/>
                <a:gd name="T73" fmla="*/ 219 h 219"/>
                <a:gd name="T74" fmla="*/ 165 w 278"/>
                <a:gd name="T75" fmla="*/ 210 h 219"/>
                <a:gd name="T76" fmla="*/ 213 w 278"/>
                <a:gd name="T77" fmla="*/ 200 h 219"/>
                <a:gd name="T78" fmla="*/ 245 w 278"/>
                <a:gd name="T79" fmla="*/ 185 h 219"/>
                <a:gd name="T80" fmla="*/ 263 w 278"/>
                <a:gd name="T81" fmla="*/ 173 h 219"/>
                <a:gd name="T82" fmla="*/ 270 w 278"/>
                <a:gd name="T83" fmla="*/ 173 h 219"/>
                <a:gd name="T84" fmla="*/ 263 w 278"/>
                <a:gd name="T85" fmla="*/ 158 h 219"/>
                <a:gd name="T86" fmla="*/ 276 w 278"/>
                <a:gd name="T87" fmla="*/ 156 h 219"/>
                <a:gd name="T88" fmla="*/ 278 w 278"/>
                <a:gd name="T89" fmla="*/ 146 h 219"/>
                <a:gd name="T90" fmla="*/ 255 w 278"/>
                <a:gd name="T91" fmla="*/ 137 h 219"/>
                <a:gd name="T92" fmla="*/ 263 w 278"/>
                <a:gd name="T93" fmla="*/ 129 h 219"/>
                <a:gd name="T94" fmla="*/ 251 w 278"/>
                <a:gd name="T95" fmla="*/ 121 h 219"/>
                <a:gd name="T96" fmla="*/ 255 w 278"/>
                <a:gd name="T97" fmla="*/ 102 h 219"/>
                <a:gd name="T98" fmla="*/ 272 w 278"/>
                <a:gd name="T99" fmla="*/ 87 h 219"/>
                <a:gd name="T100" fmla="*/ 249 w 278"/>
                <a:gd name="T101" fmla="*/ 87 h 219"/>
                <a:gd name="T102" fmla="*/ 228 w 278"/>
                <a:gd name="T103" fmla="*/ 6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8" h="219">
                  <a:moveTo>
                    <a:pt x="228" y="66"/>
                  </a:moveTo>
                  <a:lnTo>
                    <a:pt x="222" y="77"/>
                  </a:lnTo>
                  <a:lnTo>
                    <a:pt x="194" y="81"/>
                  </a:lnTo>
                  <a:lnTo>
                    <a:pt x="176" y="67"/>
                  </a:lnTo>
                  <a:lnTo>
                    <a:pt x="167" y="90"/>
                  </a:lnTo>
                  <a:lnTo>
                    <a:pt x="169" y="83"/>
                  </a:lnTo>
                  <a:lnTo>
                    <a:pt x="149" y="60"/>
                  </a:lnTo>
                  <a:lnTo>
                    <a:pt x="138" y="73"/>
                  </a:lnTo>
                  <a:lnTo>
                    <a:pt x="124" y="50"/>
                  </a:lnTo>
                  <a:lnTo>
                    <a:pt x="99" y="77"/>
                  </a:lnTo>
                  <a:lnTo>
                    <a:pt x="82" y="83"/>
                  </a:lnTo>
                  <a:lnTo>
                    <a:pt x="76" y="62"/>
                  </a:lnTo>
                  <a:lnTo>
                    <a:pt x="88" y="52"/>
                  </a:lnTo>
                  <a:lnTo>
                    <a:pt x="63" y="0"/>
                  </a:lnTo>
                  <a:lnTo>
                    <a:pt x="65" y="17"/>
                  </a:lnTo>
                  <a:lnTo>
                    <a:pt x="65" y="39"/>
                  </a:lnTo>
                  <a:lnTo>
                    <a:pt x="49" y="16"/>
                  </a:lnTo>
                  <a:lnTo>
                    <a:pt x="40" y="19"/>
                  </a:lnTo>
                  <a:lnTo>
                    <a:pt x="36" y="27"/>
                  </a:lnTo>
                  <a:lnTo>
                    <a:pt x="40" y="35"/>
                  </a:lnTo>
                  <a:lnTo>
                    <a:pt x="38" y="37"/>
                  </a:lnTo>
                  <a:lnTo>
                    <a:pt x="19" y="23"/>
                  </a:lnTo>
                  <a:lnTo>
                    <a:pt x="21" y="39"/>
                  </a:lnTo>
                  <a:lnTo>
                    <a:pt x="5" y="33"/>
                  </a:lnTo>
                  <a:lnTo>
                    <a:pt x="61" y="64"/>
                  </a:lnTo>
                  <a:lnTo>
                    <a:pt x="48" y="73"/>
                  </a:lnTo>
                  <a:lnTo>
                    <a:pt x="51" y="85"/>
                  </a:lnTo>
                  <a:lnTo>
                    <a:pt x="0" y="73"/>
                  </a:lnTo>
                  <a:lnTo>
                    <a:pt x="34" y="108"/>
                  </a:lnTo>
                  <a:lnTo>
                    <a:pt x="46" y="117"/>
                  </a:lnTo>
                  <a:lnTo>
                    <a:pt x="36" y="125"/>
                  </a:lnTo>
                  <a:lnTo>
                    <a:pt x="44" y="129"/>
                  </a:lnTo>
                  <a:lnTo>
                    <a:pt x="34" y="135"/>
                  </a:lnTo>
                  <a:lnTo>
                    <a:pt x="7" y="140"/>
                  </a:lnTo>
                  <a:lnTo>
                    <a:pt x="23" y="156"/>
                  </a:lnTo>
                  <a:lnTo>
                    <a:pt x="59" y="177"/>
                  </a:lnTo>
                  <a:lnTo>
                    <a:pt x="115" y="219"/>
                  </a:lnTo>
                  <a:lnTo>
                    <a:pt x="165" y="210"/>
                  </a:lnTo>
                  <a:lnTo>
                    <a:pt x="213" y="200"/>
                  </a:lnTo>
                  <a:lnTo>
                    <a:pt x="245" y="185"/>
                  </a:lnTo>
                  <a:lnTo>
                    <a:pt x="263" y="173"/>
                  </a:lnTo>
                  <a:lnTo>
                    <a:pt x="270" y="173"/>
                  </a:lnTo>
                  <a:lnTo>
                    <a:pt x="263" y="158"/>
                  </a:lnTo>
                  <a:lnTo>
                    <a:pt x="276" y="156"/>
                  </a:lnTo>
                  <a:lnTo>
                    <a:pt x="278" y="146"/>
                  </a:lnTo>
                  <a:lnTo>
                    <a:pt x="255" y="137"/>
                  </a:lnTo>
                  <a:lnTo>
                    <a:pt x="263" y="129"/>
                  </a:lnTo>
                  <a:lnTo>
                    <a:pt x="251" y="121"/>
                  </a:lnTo>
                  <a:lnTo>
                    <a:pt x="255" y="102"/>
                  </a:lnTo>
                  <a:lnTo>
                    <a:pt x="272" y="87"/>
                  </a:lnTo>
                  <a:lnTo>
                    <a:pt x="249" y="87"/>
                  </a:lnTo>
                  <a:lnTo>
                    <a:pt x="228" y="6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3" name="Freeform 111"/>
            <p:cNvSpPr>
              <a:spLocks/>
            </p:cNvSpPr>
            <p:nvPr/>
          </p:nvSpPr>
          <p:spPr bwMode="auto">
            <a:xfrm>
              <a:off x="2398" y="2067"/>
              <a:ext cx="100" cy="187"/>
            </a:xfrm>
            <a:custGeom>
              <a:avLst/>
              <a:gdLst>
                <a:gd name="T0" fmla="*/ 8 w 100"/>
                <a:gd name="T1" fmla="*/ 139 h 187"/>
                <a:gd name="T2" fmla="*/ 14 w 100"/>
                <a:gd name="T3" fmla="*/ 144 h 187"/>
                <a:gd name="T4" fmla="*/ 20 w 100"/>
                <a:gd name="T5" fmla="*/ 167 h 187"/>
                <a:gd name="T6" fmla="*/ 29 w 100"/>
                <a:gd name="T7" fmla="*/ 181 h 187"/>
                <a:gd name="T8" fmla="*/ 46 w 100"/>
                <a:gd name="T9" fmla="*/ 185 h 187"/>
                <a:gd name="T10" fmla="*/ 56 w 100"/>
                <a:gd name="T11" fmla="*/ 181 h 187"/>
                <a:gd name="T12" fmla="*/ 54 w 100"/>
                <a:gd name="T13" fmla="*/ 175 h 187"/>
                <a:gd name="T14" fmla="*/ 48 w 100"/>
                <a:gd name="T15" fmla="*/ 171 h 187"/>
                <a:gd name="T16" fmla="*/ 48 w 100"/>
                <a:gd name="T17" fmla="*/ 165 h 187"/>
                <a:gd name="T18" fmla="*/ 56 w 100"/>
                <a:gd name="T19" fmla="*/ 158 h 187"/>
                <a:gd name="T20" fmla="*/ 54 w 100"/>
                <a:gd name="T21" fmla="*/ 146 h 187"/>
                <a:gd name="T22" fmla="*/ 52 w 100"/>
                <a:gd name="T23" fmla="*/ 140 h 187"/>
                <a:gd name="T24" fmla="*/ 62 w 100"/>
                <a:gd name="T25" fmla="*/ 135 h 187"/>
                <a:gd name="T26" fmla="*/ 52 w 100"/>
                <a:gd name="T27" fmla="*/ 129 h 187"/>
                <a:gd name="T28" fmla="*/ 68 w 100"/>
                <a:gd name="T29" fmla="*/ 129 h 187"/>
                <a:gd name="T30" fmla="*/ 70 w 100"/>
                <a:gd name="T31" fmla="*/ 121 h 187"/>
                <a:gd name="T32" fmla="*/ 70 w 100"/>
                <a:gd name="T33" fmla="*/ 117 h 187"/>
                <a:gd name="T34" fmla="*/ 73 w 100"/>
                <a:gd name="T35" fmla="*/ 119 h 187"/>
                <a:gd name="T36" fmla="*/ 77 w 100"/>
                <a:gd name="T37" fmla="*/ 110 h 187"/>
                <a:gd name="T38" fmla="*/ 77 w 100"/>
                <a:gd name="T39" fmla="*/ 98 h 187"/>
                <a:gd name="T40" fmla="*/ 85 w 100"/>
                <a:gd name="T41" fmla="*/ 94 h 187"/>
                <a:gd name="T42" fmla="*/ 81 w 100"/>
                <a:gd name="T43" fmla="*/ 98 h 187"/>
                <a:gd name="T44" fmla="*/ 85 w 100"/>
                <a:gd name="T45" fmla="*/ 102 h 187"/>
                <a:gd name="T46" fmla="*/ 89 w 100"/>
                <a:gd name="T47" fmla="*/ 96 h 187"/>
                <a:gd name="T48" fmla="*/ 93 w 100"/>
                <a:gd name="T49" fmla="*/ 98 h 187"/>
                <a:gd name="T50" fmla="*/ 100 w 100"/>
                <a:gd name="T51" fmla="*/ 83 h 187"/>
                <a:gd name="T52" fmla="*/ 91 w 100"/>
                <a:gd name="T53" fmla="*/ 77 h 187"/>
                <a:gd name="T54" fmla="*/ 79 w 100"/>
                <a:gd name="T55" fmla="*/ 71 h 187"/>
                <a:gd name="T56" fmla="*/ 75 w 100"/>
                <a:gd name="T57" fmla="*/ 67 h 187"/>
                <a:gd name="T58" fmla="*/ 79 w 100"/>
                <a:gd name="T59" fmla="*/ 48 h 187"/>
                <a:gd name="T60" fmla="*/ 60 w 100"/>
                <a:gd name="T61" fmla="*/ 44 h 187"/>
                <a:gd name="T62" fmla="*/ 48 w 100"/>
                <a:gd name="T63" fmla="*/ 46 h 187"/>
                <a:gd name="T64" fmla="*/ 41 w 100"/>
                <a:gd name="T65" fmla="*/ 58 h 187"/>
                <a:gd name="T66" fmla="*/ 45 w 100"/>
                <a:gd name="T67" fmla="*/ 67 h 187"/>
                <a:gd name="T68" fmla="*/ 43 w 100"/>
                <a:gd name="T69" fmla="*/ 73 h 187"/>
                <a:gd name="T70" fmla="*/ 37 w 100"/>
                <a:gd name="T71" fmla="*/ 69 h 187"/>
                <a:gd name="T72" fmla="*/ 31 w 100"/>
                <a:gd name="T73" fmla="*/ 62 h 187"/>
                <a:gd name="T74" fmla="*/ 23 w 100"/>
                <a:gd name="T75" fmla="*/ 71 h 187"/>
                <a:gd name="T76" fmla="*/ 20 w 100"/>
                <a:gd name="T77" fmla="*/ 73 h 187"/>
                <a:gd name="T78" fmla="*/ 16 w 100"/>
                <a:gd name="T79" fmla="*/ 66 h 187"/>
                <a:gd name="T80" fmla="*/ 16 w 100"/>
                <a:gd name="T81" fmla="*/ 60 h 187"/>
                <a:gd name="T82" fmla="*/ 29 w 100"/>
                <a:gd name="T83" fmla="*/ 46 h 187"/>
                <a:gd name="T84" fmla="*/ 39 w 100"/>
                <a:gd name="T85" fmla="*/ 44 h 187"/>
                <a:gd name="T86" fmla="*/ 58 w 100"/>
                <a:gd name="T87" fmla="*/ 41 h 187"/>
                <a:gd name="T88" fmla="*/ 81 w 100"/>
                <a:gd name="T89" fmla="*/ 48 h 187"/>
                <a:gd name="T90" fmla="*/ 89 w 100"/>
                <a:gd name="T91" fmla="*/ 31 h 187"/>
                <a:gd name="T92" fmla="*/ 87 w 100"/>
                <a:gd name="T93" fmla="*/ 16 h 187"/>
                <a:gd name="T94" fmla="*/ 91 w 100"/>
                <a:gd name="T95" fmla="*/ 0 h 187"/>
                <a:gd name="T96" fmla="*/ 62 w 100"/>
                <a:gd name="T97" fmla="*/ 17 h 187"/>
                <a:gd name="T98" fmla="*/ 37 w 100"/>
                <a:gd name="T99" fmla="*/ 37 h 187"/>
                <a:gd name="T100" fmla="*/ 22 w 100"/>
                <a:gd name="T101" fmla="*/ 41 h 187"/>
                <a:gd name="T102" fmla="*/ 8 w 100"/>
                <a:gd name="T103" fmla="*/ 64 h 187"/>
                <a:gd name="T104" fmla="*/ 12 w 100"/>
                <a:gd name="T105" fmla="*/ 66 h 187"/>
                <a:gd name="T106" fmla="*/ 18 w 100"/>
                <a:gd name="T107" fmla="*/ 75 h 187"/>
                <a:gd name="T108" fmla="*/ 8 w 100"/>
                <a:gd name="T109" fmla="*/ 69 h 187"/>
                <a:gd name="T110" fmla="*/ 6 w 100"/>
                <a:gd name="T111" fmla="*/ 67 h 187"/>
                <a:gd name="T112" fmla="*/ 4 w 100"/>
                <a:gd name="T113" fmla="*/ 100 h 187"/>
                <a:gd name="T114" fmla="*/ 12 w 100"/>
                <a:gd name="T115" fmla="*/ 112 h 187"/>
                <a:gd name="T116" fmla="*/ 4 w 100"/>
                <a:gd name="T117" fmla="*/ 11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187">
                  <a:moveTo>
                    <a:pt x="4" y="123"/>
                  </a:moveTo>
                  <a:lnTo>
                    <a:pt x="2" y="129"/>
                  </a:lnTo>
                  <a:lnTo>
                    <a:pt x="0" y="137"/>
                  </a:lnTo>
                  <a:lnTo>
                    <a:pt x="2" y="139"/>
                  </a:lnTo>
                  <a:lnTo>
                    <a:pt x="8" y="142"/>
                  </a:lnTo>
                  <a:lnTo>
                    <a:pt x="8" y="140"/>
                  </a:lnTo>
                  <a:lnTo>
                    <a:pt x="8" y="139"/>
                  </a:lnTo>
                  <a:lnTo>
                    <a:pt x="6" y="139"/>
                  </a:lnTo>
                  <a:lnTo>
                    <a:pt x="6" y="137"/>
                  </a:lnTo>
                  <a:lnTo>
                    <a:pt x="6" y="135"/>
                  </a:lnTo>
                  <a:lnTo>
                    <a:pt x="8" y="135"/>
                  </a:lnTo>
                  <a:lnTo>
                    <a:pt x="8" y="137"/>
                  </a:lnTo>
                  <a:lnTo>
                    <a:pt x="12" y="142"/>
                  </a:lnTo>
                  <a:lnTo>
                    <a:pt x="14" y="144"/>
                  </a:lnTo>
                  <a:lnTo>
                    <a:pt x="16" y="144"/>
                  </a:lnTo>
                  <a:lnTo>
                    <a:pt x="20" y="146"/>
                  </a:lnTo>
                  <a:lnTo>
                    <a:pt x="20" y="152"/>
                  </a:lnTo>
                  <a:lnTo>
                    <a:pt x="22" y="152"/>
                  </a:lnTo>
                  <a:lnTo>
                    <a:pt x="20" y="156"/>
                  </a:lnTo>
                  <a:lnTo>
                    <a:pt x="20" y="165"/>
                  </a:lnTo>
                  <a:lnTo>
                    <a:pt x="20" y="167"/>
                  </a:lnTo>
                  <a:lnTo>
                    <a:pt x="18" y="179"/>
                  </a:lnTo>
                  <a:lnTo>
                    <a:pt x="20" y="181"/>
                  </a:lnTo>
                  <a:lnTo>
                    <a:pt x="22" y="181"/>
                  </a:lnTo>
                  <a:lnTo>
                    <a:pt x="23" y="181"/>
                  </a:lnTo>
                  <a:lnTo>
                    <a:pt x="25" y="181"/>
                  </a:lnTo>
                  <a:lnTo>
                    <a:pt x="27" y="181"/>
                  </a:lnTo>
                  <a:lnTo>
                    <a:pt x="29" y="181"/>
                  </a:lnTo>
                  <a:lnTo>
                    <a:pt x="31" y="183"/>
                  </a:lnTo>
                  <a:lnTo>
                    <a:pt x="35" y="183"/>
                  </a:lnTo>
                  <a:lnTo>
                    <a:pt x="39" y="183"/>
                  </a:lnTo>
                  <a:lnTo>
                    <a:pt x="39" y="185"/>
                  </a:lnTo>
                  <a:lnTo>
                    <a:pt x="41" y="187"/>
                  </a:lnTo>
                  <a:lnTo>
                    <a:pt x="45" y="185"/>
                  </a:lnTo>
                  <a:lnTo>
                    <a:pt x="46" y="185"/>
                  </a:lnTo>
                  <a:lnTo>
                    <a:pt x="50" y="181"/>
                  </a:lnTo>
                  <a:lnTo>
                    <a:pt x="52" y="183"/>
                  </a:lnTo>
                  <a:lnTo>
                    <a:pt x="52" y="185"/>
                  </a:lnTo>
                  <a:lnTo>
                    <a:pt x="54" y="183"/>
                  </a:lnTo>
                  <a:lnTo>
                    <a:pt x="56" y="185"/>
                  </a:lnTo>
                  <a:lnTo>
                    <a:pt x="58" y="183"/>
                  </a:lnTo>
                  <a:lnTo>
                    <a:pt x="56" y="181"/>
                  </a:lnTo>
                  <a:lnTo>
                    <a:pt x="54" y="181"/>
                  </a:lnTo>
                  <a:lnTo>
                    <a:pt x="56" y="181"/>
                  </a:lnTo>
                  <a:lnTo>
                    <a:pt x="58" y="181"/>
                  </a:lnTo>
                  <a:lnTo>
                    <a:pt x="58" y="179"/>
                  </a:lnTo>
                  <a:lnTo>
                    <a:pt x="58" y="177"/>
                  </a:lnTo>
                  <a:lnTo>
                    <a:pt x="56" y="175"/>
                  </a:lnTo>
                  <a:lnTo>
                    <a:pt x="54" y="175"/>
                  </a:lnTo>
                  <a:lnTo>
                    <a:pt x="52" y="173"/>
                  </a:lnTo>
                  <a:lnTo>
                    <a:pt x="52" y="171"/>
                  </a:lnTo>
                  <a:lnTo>
                    <a:pt x="50" y="171"/>
                  </a:lnTo>
                  <a:lnTo>
                    <a:pt x="48" y="173"/>
                  </a:lnTo>
                  <a:lnTo>
                    <a:pt x="46" y="173"/>
                  </a:lnTo>
                  <a:lnTo>
                    <a:pt x="46" y="171"/>
                  </a:lnTo>
                  <a:lnTo>
                    <a:pt x="48" y="171"/>
                  </a:lnTo>
                  <a:lnTo>
                    <a:pt x="50" y="169"/>
                  </a:lnTo>
                  <a:lnTo>
                    <a:pt x="50" y="167"/>
                  </a:lnTo>
                  <a:lnTo>
                    <a:pt x="48" y="165"/>
                  </a:lnTo>
                  <a:lnTo>
                    <a:pt x="46" y="167"/>
                  </a:lnTo>
                  <a:lnTo>
                    <a:pt x="48" y="165"/>
                  </a:lnTo>
                  <a:lnTo>
                    <a:pt x="50" y="165"/>
                  </a:lnTo>
                  <a:lnTo>
                    <a:pt x="48" y="165"/>
                  </a:lnTo>
                  <a:lnTo>
                    <a:pt x="48" y="164"/>
                  </a:lnTo>
                  <a:lnTo>
                    <a:pt x="50" y="162"/>
                  </a:lnTo>
                  <a:lnTo>
                    <a:pt x="52" y="162"/>
                  </a:lnTo>
                  <a:lnTo>
                    <a:pt x="54" y="162"/>
                  </a:lnTo>
                  <a:lnTo>
                    <a:pt x="54" y="164"/>
                  </a:lnTo>
                  <a:lnTo>
                    <a:pt x="56" y="162"/>
                  </a:lnTo>
                  <a:lnTo>
                    <a:pt x="56" y="158"/>
                  </a:lnTo>
                  <a:lnTo>
                    <a:pt x="54" y="154"/>
                  </a:lnTo>
                  <a:lnTo>
                    <a:pt x="54" y="152"/>
                  </a:lnTo>
                  <a:lnTo>
                    <a:pt x="52" y="152"/>
                  </a:lnTo>
                  <a:lnTo>
                    <a:pt x="54" y="150"/>
                  </a:lnTo>
                  <a:lnTo>
                    <a:pt x="52" y="148"/>
                  </a:lnTo>
                  <a:lnTo>
                    <a:pt x="52" y="146"/>
                  </a:lnTo>
                  <a:lnTo>
                    <a:pt x="54" y="146"/>
                  </a:lnTo>
                  <a:lnTo>
                    <a:pt x="56" y="144"/>
                  </a:lnTo>
                  <a:lnTo>
                    <a:pt x="54" y="142"/>
                  </a:lnTo>
                  <a:lnTo>
                    <a:pt x="52" y="142"/>
                  </a:lnTo>
                  <a:lnTo>
                    <a:pt x="50" y="142"/>
                  </a:lnTo>
                  <a:lnTo>
                    <a:pt x="48" y="142"/>
                  </a:lnTo>
                  <a:lnTo>
                    <a:pt x="52" y="142"/>
                  </a:lnTo>
                  <a:lnTo>
                    <a:pt x="52" y="140"/>
                  </a:lnTo>
                  <a:lnTo>
                    <a:pt x="54" y="140"/>
                  </a:lnTo>
                  <a:lnTo>
                    <a:pt x="56" y="140"/>
                  </a:lnTo>
                  <a:lnTo>
                    <a:pt x="58" y="140"/>
                  </a:lnTo>
                  <a:lnTo>
                    <a:pt x="58" y="139"/>
                  </a:lnTo>
                  <a:lnTo>
                    <a:pt x="60" y="139"/>
                  </a:lnTo>
                  <a:lnTo>
                    <a:pt x="60" y="137"/>
                  </a:lnTo>
                  <a:lnTo>
                    <a:pt x="62" y="135"/>
                  </a:lnTo>
                  <a:lnTo>
                    <a:pt x="58" y="135"/>
                  </a:lnTo>
                  <a:lnTo>
                    <a:pt x="58" y="133"/>
                  </a:lnTo>
                  <a:lnTo>
                    <a:pt x="56" y="131"/>
                  </a:lnTo>
                  <a:lnTo>
                    <a:pt x="54" y="129"/>
                  </a:lnTo>
                  <a:lnTo>
                    <a:pt x="52" y="129"/>
                  </a:lnTo>
                  <a:lnTo>
                    <a:pt x="50" y="129"/>
                  </a:lnTo>
                  <a:lnTo>
                    <a:pt x="52" y="129"/>
                  </a:lnTo>
                  <a:lnTo>
                    <a:pt x="54" y="129"/>
                  </a:lnTo>
                  <a:lnTo>
                    <a:pt x="56" y="129"/>
                  </a:lnTo>
                  <a:lnTo>
                    <a:pt x="58" y="131"/>
                  </a:lnTo>
                  <a:lnTo>
                    <a:pt x="60" y="131"/>
                  </a:lnTo>
                  <a:lnTo>
                    <a:pt x="64" y="131"/>
                  </a:lnTo>
                  <a:lnTo>
                    <a:pt x="66" y="131"/>
                  </a:lnTo>
                  <a:lnTo>
                    <a:pt x="68" y="129"/>
                  </a:lnTo>
                  <a:lnTo>
                    <a:pt x="68" y="131"/>
                  </a:lnTo>
                  <a:lnTo>
                    <a:pt x="68" y="129"/>
                  </a:lnTo>
                  <a:lnTo>
                    <a:pt x="68" y="127"/>
                  </a:lnTo>
                  <a:lnTo>
                    <a:pt x="70" y="127"/>
                  </a:lnTo>
                  <a:lnTo>
                    <a:pt x="68" y="125"/>
                  </a:lnTo>
                  <a:lnTo>
                    <a:pt x="70" y="123"/>
                  </a:lnTo>
                  <a:lnTo>
                    <a:pt x="70" y="121"/>
                  </a:lnTo>
                  <a:lnTo>
                    <a:pt x="68" y="121"/>
                  </a:lnTo>
                  <a:lnTo>
                    <a:pt x="62" y="119"/>
                  </a:lnTo>
                  <a:lnTo>
                    <a:pt x="64" y="119"/>
                  </a:lnTo>
                  <a:lnTo>
                    <a:pt x="66" y="119"/>
                  </a:lnTo>
                  <a:lnTo>
                    <a:pt x="66" y="117"/>
                  </a:lnTo>
                  <a:lnTo>
                    <a:pt x="68" y="117"/>
                  </a:lnTo>
                  <a:lnTo>
                    <a:pt x="70" y="117"/>
                  </a:lnTo>
                  <a:lnTo>
                    <a:pt x="71" y="117"/>
                  </a:lnTo>
                  <a:lnTo>
                    <a:pt x="71" y="119"/>
                  </a:lnTo>
                  <a:lnTo>
                    <a:pt x="71" y="117"/>
                  </a:lnTo>
                  <a:lnTo>
                    <a:pt x="73" y="119"/>
                  </a:lnTo>
                  <a:lnTo>
                    <a:pt x="71" y="119"/>
                  </a:lnTo>
                  <a:lnTo>
                    <a:pt x="73" y="121"/>
                  </a:lnTo>
                  <a:lnTo>
                    <a:pt x="73" y="119"/>
                  </a:lnTo>
                  <a:lnTo>
                    <a:pt x="75" y="119"/>
                  </a:lnTo>
                  <a:lnTo>
                    <a:pt x="73" y="117"/>
                  </a:lnTo>
                  <a:lnTo>
                    <a:pt x="75" y="117"/>
                  </a:lnTo>
                  <a:lnTo>
                    <a:pt x="77" y="115"/>
                  </a:lnTo>
                  <a:lnTo>
                    <a:pt x="77" y="114"/>
                  </a:lnTo>
                  <a:lnTo>
                    <a:pt x="77" y="112"/>
                  </a:lnTo>
                  <a:lnTo>
                    <a:pt x="77" y="110"/>
                  </a:lnTo>
                  <a:lnTo>
                    <a:pt x="77" y="112"/>
                  </a:lnTo>
                  <a:lnTo>
                    <a:pt x="77" y="110"/>
                  </a:lnTo>
                  <a:lnTo>
                    <a:pt x="77" y="108"/>
                  </a:lnTo>
                  <a:lnTo>
                    <a:pt x="77" y="104"/>
                  </a:lnTo>
                  <a:lnTo>
                    <a:pt x="75" y="102"/>
                  </a:lnTo>
                  <a:lnTo>
                    <a:pt x="75" y="100"/>
                  </a:lnTo>
                  <a:lnTo>
                    <a:pt x="77" y="98"/>
                  </a:lnTo>
                  <a:lnTo>
                    <a:pt x="79" y="96"/>
                  </a:lnTo>
                  <a:lnTo>
                    <a:pt x="79" y="94"/>
                  </a:lnTo>
                  <a:lnTo>
                    <a:pt x="81" y="94"/>
                  </a:lnTo>
                  <a:lnTo>
                    <a:pt x="81" y="92"/>
                  </a:lnTo>
                  <a:lnTo>
                    <a:pt x="83" y="92"/>
                  </a:lnTo>
                  <a:lnTo>
                    <a:pt x="85" y="92"/>
                  </a:lnTo>
                  <a:lnTo>
                    <a:pt x="85" y="94"/>
                  </a:lnTo>
                  <a:lnTo>
                    <a:pt x="85" y="96"/>
                  </a:lnTo>
                  <a:lnTo>
                    <a:pt x="83" y="96"/>
                  </a:lnTo>
                  <a:lnTo>
                    <a:pt x="85" y="96"/>
                  </a:lnTo>
                  <a:lnTo>
                    <a:pt x="85" y="98"/>
                  </a:lnTo>
                  <a:lnTo>
                    <a:pt x="83" y="98"/>
                  </a:lnTo>
                  <a:lnTo>
                    <a:pt x="83" y="96"/>
                  </a:lnTo>
                  <a:lnTo>
                    <a:pt x="81" y="98"/>
                  </a:lnTo>
                  <a:lnTo>
                    <a:pt x="79" y="98"/>
                  </a:lnTo>
                  <a:lnTo>
                    <a:pt x="81" y="98"/>
                  </a:lnTo>
                  <a:lnTo>
                    <a:pt x="81" y="100"/>
                  </a:lnTo>
                  <a:lnTo>
                    <a:pt x="83" y="100"/>
                  </a:lnTo>
                  <a:lnTo>
                    <a:pt x="85" y="100"/>
                  </a:lnTo>
                  <a:lnTo>
                    <a:pt x="87" y="100"/>
                  </a:lnTo>
                  <a:lnTo>
                    <a:pt x="85" y="102"/>
                  </a:lnTo>
                  <a:lnTo>
                    <a:pt x="85" y="104"/>
                  </a:lnTo>
                  <a:lnTo>
                    <a:pt x="85" y="106"/>
                  </a:lnTo>
                  <a:lnTo>
                    <a:pt x="87" y="104"/>
                  </a:lnTo>
                  <a:lnTo>
                    <a:pt x="87" y="102"/>
                  </a:lnTo>
                  <a:lnTo>
                    <a:pt x="87" y="100"/>
                  </a:lnTo>
                  <a:lnTo>
                    <a:pt x="89" y="98"/>
                  </a:lnTo>
                  <a:lnTo>
                    <a:pt x="89" y="96"/>
                  </a:lnTo>
                  <a:lnTo>
                    <a:pt x="91" y="96"/>
                  </a:lnTo>
                  <a:lnTo>
                    <a:pt x="91" y="98"/>
                  </a:lnTo>
                  <a:lnTo>
                    <a:pt x="91" y="100"/>
                  </a:lnTo>
                  <a:lnTo>
                    <a:pt x="91" y="102"/>
                  </a:lnTo>
                  <a:lnTo>
                    <a:pt x="93" y="102"/>
                  </a:lnTo>
                  <a:lnTo>
                    <a:pt x="93" y="100"/>
                  </a:lnTo>
                  <a:lnTo>
                    <a:pt x="93" y="98"/>
                  </a:lnTo>
                  <a:lnTo>
                    <a:pt x="93" y="96"/>
                  </a:lnTo>
                  <a:lnTo>
                    <a:pt x="96" y="96"/>
                  </a:lnTo>
                  <a:lnTo>
                    <a:pt x="96" y="92"/>
                  </a:lnTo>
                  <a:lnTo>
                    <a:pt x="98" y="92"/>
                  </a:lnTo>
                  <a:lnTo>
                    <a:pt x="100" y="91"/>
                  </a:lnTo>
                  <a:lnTo>
                    <a:pt x="100" y="85"/>
                  </a:lnTo>
                  <a:lnTo>
                    <a:pt x="100" y="83"/>
                  </a:lnTo>
                  <a:lnTo>
                    <a:pt x="100" y="81"/>
                  </a:lnTo>
                  <a:lnTo>
                    <a:pt x="98" y="81"/>
                  </a:lnTo>
                  <a:lnTo>
                    <a:pt x="98" y="79"/>
                  </a:lnTo>
                  <a:lnTo>
                    <a:pt x="96" y="77"/>
                  </a:lnTo>
                  <a:lnTo>
                    <a:pt x="95" y="77"/>
                  </a:lnTo>
                  <a:lnTo>
                    <a:pt x="93" y="77"/>
                  </a:lnTo>
                  <a:lnTo>
                    <a:pt x="91" y="77"/>
                  </a:lnTo>
                  <a:lnTo>
                    <a:pt x="89" y="79"/>
                  </a:lnTo>
                  <a:lnTo>
                    <a:pt x="87" y="79"/>
                  </a:lnTo>
                  <a:lnTo>
                    <a:pt x="83" y="77"/>
                  </a:lnTo>
                  <a:lnTo>
                    <a:pt x="81" y="75"/>
                  </a:lnTo>
                  <a:lnTo>
                    <a:pt x="81" y="73"/>
                  </a:lnTo>
                  <a:lnTo>
                    <a:pt x="79" y="73"/>
                  </a:lnTo>
                  <a:lnTo>
                    <a:pt x="79" y="71"/>
                  </a:lnTo>
                  <a:lnTo>
                    <a:pt x="81" y="71"/>
                  </a:lnTo>
                  <a:lnTo>
                    <a:pt x="81" y="69"/>
                  </a:lnTo>
                  <a:lnTo>
                    <a:pt x="81" y="66"/>
                  </a:lnTo>
                  <a:lnTo>
                    <a:pt x="79" y="66"/>
                  </a:lnTo>
                  <a:lnTo>
                    <a:pt x="77" y="67"/>
                  </a:lnTo>
                  <a:lnTo>
                    <a:pt x="77" y="66"/>
                  </a:lnTo>
                  <a:lnTo>
                    <a:pt x="75" y="67"/>
                  </a:lnTo>
                  <a:lnTo>
                    <a:pt x="75" y="66"/>
                  </a:lnTo>
                  <a:lnTo>
                    <a:pt x="79" y="66"/>
                  </a:lnTo>
                  <a:lnTo>
                    <a:pt x="79" y="64"/>
                  </a:lnTo>
                  <a:lnTo>
                    <a:pt x="77" y="56"/>
                  </a:lnTo>
                  <a:lnTo>
                    <a:pt x="79" y="52"/>
                  </a:lnTo>
                  <a:lnTo>
                    <a:pt x="79" y="50"/>
                  </a:lnTo>
                  <a:lnTo>
                    <a:pt x="79" y="48"/>
                  </a:lnTo>
                  <a:lnTo>
                    <a:pt x="77" y="48"/>
                  </a:lnTo>
                  <a:lnTo>
                    <a:pt x="73" y="46"/>
                  </a:lnTo>
                  <a:lnTo>
                    <a:pt x="70" y="42"/>
                  </a:lnTo>
                  <a:lnTo>
                    <a:pt x="68" y="44"/>
                  </a:lnTo>
                  <a:lnTo>
                    <a:pt x="66" y="44"/>
                  </a:lnTo>
                  <a:lnTo>
                    <a:pt x="64" y="44"/>
                  </a:lnTo>
                  <a:lnTo>
                    <a:pt x="60" y="44"/>
                  </a:lnTo>
                  <a:lnTo>
                    <a:pt x="58" y="44"/>
                  </a:lnTo>
                  <a:lnTo>
                    <a:pt x="58" y="46"/>
                  </a:lnTo>
                  <a:lnTo>
                    <a:pt x="56" y="48"/>
                  </a:lnTo>
                  <a:lnTo>
                    <a:pt x="54" y="48"/>
                  </a:lnTo>
                  <a:lnTo>
                    <a:pt x="54" y="46"/>
                  </a:lnTo>
                  <a:lnTo>
                    <a:pt x="52" y="46"/>
                  </a:lnTo>
                  <a:lnTo>
                    <a:pt x="48" y="46"/>
                  </a:lnTo>
                  <a:lnTo>
                    <a:pt x="45" y="46"/>
                  </a:lnTo>
                  <a:lnTo>
                    <a:pt x="45" y="48"/>
                  </a:lnTo>
                  <a:lnTo>
                    <a:pt x="43" y="48"/>
                  </a:lnTo>
                  <a:lnTo>
                    <a:pt x="41" y="52"/>
                  </a:lnTo>
                  <a:lnTo>
                    <a:pt x="41" y="54"/>
                  </a:lnTo>
                  <a:lnTo>
                    <a:pt x="43" y="56"/>
                  </a:lnTo>
                  <a:lnTo>
                    <a:pt x="41" y="58"/>
                  </a:lnTo>
                  <a:lnTo>
                    <a:pt x="41" y="60"/>
                  </a:lnTo>
                  <a:lnTo>
                    <a:pt x="41" y="62"/>
                  </a:lnTo>
                  <a:lnTo>
                    <a:pt x="43" y="62"/>
                  </a:lnTo>
                  <a:lnTo>
                    <a:pt x="43" y="66"/>
                  </a:lnTo>
                  <a:lnTo>
                    <a:pt x="41" y="67"/>
                  </a:lnTo>
                  <a:lnTo>
                    <a:pt x="45" y="66"/>
                  </a:lnTo>
                  <a:lnTo>
                    <a:pt x="45" y="67"/>
                  </a:lnTo>
                  <a:lnTo>
                    <a:pt x="45" y="69"/>
                  </a:lnTo>
                  <a:lnTo>
                    <a:pt x="45" y="73"/>
                  </a:lnTo>
                  <a:lnTo>
                    <a:pt x="45" y="75"/>
                  </a:lnTo>
                  <a:lnTo>
                    <a:pt x="46" y="73"/>
                  </a:lnTo>
                  <a:lnTo>
                    <a:pt x="46" y="75"/>
                  </a:lnTo>
                  <a:lnTo>
                    <a:pt x="45" y="77"/>
                  </a:lnTo>
                  <a:lnTo>
                    <a:pt x="43" y="73"/>
                  </a:lnTo>
                  <a:lnTo>
                    <a:pt x="45" y="71"/>
                  </a:lnTo>
                  <a:lnTo>
                    <a:pt x="41" y="69"/>
                  </a:lnTo>
                  <a:lnTo>
                    <a:pt x="39" y="69"/>
                  </a:lnTo>
                  <a:lnTo>
                    <a:pt x="39" y="71"/>
                  </a:lnTo>
                  <a:lnTo>
                    <a:pt x="37" y="75"/>
                  </a:lnTo>
                  <a:lnTo>
                    <a:pt x="35" y="71"/>
                  </a:lnTo>
                  <a:lnTo>
                    <a:pt x="37" y="69"/>
                  </a:lnTo>
                  <a:lnTo>
                    <a:pt x="41" y="66"/>
                  </a:lnTo>
                  <a:lnTo>
                    <a:pt x="39" y="62"/>
                  </a:lnTo>
                  <a:lnTo>
                    <a:pt x="39" y="60"/>
                  </a:lnTo>
                  <a:lnTo>
                    <a:pt x="37" y="60"/>
                  </a:lnTo>
                  <a:lnTo>
                    <a:pt x="35" y="60"/>
                  </a:lnTo>
                  <a:lnTo>
                    <a:pt x="33" y="60"/>
                  </a:lnTo>
                  <a:lnTo>
                    <a:pt x="31" y="62"/>
                  </a:lnTo>
                  <a:lnTo>
                    <a:pt x="29" y="66"/>
                  </a:lnTo>
                  <a:lnTo>
                    <a:pt x="31" y="64"/>
                  </a:lnTo>
                  <a:lnTo>
                    <a:pt x="29" y="66"/>
                  </a:lnTo>
                  <a:lnTo>
                    <a:pt x="27" y="66"/>
                  </a:lnTo>
                  <a:lnTo>
                    <a:pt x="25" y="69"/>
                  </a:lnTo>
                  <a:lnTo>
                    <a:pt x="23" y="69"/>
                  </a:lnTo>
                  <a:lnTo>
                    <a:pt x="23" y="71"/>
                  </a:lnTo>
                  <a:lnTo>
                    <a:pt x="25" y="75"/>
                  </a:lnTo>
                  <a:lnTo>
                    <a:pt x="25" y="79"/>
                  </a:lnTo>
                  <a:lnTo>
                    <a:pt x="22" y="79"/>
                  </a:lnTo>
                  <a:lnTo>
                    <a:pt x="22" y="77"/>
                  </a:lnTo>
                  <a:lnTo>
                    <a:pt x="20" y="77"/>
                  </a:lnTo>
                  <a:lnTo>
                    <a:pt x="22" y="75"/>
                  </a:lnTo>
                  <a:lnTo>
                    <a:pt x="20" y="73"/>
                  </a:lnTo>
                  <a:lnTo>
                    <a:pt x="20" y="71"/>
                  </a:lnTo>
                  <a:lnTo>
                    <a:pt x="22" y="69"/>
                  </a:lnTo>
                  <a:lnTo>
                    <a:pt x="22" y="67"/>
                  </a:lnTo>
                  <a:lnTo>
                    <a:pt x="20" y="67"/>
                  </a:lnTo>
                  <a:lnTo>
                    <a:pt x="20" y="66"/>
                  </a:lnTo>
                  <a:lnTo>
                    <a:pt x="18" y="67"/>
                  </a:lnTo>
                  <a:lnTo>
                    <a:pt x="16" y="66"/>
                  </a:lnTo>
                  <a:lnTo>
                    <a:pt x="14" y="66"/>
                  </a:lnTo>
                  <a:lnTo>
                    <a:pt x="16" y="66"/>
                  </a:lnTo>
                  <a:lnTo>
                    <a:pt x="18" y="66"/>
                  </a:lnTo>
                  <a:lnTo>
                    <a:pt x="18" y="64"/>
                  </a:lnTo>
                  <a:lnTo>
                    <a:pt x="16" y="64"/>
                  </a:lnTo>
                  <a:lnTo>
                    <a:pt x="18" y="62"/>
                  </a:lnTo>
                  <a:lnTo>
                    <a:pt x="16" y="60"/>
                  </a:lnTo>
                  <a:lnTo>
                    <a:pt x="20" y="58"/>
                  </a:lnTo>
                  <a:lnTo>
                    <a:pt x="22" y="58"/>
                  </a:lnTo>
                  <a:lnTo>
                    <a:pt x="22" y="54"/>
                  </a:lnTo>
                  <a:lnTo>
                    <a:pt x="23" y="50"/>
                  </a:lnTo>
                  <a:lnTo>
                    <a:pt x="27" y="48"/>
                  </a:lnTo>
                  <a:lnTo>
                    <a:pt x="29" y="48"/>
                  </a:lnTo>
                  <a:lnTo>
                    <a:pt x="29" y="46"/>
                  </a:lnTo>
                  <a:lnTo>
                    <a:pt x="31" y="46"/>
                  </a:lnTo>
                  <a:lnTo>
                    <a:pt x="33" y="46"/>
                  </a:lnTo>
                  <a:lnTo>
                    <a:pt x="35" y="46"/>
                  </a:lnTo>
                  <a:lnTo>
                    <a:pt x="35" y="44"/>
                  </a:lnTo>
                  <a:lnTo>
                    <a:pt x="37" y="46"/>
                  </a:lnTo>
                  <a:lnTo>
                    <a:pt x="37" y="44"/>
                  </a:lnTo>
                  <a:lnTo>
                    <a:pt x="39" y="44"/>
                  </a:lnTo>
                  <a:lnTo>
                    <a:pt x="43" y="46"/>
                  </a:lnTo>
                  <a:lnTo>
                    <a:pt x="45" y="46"/>
                  </a:lnTo>
                  <a:lnTo>
                    <a:pt x="50" y="44"/>
                  </a:lnTo>
                  <a:lnTo>
                    <a:pt x="54" y="44"/>
                  </a:lnTo>
                  <a:lnTo>
                    <a:pt x="56" y="42"/>
                  </a:lnTo>
                  <a:lnTo>
                    <a:pt x="56" y="41"/>
                  </a:lnTo>
                  <a:lnTo>
                    <a:pt x="58" y="41"/>
                  </a:lnTo>
                  <a:lnTo>
                    <a:pt x="58" y="42"/>
                  </a:lnTo>
                  <a:lnTo>
                    <a:pt x="60" y="42"/>
                  </a:lnTo>
                  <a:lnTo>
                    <a:pt x="62" y="41"/>
                  </a:lnTo>
                  <a:lnTo>
                    <a:pt x="66" y="42"/>
                  </a:lnTo>
                  <a:lnTo>
                    <a:pt x="70" y="42"/>
                  </a:lnTo>
                  <a:lnTo>
                    <a:pt x="77" y="48"/>
                  </a:lnTo>
                  <a:lnTo>
                    <a:pt x="81" y="48"/>
                  </a:lnTo>
                  <a:lnTo>
                    <a:pt x="81" y="44"/>
                  </a:lnTo>
                  <a:lnTo>
                    <a:pt x="83" y="44"/>
                  </a:lnTo>
                  <a:lnTo>
                    <a:pt x="83" y="42"/>
                  </a:lnTo>
                  <a:lnTo>
                    <a:pt x="83" y="41"/>
                  </a:lnTo>
                  <a:lnTo>
                    <a:pt x="85" y="37"/>
                  </a:lnTo>
                  <a:lnTo>
                    <a:pt x="89" y="33"/>
                  </a:lnTo>
                  <a:lnTo>
                    <a:pt x="89" y="31"/>
                  </a:lnTo>
                  <a:lnTo>
                    <a:pt x="87" y="27"/>
                  </a:lnTo>
                  <a:lnTo>
                    <a:pt x="87" y="25"/>
                  </a:lnTo>
                  <a:lnTo>
                    <a:pt x="87" y="23"/>
                  </a:lnTo>
                  <a:lnTo>
                    <a:pt x="87" y="19"/>
                  </a:lnTo>
                  <a:lnTo>
                    <a:pt x="89" y="19"/>
                  </a:lnTo>
                  <a:lnTo>
                    <a:pt x="89" y="17"/>
                  </a:lnTo>
                  <a:lnTo>
                    <a:pt x="87" y="16"/>
                  </a:lnTo>
                  <a:lnTo>
                    <a:pt x="85" y="14"/>
                  </a:lnTo>
                  <a:lnTo>
                    <a:pt x="85" y="10"/>
                  </a:lnTo>
                  <a:lnTo>
                    <a:pt x="85" y="8"/>
                  </a:lnTo>
                  <a:lnTo>
                    <a:pt x="89" y="2"/>
                  </a:lnTo>
                  <a:lnTo>
                    <a:pt x="91" y="2"/>
                  </a:lnTo>
                  <a:lnTo>
                    <a:pt x="93" y="0"/>
                  </a:lnTo>
                  <a:lnTo>
                    <a:pt x="91" y="0"/>
                  </a:lnTo>
                  <a:lnTo>
                    <a:pt x="89" y="0"/>
                  </a:lnTo>
                  <a:lnTo>
                    <a:pt x="81" y="6"/>
                  </a:lnTo>
                  <a:lnTo>
                    <a:pt x="77" y="10"/>
                  </a:lnTo>
                  <a:lnTo>
                    <a:pt x="73" y="10"/>
                  </a:lnTo>
                  <a:lnTo>
                    <a:pt x="68" y="10"/>
                  </a:lnTo>
                  <a:lnTo>
                    <a:pt x="66" y="14"/>
                  </a:lnTo>
                  <a:lnTo>
                    <a:pt x="62" y="17"/>
                  </a:lnTo>
                  <a:lnTo>
                    <a:pt x="62" y="21"/>
                  </a:lnTo>
                  <a:lnTo>
                    <a:pt x="56" y="29"/>
                  </a:lnTo>
                  <a:lnTo>
                    <a:pt x="52" y="33"/>
                  </a:lnTo>
                  <a:lnTo>
                    <a:pt x="48" y="37"/>
                  </a:lnTo>
                  <a:lnTo>
                    <a:pt x="43" y="37"/>
                  </a:lnTo>
                  <a:lnTo>
                    <a:pt x="39" y="37"/>
                  </a:lnTo>
                  <a:lnTo>
                    <a:pt x="37" y="37"/>
                  </a:lnTo>
                  <a:lnTo>
                    <a:pt x="35" y="37"/>
                  </a:lnTo>
                  <a:lnTo>
                    <a:pt x="31" y="39"/>
                  </a:lnTo>
                  <a:lnTo>
                    <a:pt x="27" y="39"/>
                  </a:lnTo>
                  <a:lnTo>
                    <a:pt x="25" y="39"/>
                  </a:lnTo>
                  <a:lnTo>
                    <a:pt x="23" y="37"/>
                  </a:lnTo>
                  <a:lnTo>
                    <a:pt x="22" y="39"/>
                  </a:lnTo>
                  <a:lnTo>
                    <a:pt x="22" y="41"/>
                  </a:lnTo>
                  <a:lnTo>
                    <a:pt x="20" y="42"/>
                  </a:lnTo>
                  <a:lnTo>
                    <a:pt x="18" y="42"/>
                  </a:lnTo>
                  <a:lnTo>
                    <a:pt x="16" y="44"/>
                  </a:lnTo>
                  <a:lnTo>
                    <a:pt x="14" y="48"/>
                  </a:lnTo>
                  <a:lnTo>
                    <a:pt x="10" y="56"/>
                  </a:lnTo>
                  <a:lnTo>
                    <a:pt x="8" y="60"/>
                  </a:lnTo>
                  <a:lnTo>
                    <a:pt x="8" y="64"/>
                  </a:lnTo>
                  <a:lnTo>
                    <a:pt x="10" y="64"/>
                  </a:lnTo>
                  <a:lnTo>
                    <a:pt x="10" y="62"/>
                  </a:lnTo>
                  <a:lnTo>
                    <a:pt x="10" y="60"/>
                  </a:lnTo>
                  <a:lnTo>
                    <a:pt x="12" y="60"/>
                  </a:lnTo>
                  <a:lnTo>
                    <a:pt x="12" y="62"/>
                  </a:lnTo>
                  <a:lnTo>
                    <a:pt x="12" y="64"/>
                  </a:lnTo>
                  <a:lnTo>
                    <a:pt x="12" y="66"/>
                  </a:lnTo>
                  <a:lnTo>
                    <a:pt x="14" y="66"/>
                  </a:lnTo>
                  <a:lnTo>
                    <a:pt x="16" y="67"/>
                  </a:lnTo>
                  <a:lnTo>
                    <a:pt x="18" y="69"/>
                  </a:lnTo>
                  <a:lnTo>
                    <a:pt x="18" y="67"/>
                  </a:lnTo>
                  <a:lnTo>
                    <a:pt x="18" y="71"/>
                  </a:lnTo>
                  <a:lnTo>
                    <a:pt x="20" y="73"/>
                  </a:lnTo>
                  <a:lnTo>
                    <a:pt x="18" y="75"/>
                  </a:lnTo>
                  <a:lnTo>
                    <a:pt x="16" y="73"/>
                  </a:lnTo>
                  <a:lnTo>
                    <a:pt x="14" y="71"/>
                  </a:lnTo>
                  <a:lnTo>
                    <a:pt x="12" y="73"/>
                  </a:lnTo>
                  <a:lnTo>
                    <a:pt x="10" y="73"/>
                  </a:lnTo>
                  <a:lnTo>
                    <a:pt x="10" y="71"/>
                  </a:lnTo>
                  <a:lnTo>
                    <a:pt x="12" y="71"/>
                  </a:lnTo>
                  <a:lnTo>
                    <a:pt x="8" y="69"/>
                  </a:lnTo>
                  <a:lnTo>
                    <a:pt x="6" y="67"/>
                  </a:lnTo>
                  <a:lnTo>
                    <a:pt x="8" y="67"/>
                  </a:lnTo>
                  <a:lnTo>
                    <a:pt x="8" y="66"/>
                  </a:lnTo>
                  <a:lnTo>
                    <a:pt x="8" y="67"/>
                  </a:lnTo>
                  <a:lnTo>
                    <a:pt x="8" y="66"/>
                  </a:lnTo>
                  <a:lnTo>
                    <a:pt x="8" y="64"/>
                  </a:lnTo>
                  <a:lnTo>
                    <a:pt x="6" y="67"/>
                  </a:lnTo>
                  <a:lnTo>
                    <a:pt x="4" y="73"/>
                  </a:lnTo>
                  <a:lnTo>
                    <a:pt x="4" y="77"/>
                  </a:lnTo>
                  <a:lnTo>
                    <a:pt x="4" y="94"/>
                  </a:lnTo>
                  <a:lnTo>
                    <a:pt x="2" y="102"/>
                  </a:lnTo>
                  <a:lnTo>
                    <a:pt x="2" y="108"/>
                  </a:lnTo>
                  <a:lnTo>
                    <a:pt x="4" y="102"/>
                  </a:lnTo>
                  <a:lnTo>
                    <a:pt x="4" y="100"/>
                  </a:lnTo>
                  <a:lnTo>
                    <a:pt x="4" y="102"/>
                  </a:lnTo>
                  <a:lnTo>
                    <a:pt x="6" y="102"/>
                  </a:lnTo>
                  <a:lnTo>
                    <a:pt x="8" y="104"/>
                  </a:lnTo>
                  <a:lnTo>
                    <a:pt x="8" y="106"/>
                  </a:lnTo>
                  <a:lnTo>
                    <a:pt x="10" y="108"/>
                  </a:lnTo>
                  <a:lnTo>
                    <a:pt x="10" y="110"/>
                  </a:lnTo>
                  <a:lnTo>
                    <a:pt x="12" y="112"/>
                  </a:lnTo>
                  <a:lnTo>
                    <a:pt x="12" y="114"/>
                  </a:lnTo>
                  <a:lnTo>
                    <a:pt x="8" y="117"/>
                  </a:lnTo>
                  <a:lnTo>
                    <a:pt x="6" y="117"/>
                  </a:lnTo>
                  <a:lnTo>
                    <a:pt x="6" y="119"/>
                  </a:lnTo>
                  <a:lnTo>
                    <a:pt x="6" y="117"/>
                  </a:lnTo>
                  <a:lnTo>
                    <a:pt x="4" y="117"/>
                  </a:lnTo>
                  <a:lnTo>
                    <a:pt x="4" y="115"/>
                  </a:lnTo>
                  <a:lnTo>
                    <a:pt x="4" y="114"/>
                  </a:lnTo>
                  <a:lnTo>
                    <a:pt x="4" y="112"/>
                  </a:lnTo>
                  <a:lnTo>
                    <a:pt x="2" y="108"/>
                  </a:lnTo>
                  <a:lnTo>
                    <a:pt x="2" y="112"/>
                  </a:lnTo>
                  <a:lnTo>
                    <a:pt x="4" y="12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4" name="Freeform 112"/>
            <p:cNvSpPr>
              <a:spLocks/>
            </p:cNvSpPr>
            <p:nvPr/>
          </p:nvSpPr>
          <p:spPr bwMode="auto">
            <a:xfrm>
              <a:off x="2494" y="2171"/>
              <a:ext cx="62" cy="73"/>
            </a:xfrm>
            <a:custGeom>
              <a:avLst/>
              <a:gdLst>
                <a:gd name="T0" fmla="*/ 35 w 62"/>
                <a:gd name="T1" fmla="*/ 23 h 73"/>
                <a:gd name="T2" fmla="*/ 39 w 62"/>
                <a:gd name="T3" fmla="*/ 15 h 73"/>
                <a:gd name="T4" fmla="*/ 41 w 62"/>
                <a:gd name="T5" fmla="*/ 11 h 73"/>
                <a:gd name="T6" fmla="*/ 43 w 62"/>
                <a:gd name="T7" fmla="*/ 17 h 73"/>
                <a:gd name="T8" fmla="*/ 43 w 62"/>
                <a:gd name="T9" fmla="*/ 25 h 73"/>
                <a:gd name="T10" fmla="*/ 43 w 62"/>
                <a:gd name="T11" fmla="*/ 31 h 73"/>
                <a:gd name="T12" fmla="*/ 45 w 62"/>
                <a:gd name="T13" fmla="*/ 29 h 73"/>
                <a:gd name="T14" fmla="*/ 45 w 62"/>
                <a:gd name="T15" fmla="*/ 21 h 73"/>
                <a:gd name="T16" fmla="*/ 43 w 62"/>
                <a:gd name="T17" fmla="*/ 11 h 73"/>
                <a:gd name="T18" fmla="*/ 37 w 62"/>
                <a:gd name="T19" fmla="*/ 11 h 73"/>
                <a:gd name="T20" fmla="*/ 39 w 62"/>
                <a:gd name="T21" fmla="*/ 8 h 73"/>
                <a:gd name="T22" fmla="*/ 50 w 62"/>
                <a:gd name="T23" fmla="*/ 0 h 73"/>
                <a:gd name="T24" fmla="*/ 58 w 62"/>
                <a:gd name="T25" fmla="*/ 2 h 73"/>
                <a:gd name="T26" fmla="*/ 60 w 62"/>
                <a:gd name="T27" fmla="*/ 8 h 73"/>
                <a:gd name="T28" fmla="*/ 62 w 62"/>
                <a:gd name="T29" fmla="*/ 19 h 73"/>
                <a:gd name="T30" fmla="*/ 62 w 62"/>
                <a:gd name="T31" fmla="*/ 27 h 73"/>
                <a:gd name="T32" fmla="*/ 56 w 62"/>
                <a:gd name="T33" fmla="*/ 33 h 73"/>
                <a:gd name="T34" fmla="*/ 48 w 62"/>
                <a:gd name="T35" fmla="*/ 42 h 73"/>
                <a:gd name="T36" fmla="*/ 54 w 62"/>
                <a:gd name="T37" fmla="*/ 46 h 73"/>
                <a:gd name="T38" fmla="*/ 54 w 62"/>
                <a:gd name="T39" fmla="*/ 56 h 73"/>
                <a:gd name="T40" fmla="*/ 45 w 62"/>
                <a:gd name="T41" fmla="*/ 60 h 73"/>
                <a:gd name="T42" fmla="*/ 41 w 62"/>
                <a:gd name="T43" fmla="*/ 63 h 73"/>
                <a:gd name="T44" fmla="*/ 47 w 62"/>
                <a:gd name="T45" fmla="*/ 67 h 73"/>
                <a:gd name="T46" fmla="*/ 47 w 62"/>
                <a:gd name="T47" fmla="*/ 71 h 73"/>
                <a:gd name="T48" fmla="*/ 43 w 62"/>
                <a:gd name="T49" fmla="*/ 73 h 73"/>
                <a:gd name="T50" fmla="*/ 35 w 62"/>
                <a:gd name="T51" fmla="*/ 69 h 73"/>
                <a:gd name="T52" fmla="*/ 33 w 62"/>
                <a:gd name="T53" fmla="*/ 65 h 73"/>
                <a:gd name="T54" fmla="*/ 33 w 62"/>
                <a:gd name="T55" fmla="*/ 61 h 73"/>
                <a:gd name="T56" fmla="*/ 31 w 62"/>
                <a:gd name="T57" fmla="*/ 61 h 73"/>
                <a:gd name="T58" fmla="*/ 27 w 62"/>
                <a:gd name="T59" fmla="*/ 60 h 73"/>
                <a:gd name="T60" fmla="*/ 22 w 62"/>
                <a:gd name="T61" fmla="*/ 58 h 73"/>
                <a:gd name="T62" fmla="*/ 18 w 62"/>
                <a:gd name="T63" fmla="*/ 60 h 73"/>
                <a:gd name="T64" fmla="*/ 14 w 62"/>
                <a:gd name="T65" fmla="*/ 58 h 73"/>
                <a:gd name="T66" fmla="*/ 8 w 62"/>
                <a:gd name="T67" fmla="*/ 50 h 73"/>
                <a:gd name="T68" fmla="*/ 14 w 62"/>
                <a:gd name="T69" fmla="*/ 46 h 73"/>
                <a:gd name="T70" fmla="*/ 12 w 62"/>
                <a:gd name="T71" fmla="*/ 40 h 73"/>
                <a:gd name="T72" fmla="*/ 12 w 62"/>
                <a:gd name="T73" fmla="*/ 38 h 73"/>
                <a:gd name="T74" fmla="*/ 6 w 62"/>
                <a:gd name="T75" fmla="*/ 29 h 73"/>
                <a:gd name="T76" fmla="*/ 6 w 62"/>
                <a:gd name="T77" fmla="*/ 29 h 73"/>
                <a:gd name="T78" fmla="*/ 8 w 62"/>
                <a:gd name="T79" fmla="*/ 27 h 73"/>
                <a:gd name="T80" fmla="*/ 2 w 62"/>
                <a:gd name="T81" fmla="*/ 25 h 73"/>
                <a:gd name="T82" fmla="*/ 8 w 62"/>
                <a:gd name="T83" fmla="*/ 25 h 73"/>
                <a:gd name="T84" fmla="*/ 14 w 62"/>
                <a:gd name="T85" fmla="*/ 23 h 73"/>
                <a:gd name="T86" fmla="*/ 20 w 62"/>
                <a:gd name="T87" fmla="*/ 21 h 73"/>
                <a:gd name="T88" fmla="*/ 20 w 62"/>
                <a:gd name="T89" fmla="*/ 17 h 73"/>
                <a:gd name="T90" fmla="*/ 24 w 62"/>
                <a:gd name="T91" fmla="*/ 11 h 73"/>
                <a:gd name="T92" fmla="*/ 20 w 62"/>
                <a:gd name="T93" fmla="*/ 10 h 73"/>
                <a:gd name="T94" fmla="*/ 31 w 62"/>
                <a:gd name="T95" fmla="*/ 10 h 73"/>
                <a:gd name="T96" fmla="*/ 31 w 62"/>
                <a:gd name="T97" fmla="*/ 13 h 73"/>
                <a:gd name="T98" fmla="*/ 31 w 62"/>
                <a:gd name="T99" fmla="*/ 19 h 73"/>
                <a:gd name="T100" fmla="*/ 31 w 62"/>
                <a:gd name="T101" fmla="*/ 19 h 73"/>
                <a:gd name="T102" fmla="*/ 31 w 62"/>
                <a:gd name="T103" fmla="*/ 23 h 73"/>
                <a:gd name="T104" fmla="*/ 33 w 62"/>
                <a:gd name="T105"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 h="73">
                  <a:moveTo>
                    <a:pt x="35" y="27"/>
                  </a:moveTo>
                  <a:lnTo>
                    <a:pt x="35" y="25"/>
                  </a:lnTo>
                  <a:lnTo>
                    <a:pt x="37" y="23"/>
                  </a:lnTo>
                  <a:lnTo>
                    <a:pt x="35" y="23"/>
                  </a:lnTo>
                  <a:lnTo>
                    <a:pt x="37" y="19"/>
                  </a:lnTo>
                  <a:lnTo>
                    <a:pt x="39" y="19"/>
                  </a:lnTo>
                  <a:lnTo>
                    <a:pt x="39" y="17"/>
                  </a:lnTo>
                  <a:lnTo>
                    <a:pt x="39" y="15"/>
                  </a:lnTo>
                  <a:lnTo>
                    <a:pt x="39" y="13"/>
                  </a:lnTo>
                  <a:lnTo>
                    <a:pt x="37" y="11"/>
                  </a:lnTo>
                  <a:lnTo>
                    <a:pt x="39" y="11"/>
                  </a:lnTo>
                  <a:lnTo>
                    <a:pt x="41" y="11"/>
                  </a:lnTo>
                  <a:lnTo>
                    <a:pt x="41" y="13"/>
                  </a:lnTo>
                  <a:lnTo>
                    <a:pt x="41" y="15"/>
                  </a:lnTo>
                  <a:lnTo>
                    <a:pt x="41" y="17"/>
                  </a:lnTo>
                  <a:lnTo>
                    <a:pt x="43" y="17"/>
                  </a:lnTo>
                  <a:lnTo>
                    <a:pt x="43" y="19"/>
                  </a:lnTo>
                  <a:lnTo>
                    <a:pt x="43" y="21"/>
                  </a:lnTo>
                  <a:lnTo>
                    <a:pt x="43" y="23"/>
                  </a:lnTo>
                  <a:lnTo>
                    <a:pt x="43" y="25"/>
                  </a:lnTo>
                  <a:lnTo>
                    <a:pt x="41" y="25"/>
                  </a:lnTo>
                  <a:lnTo>
                    <a:pt x="41" y="29"/>
                  </a:lnTo>
                  <a:lnTo>
                    <a:pt x="43" y="29"/>
                  </a:lnTo>
                  <a:lnTo>
                    <a:pt x="43" y="31"/>
                  </a:lnTo>
                  <a:lnTo>
                    <a:pt x="45" y="29"/>
                  </a:lnTo>
                  <a:lnTo>
                    <a:pt x="43" y="29"/>
                  </a:lnTo>
                  <a:lnTo>
                    <a:pt x="43" y="27"/>
                  </a:lnTo>
                  <a:lnTo>
                    <a:pt x="45" y="29"/>
                  </a:lnTo>
                  <a:lnTo>
                    <a:pt x="45" y="27"/>
                  </a:lnTo>
                  <a:lnTo>
                    <a:pt x="45" y="25"/>
                  </a:lnTo>
                  <a:lnTo>
                    <a:pt x="45" y="23"/>
                  </a:lnTo>
                  <a:lnTo>
                    <a:pt x="45" y="21"/>
                  </a:lnTo>
                  <a:lnTo>
                    <a:pt x="43" y="19"/>
                  </a:lnTo>
                  <a:lnTo>
                    <a:pt x="43" y="17"/>
                  </a:lnTo>
                  <a:lnTo>
                    <a:pt x="43" y="15"/>
                  </a:lnTo>
                  <a:lnTo>
                    <a:pt x="43" y="11"/>
                  </a:lnTo>
                  <a:lnTo>
                    <a:pt x="41" y="11"/>
                  </a:lnTo>
                  <a:lnTo>
                    <a:pt x="41" y="10"/>
                  </a:lnTo>
                  <a:lnTo>
                    <a:pt x="39" y="10"/>
                  </a:lnTo>
                  <a:lnTo>
                    <a:pt x="37" y="11"/>
                  </a:lnTo>
                  <a:lnTo>
                    <a:pt x="35" y="10"/>
                  </a:lnTo>
                  <a:lnTo>
                    <a:pt x="35" y="8"/>
                  </a:lnTo>
                  <a:lnTo>
                    <a:pt x="37" y="8"/>
                  </a:lnTo>
                  <a:lnTo>
                    <a:pt x="39" y="8"/>
                  </a:lnTo>
                  <a:lnTo>
                    <a:pt x="41" y="6"/>
                  </a:lnTo>
                  <a:lnTo>
                    <a:pt x="43" y="4"/>
                  </a:lnTo>
                  <a:lnTo>
                    <a:pt x="47" y="2"/>
                  </a:lnTo>
                  <a:lnTo>
                    <a:pt x="50" y="0"/>
                  </a:lnTo>
                  <a:lnTo>
                    <a:pt x="52" y="0"/>
                  </a:lnTo>
                  <a:lnTo>
                    <a:pt x="54" y="2"/>
                  </a:lnTo>
                  <a:lnTo>
                    <a:pt x="56" y="2"/>
                  </a:lnTo>
                  <a:lnTo>
                    <a:pt x="58" y="2"/>
                  </a:lnTo>
                  <a:lnTo>
                    <a:pt x="60" y="4"/>
                  </a:lnTo>
                  <a:lnTo>
                    <a:pt x="62" y="6"/>
                  </a:lnTo>
                  <a:lnTo>
                    <a:pt x="62" y="8"/>
                  </a:lnTo>
                  <a:lnTo>
                    <a:pt x="60" y="8"/>
                  </a:lnTo>
                  <a:lnTo>
                    <a:pt x="60" y="11"/>
                  </a:lnTo>
                  <a:lnTo>
                    <a:pt x="58" y="13"/>
                  </a:lnTo>
                  <a:lnTo>
                    <a:pt x="60" y="17"/>
                  </a:lnTo>
                  <a:lnTo>
                    <a:pt x="62" y="19"/>
                  </a:lnTo>
                  <a:lnTo>
                    <a:pt x="62" y="21"/>
                  </a:lnTo>
                  <a:lnTo>
                    <a:pt x="62" y="23"/>
                  </a:lnTo>
                  <a:lnTo>
                    <a:pt x="62" y="25"/>
                  </a:lnTo>
                  <a:lnTo>
                    <a:pt x="62" y="27"/>
                  </a:lnTo>
                  <a:lnTo>
                    <a:pt x="60" y="31"/>
                  </a:lnTo>
                  <a:lnTo>
                    <a:pt x="58" y="31"/>
                  </a:lnTo>
                  <a:lnTo>
                    <a:pt x="58" y="33"/>
                  </a:lnTo>
                  <a:lnTo>
                    <a:pt x="56" y="33"/>
                  </a:lnTo>
                  <a:lnTo>
                    <a:pt x="54" y="33"/>
                  </a:lnTo>
                  <a:lnTo>
                    <a:pt x="50" y="36"/>
                  </a:lnTo>
                  <a:lnTo>
                    <a:pt x="48" y="40"/>
                  </a:lnTo>
                  <a:lnTo>
                    <a:pt x="48" y="42"/>
                  </a:lnTo>
                  <a:lnTo>
                    <a:pt x="48" y="44"/>
                  </a:lnTo>
                  <a:lnTo>
                    <a:pt x="50" y="46"/>
                  </a:lnTo>
                  <a:lnTo>
                    <a:pt x="52" y="46"/>
                  </a:lnTo>
                  <a:lnTo>
                    <a:pt x="54" y="46"/>
                  </a:lnTo>
                  <a:lnTo>
                    <a:pt x="56" y="48"/>
                  </a:lnTo>
                  <a:lnTo>
                    <a:pt x="56" y="50"/>
                  </a:lnTo>
                  <a:lnTo>
                    <a:pt x="56" y="54"/>
                  </a:lnTo>
                  <a:lnTo>
                    <a:pt x="54" y="56"/>
                  </a:lnTo>
                  <a:lnTo>
                    <a:pt x="54" y="58"/>
                  </a:lnTo>
                  <a:lnTo>
                    <a:pt x="50" y="56"/>
                  </a:lnTo>
                  <a:lnTo>
                    <a:pt x="47" y="58"/>
                  </a:lnTo>
                  <a:lnTo>
                    <a:pt x="45" y="60"/>
                  </a:lnTo>
                  <a:lnTo>
                    <a:pt x="45" y="63"/>
                  </a:lnTo>
                  <a:lnTo>
                    <a:pt x="45" y="61"/>
                  </a:lnTo>
                  <a:lnTo>
                    <a:pt x="43" y="61"/>
                  </a:lnTo>
                  <a:lnTo>
                    <a:pt x="41" y="63"/>
                  </a:lnTo>
                  <a:lnTo>
                    <a:pt x="43" y="63"/>
                  </a:lnTo>
                  <a:lnTo>
                    <a:pt x="45" y="63"/>
                  </a:lnTo>
                  <a:lnTo>
                    <a:pt x="47" y="63"/>
                  </a:lnTo>
                  <a:lnTo>
                    <a:pt x="47" y="67"/>
                  </a:lnTo>
                  <a:lnTo>
                    <a:pt x="45" y="67"/>
                  </a:lnTo>
                  <a:lnTo>
                    <a:pt x="45" y="69"/>
                  </a:lnTo>
                  <a:lnTo>
                    <a:pt x="47" y="69"/>
                  </a:lnTo>
                  <a:lnTo>
                    <a:pt x="47" y="71"/>
                  </a:lnTo>
                  <a:lnTo>
                    <a:pt x="48" y="71"/>
                  </a:lnTo>
                  <a:lnTo>
                    <a:pt x="47" y="73"/>
                  </a:lnTo>
                  <a:lnTo>
                    <a:pt x="45" y="73"/>
                  </a:lnTo>
                  <a:lnTo>
                    <a:pt x="43" y="73"/>
                  </a:lnTo>
                  <a:lnTo>
                    <a:pt x="41" y="73"/>
                  </a:lnTo>
                  <a:lnTo>
                    <a:pt x="39" y="71"/>
                  </a:lnTo>
                  <a:lnTo>
                    <a:pt x="37" y="71"/>
                  </a:lnTo>
                  <a:lnTo>
                    <a:pt x="35" y="69"/>
                  </a:lnTo>
                  <a:lnTo>
                    <a:pt x="33" y="67"/>
                  </a:lnTo>
                  <a:lnTo>
                    <a:pt x="33" y="65"/>
                  </a:lnTo>
                  <a:lnTo>
                    <a:pt x="33" y="67"/>
                  </a:lnTo>
                  <a:lnTo>
                    <a:pt x="33" y="65"/>
                  </a:lnTo>
                  <a:lnTo>
                    <a:pt x="31" y="65"/>
                  </a:lnTo>
                  <a:lnTo>
                    <a:pt x="31" y="63"/>
                  </a:lnTo>
                  <a:lnTo>
                    <a:pt x="33" y="63"/>
                  </a:lnTo>
                  <a:lnTo>
                    <a:pt x="33" y="61"/>
                  </a:lnTo>
                  <a:lnTo>
                    <a:pt x="35" y="63"/>
                  </a:lnTo>
                  <a:lnTo>
                    <a:pt x="35" y="61"/>
                  </a:lnTo>
                  <a:lnTo>
                    <a:pt x="33" y="61"/>
                  </a:lnTo>
                  <a:lnTo>
                    <a:pt x="31" y="61"/>
                  </a:lnTo>
                  <a:lnTo>
                    <a:pt x="31" y="60"/>
                  </a:lnTo>
                  <a:lnTo>
                    <a:pt x="31" y="58"/>
                  </a:lnTo>
                  <a:lnTo>
                    <a:pt x="29" y="58"/>
                  </a:lnTo>
                  <a:lnTo>
                    <a:pt x="27" y="60"/>
                  </a:lnTo>
                  <a:lnTo>
                    <a:pt x="25" y="60"/>
                  </a:lnTo>
                  <a:lnTo>
                    <a:pt x="24" y="60"/>
                  </a:lnTo>
                  <a:lnTo>
                    <a:pt x="24" y="58"/>
                  </a:lnTo>
                  <a:lnTo>
                    <a:pt x="22" y="58"/>
                  </a:lnTo>
                  <a:lnTo>
                    <a:pt x="20" y="58"/>
                  </a:lnTo>
                  <a:lnTo>
                    <a:pt x="20" y="60"/>
                  </a:lnTo>
                  <a:lnTo>
                    <a:pt x="18" y="58"/>
                  </a:lnTo>
                  <a:lnTo>
                    <a:pt x="18" y="60"/>
                  </a:lnTo>
                  <a:lnTo>
                    <a:pt x="18" y="58"/>
                  </a:lnTo>
                  <a:lnTo>
                    <a:pt x="16" y="60"/>
                  </a:lnTo>
                  <a:lnTo>
                    <a:pt x="14" y="60"/>
                  </a:lnTo>
                  <a:lnTo>
                    <a:pt x="14" y="58"/>
                  </a:lnTo>
                  <a:lnTo>
                    <a:pt x="14" y="54"/>
                  </a:lnTo>
                  <a:lnTo>
                    <a:pt x="10" y="52"/>
                  </a:lnTo>
                  <a:lnTo>
                    <a:pt x="10" y="50"/>
                  </a:lnTo>
                  <a:lnTo>
                    <a:pt x="8" y="50"/>
                  </a:lnTo>
                  <a:lnTo>
                    <a:pt x="10" y="48"/>
                  </a:lnTo>
                  <a:lnTo>
                    <a:pt x="12" y="48"/>
                  </a:lnTo>
                  <a:lnTo>
                    <a:pt x="14" y="48"/>
                  </a:lnTo>
                  <a:lnTo>
                    <a:pt x="14" y="46"/>
                  </a:lnTo>
                  <a:lnTo>
                    <a:pt x="12" y="44"/>
                  </a:lnTo>
                  <a:lnTo>
                    <a:pt x="14" y="44"/>
                  </a:lnTo>
                  <a:lnTo>
                    <a:pt x="12" y="42"/>
                  </a:lnTo>
                  <a:lnTo>
                    <a:pt x="12" y="40"/>
                  </a:lnTo>
                  <a:lnTo>
                    <a:pt x="10" y="38"/>
                  </a:lnTo>
                  <a:lnTo>
                    <a:pt x="8" y="38"/>
                  </a:lnTo>
                  <a:lnTo>
                    <a:pt x="10" y="38"/>
                  </a:lnTo>
                  <a:lnTo>
                    <a:pt x="12" y="38"/>
                  </a:lnTo>
                  <a:lnTo>
                    <a:pt x="12" y="36"/>
                  </a:lnTo>
                  <a:lnTo>
                    <a:pt x="12" y="35"/>
                  </a:lnTo>
                  <a:lnTo>
                    <a:pt x="10" y="33"/>
                  </a:lnTo>
                  <a:lnTo>
                    <a:pt x="6" y="29"/>
                  </a:lnTo>
                  <a:lnTo>
                    <a:pt x="4" y="29"/>
                  </a:lnTo>
                  <a:lnTo>
                    <a:pt x="2" y="29"/>
                  </a:lnTo>
                  <a:lnTo>
                    <a:pt x="4" y="29"/>
                  </a:lnTo>
                  <a:lnTo>
                    <a:pt x="6" y="29"/>
                  </a:lnTo>
                  <a:lnTo>
                    <a:pt x="10" y="29"/>
                  </a:lnTo>
                  <a:lnTo>
                    <a:pt x="8" y="27"/>
                  </a:lnTo>
                  <a:lnTo>
                    <a:pt x="8" y="29"/>
                  </a:lnTo>
                  <a:lnTo>
                    <a:pt x="8" y="27"/>
                  </a:lnTo>
                  <a:lnTo>
                    <a:pt x="6" y="27"/>
                  </a:lnTo>
                  <a:lnTo>
                    <a:pt x="6" y="25"/>
                  </a:lnTo>
                  <a:lnTo>
                    <a:pt x="4" y="25"/>
                  </a:lnTo>
                  <a:lnTo>
                    <a:pt x="2" y="25"/>
                  </a:lnTo>
                  <a:lnTo>
                    <a:pt x="2" y="23"/>
                  </a:lnTo>
                  <a:lnTo>
                    <a:pt x="0" y="23"/>
                  </a:lnTo>
                  <a:lnTo>
                    <a:pt x="4" y="23"/>
                  </a:lnTo>
                  <a:lnTo>
                    <a:pt x="8" y="25"/>
                  </a:lnTo>
                  <a:lnTo>
                    <a:pt x="8" y="23"/>
                  </a:lnTo>
                  <a:lnTo>
                    <a:pt x="10" y="23"/>
                  </a:lnTo>
                  <a:lnTo>
                    <a:pt x="12" y="23"/>
                  </a:lnTo>
                  <a:lnTo>
                    <a:pt x="14" y="23"/>
                  </a:lnTo>
                  <a:lnTo>
                    <a:pt x="16" y="25"/>
                  </a:lnTo>
                  <a:lnTo>
                    <a:pt x="16" y="23"/>
                  </a:lnTo>
                  <a:lnTo>
                    <a:pt x="18" y="23"/>
                  </a:lnTo>
                  <a:lnTo>
                    <a:pt x="20" y="21"/>
                  </a:lnTo>
                  <a:lnTo>
                    <a:pt x="20" y="19"/>
                  </a:lnTo>
                  <a:lnTo>
                    <a:pt x="20" y="17"/>
                  </a:lnTo>
                  <a:lnTo>
                    <a:pt x="18" y="17"/>
                  </a:lnTo>
                  <a:lnTo>
                    <a:pt x="20" y="17"/>
                  </a:lnTo>
                  <a:lnTo>
                    <a:pt x="22" y="17"/>
                  </a:lnTo>
                  <a:lnTo>
                    <a:pt x="24" y="17"/>
                  </a:lnTo>
                  <a:lnTo>
                    <a:pt x="25" y="15"/>
                  </a:lnTo>
                  <a:lnTo>
                    <a:pt x="24" y="11"/>
                  </a:lnTo>
                  <a:lnTo>
                    <a:pt x="24" y="10"/>
                  </a:lnTo>
                  <a:lnTo>
                    <a:pt x="20" y="10"/>
                  </a:lnTo>
                  <a:lnTo>
                    <a:pt x="16" y="8"/>
                  </a:lnTo>
                  <a:lnTo>
                    <a:pt x="20" y="10"/>
                  </a:lnTo>
                  <a:lnTo>
                    <a:pt x="24" y="10"/>
                  </a:lnTo>
                  <a:lnTo>
                    <a:pt x="27" y="10"/>
                  </a:lnTo>
                  <a:lnTo>
                    <a:pt x="27" y="11"/>
                  </a:lnTo>
                  <a:lnTo>
                    <a:pt x="31" y="10"/>
                  </a:lnTo>
                  <a:lnTo>
                    <a:pt x="33" y="8"/>
                  </a:lnTo>
                  <a:lnTo>
                    <a:pt x="33" y="10"/>
                  </a:lnTo>
                  <a:lnTo>
                    <a:pt x="33" y="11"/>
                  </a:lnTo>
                  <a:lnTo>
                    <a:pt x="31" y="13"/>
                  </a:lnTo>
                  <a:lnTo>
                    <a:pt x="29" y="11"/>
                  </a:lnTo>
                  <a:lnTo>
                    <a:pt x="29" y="15"/>
                  </a:lnTo>
                  <a:lnTo>
                    <a:pt x="31" y="17"/>
                  </a:lnTo>
                  <a:lnTo>
                    <a:pt x="31" y="19"/>
                  </a:lnTo>
                  <a:lnTo>
                    <a:pt x="29" y="19"/>
                  </a:lnTo>
                  <a:lnTo>
                    <a:pt x="27" y="21"/>
                  </a:lnTo>
                  <a:lnTo>
                    <a:pt x="29" y="21"/>
                  </a:lnTo>
                  <a:lnTo>
                    <a:pt x="31" y="19"/>
                  </a:lnTo>
                  <a:lnTo>
                    <a:pt x="33" y="21"/>
                  </a:lnTo>
                  <a:lnTo>
                    <a:pt x="31" y="23"/>
                  </a:lnTo>
                  <a:lnTo>
                    <a:pt x="33" y="23"/>
                  </a:lnTo>
                  <a:lnTo>
                    <a:pt x="31" y="23"/>
                  </a:lnTo>
                  <a:lnTo>
                    <a:pt x="29" y="23"/>
                  </a:lnTo>
                  <a:lnTo>
                    <a:pt x="29" y="25"/>
                  </a:lnTo>
                  <a:lnTo>
                    <a:pt x="33" y="25"/>
                  </a:lnTo>
                  <a:lnTo>
                    <a:pt x="33" y="27"/>
                  </a:lnTo>
                  <a:lnTo>
                    <a:pt x="35" y="27"/>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5" name="Freeform 113"/>
            <p:cNvSpPr>
              <a:spLocks/>
            </p:cNvSpPr>
            <p:nvPr/>
          </p:nvSpPr>
          <p:spPr bwMode="auto">
            <a:xfrm>
              <a:off x="2454" y="2202"/>
              <a:ext cx="40" cy="38"/>
            </a:xfrm>
            <a:custGeom>
              <a:avLst/>
              <a:gdLst>
                <a:gd name="T0" fmla="*/ 0 w 40"/>
                <a:gd name="T1" fmla="*/ 5 h 38"/>
                <a:gd name="T2" fmla="*/ 4 w 40"/>
                <a:gd name="T3" fmla="*/ 5 h 38"/>
                <a:gd name="T4" fmla="*/ 4 w 40"/>
                <a:gd name="T5" fmla="*/ 4 h 38"/>
                <a:gd name="T6" fmla="*/ 6 w 40"/>
                <a:gd name="T7" fmla="*/ 5 h 38"/>
                <a:gd name="T8" fmla="*/ 10 w 40"/>
                <a:gd name="T9" fmla="*/ 5 h 38"/>
                <a:gd name="T10" fmla="*/ 15 w 40"/>
                <a:gd name="T11" fmla="*/ 4 h 38"/>
                <a:gd name="T12" fmla="*/ 19 w 40"/>
                <a:gd name="T13" fmla="*/ 2 h 38"/>
                <a:gd name="T14" fmla="*/ 21 w 40"/>
                <a:gd name="T15" fmla="*/ 2 h 38"/>
                <a:gd name="T16" fmla="*/ 21 w 40"/>
                <a:gd name="T17" fmla="*/ 0 h 38"/>
                <a:gd name="T18" fmla="*/ 27 w 40"/>
                <a:gd name="T19" fmla="*/ 2 h 38"/>
                <a:gd name="T20" fmla="*/ 29 w 40"/>
                <a:gd name="T21" fmla="*/ 4 h 38"/>
                <a:gd name="T22" fmla="*/ 29 w 40"/>
                <a:gd name="T23" fmla="*/ 7 h 38"/>
                <a:gd name="T24" fmla="*/ 27 w 40"/>
                <a:gd name="T25" fmla="*/ 7 h 38"/>
                <a:gd name="T26" fmla="*/ 27 w 40"/>
                <a:gd name="T27" fmla="*/ 11 h 38"/>
                <a:gd name="T28" fmla="*/ 29 w 40"/>
                <a:gd name="T29" fmla="*/ 9 h 38"/>
                <a:gd name="T30" fmla="*/ 33 w 40"/>
                <a:gd name="T31" fmla="*/ 9 h 38"/>
                <a:gd name="T32" fmla="*/ 31 w 40"/>
                <a:gd name="T33" fmla="*/ 7 h 38"/>
                <a:gd name="T34" fmla="*/ 33 w 40"/>
                <a:gd name="T35" fmla="*/ 5 h 38"/>
                <a:gd name="T36" fmla="*/ 33 w 40"/>
                <a:gd name="T37" fmla="*/ 4 h 38"/>
                <a:gd name="T38" fmla="*/ 33 w 40"/>
                <a:gd name="T39" fmla="*/ 0 h 38"/>
                <a:gd name="T40" fmla="*/ 37 w 40"/>
                <a:gd name="T41" fmla="*/ 7 h 38"/>
                <a:gd name="T42" fmla="*/ 35 w 40"/>
                <a:gd name="T43" fmla="*/ 11 h 38"/>
                <a:gd name="T44" fmla="*/ 39 w 40"/>
                <a:gd name="T45" fmla="*/ 19 h 38"/>
                <a:gd name="T46" fmla="*/ 39 w 40"/>
                <a:gd name="T47" fmla="*/ 21 h 38"/>
                <a:gd name="T48" fmla="*/ 39 w 40"/>
                <a:gd name="T49" fmla="*/ 21 h 38"/>
                <a:gd name="T50" fmla="*/ 39 w 40"/>
                <a:gd name="T51" fmla="*/ 25 h 38"/>
                <a:gd name="T52" fmla="*/ 39 w 40"/>
                <a:gd name="T53" fmla="*/ 30 h 38"/>
                <a:gd name="T54" fmla="*/ 37 w 40"/>
                <a:gd name="T55" fmla="*/ 36 h 38"/>
                <a:gd name="T56" fmla="*/ 31 w 40"/>
                <a:gd name="T57" fmla="*/ 36 h 38"/>
                <a:gd name="T58" fmla="*/ 27 w 40"/>
                <a:gd name="T59" fmla="*/ 36 h 38"/>
                <a:gd name="T60" fmla="*/ 23 w 40"/>
                <a:gd name="T61" fmla="*/ 36 h 38"/>
                <a:gd name="T62" fmla="*/ 19 w 40"/>
                <a:gd name="T63" fmla="*/ 34 h 38"/>
                <a:gd name="T64" fmla="*/ 19 w 40"/>
                <a:gd name="T65" fmla="*/ 34 h 38"/>
                <a:gd name="T66" fmla="*/ 17 w 40"/>
                <a:gd name="T67" fmla="*/ 34 h 38"/>
                <a:gd name="T68" fmla="*/ 14 w 40"/>
                <a:gd name="T69" fmla="*/ 34 h 38"/>
                <a:gd name="T70" fmla="*/ 15 w 40"/>
                <a:gd name="T71" fmla="*/ 32 h 38"/>
                <a:gd name="T72" fmla="*/ 15 w 40"/>
                <a:gd name="T73" fmla="*/ 30 h 38"/>
                <a:gd name="T74" fmla="*/ 14 w 40"/>
                <a:gd name="T75" fmla="*/ 29 h 38"/>
                <a:gd name="T76" fmla="*/ 12 w 40"/>
                <a:gd name="T77" fmla="*/ 27 h 38"/>
                <a:gd name="T78" fmla="*/ 12 w 40"/>
                <a:gd name="T79" fmla="*/ 30 h 38"/>
                <a:gd name="T80" fmla="*/ 10 w 40"/>
                <a:gd name="T81" fmla="*/ 32 h 38"/>
                <a:gd name="T82" fmla="*/ 8 w 40"/>
                <a:gd name="T83" fmla="*/ 27 h 38"/>
                <a:gd name="T84" fmla="*/ 8 w 40"/>
                <a:gd name="T85" fmla="*/ 19 h 38"/>
                <a:gd name="T86" fmla="*/ 8 w 40"/>
                <a:gd name="T87" fmla="*/ 17 h 38"/>
                <a:gd name="T88" fmla="*/ 4 w 40"/>
                <a:gd name="T89" fmla="*/ 15 h 38"/>
                <a:gd name="T90" fmla="*/ 4 w 40"/>
                <a:gd name="T91" fmla="*/ 13 h 38"/>
                <a:gd name="T92" fmla="*/ 2 w 40"/>
                <a:gd name="T93" fmla="*/ 11 h 38"/>
                <a:gd name="T94" fmla="*/ 4 w 40"/>
                <a:gd name="T95" fmla="*/ 11 h 38"/>
                <a:gd name="T96" fmla="*/ 2 w 40"/>
                <a:gd name="T97" fmla="*/ 9 h 38"/>
                <a:gd name="T98" fmla="*/ 0 w 40"/>
                <a:gd name="T99"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 h="38">
                  <a:moveTo>
                    <a:pt x="0" y="7"/>
                  </a:moveTo>
                  <a:lnTo>
                    <a:pt x="0" y="5"/>
                  </a:lnTo>
                  <a:lnTo>
                    <a:pt x="2" y="7"/>
                  </a:lnTo>
                  <a:lnTo>
                    <a:pt x="4" y="5"/>
                  </a:lnTo>
                  <a:lnTo>
                    <a:pt x="2" y="4"/>
                  </a:lnTo>
                  <a:lnTo>
                    <a:pt x="4" y="4"/>
                  </a:lnTo>
                  <a:lnTo>
                    <a:pt x="6" y="4"/>
                  </a:lnTo>
                  <a:lnTo>
                    <a:pt x="6" y="5"/>
                  </a:lnTo>
                  <a:lnTo>
                    <a:pt x="8" y="5"/>
                  </a:lnTo>
                  <a:lnTo>
                    <a:pt x="10" y="5"/>
                  </a:lnTo>
                  <a:lnTo>
                    <a:pt x="14" y="4"/>
                  </a:lnTo>
                  <a:lnTo>
                    <a:pt x="15" y="4"/>
                  </a:lnTo>
                  <a:lnTo>
                    <a:pt x="17" y="2"/>
                  </a:lnTo>
                  <a:lnTo>
                    <a:pt x="19" y="2"/>
                  </a:lnTo>
                  <a:lnTo>
                    <a:pt x="21" y="0"/>
                  </a:lnTo>
                  <a:lnTo>
                    <a:pt x="21" y="2"/>
                  </a:lnTo>
                  <a:lnTo>
                    <a:pt x="23" y="2"/>
                  </a:lnTo>
                  <a:lnTo>
                    <a:pt x="21" y="0"/>
                  </a:lnTo>
                  <a:lnTo>
                    <a:pt x="23" y="0"/>
                  </a:lnTo>
                  <a:lnTo>
                    <a:pt x="27" y="2"/>
                  </a:lnTo>
                  <a:lnTo>
                    <a:pt x="27" y="4"/>
                  </a:lnTo>
                  <a:lnTo>
                    <a:pt x="29" y="4"/>
                  </a:lnTo>
                  <a:lnTo>
                    <a:pt x="29" y="5"/>
                  </a:lnTo>
                  <a:lnTo>
                    <a:pt x="29" y="7"/>
                  </a:lnTo>
                  <a:lnTo>
                    <a:pt x="29" y="9"/>
                  </a:lnTo>
                  <a:lnTo>
                    <a:pt x="27" y="7"/>
                  </a:lnTo>
                  <a:lnTo>
                    <a:pt x="27" y="9"/>
                  </a:lnTo>
                  <a:lnTo>
                    <a:pt x="27" y="11"/>
                  </a:lnTo>
                  <a:lnTo>
                    <a:pt x="29" y="11"/>
                  </a:lnTo>
                  <a:lnTo>
                    <a:pt x="29" y="9"/>
                  </a:lnTo>
                  <a:lnTo>
                    <a:pt x="31" y="9"/>
                  </a:lnTo>
                  <a:lnTo>
                    <a:pt x="33" y="9"/>
                  </a:lnTo>
                  <a:lnTo>
                    <a:pt x="33" y="7"/>
                  </a:lnTo>
                  <a:lnTo>
                    <a:pt x="31" y="7"/>
                  </a:lnTo>
                  <a:lnTo>
                    <a:pt x="31" y="5"/>
                  </a:lnTo>
                  <a:lnTo>
                    <a:pt x="33" y="5"/>
                  </a:lnTo>
                  <a:lnTo>
                    <a:pt x="33" y="7"/>
                  </a:lnTo>
                  <a:lnTo>
                    <a:pt x="33" y="4"/>
                  </a:lnTo>
                  <a:lnTo>
                    <a:pt x="33" y="2"/>
                  </a:lnTo>
                  <a:lnTo>
                    <a:pt x="33" y="0"/>
                  </a:lnTo>
                  <a:lnTo>
                    <a:pt x="35" y="5"/>
                  </a:lnTo>
                  <a:lnTo>
                    <a:pt x="37" y="7"/>
                  </a:lnTo>
                  <a:lnTo>
                    <a:pt x="37" y="9"/>
                  </a:lnTo>
                  <a:lnTo>
                    <a:pt x="35" y="11"/>
                  </a:lnTo>
                  <a:lnTo>
                    <a:pt x="37" y="13"/>
                  </a:lnTo>
                  <a:lnTo>
                    <a:pt x="39" y="19"/>
                  </a:lnTo>
                  <a:lnTo>
                    <a:pt x="40" y="21"/>
                  </a:lnTo>
                  <a:lnTo>
                    <a:pt x="39" y="21"/>
                  </a:lnTo>
                  <a:lnTo>
                    <a:pt x="37" y="21"/>
                  </a:lnTo>
                  <a:lnTo>
                    <a:pt x="39" y="21"/>
                  </a:lnTo>
                  <a:lnTo>
                    <a:pt x="39" y="23"/>
                  </a:lnTo>
                  <a:lnTo>
                    <a:pt x="39" y="25"/>
                  </a:lnTo>
                  <a:lnTo>
                    <a:pt x="39" y="29"/>
                  </a:lnTo>
                  <a:lnTo>
                    <a:pt x="39" y="30"/>
                  </a:lnTo>
                  <a:lnTo>
                    <a:pt x="37" y="34"/>
                  </a:lnTo>
                  <a:lnTo>
                    <a:pt x="37" y="36"/>
                  </a:lnTo>
                  <a:lnTo>
                    <a:pt x="35" y="36"/>
                  </a:lnTo>
                  <a:lnTo>
                    <a:pt x="31" y="36"/>
                  </a:lnTo>
                  <a:lnTo>
                    <a:pt x="29" y="38"/>
                  </a:lnTo>
                  <a:lnTo>
                    <a:pt x="27" y="36"/>
                  </a:lnTo>
                  <a:lnTo>
                    <a:pt x="25" y="36"/>
                  </a:lnTo>
                  <a:lnTo>
                    <a:pt x="23" y="36"/>
                  </a:lnTo>
                  <a:lnTo>
                    <a:pt x="21" y="36"/>
                  </a:lnTo>
                  <a:lnTo>
                    <a:pt x="19" y="34"/>
                  </a:lnTo>
                  <a:lnTo>
                    <a:pt x="19" y="32"/>
                  </a:lnTo>
                  <a:lnTo>
                    <a:pt x="19" y="34"/>
                  </a:lnTo>
                  <a:lnTo>
                    <a:pt x="17" y="36"/>
                  </a:lnTo>
                  <a:lnTo>
                    <a:pt x="17" y="34"/>
                  </a:lnTo>
                  <a:lnTo>
                    <a:pt x="15" y="34"/>
                  </a:lnTo>
                  <a:lnTo>
                    <a:pt x="14" y="34"/>
                  </a:lnTo>
                  <a:lnTo>
                    <a:pt x="14" y="32"/>
                  </a:lnTo>
                  <a:lnTo>
                    <a:pt x="15" y="32"/>
                  </a:lnTo>
                  <a:lnTo>
                    <a:pt x="17" y="32"/>
                  </a:lnTo>
                  <a:lnTo>
                    <a:pt x="15" y="30"/>
                  </a:lnTo>
                  <a:lnTo>
                    <a:pt x="15" y="29"/>
                  </a:lnTo>
                  <a:lnTo>
                    <a:pt x="14" y="29"/>
                  </a:lnTo>
                  <a:lnTo>
                    <a:pt x="12" y="29"/>
                  </a:lnTo>
                  <a:lnTo>
                    <a:pt x="12" y="27"/>
                  </a:lnTo>
                  <a:lnTo>
                    <a:pt x="10" y="29"/>
                  </a:lnTo>
                  <a:lnTo>
                    <a:pt x="12" y="30"/>
                  </a:lnTo>
                  <a:lnTo>
                    <a:pt x="12" y="32"/>
                  </a:lnTo>
                  <a:lnTo>
                    <a:pt x="10" y="32"/>
                  </a:lnTo>
                  <a:lnTo>
                    <a:pt x="10" y="27"/>
                  </a:lnTo>
                  <a:lnTo>
                    <a:pt x="8" y="27"/>
                  </a:lnTo>
                  <a:lnTo>
                    <a:pt x="8" y="25"/>
                  </a:lnTo>
                  <a:lnTo>
                    <a:pt x="8" y="19"/>
                  </a:lnTo>
                  <a:lnTo>
                    <a:pt x="6" y="17"/>
                  </a:lnTo>
                  <a:lnTo>
                    <a:pt x="8" y="17"/>
                  </a:lnTo>
                  <a:lnTo>
                    <a:pt x="6" y="17"/>
                  </a:lnTo>
                  <a:lnTo>
                    <a:pt x="4" y="15"/>
                  </a:lnTo>
                  <a:lnTo>
                    <a:pt x="6" y="15"/>
                  </a:lnTo>
                  <a:lnTo>
                    <a:pt x="4" y="13"/>
                  </a:lnTo>
                  <a:lnTo>
                    <a:pt x="4" y="11"/>
                  </a:lnTo>
                  <a:lnTo>
                    <a:pt x="2" y="11"/>
                  </a:lnTo>
                  <a:lnTo>
                    <a:pt x="2" y="9"/>
                  </a:lnTo>
                  <a:lnTo>
                    <a:pt x="4" y="11"/>
                  </a:lnTo>
                  <a:lnTo>
                    <a:pt x="4" y="9"/>
                  </a:lnTo>
                  <a:lnTo>
                    <a:pt x="2" y="9"/>
                  </a:lnTo>
                  <a:lnTo>
                    <a:pt x="2" y="7"/>
                  </a:lnTo>
                  <a:lnTo>
                    <a:pt x="0" y="7"/>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6" name="Freeform 114"/>
            <p:cNvSpPr>
              <a:spLocks/>
            </p:cNvSpPr>
            <p:nvPr/>
          </p:nvSpPr>
          <p:spPr bwMode="auto">
            <a:xfrm>
              <a:off x="2498" y="2246"/>
              <a:ext cx="33" cy="21"/>
            </a:xfrm>
            <a:custGeom>
              <a:avLst/>
              <a:gdLst>
                <a:gd name="T0" fmla="*/ 0 w 33"/>
                <a:gd name="T1" fmla="*/ 8 h 21"/>
                <a:gd name="T2" fmla="*/ 2 w 33"/>
                <a:gd name="T3" fmla="*/ 10 h 21"/>
                <a:gd name="T4" fmla="*/ 0 w 33"/>
                <a:gd name="T5" fmla="*/ 8 h 21"/>
                <a:gd name="T6" fmla="*/ 4 w 33"/>
                <a:gd name="T7" fmla="*/ 10 h 21"/>
                <a:gd name="T8" fmla="*/ 4 w 33"/>
                <a:gd name="T9" fmla="*/ 8 h 21"/>
                <a:gd name="T10" fmla="*/ 6 w 33"/>
                <a:gd name="T11" fmla="*/ 10 h 21"/>
                <a:gd name="T12" fmla="*/ 6 w 33"/>
                <a:gd name="T13" fmla="*/ 8 h 21"/>
                <a:gd name="T14" fmla="*/ 4 w 33"/>
                <a:gd name="T15" fmla="*/ 8 h 21"/>
                <a:gd name="T16" fmla="*/ 4 w 33"/>
                <a:gd name="T17" fmla="*/ 4 h 21"/>
                <a:gd name="T18" fmla="*/ 2 w 33"/>
                <a:gd name="T19" fmla="*/ 4 h 21"/>
                <a:gd name="T20" fmla="*/ 4 w 33"/>
                <a:gd name="T21" fmla="*/ 4 h 21"/>
                <a:gd name="T22" fmla="*/ 2 w 33"/>
                <a:gd name="T23" fmla="*/ 4 h 21"/>
                <a:gd name="T24" fmla="*/ 2 w 33"/>
                <a:gd name="T25" fmla="*/ 2 h 21"/>
                <a:gd name="T26" fmla="*/ 4 w 33"/>
                <a:gd name="T27" fmla="*/ 2 h 21"/>
                <a:gd name="T28" fmla="*/ 4 w 33"/>
                <a:gd name="T29" fmla="*/ 0 h 21"/>
                <a:gd name="T30" fmla="*/ 4 w 33"/>
                <a:gd name="T31" fmla="*/ 2 h 21"/>
                <a:gd name="T32" fmla="*/ 4 w 33"/>
                <a:gd name="T33" fmla="*/ 0 h 21"/>
                <a:gd name="T34" fmla="*/ 6 w 33"/>
                <a:gd name="T35" fmla="*/ 0 h 21"/>
                <a:gd name="T36" fmla="*/ 8 w 33"/>
                <a:gd name="T37" fmla="*/ 0 h 21"/>
                <a:gd name="T38" fmla="*/ 12 w 33"/>
                <a:gd name="T39" fmla="*/ 0 h 21"/>
                <a:gd name="T40" fmla="*/ 12 w 33"/>
                <a:gd name="T41" fmla="*/ 2 h 21"/>
                <a:gd name="T42" fmla="*/ 14 w 33"/>
                <a:gd name="T43" fmla="*/ 2 h 21"/>
                <a:gd name="T44" fmla="*/ 14 w 33"/>
                <a:gd name="T45" fmla="*/ 4 h 21"/>
                <a:gd name="T46" fmla="*/ 16 w 33"/>
                <a:gd name="T47" fmla="*/ 4 h 21"/>
                <a:gd name="T48" fmla="*/ 16 w 33"/>
                <a:gd name="T49" fmla="*/ 6 h 21"/>
                <a:gd name="T50" fmla="*/ 18 w 33"/>
                <a:gd name="T51" fmla="*/ 6 h 21"/>
                <a:gd name="T52" fmla="*/ 18 w 33"/>
                <a:gd name="T53" fmla="*/ 8 h 21"/>
                <a:gd name="T54" fmla="*/ 20 w 33"/>
                <a:gd name="T55" fmla="*/ 8 h 21"/>
                <a:gd name="T56" fmla="*/ 21 w 33"/>
                <a:gd name="T57" fmla="*/ 8 h 21"/>
                <a:gd name="T58" fmla="*/ 21 w 33"/>
                <a:gd name="T59" fmla="*/ 6 h 21"/>
                <a:gd name="T60" fmla="*/ 23 w 33"/>
                <a:gd name="T61" fmla="*/ 6 h 21"/>
                <a:gd name="T62" fmla="*/ 25 w 33"/>
                <a:gd name="T63" fmla="*/ 6 h 21"/>
                <a:gd name="T64" fmla="*/ 25 w 33"/>
                <a:gd name="T65" fmla="*/ 2 h 21"/>
                <a:gd name="T66" fmla="*/ 27 w 33"/>
                <a:gd name="T67" fmla="*/ 4 h 21"/>
                <a:gd name="T68" fmla="*/ 27 w 33"/>
                <a:gd name="T69" fmla="*/ 6 h 21"/>
                <a:gd name="T70" fmla="*/ 27 w 33"/>
                <a:gd name="T71" fmla="*/ 8 h 21"/>
                <a:gd name="T72" fmla="*/ 29 w 33"/>
                <a:gd name="T73" fmla="*/ 8 h 21"/>
                <a:gd name="T74" fmla="*/ 29 w 33"/>
                <a:gd name="T75" fmla="*/ 10 h 21"/>
                <a:gd name="T76" fmla="*/ 31 w 33"/>
                <a:gd name="T77" fmla="*/ 11 h 21"/>
                <a:gd name="T78" fmla="*/ 33 w 33"/>
                <a:gd name="T79" fmla="*/ 13 h 21"/>
                <a:gd name="T80" fmla="*/ 31 w 33"/>
                <a:gd name="T81" fmla="*/ 13 h 21"/>
                <a:gd name="T82" fmla="*/ 29 w 33"/>
                <a:gd name="T83" fmla="*/ 13 h 21"/>
                <a:gd name="T84" fmla="*/ 31 w 33"/>
                <a:gd name="T85" fmla="*/ 15 h 21"/>
                <a:gd name="T86" fmla="*/ 29 w 33"/>
                <a:gd name="T87" fmla="*/ 15 h 21"/>
                <a:gd name="T88" fmla="*/ 31 w 33"/>
                <a:gd name="T89" fmla="*/ 15 h 21"/>
                <a:gd name="T90" fmla="*/ 31 w 33"/>
                <a:gd name="T91" fmla="*/ 17 h 21"/>
                <a:gd name="T92" fmla="*/ 31 w 33"/>
                <a:gd name="T93" fmla="*/ 19 h 21"/>
                <a:gd name="T94" fmla="*/ 29 w 33"/>
                <a:gd name="T95" fmla="*/ 19 h 21"/>
                <a:gd name="T96" fmla="*/ 27 w 33"/>
                <a:gd name="T97" fmla="*/ 19 h 21"/>
                <a:gd name="T98" fmla="*/ 27 w 33"/>
                <a:gd name="T99" fmla="*/ 17 h 21"/>
                <a:gd name="T100" fmla="*/ 25 w 33"/>
                <a:gd name="T101" fmla="*/ 19 h 21"/>
                <a:gd name="T102" fmla="*/ 25 w 33"/>
                <a:gd name="T103" fmla="*/ 17 h 21"/>
                <a:gd name="T104" fmla="*/ 23 w 33"/>
                <a:gd name="T105" fmla="*/ 17 h 21"/>
                <a:gd name="T106" fmla="*/ 21 w 33"/>
                <a:gd name="T107" fmla="*/ 17 h 21"/>
                <a:gd name="T108" fmla="*/ 21 w 33"/>
                <a:gd name="T109" fmla="*/ 19 h 21"/>
                <a:gd name="T110" fmla="*/ 20 w 33"/>
                <a:gd name="T111" fmla="*/ 19 h 21"/>
                <a:gd name="T112" fmla="*/ 18 w 33"/>
                <a:gd name="T113" fmla="*/ 21 h 21"/>
                <a:gd name="T114" fmla="*/ 12 w 33"/>
                <a:gd name="T115" fmla="*/ 19 h 21"/>
                <a:gd name="T116" fmla="*/ 8 w 33"/>
                <a:gd name="T117" fmla="*/ 15 h 21"/>
                <a:gd name="T118" fmla="*/ 4 w 33"/>
                <a:gd name="T119" fmla="*/ 13 h 21"/>
                <a:gd name="T120" fmla="*/ 2 w 33"/>
                <a:gd name="T121" fmla="*/ 11 h 21"/>
                <a:gd name="T122" fmla="*/ 0 w 33"/>
                <a:gd name="T12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 h="21">
                  <a:moveTo>
                    <a:pt x="0" y="8"/>
                  </a:moveTo>
                  <a:lnTo>
                    <a:pt x="2" y="10"/>
                  </a:lnTo>
                  <a:lnTo>
                    <a:pt x="0" y="8"/>
                  </a:lnTo>
                  <a:lnTo>
                    <a:pt x="4" y="10"/>
                  </a:lnTo>
                  <a:lnTo>
                    <a:pt x="4" y="8"/>
                  </a:lnTo>
                  <a:lnTo>
                    <a:pt x="6" y="10"/>
                  </a:lnTo>
                  <a:lnTo>
                    <a:pt x="6" y="8"/>
                  </a:lnTo>
                  <a:lnTo>
                    <a:pt x="4" y="8"/>
                  </a:lnTo>
                  <a:lnTo>
                    <a:pt x="4" y="4"/>
                  </a:lnTo>
                  <a:lnTo>
                    <a:pt x="2" y="4"/>
                  </a:lnTo>
                  <a:lnTo>
                    <a:pt x="4" y="4"/>
                  </a:lnTo>
                  <a:lnTo>
                    <a:pt x="2" y="4"/>
                  </a:lnTo>
                  <a:lnTo>
                    <a:pt x="2" y="2"/>
                  </a:lnTo>
                  <a:lnTo>
                    <a:pt x="4" y="2"/>
                  </a:lnTo>
                  <a:lnTo>
                    <a:pt x="4" y="0"/>
                  </a:lnTo>
                  <a:lnTo>
                    <a:pt x="4" y="2"/>
                  </a:lnTo>
                  <a:lnTo>
                    <a:pt x="4" y="0"/>
                  </a:lnTo>
                  <a:lnTo>
                    <a:pt x="6" y="0"/>
                  </a:lnTo>
                  <a:lnTo>
                    <a:pt x="8" y="0"/>
                  </a:lnTo>
                  <a:lnTo>
                    <a:pt x="12" y="0"/>
                  </a:lnTo>
                  <a:lnTo>
                    <a:pt x="12" y="2"/>
                  </a:lnTo>
                  <a:lnTo>
                    <a:pt x="14" y="2"/>
                  </a:lnTo>
                  <a:lnTo>
                    <a:pt x="14" y="4"/>
                  </a:lnTo>
                  <a:lnTo>
                    <a:pt x="16" y="4"/>
                  </a:lnTo>
                  <a:lnTo>
                    <a:pt x="16" y="6"/>
                  </a:lnTo>
                  <a:lnTo>
                    <a:pt x="18" y="6"/>
                  </a:lnTo>
                  <a:lnTo>
                    <a:pt x="18" y="8"/>
                  </a:lnTo>
                  <a:lnTo>
                    <a:pt x="20" y="8"/>
                  </a:lnTo>
                  <a:lnTo>
                    <a:pt x="21" y="8"/>
                  </a:lnTo>
                  <a:lnTo>
                    <a:pt x="21" y="6"/>
                  </a:lnTo>
                  <a:lnTo>
                    <a:pt x="23" y="6"/>
                  </a:lnTo>
                  <a:lnTo>
                    <a:pt x="25" y="6"/>
                  </a:lnTo>
                  <a:lnTo>
                    <a:pt x="25" y="2"/>
                  </a:lnTo>
                  <a:lnTo>
                    <a:pt x="27" y="4"/>
                  </a:lnTo>
                  <a:lnTo>
                    <a:pt x="27" y="6"/>
                  </a:lnTo>
                  <a:lnTo>
                    <a:pt x="27" y="8"/>
                  </a:lnTo>
                  <a:lnTo>
                    <a:pt x="29" y="8"/>
                  </a:lnTo>
                  <a:lnTo>
                    <a:pt x="29" y="10"/>
                  </a:lnTo>
                  <a:lnTo>
                    <a:pt x="31" y="11"/>
                  </a:lnTo>
                  <a:lnTo>
                    <a:pt x="33" y="13"/>
                  </a:lnTo>
                  <a:lnTo>
                    <a:pt x="31" y="13"/>
                  </a:lnTo>
                  <a:lnTo>
                    <a:pt x="29" y="13"/>
                  </a:lnTo>
                  <a:lnTo>
                    <a:pt x="31" y="15"/>
                  </a:lnTo>
                  <a:lnTo>
                    <a:pt x="29" y="15"/>
                  </a:lnTo>
                  <a:lnTo>
                    <a:pt x="31" y="15"/>
                  </a:lnTo>
                  <a:lnTo>
                    <a:pt x="31" y="17"/>
                  </a:lnTo>
                  <a:lnTo>
                    <a:pt x="31" y="19"/>
                  </a:lnTo>
                  <a:lnTo>
                    <a:pt x="29" y="19"/>
                  </a:lnTo>
                  <a:lnTo>
                    <a:pt x="27" y="19"/>
                  </a:lnTo>
                  <a:lnTo>
                    <a:pt x="27" y="17"/>
                  </a:lnTo>
                  <a:lnTo>
                    <a:pt x="25" y="19"/>
                  </a:lnTo>
                  <a:lnTo>
                    <a:pt x="25" y="17"/>
                  </a:lnTo>
                  <a:lnTo>
                    <a:pt x="23" y="17"/>
                  </a:lnTo>
                  <a:lnTo>
                    <a:pt x="21" y="17"/>
                  </a:lnTo>
                  <a:lnTo>
                    <a:pt x="21" y="19"/>
                  </a:lnTo>
                  <a:lnTo>
                    <a:pt x="20" y="19"/>
                  </a:lnTo>
                  <a:lnTo>
                    <a:pt x="18" y="21"/>
                  </a:lnTo>
                  <a:lnTo>
                    <a:pt x="12" y="19"/>
                  </a:lnTo>
                  <a:lnTo>
                    <a:pt x="8" y="15"/>
                  </a:lnTo>
                  <a:lnTo>
                    <a:pt x="4" y="13"/>
                  </a:lnTo>
                  <a:lnTo>
                    <a:pt x="2" y="11"/>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7" name="Freeform 115"/>
            <p:cNvSpPr>
              <a:spLocks/>
            </p:cNvSpPr>
            <p:nvPr/>
          </p:nvSpPr>
          <p:spPr bwMode="auto">
            <a:xfrm>
              <a:off x="2629" y="2223"/>
              <a:ext cx="15" cy="19"/>
            </a:xfrm>
            <a:custGeom>
              <a:avLst/>
              <a:gdLst>
                <a:gd name="T0" fmla="*/ 0 w 15"/>
                <a:gd name="T1" fmla="*/ 13 h 19"/>
                <a:gd name="T2" fmla="*/ 0 w 15"/>
                <a:gd name="T3" fmla="*/ 11 h 19"/>
                <a:gd name="T4" fmla="*/ 2 w 15"/>
                <a:gd name="T5" fmla="*/ 13 h 19"/>
                <a:gd name="T6" fmla="*/ 2 w 15"/>
                <a:gd name="T7" fmla="*/ 15 h 19"/>
                <a:gd name="T8" fmla="*/ 4 w 15"/>
                <a:gd name="T9" fmla="*/ 15 h 19"/>
                <a:gd name="T10" fmla="*/ 6 w 15"/>
                <a:gd name="T11" fmla="*/ 15 h 19"/>
                <a:gd name="T12" fmla="*/ 8 w 15"/>
                <a:gd name="T13" fmla="*/ 15 h 19"/>
                <a:gd name="T14" fmla="*/ 10 w 15"/>
                <a:gd name="T15" fmla="*/ 17 h 19"/>
                <a:gd name="T16" fmla="*/ 11 w 15"/>
                <a:gd name="T17" fmla="*/ 17 h 19"/>
                <a:gd name="T18" fmla="*/ 15 w 15"/>
                <a:gd name="T19" fmla="*/ 19 h 19"/>
                <a:gd name="T20" fmla="*/ 15 w 15"/>
                <a:gd name="T21" fmla="*/ 17 h 19"/>
                <a:gd name="T22" fmla="*/ 15 w 15"/>
                <a:gd name="T23" fmla="*/ 8 h 19"/>
                <a:gd name="T24" fmla="*/ 13 w 15"/>
                <a:gd name="T25" fmla="*/ 8 h 19"/>
                <a:gd name="T26" fmla="*/ 11 w 15"/>
                <a:gd name="T27" fmla="*/ 6 h 19"/>
                <a:gd name="T28" fmla="*/ 10 w 15"/>
                <a:gd name="T29" fmla="*/ 4 h 19"/>
                <a:gd name="T30" fmla="*/ 8 w 15"/>
                <a:gd name="T31" fmla="*/ 4 h 19"/>
                <a:gd name="T32" fmla="*/ 6 w 15"/>
                <a:gd name="T33" fmla="*/ 2 h 19"/>
                <a:gd name="T34" fmla="*/ 4 w 15"/>
                <a:gd name="T35" fmla="*/ 0 h 19"/>
                <a:gd name="T36" fmla="*/ 2 w 15"/>
                <a:gd name="T37" fmla="*/ 0 h 19"/>
                <a:gd name="T38" fmla="*/ 2 w 15"/>
                <a:gd name="T39" fmla="*/ 2 h 19"/>
                <a:gd name="T40" fmla="*/ 0 w 15"/>
                <a:gd name="T41" fmla="*/ 6 h 19"/>
                <a:gd name="T42" fmla="*/ 0 w 15"/>
                <a:gd name="T43" fmla="*/ 11 h 19"/>
                <a:gd name="T44" fmla="*/ 0 w 15"/>
                <a:gd name="T45"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9">
                  <a:moveTo>
                    <a:pt x="0" y="13"/>
                  </a:moveTo>
                  <a:lnTo>
                    <a:pt x="0" y="11"/>
                  </a:lnTo>
                  <a:lnTo>
                    <a:pt x="2" y="13"/>
                  </a:lnTo>
                  <a:lnTo>
                    <a:pt x="2" y="15"/>
                  </a:lnTo>
                  <a:lnTo>
                    <a:pt x="4" y="15"/>
                  </a:lnTo>
                  <a:lnTo>
                    <a:pt x="6" y="15"/>
                  </a:lnTo>
                  <a:lnTo>
                    <a:pt x="8" y="15"/>
                  </a:lnTo>
                  <a:lnTo>
                    <a:pt x="10" y="17"/>
                  </a:lnTo>
                  <a:lnTo>
                    <a:pt x="11" y="17"/>
                  </a:lnTo>
                  <a:lnTo>
                    <a:pt x="15" y="19"/>
                  </a:lnTo>
                  <a:lnTo>
                    <a:pt x="15" y="17"/>
                  </a:lnTo>
                  <a:lnTo>
                    <a:pt x="15" y="8"/>
                  </a:lnTo>
                  <a:lnTo>
                    <a:pt x="13" y="8"/>
                  </a:lnTo>
                  <a:lnTo>
                    <a:pt x="11" y="6"/>
                  </a:lnTo>
                  <a:lnTo>
                    <a:pt x="10" y="4"/>
                  </a:lnTo>
                  <a:lnTo>
                    <a:pt x="8" y="4"/>
                  </a:lnTo>
                  <a:lnTo>
                    <a:pt x="6" y="2"/>
                  </a:lnTo>
                  <a:lnTo>
                    <a:pt x="4" y="0"/>
                  </a:lnTo>
                  <a:lnTo>
                    <a:pt x="2" y="0"/>
                  </a:lnTo>
                  <a:lnTo>
                    <a:pt x="2" y="2"/>
                  </a:lnTo>
                  <a:lnTo>
                    <a:pt x="0" y="6"/>
                  </a:lnTo>
                  <a:lnTo>
                    <a:pt x="0" y="11"/>
                  </a:lnTo>
                  <a:lnTo>
                    <a:pt x="0" y="1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8" name="Freeform 116"/>
            <p:cNvSpPr>
              <a:spLocks/>
            </p:cNvSpPr>
            <p:nvPr/>
          </p:nvSpPr>
          <p:spPr bwMode="auto">
            <a:xfrm>
              <a:off x="2525" y="2246"/>
              <a:ext cx="16" cy="25"/>
            </a:xfrm>
            <a:custGeom>
              <a:avLst/>
              <a:gdLst>
                <a:gd name="T0" fmla="*/ 0 w 16"/>
                <a:gd name="T1" fmla="*/ 0 h 25"/>
                <a:gd name="T2" fmla="*/ 2 w 16"/>
                <a:gd name="T3" fmla="*/ 0 h 25"/>
                <a:gd name="T4" fmla="*/ 4 w 16"/>
                <a:gd name="T5" fmla="*/ 2 h 25"/>
                <a:gd name="T6" fmla="*/ 4 w 16"/>
                <a:gd name="T7" fmla="*/ 0 h 25"/>
                <a:gd name="T8" fmla="*/ 6 w 16"/>
                <a:gd name="T9" fmla="*/ 0 h 25"/>
                <a:gd name="T10" fmla="*/ 6 w 16"/>
                <a:gd name="T11" fmla="*/ 2 h 25"/>
                <a:gd name="T12" fmla="*/ 8 w 16"/>
                <a:gd name="T13" fmla="*/ 0 h 25"/>
                <a:gd name="T14" fmla="*/ 10 w 16"/>
                <a:gd name="T15" fmla="*/ 0 h 25"/>
                <a:gd name="T16" fmla="*/ 10 w 16"/>
                <a:gd name="T17" fmla="*/ 4 h 25"/>
                <a:gd name="T18" fmla="*/ 12 w 16"/>
                <a:gd name="T19" fmla="*/ 4 h 25"/>
                <a:gd name="T20" fmla="*/ 14 w 16"/>
                <a:gd name="T21" fmla="*/ 4 h 25"/>
                <a:gd name="T22" fmla="*/ 16 w 16"/>
                <a:gd name="T23" fmla="*/ 6 h 25"/>
                <a:gd name="T24" fmla="*/ 16 w 16"/>
                <a:gd name="T25" fmla="*/ 8 h 25"/>
                <a:gd name="T26" fmla="*/ 14 w 16"/>
                <a:gd name="T27" fmla="*/ 10 h 25"/>
                <a:gd name="T28" fmla="*/ 12 w 16"/>
                <a:gd name="T29" fmla="*/ 11 h 25"/>
                <a:gd name="T30" fmla="*/ 12 w 16"/>
                <a:gd name="T31" fmla="*/ 15 h 25"/>
                <a:gd name="T32" fmla="*/ 10 w 16"/>
                <a:gd name="T33" fmla="*/ 15 h 25"/>
                <a:gd name="T34" fmla="*/ 10 w 16"/>
                <a:gd name="T35" fmla="*/ 19 h 25"/>
                <a:gd name="T36" fmla="*/ 10 w 16"/>
                <a:gd name="T37" fmla="*/ 25 h 25"/>
                <a:gd name="T38" fmla="*/ 8 w 16"/>
                <a:gd name="T39" fmla="*/ 23 h 25"/>
                <a:gd name="T40" fmla="*/ 4 w 16"/>
                <a:gd name="T41" fmla="*/ 19 h 25"/>
                <a:gd name="T42" fmla="*/ 6 w 16"/>
                <a:gd name="T43" fmla="*/ 17 h 25"/>
                <a:gd name="T44" fmla="*/ 6 w 16"/>
                <a:gd name="T45" fmla="*/ 15 h 25"/>
                <a:gd name="T46" fmla="*/ 4 w 16"/>
                <a:gd name="T47" fmla="*/ 13 h 25"/>
                <a:gd name="T48" fmla="*/ 6 w 16"/>
                <a:gd name="T49" fmla="*/ 13 h 25"/>
                <a:gd name="T50" fmla="*/ 4 w 16"/>
                <a:gd name="T51" fmla="*/ 11 h 25"/>
                <a:gd name="T52" fmla="*/ 4 w 16"/>
                <a:gd name="T53" fmla="*/ 10 h 25"/>
                <a:gd name="T54" fmla="*/ 2 w 16"/>
                <a:gd name="T55" fmla="*/ 10 h 25"/>
                <a:gd name="T56" fmla="*/ 4 w 16"/>
                <a:gd name="T57" fmla="*/ 8 h 25"/>
                <a:gd name="T58" fmla="*/ 4 w 16"/>
                <a:gd name="T59" fmla="*/ 6 h 25"/>
                <a:gd name="T60" fmla="*/ 0 w 16"/>
                <a:gd name="T61" fmla="*/ 6 h 25"/>
                <a:gd name="T62" fmla="*/ 2 w 16"/>
                <a:gd name="T63" fmla="*/ 4 h 25"/>
                <a:gd name="T64" fmla="*/ 2 w 16"/>
                <a:gd name="T65" fmla="*/ 2 h 25"/>
                <a:gd name="T66" fmla="*/ 0 w 16"/>
                <a:gd name="T6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25">
                  <a:moveTo>
                    <a:pt x="0" y="0"/>
                  </a:moveTo>
                  <a:lnTo>
                    <a:pt x="2" y="0"/>
                  </a:lnTo>
                  <a:lnTo>
                    <a:pt x="4" y="2"/>
                  </a:lnTo>
                  <a:lnTo>
                    <a:pt x="4" y="0"/>
                  </a:lnTo>
                  <a:lnTo>
                    <a:pt x="6" y="0"/>
                  </a:lnTo>
                  <a:lnTo>
                    <a:pt x="6" y="2"/>
                  </a:lnTo>
                  <a:lnTo>
                    <a:pt x="8" y="0"/>
                  </a:lnTo>
                  <a:lnTo>
                    <a:pt x="10" y="0"/>
                  </a:lnTo>
                  <a:lnTo>
                    <a:pt x="10" y="4"/>
                  </a:lnTo>
                  <a:lnTo>
                    <a:pt x="12" y="4"/>
                  </a:lnTo>
                  <a:lnTo>
                    <a:pt x="14" y="4"/>
                  </a:lnTo>
                  <a:lnTo>
                    <a:pt x="16" y="6"/>
                  </a:lnTo>
                  <a:lnTo>
                    <a:pt x="16" y="8"/>
                  </a:lnTo>
                  <a:lnTo>
                    <a:pt x="14" y="10"/>
                  </a:lnTo>
                  <a:lnTo>
                    <a:pt x="12" y="11"/>
                  </a:lnTo>
                  <a:lnTo>
                    <a:pt x="12" y="15"/>
                  </a:lnTo>
                  <a:lnTo>
                    <a:pt x="10" y="15"/>
                  </a:lnTo>
                  <a:lnTo>
                    <a:pt x="10" y="19"/>
                  </a:lnTo>
                  <a:lnTo>
                    <a:pt x="10" y="25"/>
                  </a:lnTo>
                  <a:lnTo>
                    <a:pt x="8" y="23"/>
                  </a:lnTo>
                  <a:lnTo>
                    <a:pt x="4" y="19"/>
                  </a:lnTo>
                  <a:lnTo>
                    <a:pt x="6" y="17"/>
                  </a:lnTo>
                  <a:lnTo>
                    <a:pt x="6" y="15"/>
                  </a:lnTo>
                  <a:lnTo>
                    <a:pt x="4" y="13"/>
                  </a:lnTo>
                  <a:lnTo>
                    <a:pt x="6" y="13"/>
                  </a:lnTo>
                  <a:lnTo>
                    <a:pt x="4" y="11"/>
                  </a:lnTo>
                  <a:lnTo>
                    <a:pt x="4" y="10"/>
                  </a:lnTo>
                  <a:lnTo>
                    <a:pt x="2" y="10"/>
                  </a:lnTo>
                  <a:lnTo>
                    <a:pt x="4" y="8"/>
                  </a:lnTo>
                  <a:lnTo>
                    <a:pt x="4" y="6"/>
                  </a:lnTo>
                  <a:lnTo>
                    <a:pt x="0" y="6"/>
                  </a:lnTo>
                  <a:lnTo>
                    <a:pt x="2" y="4"/>
                  </a:lnTo>
                  <a:lnTo>
                    <a:pt x="2"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29" name="Freeform 117"/>
            <p:cNvSpPr>
              <a:spLocks/>
            </p:cNvSpPr>
            <p:nvPr/>
          </p:nvSpPr>
          <p:spPr bwMode="auto">
            <a:xfrm>
              <a:off x="2416" y="2115"/>
              <a:ext cx="15" cy="18"/>
            </a:xfrm>
            <a:custGeom>
              <a:avLst/>
              <a:gdLst>
                <a:gd name="T0" fmla="*/ 0 w 15"/>
                <a:gd name="T1" fmla="*/ 14 h 18"/>
                <a:gd name="T2" fmla="*/ 0 w 15"/>
                <a:gd name="T3" fmla="*/ 16 h 18"/>
                <a:gd name="T4" fmla="*/ 2 w 15"/>
                <a:gd name="T5" fmla="*/ 14 h 18"/>
                <a:gd name="T6" fmla="*/ 2 w 15"/>
                <a:gd name="T7" fmla="*/ 16 h 18"/>
                <a:gd name="T8" fmla="*/ 4 w 15"/>
                <a:gd name="T9" fmla="*/ 14 h 18"/>
                <a:gd name="T10" fmla="*/ 4 w 15"/>
                <a:gd name="T11" fmla="*/ 16 h 18"/>
                <a:gd name="T12" fmla="*/ 5 w 15"/>
                <a:gd name="T13" fmla="*/ 16 h 18"/>
                <a:gd name="T14" fmla="*/ 4 w 15"/>
                <a:gd name="T15" fmla="*/ 16 h 18"/>
                <a:gd name="T16" fmla="*/ 4 w 15"/>
                <a:gd name="T17" fmla="*/ 18 h 18"/>
                <a:gd name="T18" fmla="*/ 7 w 15"/>
                <a:gd name="T19" fmla="*/ 18 h 18"/>
                <a:gd name="T20" fmla="*/ 9 w 15"/>
                <a:gd name="T21" fmla="*/ 18 h 18"/>
                <a:gd name="T22" fmla="*/ 11 w 15"/>
                <a:gd name="T23" fmla="*/ 16 h 18"/>
                <a:gd name="T24" fmla="*/ 13 w 15"/>
                <a:gd name="T25" fmla="*/ 12 h 18"/>
                <a:gd name="T26" fmla="*/ 13 w 15"/>
                <a:gd name="T27" fmla="*/ 10 h 18"/>
                <a:gd name="T28" fmla="*/ 11 w 15"/>
                <a:gd name="T29" fmla="*/ 8 h 18"/>
                <a:gd name="T30" fmla="*/ 11 w 15"/>
                <a:gd name="T31" fmla="*/ 6 h 18"/>
                <a:gd name="T32" fmla="*/ 13 w 15"/>
                <a:gd name="T33" fmla="*/ 6 h 18"/>
                <a:gd name="T34" fmla="*/ 13 w 15"/>
                <a:gd name="T35" fmla="*/ 2 h 18"/>
                <a:gd name="T36" fmla="*/ 15 w 15"/>
                <a:gd name="T37" fmla="*/ 0 h 18"/>
                <a:gd name="T38" fmla="*/ 13 w 15"/>
                <a:gd name="T39" fmla="*/ 0 h 18"/>
                <a:gd name="T40" fmla="*/ 11 w 15"/>
                <a:gd name="T41" fmla="*/ 2 h 18"/>
                <a:gd name="T42" fmla="*/ 11 w 15"/>
                <a:gd name="T43" fmla="*/ 4 h 18"/>
                <a:gd name="T44" fmla="*/ 7 w 15"/>
                <a:gd name="T45" fmla="*/ 4 h 18"/>
                <a:gd name="T46" fmla="*/ 5 w 15"/>
                <a:gd name="T47" fmla="*/ 4 h 18"/>
                <a:gd name="T48" fmla="*/ 5 w 15"/>
                <a:gd name="T49" fmla="*/ 6 h 18"/>
                <a:gd name="T50" fmla="*/ 5 w 15"/>
                <a:gd name="T51" fmla="*/ 8 h 18"/>
                <a:gd name="T52" fmla="*/ 4 w 15"/>
                <a:gd name="T53" fmla="*/ 8 h 18"/>
                <a:gd name="T54" fmla="*/ 5 w 15"/>
                <a:gd name="T55" fmla="*/ 10 h 18"/>
                <a:gd name="T56" fmla="*/ 2 w 15"/>
                <a:gd name="T57" fmla="*/ 12 h 18"/>
                <a:gd name="T58" fmla="*/ 2 w 15"/>
                <a:gd name="T59" fmla="*/ 14 h 18"/>
                <a:gd name="T60" fmla="*/ 0 w 15"/>
                <a:gd name="T61"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18">
                  <a:moveTo>
                    <a:pt x="0" y="14"/>
                  </a:moveTo>
                  <a:lnTo>
                    <a:pt x="0" y="16"/>
                  </a:lnTo>
                  <a:lnTo>
                    <a:pt x="2" y="14"/>
                  </a:lnTo>
                  <a:lnTo>
                    <a:pt x="2" y="16"/>
                  </a:lnTo>
                  <a:lnTo>
                    <a:pt x="4" y="14"/>
                  </a:lnTo>
                  <a:lnTo>
                    <a:pt x="4" y="16"/>
                  </a:lnTo>
                  <a:lnTo>
                    <a:pt x="5" y="16"/>
                  </a:lnTo>
                  <a:lnTo>
                    <a:pt x="4" y="16"/>
                  </a:lnTo>
                  <a:lnTo>
                    <a:pt x="4" y="18"/>
                  </a:lnTo>
                  <a:lnTo>
                    <a:pt x="7" y="18"/>
                  </a:lnTo>
                  <a:lnTo>
                    <a:pt x="9" y="18"/>
                  </a:lnTo>
                  <a:lnTo>
                    <a:pt x="11" y="16"/>
                  </a:lnTo>
                  <a:lnTo>
                    <a:pt x="13" y="12"/>
                  </a:lnTo>
                  <a:lnTo>
                    <a:pt x="13" y="10"/>
                  </a:lnTo>
                  <a:lnTo>
                    <a:pt x="11" y="8"/>
                  </a:lnTo>
                  <a:lnTo>
                    <a:pt x="11" y="6"/>
                  </a:lnTo>
                  <a:lnTo>
                    <a:pt x="13" y="6"/>
                  </a:lnTo>
                  <a:lnTo>
                    <a:pt x="13" y="2"/>
                  </a:lnTo>
                  <a:lnTo>
                    <a:pt x="15" y="0"/>
                  </a:lnTo>
                  <a:lnTo>
                    <a:pt x="13" y="0"/>
                  </a:lnTo>
                  <a:lnTo>
                    <a:pt x="11" y="2"/>
                  </a:lnTo>
                  <a:lnTo>
                    <a:pt x="11" y="4"/>
                  </a:lnTo>
                  <a:lnTo>
                    <a:pt x="7" y="4"/>
                  </a:lnTo>
                  <a:lnTo>
                    <a:pt x="5" y="4"/>
                  </a:lnTo>
                  <a:lnTo>
                    <a:pt x="5" y="6"/>
                  </a:lnTo>
                  <a:lnTo>
                    <a:pt x="5" y="8"/>
                  </a:lnTo>
                  <a:lnTo>
                    <a:pt x="4" y="8"/>
                  </a:lnTo>
                  <a:lnTo>
                    <a:pt x="5" y="10"/>
                  </a:lnTo>
                  <a:lnTo>
                    <a:pt x="2" y="12"/>
                  </a:lnTo>
                  <a:lnTo>
                    <a:pt x="2" y="14"/>
                  </a:lnTo>
                  <a:lnTo>
                    <a:pt x="0" y="1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0" name="Freeform 118"/>
            <p:cNvSpPr>
              <a:spLocks/>
            </p:cNvSpPr>
            <p:nvPr/>
          </p:nvSpPr>
          <p:spPr bwMode="auto">
            <a:xfrm>
              <a:off x="2452" y="2236"/>
              <a:ext cx="14" cy="16"/>
            </a:xfrm>
            <a:custGeom>
              <a:avLst/>
              <a:gdLst>
                <a:gd name="T0" fmla="*/ 0 w 14"/>
                <a:gd name="T1" fmla="*/ 2 h 16"/>
                <a:gd name="T2" fmla="*/ 2 w 14"/>
                <a:gd name="T3" fmla="*/ 0 h 16"/>
                <a:gd name="T4" fmla="*/ 4 w 14"/>
                <a:gd name="T5" fmla="*/ 0 h 16"/>
                <a:gd name="T6" fmla="*/ 6 w 14"/>
                <a:gd name="T7" fmla="*/ 2 h 16"/>
                <a:gd name="T8" fmla="*/ 8 w 14"/>
                <a:gd name="T9" fmla="*/ 4 h 16"/>
                <a:gd name="T10" fmla="*/ 10 w 14"/>
                <a:gd name="T11" fmla="*/ 4 h 16"/>
                <a:gd name="T12" fmla="*/ 12 w 14"/>
                <a:gd name="T13" fmla="*/ 6 h 16"/>
                <a:gd name="T14" fmla="*/ 14 w 14"/>
                <a:gd name="T15" fmla="*/ 10 h 16"/>
                <a:gd name="T16" fmla="*/ 14 w 14"/>
                <a:gd name="T17" fmla="*/ 14 h 16"/>
                <a:gd name="T18" fmla="*/ 12 w 14"/>
                <a:gd name="T19" fmla="*/ 14 h 16"/>
                <a:gd name="T20" fmla="*/ 10 w 14"/>
                <a:gd name="T21" fmla="*/ 16 h 16"/>
                <a:gd name="T22" fmla="*/ 8 w 14"/>
                <a:gd name="T23" fmla="*/ 16 h 16"/>
                <a:gd name="T24" fmla="*/ 8 w 14"/>
                <a:gd name="T25" fmla="*/ 14 h 16"/>
                <a:gd name="T26" fmla="*/ 6 w 14"/>
                <a:gd name="T27" fmla="*/ 14 h 16"/>
                <a:gd name="T28" fmla="*/ 8 w 14"/>
                <a:gd name="T29" fmla="*/ 12 h 16"/>
                <a:gd name="T30" fmla="*/ 10 w 14"/>
                <a:gd name="T31" fmla="*/ 16 h 16"/>
                <a:gd name="T32" fmla="*/ 10 w 14"/>
                <a:gd name="T33" fmla="*/ 14 h 16"/>
                <a:gd name="T34" fmla="*/ 8 w 14"/>
                <a:gd name="T35" fmla="*/ 12 h 16"/>
                <a:gd name="T36" fmla="*/ 6 w 14"/>
                <a:gd name="T37" fmla="*/ 12 h 16"/>
                <a:gd name="T38" fmla="*/ 4 w 14"/>
                <a:gd name="T39" fmla="*/ 6 h 16"/>
                <a:gd name="T40" fmla="*/ 4 w 14"/>
                <a:gd name="T41" fmla="*/ 8 h 16"/>
                <a:gd name="T42" fmla="*/ 6 w 14"/>
                <a:gd name="T43" fmla="*/ 10 h 16"/>
                <a:gd name="T44" fmla="*/ 6 w 14"/>
                <a:gd name="T45" fmla="*/ 8 h 16"/>
                <a:gd name="T46" fmla="*/ 8 w 14"/>
                <a:gd name="T47" fmla="*/ 8 h 16"/>
                <a:gd name="T48" fmla="*/ 6 w 14"/>
                <a:gd name="T49" fmla="*/ 8 h 16"/>
                <a:gd name="T50" fmla="*/ 6 w 14"/>
                <a:gd name="T51" fmla="*/ 6 h 16"/>
                <a:gd name="T52" fmla="*/ 4 w 14"/>
                <a:gd name="T53" fmla="*/ 6 h 16"/>
                <a:gd name="T54" fmla="*/ 4 w 14"/>
                <a:gd name="T55" fmla="*/ 4 h 16"/>
                <a:gd name="T56" fmla="*/ 0 w 14"/>
                <a:gd name="T57" fmla="*/ 4 h 16"/>
                <a:gd name="T58" fmla="*/ 0 w 14"/>
                <a:gd name="T5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 h="16">
                  <a:moveTo>
                    <a:pt x="0" y="2"/>
                  </a:moveTo>
                  <a:lnTo>
                    <a:pt x="2" y="0"/>
                  </a:lnTo>
                  <a:lnTo>
                    <a:pt x="4" y="0"/>
                  </a:lnTo>
                  <a:lnTo>
                    <a:pt x="6" y="2"/>
                  </a:lnTo>
                  <a:lnTo>
                    <a:pt x="8" y="4"/>
                  </a:lnTo>
                  <a:lnTo>
                    <a:pt x="10" y="4"/>
                  </a:lnTo>
                  <a:lnTo>
                    <a:pt x="12" y="6"/>
                  </a:lnTo>
                  <a:lnTo>
                    <a:pt x="14" y="10"/>
                  </a:lnTo>
                  <a:lnTo>
                    <a:pt x="14" y="14"/>
                  </a:lnTo>
                  <a:lnTo>
                    <a:pt x="12" y="14"/>
                  </a:lnTo>
                  <a:lnTo>
                    <a:pt x="10" y="16"/>
                  </a:lnTo>
                  <a:lnTo>
                    <a:pt x="8" y="16"/>
                  </a:lnTo>
                  <a:lnTo>
                    <a:pt x="8" y="14"/>
                  </a:lnTo>
                  <a:lnTo>
                    <a:pt x="6" y="14"/>
                  </a:lnTo>
                  <a:lnTo>
                    <a:pt x="8" y="12"/>
                  </a:lnTo>
                  <a:lnTo>
                    <a:pt x="10" y="16"/>
                  </a:lnTo>
                  <a:lnTo>
                    <a:pt x="10" y="14"/>
                  </a:lnTo>
                  <a:lnTo>
                    <a:pt x="8" y="12"/>
                  </a:lnTo>
                  <a:lnTo>
                    <a:pt x="6" y="12"/>
                  </a:lnTo>
                  <a:lnTo>
                    <a:pt x="4" y="6"/>
                  </a:lnTo>
                  <a:lnTo>
                    <a:pt x="4" y="8"/>
                  </a:lnTo>
                  <a:lnTo>
                    <a:pt x="6" y="10"/>
                  </a:lnTo>
                  <a:lnTo>
                    <a:pt x="6" y="8"/>
                  </a:lnTo>
                  <a:lnTo>
                    <a:pt x="8" y="8"/>
                  </a:lnTo>
                  <a:lnTo>
                    <a:pt x="6" y="8"/>
                  </a:lnTo>
                  <a:lnTo>
                    <a:pt x="6" y="6"/>
                  </a:lnTo>
                  <a:lnTo>
                    <a:pt x="4" y="6"/>
                  </a:lnTo>
                  <a:lnTo>
                    <a:pt x="4" y="4"/>
                  </a:lnTo>
                  <a:lnTo>
                    <a:pt x="0"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1" name="Freeform 119"/>
            <p:cNvSpPr>
              <a:spLocks/>
            </p:cNvSpPr>
            <p:nvPr/>
          </p:nvSpPr>
          <p:spPr bwMode="auto">
            <a:xfrm>
              <a:off x="2485" y="2232"/>
              <a:ext cx="13" cy="27"/>
            </a:xfrm>
            <a:custGeom>
              <a:avLst/>
              <a:gdLst>
                <a:gd name="T0" fmla="*/ 0 w 13"/>
                <a:gd name="T1" fmla="*/ 20 h 27"/>
                <a:gd name="T2" fmla="*/ 2 w 13"/>
                <a:gd name="T3" fmla="*/ 22 h 27"/>
                <a:gd name="T4" fmla="*/ 2 w 13"/>
                <a:gd name="T5" fmla="*/ 25 h 27"/>
                <a:gd name="T6" fmla="*/ 2 w 13"/>
                <a:gd name="T7" fmla="*/ 27 h 27"/>
                <a:gd name="T8" fmla="*/ 4 w 13"/>
                <a:gd name="T9" fmla="*/ 27 h 27"/>
                <a:gd name="T10" fmla="*/ 6 w 13"/>
                <a:gd name="T11" fmla="*/ 27 h 27"/>
                <a:gd name="T12" fmla="*/ 9 w 13"/>
                <a:gd name="T13" fmla="*/ 12 h 27"/>
                <a:gd name="T14" fmla="*/ 11 w 13"/>
                <a:gd name="T15" fmla="*/ 12 h 27"/>
                <a:gd name="T16" fmla="*/ 11 w 13"/>
                <a:gd name="T17" fmla="*/ 4 h 27"/>
                <a:gd name="T18" fmla="*/ 13 w 13"/>
                <a:gd name="T19" fmla="*/ 0 h 27"/>
                <a:gd name="T20" fmla="*/ 11 w 13"/>
                <a:gd name="T21" fmla="*/ 0 h 27"/>
                <a:gd name="T22" fmla="*/ 9 w 13"/>
                <a:gd name="T23" fmla="*/ 8 h 27"/>
                <a:gd name="T24" fmla="*/ 8 w 13"/>
                <a:gd name="T25" fmla="*/ 12 h 27"/>
                <a:gd name="T26" fmla="*/ 6 w 13"/>
                <a:gd name="T27" fmla="*/ 14 h 27"/>
                <a:gd name="T28" fmla="*/ 4 w 13"/>
                <a:gd name="T29" fmla="*/ 16 h 27"/>
                <a:gd name="T30" fmla="*/ 4 w 13"/>
                <a:gd name="T31" fmla="*/ 18 h 27"/>
                <a:gd name="T32" fmla="*/ 6 w 13"/>
                <a:gd name="T33" fmla="*/ 18 h 27"/>
                <a:gd name="T34" fmla="*/ 4 w 13"/>
                <a:gd name="T35" fmla="*/ 18 h 27"/>
                <a:gd name="T36" fmla="*/ 2 w 13"/>
                <a:gd name="T37" fmla="*/ 20 h 27"/>
                <a:gd name="T38" fmla="*/ 0 w 13"/>
                <a:gd name="T39"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7">
                  <a:moveTo>
                    <a:pt x="0" y="20"/>
                  </a:moveTo>
                  <a:lnTo>
                    <a:pt x="2" y="22"/>
                  </a:lnTo>
                  <a:lnTo>
                    <a:pt x="2" y="25"/>
                  </a:lnTo>
                  <a:lnTo>
                    <a:pt x="2" y="27"/>
                  </a:lnTo>
                  <a:lnTo>
                    <a:pt x="4" y="27"/>
                  </a:lnTo>
                  <a:lnTo>
                    <a:pt x="6" y="27"/>
                  </a:lnTo>
                  <a:lnTo>
                    <a:pt x="9" y="12"/>
                  </a:lnTo>
                  <a:lnTo>
                    <a:pt x="11" y="12"/>
                  </a:lnTo>
                  <a:lnTo>
                    <a:pt x="11" y="4"/>
                  </a:lnTo>
                  <a:lnTo>
                    <a:pt x="13" y="0"/>
                  </a:lnTo>
                  <a:lnTo>
                    <a:pt x="11" y="0"/>
                  </a:lnTo>
                  <a:lnTo>
                    <a:pt x="9" y="8"/>
                  </a:lnTo>
                  <a:lnTo>
                    <a:pt x="8" y="12"/>
                  </a:lnTo>
                  <a:lnTo>
                    <a:pt x="6" y="14"/>
                  </a:lnTo>
                  <a:lnTo>
                    <a:pt x="4" y="16"/>
                  </a:lnTo>
                  <a:lnTo>
                    <a:pt x="4" y="18"/>
                  </a:lnTo>
                  <a:lnTo>
                    <a:pt x="6" y="18"/>
                  </a:lnTo>
                  <a:lnTo>
                    <a:pt x="4" y="18"/>
                  </a:lnTo>
                  <a:lnTo>
                    <a:pt x="2" y="20"/>
                  </a:lnTo>
                  <a:lnTo>
                    <a:pt x="0" y="2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2" name="Freeform 120"/>
            <p:cNvSpPr>
              <a:spLocks/>
            </p:cNvSpPr>
            <p:nvPr/>
          </p:nvSpPr>
          <p:spPr bwMode="auto">
            <a:xfrm>
              <a:off x="2539" y="2240"/>
              <a:ext cx="15" cy="10"/>
            </a:xfrm>
            <a:custGeom>
              <a:avLst/>
              <a:gdLst>
                <a:gd name="T0" fmla="*/ 0 w 15"/>
                <a:gd name="T1" fmla="*/ 8 h 10"/>
                <a:gd name="T2" fmla="*/ 2 w 15"/>
                <a:gd name="T3" fmla="*/ 6 h 10"/>
                <a:gd name="T4" fmla="*/ 0 w 15"/>
                <a:gd name="T5" fmla="*/ 6 h 10"/>
                <a:gd name="T6" fmla="*/ 2 w 15"/>
                <a:gd name="T7" fmla="*/ 4 h 10"/>
                <a:gd name="T8" fmla="*/ 3 w 15"/>
                <a:gd name="T9" fmla="*/ 4 h 10"/>
                <a:gd name="T10" fmla="*/ 7 w 15"/>
                <a:gd name="T11" fmla="*/ 4 h 10"/>
                <a:gd name="T12" fmla="*/ 7 w 15"/>
                <a:gd name="T13" fmla="*/ 2 h 10"/>
                <a:gd name="T14" fmla="*/ 5 w 15"/>
                <a:gd name="T15" fmla="*/ 2 h 10"/>
                <a:gd name="T16" fmla="*/ 5 w 15"/>
                <a:gd name="T17" fmla="*/ 0 h 10"/>
                <a:gd name="T18" fmla="*/ 3 w 15"/>
                <a:gd name="T19" fmla="*/ 0 h 10"/>
                <a:gd name="T20" fmla="*/ 5 w 15"/>
                <a:gd name="T21" fmla="*/ 0 h 10"/>
                <a:gd name="T22" fmla="*/ 7 w 15"/>
                <a:gd name="T23" fmla="*/ 0 h 10"/>
                <a:gd name="T24" fmla="*/ 11 w 15"/>
                <a:gd name="T25" fmla="*/ 0 h 10"/>
                <a:gd name="T26" fmla="*/ 15 w 15"/>
                <a:gd name="T27" fmla="*/ 2 h 10"/>
                <a:gd name="T28" fmla="*/ 15 w 15"/>
                <a:gd name="T29" fmla="*/ 6 h 10"/>
                <a:gd name="T30" fmla="*/ 11 w 15"/>
                <a:gd name="T31" fmla="*/ 4 h 10"/>
                <a:gd name="T32" fmla="*/ 9 w 15"/>
                <a:gd name="T33" fmla="*/ 4 h 10"/>
                <a:gd name="T34" fmla="*/ 7 w 15"/>
                <a:gd name="T35" fmla="*/ 6 h 10"/>
                <a:gd name="T36" fmla="*/ 3 w 15"/>
                <a:gd name="T37" fmla="*/ 10 h 10"/>
                <a:gd name="T38" fmla="*/ 2 w 15"/>
                <a:gd name="T39" fmla="*/ 10 h 10"/>
                <a:gd name="T40" fmla="*/ 0 w 15"/>
                <a:gd name="T4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0">
                  <a:moveTo>
                    <a:pt x="0" y="8"/>
                  </a:moveTo>
                  <a:lnTo>
                    <a:pt x="2" y="6"/>
                  </a:lnTo>
                  <a:lnTo>
                    <a:pt x="0" y="6"/>
                  </a:lnTo>
                  <a:lnTo>
                    <a:pt x="2" y="4"/>
                  </a:lnTo>
                  <a:lnTo>
                    <a:pt x="3" y="4"/>
                  </a:lnTo>
                  <a:lnTo>
                    <a:pt x="7" y="4"/>
                  </a:lnTo>
                  <a:lnTo>
                    <a:pt x="7" y="2"/>
                  </a:lnTo>
                  <a:lnTo>
                    <a:pt x="5" y="2"/>
                  </a:lnTo>
                  <a:lnTo>
                    <a:pt x="5" y="0"/>
                  </a:lnTo>
                  <a:lnTo>
                    <a:pt x="3" y="0"/>
                  </a:lnTo>
                  <a:lnTo>
                    <a:pt x="5" y="0"/>
                  </a:lnTo>
                  <a:lnTo>
                    <a:pt x="7" y="0"/>
                  </a:lnTo>
                  <a:lnTo>
                    <a:pt x="11" y="0"/>
                  </a:lnTo>
                  <a:lnTo>
                    <a:pt x="15" y="2"/>
                  </a:lnTo>
                  <a:lnTo>
                    <a:pt x="15" y="6"/>
                  </a:lnTo>
                  <a:lnTo>
                    <a:pt x="11" y="4"/>
                  </a:lnTo>
                  <a:lnTo>
                    <a:pt x="9" y="4"/>
                  </a:lnTo>
                  <a:lnTo>
                    <a:pt x="7" y="6"/>
                  </a:lnTo>
                  <a:lnTo>
                    <a:pt x="3" y="10"/>
                  </a:lnTo>
                  <a:lnTo>
                    <a:pt x="2" y="10"/>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3" name="Freeform 121"/>
            <p:cNvSpPr>
              <a:spLocks/>
            </p:cNvSpPr>
            <p:nvPr/>
          </p:nvSpPr>
          <p:spPr bwMode="auto">
            <a:xfrm>
              <a:off x="2483" y="2179"/>
              <a:ext cx="6" cy="13"/>
            </a:xfrm>
            <a:custGeom>
              <a:avLst/>
              <a:gdLst>
                <a:gd name="T0" fmla="*/ 0 w 6"/>
                <a:gd name="T1" fmla="*/ 0 h 13"/>
                <a:gd name="T2" fmla="*/ 2 w 6"/>
                <a:gd name="T3" fmla="*/ 0 h 13"/>
                <a:gd name="T4" fmla="*/ 4 w 6"/>
                <a:gd name="T5" fmla="*/ 2 h 13"/>
                <a:gd name="T6" fmla="*/ 6 w 6"/>
                <a:gd name="T7" fmla="*/ 3 h 13"/>
                <a:gd name="T8" fmla="*/ 4 w 6"/>
                <a:gd name="T9" fmla="*/ 3 h 13"/>
                <a:gd name="T10" fmla="*/ 4 w 6"/>
                <a:gd name="T11" fmla="*/ 5 h 13"/>
                <a:gd name="T12" fmla="*/ 6 w 6"/>
                <a:gd name="T13" fmla="*/ 7 h 13"/>
                <a:gd name="T14" fmla="*/ 6 w 6"/>
                <a:gd name="T15" fmla="*/ 5 h 13"/>
                <a:gd name="T16" fmla="*/ 6 w 6"/>
                <a:gd name="T17" fmla="*/ 7 h 13"/>
                <a:gd name="T18" fmla="*/ 4 w 6"/>
                <a:gd name="T19" fmla="*/ 9 h 13"/>
                <a:gd name="T20" fmla="*/ 6 w 6"/>
                <a:gd name="T21" fmla="*/ 11 h 13"/>
                <a:gd name="T22" fmla="*/ 4 w 6"/>
                <a:gd name="T23" fmla="*/ 13 h 13"/>
                <a:gd name="T24" fmla="*/ 2 w 6"/>
                <a:gd name="T25" fmla="*/ 13 h 13"/>
                <a:gd name="T26" fmla="*/ 0 w 6"/>
                <a:gd name="T27" fmla="*/ 11 h 13"/>
                <a:gd name="T28" fmla="*/ 2 w 6"/>
                <a:gd name="T29" fmla="*/ 7 h 13"/>
                <a:gd name="T30" fmla="*/ 4 w 6"/>
                <a:gd name="T31" fmla="*/ 7 h 13"/>
                <a:gd name="T32" fmla="*/ 4 w 6"/>
                <a:gd name="T33" fmla="*/ 5 h 13"/>
                <a:gd name="T34" fmla="*/ 4 w 6"/>
                <a:gd name="T35" fmla="*/ 3 h 13"/>
                <a:gd name="T36" fmla="*/ 2 w 6"/>
                <a:gd name="T37" fmla="*/ 3 h 13"/>
                <a:gd name="T38" fmla="*/ 2 w 6"/>
                <a:gd name="T39" fmla="*/ 2 h 13"/>
                <a:gd name="T40" fmla="*/ 0 w 6"/>
                <a:gd name="T4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13">
                  <a:moveTo>
                    <a:pt x="0" y="0"/>
                  </a:moveTo>
                  <a:lnTo>
                    <a:pt x="2" y="0"/>
                  </a:lnTo>
                  <a:lnTo>
                    <a:pt x="4" y="2"/>
                  </a:lnTo>
                  <a:lnTo>
                    <a:pt x="6" y="3"/>
                  </a:lnTo>
                  <a:lnTo>
                    <a:pt x="4" y="3"/>
                  </a:lnTo>
                  <a:lnTo>
                    <a:pt x="4" y="5"/>
                  </a:lnTo>
                  <a:lnTo>
                    <a:pt x="6" y="7"/>
                  </a:lnTo>
                  <a:lnTo>
                    <a:pt x="6" y="5"/>
                  </a:lnTo>
                  <a:lnTo>
                    <a:pt x="6" y="7"/>
                  </a:lnTo>
                  <a:lnTo>
                    <a:pt x="4" y="9"/>
                  </a:lnTo>
                  <a:lnTo>
                    <a:pt x="6" y="11"/>
                  </a:lnTo>
                  <a:lnTo>
                    <a:pt x="4" y="13"/>
                  </a:lnTo>
                  <a:lnTo>
                    <a:pt x="2" y="13"/>
                  </a:lnTo>
                  <a:lnTo>
                    <a:pt x="0" y="11"/>
                  </a:lnTo>
                  <a:lnTo>
                    <a:pt x="2" y="7"/>
                  </a:lnTo>
                  <a:lnTo>
                    <a:pt x="4" y="7"/>
                  </a:lnTo>
                  <a:lnTo>
                    <a:pt x="4" y="5"/>
                  </a:lnTo>
                  <a:lnTo>
                    <a:pt x="4" y="3"/>
                  </a:lnTo>
                  <a:lnTo>
                    <a:pt x="2" y="3"/>
                  </a:lnTo>
                  <a:lnTo>
                    <a:pt x="2"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4" name="Freeform 122"/>
            <p:cNvSpPr>
              <a:spLocks/>
            </p:cNvSpPr>
            <p:nvPr/>
          </p:nvSpPr>
          <p:spPr bwMode="auto">
            <a:xfrm>
              <a:off x="2496" y="2094"/>
              <a:ext cx="12" cy="6"/>
            </a:xfrm>
            <a:custGeom>
              <a:avLst/>
              <a:gdLst>
                <a:gd name="T0" fmla="*/ 0 w 12"/>
                <a:gd name="T1" fmla="*/ 4 h 6"/>
                <a:gd name="T2" fmla="*/ 4 w 12"/>
                <a:gd name="T3" fmla="*/ 6 h 6"/>
                <a:gd name="T4" fmla="*/ 6 w 12"/>
                <a:gd name="T5" fmla="*/ 6 h 6"/>
                <a:gd name="T6" fmla="*/ 8 w 12"/>
                <a:gd name="T7" fmla="*/ 4 h 6"/>
                <a:gd name="T8" fmla="*/ 8 w 12"/>
                <a:gd name="T9" fmla="*/ 2 h 6"/>
                <a:gd name="T10" fmla="*/ 10 w 12"/>
                <a:gd name="T11" fmla="*/ 2 h 6"/>
                <a:gd name="T12" fmla="*/ 12 w 12"/>
                <a:gd name="T13" fmla="*/ 0 h 6"/>
                <a:gd name="T14" fmla="*/ 12 w 12"/>
                <a:gd name="T15" fmla="*/ 2 h 6"/>
                <a:gd name="T16" fmla="*/ 12 w 12"/>
                <a:gd name="T17" fmla="*/ 0 h 6"/>
                <a:gd name="T18" fmla="*/ 10 w 12"/>
                <a:gd name="T19" fmla="*/ 0 h 6"/>
                <a:gd name="T20" fmla="*/ 6 w 12"/>
                <a:gd name="T21" fmla="*/ 0 h 6"/>
                <a:gd name="T22" fmla="*/ 6 w 12"/>
                <a:gd name="T23" fmla="*/ 2 h 6"/>
                <a:gd name="T24" fmla="*/ 2 w 12"/>
                <a:gd name="T25" fmla="*/ 2 h 6"/>
                <a:gd name="T26" fmla="*/ 2 w 12"/>
                <a:gd name="T27" fmla="*/ 4 h 6"/>
                <a:gd name="T28" fmla="*/ 0 w 12"/>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0" y="4"/>
                  </a:moveTo>
                  <a:lnTo>
                    <a:pt x="4" y="6"/>
                  </a:lnTo>
                  <a:lnTo>
                    <a:pt x="6" y="6"/>
                  </a:lnTo>
                  <a:lnTo>
                    <a:pt x="8" y="4"/>
                  </a:lnTo>
                  <a:lnTo>
                    <a:pt x="8" y="2"/>
                  </a:lnTo>
                  <a:lnTo>
                    <a:pt x="10" y="2"/>
                  </a:lnTo>
                  <a:lnTo>
                    <a:pt x="12" y="0"/>
                  </a:lnTo>
                  <a:lnTo>
                    <a:pt x="12" y="2"/>
                  </a:lnTo>
                  <a:lnTo>
                    <a:pt x="12" y="0"/>
                  </a:lnTo>
                  <a:lnTo>
                    <a:pt x="10" y="0"/>
                  </a:lnTo>
                  <a:lnTo>
                    <a:pt x="6" y="0"/>
                  </a:lnTo>
                  <a:lnTo>
                    <a:pt x="6" y="2"/>
                  </a:lnTo>
                  <a:lnTo>
                    <a:pt x="2" y="2"/>
                  </a:lnTo>
                  <a:lnTo>
                    <a:pt x="2" y="4"/>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5" name="Freeform 123"/>
            <p:cNvSpPr>
              <a:spLocks/>
            </p:cNvSpPr>
            <p:nvPr/>
          </p:nvSpPr>
          <p:spPr bwMode="auto">
            <a:xfrm>
              <a:off x="2471" y="2244"/>
              <a:ext cx="12" cy="10"/>
            </a:xfrm>
            <a:custGeom>
              <a:avLst/>
              <a:gdLst>
                <a:gd name="T0" fmla="*/ 0 w 12"/>
                <a:gd name="T1" fmla="*/ 0 h 10"/>
                <a:gd name="T2" fmla="*/ 0 w 12"/>
                <a:gd name="T3" fmla="*/ 2 h 10"/>
                <a:gd name="T4" fmla="*/ 2 w 12"/>
                <a:gd name="T5" fmla="*/ 4 h 10"/>
                <a:gd name="T6" fmla="*/ 4 w 12"/>
                <a:gd name="T7" fmla="*/ 6 h 10"/>
                <a:gd name="T8" fmla="*/ 4 w 12"/>
                <a:gd name="T9" fmla="*/ 8 h 10"/>
                <a:gd name="T10" fmla="*/ 6 w 12"/>
                <a:gd name="T11" fmla="*/ 10 h 10"/>
                <a:gd name="T12" fmla="*/ 8 w 12"/>
                <a:gd name="T13" fmla="*/ 10 h 10"/>
                <a:gd name="T14" fmla="*/ 8 w 12"/>
                <a:gd name="T15" fmla="*/ 8 h 10"/>
                <a:gd name="T16" fmla="*/ 12 w 12"/>
                <a:gd name="T17" fmla="*/ 8 h 10"/>
                <a:gd name="T18" fmla="*/ 10 w 12"/>
                <a:gd name="T19" fmla="*/ 6 h 10"/>
                <a:gd name="T20" fmla="*/ 10 w 12"/>
                <a:gd name="T21" fmla="*/ 8 h 10"/>
                <a:gd name="T22" fmla="*/ 10 w 12"/>
                <a:gd name="T23" fmla="*/ 6 h 10"/>
                <a:gd name="T24" fmla="*/ 8 w 12"/>
                <a:gd name="T25" fmla="*/ 8 h 10"/>
                <a:gd name="T26" fmla="*/ 8 w 12"/>
                <a:gd name="T27" fmla="*/ 4 h 10"/>
                <a:gd name="T28" fmla="*/ 6 w 12"/>
                <a:gd name="T29" fmla="*/ 6 h 10"/>
                <a:gd name="T30" fmla="*/ 4 w 12"/>
                <a:gd name="T31" fmla="*/ 4 h 10"/>
                <a:gd name="T32" fmla="*/ 4 w 12"/>
                <a:gd name="T33" fmla="*/ 2 h 10"/>
                <a:gd name="T34" fmla="*/ 2 w 12"/>
                <a:gd name="T35" fmla="*/ 2 h 10"/>
                <a:gd name="T36" fmla="*/ 0 w 12"/>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0">
                  <a:moveTo>
                    <a:pt x="0" y="0"/>
                  </a:moveTo>
                  <a:lnTo>
                    <a:pt x="0" y="2"/>
                  </a:lnTo>
                  <a:lnTo>
                    <a:pt x="2" y="4"/>
                  </a:lnTo>
                  <a:lnTo>
                    <a:pt x="4" y="6"/>
                  </a:lnTo>
                  <a:lnTo>
                    <a:pt x="4" y="8"/>
                  </a:lnTo>
                  <a:lnTo>
                    <a:pt x="6" y="10"/>
                  </a:lnTo>
                  <a:lnTo>
                    <a:pt x="8" y="10"/>
                  </a:lnTo>
                  <a:lnTo>
                    <a:pt x="8" y="8"/>
                  </a:lnTo>
                  <a:lnTo>
                    <a:pt x="12" y="8"/>
                  </a:lnTo>
                  <a:lnTo>
                    <a:pt x="10" y="6"/>
                  </a:lnTo>
                  <a:lnTo>
                    <a:pt x="10" y="8"/>
                  </a:lnTo>
                  <a:lnTo>
                    <a:pt x="10" y="6"/>
                  </a:lnTo>
                  <a:lnTo>
                    <a:pt x="8" y="8"/>
                  </a:lnTo>
                  <a:lnTo>
                    <a:pt x="8" y="4"/>
                  </a:lnTo>
                  <a:lnTo>
                    <a:pt x="6" y="6"/>
                  </a:lnTo>
                  <a:lnTo>
                    <a:pt x="4" y="4"/>
                  </a:lnTo>
                  <a:lnTo>
                    <a:pt x="4" y="2"/>
                  </a:lnTo>
                  <a:lnTo>
                    <a:pt x="2"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6" name="Freeform 124"/>
            <p:cNvSpPr>
              <a:spLocks/>
            </p:cNvSpPr>
            <p:nvPr/>
          </p:nvSpPr>
          <p:spPr bwMode="auto">
            <a:xfrm>
              <a:off x="2552" y="2198"/>
              <a:ext cx="6" cy="9"/>
            </a:xfrm>
            <a:custGeom>
              <a:avLst/>
              <a:gdLst>
                <a:gd name="T0" fmla="*/ 0 w 6"/>
                <a:gd name="T1" fmla="*/ 6 h 9"/>
                <a:gd name="T2" fmla="*/ 2 w 6"/>
                <a:gd name="T3" fmla="*/ 4 h 9"/>
                <a:gd name="T4" fmla="*/ 4 w 6"/>
                <a:gd name="T5" fmla="*/ 0 h 9"/>
                <a:gd name="T6" fmla="*/ 4 w 6"/>
                <a:gd name="T7" fmla="*/ 2 h 9"/>
                <a:gd name="T8" fmla="*/ 6 w 6"/>
                <a:gd name="T9" fmla="*/ 4 h 9"/>
                <a:gd name="T10" fmla="*/ 6 w 6"/>
                <a:gd name="T11" fmla="*/ 6 h 9"/>
                <a:gd name="T12" fmla="*/ 6 w 6"/>
                <a:gd name="T13" fmla="*/ 8 h 9"/>
                <a:gd name="T14" fmla="*/ 4 w 6"/>
                <a:gd name="T15" fmla="*/ 9 h 9"/>
                <a:gd name="T16" fmla="*/ 2 w 6"/>
                <a:gd name="T17" fmla="*/ 9 h 9"/>
                <a:gd name="T18" fmla="*/ 2 w 6"/>
                <a:gd name="T19" fmla="*/ 8 h 9"/>
                <a:gd name="T20" fmla="*/ 0 w 6"/>
                <a:gd name="T21" fmla="*/ 8 h 9"/>
                <a:gd name="T22" fmla="*/ 0 w 6"/>
                <a:gd name="T2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9">
                  <a:moveTo>
                    <a:pt x="0" y="6"/>
                  </a:moveTo>
                  <a:lnTo>
                    <a:pt x="2" y="4"/>
                  </a:lnTo>
                  <a:lnTo>
                    <a:pt x="4" y="0"/>
                  </a:lnTo>
                  <a:lnTo>
                    <a:pt x="4" y="2"/>
                  </a:lnTo>
                  <a:lnTo>
                    <a:pt x="6" y="4"/>
                  </a:lnTo>
                  <a:lnTo>
                    <a:pt x="6" y="6"/>
                  </a:lnTo>
                  <a:lnTo>
                    <a:pt x="6" y="8"/>
                  </a:lnTo>
                  <a:lnTo>
                    <a:pt x="4" y="9"/>
                  </a:lnTo>
                  <a:lnTo>
                    <a:pt x="2" y="9"/>
                  </a:lnTo>
                  <a:lnTo>
                    <a:pt x="2" y="8"/>
                  </a:lnTo>
                  <a:lnTo>
                    <a:pt x="0" y="8"/>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7" name="Freeform 125"/>
            <p:cNvSpPr>
              <a:spLocks/>
            </p:cNvSpPr>
            <p:nvPr/>
          </p:nvSpPr>
          <p:spPr bwMode="auto">
            <a:xfrm>
              <a:off x="2412" y="2227"/>
              <a:ext cx="4" cy="9"/>
            </a:xfrm>
            <a:custGeom>
              <a:avLst/>
              <a:gdLst>
                <a:gd name="T0" fmla="*/ 0 w 4"/>
                <a:gd name="T1" fmla="*/ 0 h 9"/>
                <a:gd name="T2" fmla="*/ 4 w 4"/>
                <a:gd name="T3" fmla="*/ 2 h 9"/>
                <a:gd name="T4" fmla="*/ 2 w 4"/>
                <a:gd name="T5" fmla="*/ 4 h 9"/>
                <a:gd name="T6" fmla="*/ 2 w 4"/>
                <a:gd name="T7" fmla="*/ 9 h 9"/>
                <a:gd name="T8" fmla="*/ 0 w 4"/>
                <a:gd name="T9" fmla="*/ 9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4" y="2"/>
                  </a:lnTo>
                  <a:lnTo>
                    <a:pt x="2" y="4"/>
                  </a:lnTo>
                  <a:lnTo>
                    <a:pt x="2" y="9"/>
                  </a:lnTo>
                  <a:lnTo>
                    <a:pt x="0" y="9"/>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8" name="Freeform 126"/>
            <p:cNvSpPr>
              <a:spLocks/>
            </p:cNvSpPr>
            <p:nvPr/>
          </p:nvSpPr>
          <p:spPr bwMode="auto">
            <a:xfrm>
              <a:off x="2483" y="2238"/>
              <a:ext cx="6" cy="8"/>
            </a:xfrm>
            <a:custGeom>
              <a:avLst/>
              <a:gdLst>
                <a:gd name="T0" fmla="*/ 0 w 6"/>
                <a:gd name="T1" fmla="*/ 4 h 8"/>
                <a:gd name="T2" fmla="*/ 0 w 6"/>
                <a:gd name="T3" fmla="*/ 6 h 8"/>
                <a:gd name="T4" fmla="*/ 2 w 6"/>
                <a:gd name="T5" fmla="*/ 6 h 8"/>
                <a:gd name="T6" fmla="*/ 0 w 6"/>
                <a:gd name="T7" fmla="*/ 8 h 8"/>
                <a:gd name="T8" fmla="*/ 2 w 6"/>
                <a:gd name="T9" fmla="*/ 8 h 8"/>
                <a:gd name="T10" fmla="*/ 2 w 6"/>
                <a:gd name="T11" fmla="*/ 6 h 8"/>
                <a:gd name="T12" fmla="*/ 4 w 6"/>
                <a:gd name="T13" fmla="*/ 8 h 8"/>
                <a:gd name="T14" fmla="*/ 4 w 6"/>
                <a:gd name="T15" fmla="*/ 6 h 8"/>
                <a:gd name="T16" fmla="*/ 6 w 6"/>
                <a:gd name="T17" fmla="*/ 6 h 8"/>
                <a:gd name="T18" fmla="*/ 6 w 6"/>
                <a:gd name="T19" fmla="*/ 4 h 8"/>
                <a:gd name="T20" fmla="*/ 4 w 6"/>
                <a:gd name="T21" fmla="*/ 6 h 8"/>
                <a:gd name="T22" fmla="*/ 4 w 6"/>
                <a:gd name="T23" fmla="*/ 4 h 8"/>
                <a:gd name="T24" fmla="*/ 4 w 6"/>
                <a:gd name="T25" fmla="*/ 0 h 8"/>
                <a:gd name="T26" fmla="*/ 2 w 6"/>
                <a:gd name="T27" fmla="*/ 0 h 8"/>
                <a:gd name="T28" fmla="*/ 0 w 6"/>
                <a:gd name="T29" fmla="*/ 2 h 8"/>
                <a:gd name="T30" fmla="*/ 0 w 6"/>
                <a:gd name="T3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0" y="4"/>
                  </a:moveTo>
                  <a:lnTo>
                    <a:pt x="0" y="6"/>
                  </a:lnTo>
                  <a:lnTo>
                    <a:pt x="2" y="6"/>
                  </a:lnTo>
                  <a:lnTo>
                    <a:pt x="0" y="8"/>
                  </a:lnTo>
                  <a:lnTo>
                    <a:pt x="2" y="8"/>
                  </a:lnTo>
                  <a:lnTo>
                    <a:pt x="2" y="6"/>
                  </a:lnTo>
                  <a:lnTo>
                    <a:pt x="4" y="8"/>
                  </a:lnTo>
                  <a:lnTo>
                    <a:pt x="4" y="6"/>
                  </a:lnTo>
                  <a:lnTo>
                    <a:pt x="6" y="6"/>
                  </a:lnTo>
                  <a:lnTo>
                    <a:pt x="6" y="4"/>
                  </a:lnTo>
                  <a:lnTo>
                    <a:pt x="4" y="6"/>
                  </a:lnTo>
                  <a:lnTo>
                    <a:pt x="4" y="4"/>
                  </a:lnTo>
                  <a:lnTo>
                    <a:pt x="4" y="0"/>
                  </a:lnTo>
                  <a:lnTo>
                    <a:pt x="2" y="0"/>
                  </a:lnTo>
                  <a:lnTo>
                    <a:pt x="0" y="2"/>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39" name="Freeform 127"/>
            <p:cNvSpPr>
              <a:spLocks/>
            </p:cNvSpPr>
            <p:nvPr/>
          </p:nvSpPr>
          <p:spPr bwMode="auto">
            <a:xfrm>
              <a:off x="2408" y="2209"/>
              <a:ext cx="4" cy="8"/>
            </a:xfrm>
            <a:custGeom>
              <a:avLst/>
              <a:gdLst>
                <a:gd name="T0" fmla="*/ 0 w 4"/>
                <a:gd name="T1" fmla="*/ 0 h 8"/>
                <a:gd name="T2" fmla="*/ 0 w 4"/>
                <a:gd name="T3" fmla="*/ 2 h 8"/>
                <a:gd name="T4" fmla="*/ 0 w 4"/>
                <a:gd name="T5" fmla="*/ 4 h 8"/>
                <a:gd name="T6" fmla="*/ 2 w 4"/>
                <a:gd name="T7" fmla="*/ 8 h 8"/>
                <a:gd name="T8" fmla="*/ 4 w 4"/>
                <a:gd name="T9" fmla="*/ 8 h 8"/>
                <a:gd name="T10" fmla="*/ 4 w 4"/>
                <a:gd name="T11" fmla="*/ 6 h 8"/>
                <a:gd name="T12" fmla="*/ 2 w 4"/>
                <a:gd name="T13" fmla="*/ 6 h 8"/>
                <a:gd name="T14" fmla="*/ 4 w 4"/>
                <a:gd name="T15" fmla="*/ 4 h 8"/>
                <a:gd name="T16" fmla="*/ 2 w 4"/>
                <a:gd name="T17" fmla="*/ 2 h 8"/>
                <a:gd name="T18" fmla="*/ 2 w 4"/>
                <a:gd name="T19" fmla="*/ 0 h 8"/>
                <a:gd name="T20" fmla="*/ 0 w 4"/>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8">
                  <a:moveTo>
                    <a:pt x="0" y="0"/>
                  </a:moveTo>
                  <a:lnTo>
                    <a:pt x="0" y="2"/>
                  </a:lnTo>
                  <a:lnTo>
                    <a:pt x="0" y="4"/>
                  </a:lnTo>
                  <a:lnTo>
                    <a:pt x="2" y="8"/>
                  </a:lnTo>
                  <a:lnTo>
                    <a:pt x="4" y="8"/>
                  </a:lnTo>
                  <a:lnTo>
                    <a:pt x="4" y="6"/>
                  </a:lnTo>
                  <a:lnTo>
                    <a:pt x="2" y="6"/>
                  </a:lnTo>
                  <a:lnTo>
                    <a:pt x="4" y="4"/>
                  </a:lnTo>
                  <a:lnTo>
                    <a:pt x="2" y="2"/>
                  </a:ln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0" name="Freeform 128"/>
            <p:cNvSpPr>
              <a:spLocks/>
            </p:cNvSpPr>
            <p:nvPr/>
          </p:nvSpPr>
          <p:spPr bwMode="auto">
            <a:xfrm>
              <a:off x="2518" y="2131"/>
              <a:ext cx="5" cy="3"/>
            </a:xfrm>
            <a:custGeom>
              <a:avLst/>
              <a:gdLst>
                <a:gd name="T0" fmla="*/ 0 w 5"/>
                <a:gd name="T1" fmla="*/ 2 h 3"/>
                <a:gd name="T2" fmla="*/ 1 w 5"/>
                <a:gd name="T3" fmla="*/ 3 h 3"/>
                <a:gd name="T4" fmla="*/ 3 w 5"/>
                <a:gd name="T5" fmla="*/ 2 h 3"/>
                <a:gd name="T6" fmla="*/ 5 w 5"/>
                <a:gd name="T7" fmla="*/ 2 h 3"/>
                <a:gd name="T8" fmla="*/ 5 w 5"/>
                <a:gd name="T9" fmla="*/ 0 h 3"/>
                <a:gd name="T10" fmla="*/ 1 w 5"/>
                <a:gd name="T11" fmla="*/ 2 h 3"/>
                <a:gd name="T12" fmla="*/ 0 w 5"/>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0" y="2"/>
                  </a:moveTo>
                  <a:lnTo>
                    <a:pt x="1" y="3"/>
                  </a:lnTo>
                  <a:lnTo>
                    <a:pt x="3" y="2"/>
                  </a:lnTo>
                  <a:lnTo>
                    <a:pt x="5" y="2"/>
                  </a:lnTo>
                  <a:lnTo>
                    <a:pt x="5" y="0"/>
                  </a:lnTo>
                  <a:lnTo>
                    <a:pt x="1" y="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1" name="Freeform 129"/>
            <p:cNvSpPr>
              <a:spLocks/>
            </p:cNvSpPr>
            <p:nvPr/>
          </p:nvSpPr>
          <p:spPr bwMode="auto">
            <a:xfrm>
              <a:off x="2431" y="2123"/>
              <a:ext cx="4" cy="2"/>
            </a:xfrm>
            <a:custGeom>
              <a:avLst/>
              <a:gdLst>
                <a:gd name="T0" fmla="*/ 0 w 4"/>
                <a:gd name="T1" fmla="*/ 0 h 2"/>
                <a:gd name="T2" fmla="*/ 4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4" y="0"/>
                  </a:lnTo>
                  <a:lnTo>
                    <a:pt x="4" y="2"/>
                  </a:lnTo>
                  <a:lnTo>
                    <a:pt x="2"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2" name="Freeform 130"/>
            <p:cNvSpPr>
              <a:spLocks/>
            </p:cNvSpPr>
            <p:nvPr/>
          </p:nvSpPr>
          <p:spPr bwMode="auto">
            <a:xfrm>
              <a:off x="2560" y="2200"/>
              <a:ext cx="2" cy="4"/>
            </a:xfrm>
            <a:custGeom>
              <a:avLst/>
              <a:gdLst>
                <a:gd name="T0" fmla="*/ 0 w 2"/>
                <a:gd name="T1" fmla="*/ 2 h 4"/>
                <a:gd name="T2" fmla="*/ 2 w 2"/>
                <a:gd name="T3" fmla="*/ 4 h 4"/>
                <a:gd name="T4" fmla="*/ 2 w 2"/>
                <a:gd name="T5" fmla="*/ 0 h 4"/>
                <a:gd name="T6" fmla="*/ 0 w 2"/>
                <a:gd name="T7" fmla="*/ 0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4"/>
                  </a:lnTo>
                  <a:lnTo>
                    <a:pt x="2" y="0"/>
                  </a:ln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3" name="Freeform 131"/>
            <p:cNvSpPr>
              <a:spLocks/>
            </p:cNvSpPr>
            <p:nvPr/>
          </p:nvSpPr>
          <p:spPr bwMode="auto">
            <a:xfrm>
              <a:off x="2512" y="2244"/>
              <a:ext cx="4" cy="4"/>
            </a:xfrm>
            <a:custGeom>
              <a:avLst/>
              <a:gdLst>
                <a:gd name="T0" fmla="*/ 0 w 4"/>
                <a:gd name="T1" fmla="*/ 2 h 4"/>
                <a:gd name="T2" fmla="*/ 2 w 4"/>
                <a:gd name="T3" fmla="*/ 4 h 4"/>
                <a:gd name="T4" fmla="*/ 4 w 4"/>
                <a:gd name="T5" fmla="*/ 2 h 4"/>
                <a:gd name="T6" fmla="*/ 4 w 4"/>
                <a:gd name="T7" fmla="*/ 0 h 4"/>
                <a:gd name="T8" fmla="*/ 2 w 4"/>
                <a:gd name="T9" fmla="*/ 0 h 4"/>
                <a:gd name="T10" fmla="*/ 2 w 4"/>
                <a:gd name="T11" fmla="*/ 2 h 4"/>
                <a:gd name="T12" fmla="*/ 0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2"/>
                  </a:moveTo>
                  <a:lnTo>
                    <a:pt x="2" y="4"/>
                  </a:lnTo>
                  <a:lnTo>
                    <a:pt x="4" y="2"/>
                  </a:lnTo>
                  <a:lnTo>
                    <a:pt x="4" y="0"/>
                  </a:lnTo>
                  <a:lnTo>
                    <a:pt x="2" y="0"/>
                  </a:lnTo>
                  <a:lnTo>
                    <a:pt x="2" y="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4" name="Freeform 132"/>
            <p:cNvSpPr>
              <a:spLocks/>
            </p:cNvSpPr>
            <p:nvPr/>
          </p:nvSpPr>
          <p:spPr bwMode="auto">
            <a:xfrm>
              <a:off x="2502" y="2182"/>
              <a:ext cx="6" cy="6"/>
            </a:xfrm>
            <a:custGeom>
              <a:avLst/>
              <a:gdLst>
                <a:gd name="T0" fmla="*/ 0 w 6"/>
                <a:gd name="T1" fmla="*/ 0 h 6"/>
                <a:gd name="T2" fmla="*/ 0 w 6"/>
                <a:gd name="T3" fmla="*/ 2 h 6"/>
                <a:gd name="T4" fmla="*/ 2 w 6"/>
                <a:gd name="T5" fmla="*/ 2 h 6"/>
                <a:gd name="T6" fmla="*/ 4 w 6"/>
                <a:gd name="T7" fmla="*/ 4 h 6"/>
                <a:gd name="T8" fmla="*/ 6 w 6"/>
                <a:gd name="T9" fmla="*/ 6 h 6"/>
                <a:gd name="T10" fmla="*/ 6 w 6"/>
                <a:gd name="T11" fmla="*/ 4 h 6"/>
                <a:gd name="T12" fmla="*/ 4 w 6"/>
                <a:gd name="T13" fmla="*/ 4 h 6"/>
                <a:gd name="T14" fmla="*/ 2 w 6"/>
                <a:gd name="T15" fmla="*/ 2 h 6"/>
                <a:gd name="T16" fmla="*/ 0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0"/>
                  </a:moveTo>
                  <a:lnTo>
                    <a:pt x="0" y="2"/>
                  </a:lnTo>
                  <a:lnTo>
                    <a:pt x="2" y="2"/>
                  </a:lnTo>
                  <a:lnTo>
                    <a:pt x="4" y="4"/>
                  </a:lnTo>
                  <a:lnTo>
                    <a:pt x="6" y="6"/>
                  </a:lnTo>
                  <a:lnTo>
                    <a:pt x="6" y="4"/>
                  </a:lnTo>
                  <a:lnTo>
                    <a:pt x="4" y="4"/>
                  </a:lnTo>
                  <a:lnTo>
                    <a:pt x="2"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5" name="Freeform 133"/>
            <p:cNvSpPr>
              <a:spLocks/>
            </p:cNvSpPr>
            <p:nvPr/>
          </p:nvSpPr>
          <p:spPr bwMode="auto">
            <a:xfrm>
              <a:off x="2473" y="2190"/>
              <a:ext cx="4" cy="4"/>
            </a:xfrm>
            <a:custGeom>
              <a:avLst/>
              <a:gdLst>
                <a:gd name="T0" fmla="*/ 0 w 4"/>
                <a:gd name="T1" fmla="*/ 4 h 4"/>
                <a:gd name="T2" fmla="*/ 0 w 4"/>
                <a:gd name="T3" fmla="*/ 2 h 4"/>
                <a:gd name="T4" fmla="*/ 2 w 4"/>
                <a:gd name="T5" fmla="*/ 2 h 4"/>
                <a:gd name="T6" fmla="*/ 2 w 4"/>
                <a:gd name="T7" fmla="*/ 0 h 4"/>
                <a:gd name="T8" fmla="*/ 4 w 4"/>
                <a:gd name="T9" fmla="*/ 2 h 4"/>
                <a:gd name="T10" fmla="*/ 4 w 4"/>
                <a:gd name="T11" fmla="*/ 4 h 4"/>
                <a:gd name="T12" fmla="*/ 2 w 4"/>
                <a:gd name="T13" fmla="*/ 4 h 4"/>
                <a:gd name="T14" fmla="*/ 0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4"/>
                  </a:moveTo>
                  <a:lnTo>
                    <a:pt x="0" y="2"/>
                  </a:lnTo>
                  <a:lnTo>
                    <a:pt x="2" y="2"/>
                  </a:lnTo>
                  <a:lnTo>
                    <a:pt x="2" y="0"/>
                  </a:lnTo>
                  <a:lnTo>
                    <a:pt x="4" y="2"/>
                  </a:lnTo>
                  <a:lnTo>
                    <a:pt x="4" y="4"/>
                  </a:lnTo>
                  <a:lnTo>
                    <a:pt x="2" y="4"/>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6" name="Freeform 134"/>
            <p:cNvSpPr>
              <a:spLocks/>
            </p:cNvSpPr>
            <p:nvPr/>
          </p:nvSpPr>
          <p:spPr bwMode="auto">
            <a:xfrm>
              <a:off x="2535" y="2246"/>
              <a:ext cx="4" cy="2"/>
            </a:xfrm>
            <a:custGeom>
              <a:avLst/>
              <a:gdLst>
                <a:gd name="T0" fmla="*/ 0 w 4"/>
                <a:gd name="T1" fmla="*/ 0 h 2"/>
                <a:gd name="T2" fmla="*/ 0 w 4"/>
                <a:gd name="T3" fmla="*/ 2 h 2"/>
                <a:gd name="T4" fmla="*/ 4 w 4"/>
                <a:gd name="T5" fmla="*/ 2 h 2"/>
                <a:gd name="T6" fmla="*/ 2 w 4"/>
                <a:gd name="T7" fmla="*/ 0 h 2"/>
                <a:gd name="T8" fmla="*/ 2 w 4"/>
                <a:gd name="T9" fmla="*/ 2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0" y="2"/>
                  </a:lnTo>
                  <a:lnTo>
                    <a:pt x="4" y="2"/>
                  </a:lnTo>
                  <a:lnTo>
                    <a:pt x="2" y="0"/>
                  </a:lnTo>
                  <a:lnTo>
                    <a:pt x="2"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7" name="Freeform 135"/>
            <p:cNvSpPr>
              <a:spLocks/>
            </p:cNvSpPr>
            <p:nvPr/>
          </p:nvSpPr>
          <p:spPr bwMode="auto">
            <a:xfrm>
              <a:off x="2402" y="2182"/>
              <a:ext cx="4" cy="2"/>
            </a:xfrm>
            <a:custGeom>
              <a:avLst/>
              <a:gdLst>
                <a:gd name="T0" fmla="*/ 0 w 4"/>
                <a:gd name="T1" fmla="*/ 0 h 2"/>
                <a:gd name="T2" fmla="*/ 2 w 4"/>
                <a:gd name="T3" fmla="*/ 0 h 2"/>
                <a:gd name="T4" fmla="*/ 4 w 4"/>
                <a:gd name="T5" fmla="*/ 0 h 2"/>
                <a:gd name="T6" fmla="*/ 2 w 4"/>
                <a:gd name="T7" fmla="*/ 2 h 2"/>
                <a:gd name="T8" fmla="*/ 2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2" y="0"/>
                  </a:lnTo>
                  <a:lnTo>
                    <a:pt x="4" y="0"/>
                  </a:lnTo>
                  <a:lnTo>
                    <a:pt x="2" y="2"/>
                  </a:ln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8" name="Freeform 136"/>
            <p:cNvSpPr>
              <a:spLocks/>
            </p:cNvSpPr>
            <p:nvPr/>
          </p:nvSpPr>
          <p:spPr bwMode="auto">
            <a:xfrm>
              <a:off x="2518" y="2244"/>
              <a:ext cx="1" cy="2"/>
            </a:xfrm>
            <a:custGeom>
              <a:avLst/>
              <a:gdLst>
                <a:gd name="T0" fmla="*/ 0 w 1"/>
                <a:gd name="T1" fmla="*/ 0 h 2"/>
                <a:gd name="T2" fmla="*/ 1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1" y="0"/>
                  </a:lnTo>
                  <a:lnTo>
                    <a:pt x="1"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49" name="Rectangle 137"/>
            <p:cNvSpPr>
              <a:spLocks noChangeArrowheads="1"/>
            </p:cNvSpPr>
            <p:nvPr/>
          </p:nvSpPr>
          <p:spPr bwMode="auto">
            <a:xfrm>
              <a:off x="2469" y="2238"/>
              <a:ext cx="2" cy="2"/>
            </a:xfrm>
            <a:prstGeom prst="rect">
              <a:avLst/>
            </a:prstGeom>
            <a:grpFill/>
            <a:ln w="3175">
              <a:solidFill>
                <a:schemeClr val="bg2"/>
              </a:solidFill>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350" name="Freeform 138"/>
            <p:cNvSpPr>
              <a:spLocks/>
            </p:cNvSpPr>
            <p:nvPr/>
          </p:nvSpPr>
          <p:spPr bwMode="auto">
            <a:xfrm>
              <a:off x="2902" y="1908"/>
              <a:ext cx="155" cy="130"/>
            </a:xfrm>
            <a:custGeom>
              <a:avLst/>
              <a:gdLst>
                <a:gd name="T0" fmla="*/ 138 w 155"/>
                <a:gd name="T1" fmla="*/ 5 h 130"/>
                <a:gd name="T2" fmla="*/ 109 w 155"/>
                <a:gd name="T3" fmla="*/ 7 h 130"/>
                <a:gd name="T4" fmla="*/ 92 w 155"/>
                <a:gd name="T5" fmla="*/ 5 h 130"/>
                <a:gd name="T6" fmla="*/ 77 w 155"/>
                <a:gd name="T7" fmla="*/ 2 h 130"/>
                <a:gd name="T8" fmla="*/ 59 w 155"/>
                <a:gd name="T9" fmla="*/ 2 h 130"/>
                <a:gd name="T10" fmla="*/ 59 w 155"/>
                <a:gd name="T11" fmla="*/ 11 h 130"/>
                <a:gd name="T12" fmla="*/ 50 w 155"/>
                <a:gd name="T13" fmla="*/ 11 h 130"/>
                <a:gd name="T14" fmla="*/ 44 w 155"/>
                <a:gd name="T15" fmla="*/ 15 h 130"/>
                <a:gd name="T16" fmla="*/ 36 w 155"/>
                <a:gd name="T17" fmla="*/ 17 h 130"/>
                <a:gd name="T18" fmla="*/ 25 w 155"/>
                <a:gd name="T19" fmla="*/ 23 h 130"/>
                <a:gd name="T20" fmla="*/ 17 w 155"/>
                <a:gd name="T21" fmla="*/ 27 h 130"/>
                <a:gd name="T22" fmla="*/ 8 w 155"/>
                <a:gd name="T23" fmla="*/ 34 h 130"/>
                <a:gd name="T24" fmla="*/ 0 w 155"/>
                <a:gd name="T25" fmla="*/ 40 h 130"/>
                <a:gd name="T26" fmla="*/ 0 w 155"/>
                <a:gd name="T27" fmla="*/ 52 h 130"/>
                <a:gd name="T28" fmla="*/ 6 w 155"/>
                <a:gd name="T29" fmla="*/ 65 h 130"/>
                <a:gd name="T30" fmla="*/ 8 w 155"/>
                <a:gd name="T31" fmla="*/ 69 h 130"/>
                <a:gd name="T32" fmla="*/ 13 w 155"/>
                <a:gd name="T33" fmla="*/ 82 h 130"/>
                <a:gd name="T34" fmla="*/ 19 w 155"/>
                <a:gd name="T35" fmla="*/ 92 h 130"/>
                <a:gd name="T36" fmla="*/ 31 w 155"/>
                <a:gd name="T37" fmla="*/ 98 h 130"/>
                <a:gd name="T38" fmla="*/ 36 w 155"/>
                <a:gd name="T39" fmla="*/ 88 h 130"/>
                <a:gd name="T40" fmla="*/ 40 w 155"/>
                <a:gd name="T41" fmla="*/ 121 h 130"/>
                <a:gd name="T42" fmla="*/ 48 w 155"/>
                <a:gd name="T43" fmla="*/ 113 h 130"/>
                <a:gd name="T44" fmla="*/ 54 w 155"/>
                <a:gd name="T45" fmla="*/ 109 h 130"/>
                <a:gd name="T46" fmla="*/ 59 w 155"/>
                <a:gd name="T47" fmla="*/ 107 h 130"/>
                <a:gd name="T48" fmla="*/ 65 w 155"/>
                <a:gd name="T49" fmla="*/ 103 h 130"/>
                <a:gd name="T50" fmla="*/ 69 w 155"/>
                <a:gd name="T51" fmla="*/ 107 h 130"/>
                <a:gd name="T52" fmla="*/ 71 w 155"/>
                <a:gd name="T53" fmla="*/ 102 h 130"/>
                <a:gd name="T54" fmla="*/ 86 w 155"/>
                <a:gd name="T55" fmla="*/ 109 h 130"/>
                <a:gd name="T56" fmla="*/ 96 w 155"/>
                <a:gd name="T57" fmla="*/ 113 h 130"/>
                <a:gd name="T58" fmla="*/ 107 w 155"/>
                <a:gd name="T59" fmla="*/ 127 h 130"/>
                <a:gd name="T60" fmla="*/ 125 w 155"/>
                <a:gd name="T61" fmla="*/ 125 h 130"/>
                <a:gd name="T62" fmla="*/ 134 w 155"/>
                <a:gd name="T63" fmla="*/ 125 h 130"/>
                <a:gd name="T64" fmla="*/ 142 w 155"/>
                <a:gd name="T65" fmla="*/ 121 h 130"/>
                <a:gd name="T66" fmla="*/ 148 w 155"/>
                <a:gd name="T67" fmla="*/ 111 h 130"/>
                <a:gd name="T68" fmla="*/ 155 w 155"/>
                <a:gd name="T69" fmla="*/ 102 h 130"/>
                <a:gd name="T70" fmla="*/ 148 w 155"/>
                <a:gd name="T71" fmla="*/ 94 h 130"/>
                <a:gd name="T72" fmla="*/ 136 w 155"/>
                <a:gd name="T73" fmla="*/ 73 h 130"/>
                <a:gd name="T74" fmla="*/ 127 w 155"/>
                <a:gd name="T75" fmla="*/ 59 h 130"/>
                <a:gd name="T76" fmla="*/ 117 w 155"/>
                <a:gd name="T77" fmla="*/ 38 h 130"/>
                <a:gd name="T78" fmla="*/ 129 w 155"/>
                <a:gd name="T79" fmla="*/ 32 h 130"/>
                <a:gd name="T80" fmla="*/ 140 w 155"/>
                <a:gd name="T81" fmla="*/ 13 h 130"/>
                <a:gd name="T82" fmla="*/ 142 w 155"/>
                <a:gd name="T8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5" h="130">
                  <a:moveTo>
                    <a:pt x="142" y="0"/>
                  </a:moveTo>
                  <a:lnTo>
                    <a:pt x="138" y="5"/>
                  </a:lnTo>
                  <a:lnTo>
                    <a:pt x="123" y="5"/>
                  </a:lnTo>
                  <a:lnTo>
                    <a:pt x="109" y="7"/>
                  </a:lnTo>
                  <a:lnTo>
                    <a:pt x="98" y="4"/>
                  </a:lnTo>
                  <a:lnTo>
                    <a:pt x="92" y="5"/>
                  </a:lnTo>
                  <a:lnTo>
                    <a:pt x="86" y="4"/>
                  </a:lnTo>
                  <a:lnTo>
                    <a:pt x="77" y="2"/>
                  </a:lnTo>
                  <a:lnTo>
                    <a:pt x="73" y="2"/>
                  </a:lnTo>
                  <a:lnTo>
                    <a:pt x="59" y="2"/>
                  </a:lnTo>
                  <a:lnTo>
                    <a:pt x="63" y="9"/>
                  </a:lnTo>
                  <a:lnTo>
                    <a:pt x="59" y="11"/>
                  </a:lnTo>
                  <a:lnTo>
                    <a:pt x="59" y="13"/>
                  </a:lnTo>
                  <a:lnTo>
                    <a:pt x="50" y="11"/>
                  </a:lnTo>
                  <a:lnTo>
                    <a:pt x="50" y="15"/>
                  </a:lnTo>
                  <a:lnTo>
                    <a:pt x="44" y="15"/>
                  </a:lnTo>
                  <a:lnTo>
                    <a:pt x="40" y="11"/>
                  </a:lnTo>
                  <a:lnTo>
                    <a:pt x="36" y="17"/>
                  </a:lnTo>
                  <a:lnTo>
                    <a:pt x="27" y="19"/>
                  </a:lnTo>
                  <a:lnTo>
                    <a:pt x="25" y="23"/>
                  </a:lnTo>
                  <a:lnTo>
                    <a:pt x="21" y="25"/>
                  </a:lnTo>
                  <a:lnTo>
                    <a:pt x="17" y="27"/>
                  </a:lnTo>
                  <a:lnTo>
                    <a:pt x="11" y="34"/>
                  </a:lnTo>
                  <a:lnTo>
                    <a:pt x="8" y="34"/>
                  </a:lnTo>
                  <a:lnTo>
                    <a:pt x="6" y="36"/>
                  </a:lnTo>
                  <a:lnTo>
                    <a:pt x="0" y="40"/>
                  </a:lnTo>
                  <a:lnTo>
                    <a:pt x="2" y="48"/>
                  </a:lnTo>
                  <a:lnTo>
                    <a:pt x="0" y="52"/>
                  </a:lnTo>
                  <a:lnTo>
                    <a:pt x="2" y="57"/>
                  </a:lnTo>
                  <a:lnTo>
                    <a:pt x="6" y="65"/>
                  </a:lnTo>
                  <a:lnTo>
                    <a:pt x="4" y="69"/>
                  </a:lnTo>
                  <a:lnTo>
                    <a:pt x="8" y="69"/>
                  </a:lnTo>
                  <a:lnTo>
                    <a:pt x="8" y="80"/>
                  </a:lnTo>
                  <a:lnTo>
                    <a:pt x="13" y="82"/>
                  </a:lnTo>
                  <a:lnTo>
                    <a:pt x="17" y="94"/>
                  </a:lnTo>
                  <a:lnTo>
                    <a:pt x="19" y="92"/>
                  </a:lnTo>
                  <a:lnTo>
                    <a:pt x="25" y="94"/>
                  </a:lnTo>
                  <a:lnTo>
                    <a:pt x="31" y="98"/>
                  </a:lnTo>
                  <a:lnTo>
                    <a:pt x="34" y="96"/>
                  </a:lnTo>
                  <a:lnTo>
                    <a:pt x="36" y="88"/>
                  </a:lnTo>
                  <a:lnTo>
                    <a:pt x="44" y="90"/>
                  </a:lnTo>
                  <a:lnTo>
                    <a:pt x="40" y="121"/>
                  </a:lnTo>
                  <a:lnTo>
                    <a:pt x="44" y="119"/>
                  </a:lnTo>
                  <a:lnTo>
                    <a:pt x="48" y="113"/>
                  </a:lnTo>
                  <a:lnTo>
                    <a:pt x="52" y="113"/>
                  </a:lnTo>
                  <a:lnTo>
                    <a:pt x="54" y="109"/>
                  </a:lnTo>
                  <a:lnTo>
                    <a:pt x="56" y="111"/>
                  </a:lnTo>
                  <a:lnTo>
                    <a:pt x="59" y="107"/>
                  </a:lnTo>
                  <a:lnTo>
                    <a:pt x="63" y="103"/>
                  </a:lnTo>
                  <a:lnTo>
                    <a:pt x="65" y="103"/>
                  </a:lnTo>
                  <a:lnTo>
                    <a:pt x="67" y="105"/>
                  </a:lnTo>
                  <a:lnTo>
                    <a:pt x="69" y="107"/>
                  </a:lnTo>
                  <a:lnTo>
                    <a:pt x="71" y="107"/>
                  </a:lnTo>
                  <a:lnTo>
                    <a:pt x="71" y="102"/>
                  </a:lnTo>
                  <a:lnTo>
                    <a:pt x="82" y="111"/>
                  </a:lnTo>
                  <a:lnTo>
                    <a:pt x="86" y="109"/>
                  </a:lnTo>
                  <a:lnTo>
                    <a:pt x="88" y="113"/>
                  </a:lnTo>
                  <a:lnTo>
                    <a:pt x="96" y="113"/>
                  </a:lnTo>
                  <a:lnTo>
                    <a:pt x="98" y="117"/>
                  </a:lnTo>
                  <a:lnTo>
                    <a:pt x="107" y="127"/>
                  </a:lnTo>
                  <a:lnTo>
                    <a:pt x="115" y="130"/>
                  </a:lnTo>
                  <a:lnTo>
                    <a:pt x="125" y="125"/>
                  </a:lnTo>
                  <a:lnTo>
                    <a:pt x="127" y="121"/>
                  </a:lnTo>
                  <a:lnTo>
                    <a:pt x="134" y="125"/>
                  </a:lnTo>
                  <a:lnTo>
                    <a:pt x="144" y="125"/>
                  </a:lnTo>
                  <a:lnTo>
                    <a:pt x="142" y="121"/>
                  </a:lnTo>
                  <a:lnTo>
                    <a:pt x="144" y="115"/>
                  </a:lnTo>
                  <a:lnTo>
                    <a:pt x="148" y="111"/>
                  </a:lnTo>
                  <a:lnTo>
                    <a:pt x="146" y="105"/>
                  </a:lnTo>
                  <a:lnTo>
                    <a:pt x="155" y="102"/>
                  </a:lnTo>
                  <a:lnTo>
                    <a:pt x="150" y="98"/>
                  </a:lnTo>
                  <a:lnTo>
                    <a:pt x="148" y="94"/>
                  </a:lnTo>
                  <a:lnTo>
                    <a:pt x="146" y="96"/>
                  </a:lnTo>
                  <a:lnTo>
                    <a:pt x="136" y="73"/>
                  </a:lnTo>
                  <a:lnTo>
                    <a:pt x="129" y="71"/>
                  </a:lnTo>
                  <a:lnTo>
                    <a:pt x="127" y="59"/>
                  </a:lnTo>
                  <a:lnTo>
                    <a:pt x="115" y="46"/>
                  </a:lnTo>
                  <a:lnTo>
                    <a:pt x="117" y="38"/>
                  </a:lnTo>
                  <a:lnTo>
                    <a:pt x="121" y="36"/>
                  </a:lnTo>
                  <a:lnTo>
                    <a:pt x="129" y="32"/>
                  </a:lnTo>
                  <a:lnTo>
                    <a:pt x="138" y="30"/>
                  </a:lnTo>
                  <a:lnTo>
                    <a:pt x="140" y="13"/>
                  </a:lnTo>
                  <a:lnTo>
                    <a:pt x="146" y="9"/>
                  </a:lnTo>
                  <a:lnTo>
                    <a:pt x="142"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51" name="Freeform 139"/>
            <p:cNvSpPr>
              <a:spLocks/>
            </p:cNvSpPr>
            <p:nvPr/>
          </p:nvSpPr>
          <p:spPr bwMode="auto">
            <a:xfrm>
              <a:off x="2856" y="1988"/>
              <a:ext cx="50" cy="48"/>
            </a:xfrm>
            <a:custGeom>
              <a:avLst/>
              <a:gdLst>
                <a:gd name="T0" fmla="*/ 11 w 50"/>
                <a:gd name="T1" fmla="*/ 48 h 48"/>
                <a:gd name="T2" fmla="*/ 15 w 50"/>
                <a:gd name="T3" fmla="*/ 43 h 48"/>
                <a:gd name="T4" fmla="*/ 17 w 50"/>
                <a:gd name="T5" fmla="*/ 29 h 48"/>
                <a:gd name="T6" fmla="*/ 23 w 50"/>
                <a:gd name="T7" fmla="*/ 25 h 48"/>
                <a:gd name="T8" fmla="*/ 30 w 50"/>
                <a:gd name="T9" fmla="*/ 25 h 48"/>
                <a:gd name="T10" fmla="*/ 30 w 50"/>
                <a:gd name="T11" fmla="*/ 23 h 48"/>
                <a:gd name="T12" fmla="*/ 42 w 50"/>
                <a:gd name="T13" fmla="*/ 8 h 48"/>
                <a:gd name="T14" fmla="*/ 50 w 50"/>
                <a:gd name="T15" fmla="*/ 10 h 48"/>
                <a:gd name="T16" fmla="*/ 36 w 50"/>
                <a:gd name="T17" fmla="*/ 0 h 48"/>
                <a:gd name="T18" fmla="*/ 30 w 50"/>
                <a:gd name="T19" fmla="*/ 0 h 48"/>
                <a:gd name="T20" fmla="*/ 27 w 50"/>
                <a:gd name="T21" fmla="*/ 2 h 48"/>
                <a:gd name="T22" fmla="*/ 23 w 50"/>
                <a:gd name="T23" fmla="*/ 0 h 48"/>
                <a:gd name="T24" fmla="*/ 13 w 50"/>
                <a:gd name="T25" fmla="*/ 6 h 48"/>
                <a:gd name="T26" fmla="*/ 13 w 50"/>
                <a:gd name="T27" fmla="*/ 10 h 48"/>
                <a:gd name="T28" fmla="*/ 9 w 50"/>
                <a:gd name="T29" fmla="*/ 16 h 48"/>
                <a:gd name="T30" fmla="*/ 5 w 50"/>
                <a:gd name="T31" fmla="*/ 10 h 48"/>
                <a:gd name="T32" fmla="*/ 0 w 50"/>
                <a:gd name="T33" fmla="*/ 12 h 48"/>
                <a:gd name="T34" fmla="*/ 7 w 50"/>
                <a:gd name="T35" fmla="*/ 20 h 48"/>
                <a:gd name="T36" fmla="*/ 5 w 50"/>
                <a:gd name="T37" fmla="*/ 23 h 48"/>
                <a:gd name="T38" fmla="*/ 15 w 50"/>
                <a:gd name="T39" fmla="*/ 33 h 48"/>
                <a:gd name="T40" fmla="*/ 7 w 50"/>
                <a:gd name="T41" fmla="*/ 45 h 48"/>
                <a:gd name="T42" fmla="*/ 11 w 50"/>
                <a:gd name="T4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 h="48">
                  <a:moveTo>
                    <a:pt x="11" y="48"/>
                  </a:moveTo>
                  <a:lnTo>
                    <a:pt x="15" y="43"/>
                  </a:lnTo>
                  <a:lnTo>
                    <a:pt x="17" y="29"/>
                  </a:lnTo>
                  <a:lnTo>
                    <a:pt x="23" y="25"/>
                  </a:lnTo>
                  <a:lnTo>
                    <a:pt x="30" y="25"/>
                  </a:lnTo>
                  <a:lnTo>
                    <a:pt x="30" y="23"/>
                  </a:lnTo>
                  <a:lnTo>
                    <a:pt x="42" y="8"/>
                  </a:lnTo>
                  <a:lnTo>
                    <a:pt x="50" y="10"/>
                  </a:lnTo>
                  <a:lnTo>
                    <a:pt x="36" y="0"/>
                  </a:lnTo>
                  <a:lnTo>
                    <a:pt x="30" y="0"/>
                  </a:lnTo>
                  <a:lnTo>
                    <a:pt x="27" y="2"/>
                  </a:lnTo>
                  <a:lnTo>
                    <a:pt x="23" y="0"/>
                  </a:lnTo>
                  <a:lnTo>
                    <a:pt x="13" y="6"/>
                  </a:lnTo>
                  <a:lnTo>
                    <a:pt x="13" y="10"/>
                  </a:lnTo>
                  <a:lnTo>
                    <a:pt x="9" y="16"/>
                  </a:lnTo>
                  <a:lnTo>
                    <a:pt x="5" y="10"/>
                  </a:lnTo>
                  <a:lnTo>
                    <a:pt x="0" y="12"/>
                  </a:lnTo>
                  <a:lnTo>
                    <a:pt x="7" y="20"/>
                  </a:lnTo>
                  <a:lnTo>
                    <a:pt x="5" y="23"/>
                  </a:lnTo>
                  <a:lnTo>
                    <a:pt x="15" y="33"/>
                  </a:lnTo>
                  <a:lnTo>
                    <a:pt x="7" y="45"/>
                  </a:lnTo>
                  <a:lnTo>
                    <a:pt x="11" y="4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52" name="Freeform 140"/>
            <p:cNvSpPr>
              <a:spLocks/>
            </p:cNvSpPr>
            <p:nvPr/>
          </p:nvSpPr>
          <p:spPr bwMode="auto">
            <a:xfrm>
              <a:off x="2860" y="1960"/>
              <a:ext cx="32" cy="25"/>
            </a:xfrm>
            <a:custGeom>
              <a:avLst/>
              <a:gdLst>
                <a:gd name="T0" fmla="*/ 17 w 32"/>
                <a:gd name="T1" fmla="*/ 0 h 25"/>
                <a:gd name="T2" fmla="*/ 13 w 32"/>
                <a:gd name="T3" fmla="*/ 3 h 25"/>
                <a:gd name="T4" fmla="*/ 0 w 32"/>
                <a:gd name="T5" fmla="*/ 11 h 25"/>
                <a:gd name="T6" fmla="*/ 5 w 32"/>
                <a:gd name="T7" fmla="*/ 15 h 25"/>
                <a:gd name="T8" fmla="*/ 11 w 32"/>
                <a:gd name="T9" fmla="*/ 13 h 25"/>
                <a:gd name="T10" fmla="*/ 15 w 32"/>
                <a:gd name="T11" fmla="*/ 25 h 25"/>
                <a:gd name="T12" fmla="*/ 17 w 32"/>
                <a:gd name="T13" fmla="*/ 25 h 25"/>
                <a:gd name="T14" fmla="*/ 21 w 32"/>
                <a:gd name="T15" fmla="*/ 23 h 25"/>
                <a:gd name="T16" fmla="*/ 32 w 32"/>
                <a:gd name="T17" fmla="*/ 13 h 25"/>
                <a:gd name="T18" fmla="*/ 26 w 32"/>
                <a:gd name="T19" fmla="*/ 5 h 25"/>
                <a:gd name="T20" fmla="*/ 21 w 32"/>
                <a:gd name="T21" fmla="*/ 3 h 25"/>
                <a:gd name="T22" fmla="*/ 21 w 32"/>
                <a:gd name="T23" fmla="*/ 0 h 25"/>
                <a:gd name="T24" fmla="*/ 17 w 3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5">
                  <a:moveTo>
                    <a:pt x="17" y="0"/>
                  </a:moveTo>
                  <a:lnTo>
                    <a:pt x="13" y="3"/>
                  </a:lnTo>
                  <a:lnTo>
                    <a:pt x="0" y="11"/>
                  </a:lnTo>
                  <a:lnTo>
                    <a:pt x="5" y="15"/>
                  </a:lnTo>
                  <a:lnTo>
                    <a:pt x="11" y="13"/>
                  </a:lnTo>
                  <a:lnTo>
                    <a:pt x="15" y="25"/>
                  </a:lnTo>
                  <a:lnTo>
                    <a:pt x="17" y="25"/>
                  </a:lnTo>
                  <a:lnTo>
                    <a:pt x="21" y="23"/>
                  </a:lnTo>
                  <a:lnTo>
                    <a:pt x="32" y="13"/>
                  </a:lnTo>
                  <a:lnTo>
                    <a:pt x="26" y="5"/>
                  </a:lnTo>
                  <a:lnTo>
                    <a:pt x="21" y="3"/>
                  </a:lnTo>
                  <a:lnTo>
                    <a:pt x="21" y="0"/>
                  </a:lnTo>
                  <a:lnTo>
                    <a:pt x="17"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53" name="Freeform 141"/>
            <p:cNvSpPr>
              <a:spLocks/>
            </p:cNvSpPr>
            <p:nvPr/>
          </p:nvSpPr>
          <p:spPr bwMode="auto">
            <a:xfrm>
              <a:off x="2894" y="1983"/>
              <a:ext cx="12" cy="9"/>
            </a:xfrm>
            <a:custGeom>
              <a:avLst/>
              <a:gdLst>
                <a:gd name="T0" fmla="*/ 6 w 12"/>
                <a:gd name="T1" fmla="*/ 0 h 9"/>
                <a:gd name="T2" fmla="*/ 2 w 12"/>
                <a:gd name="T3" fmla="*/ 0 h 9"/>
                <a:gd name="T4" fmla="*/ 0 w 12"/>
                <a:gd name="T5" fmla="*/ 5 h 9"/>
                <a:gd name="T6" fmla="*/ 6 w 12"/>
                <a:gd name="T7" fmla="*/ 9 h 9"/>
                <a:gd name="T8" fmla="*/ 12 w 12"/>
                <a:gd name="T9" fmla="*/ 7 h 9"/>
                <a:gd name="T10" fmla="*/ 10 w 12"/>
                <a:gd name="T11" fmla="*/ 2 h 9"/>
                <a:gd name="T12" fmla="*/ 6 w 1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6" y="0"/>
                  </a:moveTo>
                  <a:lnTo>
                    <a:pt x="2" y="0"/>
                  </a:lnTo>
                  <a:lnTo>
                    <a:pt x="0" y="5"/>
                  </a:lnTo>
                  <a:lnTo>
                    <a:pt x="6" y="9"/>
                  </a:lnTo>
                  <a:lnTo>
                    <a:pt x="12" y="7"/>
                  </a:lnTo>
                  <a:lnTo>
                    <a:pt x="10" y="2"/>
                  </a:lnTo>
                  <a:lnTo>
                    <a:pt x="6"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54" name="Freeform 142"/>
            <p:cNvSpPr>
              <a:spLocks/>
            </p:cNvSpPr>
            <p:nvPr/>
          </p:nvSpPr>
          <p:spPr bwMode="auto">
            <a:xfrm>
              <a:off x="2892" y="1960"/>
              <a:ext cx="10" cy="5"/>
            </a:xfrm>
            <a:custGeom>
              <a:avLst/>
              <a:gdLst>
                <a:gd name="T0" fmla="*/ 4 w 10"/>
                <a:gd name="T1" fmla="*/ 0 h 5"/>
                <a:gd name="T2" fmla="*/ 0 w 10"/>
                <a:gd name="T3" fmla="*/ 2 h 5"/>
                <a:gd name="T4" fmla="*/ 2 w 10"/>
                <a:gd name="T5" fmla="*/ 5 h 5"/>
                <a:gd name="T6" fmla="*/ 10 w 10"/>
                <a:gd name="T7" fmla="*/ 3 h 5"/>
                <a:gd name="T8" fmla="*/ 8 w 10"/>
                <a:gd name="T9" fmla="*/ 0 h 5"/>
                <a:gd name="T10" fmla="*/ 4 w 10"/>
                <a:gd name="T11" fmla="*/ 0 h 5"/>
              </a:gdLst>
              <a:ahLst/>
              <a:cxnLst>
                <a:cxn ang="0">
                  <a:pos x="T0" y="T1"/>
                </a:cxn>
                <a:cxn ang="0">
                  <a:pos x="T2" y="T3"/>
                </a:cxn>
                <a:cxn ang="0">
                  <a:pos x="T4" y="T5"/>
                </a:cxn>
                <a:cxn ang="0">
                  <a:pos x="T6" y="T7"/>
                </a:cxn>
                <a:cxn ang="0">
                  <a:pos x="T8" y="T9"/>
                </a:cxn>
                <a:cxn ang="0">
                  <a:pos x="T10" y="T11"/>
                </a:cxn>
              </a:cxnLst>
              <a:rect l="0" t="0" r="r" b="b"/>
              <a:pathLst>
                <a:path w="10" h="5">
                  <a:moveTo>
                    <a:pt x="4" y="0"/>
                  </a:moveTo>
                  <a:lnTo>
                    <a:pt x="0" y="2"/>
                  </a:lnTo>
                  <a:lnTo>
                    <a:pt x="2" y="5"/>
                  </a:lnTo>
                  <a:lnTo>
                    <a:pt x="10" y="3"/>
                  </a:lnTo>
                  <a:lnTo>
                    <a:pt x="8" y="0"/>
                  </a:lnTo>
                  <a:lnTo>
                    <a:pt x="4"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55" name="Freeform 143"/>
            <p:cNvSpPr>
              <a:spLocks/>
            </p:cNvSpPr>
            <p:nvPr/>
          </p:nvSpPr>
          <p:spPr bwMode="auto">
            <a:xfrm>
              <a:off x="2842" y="2010"/>
              <a:ext cx="248" cy="146"/>
            </a:xfrm>
            <a:custGeom>
              <a:avLst/>
              <a:gdLst>
                <a:gd name="T0" fmla="*/ 108 w 248"/>
                <a:gd name="T1" fmla="*/ 51 h 146"/>
                <a:gd name="T2" fmla="*/ 96 w 248"/>
                <a:gd name="T3" fmla="*/ 74 h 146"/>
                <a:gd name="T4" fmla="*/ 85 w 248"/>
                <a:gd name="T5" fmla="*/ 78 h 146"/>
                <a:gd name="T6" fmla="*/ 75 w 248"/>
                <a:gd name="T7" fmla="*/ 74 h 146"/>
                <a:gd name="T8" fmla="*/ 66 w 248"/>
                <a:gd name="T9" fmla="*/ 55 h 146"/>
                <a:gd name="T10" fmla="*/ 46 w 248"/>
                <a:gd name="T11" fmla="*/ 44 h 146"/>
                <a:gd name="T12" fmla="*/ 25 w 248"/>
                <a:gd name="T13" fmla="*/ 46 h 146"/>
                <a:gd name="T14" fmla="*/ 10 w 248"/>
                <a:gd name="T15" fmla="*/ 67 h 146"/>
                <a:gd name="T16" fmla="*/ 0 w 248"/>
                <a:gd name="T17" fmla="*/ 99 h 146"/>
                <a:gd name="T18" fmla="*/ 0 w 248"/>
                <a:gd name="T19" fmla="*/ 128 h 146"/>
                <a:gd name="T20" fmla="*/ 10 w 248"/>
                <a:gd name="T21" fmla="*/ 146 h 146"/>
                <a:gd name="T22" fmla="*/ 37 w 248"/>
                <a:gd name="T23" fmla="*/ 121 h 146"/>
                <a:gd name="T24" fmla="*/ 60 w 248"/>
                <a:gd name="T25" fmla="*/ 123 h 146"/>
                <a:gd name="T26" fmla="*/ 73 w 248"/>
                <a:gd name="T27" fmla="*/ 123 h 146"/>
                <a:gd name="T28" fmla="*/ 79 w 248"/>
                <a:gd name="T29" fmla="*/ 117 h 146"/>
                <a:gd name="T30" fmla="*/ 93 w 248"/>
                <a:gd name="T31" fmla="*/ 117 h 146"/>
                <a:gd name="T32" fmla="*/ 110 w 248"/>
                <a:gd name="T33" fmla="*/ 121 h 146"/>
                <a:gd name="T34" fmla="*/ 121 w 248"/>
                <a:gd name="T35" fmla="*/ 119 h 146"/>
                <a:gd name="T36" fmla="*/ 142 w 248"/>
                <a:gd name="T37" fmla="*/ 121 h 146"/>
                <a:gd name="T38" fmla="*/ 164 w 248"/>
                <a:gd name="T39" fmla="*/ 124 h 146"/>
                <a:gd name="T40" fmla="*/ 183 w 248"/>
                <a:gd name="T41" fmla="*/ 136 h 146"/>
                <a:gd name="T42" fmla="*/ 200 w 248"/>
                <a:gd name="T43" fmla="*/ 146 h 146"/>
                <a:gd name="T44" fmla="*/ 208 w 248"/>
                <a:gd name="T45" fmla="*/ 142 h 146"/>
                <a:gd name="T46" fmla="*/ 215 w 248"/>
                <a:gd name="T47" fmla="*/ 130 h 146"/>
                <a:gd name="T48" fmla="*/ 223 w 248"/>
                <a:gd name="T49" fmla="*/ 130 h 146"/>
                <a:gd name="T50" fmla="*/ 233 w 248"/>
                <a:gd name="T51" fmla="*/ 123 h 146"/>
                <a:gd name="T52" fmla="*/ 246 w 248"/>
                <a:gd name="T53" fmla="*/ 103 h 146"/>
                <a:gd name="T54" fmla="*/ 248 w 248"/>
                <a:gd name="T55" fmla="*/ 98 h 146"/>
                <a:gd name="T56" fmla="*/ 242 w 248"/>
                <a:gd name="T57" fmla="*/ 80 h 146"/>
                <a:gd name="T58" fmla="*/ 235 w 248"/>
                <a:gd name="T59" fmla="*/ 73 h 146"/>
                <a:gd name="T60" fmla="*/ 231 w 248"/>
                <a:gd name="T61" fmla="*/ 63 h 146"/>
                <a:gd name="T62" fmla="*/ 221 w 248"/>
                <a:gd name="T63" fmla="*/ 65 h 146"/>
                <a:gd name="T64" fmla="*/ 219 w 248"/>
                <a:gd name="T65" fmla="*/ 48 h 146"/>
                <a:gd name="T66" fmla="*/ 223 w 248"/>
                <a:gd name="T67" fmla="*/ 34 h 146"/>
                <a:gd name="T68" fmla="*/ 210 w 248"/>
                <a:gd name="T69" fmla="*/ 21 h 146"/>
                <a:gd name="T70" fmla="*/ 194 w 248"/>
                <a:gd name="T71" fmla="*/ 23 h 146"/>
                <a:gd name="T72" fmla="*/ 185 w 248"/>
                <a:gd name="T73" fmla="*/ 23 h 146"/>
                <a:gd name="T74" fmla="*/ 167 w 248"/>
                <a:gd name="T75" fmla="*/ 25 h 146"/>
                <a:gd name="T76" fmla="*/ 156 w 248"/>
                <a:gd name="T77" fmla="*/ 11 h 146"/>
                <a:gd name="T78" fmla="*/ 146 w 248"/>
                <a:gd name="T79" fmla="*/ 7 h 146"/>
                <a:gd name="T80" fmla="*/ 131 w 248"/>
                <a:gd name="T81" fmla="*/ 0 h 146"/>
                <a:gd name="T82" fmla="*/ 129 w 248"/>
                <a:gd name="T83" fmla="*/ 5 h 146"/>
                <a:gd name="T84" fmla="*/ 125 w 248"/>
                <a:gd name="T85" fmla="*/ 1 h 146"/>
                <a:gd name="T86" fmla="*/ 119 w 248"/>
                <a:gd name="T87" fmla="*/ 5 h 146"/>
                <a:gd name="T88" fmla="*/ 114 w 248"/>
                <a:gd name="T89" fmla="*/ 7 h 146"/>
                <a:gd name="T90" fmla="*/ 108 w 248"/>
                <a:gd name="T91" fmla="*/ 11 h 146"/>
                <a:gd name="T92" fmla="*/ 100 w 248"/>
                <a:gd name="T93" fmla="*/ 1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8" h="146">
                  <a:moveTo>
                    <a:pt x="100" y="19"/>
                  </a:moveTo>
                  <a:lnTo>
                    <a:pt x="108" y="51"/>
                  </a:lnTo>
                  <a:lnTo>
                    <a:pt x="108" y="59"/>
                  </a:lnTo>
                  <a:lnTo>
                    <a:pt x="96" y="74"/>
                  </a:lnTo>
                  <a:lnTo>
                    <a:pt x="91" y="78"/>
                  </a:lnTo>
                  <a:lnTo>
                    <a:pt x="85" y="78"/>
                  </a:lnTo>
                  <a:lnTo>
                    <a:pt x="81" y="74"/>
                  </a:lnTo>
                  <a:lnTo>
                    <a:pt x="75" y="74"/>
                  </a:lnTo>
                  <a:lnTo>
                    <a:pt x="71" y="73"/>
                  </a:lnTo>
                  <a:lnTo>
                    <a:pt x="66" y="55"/>
                  </a:lnTo>
                  <a:lnTo>
                    <a:pt x="56" y="50"/>
                  </a:lnTo>
                  <a:lnTo>
                    <a:pt x="46" y="44"/>
                  </a:lnTo>
                  <a:lnTo>
                    <a:pt x="44" y="34"/>
                  </a:lnTo>
                  <a:lnTo>
                    <a:pt x="25" y="46"/>
                  </a:lnTo>
                  <a:lnTo>
                    <a:pt x="18" y="48"/>
                  </a:lnTo>
                  <a:lnTo>
                    <a:pt x="10" y="67"/>
                  </a:lnTo>
                  <a:lnTo>
                    <a:pt x="10" y="84"/>
                  </a:lnTo>
                  <a:lnTo>
                    <a:pt x="0" y="99"/>
                  </a:lnTo>
                  <a:lnTo>
                    <a:pt x="0" y="119"/>
                  </a:lnTo>
                  <a:lnTo>
                    <a:pt x="0" y="128"/>
                  </a:lnTo>
                  <a:lnTo>
                    <a:pt x="4" y="146"/>
                  </a:lnTo>
                  <a:lnTo>
                    <a:pt x="10" y="146"/>
                  </a:lnTo>
                  <a:lnTo>
                    <a:pt x="14" y="134"/>
                  </a:lnTo>
                  <a:lnTo>
                    <a:pt x="37" y="121"/>
                  </a:lnTo>
                  <a:lnTo>
                    <a:pt x="52" y="119"/>
                  </a:lnTo>
                  <a:lnTo>
                    <a:pt x="60" y="123"/>
                  </a:lnTo>
                  <a:lnTo>
                    <a:pt x="68" y="117"/>
                  </a:lnTo>
                  <a:lnTo>
                    <a:pt x="73" y="123"/>
                  </a:lnTo>
                  <a:lnTo>
                    <a:pt x="75" y="119"/>
                  </a:lnTo>
                  <a:lnTo>
                    <a:pt x="79" y="117"/>
                  </a:lnTo>
                  <a:lnTo>
                    <a:pt x="87" y="119"/>
                  </a:lnTo>
                  <a:lnTo>
                    <a:pt x="93" y="117"/>
                  </a:lnTo>
                  <a:lnTo>
                    <a:pt x="102" y="117"/>
                  </a:lnTo>
                  <a:lnTo>
                    <a:pt x="110" y="121"/>
                  </a:lnTo>
                  <a:lnTo>
                    <a:pt x="116" y="117"/>
                  </a:lnTo>
                  <a:lnTo>
                    <a:pt x="121" y="119"/>
                  </a:lnTo>
                  <a:lnTo>
                    <a:pt x="133" y="105"/>
                  </a:lnTo>
                  <a:lnTo>
                    <a:pt x="142" y="121"/>
                  </a:lnTo>
                  <a:lnTo>
                    <a:pt x="164" y="121"/>
                  </a:lnTo>
                  <a:lnTo>
                    <a:pt x="164" y="124"/>
                  </a:lnTo>
                  <a:lnTo>
                    <a:pt x="177" y="130"/>
                  </a:lnTo>
                  <a:lnTo>
                    <a:pt x="183" y="136"/>
                  </a:lnTo>
                  <a:lnTo>
                    <a:pt x="189" y="144"/>
                  </a:lnTo>
                  <a:lnTo>
                    <a:pt x="200" y="146"/>
                  </a:lnTo>
                  <a:lnTo>
                    <a:pt x="200" y="142"/>
                  </a:lnTo>
                  <a:lnTo>
                    <a:pt x="208" y="142"/>
                  </a:lnTo>
                  <a:lnTo>
                    <a:pt x="212" y="132"/>
                  </a:lnTo>
                  <a:lnTo>
                    <a:pt x="215" y="130"/>
                  </a:lnTo>
                  <a:lnTo>
                    <a:pt x="221" y="134"/>
                  </a:lnTo>
                  <a:lnTo>
                    <a:pt x="223" y="130"/>
                  </a:lnTo>
                  <a:lnTo>
                    <a:pt x="233" y="130"/>
                  </a:lnTo>
                  <a:lnTo>
                    <a:pt x="233" y="123"/>
                  </a:lnTo>
                  <a:lnTo>
                    <a:pt x="240" y="109"/>
                  </a:lnTo>
                  <a:lnTo>
                    <a:pt x="246" y="103"/>
                  </a:lnTo>
                  <a:lnTo>
                    <a:pt x="246" y="105"/>
                  </a:lnTo>
                  <a:lnTo>
                    <a:pt x="248" y="98"/>
                  </a:lnTo>
                  <a:lnTo>
                    <a:pt x="240" y="82"/>
                  </a:lnTo>
                  <a:lnTo>
                    <a:pt x="242" y="80"/>
                  </a:lnTo>
                  <a:lnTo>
                    <a:pt x="237" y="76"/>
                  </a:lnTo>
                  <a:lnTo>
                    <a:pt x="235" y="73"/>
                  </a:lnTo>
                  <a:lnTo>
                    <a:pt x="231" y="69"/>
                  </a:lnTo>
                  <a:lnTo>
                    <a:pt x="231" y="63"/>
                  </a:lnTo>
                  <a:lnTo>
                    <a:pt x="227" y="61"/>
                  </a:lnTo>
                  <a:lnTo>
                    <a:pt x="221" y="65"/>
                  </a:lnTo>
                  <a:lnTo>
                    <a:pt x="223" y="50"/>
                  </a:lnTo>
                  <a:lnTo>
                    <a:pt x="219" y="48"/>
                  </a:lnTo>
                  <a:lnTo>
                    <a:pt x="223" y="44"/>
                  </a:lnTo>
                  <a:lnTo>
                    <a:pt x="223" y="34"/>
                  </a:lnTo>
                  <a:lnTo>
                    <a:pt x="210" y="28"/>
                  </a:lnTo>
                  <a:lnTo>
                    <a:pt x="210" y="21"/>
                  </a:lnTo>
                  <a:lnTo>
                    <a:pt x="204" y="23"/>
                  </a:lnTo>
                  <a:lnTo>
                    <a:pt x="194" y="23"/>
                  </a:lnTo>
                  <a:lnTo>
                    <a:pt x="187" y="19"/>
                  </a:lnTo>
                  <a:lnTo>
                    <a:pt x="185" y="23"/>
                  </a:lnTo>
                  <a:lnTo>
                    <a:pt x="175" y="28"/>
                  </a:lnTo>
                  <a:lnTo>
                    <a:pt x="167" y="25"/>
                  </a:lnTo>
                  <a:lnTo>
                    <a:pt x="158" y="15"/>
                  </a:lnTo>
                  <a:lnTo>
                    <a:pt x="156" y="11"/>
                  </a:lnTo>
                  <a:lnTo>
                    <a:pt x="148" y="11"/>
                  </a:lnTo>
                  <a:lnTo>
                    <a:pt x="146" y="7"/>
                  </a:lnTo>
                  <a:lnTo>
                    <a:pt x="142" y="9"/>
                  </a:lnTo>
                  <a:lnTo>
                    <a:pt x="131" y="0"/>
                  </a:lnTo>
                  <a:lnTo>
                    <a:pt x="131" y="5"/>
                  </a:lnTo>
                  <a:lnTo>
                    <a:pt x="129" y="5"/>
                  </a:lnTo>
                  <a:lnTo>
                    <a:pt x="127" y="3"/>
                  </a:lnTo>
                  <a:lnTo>
                    <a:pt x="125" y="1"/>
                  </a:lnTo>
                  <a:lnTo>
                    <a:pt x="123" y="1"/>
                  </a:lnTo>
                  <a:lnTo>
                    <a:pt x="119" y="5"/>
                  </a:lnTo>
                  <a:lnTo>
                    <a:pt x="116" y="9"/>
                  </a:lnTo>
                  <a:lnTo>
                    <a:pt x="114" y="7"/>
                  </a:lnTo>
                  <a:lnTo>
                    <a:pt x="112" y="11"/>
                  </a:lnTo>
                  <a:lnTo>
                    <a:pt x="108" y="11"/>
                  </a:lnTo>
                  <a:lnTo>
                    <a:pt x="104" y="17"/>
                  </a:lnTo>
                  <a:lnTo>
                    <a:pt x="100" y="1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56" name="Freeform 144"/>
            <p:cNvSpPr>
              <a:spLocks/>
            </p:cNvSpPr>
            <p:nvPr/>
          </p:nvSpPr>
          <p:spPr bwMode="auto">
            <a:xfrm>
              <a:off x="2846" y="2115"/>
              <a:ext cx="208" cy="169"/>
            </a:xfrm>
            <a:custGeom>
              <a:avLst/>
              <a:gdLst>
                <a:gd name="T0" fmla="*/ 4 w 208"/>
                <a:gd name="T1" fmla="*/ 60 h 169"/>
                <a:gd name="T2" fmla="*/ 10 w 208"/>
                <a:gd name="T3" fmla="*/ 87 h 169"/>
                <a:gd name="T4" fmla="*/ 14 w 208"/>
                <a:gd name="T5" fmla="*/ 92 h 169"/>
                <a:gd name="T6" fmla="*/ 23 w 208"/>
                <a:gd name="T7" fmla="*/ 96 h 169"/>
                <a:gd name="T8" fmla="*/ 37 w 208"/>
                <a:gd name="T9" fmla="*/ 100 h 169"/>
                <a:gd name="T10" fmla="*/ 44 w 208"/>
                <a:gd name="T11" fmla="*/ 104 h 169"/>
                <a:gd name="T12" fmla="*/ 62 w 208"/>
                <a:gd name="T13" fmla="*/ 100 h 169"/>
                <a:gd name="T14" fmla="*/ 67 w 208"/>
                <a:gd name="T15" fmla="*/ 106 h 169"/>
                <a:gd name="T16" fmla="*/ 73 w 208"/>
                <a:gd name="T17" fmla="*/ 114 h 169"/>
                <a:gd name="T18" fmla="*/ 69 w 208"/>
                <a:gd name="T19" fmla="*/ 129 h 169"/>
                <a:gd name="T20" fmla="*/ 75 w 208"/>
                <a:gd name="T21" fmla="*/ 144 h 169"/>
                <a:gd name="T22" fmla="*/ 83 w 208"/>
                <a:gd name="T23" fmla="*/ 141 h 169"/>
                <a:gd name="T24" fmla="*/ 96 w 208"/>
                <a:gd name="T25" fmla="*/ 148 h 169"/>
                <a:gd name="T26" fmla="*/ 104 w 208"/>
                <a:gd name="T27" fmla="*/ 167 h 169"/>
                <a:gd name="T28" fmla="*/ 127 w 208"/>
                <a:gd name="T29" fmla="*/ 162 h 169"/>
                <a:gd name="T30" fmla="*/ 137 w 208"/>
                <a:gd name="T31" fmla="*/ 165 h 169"/>
                <a:gd name="T32" fmla="*/ 150 w 208"/>
                <a:gd name="T33" fmla="*/ 158 h 169"/>
                <a:gd name="T34" fmla="*/ 150 w 208"/>
                <a:gd name="T35" fmla="*/ 148 h 169"/>
                <a:gd name="T36" fmla="*/ 162 w 208"/>
                <a:gd name="T37" fmla="*/ 141 h 169"/>
                <a:gd name="T38" fmla="*/ 169 w 208"/>
                <a:gd name="T39" fmla="*/ 137 h 169"/>
                <a:gd name="T40" fmla="*/ 175 w 208"/>
                <a:gd name="T41" fmla="*/ 137 h 169"/>
                <a:gd name="T42" fmla="*/ 175 w 208"/>
                <a:gd name="T43" fmla="*/ 142 h 169"/>
                <a:gd name="T44" fmla="*/ 183 w 208"/>
                <a:gd name="T45" fmla="*/ 135 h 169"/>
                <a:gd name="T46" fmla="*/ 173 w 208"/>
                <a:gd name="T47" fmla="*/ 131 h 169"/>
                <a:gd name="T48" fmla="*/ 179 w 208"/>
                <a:gd name="T49" fmla="*/ 114 h 169"/>
                <a:gd name="T50" fmla="*/ 177 w 208"/>
                <a:gd name="T51" fmla="*/ 98 h 169"/>
                <a:gd name="T52" fmla="*/ 179 w 208"/>
                <a:gd name="T53" fmla="*/ 91 h 169"/>
                <a:gd name="T54" fmla="*/ 190 w 208"/>
                <a:gd name="T55" fmla="*/ 75 h 169"/>
                <a:gd name="T56" fmla="*/ 202 w 208"/>
                <a:gd name="T57" fmla="*/ 67 h 169"/>
                <a:gd name="T58" fmla="*/ 206 w 208"/>
                <a:gd name="T59" fmla="*/ 62 h 169"/>
                <a:gd name="T60" fmla="*/ 196 w 208"/>
                <a:gd name="T61" fmla="*/ 52 h 169"/>
                <a:gd name="T62" fmla="*/ 185 w 208"/>
                <a:gd name="T63" fmla="*/ 39 h 169"/>
                <a:gd name="T64" fmla="*/ 173 w 208"/>
                <a:gd name="T65" fmla="*/ 25 h 169"/>
                <a:gd name="T66" fmla="*/ 160 w 208"/>
                <a:gd name="T67" fmla="*/ 16 h 169"/>
                <a:gd name="T68" fmla="*/ 129 w 208"/>
                <a:gd name="T69" fmla="*/ 0 h 169"/>
                <a:gd name="T70" fmla="*/ 112 w 208"/>
                <a:gd name="T71" fmla="*/ 12 h 169"/>
                <a:gd name="T72" fmla="*/ 98 w 208"/>
                <a:gd name="T73" fmla="*/ 12 h 169"/>
                <a:gd name="T74" fmla="*/ 83 w 208"/>
                <a:gd name="T75" fmla="*/ 14 h 169"/>
                <a:gd name="T76" fmla="*/ 71 w 208"/>
                <a:gd name="T77" fmla="*/ 14 h 169"/>
                <a:gd name="T78" fmla="*/ 64 w 208"/>
                <a:gd name="T79" fmla="*/ 12 h 169"/>
                <a:gd name="T80" fmla="*/ 48 w 208"/>
                <a:gd name="T81" fmla="*/ 14 h 169"/>
                <a:gd name="T82" fmla="*/ 10 w 208"/>
                <a:gd name="T83" fmla="*/ 29 h 169"/>
                <a:gd name="T84" fmla="*/ 0 w 208"/>
                <a:gd name="T85" fmla="*/ 4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8" h="169">
                  <a:moveTo>
                    <a:pt x="0" y="41"/>
                  </a:moveTo>
                  <a:lnTo>
                    <a:pt x="4" y="60"/>
                  </a:lnTo>
                  <a:lnTo>
                    <a:pt x="12" y="79"/>
                  </a:lnTo>
                  <a:lnTo>
                    <a:pt x="10" y="87"/>
                  </a:lnTo>
                  <a:lnTo>
                    <a:pt x="14" y="87"/>
                  </a:lnTo>
                  <a:lnTo>
                    <a:pt x="14" y="92"/>
                  </a:lnTo>
                  <a:lnTo>
                    <a:pt x="17" y="91"/>
                  </a:lnTo>
                  <a:lnTo>
                    <a:pt x="23" y="96"/>
                  </a:lnTo>
                  <a:lnTo>
                    <a:pt x="27" y="96"/>
                  </a:lnTo>
                  <a:lnTo>
                    <a:pt x="37" y="100"/>
                  </a:lnTo>
                  <a:lnTo>
                    <a:pt x="42" y="100"/>
                  </a:lnTo>
                  <a:lnTo>
                    <a:pt x="44" y="104"/>
                  </a:lnTo>
                  <a:lnTo>
                    <a:pt x="48" y="102"/>
                  </a:lnTo>
                  <a:lnTo>
                    <a:pt x="62" y="100"/>
                  </a:lnTo>
                  <a:lnTo>
                    <a:pt x="65" y="106"/>
                  </a:lnTo>
                  <a:lnTo>
                    <a:pt x="67" y="106"/>
                  </a:lnTo>
                  <a:lnTo>
                    <a:pt x="71" y="110"/>
                  </a:lnTo>
                  <a:lnTo>
                    <a:pt x="73" y="114"/>
                  </a:lnTo>
                  <a:lnTo>
                    <a:pt x="69" y="121"/>
                  </a:lnTo>
                  <a:lnTo>
                    <a:pt x="69" y="129"/>
                  </a:lnTo>
                  <a:lnTo>
                    <a:pt x="71" y="141"/>
                  </a:lnTo>
                  <a:lnTo>
                    <a:pt x="75" y="144"/>
                  </a:lnTo>
                  <a:lnTo>
                    <a:pt x="77" y="141"/>
                  </a:lnTo>
                  <a:lnTo>
                    <a:pt x="83" y="141"/>
                  </a:lnTo>
                  <a:lnTo>
                    <a:pt x="85" y="146"/>
                  </a:lnTo>
                  <a:lnTo>
                    <a:pt x="96" y="148"/>
                  </a:lnTo>
                  <a:lnTo>
                    <a:pt x="102" y="154"/>
                  </a:lnTo>
                  <a:lnTo>
                    <a:pt x="104" y="167"/>
                  </a:lnTo>
                  <a:lnTo>
                    <a:pt x="110" y="169"/>
                  </a:lnTo>
                  <a:lnTo>
                    <a:pt x="127" y="162"/>
                  </a:lnTo>
                  <a:lnTo>
                    <a:pt x="133" y="165"/>
                  </a:lnTo>
                  <a:lnTo>
                    <a:pt x="137" y="165"/>
                  </a:lnTo>
                  <a:lnTo>
                    <a:pt x="142" y="158"/>
                  </a:lnTo>
                  <a:lnTo>
                    <a:pt x="150" y="158"/>
                  </a:lnTo>
                  <a:lnTo>
                    <a:pt x="148" y="150"/>
                  </a:lnTo>
                  <a:lnTo>
                    <a:pt x="150" y="148"/>
                  </a:lnTo>
                  <a:lnTo>
                    <a:pt x="158" y="146"/>
                  </a:lnTo>
                  <a:lnTo>
                    <a:pt x="162" y="141"/>
                  </a:lnTo>
                  <a:lnTo>
                    <a:pt x="162" y="137"/>
                  </a:lnTo>
                  <a:lnTo>
                    <a:pt x="169" y="137"/>
                  </a:lnTo>
                  <a:lnTo>
                    <a:pt x="171" y="133"/>
                  </a:lnTo>
                  <a:lnTo>
                    <a:pt x="175" y="137"/>
                  </a:lnTo>
                  <a:lnTo>
                    <a:pt x="173" y="139"/>
                  </a:lnTo>
                  <a:lnTo>
                    <a:pt x="175" y="142"/>
                  </a:lnTo>
                  <a:lnTo>
                    <a:pt x="183" y="141"/>
                  </a:lnTo>
                  <a:lnTo>
                    <a:pt x="183" y="135"/>
                  </a:lnTo>
                  <a:lnTo>
                    <a:pt x="179" y="131"/>
                  </a:lnTo>
                  <a:lnTo>
                    <a:pt x="173" y="131"/>
                  </a:lnTo>
                  <a:lnTo>
                    <a:pt x="175" y="119"/>
                  </a:lnTo>
                  <a:lnTo>
                    <a:pt x="179" y="114"/>
                  </a:lnTo>
                  <a:lnTo>
                    <a:pt x="175" y="102"/>
                  </a:lnTo>
                  <a:lnTo>
                    <a:pt x="177" y="98"/>
                  </a:lnTo>
                  <a:lnTo>
                    <a:pt x="175" y="96"/>
                  </a:lnTo>
                  <a:lnTo>
                    <a:pt x="179" y="91"/>
                  </a:lnTo>
                  <a:lnTo>
                    <a:pt x="188" y="87"/>
                  </a:lnTo>
                  <a:lnTo>
                    <a:pt x="190" y="75"/>
                  </a:lnTo>
                  <a:lnTo>
                    <a:pt x="202" y="75"/>
                  </a:lnTo>
                  <a:lnTo>
                    <a:pt x="202" y="67"/>
                  </a:lnTo>
                  <a:lnTo>
                    <a:pt x="208" y="64"/>
                  </a:lnTo>
                  <a:lnTo>
                    <a:pt x="206" y="62"/>
                  </a:lnTo>
                  <a:lnTo>
                    <a:pt x="194" y="62"/>
                  </a:lnTo>
                  <a:lnTo>
                    <a:pt x="196" y="52"/>
                  </a:lnTo>
                  <a:lnTo>
                    <a:pt x="196" y="41"/>
                  </a:lnTo>
                  <a:lnTo>
                    <a:pt x="185" y="39"/>
                  </a:lnTo>
                  <a:lnTo>
                    <a:pt x="179" y="31"/>
                  </a:lnTo>
                  <a:lnTo>
                    <a:pt x="173" y="25"/>
                  </a:lnTo>
                  <a:lnTo>
                    <a:pt x="160" y="19"/>
                  </a:lnTo>
                  <a:lnTo>
                    <a:pt x="160" y="16"/>
                  </a:lnTo>
                  <a:lnTo>
                    <a:pt x="138" y="16"/>
                  </a:lnTo>
                  <a:lnTo>
                    <a:pt x="129" y="0"/>
                  </a:lnTo>
                  <a:lnTo>
                    <a:pt x="117" y="14"/>
                  </a:lnTo>
                  <a:lnTo>
                    <a:pt x="112" y="12"/>
                  </a:lnTo>
                  <a:lnTo>
                    <a:pt x="106" y="16"/>
                  </a:lnTo>
                  <a:lnTo>
                    <a:pt x="98" y="12"/>
                  </a:lnTo>
                  <a:lnTo>
                    <a:pt x="89" y="12"/>
                  </a:lnTo>
                  <a:lnTo>
                    <a:pt x="83" y="14"/>
                  </a:lnTo>
                  <a:lnTo>
                    <a:pt x="75" y="12"/>
                  </a:lnTo>
                  <a:lnTo>
                    <a:pt x="71" y="14"/>
                  </a:lnTo>
                  <a:lnTo>
                    <a:pt x="69" y="18"/>
                  </a:lnTo>
                  <a:lnTo>
                    <a:pt x="64" y="12"/>
                  </a:lnTo>
                  <a:lnTo>
                    <a:pt x="56" y="18"/>
                  </a:lnTo>
                  <a:lnTo>
                    <a:pt x="48" y="14"/>
                  </a:lnTo>
                  <a:lnTo>
                    <a:pt x="33" y="16"/>
                  </a:lnTo>
                  <a:lnTo>
                    <a:pt x="10" y="29"/>
                  </a:lnTo>
                  <a:lnTo>
                    <a:pt x="6" y="41"/>
                  </a:lnTo>
                  <a:lnTo>
                    <a:pt x="0" y="4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57" name="Freeform 145"/>
            <p:cNvSpPr>
              <a:spLocks/>
            </p:cNvSpPr>
            <p:nvPr/>
          </p:nvSpPr>
          <p:spPr bwMode="auto">
            <a:xfrm>
              <a:off x="2850" y="2182"/>
              <a:ext cx="4" cy="25"/>
            </a:xfrm>
            <a:custGeom>
              <a:avLst/>
              <a:gdLst>
                <a:gd name="T0" fmla="*/ 0 w 4"/>
                <a:gd name="T1" fmla="*/ 25 h 25"/>
                <a:gd name="T2" fmla="*/ 4 w 4"/>
                <a:gd name="T3" fmla="*/ 16 h 25"/>
                <a:gd name="T4" fmla="*/ 4 w 4"/>
                <a:gd name="T5" fmla="*/ 6 h 25"/>
                <a:gd name="T6" fmla="*/ 0 w 4"/>
                <a:gd name="T7" fmla="*/ 0 h 25"/>
                <a:gd name="T8" fmla="*/ 2 w 4"/>
                <a:gd name="T9" fmla="*/ 12 h 25"/>
                <a:gd name="T10" fmla="*/ 0 w 4"/>
                <a:gd name="T11" fmla="*/ 25 h 25"/>
              </a:gdLst>
              <a:ahLst/>
              <a:cxnLst>
                <a:cxn ang="0">
                  <a:pos x="T0" y="T1"/>
                </a:cxn>
                <a:cxn ang="0">
                  <a:pos x="T2" y="T3"/>
                </a:cxn>
                <a:cxn ang="0">
                  <a:pos x="T4" y="T5"/>
                </a:cxn>
                <a:cxn ang="0">
                  <a:pos x="T6" y="T7"/>
                </a:cxn>
                <a:cxn ang="0">
                  <a:pos x="T8" y="T9"/>
                </a:cxn>
                <a:cxn ang="0">
                  <a:pos x="T10" y="T11"/>
                </a:cxn>
              </a:cxnLst>
              <a:rect l="0" t="0" r="r" b="b"/>
              <a:pathLst>
                <a:path w="4" h="25">
                  <a:moveTo>
                    <a:pt x="0" y="25"/>
                  </a:moveTo>
                  <a:lnTo>
                    <a:pt x="4" y="16"/>
                  </a:lnTo>
                  <a:lnTo>
                    <a:pt x="4" y="6"/>
                  </a:lnTo>
                  <a:lnTo>
                    <a:pt x="0" y="0"/>
                  </a:lnTo>
                  <a:lnTo>
                    <a:pt x="2" y="12"/>
                  </a:lnTo>
                  <a:lnTo>
                    <a:pt x="0" y="25"/>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58" name="Freeform 146"/>
            <p:cNvSpPr>
              <a:spLocks/>
            </p:cNvSpPr>
            <p:nvPr/>
          </p:nvSpPr>
          <p:spPr bwMode="auto">
            <a:xfrm>
              <a:off x="1847" y="1954"/>
              <a:ext cx="307" cy="546"/>
            </a:xfrm>
            <a:custGeom>
              <a:avLst/>
              <a:gdLst>
                <a:gd name="T0" fmla="*/ 250 w 307"/>
                <a:gd name="T1" fmla="*/ 394 h 546"/>
                <a:gd name="T2" fmla="*/ 292 w 307"/>
                <a:gd name="T3" fmla="*/ 396 h 546"/>
                <a:gd name="T4" fmla="*/ 290 w 307"/>
                <a:gd name="T5" fmla="*/ 457 h 546"/>
                <a:gd name="T6" fmla="*/ 273 w 307"/>
                <a:gd name="T7" fmla="*/ 471 h 546"/>
                <a:gd name="T8" fmla="*/ 252 w 307"/>
                <a:gd name="T9" fmla="*/ 486 h 546"/>
                <a:gd name="T10" fmla="*/ 252 w 307"/>
                <a:gd name="T11" fmla="*/ 492 h 546"/>
                <a:gd name="T12" fmla="*/ 282 w 307"/>
                <a:gd name="T13" fmla="*/ 503 h 546"/>
                <a:gd name="T14" fmla="*/ 242 w 307"/>
                <a:gd name="T15" fmla="*/ 528 h 546"/>
                <a:gd name="T16" fmla="*/ 190 w 307"/>
                <a:gd name="T17" fmla="*/ 522 h 546"/>
                <a:gd name="T18" fmla="*/ 179 w 307"/>
                <a:gd name="T19" fmla="*/ 521 h 546"/>
                <a:gd name="T20" fmla="*/ 146 w 307"/>
                <a:gd name="T21" fmla="*/ 522 h 546"/>
                <a:gd name="T22" fmla="*/ 129 w 307"/>
                <a:gd name="T23" fmla="*/ 526 h 546"/>
                <a:gd name="T24" fmla="*/ 88 w 307"/>
                <a:gd name="T25" fmla="*/ 526 h 546"/>
                <a:gd name="T26" fmla="*/ 69 w 307"/>
                <a:gd name="T27" fmla="*/ 534 h 546"/>
                <a:gd name="T28" fmla="*/ 42 w 307"/>
                <a:gd name="T29" fmla="*/ 528 h 546"/>
                <a:gd name="T30" fmla="*/ 19 w 307"/>
                <a:gd name="T31" fmla="*/ 546 h 546"/>
                <a:gd name="T32" fmla="*/ 13 w 307"/>
                <a:gd name="T33" fmla="*/ 526 h 546"/>
                <a:gd name="T34" fmla="*/ 48 w 307"/>
                <a:gd name="T35" fmla="*/ 501 h 546"/>
                <a:gd name="T36" fmla="*/ 81 w 307"/>
                <a:gd name="T37" fmla="*/ 476 h 546"/>
                <a:gd name="T38" fmla="*/ 117 w 307"/>
                <a:gd name="T39" fmla="*/ 474 h 546"/>
                <a:gd name="T40" fmla="*/ 138 w 307"/>
                <a:gd name="T41" fmla="*/ 455 h 546"/>
                <a:gd name="T42" fmla="*/ 106 w 307"/>
                <a:gd name="T43" fmla="*/ 469 h 546"/>
                <a:gd name="T44" fmla="*/ 79 w 307"/>
                <a:gd name="T45" fmla="*/ 453 h 546"/>
                <a:gd name="T46" fmla="*/ 73 w 307"/>
                <a:gd name="T47" fmla="*/ 436 h 546"/>
                <a:gd name="T48" fmla="*/ 46 w 307"/>
                <a:gd name="T49" fmla="*/ 436 h 546"/>
                <a:gd name="T50" fmla="*/ 48 w 307"/>
                <a:gd name="T51" fmla="*/ 419 h 546"/>
                <a:gd name="T52" fmla="*/ 82 w 307"/>
                <a:gd name="T53" fmla="*/ 409 h 546"/>
                <a:gd name="T54" fmla="*/ 96 w 307"/>
                <a:gd name="T55" fmla="*/ 367 h 546"/>
                <a:gd name="T56" fmla="*/ 73 w 307"/>
                <a:gd name="T57" fmla="*/ 365 h 546"/>
                <a:gd name="T58" fmla="*/ 107 w 307"/>
                <a:gd name="T59" fmla="*/ 344 h 546"/>
                <a:gd name="T60" fmla="*/ 138 w 307"/>
                <a:gd name="T61" fmla="*/ 351 h 546"/>
                <a:gd name="T62" fmla="*/ 142 w 307"/>
                <a:gd name="T63" fmla="*/ 346 h 546"/>
                <a:gd name="T64" fmla="*/ 148 w 307"/>
                <a:gd name="T65" fmla="*/ 309 h 546"/>
                <a:gd name="T66" fmla="*/ 148 w 307"/>
                <a:gd name="T67" fmla="*/ 294 h 546"/>
                <a:gd name="T68" fmla="*/ 134 w 307"/>
                <a:gd name="T69" fmla="*/ 275 h 546"/>
                <a:gd name="T70" fmla="*/ 152 w 307"/>
                <a:gd name="T71" fmla="*/ 244 h 546"/>
                <a:gd name="T72" fmla="*/ 186 w 307"/>
                <a:gd name="T73" fmla="*/ 221 h 546"/>
                <a:gd name="T74" fmla="*/ 173 w 307"/>
                <a:gd name="T75" fmla="*/ 230 h 546"/>
                <a:gd name="T76" fmla="*/ 131 w 307"/>
                <a:gd name="T77" fmla="*/ 246 h 546"/>
                <a:gd name="T78" fmla="*/ 96 w 307"/>
                <a:gd name="T79" fmla="*/ 238 h 546"/>
                <a:gd name="T80" fmla="*/ 100 w 307"/>
                <a:gd name="T81" fmla="*/ 209 h 546"/>
                <a:gd name="T82" fmla="*/ 113 w 307"/>
                <a:gd name="T83" fmla="*/ 171 h 546"/>
                <a:gd name="T84" fmla="*/ 90 w 307"/>
                <a:gd name="T85" fmla="*/ 171 h 546"/>
                <a:gd name="T86" fmla="*/ 71 w 307"/>
                <a:gd name="T87" fmla="*/ 194 h 546"/>
                <a:gd name="T88" fmla="*/ 88 w 307"/>
                <a:gd name="T89" fmla="*/ 146 h 546"/>
                <a:gd name="T90" fmla="*/ 79 w 307"/>
                <a:gd name="T91" fmla="*/ 117 h 546"/>
                <a:gd name="T92" fmla="*/ 96 w 307"/>
                <a:gd name="T93" fmla="*/ 88 h 546"/>
                <a:gd name="T94" fmla="*/ 106 w 307"/>
                <a:gd name="T95" fmla="*/ 44 h 546"/>
                <a:gd name="T96" fmla="*/ 129 w 307"/>
                <a:gd name="T97" fmla="*/ 19 h 546"/>
                <a:gd name="T98" fmla="*/ 190 w 307"/>
                <a:gd name="T99" fmla="*/ 6 h 546"/>
                <a:gd name="T100" fmla="*/ 180 w 307"/>
                <a:gd name="T101" fmla="*/ 67 h 546"/>
                <a:gd name="T102" fmla="*/ 229 w 307"/>
                <a:gd name="T103" fmla="*/ 88 h 546"/>
                <a:gd name="T104" fmla="*/ 192 w 307"/>
                <a:gd name="T105" fmla="*/ 146 h 546"/>
                <a:gd name="T106" fmla="*/ 184 w 307"/>
                <a:gd name="T107" fmla="*/ 159 h 546"/>
                <a:gd name="T108" fmla="*/ 148 w 307"/>
                <a:gd name="T109" fmla="*/ 171 h 546"/>
                <a:gd name="T110" fmla="*/ 196 w 307"/>
                <a:gd name="T111" fmla="*/ 188 h 546"/>
                <a:gd name="T112" fmla="*/ 207 w 307"/>
                <a:gd name="T113" fmla="*/ 207 h 546"/>
                <a:gd name="T114" fmla="*/ 217 w 307"/>
                <a:gd name="T115" fmla="*/ 253 h 546"/>
                <a:gd name="T116" fmla="*/ 240 w 307"/>
                <a:gd name="T117" fmla="*/ 290 h 546"/>
                <a:gd name="T118" fmla="*/ 254 w 307"/>
                <a:gd name="T119" fmla="*/ 338 h 546"/>
                <a:gd name="T120" fmla="*/ 225 w 307"/>
                <a:gd name="T121" fmla="*/ 33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7" h="546">
                  <a:moveTo>
                    <a:pt x="252" y="351"/>
                  </a:moveTo>
                  <a:lnTo>
                    <a:pt x="254" y="353"/>
                  </a:lnTo>
                  <a:lnTo>
                    <a:pt x="254" y="355"/>
                  </a:lnTo>
                  <a:lnTo>
                    <a:pt x="255" y="355"/>
                  </a:lnTo>
                  <a:lnTo>
                    <a:pt x="257" y="357"/>
                  </a:lnTo>
                  <a:lnTo>
                    <a:pt x="257" y="359"/>
                  </a:lnTo>
                  <a:lnTo>
                    <a:pt x="257" y="361"/>
                  </a:lnTo>
                  <a:lnTo>
                    <a:pt x="257" y="363"/>
                  </a:lnTo>
                  <a:lnTo>
                    <a:pt x="259" y="369"/>
                  </a:lnTo>
                  <a:lnTo>
                    <a:pt x="261" y="373"/>
                  </a:lnTo>
                  <a:lnTo>
                    <a:pt x="261" y="375"/>
                  </a:lnTo>
                  <a:lnTo>
                    <a:pt x="261" y="378"/>
                  </a:lnTo>
                  <a:lnTo>
                    <a:pt x="259" y="380"/>
                  </a:lnTo>
                  <a:lnTo>
                    <a:pt x="257" y="382"/>
                  </a:lnTo>
                  <a:lnTo>
                    <a:pt x="254" y="384"/>
                  </a:lnTo>
                  <a:lnTo>
                    <a:pt x="252" y="388"/>
                  </a:lnTo>
                  <a:lnTo>
                    <a:pt x="250" y="390"/>
                  </a:lnTo>
                  <a:lnTo>
                    <a:pt x="248" y="392"/>
                  </a:lnTo>
                  <a:lnTo>
                    <a:pt x="246" y="392"/>
                  </a:lnTo>
                  <a:lnTo>
                    <a:pt x="246" y="394"/>
                  </a:lnTo>
                  <a:lnTo>
                    <a:pt x="248" y="394"/>
                  </a:lnTo>
                  <a:lnTo>
                    <a:pt x="250" y="394"/>
                  </a:lnTo>
                  <a:lnTo>
                    <a:pt x="252" y="396"/>
                  </a:lnTo>
                  <a:lnTo>
                    <a:pt x="252" y="398"/>
                  </a:lnTo>
                  <a:lnTo>
                    <a:pt x="252" y="399"/>
                  </a:lnTo>
                  <a:lnTo>
                    <a:pt x="254" y="399"/>
                  </a:lnTo>
                  <a:lnTo>
                    <a:pt x="255" y="399"/>
                  </a:lnTo>
                  <a:lnTo>
                    <a:pt x="257" y="401"/>
                  </a:lnTo>
                  <a:lnTo>
                    <a:pt x="257" y="399"/>
                  </a:lnTo>
                  <a:lnTo>
                    <a:pt x="261" y="399"/>
                  </a:lnTo>
                  <a:lnTo>
                    <a:pt x="261" y="398"/>
                  </a:lnTo>
                  <a:lnTo>
                    <a:pt x="261" y="396"/>
                  </a:lnTo>
                  <a:lnTo>
                    <a:pt x="261" y="394"/>
                  </a:lnTo>
                  <a:lnTo>
                    <a:pt x="263" y="392"/>
                  </a:lnTo>
                  <a:lnTo>
                    <a:pt x="265" y="392"/>
                  </a:lnTo>
                  <a:lnTo>
                    <a:pt x="265" y="390"/>
                  </a:lnTo>
                  <a:lnTo>
                    <a:pt x="271" y="392"/>
                  </a:lnTo>
                  <a:lnTo>
                    <a:pt x="273" y="392"/>
                  </a:lnTo>
                  <a:lnTo>
                    <a:pt x="277" y="392"/>
                  </a:lnTo>
                  <a:lnTo>
                    <a:pt x="278" y="392"/>
                  </a:lnTo>
                  <a:lnTo>
                    <a:pt x="280" y="394"/>
                  </a:lnTo>
                  <a:lnTo>
                    <a:pt x="282" y="392"/>
                  </a:lnTo>
                  <a:lnTo>
                    <a:pt x="286" y="396"/>
                  </a:lnTo>
                  <a:lnTo>
                    <a:pt x="292" y="396"/>
                  </a:lnTo>
                  <a:lnTo>
                    <a:pt x="294" y="398"/>
                  </a:lnTo>
                  <a:lnTo>
                    <a:pt x="296" y="399"/>
                  </a:lnTo>
                  <a:lnTo>
                    <a:pt x="298" y="399"/>
                  </a:lnTo>
                  <a:lnTo>
                    <a:pt x="300" y="403"/>
                  </a:lnTo>
                  <a:lnTo>
                    <a:pt x="303" y="409"/>
                  </a:lnTo>
                  <a:lnTo>
                    <a:pt x="305" y="415"/>
                  </a:lnTo>
                  <a:lnTo>
                    <a:pt x="307" y="419"/>
                  </a:lnTo>
                  <a:lnTo>
                    <a:pt x="305" y="424"/>
                  </a:lnTo>
                  <a:lnTo>
                    <a:pt x="305" y="426"/>
                  </a:lnTo>
                  <a:lnTo>
                    <a:pt x="305" y="428"/>
                  </a:lnTo>
                  <a:lnTo>
                    <a:pt x="305" y="430"/>
                  </a:lnTo>
                  <a:lnTo>
                    <a:pt x="303" y="432"/>
                  </a:lnTo>
                  <a:lnTo>
                    <a:pt x="303" y="434"/>
                  </a:lnTo>
                  <a:lnTo>
                    <a:pt x="302" y="438"/>
                  </a:lnTo>
                  <a:lnTo>
                    <a:pt x="300" y="440"/>
                  </a:lnTo>
                  <a:lnTo>
                    <a:pt x="300" y="444"/>
                  </a:lnTo>
                  <a:lnTo>
                    <a:pt x="298" y="448"/>
                  </a:lnTo>
                  <a:lnTo>
                    <a:pt x="296" y="451"/>
                  </a:lnTo>
                  <a:lnTo>
                    <a:pt x="296" y="453"/>
                  </a:lnTo>
                  <a:lnTo>
                    <a:pt x="294" y="453"/>
                  </a:lnTo>
                  <a:lnTo>
                    <a:pt x="292" y="455"/>
                  </a:lnTo>
                  <a:lnTo>
                    <a:pt x="290" y="457"/>
                  </a:lnTo>
                  <a:lnTo>
                    <a:pt x="288" y="459"/>
                  </a:lnTo>
                  <a:lnTo>
                    <a:pt x="286" y="461"/>
                  </a:lnTo>
                  <a:lnTo>
                    <a:pt x="284" y="461"/>
                  </a:lnTo>
                  <a:lnTo>
                    <a:pt x="284" y="459"/>
                  </a:lnTo>
                  <a:lnTo>
                    <a:pt x="282" y="459"/>
                  </a:lnTo>
                  <a:lnTo>
                    <a:pt x="280" y="459"/>
                  </a:lnTo>
                  <a:lnTo>
                    <a:pt x="278" y="459"/>
                  </a:lnTo>
                  <a:lnTo>
                    <a:pt x="277" y="459"/>
                  </a:lnTo>
                  <a:lnTo>
                    <a:pt x="280" y="459"/>
                  </a:lnTo>
                  <a:lnTo>
                    <a:pt x="280" y="461"/>
                  </a:lnTo>
                  <a:lnTo>
                    <a:pt x="284" y="461"/>
                  </a:lnTo>
                  <a:lnTo>
                    <a:pt x="284" y="463"/>
                  </a:lnTo>
                  <a:lnTo>
                    <a:pt x="282" y="463"/>
                  </a:lnTo>
                  <a:lnTo>
                    <a:pt x="282" y="465"/>
                  </a:lnTo>
                  <a:lnTo>
                    <a:pt x="280" y="465"/>
                  </a:lnTo>
                  <a:lnTo>
                    <a:pt x="282" y="467"/>
                  </a:lnTo>
                  <a:lnTo>
                    <a:pt x="282" y="465"/>
                  </a:lnTo>
                  <a:lnTo>
                    <a:pt x="284" y="465"/>
                  </a:lnTo>
                  <a:lnTo>
                    <a:pt x="282" y="467"/>
                  </a:lnTo>
                  <a:lnTo>
                    <a:pt x="280" y="469"/>
                  </a:lnTo>
                  <a:lnTo>
                    <a:pt x="277" y="471"/>
                  </a:lnTo>
                  <a:lnTo>
                    <a:pt x="273" y="471"/>
                  </a:lnTo>
                  <a:lnTo>
                    <a:pt x="273" y="469"/>
                  </a:lnTo>
                  <a:lnTo>
                    <a:pt x="271" y="469"/>
                  </a:lnTo>
                  <a:lnTo>
                    <a:pt x="267" y="469"/>
                  </a:lnTo>
                  <a:lnTo>
                    <a:pt x="267" y="471"/>
                  </a:lnTo>
                  <a:lnTo>
                    <a:pt x="263" y="473"/>
                  </a:lnTo>
                  <a:lnTo>
                    <a:pt x="261" y="473"/>
                  </a:lnTo>
                  <a:lnTo>
                    <a:pt x="263" y="474"/>
                  </a:lnTo>
                  <a:lnTo>
                    <a:pt x="263" y="473"/>
                  </a:lnTo>
                  <a:lnTo>
                    <a:pt x="265" y="473"/>
                  </a:lnTo>
                  <a:lnTo>
                    <a:pt x="267" y="473"/>
                  </a:lnTo>
                  <a:lnTo>
                    <a:pt x="269" y="473"/>
                  </a:lnTo>
                  <a:lnTo>
                    <a:pt x="269" y="476"/>
                  </a:lnTo>
                  <a:lnTo>
                    <a:pt x="269" y="480"/>
                  </a:lnTo>
                  <a:lnTo>
                    <a:pt x="265" y="478"/>
                  </a:lnTo>
                  <a:lnTo>
                    <a:pt x="263" y="480"/>
                  </a:lnTo>
                  <a:lnTo>
                    <a:pt x="267" y="480"/>
                  </a:lnTo>
                  <a:lnTo>
                    <a:pt x="269" y="480"/>
                  </a:lnTo>
                  <a:lnTo>
                    <a:pt x="265" y="484"/>
                  </a:lnTo>
                  <a:lnTo>
                    <a:pt x="261" y="486"/>
                  </a:lnTo>
                  <a:lnTo>
                    <a:pt x="255" y="484"/>
                  </a:lnTo>
                  <a:lnTo>
                    <a:pt x="254" y="486"/>
                  </a:lnTo>
                  <a:lnTo>
                    <a:pt x="252" y="486"/>
                  </a:lnTo>
                  <a:lnTo>
                    <a:pt x="248" y="486"/>
                  </a:lnTo>
                  <a:lnTo>
                    <a:pt x="248" y="488"/>
                  </a:lnTo>
                  <a:lnTo>
                    <a:pt x="246" y="488"/>
                  </a:lnTo>
                  <a:lnTo>
                    <a:pt x="244" y="488"/>
                  </a:lnTo>
                  <a:lnTo>
                    <a:pt x="242" y="486"/>
                  </a:lnTo>
                  <a:lnTo>
                    <a:pt x="240" y="484"/>
                  </a:lnTo>
                  <a:lnTo>
                    <a:pt x="238" y="484"/>
                  </a:lnTo>
                  <a:lnTo>
                    <a:pt x="238" y="486"/>
                  </a:lnTo>
                  <a:lnTo>
                    <a:pt x="240" y="486"/>
                  </a:lnTo>
                  <a:lnTo>
                    <a:pt x="242" y="488"/>
                  </a:lnTo>
                  <a:lnTo>
                    <a:pt x="244" y="488"/>
                  </a:lnTo>
                  <a:lnTo>
                    <a:pt x="246" y="488"/>
                  </a:lnTo>
                  <a:lnTo>
                    <a:pt x="248" y="488"/>
                  </a:lnTo>
                  <a:lnTo>
                    <a:pt x="250" y="488"/>
                  </a:lnTo>
                  <a:lnTo>
                    <a:pt x="250" y="486"/>
                  </a:lnTo>
                  <a:lnTo>
                    <a:pt x="254" y="486"/>
                  </a:lnTo>
                  <a:lnTo>
                    <a:pt x="257" y="488"/>
                  </a:lnTo>
                  <a:lnTo>
                    <a:pt x="259" y="490"/>
                  </a:lnTo>
                  <a:lnTo>
                    <a:pt x="257" y="492"/>
                  </a:lnTo>
                  <a:lnTo>
                    <a:pt x="255" y="492"/>
                  </a:lnTo>
                  <a:lnTo>
                    <a:pt x="254" y="492"/>
                  </a:lnTo>
                  <a:lnTo>
                    <a:pt x="252" y="492"/>
                  </a:lnTo>
                  <a:lnTo>
                    <a:pt x="254" y="494"/>
                  </a:lnTo>
                  <a:lnTo>
                    <a:pt x="255" y="494"/>
                  </a:lnTo>
                  <a:lnTo>
                    <a:pt x="255" y="492"/>
                  </a:lnTo>
                  <a:lnTo>
                    <a:pt x="257" y="492"/>
                  </a:lnTo>
                  <a:lnTo>
                    <a:pt x="257" y="494"/>
                  </a:lnTo>
                  <a:lnTo>
                    <a:pt x="255" y="494"/>
                  </a:lnTo>
                  <a:lnTo>
                    <a:pt x="257" y="494"/>
                  </a:lnTo>
                  <a:lnTo>
                    <a:pt x="259" y="496"/>
                  </a:lnTo>
                  <a:lnTo>
                    <a:pt x="261" y="497"/>
                  </a:lnTo>
                  <a:lnTo>
                    <a:pt x="265" y="497"/>
                  </a:lnTo>
                  <a:lnTo>
                    <a:pt x="267" y="497"/>
                  </a:lnTo>
                  <a:lnTo>
                    <a:pt x="269" y="497"/>
                  </a:lnTo>
                  <a:lnTo>
                    <a:pt x="271" y="497"/>
                  </a:lnTo>
                  <a:lnTo>
                    <a:pt x="273" y="497"/>
                  </a:lnTo>
                  <a:lnTo>
                    <a:pt x="275" y="497"/>
                  </a:lnTo>
                  <a:lnTo>
                    <a:pt x="278" y="497"/>
                  </a:lnTo>
                  <a:lnTo>
                    <a:pt x="280" y="497"/>
                  </a:lnTo>
                  <a:lnTo>
                    <a:pt x="284" y="497"/>
                  </a:lnTo>
                  <a:lnTo>
                    <a:pt x="286" y="499"/>
                  </a:lnTo>
                  <a:lnTo>
                    <a:pt x="284" y="501"/>
                  </a:lnTo>
                  <a:lnTo>
                    <a:pt x="282" y="501"/>
                  </a:lnTo>
                  <a:lnTo>
                    <a:pt x="282" y="503"/>
                  </a:lnTo>
                  <a:lnTo>
                    <a:pt x="282" y="505"/>
                  </a:lnTo>
                  <a:lnTo>
                    <a:pt x="282" y="509"/>
                  </a:lnTo>
                  <a:lnTo>
                    <a:pt x="282" y="511"/>
                  </a:lnTo>
                  <a:lnTo>
                    <a:pt x="280" y="513"/>
                  </a:lnTo>
                  <a:lnTo>
                    <a:pt x="278" y="515"/>
                  </a:lnTo>
                  <a:lnTo>
                    <a:pt x="277" y="515"/>
                  </a:lnTo>
                  <a:lnTo>
                    <a:pt x="275" y="517"/>
                  </a:lnTo>
                  <a:lnTo>
                    <a:pt x="275" y="515"/>
                  </a:lnTo>
                  <a:lnTo>
                    <a:pt x="273" y="517"/>
                  </a:lnTo>
                  <a:lnTo>
                    <a:pt x="269" y="517"/>
                  </a:lnTo>
                  <a:lnTo>
                    <a:pt x="267" y="517"/>
                  </a:lnTo>
                  <a:lnTo>
                    <a:pt x="265" y="519"/>
                  </a:lnTo>
                  <a:lnTo>
                    <a:pt x="263" y="522"/>
                  </a:lnTo>
                  <a:lnTo>
                    <a:pt x="263" y="524"/>
                  </a:lnTo>
                  <a:lnTo>
                    <a:pt x="263" y="526"/>
                  </a:lnTo>
                  <a:lnTo>
                    <a:pt x="259" y="526"/>
                  </a:lnTo>
                  <a:lnTo>
                    <a:pt x="257" y="524"/>
                  </a:lnTo>
                  <a:lnTo>
                    <a:pt x="255" y="524"/>
                  </a:lnTo>
                  <a:lnTo>
                    <a:pt x="250" y="528"/>
                  </a:lnTo>
                  <a:lnTo>
                    <a:pt x="248" y="528"/>
                  </a:lnTo>
                  <a:lnTo>
                    <a:pt x="246" y="528"/>
                  </a:lnTo>
                  <a:lnTo>
                    <a:pt x="242" y="528"/>
                  </a:lnTo>
                  <a:lnTo>
                    <a:pt x="240" y="528"/>
                  </a:lnTo>
                  <a:lnTo>
                    <a:pt x="238" y="530"/>
                  </a:lnTo>
                  <a:lnTo>
                    <a:pt x="234" y="534"/>
                  </a:lnTo>
                  <a:lnTo>
                    <a:pt x="232" y="534"/>
                  </a:lnTo>
                  <a:lnTo>
                    <a:pt x="229" y="532"/>
                  </a:lnTo>
                  <a:lnTo>
                    <a:pt x="227" y="530"/>
                  </a:lnTo>
                  <a:lnTo>
                    <a:pt x="225" y="530"/>
                  </a:lnTo>
                  <a:lnTo>
                    <a:pt x="223" y="528"/>
                  </a:lnTo>
                  <a:lnTo>
                    <a:pt x="219" y="526"/>
                  </a:lnTo>
                  <a:lnTo>
                    <a:pt x="217" y="524"/>
                  </a:lnTo>
                  <a:lnTo>
                    <a:pt x="213" y="526"/>
                  </a:lnTo>
                  <a:lnTo>
                    <a:pt x="211" y="526"/>
                  </a:lnTo>
                  <a:lnTo>
                    <a:pt x="207" y="524"/>
                  </a:lnTo>
                  <a:lnTo>
                    <a:pt x="205" y="524"/>
                  </a:lnTo>
                  <a:lnTo>
                    <a:pt x="204" y="526"/>
                  </a:lnTo>
                  <a:lnTo>
                    <a:pt x="200" y="526"/>
                  </a:lnTo>
                  <a:lnTo>
                    <a:pt x="198" y="526"/>
                  </a:lnTo>
                  <a:lnTo>
                    <a:pt x="196" y="526"/>
                  </a:lnTo>
                  <a:lnTo>
                    <a:pt x="196" y="528"/>
                  </a:lnTo>
                  <a:lnTo>
                    <a:pt x="194" y="528"/>
                  </a:lnTo>
                  <a:lnTo>
                    <a:pt x="190" y="524"/>
                  </a:lnTo>
                  <a:lnTo>
                    <a:pt x="190" y="522"/>
                  </a:lnTo>
                  <a:lnTo>
                    <a:pt x="192" y="522"/>
                  </a:lnTo>
                  <a:lnTo>
                    <a:pt x="192" y="521"/>
                  </a:lnTo>
                  <a:lnTo>
                    <a:pt x="190" y="521"/>
                  </a:lnTo>
                  <a:lnTo>
                    <a:pt x="190" y="522"/>
                  </a:lnTo>
                  <a:lnTo>
                    <a:pt x="190" y="521"/>
                  </a:lnTo>
                  <a:lnTo>
                    <a:pt x="188" y="521"/>
                  </a:lnTo>
                  <a:lnTo>
                    <a:pt x="188" y="522"/>
                  </a:lnTo>
                  <a:lnTo>
                    <a:pt x="190" y="524"/>
                  </a:lnTo>
                  <a:lnTo>
                    <a:pt x="188" y="524"/>
                  </a:lnTo>
                  <a:lnTo>
                    <a:pt x="186" y="524"/>
                  </a:lnTo>
                  <a:lnTo>
                    <a:pt x="186" y="522"/>
                  </a:lnTo>
                  <a:lnTo>
                    <a:pt x="188" y="521"/>
                  </a:lnTo>
                  <a:lnTo>
                    <a:pt x="186" y="521"/>
                  </a:lnTo>
                  <a:lnTo>
                    <a:pt x="186" y="522"/>
                  </a:lnTo>
                  <a:lnTo>
                    <a:pt x="184" y="524"/>
                  </a:lnTo>
                  <a:lnTo>
                    <a:pt x="182" y="522"/>
                  </a:lnTo>
                  <a:lnTo>
                    <a:pt x="184" y="519"/>
                  </a:lnTo>
                  <a:lnTo>
                    <a:pt x="180" y="519"/>
                  </a:lnTo>
                  <a:lnTo>
                    <a:pt x="182" y="521"/>
                  </a:lnTo>
                  <a:lnTo>
                    <a:pt x="182" y="522"/>
                  </a:lnTo>
                  <a:lnTo>
                    <a:pt x="180" y="522"/>
                  </a:lnTo>
                  <a:lnTo>
                    <a:pt x="179" y="521"/>
                  </a:lnTo>
                  <a:lnTo>
                    <a:pt x="177" y="519"/>
                  </a:lnTo>
                  <a:lnTo>
                    <a:pt x="173" y="515"/>
                  </a:lnTo>
                  <a:lnTo>
                    <a:pt x="175" y="521"/>
                  </a:lnTo>
                  <a:lnTo>
                    <a:pt x="171" y="521"/>
                  </a:lnTo>
                  <a:lnTo>
                    <a:pt x="171" y="522"/>
                  </a:lnTo>
                  <a:lnTo>
                    <a:pt x="169" y="522"/>
                  </a:lnTo>
                  <a:lnTo>
                    <a:pt x="167" y="522"/>
                  </a:lnTo>
                  <a:lnTo>
                    <a:pt x="167" y="524"/>
                  </a:lnTo>
                  <a:lnTo>
                    <a:pt x="165" y="524"/>
                  </a:lnTo>
                  <a:lnTo>
                    <a:pt x="163" y="524"/>
                  </a:lnTo>
                  <a:lnTo>
                    <a:pt x="161" y="522"/>
                  </a:lnTo>
                  <a:lnTo>
                    <a:pt x="159" y="522"/>
                  </a:lnTo>
                  <a:lnTo>
                    <a:pt x="157" y="522"/>
                  </a:lnTo>
                  <a:lnTo>
                    <a:pt x="156" y="522"/>
                  </a:lnTo>
                  <a:lnTo>
                    <a:pt x="152" y="522"/>
                  </a:lnTo>
                  <a:lnTo>
                    <a:pt x="150" y="524"/>
                  </a:lnTo>
                  <a:lnTo>
                    <a:pt x="150" y="522"/>
                  </a:lnTo>
                  <a:lnTo>
                    <a:pt x="148" y="522"/>
                  </a:lnTo>
                  <a:lnTo>
                    <a:pt x="148" y="521"/>
                  </a:lnTo>
                  <a:lnTo>
                    <a:pt x="146" y="522"/>
                  </a:lnTo>
                  <a:lnTo>
                    <a:pt x="148" y="522"/>
                  </a:lnTo>
                  <a:lnTo>
                    <a:pt x="146" y="522"/>
                  </a:lnTo>
                  <a:lnTo>
                    <a:pt x="148" y="524"/>
                  </a:lnTo>
                  <a:lnTo>
                    <a:pt x="150" y="524"/>
                  </a:lnTo>
                  <a:lnTo>
                    <a:pt x="150" y="526"/>
                  </a:lnTo>
                  <a:lnTo>
                    <a:pt x="148" y="530"/>
                  </a:lnTo>
                  <a:lnTo>
                    <a:pt x="146" y="530"/>
                  </a:lnTo>
                  <a:lnTo>
                    <a:pt x="144" y="530"/>
                  </a:lnTo>
                  <a:lnTo>
                    <a:pt x="144" y="528"/>
                  </a:lnTo>
                  <a:lnTo>
                    <a:pt x="142" y="528"/>
                  </a:lnTo>
                  <a:lnTo>
                    <a:pt x="142" y="526"/>
                  </a:lnTo>
                  <a:lnTo>
                    <a:pt x="140" y="526"/>
                  </a:lnTo>
                  <a:lnTo>
                    <a:pt x="138" y="526"/>
                  </a:lnTo>
                  <a:lnTo>
                    <a:pt x="134" y="524"/>
                  </a:lnTo>
                  <a:lnTo>
                    <a:pt x="131" y="524"/>
                  </a:lnTo>
                  <a:lnTo>
                    <a:pt x="131" y="526"/>
                  </a:lnTo>
                  <a:lnTo>
                    <a:pt x="129" y="526"/>
                  </a:lnTo>
                  <a:lnTo>
                    <a:pt x="129" y="528"/>
                  </a:lnTo>
                  <a:lnTo>
                    <a:pt x="131" y="528"/>
                  </a:lnTo>
                  <a:lnTo>
                    <a:pt x="131" y="530"/>
                  </a:lnTo>
                  <a:lnTo>
                    <a:pt x="129" y="532"/>
                  </a:lnTo>
                  <a:lnTo>
                    <a:pt x="129" y="530"/>
                  </a:lnTo>
                  <a:lnTo>
                    <a:pt x="129" y="528"/>
                  </a:lnTo>
                  <a:lnTo>
                    <a:pt x="129" y="526"/>
                  </a:lnTo>
                  <a:lnTo>
                    <a:pt x="123" y="521"/>
                  </a:lnTo>
                  <a:lnTo>
                    <a:pt x="119" y="517"/>
                  </a:lnTo>
                  <a:lnTo>
                    <a:pt x="115" y="515"/>
                  </a:lnTo>
                  <a:lnTo>
                    <a:pt x="113" y="515"/>
                  </a:lnTo>
                  <a:lnTo>
                    <a:pt x="111" y="515"/>
                  </a:lnTo>
                  <a:lnTo>
                    <a:pt x="109" y="517"/>
                  </a:lnTo>
                  <a:lnTo>
                    <a:pt x="107" y="515"/>
                  </a:lnTo>
                  <a:lnTo>
                    <a:pt x="106" y="517"/>
                  </a:lnTo>
                  <a:lnTo>
                    <a:pt x="104" y="517"/>
                  </a:lnTo>
                  <a:lnTo>
                    <a:pt x="100" y="517"/>
                  </a:lnTo>
                  <a:lnTo>
                    <a:pt x="98" y="519"/>
                  </a:lnTo>
                  <a:lnTo>
                    <a:pt x="96" y="519"/>
                  </a:lnTo>
                  <a:lnTo>
                    <a:pt x="94" y="519"/>
                  </a:lnTo>
                  <a:lnTo>
                    <a:pt x="94" y="515"/>
                  </a:lnTo>
                  <a:lnTo>
                    <a:pt x="92" y="515"/>
                  </a:lnTo>
                  <a:lnTo>
                    <a:pt x="92" y="517"/>
                  </a:lnTo>
                  <a:lnTo>
                    <a:pt x="92" y="519"/>
                  </a:lnTo>
                  <a:lnTo>
                    <a:pt x="94" y="519"/>
                  </a:lnTo>
                  <a:lnTo>
                    <a:pt x="90" y="521"/>
                  </a:lnTo>
                  <a:lnTo>
                    <a:pt x="90" y="522"/>
                  </a:lnTo>
                  <a:lnTo>
                    <a:pt x="88" y="524"/>
                  </a:lnTo>
                  <a:lnTo>
                    <a:pt x="88" y="526"/>
                  </a:lnTo>
                  <a:lnTo>
                    <a:pt x="88" y="528"/>
                  </a:lnTo>
                  <a:lnTo>
                    <a:pt x="86" y="526"/>
                  </a:lnTo>
                  <a:lnTo>
                    <a:pt x="86" y="528"/>
                  </a:lnTo>
                  <a:lnTo>
                    <a:pt x="86" y="530"/>
                  </a:lnTo>
                  <a:lnTo>
                    <a:pt x="88" y="530"/>
                  </a:lnTo>
                  <a:lnTo>
                    <a:pt x="88" y="532"/>
                  </a:lnTo>
                  <a:lnTo>
                    <a:pt x="86" y="534"/>
                  </a:lnTo>
                  <a:lnTo>
                    <a:pt x="84" y="534"/>
                  </a:lnTo>
                  <a:lnTo>
                    <a:pt x="84" y="536"/>
                  </a:lnTo>
                  <a:lnTo>
                    <a:pt x="82" y="536"/>
                  </a:lnTo>
                  <a:lnTo>
                    <a:pt x="81" y="538"/>
                  </a:lnTo>
                  <a:lnTo>
                    <a:pt x="81" y="540"/>
                  </a:lnTo>
                  <a:lnTo>
                    <a:pt x="81" y="542"/>
                  </a:lnTo>
                  <a:lnTo>
                    <a:pt x="79" y="542"/>
                  </a:lnTo>
                  <a:lnTo>
                    <a:pt x="77" y="542"/>
                  </a:lnTo>
                  <a:lnTo>
                    <a:pt x="77" y="540"/>
                  </a:lnTo>
                  <a:lnTo>
                    <a:pt x="75" y="542"/>
                  </a:lnTo>
                  <a:lnTo>
                    <a:pt x="73" y="540"/>
                  </a:lnTo>
                  <a:lnTo>
                    <a:pt x="71" y="538"/>
                  </a:lnTo>
                  <a:lnTo>
                    <a:pt x="73" y="538"/>
                  </a:lnTo>
                  <a:lnTo>
                    <a:pt x="71" y="536"/>
                  </a:lnTo>
                  <a:lnTo>
                    <a:pt x="69" y="534"/>
                  </a:lnTo>
                  <a:lnTo>
                    <a:pt x="67" y="534"/>
                  </a:lnTo>
                  <a:lnTo>
                    <a:pt x="65" y="534"/>
                  </a:lnTo>
                  <a:lnTo>
                    <a:pt x="65" y="532"/>
                  </a:lnTo>
                  <a:lnTo>
                    <a:pt x="63" y="532"/>
                  </a:lnTo>
                  <a:lnTo>
                    <a:pt x="63" y="530"/>
                  </a:lnTo>
                  <a:lnTo>
                    <a:pt x="63" y="528"/>
                  </a:lnTo>
                  <a:lnTo>
                    <a:pt x="61" y="528"/>
                  </a:lnTo>
                  <a:lnTo>
                    <a:pt x="61" y="524"/>
                  </a:lnTo>
                  <a:lnTo>
                    <a:pt x="61" y="522"/>
                  </a:lnTo>
                  <a:lnTo>
                    <a:pt x="61" y="524"/>
                  </a:lnTo>
                  <a:lnTo>
                    <a:pt x="59" y="526"/>
                  </a:lnTo>
                  <a:lnTo>
                    <a:pt x="61" y="528"/>
                  </a:lnTo>
                  <a:lnTo>
                    <a:pt x="61" y="530"/>
                  </a:lnTo>
                  <a:lnTo>
                    <a:pt x="59" y="530"/>
                  </a:lnTo>
                  <a:lnTo>
                    <a:pt x="57" y="528"/>
                  </a:lnTo>
                  <a:lnTo>
                    <a:pt x="56" y="528"/>
                  </a:lnTo>
                  <a:lnTo>
                    <a:pt x="52" y="526"/>
                  </a:lnTo>
                  <a:lnTo>
                    <a:pt x="50" y="528"/>
                  </a:lnTo>
                  <a:lnTo>
                    <a:pt x="48" y="528"/>
                  </a:lnTo>
                  <a:lnTo>
                    <a:pt x="46" y="528"/>
                  </a:lnTo>
                  <a:lnTo>
                    <a:pt x="44" y="526"/>
                  </a:lnTo>
                  <a:lnTo>
                    <a:pt x="42" y="528"/>
                  </a:lnTo>
                  <a:lnTo>
                    <a:pt x="42" y="526"/>
                  </a:lnTo>
                  <a:lnTo>
                    <a:pt x="40" y="526"/>
                  </a:lnTo>
                  <a:lnTo>
                    <a:pt x="38" y="528"/>
                  </a:lnTo>
                  <a:lnTo>
                    <a:pt x="38" y="530"/>
                  </a:lnTo>
                  <a:lnTo>
                    <a:pt x="36" y="532"/>
                  </a:lnTo>
                  <a:lnTo>
                    <a:pt x="34" y="532"/>
                  </a:lnTo>
                  <a:lnTo>
                    <a:pt x="33" y="534"/>
                  </a:lnTo>
                  <a:lnTo>
                    <a:pt x="31" y="532"/>
                  </a:lnTo>
                  <a:lnTo>
                    <a:pt x="29" y="534"/>
                  </a:lnTo>
                  <a:lnTo>
                    <a:pt x="27" y="536"/>
                  </a:lnTo>
                  <a:lnTo>
                    <a:pt x="27" y="532"/>
                  </a:lnTo>
                  <a:lnTo>
                    <a:pt x="25" y="534"/>
                  </a:lnTo>
                  <a:lnTo>
                    <a:pt x="27" y="536"/>
                  </a:lnTo>
                  <a:lnTo>
                    <a:pt x="25" y="536"/>
                  </a:lnTo>
                  <a:lnTo>
                    <a:pt x="25" y="538"/>
                  </a:lnTo>
                  <a:lnTo>
                    <a:pt x="23" y="538"/>
                  </a:lnTo>
                  <a:lnTo>
                    <a:pt x="25" y="540"/>
                  </a:lnTo>
                  <a:lnTo>
                    <a:pt x="23" y="542"/>
                  </a:lnTo>
                  <a:lnTo>
                    <a:pt x="23" y="544"/>
                  </a:lnTo>
                  <a:lnTo>
                    <a:pt x="21" y="544"/>
                  </a:lnTo>
                  <a:lnTo>
                    <a:pt x="19" y="544"/>
                  </a:lnTo>
                  <a:lnTo>
                    <a:pt x="19" y="546"/>
                  </a:lnTo>
                  <a:lnTo>
                    <a:pt x="17" y="546"/>
                  </a:lnTo>
                  <a:lnTo>
                    <a:pt x="15" y="544"/>
                  </a:lnTo>
                  <a:lnTo>
                    <a:pt x="15" y="542"/>
                  </a:lnTo>
                  <a:lnTo>
                    <a:pt x="15" y="540"/>
                  </a:lnTo>
                  <a:lnTo>
                    <a:pt x="15" y="538"/>
                  </a:lnTo>
                  <a:lnTo>
                    <a:pt x="13" y="536"/>
                  </a:lnTo>
                  <a:lnTo>
                    <a:pt x="11" y="534"/>
                  </a:lnTo>
                  <a:lnTo>
                    <a:pt x="8" y="534"/>
                  </a:lnTo>
                  <a:lnTo>
                    <a:pt x="8" y="536"/>
                  </a:lnTo>
                  <a:lnTo>
                    <a:pt x="6" y="536"/>
                  </a:lnTo>
                  <a:lnTo>
                    <a:pt x="4" y="538"/>
                  </a:lnTo>
                  <a:lnTo>
                    <a:pt x="0" y="536"/>
                  </a:lnTo>
                  <a:lnTo>
                    <a:pt x="0" y="534"/>
                  </a:lnTo>
                  <a:lnTo>
                    <a:pt x="0" y="530"/>
                  </a:lnTo>
                  <a:lnTo>
                    <a:pt x="2" y="528"/>
                  </a:lnTo>
                  <a:lnTo>
                    <a:pt x="4" y="528"/>
                  </a:lnTo>
                  <a:lnTo>
                    <a:pt x="6" y="528"/>
                  </a:lnTo>
                  <a:lnTo>
                    <a:pt x="9" y="526"/>
                  </a:lnTo>
                  <a:lnTo>
                    <a:pt x="11" y="526"/>
                  </a:lnTo>
                  <a:lnTo>
                    <a:pt x="11" y="528"/>
                  </a:lnTo>
                  <a:lnTo>
                    <a:pt x="13" y="528"/>
                  </a:lnTo>
                  <a:lnTo>
                    <a:pt x="13" y="526"/>
                  </a:lnTo>
                  <a:lnTo>
                    <a:pt x="15" y="526"/>
                  </a:lnTo>
                  <a:lnTo>
                    <a:pt x="17" y="526"/>
                  </a:lnTo>
                  <a:lnTo>
                    <a:pt x="21" y="524"/>
                  </a:lnTo>
                  <a:lnTo>
                    <a:pt x="21" y="522"/>
                  </a:lnTo>
                  <a:lnTo>
                    <a:pt x="23" y="522"/>
                  </a:lnTo>
                  <a:lnTo>
                    <a:pt x="25" y="521"/>
                  </a:lnTo>
                  <a:lnTo>
                    <a:pt x="25" y="519"/>
                  </a:lnTo>
                  <a:lnTo>
                    <a:pt x="27" y="517"/>
                  </a:lnTo>
                  <a:lnTo>
                    <a:pt x="29" y="517"/>
                  </a:lnTo>
                  <a:lnTo>
                    <a:pt x="31" y="515"/>
                  </a:lnTo>
                  <a:lnTo>
                    <a:pt x="33" y="511"/>
                  </a:lnTo>
                  <a:lnTo>
                    <a:pt x="34" y="511"/>
                  </a:lnTo>
                  <a:lnTo>
                    <a:pt x="34" y="509"/>
                  </a:lnTo>
                  <a:lnTo>
                    <a:pt x="36" y="511"/>
                  </a:lnTo>
                  <a:lnTo>
                    <a:pt x="36" y="509"/>
                  </a:lnTo>
                  <a:lnTo>
                    <a:pt x="36" y="507"/>
                  </a:lnTo>
                  <a:lnTo>
                    <a:pt x="38" y="509"/>
                  </a:lnTo>
                  <a:lnTo>
                    <a:pt x="40" y="509"/>
                  </a:lnTo>
                  <a:lnTo>
                    <a:pt x="42" y="507"/>
                  </a:lnTo>
                  <a:lnTo>
                    <a:pt x="44" y="505"/>
                  </a:lnTo>
                  <a:lnTo>
                    <a:pt x="46" y="503"/>
                  </a:lnTo>
                  <a:lnTo>
                    <a:pt x="48" y="501"/>
                  </a:lnTo>
                  <a:lnTo>
                    <a:pt x="50" y="499"/>
                  </a:lnTo>
                  <a:lnTo>
                    <a:pt x="52" y="499"/>
                  </a:lnTo>
                  <a:lnTo>
                    <a:pt x="54" y="496"/>
                  </a:lnTo>
                  <a:lnTo>
                    <a:pt x="54" y="492"/>
                  </a:lnTo>
                  <a:lnTo>
                    <a:pt x="56" y="490"/>
                  </a:lnTo>
                  <a:lnTo>
                    <a:pt x="56" y="488"/>
                  </a:lnTo>
                  <a:lnTo>
                    <a:pt x="57" y="484"/>
                  </a:lnTo>
                  <a:lnTo>
                    <a:pt x="59" y="484"/>
                  </a:lnTo>
                  <a:lnTo>
                    <a:pt x="61" y="486"/>
                  </a:lnTo>
                  <a:lnTo>
                    <a:pt x="63" y="488"/>
                  </a:lnTo>
                  <a:lnTo>
                    <a:pt x="65" y="488"/>
                  </a:lnTo>
                  <a:lnTo>
                    <a:pt x="67" y="486"/>
                  </a:lnTo>
                  <a:lnTo>
                    <a:pt x="69" y="484"/>
                  </a:lnTo>
                  <a:lnTo>
                    <a:pt x="69" y="482"/>
                  </a:lnTo>
                  <a:lnTo>
                    <a:pt x="69" y="480"/>
                  </a:lnTo>
                  <a:lnTo>
                    <a:pt x="69" y="478"/>
                  </a:lnTo>
                  <a:lnTo>
                    <a:pt x="71" y="476"/>
                  </a:lnTo>
                  <a:lnTo>
                    <a:pt x="71" y="474"/>
                  </a:lnTo>
                  <a:lnTo>
                    <a:pt x="75" y="474"/>
                  </a:lnTo>
                  <a:lnTo>
                    <a:pt x="77" y="474"/>
                  </a:lnTo>
                  <a:lnTo>
                    <a:pt x="79" y="476"/>
                  </a:lnTo>
                  <a:lnTo>
                    <a:pt x="81" y="476"/>
                  </a:lnTo>
                  <a:lnTo>
                    <a:pt x="82" y="474"/>
                  </a:lnTo>
                  <a:lnTo>
                    <a:pt x="84" y="476"/>
                  </a:lnTo>
                  <a:lnTo>
                    <a:pt x="86" y="476"/>
                  </a:lnTo>
                  <a:lnTo>
                    <a:pt x="86" y="474"/>
                  </a:lnTo>
                  <a:lnTo>
                    <a:pt x="90" y="476"/>
                  </a:lnTo>
                  <a:lnTo>
                    <a:pt x="94" y="478"/>
                  </a:lnTo>
                  <a:lnTo>
                    <a:pt x="96" y="478"/>
                  </a:lnTo>
                  <a:lnTo>
                    <a:pt x="100" y="480"/>
                  </a:lnTo>
                  <a:lnTo>
                    <a:pt x="102" y="482"/>
                  </a:lnTo>
                  <a:lnTo>
                    <a:pt x="104" y="482"/>
                  </a:lnTo>
                  <a:lnTo>
                    <a:pt x="107" y="482"/>
                  </a:lnTo>
                  <a:lnTo>
                    <a:pt x="109" y="482"/>
                  </a:lnTo>
                  <a:lnTo>
                    <a:pt x="111" y="482"/>
                  </a:lnTo>
                  <a:lnTo>
                    <a:pt x="113" y="482"/>
                  </a:lnTo>
                  <a:lnTo>
                    <a:pt x="115" y="482"/>
                  </a:lnTo>
                  <a:lnTo>
                    <a:pt x="115" y="484"/>
                  </a:lnTo>
                  <a:lnTo>
                    <a:pt x="115" y="482"/>
                  </a:lnTo>
                  <a:lnTo>
                    <a:pt x="117" y="482"/>
                  </a:lnTo>
                  <a:lnTo>
                    <a:pt x="117" y="480"/>
                  </a:lnTo>
                  <a:lnTo>
                    <a:pt x="117" y="478"/>
                  </a:lnTo>
                  <a:lnTo>
                    <a:pt x="117" y="476"/>
                  </a:lnTo>
                  <a:lnTo>
                    <a:pt x="117" y="474"/>
                  </a:lnTo>
                  <a:lnTo>
                    <a:pt x="117" y="476"/>
                  </a:lnTo>
                  <a:lnTo>
                    <a:pt x="119" y="474"/>
                  </a:lnTo>
                  <a:lnTo>
                    <a:pt x="119" y="473"/>
                  </a:lnTo>
                  <a:lnTo>
                    <a:pt x="121" y="473"/>
                  </a:lnTo>
                  <a:lnTo>
                    <a:pt x="123" y="471"/>
                  </a:lnTo>
                  <a:lnTo>
                    <a:pt x="123" y="469"/>
                  </a:lnTo>
                  <a:lnTo>
                    <a:pt x="127" y="467"/>
                  </a:lnTo>
                  <a:lnTo>
                    <a:pt x="129" y="467"/>
                  </a:lnTo>
                  <a:lnTo>
                    <a:pt x="131" y="467"/>
                  </a:lnTo>
                  <a:lnTo>
                    <a:pt x="132" y="465"/>
                  </a:lnTo>
                  <a:lnTo>
                    <a:pt x="132" y="463"/>
                  </a:lnTo>
                  <a:lnTo>
                    <a:pt x="134" y="461"/>
                  </a:lnTo>
                  <a:lnTo>
                    <a:pt x="136" y="459"/>
                  </a:lnTo>
                  <a:lnTo>
                    <a:pt x="138" y="457"/>
                  </a:lnTo>
                  <a:lnTo>
                    <a:pt x="140" y="455"/>
                  </a:lnTo>
                  <a:lnTo>
                    <a:pt x="142" y="453"/>
                  </a:lnTo>
                  <a:lnTo>
                    <a:pt x="146" y="453"/>
                  </a:lnTo>
                  <a:lnTo>
                    <a:pt x="146" y="451"/>
                  </a:lnTo>
                  <a:lnTo>
                    <a:pt x="144" y="451"/>
                  </a:lnTo>
                  <a:lnTo>
                    <a:pt x="142" y="453"/>
                  </a:lnTo>
                  <a:lnTo>
                    <a:pt x="140" y="455"/>
                  </a:lnTo>
                  <a:lnTo>
                    <a:pt x="138" y="455"/>
                  </a:lnTo>
                  <a:lnTo>
                    <a:pt x="136" y="457"/>
                  </a:lnTo>
                  <a:lnTo>
                    <a:pt x="134" y="457"/>
                  </a:lnTo>
                  <a:lnTo>
                    <a:pt x="134" y="459"/>
                  </a:lnTo>
                  <a:lnTo>
                    <a:pt x="132" y="459"/>
                  </a:lnTo>
                  <a:lnTo>
                    <a:pt x="132" y="461"/>
                  </a:lnTo>
                  <a:lnTo>
                    <a:pt x="131" y="461"/>
                  </a:lnTo>
                  <a:lnTo>
                    <a:pt x="125" y="463"/>
                  </a:lnTo>
                  <a:lnTo>
                    <a:pt x="123" y="463"/>
                  </a:lnTo>
                  <a:lnTo>
                    <a:pt x="121" y="463"/>
                  </a:lnTo>
                  <a:lnTo>
                    <a:pt x="121" y="461"/>
                  </a:lnTo>
                  <a:lnTo>
                    <a:pt x="121" y="463"/>
                  </a:lnTo>
                  <a:lnTo>
                    <a:pt x="119" y="463"/>
                  </a:lnTo>
                  <a:lnTo>
                    <a:pt x="117" y="463"/>
                  </a:lnTo>
                  <a:lnTo>
                    <a:pt x="117" y="465"/>
                  </a:lnTo>
                  <a:lnTo>
                    <a:pt x="115" y="465"/>
                  </a:lnTo>
                  <a:lnTo>
                    <a:pt x="115" y="467"/>
                  </a:lnTo>
                  <a:lnTo>
                    <a:pt x="113" y="467"/>
                  </a:lnTo>
                  <a:lnTo>
                    <a:pt x="113" y="469"/>
                  </a:lnTo>
                  <a:lnTo>
                    <a:pt x="111" y="471"/>
                  </a:lnTo>
                  <a:lnTo>
                    <a:pt x="109" y="469"/>
                  </a:lnTo>
                  <a:lnTo>
                    <a:pt x="109" y="471"/>
                  </a:lnTo>
                  <a:lnTo>
                    <a:pt x="106" y="469"/>
                  </a:lnTo>
                  <a:lnTo>
                    <a:pt x="104" y="469"/>
                  </a:lnTo>
                  <a:lnTo>
                    <a:pt x="100" y="469"/>
                  </a:lnTo>
                  <a:lnTo>
                    <a:pt x="98" y="467"/>
                  </a:lnTo>
                  <a:lnTo>
                    <a:pt x="96" y="465"/>
                  </a:lnTo>
                  <a:lnTo>
                    <a:pt x="96" y="463"/>
                  </a:lnTo>
                  <a:lnTo>
                    <a:pt x="94" y="463"/>
                  </a:lnTo>
                  <a:lnTo>
                    <a:pt x="96" y="461"/>
                  </a:lnTo>
                  <a:lnTo>
                    <a:pt x="92" y="461"/>
                  </a:lnTo>
                  <a:lnTo>
                    <a:pt x="92" y="459"/>
                  </a:lnTo>
                  <a:lnTo>
                    <a:pt x="92" y="457"/>
                  </a:lnTo>
                  <a:lnTo>
                    <a:pt x="92" y="455"/>
                  </a:lnTo>
                  <a:lnTo>
                    <a:pt x="90" y="453"/>
                  </a:lnTo>
                  <a:lnTo>
                    <a:pt x="90" y="451"/>
                  </a:lnTo>
                  <a:lnTo>
                    <a:pt x="88" y="451"/>
                  </a:lnTo>
                  <a:lnTo>
                    <a:pt x="86" y="451"/>
                  </a:lnTo>
                  <a:lnTo>
                    <a:pt x="84" y="451"/>
                  </a:lnTo>
                  <a:lnTo>
                    <a:pt x="84" y="453"/>
                  </a:lnTo>
                  <a:lnTo>
                    <a:pt x="82" y="453"/>
                  </a:lnTo>
                  <a:lnTo>
                    <a:pt x="81" y="453"/>
                  </a:lnTo>
                  <a:lnTo>
                    <a:pt x="79" y="451"/>
                  </a:lnTo>
                  <a:lnTo>
                    <a:pt x="77" y="451"/>
                  </a:lnTo>
                  <a:lnTo>
                    <a:pt x="79" y="453"/>
                  </a:lnTo>
                  <a:lnTo>
                    <a:pt x="77" y="453"/>
                  </a:lnTo>
                  <a:lnTo>
                    <a:pt x="75" y="453"/>
                  </a:lnTo>
                  <a:lnTo>
                    <a:pt x="73" y="451"/>
                  </a:lnTo>
                  <a:lnTo>
                    <a:pt x="73" y="449"/>
                  </a:lnTo>
                  <a:lnTo>
                    <a:pt x="73" y="448"/>
                  </a:lnTo>
                  <a:lnTo>
                    <a:pt x="75" y="448"/>
                  </a:lnTo>
                  <a:lnTo>
                    <a:pt x="75" y="446"/>
                  </a:lnTo>
                  <a:lnTo>
                    <a:pt x="75" y="448"/>
                  </a:lnTo>
                  <a:lnTo>
                    <a:pt x="77" y="448"/>
                  </a:lnTo>
                  <a:lnTo>
                    <a:pt x="79" y="448"/>
                  </a:lnTo>
                  <a:lnTo>
                    <a:pt x="81" y="448"/>
                  </a:lnTo>
                  <a:lnTo>
                    <a:pt x="82" y="446"/>
                  </a:lnTo>
                  <a:lnTo>
                    <a:pt x="81" y="446"/>
                  </a:lnTo>
                  <a:lnTo>
                    <a:pt x="79" y="446"/>
                  </a:lnTo>
                  <a:lnTo>
                    <a:pt x="77" y="446"/>
                  </a:lnTo>
                  <a:lnTo>
                    <a:pt x="75" y="444"/>
                  </a:lnTo>
                  <a:lnTo>
                    <a:pt x="73" y="444"/>
                  </a:lnTo>
                  <a:lnTo>
                    <a:pt x="73" y="442"/>
                  </a:lnTo>
                  <a:lnTo>
                    <a:pt x="71" y="440"/>
                  </a:lnTo>
                  <a:lnTo>
                    <a:pt x="73" y="440"/>
                  </a:lnTo>
                  <a:lnTo>
                    <a:pt x="71" y="438"/>
                  </a:lnTo>
                  <a:lnTo>
                    <a:pt x="73" y="436"/>
                  </a:lnTo>
                  <a:lnTo>
                    <a:pt x="71" y="438"/>
                  </a:lnTo>
                  <a:lnTo>
                    <a:pt x="69" y="436"/>
                  </a:lnTo>
                  <a:lnTo>
                    <a:pt x="69" y="438"/>
                  </a:lnTo>
                  <a:lnTo>
                    <a:pt x="69" y="440"/>
                  </a:lnTo>
                  <a:lnTo>
                    <a:pt x="65" y="440"/>
                  </a:lnTo>
                  <a:lnTo>
                    <a:pt x="65" y="438"/>
                  </a:lnTo>
                  <a:lnTo>
                    <a:pt x="61" y="438"/>
                  </a:lnTo>
                  <a:lnTo>
                    <a:pt x="59" y="440"/>
                  </a:lnTo>
                  <a:lnTo>
                    <a:pt x="57" y="442"/>
                  </a:lnTo>
                  <a:lnTo>
                    <a:pt x="56" y="444"/>
                  </a:lnTo>
                  <a:lnTo>
                    <a:pt x="56" y="442"/>
                  </a:lnTo>
                  <a:lnTo>
                    <a:pt x="54" y="442"/>
                  </a:lnTo>
                  <a:lnTo>
                    <a:pt x="50" y="444"/>
                  </a:lnTo>
                  <a:lnTo>
                    <a:pt x="46" y="442"/>
                  </a:lnTo>
                  <a:lnTo>
                    <a:pt x="46" y="440"/>
                  </a:lnTo>
                  <a:lnTo>
                    <a:pt x="44" y="438"/>
                  </a:lnTo>
                  <a:lnTo>
                    <a:pt x="46" y="438"/>
                  </a:lnTo>
                  <a:lnTo>
                    <a:pt x="48" y="438"/>
                  </a:lnTo>
                  <a:lnTo>
                    <a:pt x="50" y="438"/>
                  </a:lnTo>
                  <a:lnTo>
                    <a:pt x="52" y="436"/>
                  </a:lnTo>
                  <a:lnTo>
                    <a:pt x="48" y="438"/>
                  </a:lnTo>
                  <a:lnTo>
                    <a:pt x="46" y="436"/>
                  </a:lnTo>
                  <a:lnTo>
                    <a:pt x="44" y="436"/>
                  </a:lnTo>
                  <a:lnTo>
                    <a:pt x="42" y="436"/>
                  </a:lnTo>
                  <a:lnTo>
                    <a:pt x="42" y="438"/>
                  </a:lnTo>
                  <a:lnTo>
                    <a:pt x="40" y="436"/>
                  </a:lnTo>
                  <a:lnTo>
                    <a:pt x="40" y="434"/>
                  </a:lnTo>
                  <a:lnTo>
                    <a:pt x="40" y="432"/>
                  </a:lnTo>
                  <a:lnTo>
                    <a:pt x="40" y="434"/>
                  </a:lnTo>
                  <a:lnTo>
                    <a:pt x="42" y="432"/>
                  </a:lnTo>
                  <a:lnTo>
                    <a:pt x="44" y="430"/>
                  </a:lnTo>
                  <a:lnTo>
                    <a:pt x="46" y="430"/>
                  </a:lnTo>
                  <a:lnTo>
                    <a:pt x="46" y="428"/>
                  </a:lnTo>
                  <a:lnTo>
                    <a:pt x="46" y="426"/>
                  </a:lnTo>
                  <a:lnTo>
                    <a:pt x="42" y="424"/>
                  </a:lnTo>
                  <a:lnTo>
                    <a:pt x="40" y="424"/>
                  </a:lnTo>
                  <a:lnTo>
                    <a:pt x="38" y="424"/>
                  </a:lnTo>
                  <a:lnTo>
                    <a:pt x="40" y="423"/>
                  </a:lnTo>
                  <a:lnTo>
                    <a:pt x="40" y="421"/>
                  </a:lnTo>
                  <a:lnTo>
                    <a:pt x="42" y="421"/>
                  </a:lnTo>
                  <a:lnTo>
                    <a:pt x="44" y="421"/>
                  </a:lnTo>
                  <a:lnTo>
                    <a:pt x="46" y="421"/>
                  </a:lnTo>
                  <a:lnTo>
                    <a:pt x="46" y="419"/>
                  </a:lnTo>
                  <a:lnTo>
                    <a:pt x="48" y="419"/>
                  </a:lnTo>
                  <a:lnTo>
                    <a:pt x="50" y="417"/>
                  </a:lnTo>
                  <a:lnTo>
                    <a:pt x="52" y="417"/>
                  </a:lnTo>
                  <a:lnTo>
                    <a:pt x="54" y="417"/>
                  </a:lnTo>
                  <a:lnTo>
                    <a:pt x="54" y="419"/>
                  </a:lnTo>
                  <a:lnTo>
                    <a:pt x="56" y="417"/>
                  </a:lnTo>
                  <a:lnTo>
                    <a:pt x="56" y="419"/>
                  </a:lnTo>
                  <a:lnTo>
                    <a:pt x="57" y="419"/>
                  </a:lnTo>
                  <a:lnTo>
                    <a:pt x="57" y="417"/>
                  </a:lnTo>
                  <a:lnTo>
                    <a:pt x="59" y="417"/>
                  </a:lnTo>
                  <a:lnTo>
                    <a:pt x="63" y="413"/>
                  </a:lnTo>
                  <a:lnTo>
                    <a:pt x="65" y="415"/>
                  </a:lnTo>
                  <a:lnTo>
                    <a:pt x="65" y="413"/>
                  </a:lnTo>
                  <a:lnTo>
                    <a:pt x="67" y="413"/>
                  </a:lnTo>
                  <a:lnTo>
                    <a:pt x="69" y="413"/>
                  </a:lnTo>
                  <a:lnTo>
                    <a:pt x="71" y="413"/>
                  </a:lnTo>
                  <a:lnTo>
                    <a:pt x="73" y="411"/>
                  </a:lnTo>
                  <a:lnTo>
                    <a:pt x="75" y="411"/>
                  </a:lnTo>
                  <a:lnTo>
                    <a:pt x="77" y="409"/>
                  </a:lnTo>
                  <a:lnTo>
                    <a:pt x="79" y="409"/>
                  </a:lnTo>
                  <a:lnTo>
                    <a:pt x="81" y="409"/>
                  </a:lnTo>
                  <a:lnTo>
                    <a:pt x="82" y="407"/>
                  </a:lnTo>
                  <a:lnTo>
                    <a:pt x="82" y="409"/>
                  </a:lnTo>
                  <a:lnTo>
                    <a:pt x="84" y="407"/>
                  </a:lnTo>
                  <a:lnTo>
                    <a:pt x="86" y="405"/>
                  </a:lnTo>
                  <a:lnTo>
                    <a:pt x="88" y="403"/>
                  </a:lnTo>
                  <a:lnTo>
                    <a:pt x="90" y="399"/>
                  </a:lnTo>
                  <a:lnTo>
                    <a:pt x="92" y="396"/>
                  </a:lnTo>
                  <a:lnTo>
                    <a:pt x="92" y="394"/>
                  </a:lnTo>
                  <a:lnTo>
                    <a:pt x="94" y="392"/>
                  </a:lnTo>
                  <a:lnTo>
                    <a:pt x="96" y="392"/>
                  </a:lnTo>
                  <a:lnTo>
                    <a:pt x="94" y="390"/>
                  </a:lnTo>
                  <a:lnTo>
                    <a:pt x="92" y="392"/>
                  </a:lnTo>
                  <a:lnTo>
                    <a:pt x="92" y="390"/>
                  </a:lnTo>
                  <a:lnTo>
                    <a:pt x="92" y="388"/>
                  </a:lnTo>
                  <a:lnTo>
                    <a:pt x="92" y="386"/>
                  </a:lnTo>
                  <a:lnTo>
                    <a:pt x="92" y="384"/>
                  </a:lnTo>
                  <a:lnTo>
                    <a:pt x="94" y="382"/>
                  </a:lnTo>
                  <a:lnTo>
                    <a:pt x="96" y="380"/>
                  </a:lnTo>
                  <a:lnTo>
                    <a:pt x="94" y="376"/>
                  </a:lnTo>
                  <a:lnTo>
                    <a:pt x="92" y="373"/>
                  </a:lnTo>
                  <a:lnTo>
                    <a:pt x="94" y="371"/>
                  </a:lnTo>
                  <a:lnTo>
                    <a:pt x="94" y="369"/>
                  </a:lnTo>
                  <a:lnTo>
                    <a:pt x="94" y="367"/>
                  </a:lnTo>
                  <a:lnTo>
                    <a:pt x="96" y="367"/>
                  </a:lnTo>
                  <a:lnTo>
                    <a:pt x="98" y="367"/>
                  </a:lnTo>
                  <a:lnTo>
                    <a:pt x="96" y="365"/>
                  </a:lnTo>
                  <a:lnTo>
                    <a:pt x="94" y="367"/>
                  </a:lnTo>
                  <a:lnTo>
                    <a:pt x="92" y="365"/>
                  </a:lnTo>
                  <a:lnTo>
                    <a:pt x="90" y="365"/>
                  </a:lnTo>
                  <a:lnTo>
                    <a:pt x="88" y="365"/>
                  </a:lnTo>
                  <a:lnTo>
                    <a:pt x="86" y="367"/>
                  </a:lnTo>
                  <a:lnTo>
                    <a:pt x="86" y="365"/>
                  </a:lnTo>
                  <a:lnTo>
                    <a:pt x="84" y="365"/>
                  </a:lnTo>
                  <a:lnTo>
                    <a:pt x="84" y="367"/>
                  </a:lnTo>
                  <a:lnTo>
                    <a:pt x="81" y="367"/>
                  </a:lnTo>
                  <a:lnTo>
                    <a:pt x="81" y="369"/>
                  </a:lnTo>
                  <a:lnTo>
                    <a:pt x="81" y="371"/>
                  </a:lnTo>
                  <a:lnTo>
                    <a:pt x="79" y="371"/>
                  </a:lnTo>
                  <a:lnTo>
                    <a:pt x="79" y="373"/>
                  </a:lnTo>
                  <a:lnTo>
                    <a:pt x="79" y="371"/>
                  </a:lnTo>
                  <a:lnTo>
                    <a:pt x="77" y="369"/>
                  </a:lnTo>
                  <a:lnTo>
                    <a:pt x="75" y="369"/>
                  </a:lnTo>
                  <a:lnTo>
                    <a:pt x="73" y="369"/>
                  </a:lnTo>
                  <a:lnTo>
                    <a:pt x="71" y="371"/>
                  </a:lnTo>
                  <a:lnTo>
                    <a:pt x="71" y="369"/>
                  </a:lnTo>
                  <a:lnTo>
                    <a:pt x="73" y="365"/>
                  </a:lnTo>
                  <a:lnTo>
                    <a:pt x="75" y="365"/>
                  </a:lnTo>
                  <a:lnTo>
                    <a:pt x="75" y="363"/>
                  </a:lnTo>
                  <a:lnTo>
                    <a:pt x="77" y="363"/>
                  </a:lnTo>
                  <a:lnTo>
                    <a:pt x="77" y="361"/>
                  </a:lnTo>
                  <a:lnTo>
                    <a:pt x="79" y="361"/>
                  </a:lnTo>
                  <a:lnTo>
                    <a:pt x="81" y="361"/>
                  </a:lnTo>
                  <a:lnTo>
                    <a:pt x="82" y="359"/>
                  </a:lnTo>
                  <a:lnTo>
                    <a:pt x="84" y="359"/>
                  </a:lnTo>
                  <a:lnTo>
                    <a:pt x="86" y="359"/>
                  </a:lnTo>
                  <a:lnTo>
                    <a:pt x="86" y="357"/>
                  </a:lnTo>
                  <a:lnTo>
                    <a:pt x="88" y="355"/>
                  </a:lnTo>
                  <a:lnTo>
                    <a:pt x="90" y="353"/>
                  </a:lnTo>
                  <a:lnTo>
                    <a:pt x="90" y="351"/>
                  </a:lnTo>
                  <a:lnTo>
                    <a:pt x="90" y="350"/>
                  </a:lnTo>
                  <a:lnTo>
                    <a:pt x="92" y="350"/>
                  </a:lnTo>
                  <a:lnTo>
                    <a:pt x="94" y="348"/>
                  </a:lnTo>
                  <a:lnTo>
                    <a:pt x="96" y="346"/>
                  </a:lnTo>
                  <a:lnTo>
                    <a:pt x="98" y="346"/>
                  </a:lnTo>
                  <a:lnTo>
                    <a:pt x="100" y="346"/>
                  </a:lnTo>
                  <a:lnTo>
                    <a:pt x="102" y="346"/>
                  </a:lnTo>
                  <a:lnTo>
                    <a:pt x="104" y="344"/>
                  </a:lnTo>
                  <a:lnTo>
                    <a:pt x="107" y="344"/>
                  </a:lnTo>
                  <a:lnTo>
                    <a:pt x="109" y="344"/>
                  </a:lnTo>
                  <a:lnTo>
                    <a:pt x="109" y="346"/>
                  </a:lnTo>
                  <a:lnTo>
                    <a:pt x="111" y="346"/>
                  </a:lnTo>
                  <a:lnTo>
                    <a:pt x="111" y="344"/>
                  </a:lnTo>
                  <a:lnTo>
                    <a:pt x="109" y="342"/>
                  </a:lnTo>
                  <a:lnTo>
                    <a:pt x="111" y="342"/>
                  </a:lnTo>
                  <a:lnTo>
                    <a:pt x="113" y="342"/>
                  </a:lnTo>
                  <a:lnTo>
                    <a:pt x="115" y="344"/>
                  </a:lnTo>
                  <a:lnTo>
                    <a:pt x="115" y="346"/>
                  </a:lnTo>
                  <a:lnTo>
                    <a:pt x="117" y="346"/>
                  </a:lnTo>
                  <a:lnTo>
                    <a:pt x="119" y="346"/>
                  </a:lnTo>
                  <a:lnTo>
                    <a:pt x="121" y="346"/>
                  </a:lnTo>
                  <a:lnTo>
                    <a:pt x="123" y="344"/>
                  </a:lnTo>
                  <a:lnTo>
                    <a:pt x="125" y="344"/>
                  </a:lnTo>
                  <a:lnTo>
                    <a:pt x="127" y="344"/>
                  </a:lnTo>
                  <a:lnTo>
                    <a:pt x="129" y="344"/>
                  </a:lnTo>
                  <a:lnTo>
                    <a:pt x="131" y="344"/>
                  </a:lnTo>
                  <a:lnTo>
                    <a:pt x="131" y="346"/>
                  </a:lnTo>
                  <a:lnTo>
                    <a:pt x="134" y="350"/>
                  </a:lnTo>
                  <a:lnTo>
                    <a:pt x="134" y="351"/>
                  </a:lnTo>
                  <a:lnTo>
                    <a:pt x="136" y="353"/>
                  </a:lnTo>
                  <a:lnTo>
                    <a:pt x="138" y="351"/>
                  </a:lnTo>
                  <a:lnTo>
                    <a:pt x="138" y="350"/>
                  </a:lnTo>
                  <a:lnTo>
                    <a:pt x="136" y="348"/>
                  </a:lnTo>
                  <a:lnTo>
                    <a:pt x="134" y="344"/>
                  </a:lnTo>
                  <a:lnTo>
                    <a:pt x="134" y="342"/>
                  </a:lnTo>
                  <a:lnTo>
                    <a:pt x="136" y="342"/>
                  </a:lnTo>
                  <a:lnTo>
                    <a:pt x="138" y="342"/>
                  </a:lnTo>
                  <a:lnTo>
                    <a:pt x="140" y="340"/>
                  </a:lnTo>
                  <a:lnTo>
                    <a:pt x="142" y="342"/>
                  </a:lnTo>
                  <a:lnTo>
                    <a:pt x="142" y="344"/>
                  </a:lnTo>
                  <a:lnTo>
                    <a:pt x="142" y="348"/>
                  </a:lnTo>
                  <a:lnTo>
                    <a:pt x="144" y="350"/>
                  </a:lnTo>
                  <a:lnTo>
                    <a:pt x="146" y="350"/>
                  </a:lnTo>
                  <a:lnTo>
                    <a:pt x="146" y="351"/>
                  </a:lnTo>
                  <a:lnTo>
                    <a:pt x="148" y="351"/>
                  </a:lnTo>
                  <a:lnTo>
                    <a:pt x="150" y="350"/>
                  </a:lnTo>
                  <a:lnTo>
                    <a:pt x="152" y="348"/>
                  </a:lnTo>
                  <a:lnTo>
                    <a:pt x="150" y="348"/>
                  </a:lnTo>
                  <a:lnTo>
                    <a:pt x="150" y="350"/>
                  </a:lnTo>
                  <a:lnTo>
                    <a:pt x="148" y="350"/>
                  </a:lnTo>
                  <a:lnTo>
                    <a:pt x="146" y="350"/>
                  </a:lnTo>
                  <a:lnTo>
                    <a:pt x="144" y="346"/>
                  </a:lnTo>
                  <a:lnTo>
                    <a:pt x="142" y="346"/>
                  </a:lnTo>
                  <a:lnTo>
                    <a:pt x="142" y="344"/>
                  </a:lnTo>
                  <a:lnTo>
                    <a:pt x="142" y="342"/>
                  </a:lnTo>
                  <a:lnTo>
                    <a:pt x="142" y="340"/>
                  </a:lnTo>
                  <a:lnTo>
                    <a:pt x="142" y="338"/>
                  </a:lnTo>
                  <a:lnTo>
                    <a:pt x="140" y="336"/>
                  </a:lnTo>
                  <a:lnTo>
                    <a:pt x="140" y="334"/>
                  </a:lnTo>
                  <a:lnTo>
                    <a:pt x="140" y="332"/>
                  </a:lnTo>
                  <a:lnTo>
                    <a:pt x="142" y="328"/>
                  </a:lnTo>
                  <a:lnTo>
                    <a:pt x="144" y="326"/>
                  </a:lnTo>
                  <a:lnTo>
                    <a:pt x="146" y="325"/>
                  </a:lnTo>
                  <a:lnTo>
                    <a:pt x="148" y="325"/>
                  </a:lnTo>
                  <a:lnTo>
                    <a:pt x="150" y="323"/>
                  </a:lnTo>
                  <a:lnTo>
                    <a:pt x="152" y="323"/>
                  </a:lnTo>
                  <a:lnTo>
                    <a:pt x="150" y="323"/>
                  </a:lnTo>
                  <a:lnTo>
                    <a:pt x="146" y="323"/>
                  </a:lnTo>
                  <a:lnTo>
                    <a:pt x="146" y="321"/>
                  </a:lnTo>
                  <a:lnTo>
                    <a:pt x="144" y="321"/>
                  </a:lnTo>
                  <a:lnTo>
                    <a:pt x="144" y="319"/>
                  </a:lnTo>
                  <a:lnTo>
                    <a:pt x="146" y="315"/>
                  </a:lnTo>
                  <a:lnTo>
                    <a:pt x="146" y="311"/>
                  </a:lnTo>
                  <a:lnTo>
                    <a:pt x="146" y="309"/>
                  </a:lnTo>
                  <a:lnTo>
                    <a:pt x="148" y="309"/>
                  </a:lnTo>
                  <a:lnTo>
                    <a:pt x="148" y="311"/>
                  </a:lnTo>
                  <a:lnTo>
                    <a:pt x="148" y="309"/>
                  </a:lnTo>
                  <a:lnTo>
                    <a:pt x="150" y="309"/>
                  </a:lnTo>
                  <a:lnTo>
                    <a:pt x="152" y="309"/>
                  </a:lnTo>
                  <a:lnTo>
                    <a:pt x="154" y="307"/>
                  </a:lnTo>
                  <a:lnTo>
                    <a:pt x="154" y="305"/>
                  </a:lnTo>
                  <a:lnTo>
                    <a:pt x="152" y="305"/>
                  </a:lnTo>
                  <a:lnTo>
                    <a:pt x="152" y="303"/>
                  </a:lnTo>
                  <a:lnTo>
                    <a:pt x="154" y="302"/>
                  </a:lnTo>
                  <a:lnTo>
                    <a:pt x="156" y="300"/>
                  </a:lnTo>
                  <a:lnTo>
                    <a:pt x="157" y="298"/>
                  </a:lnTo>
                  <a:lnTo>
                    <a:pt x="156" y="298"/>
                  </a:lnTo>
                  <a:lnTo>
                    <a:pt x="157" y="296"/>
                  </a:lnTo>
                  <a:lnTo>
                    <a:pt x="156" y="294"/>
                  </a:lnTo>
                  <a:lnTo>
                    <a:pt x="157" y="292"/>
                  </a:lnTo>
                  <a:lnTo>
                    <a:pt x="156" y="294"/>
                  </a:lnTo>
                  <a:lnTo>
                    <a:pt x="154" y="296"/>
                  </a:lnTo>
                  <a:lnTo>
                    <a:pt x="152" y="296"/>
                  </a:lnTo>
                  <a:lnTo>
                    <a:pt x="150" y="296"/>
                  </a:lnTo>
                  <a:lnTo>
                    <a:pt x="152" y="294"/>
                  </a:lnTo>
                  <a:lnTo>
                    <a:pt x="150" y="292"/>
                  </a:lnTo>
                  <a:lnTo>
                    <a:pt x="148" y="294"/>
                  </a:lnTo>
                  <a:lnTo>
                    <a:pt x="148" y="296"/>
                  </a:lnTo>
                  <a:lnTo>
                    <a:pt x="146" y="298"/>
                  </a:lnTo>
                  <a:lnTo>
                    <a:pt x="144" y="298"/>
                  </a:lnTo>
                  <a:lnTo>
                    <a:pt x="144" y="300"/>
                  </a:lnTo>
                  <a:lnTo>
                    <a:pt x="142" y="298"/>
                  </a:lnTo>
                  <a:lnTo>
                    <a:pt x="142" y="296"/>
                  </a:lnTo>
                  <a:lnTo>
                    <a:pt x="142" y="294"/>
                  </a:lnTo>
                  <a:lnTo>
                    <a:pt x="142" y="292"/>
                  </a:lnTo>
                  <a:lnTo>
                    <a:pt x="144" y="290"/>
                  </a:lnTo>
                  <a:lnTo>
                    <a:pt x="144" y="288"/>
                  </a:lnTo>
                  <a:lnTo>
                    <a:pt x="142" y="290"/>
                  </a:lnTo>
                  <a:lnTo>
                    <a:pt x="142" y="292"/>
                  </a:lnTo>
                  <a:lnTo>
                    <a:pt x="142" y="290"/>
                  </a:lnTo>
                  <a:lnTo>
                    <a:pt x="140" y="290"/>
                  </a:lnTo>
                  <a:lnTo>
                    <a:pt x="138" y="288"/>
                  </a:lnTo>
                  <a:lnTo>
                    <a:pt x="138" y="286"/>
                  </a:lnTo>
                  <a:lnTo>
                    <a:pt x="138" y="284"/>
                  </a:lnTo>
                  <a:lnTo>
                    <a:pt x="138" y="282"/>
                  </a:lnTo>
                  <a:lnTo>
                    <a:pt x="138" y="280"/>
                  </a:lnTo>
                  <a:lnTo>
                    <a:pt x="136" y="277"/>
                  </a:lnTo>
                  <a:lnTo>
                    <a:pt x="134" y="277"/>
                  </a:lnTo>
                  <a:lnTo>
                    <a:pt x="134" y="275"/>
                  </a:lnTo>
                  <a:lnTo>
                    <a:pt x="134" y="271"/>
                  </a:lnTo>
                  <a:lnTo>
                    <a:pt x="132" y="271"/>
                  </a:lnTo>
                  <a:lnTo>
                    <a:pt x="132" y="269"/>
                  </a:lnTo>
                  <a:lnTo>
                    <a:pt x="132" y="267"/>
                  </a:lnTo>
                  <a:lnTo>
                    <a:pt x="134" y="265"/>
                  </a:lnTo>
                  <a:lnTo>
                    <a:pt x="134" y="263"/>
                  </a:lnTo>
                  <a:lnTo>
                    <a:pt x="136" y="261"/>
                  </a:lnTo>
                  <a:lnTo>
                    <a:pt x="138" y="257"/>
                  </a:lnTo>
                  <a:lnTo>
                    <a:pt x="140" y="255"/>
                  </a:lnTo>
                  <a:lnTo>
                    <a:pt x="142" y="253"/>
                  </a:lnTo>
                  <a:lnTo>
                    <a:pt x="142" y="252"/>
                  </a:lnTo>
                  <a:lnTo>
                    <a:pt x="144" y="250"/>
                  </a:lnTo>
                  <a:lnTo>
                    <a:pt x="144" y="248"/>
                  </a:lnTo>
                  <a:lnTo>
                    <a:pt x="146" y="246"/>
                  </a:lnTo>
                  <a:lnTo>
                    <a:pt x="148" y="246"/>
                  </a:lnTo>
                  <a:lnTo>
                    <a:pt x="148" y="248"/>
                  </a:lnTo>
                  <a:lnTo>
                    <a:pt x="148" y="246"/>
                  </a:lnTo>
                  <a:lnTo>
                    <a:pt x="150" y="246"/>
                  </a:lnTo>
                  <a:lnTo>
                    <a:pt x="148" y="246"/>
                  </a:lnTo>
                  <a:lnTo>
                    <a:pt x="150" y="244"/>
                  </a:lnTo>
                  <a:lnTo>
                    <a:pt x="152" y="242"/>
                  </a:lnTo>
                  <a:lnTo>
                    <a:pt x="152" y="244"/>
                  </a:lnTo>
                  <a:lnTo>
                    <a:pt x="154" y="244"/>
                  </a:lnTo>
                  <a:lnTo>
                    <a:pt x="157" y="244"/>
                  </a:lnTo>
                  <a:lnTo>
                    <a:pt x="156" y="244"/>
                  </a:lnTo>
                  <a:lnTo>
                    <a:pt x="157" y="242"/>
                  </a:lnTo>
                  <a:lnTo>
                    <a:pt x="159" y="238"/>
                  </a:lnTo>
                  <a:lnTo>
                    <a:pt x="161" y="238"/>
                  </a:lnTo>
                  <a:lnTo>
                    <a:pt x="165" y="236"/>
                  </a:lnTo>
                  <a:lnTo>
                    <a:pt x="167" y="236"/>
                  </a:lnTo>
                  <a:lnTo>
                    <a:pt x="167" y="234"/>
                  </a:lnTo>
                  <a:lnTo>
                    <a:pt x="169" y="234"/>
                  </a:lnTo>
                  <a:lnTo>
                    <a:pt x="171" y="232"/>
                  </a:lnTo>
                  <a:lnTo>
                    <a:pt x="173" y="230"/>
                  </a:lnTo>
                  <a:lnTo>
                    <a:pt x="173" y="228"/>
                  </a:lnTo>
                  <a:lnTo>
                    <a:pt x="173" y="230"/>
                  </a:lnTo>
                  <a:lnTo>
                    <a:pt x="175" y="228"/>
                  </a:lnTo>
                  <a:lnTo>
                    <a:pt x="175" y="227"/>
                  </a:lnTo>
                  <a:lnTo>
                    <a:pt x="177" y="225"/>
                  </a:lnTo>
                  <a:lnTo>
                    <a:pt x="179" y="225"/>
                  </a:lnTo>
                  <a:lnTo>
                    <a:pt x="180" y="223"/>
                  </a:lnTo>
                  <a:lnTo>
                    <a:pt x="182" y="223"/>
                  </a:lnTo>
                  <a:lnTo>
                    <a:pt x="184" y="223"/>
                  </a:lnTo>
                  <a:lnTo>
                    <a:pt x="186" y="221"/>
                  </a:lnTo>
                  <a:lnTo>
                    <a:pt x="186" y="219"/>
                  </a:lnTo>
                  <a:lnTo>
                    <a:pt x="188" y="219"/>
                  </a:lnTo>
                  <a:lnTo>
                    <a:pt x="190" y="219"/>
                  </a:lnTo>
                  <a:lnTo>
                    <a:pt x="192" y="217"/>
                  </a:lnTo>
                  <a:lnTo>
                    <a:pt x="192" y="213"/>
                  </a:lnTo>
                  <a:lnTo>
                    <a:pt x="192" y="211"/>
                  </a:lnTo>
                  <a:lnTo>
                    <a:pt x="192" y="213"/>
                  </a:lnTo>
                  <a:lnTo>
                    <a:pt x="192" y="217"/>
                  </a:lnTo>
                  <a:lnTo>
                    <a:pt x="190" y="219"/>
                  </a:lnTo>
                  <a:lnTo>
                    <a:pt x="188" y="219"/>
                  </a:lnTo>
                  <a:lnTo>
                    <a:pt x="186" y="219"/>
                  </a:lnTo>
                  <a:lnTo>
                    <a:pt x="186" y="221"/>
                  </a:lnTo>
                  <a:lnTo>
                    <a:pt x="184" y="223"/>
                  </a:lnTo>
                  <a:lnTo>
                    <a:pt x="182" y="223"/>
                  </a:lnTo>
                  <a:lnTo>
                    <a:pt x="180" y="223"/>
                  </a:lnTo>
                  <a:lnTo>
                    <a:pt x="179" y="225"/>
                  </a:lnTo>
                  <a:lnTo>
                    <a:pt x="177" y="225"/>
                  </a:lnTo>
                  <a:lnTo>
                    <a:pt x="175" y="227"/>
                  </a:lnTo>
                  <a:lnTo>
                    <a:pt x="175" y="228"/>
                  </a:lnTo>
                  <a:lnTo>
                    <a:pt x="173" y="230"/>
                  </a:lnTo>
                  <a:lnTo>
                    <a:pt x="173" y="228"/>
                  </a:lnTo>
                  <a:lnTo>
                    <a:pt x="173" y="230"/>
                  </a:lnTo>
                  <a:lnTo>
                    <a:pt x="171" y="232"/>
                  </a:lnTo>
                  <a:lnTo>
                    <a:pt x="169" y="234"/>
                  </a:lnTo>
                  <a:lnTo>
                    <a:pt x="167" y="234"/>
                  </a:lnTo>
                  <a:lnTo>
                    <a:pt x="167" y="236"/>
                  </a:lnTo>
                  <a:lnTo>
                    <a:pt x="165" y="236"/>
                  </a:lnTo>
                  <a:lnTo>
                    <a:pt x="161" y="238"/>
                  </a:lnTo>
                  <a:lnTo>
                    <a:pt x="159" y="238"/>
                  </a:lnTo>
                  <a:lnTo>
                    <a:pt x="157" y="242"/>
                  </a:lnTo>
                  <a:lnTo>
                    <a:pt x="154" y="242"/>
                  </a:lnTo>
                  <a:lnTo>
                    <a:pt x="152" y="242"/>
                  </a:lnTo>
                  <a:lnTo>
                    <a:pt x="150" y="242"/>
                  </a:lnTo>
                  <a:lnTo>
                    <a:pt x="148" y="242"/>
                  </a:lnTo>
                  <a:lnTo>
                    <a:pt x="146" y="240"/>
                  </a:lnTo>
                  <a:lnTo>
                    <a:pt x="144" y="240"/>
                  </a:lnTo>
                  <a:lnTo>
                    <a:pt x="140" y="240"/>
                  </a:lnTo>
                  <a:lnTo>
                    <a:pt x="140" y="238"/>
                  </a:lnTo>
                  <a:lnTo>
                    <a:pt x="138" y="246"/>
                  </a:lnTo>
                  <a:lnTo>
                    <a:pt x="134" y="246"/>
                  </a:lnTo>
                  <a:lnTo>
                    <a:pt x="134" y="244"/>
                  </a:lnTo>
                  <a:lnTo>
                    <a:pt x="131" y="246"/>
                  </a:lnTo>
                  <a:lnTo>
                    <a:pt x="131" y="244"/>
                  </a:lnTo>
                  <a:lnTo>
                    <a:pt x="131" y="246"/>
                  </a:lnTo>
                  <a:lnTo>
                    <a:pt x="129" y="246"/>
                  </a:lnTo>
                  <a:lnTo>
                    <a:pt x="129" y="248"/>
                  </a:lnTo>
                  <a:lnTo>
                    <a:pt x="123" y="250"/>
                  </a:lnTo>
                  <a:lnTo>
                    <a:pt x="121" y="250"/>
                  </a:lnTo>
                  <a:lnTo>
                    <a:pt x="121" y="248"/>
                  </a:lnTo>
                  <a:lnTo>
                    <a:pt x="119" y="250"/>
                  </a:lnTo>
                  <a:lnTo>
                    <a:pt x="117" y="248"/>
                  </a:lnTo>
                  <a:lnTo>
                    <a:pt x="115" y="244"/>
                  </a:lnTo>
                  <a:lnTo>
                    <a:pt x="113" y="244"/>
                  </a:lnTo>
                  <a:lnTo>
                    <a:pt x="111" y="242"/>
                  </a:lnTo>
                  <a:lnTo>
                    <a:pt x="111" y="240"/>
                  </a:lnTo>
                  <a:lnTo>
                    <a:pt x="109" y="240"/>
                  </a:lnTo>
                  <a:lnTo>
                    <a:pt x="109" y="244"/>
                  </a:lnTo>
                  <a:lnTo>
                    <a:pt x="111" y="246"/>
                  </a:lnTo>
                  <a:lnTo>
                    <a:pt x="109" y="252"/>
                  </a:lnTo>
                  <a:lnTo>
                    <a:pt x="107" y="253"/>
                  </a:lnTo>
                  <a:lnTo>
                    <a:pt x="102" y="248"/>
                  </a:lnTo>
                  <a:lnTo>
                    <a:pt x="102" y="246"/>
                  </a:lnTo>
                  <a:lnTo>
                    <a:pt x="100" y="244"/>
                  </a:lnTo>
                  <a:lnTo>
                    <a:pt x="100" y="242"/>
                  </a:lnTo>
                  <a:lnTo>
                    <a:pt x="96" y="240"/>
                  </a:lnTo>
                  <a:lnTo>
                    <a:pt x="96" y="238"/>
                  </a:lnTo>
                  <a:lnTo>
                    <a:pt x="90" y="240"/>
                  </a:lnTo>
                  <a:lnTo>
                    <a:pt x="90" y="242"/>
                  </a:lnTo>
                  <a:lnTo>
                    <a:pt x="92" y="250"/>
                  </a:lnTo>
                  <a:lnTo>
                    <a:pt x="90" y="252"/>
                  </a:lnTo>
                  <a:lnTo>
                    <a:pt x="92" y="253"/>
                  </a:lnTo>
                  <a:lnTo>
                    <a:pt x="90" y="252"/>
                  </a:lnTo>
                  <a:lnTo>
                    <a:pt x="88" y="250"/>
                  </a:lnTo>
                  <a:lnTo>
                    <a:pt x="88" y="248"/>
                  </a:lnTo>
                  <a:lnTo>
                    <a:pt x="88" y="242"/>
                  </a:lnTo>
                  <a:lnTo>
                    <a:pt x="84" y="236"/>
                  </a:lnTo>
                  <a:lnTo>
                    <a:pt x="84" y="234"/>
                  </a:lnTo>
                  <a:lnTo>
                    <a:pt x="82" y="232"/>
                  </a:lnTo>
                  <a:lnTo>
                    <a:pt x="84" y="227"/>
                  </a:lnTo>
                  <a:lnTo>
                    <a:pt x="86" y="227"/>
                  </a:lnTo>
                  <a:lnTo>
                    <a:pt x="88" y="230"/>
                  </a:lnTo>
                  <a:lnTo>
                    <a:pt x="86" y="232"/>
                  </a:lnTo>
                  <a:lnTo>
                    <a:pt x="88" y="234"/>
                  </a:lnTo>
                  <a:lnTo>
                    <a:pt x="90" y="232"/>
                  </a:lnTo>
                  <a:lnTo>
                    <a:pt x="92" y="219"/>
                  </a:lnTo>
                  <a:lnTo>
                    <a:pt x="94" y="217"/>
                  </a:lnTo>
                  <a:lnTo>
                    <a:pt x="98" y="213"/>
                  </a:lnTo>
                  <a:lnTo>
                    <a:pt x="100" y="209"/>
                  </a:lnTo>
                  <a:lnTo>
                    <a:pt x="100" y="207"/>
                  </a:lnTo>
                  <a:lnTo>
                    <a:pt x="102" y="205"/>
                  </a:lnTo>
                  <a:lnTo>
                    <a:pt x="104" y="204"/>
                  </a:lnTo>
                  <a:lnTo>
                    <a:pt x="104" y="202"/>
                  </a:lnTo>
                  <a:lnTo>
                    <a:pt x="107" y="202"/>
                  </a:lnTo>
                  <a:lnTo>
                    <a:pt x="109" y="200"/>
                  </a:lnTo>
                  <a:lnTo>
                    <a:pt x="109" y="198"/>
                  </a:lnTo>
                  <a:lnTo>
                    <a:pt x="107" y="196"/>
                  </a:lnTo>
                  <a:lnTo>
                    <a:pt x="109" y="194"/>
                  </a:lnTo>
                  <a:lnTo>
                    <a:pt x="107" y="190"/>
                  </a:lnTo>
                  <a:lnTo>
                    <a:pt x="106" y="188"/>
                  </a:lnTo>
                  <a:lnTo>
                    <a:pt x="104" y="188"/>
                  </a:lnTo>
                  <a:lnTo>
                    <a:pt x="104" y="184"/>
                  </a:lnTo>
                  <a:lnTo>
                    <a:pt x="102" y="184"/>
                  </a:lnTo>
                  <a:lnTo>
                    <a:pt x="104" y="182"/>
                  </a:lnTo>
                  <a:lnTo>
                    <a:pt x="106" y="182"/>
                  </a:lnTo>
                  <a:lnTo>
                    <a:pt x="106" y="179"/>
                  </a:lnTo>
                  <a:lnTo>
                    <a:pt x="106" y="177"/>
                  </a:lnTo>
                  <a:lnTo>
                    <a:pt x="106" y="173"/>
                  </a:lnTo>
                  <a:lnTo>
                    <a:pt x="107" y="169"/>
                  </a:lnTo>
                  <a:lnTo>
                    <a:pt x="109" y="169"/>
                  </a:lnTo>
                  <a:lnTo>
                    <a:pt x="113" y="171"/>
                  </a:lnTo>
                  <a:lnTo>
                    <a:pt x="119" y="173"/>
                  </a:lnTo>
                  <a:lnTo>
                    <a:pt x="115" y="171"/>
                  </a:lnTo>
                  <a:lnTo>
                    <a:pt x="111" y="165"/>
                  </a:lnTo>
                  <a:lnTo>
                    <a:pt x="109" y="163"/>
                  </a:lnTo>
                  <a:lnTo>
                    <a:pt x="111" y="167"/>
                  </a:lnTo>
                  <a:lnTo>
                    <a:pt x="107" y="167"/>
                  </a:lnTo>
                  <a:lnTo>
                    <a:pt x="107" y="161"/>
                  </a:lnTo>
                  <a:lnTo>
                    <a:pt x="111" y="155"/>
                  </a:lnTo>
                  <a:lnTo>
                    <a:pt x="107" y="161"/>
                  </a:lnTo>
                  <a:lnTo>
                    <a:pt x="107" y="165"/>
                  </a:lnTo>
                  <a:lnTo>
                    <a:pt x="106" y="171"/>
                  </a:lnTo>
                  <a:lnTo>
                    <a:pt x="104" y="173"/>
                  </a:lnTo>
                  <a:lnTo>
                    <a:pt x="102" y="173"/>
                  </a:lnTo>
                  <a:lnTo>
                    <a:pt x="100" y="173"/>
                  </a:lnTo>
                  <a:lnTo>
                    <a:pt x="100" y="169"/>
                  </a:lnTo>
                  <a:lnTo>
                    <a:pt x="100" y="167"/>
                  </a:lnTo>
                  <a:lnTo>
                    <a:pt x="100" y="169"/>
                  </a:lnTo>
                  <a:lnTo>
                    <a:pt x="96" y="167"/>
                  </a:lnTo>
                  <a:lnTo>
                    <a:pt x="94" y="167"/>
                  </a:lnTo>
                  <a:lnTo>
                    <a:pt x="94" y="169"/>
                  </a:lnTo>
                  <a:lnTo>
                    <a:pt x="94" y="173"/>
                  </a:lnTo>
                  <a:lnTo>
                    <a:pt x="90" y="171"/>
                  </a:lnTo>
                  <a:lnTo>
                    <a:pt x="90" y="169"/>
                  </a:lnTo>
                  <a:lnTo>
                    <a:pt x="92" y="163"/>
                  </a:lnTo>
                  <a:lnTo>
                    <a:pt x="98" y="155"/>
                  </a:lnTo>
                  <a:lnTo>
                    <a:pt x="94" y="159"/>
                  </a:lnTo>
                  <a:lnTo>
                    <a:pt x="90" y="161"/>
                  </a:lnTo>
                  <a:lnTo>
                    <a:pt x="90" y="159"/>
                  </a:lnTo>
                  <a:lnTo>
                    <a:pt x="88" y="163"/>
                  </a:lnTo>
                  <a:lnTo>
                    <a:pt x="88" y="169"/>
                  </a:lnTo>
                  <a:lnTo>
                    <a:pt x="90" y="175"/>
                  </a:lnTo>
                  <a:lnTo>
                    <a:pt x="90" y="177"/>
                  </a:lnTo>
                  <a:lnTo>
                    <a:pt x="84" y="179"/>
                  </a:lnTo>
                  <a:lnTo>
                    <a:pt x="82" y="182"/>
                  </a:lnTo>
                  <a:lnTo>
                    <a:pt x="82" y="188"/>
                  </a:lnTo>
                  <a:lnTo>
                    <a:pt x="81" y="188"/>
                  </a:lnTo>
                  <a:lnTo>
                    <a:pt x="77" y="198"/>
                  </a:lnTo>
                  <a:lnTo>
                    <a:pt x="77" y="202"/>
                  </a:lnTo>
                  <a:lnTo>
                    <a:pt x="75" y="204"/>
                  </a:lnTo>
                  <a:lnTo>
                    <a:pt x="71" y="205"/>
                  </a:lnTo>
                  <a:lnTo>
                    <a:pt x="67" y="202"/>
                  </a:lnTo>
                  <a:lnTo>
                    <a:pt x="69" y="198"/>
                  </a:lnTo>
                  <a:lnTo>
                    <a:pt x="69" y="196"/>
                  </a:lnTo>
                  <a:lnTo>
                    <a:pt x="71" y="194"/>
                  </a:lnTo>
                  <a:lnTo>
                    <a:pt x="73" y="186"/>
                  </a:lnTo>
                  <a:lnTo>
                    <a:pt x="75" y="186"/>
                  </a:lnTo>
                  <a:lnTo>
                    <a:pt x="75" y="182"/>
                  </a:lnTo>
                  <a:lnTo>
                    <a:pt x="77" y="180"/>
                  </a:lnTo>
                  <a:lnTo>
                    <a:pt x="81" y="175"/>
                  </a:lnTo>
                  <a:lnTo>
                    <a:pt x="84" y="171"/>
                  </a:lnTo>
                  <a:lnTo>
                    <a:pt x="79" y="175"/>
                  </a:lnTo>
                  <a:lnTo>
                    <a:pt x="79" y="173"/>
                  </a:lnTo>
                  <a:lnTo>
                    <a:pt x="81" y="167"/>
                  </a:lnTo>
                  <a:lnTo>
                    <a:pt x="82" y="165"/>
                  </a:lnTo>
                  <a:lnTo>
                    <a:pt x="79" y="167"/>
                  </a:lnTo>
                  <a:lnTo>
                    <a:pt x="79" y="165"/>
                  </a:lnTo>
                  <a:lnTo>
                    <a:pt x="79" y="163"/>
                  </a:lnTo>
                  <a:lnTo>
                    <a:pt x="82" y="157"/>
                  </a:lnTo>
                  <a:lnTo>
                    <a:pt x="84" y="155"/>
                  </a:lnTo>
                  <a:lnTo>
                    <a:pt x="86" y="155"/>
                  </a:lnTo>
                  <a:lnTo>
                    <a:pt x="86" y="154"/>
                  </a:lnTo>
                  <a:lnTo>
                    <a:pt x="88" y="152"/>
                  </a:lnTo>
                  <a:lnTo>
                    <a:pt x="84" y="154"/>
                  </a:lnTo>
                  <a:lnTo>
                    <a:pt x="86" y="150"/>
                  </a:lnTo>
                  <a:lnTo>
                    <a:pt x="88" y="148"/>
                  </a:lnTo>
                  <a:lnTo>
                    <a:pt x="88" y="146"/>
                  </a:lnTo>
                  <a:lnTo>
                    <a:pt x="90" y="144"/>
                  </a:lnTo>
                  <a:lnTo>
                    <a:pt x="86" y="146"/>
                  </a:lnTo>
                  <a:lnTo>
                    <a:pt x="84" y="140"/>
                  </a:lnTo>
                  <a:lnTo>
                    <a:pt x="86" y="140"/>
                  </a:lnTo>
                  <a:lnTo>
                    <a:pt x="90" y="138"/>
                  </a:lnTo>
                  <a:lnTo>
                    <a:pt x="92" y="136"/>
                  </a:lnTo>
                  <a:lnTo>
                    <a:pt x="92" y="134"/>
                  </a:lnTo>
                  <a:lnTo>
                    <a:pt x="96" y="132"/>
                  </a:lnTo>
                  <a:lnTo>
                    <a:pt x="96" y="130"/>
                  </a:lnTo>
                  <a:lnTo>
                    <a:pt x="94" y="130"/>
                  </a:lnTo>
                  <a:lnTo>
                    <a:pt x="96" y="129"/>
                  </a:lnTo>
                  <a:lnTo>
                    <a:pt x="98" y="125"/>
                  </a:lnTo>
                  <a:lnTo>
                    <a:pt x="102" y="123"/>
                  </a:lnTo>
                  <a:lnTo>
                    <a:pt x="102" y="121"/>
                  </a:lnTo>
                  <a:lnTo>
                    <a:pt x="109" y="119"/>
                  </a:lnTo>
                  <a:lnTo>
                    <a:pt x="106" y="119"/>
                  </a:lnTo>
                  <a:lnTo>
                    <a:pt x="107" y="115"/>
                  </a:lnTo>
                  <a:lnTo>
                    <a:pt x="98" y="121"/>
                  </a:lnTo>
                  <a:lnTo>
                    <a:pt x="92" y="127"/>
                  </a:lnTo>
                  <a:lnTo>
                    <a:pt x="86" y="129"/>
                  </a:lnTo>
                  <a:lnTo>
                    <a:pt x="81" y="123"/>
                  </a:lnTo>
                  <a:lnTo>
                    <a:pt x="79" y="117"/>
                  </a:lnTo>
                  <a:lnTo>
                    <a:pt x="82" y="117"/>
                  </a:lnTo>
                  <a:lnTo>
                    <a:pt x="84" y="119"/>
                  </a:lnTo>
                  <a:lnTo>
                    <a:pt x="82" y="117"/>
                  </a:lnTo>
                  <a:lnTo>
                    <a:pt x="88" y="115"/>
                  </a:lnTo>
                  <a:lnTo>
                    <a:pt x="73" y="113"/>
                  </a:lnTo>
                  <a:lnTo>
                    <a:pt x="73" y="111"/>
                  </a:lnTo>
                  <a:lnTo>
                    <a:pt x="82" y="107"/>
                  </a:lnTo>
                  <a:lnTo>
                    <a:pt x="82" y="111"/>
                  </a:lnTo>
                  <a:lnTo>
                    <a:pt x="84" y="109"/>
                  </a:lnTo>
                  <a:lnTo>
                    <a:pt x="86" y="109"/>
                  </a:lnTo>
                  <a:lnTo>
                    <a:pt x="86" y="106"/>
                  </a:lnTo>
                  <a:lnTo>
                    <a:pt x="90" y="107"/>
                  </a:lnTo>
                  <a:lnTo>
                    <a:pt x="88" y="106"/>
                  </a:lnTo>
                  <a:lnTo>
                    <a:pt x="90" y="104"/>
                  </a:lnTo>
                  <a:lnTo>
                    <a:pt x="84" y="102"/>
                  </a:lnTo>
                  <a:lnTo>
                    <a:pt x="86" y="102"/>
                  </a:lnTo>
                  <a:lnTo>
                    <a:pt x="88" y="96"/>
                  </a:lnTo>
                  <a:lnTo>
                    <a:pt x="96" y="100"/>
                  </a:lnTo>
                  <a:lnTo>
                    <a:pt x="92" y="92"/>
                  </a:lnTo>
                  <a:lnTo>
                    <a:pt x="94" y="90"/>
                  </a:lnTo>
                  <a:lnTo>
                    <a:pt x="102" y="92"/>
                  </a:lnTo>
                  <a:lnTo>
                    <a:pt x="96" y="88"/>
                  </a:lnTo>
                  <a:lnTo>
                    <a:pt x="96" y="86"/>
                  </a:lnTo>
                  <a:lnTo>
                    <a:pt x="98" y="84"/>
                  </a:lnTo>
                  <a:lnTo>
                    <a:pt x="98" y="82"/>
                  </a:lnTo>
                  <a:lnTo>
                    <a:pt x="104" y="81"/>
                  </a:lnTo>
                  <a:lnTo>
                    <a:pt x="96" y="79"/>
                  </a:lnTo>
                  <a:lnTo>
                    <a:pt x="102" y="75"/>
                  </a:lnTo>
                  <a:lnTo>
                    <a:pt x="100" y="75"/>
                  </a:lnTo>
                  <a:lnTo>
                    <a:pt x="102" y="73"/>
                  </a:lnTo>
                  <a:lnTo>
                    <a:pt x="94" y="75"/>
                  </a:lnTo>
                  <a:lnTo>
                    <a:pt x="94" y="69"/>
                  </a:lnTo>
                  <a:lnTo>
                    <a:pt x="96" y="59"/>
                  </a:lnTo>
                  <a:lnTo>
                    <a:pt x="100" y="63"/>
                  </a:lnTo>
                  <a:lnTo>
                    <a:pt x="102" y="65"/>
                  </a:lnTo>
                  <a:lnTo>
                    <a:pt x="106" y="65"/>
                  </a:lnTo>
                  <a:lnTo>
                    <a:pt x="102" y="63"/>
                  </a:lnTo>
                  <a:lnTo>
                    <a:pt x="100" y="57"/>
                  </a:lnTo>
                  <a:lnTo>
                    <a:pt x="98" y="57"/>
                  </a:lnTo>
                  <a:lnTo>
                    <a:pt x="100" y="54"/>
                  </a:lnTo>
                  <a:lnTo>
                    <a:pt x="104" y="54"/>
                  </a:lnTo>
                  <a:lnTo>
                    <a:pt x="100" y="50"/>
                  </a:lnTo>
                  <a:lnTo>
                    <a:pt x="102" y="42"/>
                  </a:lnTo>
                  <a:lnTo>
                    <a:pt x="106" y="44"/>
                  </a:lnTo>
                  <a:lnTo>
                    <a:pt x="106" y="50"/>
                  </a:lnTo>
                  <a:lnTo>
                    <a:pt x="107" y="40"/>
                  </a:lnTo>
                  <a:lnTo>
                    <a:pt x="109" y="40"/>
                  </a:lnTo>
                  <a:lnTo>
                    <a:pt x="111" y="44"/>
                  </a:lnTo>
                  <a:lnTo>
                    <a:pt x="113" y="46"/>
                  </a:lnTo>
                  <a:lnTo>
                    <a:pt x="115" y="42"/>
                  </a:lnTo>
                  <a:lnTo>
                    <a:pt x="121" y="46"/>
                  </a:lnTo>
                  <a:lnTo>
                    <a:pt x="115" y="40"/>
                  </a:lnTo>
                  <a:lnTo>
                    <a:pt x="123" y="46"/>
                  </a:lnTo>
                  <a:lnTo>
                    <a:pt x="121" y="42"/>
                  </a:lnTo>
                  <a:lnTo>
                    <a:pt x="123" y="40"/>
                  </a:lnTo>
                  <a:lnTo>
                    <a:pt x="119" y="38"/>
                  </a:lnTo>
                  <a:lnTo>
                    <a:pt x="115" y="32"/>
                  </a:lnTo>
                  <a:lnTo>
                    <a:pt x="117" y="29"/>
                  </a:lnTo>
                  <a:lnTo>
                    <a:pt x="121" y="34"/>
                  </a:lnTo>
                  <a:lnTo>
                    <a:pt x="123" y="29"/>
                  </a:lnTo>
                  <a:lnTo>
                    <a:pt x="119" y="23"/>
                  </a:lnTo>
                  <a:lnTo>
                    <a:pt x="121" y="21"/>
                  </a:lnTo>
                  <a:lnTo>
                    <a:pt x="121" y="23"/>
                  </a:lnTo>
                  <a:lnTo>
                    <a:pt x="129" y="21"/>
                  </a:lnTo>
                  <a:lnTo>
                    <a:pt x="134" y="25"/>
                  </a:lnTo>
                  <a:lnTo>
                    <a:pt x="129" y="19"/>
                  </a:lnTo>
                  <a:lnTo>
                    <a:pt x="131" y="13"/>
                  </a:lnTo>
                  <a:lnTo>
                    <a:pt x="132" y="15"/>
                  </a:lnTo>
                  <a:lnTo>
                    <a:pt x="131" y="13"/>
                  </a:lnTo>
                  <a:lnTo>
                    <a:pt x="131" y="6"/>
                  </a:lnTo>
                  <a:lnTo>
                    <a:pt x="134" y="6"/>
                  </a:lnTo>
                  <a:lnTo>
                    <a:pt x="136" y="0"/>
                  </a:lnTo>
                  <a:lnTo>
                    <a:pt x="142" y="4"/>
                  </a:lnTo>
                  <a:lnTo>
                    <a:pt x="142" y="8"/>
                  </a:lnTo>
                  <a:lnTo>
                    <a:pt x="144" y="2"/>
                  </a:lnTo>
                  <a:lnTo>
                    <a:pt x="148" y="8"/>
                  </a:lnTo>
                  <a:lnTo>
                    <a:pt x="142" y="13"/>
                  </a:lnTo>
                  <a:lnTo>
                    <a:pt x="150" y="6"/>
                  </a:lnTo>
                  <a:lnTo>
                    <a:pt x="154" y="8"/>
                  </a:lnTo>
                  <a:lnTo>
                    <a:pt x="152" y="15"/>
                  </a:lnTo>
                  <a:lnTo>
                    <a:pt x="157" y="9"/>
                  </a:lnTo>
                  <a:lnTo>
                    <a:pt x="159" y="9"/>
                  </a:lnTo>
                  <a:lnTo>
                    <a:pt x="169" y="8"/>
                  </a:lnTo>
                  <a:lnTo>
                    <a:pt x="169" y="9"/>
                  </a:lnTo>
                  <a:lnTo>
                    <a:pt x="175" y="11"/>
                  </a:lnTo>
                  <a:lnTo>
                    <a:pt x="180" y="9"/>
                  </a:lnTo>
                  <a:lnTo>
                    <a:pt x="188" y="11"/>
                  </a:lnTo>
                  <a:lnTo>
                    <a:pt x="190" y="6"/>
                  </a:lnTo>
                  <a:lnTo>
                    <a:pt x="200" y="11"/>
                  </a:lnTo>
                  <a:lnTo>
                    <a:pt x="196" y="21"/>
                  </a:lnTo>
                  <a:lnTo>
                    <a:pt x="196" y="27"/>
                  </a:lnTo>
                  <a:lnTo>
                    <a:pt x="163" y="48"/>
                  </a:lnTo>
                  <a:lnTo>
                    <a:pt x="159" y="54"/>
                  </a:lnTo>
                  <a:lnTo>
                    <a:pt x="154" y="54"/>
                  </a:lnTo>
                  <a:lnTo>
                    <a:pt x="163" y="57"/>
                  </a:lnTo>
                  <a:lnTo>
                    <a:pt x="167" y="56"/>
                  </a:lnTo>
                  <a:lnTo>
                    <a:pt x="157" y="65"/>
                  </a:lnTo>
                  <a:lnTo>
                    <a:pt x="157" y="61"/>
                  </a:lnTo>
                  <a:lnTo>
                    <a:pt x="146" y="67"/>
                  </a:lnTo>
                  <a:lnTo>
                    <a:pt x="157" y="67"/>
                  </a:lnTo>
                  <a:lnTo>
                    <a:pt x="148" y="75"/>
                  </a:lnTo>
                  <a:lnTo>
                    <a:pt x="142" y="75"/>
                  </a:lnTo>
                  <a:lnTo>
                    <a:pt x="150" y="77"/>
                  </a:lnTo>
                  <a:lnTo>
                    <a:pt x="154" y="73"/>
                  </a:lnTo>
                  <a:lnTo>
                    <a:pt x="165" y="71"/>
                  </a:lnTo>
                  <a:lnTo>
                    <a:pt x="167" y="69"/>
                  </a:lnTo>
                  <a:lnTo>
                    <a:pt x="173" y="71"/>
                  </a:lnTo>
                  <a:lnTo>
                    <a:pt x="175" y="69"/>
                  </a:lnTo>
                  <a:lnTo>
                    <a:pt x="175" y="67"/>
                  </a:lnTo>
                  <a:lnTo>
                    <a:pt x="180" y="67"/>
                  </a:lnTo>
                  <a:lnTo>
                    <a:pt x="184" y="71"/>
                  </a:lnTo>
                  <a:lnTo>
                    <a:pt x="188" y="73"/>
                  </a:lnTo>
                  <a:lnTo>
                    <a:pt x="192" y="71"/>
                  </a:lnTo>
                  <a:lnTo>
                    <a:pt x="194" y="71"/>
                  </a:lnTo>
                  <a:lnTo>
                    <a:pt x="196" y="73"/>
                  </a:lnTo>
                  <a:lnTo>
                    <a:pt x="200" y="73"/>
                  </a:lnTo>
                  <a:lnTo>
                    <a:pt x="202" y="73"/>
                  </a:lnTo>
                  <a:lnTo>
                    <a:pt x="205" y="75"/>
                  </a:lnTo>
                  <a:lnTo>
                    <a:pt x="207" y="75"/>
                  </a:lnTo>
                  <a:lnTo>
                    <a:pt x="209" y="75"/>
                  </a:lnTo>
                  <a:lnTo>
                    <a:pt x="211" y="77"/>
                  </a:lnTo>
                  <a:lnTo>
                    <a:pt x="213" y="75"/>
                  </a:lnTo>
                  <a:lnTo>
                    <a:pt x="215" y="77"/>
                  </a:lnTo>
                  <a:lnTo>
                    <a:pt x="219" y="77"/>
                  </a:lnTo>
                  <a:lnTo>
                    <a:pt x="223" y="77"/>
                  </a:lnTo>
                  <a:lnTo>
                    <a:pt x="225" y="79"/>
                  </a:lnTo>
                  <a:lnTo>
                    <a:pt x="227" y="79"/>
                  </a:lnTo>
                  <a:lnTo>
                    <a:pt x="227" y="81"/>
                  </a:lnTo>
                  <a:lnTo>
                    <a:pt x="229" y="82"/>
                  </a:lnTo>
                  <a:lnTo>
                    <a:pt x="229" y="84"/>
                  </a:lnTo>
                  <a:lnTo>
                    <a:pt x="229" y="86"/>
                  </a:lnTo>
                  <a:lnTo>
                    <a:pt x="229" y="88"/>
                  </a:lnTo>
                  <a:lnTo>
                    <a:pt x="229" y="90"/>
                  </a:lnTo>
                  <a:lnTo>
                    <a:pt x="229" y="92"/>
                  </a:lnTo>
                  <a:lnTo>
                    <a:pt x="227" y="96"/>
                  </a:lnTo>
                  <a:lnTo>
                    <a:pt x="225" y="96"/>
                  </a:lnTo>
                  <a:lnTo>
                    <a:pt x="221" y="100"/>
                  </a:lnTo>
                  <a:lnTo>
                    <a:pt x="221" y="98"/>
                  </a:lnTo>
                  <a:lnTo>
                    <a:pt x="219" y="102"/>
                  </a:lnTo>
                  <a:lnTo>
                    <a:pt x="217" y="104"/>
                  </a:lnTo>
                  <a:lnTo>
                    <a:pt x="215" y="106"/>
                  </a:lnTo>
                  <a:lnTo>
                    <a:pt x="213" y="111"/>
                  </a:lnTo>
                  <a:lnTo>
                    <a:pt x="215" y="111"/>
                  </a:lnTo>
                  <a:lnTo>
                    <a:pt x="211" y="117"/>
                  </a:lnTo>
                  <a:lnTo>
                    <a:pt x="207" y="123"/>
                  </a:lnTo>
                  <a:lnTo>
                    <a:pt x="205" y="127"/>
                  </a:lnTo>
                  <a:lnTo>
                    <a:pt x="204" y="130"/>
                  </a:lnTo>
                  <a:lnTo>
                    <a:pt x="200" y="132"/>
                  </a:lnTo>
                  <a:lnTo>
                    <a:pt x="198" y="134"/>
                  </a:lnTo>
                  <a:lnTo>
                    <a:pt x="198" y="136"/>
                  </a:lnTo>
                  <a:lnTo>
                    <a:pt x="196" y="138"/>
                  </a:lnTo>
                  <a:lnTo>
                    <a:pt x="194" y="140"/>
                  </a:lnTo>
                  <a:lnTo>
                    <a:pt x="196" y="142"/>
                  </a:lnTo>
                  <a:lnTo>
                    <a:pt x="192" y="146"/>
                  </a:lnTo>
                  <a:lnTo>
                    <a:pt x="190" y="146"/>
                  </a:lnTo>
                  <a:lnTo>
                    <a:pt x="188" y="148"/>
                  </a:lnTo>
                  <a:lnTo>
                    <a:pt x="186" y="150"/>
                  </a:lnTo>
                  <a:lnTo>
                    <a:pt x="184" y="150"/>
                  </a:lnTo>
                  <a:lnTo>
                    <a:pt x="182" y="150"/>
                  </a:lnTo>
                  <a:lnTo>
                    <a:pt x="179" y="150"/>
                  </a:lnTo>
                  <a:lnTo>
                    <a:pt x="175" y="150"/>
                  </a:lnTo>
                  <a:lnTo>
                    <a:pt x="173" y="150"/>
                  </a:lnTo>
                  <a:lnTo>
                    <a:pt x="171" y="152"/>
                  </a:lnTo>
                  <a:lnTo>
                    <a:pt x="165" y="154"/>
                  </a:lnTo>
                  <a:lnTo>
                    <a:pt x="167" y="154"/>
                  </a:lnTo>
                  <a:lnTo>
                    <a:pt x="171" y="154"/>
                  </a:lnTo>
                  <a:lnTo>
                    <a:pt x="173" y="152"/>
                  </a:lnTo>
                  <a:lnTo>
                    <a:pt x="175" y="152"/>
                  </a:lnTo>
                  <a:lnTo>
                    <a:pt x="177" y="152"/>
                  </a:lnTo>
                  <a:lnTo>
                    <a:pt x="179" y="150"/>
                  </a:lnTo>
                  <a:lnTo>
                    <a:pt x="180" y="150"/>
                  </a:lnTo>
                  <a:lnTo>
                    <a:pt x="182" y="152"/>
                  </a:lnTo>
                  <a:lnTo>
                    <a:pt x="180" y="155"/>
                  </a:lnTo>
                  <a:lnTo>
                    <a:pt x="180" y="157"/>
                  </a:lnTo>
                  <a:lnTo>
                    <a:pt x="182" y="157"/>
                  </a:lnTo>
                  <a:lnTo>
                    <a:pt x="184" y="159"/>
                  </a:lnTo>
                  <a:lnTo>
                    <a:pt x="186" y="159"/>
                  </a:lnTo>
                  <a:lnTo>
                    <a:pt x="186" y="161"/>
                  </a:lnTo>
                  <a:lnTo>
                    <a:pt x="188" y="163"/>
                  </a:lnTo>
                  <a:lnTo>
                    <a:pt x="184" y="167"/>
                  </a:lnTo>
                  <a:lnTo>
                    <a:pt x="179" y="167"/>
                  </a:lnTo>
                  <a:lnTo>
                    <a:pt x="177" y="167"/>
                  </a:lnTo>
                  <a:lnTo>
                    <a:pt x="175" y="165"/>
                  </a:lnTo>
                  <a:lnTo>
                    <a:pt x="173" y="165"/>
                  </a:lnTo>
                  <a:lnTo>
                    <a:pt x="173" y="167"/>
                  </a:lnTo>
                  <a:lnTo>
                    <a:pt x="171" y="169"/>
                  </a:lnTo>
                  <a:lnTo>
                    <a:pt x="169" y="169"/>
                  </a:lnTo>
                  <a:lnTo>
                    <a:pt x="165" y="173"/>
                  </a:lnTo>
                  <a:lnTo>
                    <a:pt x="163" y="175"/>
                  </a:lnTo>
                  <a:lnTo>
                    <a:pt x="161" y="173"/>
                  </a:lnTo>
                  <a:lnTo>
                    <a:pt x="157" y="175"/>
                  </a:lnTo>
                  <a:lnTo>
                    <a:pt x="156" y="175"/>
                  </a:lnTo>
                  <a:lnTo>
                    <a:pt x="154" y="173"/>
                  </a:lnTo>
                  <a:lnTo>
                    <a:pt x="152" y="171"/>
                  </a:lnTo>
                  <a:lnTo>
                    <a:pt x="148" y="171"/>
                  </a:lnTo>
                  <a:lnTo>
                    <a:pt x="146" y="169"/>
                  </a:lnTo>
                  <a:lnTo>
                    <a:pt x="146" y="167"/>
                  </a:lnTo>
                  <a:lnTo>
                    <a:pt x="148" y="171"/>
                  </a:lnTo>
                  <a:lnTo>
                    <a:pt x="148" y="173"/>
                  </a:lnTo>
                  <a:lnTo>
                    <a:pt x="150" y="173"/>
                  </a:lnTo>
                  <a:lnTo>
                    <a:pt x="154" y="175"/>
                  </a:lnTo>
                  <a:lnTo>
                    <a:pt x="157" y="177"/>
                  </a:lnTo>
                  <a:lnTo>
                    <a:pt x="159" y="177"/>
                  </a:lnTo>
                  <a:lnTo>
                    <a:pt x="161" y="177"/>
                  </a:lnTo>
                  <a:lnTo>
                    <a:pt x="165" y="179"/>
                  </a:lnTo>
                  <a:lnTo>
                    <a:pt x="167" y="180"/>
                  </a:lnTo>
                  <a:lnTo>
                    <a:pt x="169" y="180"/>
                  </a:lnTo>
                  <a:lnTo>
                    <a:pt x="171" y="180"/>
                  </a:lnTo>
                  <a:lnTo>
                    <a:pt x="173" y="180"/>
                  </a:lnTo>
                  <a:lnTo>
                    <a:pt x="177" y="177"/>
                  </a:lnTo>
                  <a:lnTo>
                    <a:pt x="179" y="175"/>
                  </a:lnTo>
                  <a:lnTo>
                    <a:pt x="180" y="175"/>
                  </a:lnTo>
                  <a:lnTo>
                    <a:pt x="182" y="177"/>
                  </a:lnTo>
                  <a:lnTo>
                    <a:pt x="184" y="179"/>
                  </a:lnTo>
                  <a:lnTo>
                    <a:pt x="184" y="180"/>
                  </a:lnTo>
                  <a:lnTo>
                    <a:pt x="186" y="180"/>
                  </a:lnTo>
                  <a:lnTo>
                    <a:pt x="188" y="180"/>
                  </a:lnTo>
                  <a:lnTo>
                    <a:pt x="192" y="184"/>
                  </a:lnTo>
                  <a:lnTo>
                    <a:pt x="194" y="186"/>
                  </a:lnTo>
                  <a:lnTo>
                    <a:pt x="196" y="188"/>
                  </a:lnTo>
                  <a:lnTo>
                    <a:pt x="196" y="186"/>
                  </a:lnTo>
                  <a:lnTo>
                    <a:pt x="200" y="188"/>
                  </a:lnTo>
                  <a:lnTo>
                    <a:pt x="200" y="190"/>
                  </a:lnTo>
                  <a:lnTo>
                    <a:pt x="202" y="196"/>
                  </a:lnTo>
                  <a:lnTo>
                    <a:pt x="200" y="196"/>
                  </a:lnTo>
                  <a:lnTo>
                    <a:pt x="200" y="200"/>
                  </a:lnTo>
                  <a:lnTo>
                    <a:pt x="198" y="200"/>
                  </a:lnTo>
                  <a:lnTo>
                    <a:pt x="194" y="204"/>
                  </a:lnTo>
                  <a:lnTo>
                    <a:pt x="192" y="205"/>
                  </a:lnTo>
                  <a:lnTo>
                    <a:pt x="190" y="205"/>
                  </a:lnTo>
                  <a:lnTo>
                    <a:pt x="190" y="209"/>
                  </a:lnTo>
                  <a:lnTo>
                    <a:pt x="190" y="205"/>
                  </a:lnTo>
                  <a:lnTo>
                    <a:pt x="192" y="205"/>
                  </a:lnTo>
                  <a:lnTo>
                    <a:pt x="194" y="204"/>
                  </a:lnTo>
                  <a:lnTo>
                    <a:pt x="198" y="200"/>
                  </a:lnTo>
                  <a:lnTo>
                    <a:pt x="200" y="200"/>
                  </a:lnTo>
                  <a:lnTo>
                    <a:pt x="200" y="196"/>
                  </a:lnTo>
                  <a:lnTo>
                    <a:pt x="202" y="196"/>
                  </a:lnTo>
                  <a:lnTo>
                    <a:pt x="204" y="200"/>
                  </a:lnTo>
                  <a:lnTo>
                    <a:pt x="204" y="202"/>
                  </a:lnTo>
                  <a:lnTo>
                    <a:pt x="205" y="204"/>
                  </a:lnTo>
                  <a:lnTo>
                    <a:pt x="207" y="207"/>
                  </a:lnTo>
                  <a:lnTo>
                    <a:pt x="209" y="209"/>
                  </a:lnTo>
                  <a:lnTo>
                    <a:pt x="211" y="209"/>
                  </a:lnTo>
                  <a:lnTo>
                    <a:pt x="213" y="211"/>
                  </a:lnTo>
                  <a:lnTo>
                    <a:pt x="213" y="215"/>
                  </a:lnTo>
                  <a:lnTo>
                    <a:pt x="213" y="217"/>
                  </a:lnTo>
                  <a:lnTo>
                    <a:pt x="213" y="219"/>
                  </a:lnTo>
                  <a:lnTo>
                    <a:pt x="213" y="223"/>
                  </a:lnTo>
                  <a:lnTo>
                    <a:pt x="211" y="225"/>
                  </a:lnTo>
                  <a:lnTo>
                    <a:pt x="211" y="227"/>
                  </a:lnTo>
                  <a:lnTo>
                    <a:pt x="213" y="228"/>
                  </a:lnTo>
                  <a:lnTo>
                    <a:pt x="211" y="232"/>
                  </a:lnTo>
                  <a:lnTo>
                    <a:pt x="211" y="234"/>
                  </a:lnTo>
                  <a:lnTo>
                    <a:pt x="213" y="234"/>
                  </a:lnTo>
                  <a:lnTo>
                    <a:pt x="213" y="236"/>
                  </a:lnTo>
                  <a:lnTo>
                    <a:pt x="213" y="238"/>
                  </a:lnTo>
                  <a:lnTo>
                    <a:pt x="211" y="240"/>
                  </a:lnTo>
                  <a:lnTo>
                    <a:pt x="213" y="240"/>
                  </a:lnTo>
                  <a:lnTo>
                    <a:pt x="213" y="244"/>
                  </a:lnTo>
                  <a:lnTo>
                    <a:pt x="215" y="248"/>
                  </a:lnTo>
                  <a:lnTo>
                    <a:pt x="215" y="250"/>
                  </a:lnTo>
                  <a:lnTo>
                    <a:pt x="217" y="252"/>
                  </a:lnTo>
                  <a:lnTo>
                    <a:pt x="217" y="253"/>
                  </a:lnTo>
                  <a:lnTo>
                    <a:pt x="215" y="255"/>
                  </a:lnTo>
                  <a:lnTo>
                    <a:pt x="215" y="259"/>
                  </a:lnTo>
                  <a:lnTo>
                    <a:pt x="215" y="265"/>
                  </a:lnTo>
                  <a:lnTo>
                    <a:pt x="217" y="269"/>
                  </a:lnTo>
                  <a:lnTo>
                    <a:pt x="221" y="271"/>
                  </a:lnTo>
                  <a:lnTo>
                    <a:pt x="219" y="273"/>
                  </a:lnTo>
                  <a:lnTo>
                    <a:pt x="219" y="275"/>
                  </a:lnTo>
                  <a:lnTo>
                    <a:pt x="219" y="277"/>
                  </a:lnTo>
                  <a:lnTo>
                    <a:pt x="217" y="278"/>
                  </a:lnTo>
                  <a:lnTo>
                    <a:pt x="219" y="278"/>
                  </a:lnTo>
                  <a:lnTo>
                    <a:pt x="221" y="277"/>
                  </a:lnTo>
                  <a:lnTo>
                    <a:pt x="221" y="275"/>
                  </a:lnTo>
                  <a:lnTo>
                    <a:pt x="221" y="277"/>
                  </a:lnTo>
                  <a:lnTo>
                    <a:pt x="223" y="277"/>
                  </a:lnTo>
                  <a:lnTo>
                    <a:pt x="225" y="278"/>
                  </a:lnTo>
                  <a:lnTo>
                    <a:pt x="227" y="278"/>
                  </a:lnTo>
                  <a:lnTo>
                    <a:pt x="229" y="280"/>
                  </a:lnTo>
                  <a:lnTo>
                    <a:pt x="232" y="282"/>
                  </a:lnTo>
                  <a:lnTo>
                    <a:pt x="232" y="284"/>
                  </a:lnTo>
                  <a:lnTo>
                    <a:pt x="234" y="284"/>
                  </a:lnTo>
                  <a:lnTo>
                    <a:pt x="238" y="286"/>
                  </a:lnTo>
                  <a:lnTo>
                    <a:pt x="240" y="290"/>
                  </a:lnTo>
                  <a:lnTo>
                    <a:pt x="240" y="292"/>
                  </a:lnTo>
                  <a:lnTo>
                    <a:pt x="240" y="294"/>
                  </a:lnTo>
                  <a:lnTo>
                    <a:pt x="242" y="296"/>
                  </a:lnTo>
                  <a:lnTo>
                    <a:pt x="244" y="298"/>
                  </a:lnTo>
                  <a:lnTo>
                    <a:pt x="244" y="302"/>
                  </a:lnTo>
                  <a:lnTo>
                    <a:pt x="244" y="303"/>
                  </a:lnTo>
                  <a:lnTo>
                    <a:pt x="246" y="305"/>
                  </a:lnTo>
                  <a:lnTo>
                    <a:pt x="248" y="305"/>
                  </a:lnTo>
                  <a:lnTo>
                    <a:pt x="248" y="307"/>
                  </a:lnTo>
                  <a:lnTo>
                    <a:pt x="248" y="309"/>
                  </a:lnTo>
                  <a:lnTo>
                    <a:pt x="250" y="311"/>
                  </a:lnTo>
                  <a:lnTo>
                    <a:pt x="252" y="313"/>
                  </a:lnTo>
                  <a:lnTo>
                    <a:pt x="254" y="313"/>
                  </a:lnTo>
                  <a:lnTo>
                    <a:pt x="254" y="315"/>
                  </a:lnTo>
                  <a:lnTo>
                    <a:pt x="250" y="315"/>
                  </a:lnTo>
                  <a:lnTo>
                    <a:pt x="250" y="317"/>
                  </a:lnTo>
                  <a:lnTo>
                    <a:pt x="248" y="319"/>
                  </a:lnTo>
                  <a:lnTo>
                    <a:pt x="248" y="323"/>
                  </a:lnTo>
                  <a:lnTo>
                    <a:pt x="250" y="326"/>
                  </a:lnTo>
                  <a:lnTo>
                    <a:pt x="250" y="330"/>
                  </a:lnTo>
                  <a:lnTo>
                    <a:pt x="252" y="334"/>
                  </a:lnTo>
                  <a:lnTo>
                    <a:pt x="254" y="338"/>
                  </a:lnTo>
                  <a:lnTo>
                    <a:pt x="255" y="342"/>
                  </a:lnTo>
                  <a:lnTo>
                    <a:pt x="257" y="346"/>
                  </a:lnTo>
                  <a:lnTo>
                    <a:pt x="257" y="348"/>
                  </a:lnTo>
                  <a:lnTo>
                    <a:pt x="257" y="350"/>
                  </a:lnTo>
                  <a:lnTo>
                    <a:pt x="255" y="350"/>
                  </a:lnTo>
                  <a:lnTo>
                    <a:pt x="257" y="348"/>
                  </a:lnTo>
                  <a:lnTo>
                    <a:pt x="255" y="346"/>
                  </a:lnTo>
                  <a:lnTo>
                    <a:pt x="254" y="346"/>
                  </a:lnTo>
                  <a:lnTo>
                    <a:pt x="254" y="344"/>
                  </a:lnTo>
                  <a:lnTo>
                    <a:pt x="250" y="346"/>
                  </a:lnTo>
                  <a:lnTo>
                    <a:pt x="248" y="346"/>
                  </a:lnTo>
                  <a:lnTo>
                    <a:pt x="248" y="344"/>
                  </a:lnTo>
                  <a:lnTo>
                    <a:pt x="246" y="340"/>
                  </a:lnTo>
                  <a:lnTo>
                    <a:pt x="244" y="338"/>
                  </a:lnTo>
                  <a:lnTo>
                    <a:pt x="242" y="338"/>
                  </a:lnTo>
                  <a:lnTo>
                    <a:pt x="238" y="338"/>
                  </a:lnTo>
                  <a:lnTo>
                    <a:pt x="234" y="338"/>
                  </a:lnTo>
                  <a:lnTo>
                    <a:pt x="232" y="338"/>
                  </a:lnTo>
                  <a:lnTo>
                    <a:pt x="232" y="336"/>
                  </a:lnTo>
                  <a:lnTo>
                    <a:pt x="229" y="336"/>
                  </a:lnTo>
                  <a:lnTo>
                    <a:pt x="229" y="338"/>
                  </a:lnTo>
                  <a:lnTo>
                    <a:pt x="225" y="338"/>
                  </a:lnTo>
                  <a:lnTo>
                    <a:pt x="227" y="338"/>
                  </a:lnTo>
                  <a:lnTo>
                    <a:pt x="227" y="340"/>
                  </a:lnTo>
                  <a:lnTo>
                    <a:pt x="229" y="338"/>
                  </a:lnTo>
                  <a:lnTo>
                    <a:pt x="230" y="338"/>
                  </a:lnTo>
                  <a:lnTo>
                    <a:pt x="232" y="338"/>
                  </a:lnTo>
                  <a:lnTo>
                    <a:pt x="232" y="340"/>
                  </a:lnTo>
                  <a:lnTo>
                    <a:pt x="234" y="340"/>
                  </a:lnTo>
                  <a:lnTo>
                    <a:pt x="236" y="340"/>
                  </a:lnTo>
                  <a:lnTo>
                    <a:pt x="238" y="340"/>
                  </a:lnTo>
                  <a:lnTo>
                    <a:pt x="240" y="340"/>
                  </a:lnTo>
                  <a:lnTo>
                    <a:pt x="242" y="338"/>
                  </a:lnTo>
                  <a:lnTo>
                    <a:pt x="242" y="340"/>
                  </a:lnTo>
                  <a:lnTo>
                    <a:pt x="244" y="342"/>
                  </a:lnTo>
                  <a:lnTo>
                    <a:pt x="244" y="344"/>
                  </a:lnTo>
                  <a:lnTo>
                    <a:pt x="246" y="346"/>
                  </a:lnTo>
                  <a:lnTo>
                    <a:pt x="248" y="348"/>
                  </a:lnTo>
                  <a:lnTo>
                    <a:pt x="250" y="350"/>
                  </a:lnTo>
                  <a:lnTo>
                    <a:pt x="252" y="351"/>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359" name="Freeform 147"/>
            <p:cNvSpPr>
              <a:spLocks/>
            </p:cNvSpPr>
            <p:nvPr/>
          </p:nvSpPr>
          <p:spPr bwMode="auto">
            <a:xfrm>
              <a:off x="1914" y="1954"/>
              <a:ext cx="190" cy="351"/>
            </a:xfrm>
            <a:custGeom>
              <a:avLst/>
              <a:gdLst>
                <a:gd name="T0" fmla="*/ 67 w 190"/>
                <a:gd name="T1" fmla="*/ 271 h 351"/>
                <a:gd name="T2" fmla="*/ 75 w 190"/>
                <a:gd name="T3" fmla="*/ 252 h 351"/>
                <a:gd name="T4" fmla="*/ 85 w 190"/>
                <a:gd name="T5" fmla="*/ 242 h 351"/>
                <a:gd name="T6" fmla="*/ 100 w 190"/>
                <a:gd name="T7" fmla="*/ 234 h 351"/>
                <a:gd name="T8" fmla="*/ 113 w 190"/>
                <a:gd name="T9" fmla="*/ 223 h 351"/>
                <a:gd name="T10" fmla="*/ 125 w 190"/>
                <a:gd name="T11" fmla="*/ 213 h 351"/>
                <a:gd name="T12" fmla="*/ 110 w 190"/>
                <a:gd name="T13" fmla="*/ 225 h 351"/>
                <a:gd name="T14" fmla="*/ 98 w 190"/>
                <a:gd name="T15" fmla="*/ 236 h 351"/>
                <a:gd name="T16" fmla="*/ 73 w 190"/>
                <a:gd name="T17" fmla="*/ 240 h 351"/>
                <a:gd name="T18" fmla="*/ 56 w 190"/>
                <a:gd name="T19" fmla="*/ 250 h 351"/>
                <a:gd name="T20" fmla="*/ 42 w 190"/>
                <a:gd name="T21" fmla="*/ 244 h 351"/>
                <a:gd name="T22" fmla="*/ 23 w 190"/>
                <a:gd name="T23" fmla="*/ 240 h 351"/>
                <a:gd name="T24" fmla="*/ 17 w 190"/>
                <a:gd name="T25" fmla="*/ 234 h 351"/>
                <a:gd name="T26" fmla="*/ 31 w 190"/>
                <a:gd name="T27" fmla="*/ 213 h 351"/>
                <a:gd name="T28" fmla="*/ 42 w 190"/>
                <a:gd name="T29" fmla="*/ 194 h 351"/>
                <a:gd name="T30" fmla="*/ 39 w 190"/>
                <a:gd name="T31" fmla="*/ 173 h 351"/>
                <a:gd name="T32" fmla="*/ 40 w 190"/>
                <a:gd name="T33" fmla="*/ 161 h 351"/>
                <a:gd name="T34" fmla="*/ 33 w 190"/>
                <a:gd name="T35" fmla="*/ 169 h 351"/>
                <a:gd name="T36" fmla="*/ 23 w 190"/>
                <a:gd name="T37" fmla="*/ 161 h 351"/>
                <a:gd name="T38" fmla="*/ 10 w 190"/>
                <a:gd name="T39" fmla="*/ 198 h 351"/>
                <a:gd name="T40" fmla="*/ 8 w 190"/>
                <a:gd name="T41" fmla="*/ 182 h 351"/>
                <a:gd name="T42" fmla="*/ 12 w 190"/>
                <a:gd name="T43" fmla="*/ 163 h 351"/>
                <a:gd name="T44" fmla="*/ 23 w 190"/>
                <a:gd name="T45" fmla="*/ 144 h 351"/>
                <a:gd name="T46" fmla="*/ 29 w 190"/>
                <a:gd name="T47" fmla="*/ 129 h 351"/>
                <a:gd name="T48" fmla="*/ 14 w 190"/>
                <a:gd name="T49" fmla="*/ 123 h 351"/>
                <a:gd name="T50" fmla="*/ 17 w 190"/>
                <a:gd name="T51" fmla="*/ 109 h 351"/>
                <a:gd name="T52" fmla="*/ 25 w 190"/>
                <a:gd name="T53" fmla="*/ 92 h 351"/>
                <a:gd name="T54" fmla="*/ 33 w 190"/>
                <a:gd name="T55" fmla="*/ 75 h 351"/>
                <a:gd name="T56" fmla="*/ 31 w 190"/>
                <a:gd name="T57" fmla="*/ 57 h 351"/>
                <a:gd name="T58" fmla="*/ 46 w 190"/>
                <a:gd name="T59" fmla="*/ 46 h 351"/>
                <a:gd name="T60" fmla="*/ 54 w 190"/>
                <a:gd name="T61" fmla="*/ 34 h 351"/>
                <a:gd name="T62" fmla="*/ 64 w 190"/>
                <a:gd name="T63" fmla="*/ 13 h 351"/>
                <a:gd name="T64" fmla="*/ 87 w 190"/>
                <a:gd name="T65" fmla="*/ 8 h 351"/>
                <a:gd name="T66" fmla="*/ 133 w 190"/>
                <a:gd name="T67" fmla="*/ 11 h 351"/>
                <a:gd name="T68" fmla="*/ 79 w 190"/>
                <a:gd name="T69" fmla="*/ 67 h 351"/>
                <a:gd name="T70" fmla="*/ 108 w 190"/>
                <a:gd name="T71" fmla="*/ 67 h 351"/>
                <a:gd name="T72" fmla="*/ 140 w 190"/>
                <a:gd name="T73" fmla="*/ 75 h 351"/>
                <a:gd name="T74" fmla="*/ 162 w 190"/>
                <a:gd name="T75" fmla="*/ 82 h 351"/>
                <a:gd name="T76" fmla="*/ 152 w 190"/>
                <a:gd name="T77" fmla="*/ 102 h 351"/>
                <a:gd name="T78" fmla="*/ 131 w 190"/>
                <a:gd name="T79" fmla="*/ 134 h 351"/>
                <a:gd name="T80" fmla="*/ 115 w 190"/>
                <a:gd name="T81" fmla="*/ 150 h 351"/>
                <a:gd name="T82" fmla="*/ 110 w 190"/>
                <a:gd name="T83" fmla="*/ 152 h 351"/>
                <a:gd name="T84" fmla="*/ 121 w 190"/>
                <a:gd name="T85" fmla="*/ 163 h 351"/>
                <a:gd name="T86" fmla="*/ 96 w 190"/>
                <a:gd name="T87" fmla="*/ 175 h 351"/>
                <a:gd name="T88" fmla="*/ 81 w 190"/>
                <a:gd name="T89" fmla="*/ 173 h 351"/>
                <a:gd name="T90" fmla="*/ 106 w 190"/>
                <a:gd name="T91" fmla="*/ 180 h 351"/>
                <a:gd name="T92" fmla="*/ 127 w 190"/>
                <a:gd name="T93" fmla="*/ 186 h 351"/>
                <a:gd name="T94" fmla="*/ 125 w 190"/>
                <a:gd name="T95" fmla="*/ 205 h 351"/>
                <a:gd name="T96" fmla="*/ 137 w 190"/>
                <a:gd name="T97" fmla="*/ 200 h 351"/>
                <a:gd name="T98" fmla="*/ 146 w 190"/>
                <a:gd name="T99" fmla="*/ 223 h 351"/>
                <a:gd name="T100" fmla="*/ 146 w 190"/>
                <a:gd name="T101" fmla="*/ 240 h 351"/>
                <a:gd name="T102" fmla="*/ 154 w 190"/>
                <a:gd name="T103" fmla="*/ 271 h 351"/>
                <a:gd name="T104" fmla="*/ 158 w 190"/>
                <a:gd name="T105" fmla="*/ 278 h 351"/>
                <a:gd name="T106" fmla="*/ 175 w 190"/>
                <a:gd name="T107" fmla="*/ 296 h 351"/>
                <a:gd name="T108" fmla="*/ 187 w 190"/>
                <a:gd name="T109" fmla="*/ 313 h 351"/>
                <a:gd name="T110" fmla="*/ 188 w 190"/>
                <a:gd name="T111" fmla="*/ 342 h 351"/>
                <a:gd name="T112" fmla="*/ 181 w 190"/>
                <a:gd name="T113" fmla="*/ 346 h 351"/>
                <a:gd name="T114" fmla="*/ 162 w 190"/>
                <a:gd name="T115" fmla="*/ 338 h 351"/>
                <a:gd name="T116" fmla="*/ 171 w 190"/>
                <a:gd name="T117" fmla="*/ 34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 h="351">
                  <a:moveTo>
                    <a:pt x="73" y="290"/>
                  </a:moveTo>
                  <a:lnTo>
                    <a:pt x="71" y="288"/>
                  </a:lnTo>
                  <a:lnTo>
                    <a:pt x="71" y="286"/>
                  </a:lnTo>
                  <a:lnTo>
                    <a:pt x="71" y="284"/>
                  </a:lnTo>
                  <a:lnTo>
                    <a:pt x="71" y="282"/>
                  </a:lnTo>
                  <a:lnTo>
                    <a:pt x="71" y="280"/>
                  </a:lnTo>
                  <a:lnTo>
                    <a:pt x="69" y="277"/>
                  </a:lnTo>
                  <a:lnTo>
                    <a:pt x="67" y="277"/>
                  </a:lnTo>
                  <a:lnTo>
                    <a:pt x="67" y="275"/>
                  </a:lnTo>
                  <a:lnTo>
                    <a:pt x="67" y="271"/>
                  </a:lnTo>
                  <a:lnTo>
                    <a:pt x="65" y="271"/>
                  </a:lnTo>
                  <a:lnTo>
                    <a:pt x="65" y="269"/>
                  </a:lnTo>
                  <a:lnTo>
                    <a:pt x="65" y="267"/>
                  </a:lnTo>
                  <a:lnTo>
                    <a:pt x="67" y="265"/>
                  </a:lnTo>
                  <a:lnTo>
                    <a:pt x="67" y="263"/>
                  </a:lnTo>
                  <a:lnTo>
                    <a:pt x="69" y="261"/>
                  </a:lnTo>
                  <a:lnTo>
                    <a:pt x="71" y="257"/>
                  </a:lnTo>
                  <a:lnTo>
                    <a:pt x="73" y="255"/>
                  </a:lnTo>
                  <a:lnTo>
                    <a:pt x="75" y="253"/>
                  </a:lnTo>
                  <a:lnTo>
                    <a:pt x="75" y="252"/>
                  </a:lnTo>
                  <a:lnTo>
                    <a:pt x="77" y="250"/>
                  </a:lnTo>
                  <a:lnTo>
                    <a:pt x="77" y="248"/>
                  </a:lnTo>
                  <a:lnTo>
                    <a:pt x="79" y="246"/>
                  </a:lnTo>
                  <a:lnTo>
                    <a:pt x="81" y="246"/>
                  </a:lnTo>
                  <a:lnTo>
                    <a:pt x="81" y="248"/>
                  </a:lnTo>
                  <a:lnTo>
                    <a:pt x="81" y="246"/>
                  </a:lnTo>
                  <a:lnTo>
                    <a:pt x="83" y="246"/>
                  </a:lnTo>
                  <a:lnTo>
                    <a:pt x="81" y="246"/>
                  </a:lnTo>
                  <a:lnTo>
                    <a:pt x="83" y="244"/>
                  </a:lnTo>
                  <a:lnTo>
                    <a:pt x="85" y="242"/>
                  </a:lnTo>
                  <a:lnTo>
                    <a:pt x="85" y="244"/>
                  </a:lnTo>
                  <a:lnTo>
                    <a:pt x="87" y="244"/>
                  </a:lnTo>
                  <a:lnTo>
                    <a:pt x="90" y="244"/>
                  </a:lnTo>
                  <a:lnTo>
                    <a:pt x="89" y="244"/>
                  </a:lnTo>
                  <a:lnTo>
                    <a:pt x="90" y="242"/>
                  </a:lnTo>
                  <a:lnTo>
                    <a:pt x="92" y="238"/>
                  </a:lnTo>
                  <a:lnTo>
                    <a:pt x="94" y="238"/>
                  </a:lnTo>
                  <a:lnTo>
                    <a:pt x="98" y="236"/>
                  </a:lnTo>
                  <a:lnTo>
                    <a:pt x="100" y="236"/>
                  </a:lnTo>
                  <a:lnTo>
                    <a:pt x="100" y="234"/>
                  </a:lnTo>
                  <a:lnTo>
                    <a:pt x="102" y="234"/>
                  </a:lnTo>
                  <a:lnTo>
                    <a:pt x="104" y="232"/>
                  </a:lnTo>
                  <a:lnTo>
                    <a:pt x="106" y="230"/>
                  </a:lnTo>
                  <a:lnTo>
                    <a:pt x="106" y="228"/>
                  </a:lnTo>
                  <a:lnTo>
                    <a:pt x="106" y="230"/>
                  </a:lnTo>
                  <a:lnTo>
                    <a:pt x="108" y="228"/>
                  </a:lnTo>
                  <a:lnTo>
                    <a:pt x="108" y="227"/>
                  </a:lnTo>
                  <a:lnTo>
                    <a:pt x="110" y="225"/>
                  </a:lnTo>
                  <a:lnTo>
                    <a:pt x="112" y="225"/>
                  </a:lnTo>
                  <a:lnTo>
                    <a:pt x="113" y="223"/>
                  </a:lnTo>
                  <a:lnTo>
                    <a:pt x="115" y="223"/>
                  </a:lnTo>
                  <a:lnTo>
                    <a:pt x="117" y="223"/>
                  </a:lnTo>
                  <a:lnTo>
                    <a:pt x="119" y="221"/>
                  </a:lnTo>
                  <a:lnTo>
                    <a:pt x="119" y="219"/>
                  </a:lnTo>
                  <a:lnTo>
                    <a:pt x="121" y="219"/>
                  </a:lnTo>
                  <a:lnTo>
                    <a:pt x="123" y="219"/>
                  </a:lnTo>
                  <a:lnTo>
                    <a:pt x="125" y="217"/>
                  </a:lnTo>
                  <a:lnTo>
                    <a:pt x="125" y="213"/>
                  </a:lnTo>
                  <a:lnTo>
                    <a:pt x="125" y="211"/>
                  </a:lnTo>
                  <a:lnTo>
                    <a:pt x="125" y="213"/>
                  </a:lnTo>
                  <a:lnTo>
                    <a:pt x="125" y="217"/>
                  </a:lnTo>
                  <a:lnTo>
                    <a:pt x="123" y="219"/>
                  </a:lnTo>
                  <a:lnTo>
                    <a:pt x="121" y="219"/>
                  </a:lnTo>
                  <a:lnTo>
                    <a:pt x="119" y="219"/>
                  </a:lnTo>
                  <a:lnTo>
                    <a:pt x="119" y="221"/>
                  </a:lnTo>
                  <a:lnTo>
                    <a:pt x="117" y="223"/>
                  </a:lnTo>
                  <a:lnTo>
                    <a:pt x="115" y="223"/>
                  </a:lnTo>
                  <a:lnTo>
                    <a:pt x="113" y="223"/>
                  </a:lnTo>
                  <a:lnTo>
                    <a:pt x="112" y="225"/>
                  </a:lnTo>
                  <a:lnTo>
                    <a:pt x="110" y="225"/>
                  </a:lnTo>
                  <a:lnTo>
                    <a:pt x="108" y="227"/>
                  </a:lnTo>
                  <a:lnTo>
                    <a:pt x="108" y="228"/>
                  </a:lnTo>
                  <a:lnTo>
                    <a:pt x="106" y="230"/>
                  </a:lnTo>
                  <a:lnTo>
                    <a:pt x="106" y="228"/>
                  </a:lnTo>
                  <a:lnTo>
                    <a:pt x="106" y="230"/>
                  </a:lnTo>
                  <a:lnTo>
                    <a:pt x="104" y="232"/>
                  </a:lnTo>
                  <a:lnTo>
                    <a:pt x="102" y="234"/>
                  </a:lnTo>
                  <a:lnTo>
                    <a:pt x="100" y="234"/>
                  </a:lnTo>
                  <a:lnTo>
                    <a:pt x="100" y="236"/>
                  </a:lnTo>
                  <a:lnTo>
                    <a:pt x="98" y="236"/>
                  </a:lnTo>
                  <a:lnTo>
                    <a:pt x="94" y="238"/>
                  </a:lnTo>
                  <a:lnTo>
                    <a:pt x="92" y="238"/>
                  </a:lnTo>
                  <a:lnTo>
                    <a:pt x="90" y="242"/>
                  </a:lnTo>
                  <a:lnTo>
                    <a:pt x="87" y="242"/>
                  </a:lnTo>
                  <a:lnTo>
                    <a:pt x="85" y="242"/>
                  </a:lnTo>
                  <a:lnTo>
                    <a:pt x="83" y="242"/>
                  </a:lnTo>
                  <a:lnTo>
                    <a:pt x="81" y="242"/>
                  </a:lnTo>
                  <a:lnTo>
                    <a:pt x="79" y="240"/>
                  </a:lnTo>
                  <a:lnTo>
                    <a:pt x="77" y="240"/>
                  </a:lnTo>
                  <a:lnTo>
                    <a:pt x="73" y="240"/>
                  </a:lnTo>
                  <a:lnTo>
                    <a:pt x="73" y="238"/>
                  </a:lnTo>
                  <a:lnTo>
                    <a:pt x="71" y="246"/>
                  </a:lnTo>
                  <a:lnTo>
                    <a:pt x="67" y="246"/>
                  </a:lnTo>
                  <a:lnTo>
                    <a:pt x="67" y="244"/>
                  </a:lnTo>
                  <a:lnTo>
                    <a:pt x="64" y="246"/>
                  </a:lnTo>
                  <a:lnTo>
                    <a:pt x="64" y="244"/>
                  </a:lnTo>
                  <a:lnTo>
                    <a:pt x="64" y="246"/>
                  </a:lnTo>
                  <a:lnTo>
                    <a:pt x="62" y="246"/>
                  </a:lnTo>
                  <a:lnTo>
                    <a:pt x="62" y="248"/>
                  </a:lnTo>
                  <a:lnTo>
                    <a:pt x="56" y="250"/>
                  </a:lnTo>
                  <a:lnTo>
                    <a:pt x="54" y="250"/>
                  </a:lnTo>
                  <a:lnTo>
                    <a:pt x="54" y="248"/>
                  </a:lnTo>
                  <a:lnTo>
                    <a:pt x="52" y="250"/>
                  </a:lnTo>
                  <a:lnTo>
                    <a:pt x="50" y="248"/>
                  </a:lnTo>
                  <a:lnTo>
                    <a:pt x="48" y="244"/>
                  </a:lnTo>
                  <a:lnTo>
                    <a:pt x="46" y="244"/>
                  </a:lnTo>
                  <a:lnTo>
                    <a:pt x="44" y="242"/>
                  </a:lnTo>
                  <a:lnTo>
                    <a:pt x="44" y="240"/>
                  </a:lnTo>
                  <a:lnTo>
                    <a:pt x="42" y="240"/>
                  </a:lnTo>
                  <a:lnTo>
                    <a:pt x="42" y="244"/>
                  </a:lnTo>
                  <a:lnTo>
                    <a:pt x="44" y="246"/>
                  </a:lnTo>
                  <a:lnTo>
                    <a:pt x="42" y="252"/>
                  </a:lnTo>
                  <a:lnTo>
                    <a:pt x="40" y="253"/>
                  </a:lnTo>
                  <a:lnTo>
                    <a:pt x="35" y="248"/>
                  </a:lnTo>
                  <a:lnTo>
                    <a:pt x="35" y="246"/>
                  </a:lnTo>
                  <a:lnTo>
                    <a:pt x="33" y="244"/>
                  </a:lnTo>
                  <a:lnTo>
                    <a:pt x="33" y="242"/>
                  </a:lnTo>
                  <a:lnTo>
                    <a:pt x="29" y="240"/>
                  </a:lnTo>
                  <a:lnTo>
                    <a:pt x="29" y="238"/>
                  </a:lnTo>
                  <a:lnTo>
                    <a:pt x="23" y="240"/>
                  </a:lnTo>
                  <a:lnTo>
                    <a:pt x="23" y="242"/>
                  </a:lnTo>
                  <a:lnTo>
                    <a:pt x="25" y="250"/>
                  </a:lnTo>
                  <a:lnTo>
                    <a:pt x="23" y="252"/>
                  </a:lnTo>
                  <a:lnTo>
                    <a:pt x="25" y="253"/>
                  </a:lnTo>
                  <a:lnTo>
                    <a:pt x="23" y="252"/>
                  </a:lnTo>
                  <a:lnTo>
                    <a:pt x="21" y="250"/>
                  </a:lnTo>
                  <a:lnTo>
                    <a:pt x="21" y="248"/>
                  </a:lnTo>
                  <a:lnTo>
                    <a:pt x="21" y="242"/>
                  </a:lnTo>
                  <a:lnTo>
                    <a:pt x="17" y="236"/>
                  </a:lnTo>
                  <a:lnTo>
                    <a:pt x="17" y="234"/>
                  </a:lnTo>
                  <a:lnTo>
                    <a:pt x="15" y="232"/>
                  </a:lnTo>
                  <a:lnTo>
                    <a:pt x="17" y="227"/>
                  </a:lnTo>
                  <a:lnTo>
                    <a:pt x="19" y="227"/>
                  </a:lnTo>
                  <a:lnTo>
                    <a:pt x="21" y="230"/>
                  </a:lnTo>
                  <a:lnTo>
                    <a:pt x="19" y="232"/>
                  </a:lnTo>
                  <a:lnTo>
                    <a:pt x="21" y="234"/>
                  </a:lnTo>
                  <a:lnTo>
                    <a:pt x="23" y="232"/>
                  </a:lnTo>
                  <a:lnTo>
                    <a:pt x="25" y="219"/>
                  </a:lnTo>
                  <a:lnTo>
                    <a:pt x="27" y="217"/>
                  </a:lnTo>
                  <a:lnTo>
                    <a:pt x="31" y="213"/>
                  </a:lnTo>
                  <a:lnTo>
                    <a:pt x="33" y="209"/>
                  </a:lnTo>
                  <a:lnTo>
                    <a:pt x="33" y="207"/>
                  </a:lnTo>
                  <a:lnTo>
                    <a:pt x="35" y="205"/>
                  </a:lnTo>
                  <a:lnTo>
                    <a:pt x="37" y="204"/>
                  </a:lnTo>
                  <a:lnTo>
                    <a:pt x="37" y="202"/>
                  </a:lnTo>
                  <a:lnTo>
                    <a:pt x="40" y="202"/>
                  </a:lnTo>
                  <a:lnTo>
                    <a:pt x="42" y="200"/>
                  </a:lnTo>
                  <a:lnTo>
                    <a:pt x="42" y="198"/>
                  </a:lnTo>
                  <a:lnTo>
                    <a:pt x="40" y="196"/>
                  </a:lnTo>
                  <a:lnTo>
                    <a:pt x="42" y="194"/>
                  </a:lnTo>
                  <a:lnTo>
                    <a:pt x="40" y="190"/>
                  </a:lnTo>
                  <a:lnTo>
                    <a:pt x="39" y="188"/>
                  </a:lnTo>
                  <a:lnTo>
                    <a:pt x="37" y="188"/>
                  </a:lnTo>
                  <a:lnTo>
                    <a:pt x="37" y="184"/>
                  </a:lnTo>
                  <a:lnTo>
                    <a:pt x="35" y="184"/>
                  </a:lnTo>
                  <a:lnTo>
                    <a:pt x="37" y="182"/>
                  </a:lnTo>
                  <a:lnTo>
                    <a:pt x="39" y="182"/>
                  </a:lnTo>
                  <a:lnTo>
                    <a:pt x="39" y="179"/>
                  </a:lnTo>
                  <a:lnTo>
                    <a:pt x="39" y="177"/>
                  </a:lnTo>
                  <a:lnTo>
                    <a:pt x="39" y="173"/>
                  </a:lnTo>
                  <a:lnTo>
                    <a:pt x="40" y="169"/>
                  </a:lnTo>
                  <a:lnTo>
                    <a:pt x="42" y="169"/>
                  </a:lnTo>
                  <a:lnTo>
                    <a:pt x="46" y="171"/>
                  </a:lnTo>
                  <a:lnTo>
                    <a:pt x="52" y="173"/>
                  </a:lnTo>
                  <a:lnTo>
                    <a:pt x="48" y="171"/>
                  </a:lnTo>
                  <a:lnTo>
                    <a:pt x="44" y="165"/>
                  </a:lnTo>
                  <a:lnTo>
                    <a:pt x="42" y="163"/>
                  </a:lnTo>
                  <a:lnTo>
                    <a:pt x="44" y="167"/>
                  </a:lnTo>
                  <a:lnTo>
                    <a:pt x="40" y="167"/>
                  </a:lnTo>
                  <a:lnTo>
                    <a:pt x="40" y="161"/>
                  </a:lnTo>
                  <a:lnTo>
                    <a:pt x="44" y="155"/>
                  </a:lnTo>
                  <a:lnTo>
                    <a:pt x="40" y="161"/>
                  </a:lnTo>
                  <a:lnTo>
                    <a:pt x="40" y="165"/>
                  </a:lnTo>
                  <a:lnTo>
                    <a:pt x="39" y="171"/>
                  </a:lnTo>
                  <a:lnTo>
                    <a:pt x="37" y="173"/>
                  </a:lnTo>
                  <a:lnTo>
                    <a:pt x="35" y="173"/>
                  </a:lnTo>
                  <a:lnTo>
                    <a:pt x="33" y="173"/>
                  </a:lnTo>
                  <a:lnTo>
                    <a:pt x="33" y="169"/>
                  </a:lnTo>
                  <a:lnTo>
                    <a:pt x="33" y="167"/>
                  </a:lnTo>
                  <a:lnTo>
                    <a:pt x="33" y="169"/>
                  </a:lnTo>
                  <a:lnTo>
                    <a:pt x="29" y="167"/>
                  </a:lnTo>
                  <a:lnTo>
                    <a:pt x="27" y="167"/>
                  </a:lnTo>
                  <a:lnTo>
                    <a:pt x="27" y="169"/>
                  </a:lnTo>
                  <a:lnTo>
                    <a:pt x="27" y="173"/>
                  </a:lnTo>
                  <a:lnTo>
                    <a:pt x="23" y="171"/>
                  </a:lnTo>
                  <a:lnTo>
                    <a:pt x="23" y="169"/>
                  </a:lnTo>
                  <a:lnTo>
                    <a:pt x="25" y="163"/>
                  </a:lnTo>
                  <a:lnTo>
                    <a:pt x="31" y="155"/>
                  </a:lnTo>
                  <a:lnTo>
                    <a:pt x="27" y="159"/>
                  </a:lnTo>
                  <a:lnTo>
                    <a:pt x="23" y="161"/>
                  </a:lnTo>
                  <a:lnTo>
                    <a:pt x="23" y="159"/>
                  </a:lnTo>
                  <a:lnTo>
                    <a:pt x="21" y="163"/>
                  </a:lnTo>
                  <a:lnTo>
                    <a:pt x="21" y="169"/>
                  </a:lnTo>
                  <a:lnTo>
                    <a:pt x="23" y="175"/>
                  </a:lnTo>
                  <a:lnTo>
                    <a:pt x="23" y="177"/>
                  </a:lnTo>
                  <a:lnTo>
                    <a:pt x="17" y="179"/>
                  </a:lnTo>
                  <a:lnTo>
                    <a:pt x="15" y="182"/>
                  </a:lnTo>
                  <a:lnTo>
                    <a:pt x="15" y="188"/>
                  </a:lnTo>
                  <a:lnTo>
                    <a:pt x="14" y="188"/>
                  </a:lnTo>
                  <a:lnTo>
                    <a:pt x="10" y="198"/>
                  </a:lnTo>
                  <a:lnTo>
                    <a:pt x="10" y="202"/>
                  </a:lnTo>
                  <a:lnTo>
                    <a:pt x="8" y="204"/>
                  </a:lnTo>
                  <a:lnTo>
                    <a:pt x="4" y="205"/>
                  </a:lnTo>
                  <a:lnTo>
                    <a:pt x="0" y="202"/>
                  </a:lnTo>
                  <a:lnTo>
                    <a:pt x="2" y="198"/>
                  </a:lnTo>
                  <a:lnTo>
                    <a:pt x="2" y="196"/>
                  </a:lnTo>
                  <a:lnTo>
                    <a:pt x="4" y="194"/>
                  </a:lnTo>
                  <a:lnTo>
                    <a:pt x="6" y="186"/>
                  </a:lnTo>
                  <a:lnTo>
                    <a:pt x="8" y="186"/>
                  </a:lnTo>
                  <a:lnTo>
                    <a:pt x="8" y="182"/>
                  </a:lnTo>
                  <a:lnTo>
                    <a:pt x="10" y="180"/>
                  </a:lnTo>
                  <a:lnTo>
                    <a:pt x="14" y="175"/>
                  </a:lnTo>
                  <a:lnTo>
                    <a:pt x="17" y="171"/>
                  </a:lnTo>
                  <a:lnTo>
                    <a:pt x="12" y="175"/>
                  </a:lnTo>
                  <a:lnTo>
                    <a:pt x="12" y="173"/>
                  </a:lnTo>
                  <a:lnTo>
                    <a:pt x="14" y="167"/>
                  </a:lnTo>
                  <a:lnTo>
                    <a:pt x="15" y="165"/>
                  </a:lnTo>
                  <a:lnTo>
                    <a:pt x="12" y="167"/>
                  </a:lnTo>
                  <a:lnTo>
                    <a:pt x="12" y="165"/>
                  </a:lnTo>
                  <a:lnTo>
                    <a:pt x="12" y="163"/>
                  </a:lnTo>
                  <a:lnTo>
                    <a:pt x="15" y="157"/>
                  </a:lnTo>
                  <a:lnTo>
                    <a:pt x="17" y="155"/>
                  </a:lnTo>
                  <a:lnTo>
                    <a:pt x="19" y="155"/>
                  </a:lnTo>
                  <a:lnTo>
                    <a:pt x="19" y="154"/>
                  </a:lnTo>
                  <a:lnTo>
                    <a:pt x="21" y="152"/>
                  </a:lnTo>
                  <a:lnTo>
                    <a:pt x="17" y="154"/>
                  </a:lnTo>
                  <a:lnTo>
                    <a:pt x="19" y="150"/>
                  </a:lnTo>
                  <a:lnTo>
                    <a:pt x="21" y="148"/>
                  </a:lnTo>
                  <a:lnTo>
                    <a:pt x="21" y="146"/>
                  </a:lnTo>
                  <a:lnTo>
                    <a:pt x="23" y="144"/>
                  </a:lnTo>
                  <a:lnTo>
                    <a:pt x="19" y="146"/>
                  </a:lnTo>
                  <a:lnTo>
                    <a:pt x="17" y="140"/>
                  </a:lnTo>
                  <a:lnTo>
                    <a:pt x="19" y="140"/>
                  </a:lnTo>
                  <a:lnTo>
                    <a:pt x="23" y="138"/>
                  </a:lnTo>
                  <a:lnTo>
                    <a:pt x="25" y="136"/>
                  </a:lnTo>
                  <a:lnTo>
                    <a:pt x="25" y="134"/>
                  </a:lnTo>
                  <a:lnTo>
                    <a:pt x="29" y="132"/>
                  </a:lnTo>
                  <a:lnTo>
                    <a:pt x="29" y="130"/>
                  </a:lnTo>
                  <a:lnTo>
                    <a:pt x="27" y="130"/>
                  </a:lnTo>
                  <a:lnTo>
                    <a:pt x="29" y="129"/>
                  </a:lnTo>
                  <a:lnTo>
                    <a:pt x="31" y="125"/>
                  </a:lnTo>
                  <a:lnTo>
                    <a:pt x="35" y="123"/>
                  </a:lnTo>
                  <a:lnTo>
                    <a:pt x="35" y="121"/>
                  </a:lnTo>
                  <a:lnTo>
                    <a:pt x="42" y="119"/>
                  </a:lnTo>
                  <a:lnTo>
                    <a:pt x="39" y="119"/>
                  </a:lnTo>
                  <a:lnTo>
                    <a:pt x="40" y="115"/>
                  </a:lnTo>
                  <a:lnTo>
                    <a:pt x="31" y="121"/>
                  </a:lnTo>
                  <a:lnTo>
                    <a:pt x="25" y="127"/>
                  </a:lnTo>
                  <a:lnTo>
                    <a:pt x="19" y="129"/>
                  </a:lnTo>
                  <a:lnTo>
                    <a:pt x="14" y="123"/>
                  </a:lnTo>
                  <a:lnTo>
                    <a:pt x="12" y="117"/>
                  </a:lnTo>
                  <a:lnTo>
                    <a:pt x="15" y="117"/>
                  </a:lnTo>
                  <a:lnTo>
                    <a:pt x="17" y="119"/>
                  </a:lnTo>
                  <a:lnTo>
                    <a:pt x="15" y="117"/>
                  </a:lnTo>
                  <a:lnTo>
                    <a:pt x="21" y="115"/>
                  </a:lnTo>
                  <a:lnTo>
                    <a:pt x="6" y="113"/>
                  </a:lnTo>
                  <a:lnTo>
                    <a:pt x="6" y="111"/>
                  </a:lnTo>
                  <a:lnTo>
                    <a:pt x="15" y="107"/>
                  </a:lnTo>
                  <a:lnTo>
                    <a:pt x="15" y="111"/>
                  </a:lnTo>
                  <a:lnTo>
                    <a:pt x="17" y="109"/>
                  </a:lnTo>
                  <a:lnTo>
                    <a:pt x="19" y="109"/>
                  </a:lnTo>
                  <a:lnTo>
                    <a:pt x="19" y="106"/>
                  </a:lnTo>
                  <a:lnTo>
                    <a:pt x="23" y="107"/>
                  </a:lnTo>
                  <a:lnTo>
                    <a:pt x="21" y="106"/>
                  </a:lnTo>
                  <a:lnTo>
                    <a:pt x="23" y="104"/>
                  </a:lnTo>
                  <a:lnTo>
                    <a:pt x="17" y="102"/>
                  </a:lnTo>
                  <a:lnTo>
                    <a:pt x="19" y="102"/>
                  </a:lnTo>
                  <a:lnTo>
                    <a:pt x="21" y="96"/>
                  </a:lnTo>
                  <a:lnTo>
                    <a:pt x="29" y="100"/>
                  </a:lnTo>
                  <a:lnTo>
                    <a:pt x="25" y="92"/>
                  </a:lnTo>
                  <a:lnTo>
                    <a:pt x="27" y="90"/>
                  </a:lnTo>
                  <a:lnTo>
                    <a:pt x="35" y="92"/>
                  </a:lnTo>
                  <a:lnTo>
                    <a:pt x="29" y="88"/>
                  </a:lnTo>
                  <a:lnTo>
                    <a:pt x="29" y="86"/>
                  </a:lnTo>
                  <a:lnTo>
                    <a:pt x="31" y="84"/>
                  </a:lnTo>
                  <a:lnTo>
                    <a:pt x="31" y="82"/>
                  </a:lnTo>
                  <a:lnTo>
                    <a:pt x="37" y="81"/>
                  </a:lnTo>
                  <a:lnTo>
                    <a:pt x="29" y="79"/>
                  </a:lnTo>
                  <a:lnTo>
                    <a:pt x="35" y="75"/>
                  </a:lnTo>
                  <a:lnTo>
                    <a:pt x="33" y="75"/>
                  </a:lnTo>
                  <a:lnTo>
                    <a:pt x="35" y="73"/>
                  </a:lnTo>
                  <a:lnTo>
                    <a:pt x="27" y="75"/>
                  </a:lnTo>
                  <a:lnTo>
                    <a:pt x="27" y="69"/>
                  </a:lnTo>
                  <a:lnTo>
                    <a:pt x="29" y="59"/>
                  </a:lnTo>
                  <a:lnTo>
                    <a:pt x="33" y="63"/>
                  </a:lnTo>
                  <a:lnTo>
                    <a:pt x="35" y="65"/>
                  </a:lnTo>
                  <a:lnTo>
                    <a:pt x="39" y="65"/>
                  </a:lnTo>
                  <a:lnTo>
                    <a:pt x="35" y="63"/>
                  </a:lnTo>
                  <a:lnTo>
                    <a:pt x="33" y="57"/>
                  </a:lnTo>
                  <a:lnTo>
                    <a:pt x="31" y="57"/>
                  </a:lnTo>
                  <a:lnTo>
                    <a:pt x="33" y="54"/>
                  </a:lnTo>
                  <a:lnTo>
                    <a:pt x="37" y="54"/>
                  </a:lnTo>
                  <a:lnTo>
                    <a:pt x="33" y="50"/>
                  </a:lnTo>
                  <a:lnTo>
                    <a:pt x="35" y="42"/>
                  </a:lnTo>
                  <a:lnTo>
                    <a:pt x="39" y="44"/>
                  </a:lnTo>
                  <a:lnTo>
                    <a:pt x="39" y="50"/>
                  </a:lnTo>
                  <a:lnTo>
                    <a:pt x="40" y="40"/>
                  </a:lnTo>
                  <a:lnTo>
                    <a:pt x="42" y="40"/>
                  </a:lnTo>
                  <a:lnTo>
                    <a:pt x="44" y="44"/>
                  </a:lnTo>
                  <a:lnTo>
                    <a:pt x="46" y="46"/>
                  </a:lnTo>
                  <a:lnTo>
                    <a:pt x="48" y="42"/>
                  </a:lnTo>
                  <a:lnTo>
                    <a:pt x="54" y="46"/>
                  </a:lnTo>
                  <a:lnTo>
                    <a:pt x="48" y="40"/>
                  </a:lnTo>
                  <a:lnTo>
                    <a:pt x="56" y="46"/>
                  </a:lnTo>
                  <a:lnTo>
                    <a:pt x="54" y="42"/>
                  </a:lnTo>
                  <a:lnTo>
                    <a:pt x="56" y="40"/>
                  </a:lnTo>
                  <a:lnTo>
                    <a:pt x="52" y="38"/>
                  </a:lnTo>
                  <a:lnTo>
                    <a:pt x="48" y="32"/>
                  </a:lnTo>
                  <a:lnTo>
                    <a:pt x="50" y="29"/>
                  </a:lnTo>
                  <a:lnTo>
                    <a:pt x="54" y="34"/>
                  </a:lnTo>
                  <a:lnTo>
                    <a:pt x="56" y="29"/>
                  </a:lnTo>
                  <a:lnTo>
                    <a:pt x="52" y="23"/>
                  </a:lnTo>
                  <a:lnTo>
                    <a:pt x="54" y="21"/>
                  </a:lnTo>
                  <a:lnTo>
                    <a:pt x="54" y="23"/>
                  </a:lnTo>
                  <a:lnTo>
                    <a:pt x="62" y="21"/>
                  </a:lnTo>
                  <a:lnTo>
                    <a:pt x="67" y="25"/>
                  </a:lnTo>
                  <a:lnTo>
                    <a:pt x="62" y="19"/>
                  </a:lnTo>
                  <a:lnTo>
                    <a:pt x="64" y="13"/>
                  </a:lnTo>
                  <a:lnTo>
                    <a:pt x="65" y="15"/>
                  </a:lnTo>
                  <a:lnTo>
                    <a:pt x="64" y="13"/>
                  </a:lnTo>
                  <a:lnTo>
                    <a:pt x="64" y="6"/>
                  </a:lnTo>
                  <a:lnTo>
                    <a:pt x="67" y="6"/>
                  </a:lnTo>
                  <a:lnTo>
                    <a:pt x="69" y="0"/>
                  </a:lnTo>
                  <a:lnTo>
                    <a:pt x="75" y="4"/>
                  </a:lnTo>
                  <a:lnTo>
                    <a:pt x="75" y="8"/>
                  </a:lnTo>
                  <a:lnTo>
                    <a:pt x="77" y="2"/>
                  </a:lnTo>
                  <a:lnTo>
                    <a:pt x="81" y="8"/>
                  </a:lnTo>
                  <a:lnTo>
                    <a:pt x="75" y="13"/>
                  </a:lnTo>
                  <a:lnTo>
                    <a:pt x="83" y="6"/>
                  </a:lnTo>
                  <a:lnTo>
                    <a:pt x="87" y="8"/>
                  </a:lnTo>
                  <a:lnTo>
                    <a:pt x="85" y="15"/>
                  </a:lnTo>
                  <a:lnTo>
                    <a:pt x="90" y="9"/>
                  </a:lnTo>
                  <a:lnTo>
                    <a:pt x="92" y="9"/>
                  </a:lnTo>
                  <a:lnTo>
                    <a:pt x="102" y="8"/>
                  </a:lnTo>
                  <a:lnTo>
                    <a:pt x="102" y="9"/>
                  </a:lnTo>
                  <a:lnTo>
                    <a:pt x="108" y="11"/>
                  </a:lnTo>
                  <a:lnTo>
                    <a:pt x="113" y="9"/>
                  </a:lnTo>
                  <a:lnTo>
                    <a:pt x="121" y="11"/>
                  </a:lnTo>
                  <a:lnTo>
                    <a:pt x="123" y="6"/>
                  </a:lnTo>
                  <a:lnTo>
                    <a:pt x="133" y="11"/>
                  </a:lnTo>
                  <a:lnTo>
                    <a:pt x="129" y="21"/>
                  </a:lnTo>
                  <a:lnTo>
                    <a:pt x="129" y="27"/>
                  </a:lnTo>
                  <a:lnTo>
                    <a:pt x="96" y="48"/>
                  </a:lnTo>
                  <a:lnTo>
                    <a:pt x="92" y="54"/>
                  </a:lnTo>
                  <a:lnTo>
                    <a:pt x="87" y="54"/>
                  </a:lnTo>
                  <a:lnTo>
                    <a:pt x="96" y="57"/>
                  </a:lnTo>
                  <a:lnTo>
                    <a:pt x="100" y="56"/>
                  </a:lnTo>
                  <a:lnTo>
                    <a:pt x="90" y="65"/>
                  </a:lnTo>
                  <a:lnTo>
                    <a:pt x="90" y="61"/>
                  </a:lnTo>
                  <a:lnTo>
                    <a:pt x="79" y="67"/>
                  </a:lnTo>
                  <a:lnTo>
                    <a:pt x="90" y="67"/>
                  </a:lnTo>
                  <a:lnTo>
                    <a:pt x="81" y="75"/>
                  </a:lnTo>
                  <a:lnTo>
                    <a:pt x="75" y="75"/>
                  </a:lnTo>
                  <a:lnTo>
                    <a:pt x="83" y="77"/>
                  </a:lnTo>
                  <a:lnTo>
                    <a:pt x="87" y="73"/>
                  </a:lnTo>
                  <a:lnTo>
                    <a:pt x="98" y="71"/>
                  </a:lnTo>
                  <a:lnTo>
                    <a:pt x="100" y="69"/>
                  </a:lnTo>
                  <a:lnTo>
                    <a:pt x="106" y="71"/>
                  </a:lnTo>
                  <a:lnTo>
                    <a:pt x="108" y="69"/>
                  </a:lnTo>
                  <a:lnTo>
                    <a:pt x="108" y="67"/>
                  </a:lnTo>
                  <a:lnTo>
                    <a:pt x="113" y="67"/>
                  </a:lnTo>
                  <a:lnTo>
                    <a:pt x="117" y="71"/>
                  </a:lnTo>
                  <a:lnTo>
                    <a:pt x="121" y="73"/>
                  </a:lnTo>
                  <a:lnTo>
                    <a:pt x="125" y="71"/>
                  </a:lnTo>
                  <a:lnTo>
                    <a:pt x="127" y="71"/>
                  </a:lnTo>
                  <a:lnTo>
                    <a:pt x="129" y="73"/>
                  </a:lnTo>
                  <a:lnTo>
                    <a:pt x="133" y="73"/>
                  </a:lnTo>
                  <a:lnTo>
                    <a:pt x="135" y="73"/>
                  </a:lnTo>
                  <a:lnTo>
                    <a:pt x="138" y="75"/>
                  </a:lnTo>
                  <a:lnTo>
                    <a:pt x="140" y="75"/>
                  </a:lnTo>
                  <a:lnTo>
                    <a:pt x="142" y="75"/>
                  </a:lnTo>
                  <a:lnTo>
                    <a:pt x="144" y="77"/>
                  </a:lnTo>
                  <a:lnTo>
                    <a:pt x="146" y="75"/>
                  </a:lnTo>
                  <a:lnTo>
                    <a:pt x="148" y="77"/>
                  </a:lnTo>
                  <a:lnTo>
                    <a:pt x="152" y="77"/>
                  </a:lnTo>
                  <a:lnTo>
                    <a:pt x="156" y="77"/>
                  </a:lnTo>
                  <a:lnTo>
                    <a:pt x="158" y="79"/>
                  </a:lnTo>
                  <a:lnTo>
                    <a:pt x="160" y="79"/>
                  </a:lnTo>
                  <a:lnTo>
                    <a:pt x="160" y="81"/>
                  </a:lnTo>
                  <a:lnTo>
                    <a:pt x="162" y="82"/>
                  </a:lnTo>
                  <a:lnTo>
                    <a:pt x="162" y="84"/>
                  </a:lnTo>
                  <a:lnTo>
                    <a:pt x="162" y="86"/>
                  </a:lnTo>
                  <a:lnTo>
                    <a:pt x="162" y="88"/>
                  </a:lnTo>
                  <a:lnTo>
                    <a:pt x="162" y="90"/>
                  </a:lnTo>
                  <a:lnTo>
                    <a:pt x="162" y="92"/>
                  </a:lnTo>
                  <a:lnTo>
                    <a:pt x="160" y="96"/>
                  </a:lnTo>
                  <a:lnTo>
                    <a:pt x="158" y="96"/>
                  </a:lnTo>
                  <a:lnTo>
                    <a:pt x="154" y="100"/>
                  </a:lnTo>
                  <a:lnTo>
                    <a:pt x="154" y="98"/>
                  </a:lnTo>
                  <a:lnTo>
                    <a:pt x="152" y="102"/>
                  </a:lnTo>
                  <a:lnTo>
                    <a:pt x="150" y="104"/>
                  </a:lnTo>
                  <a:lnTo>
                    <a:pt x="148" y="106"/>
                  </a:lnTo>
                  <a:lnTo>
                    <a:pt x="146" y="111"/>
                  </a:lnTo>
                  <a:lnTo>
                    <a:pt x="148" y="111"/>
                  </a:lnTo>
                  <a:lnTo>
                    <a:pt x="144" y="117"/>
                  </a:lnTo>
                  <a:lnTo>
                    <a:pt x="140" y="123"/>
                  </a:lnTo>
                  <a:lnTo>
                    <a:pt x="138" y="127"/>
                  </a:lnTo>
                  <a:lnTo>
                    <a:pt x="137" y="130"/>
                  </a:lnTo>
                  <a:lnTo>
                    <a:pt x="133" y="132"/>
                  </a:lnTo>
                  <a:lnTo>
                    <a:pt x="131" y="134"/>
                  </a:lnTo>
                  <a:lnTo>
                    <a:pt x="131" y="136"/>
                  </a:lnTo>
                  <a:lnTo>
                    <a:pt x="129" y="138"/>
                  </a:lnTo>
                  <a:lnTo>
                    <a:pt x="127" y="140"/>
                  </a:lnTo>
                  <a:lnTo>
                    <a:pt x="129" y="142"/>
                  </a:lnTo>
                  <a:lnTo>
                    <a:pt x="125" y="146"/>
                  </a:lnTo>
                  <a:lnTo>
                    <a:pt x="123" y="146"/>
                  </a:lnTo>
                  <a:lnTo>
                    <a:pt x="121" y="148"/>
                  </a:lnTo>
                  <a:lnTo>
                    <a:pt x="119" y="150"/>
                  </a:lnTo>
                  <a:lnTo>
                    <a:pt x="117" y="150"/>
                  </a:lnTo>
                  <a:lnTo>
                    <a:pt x="115" y="150"/>
                  </a:lnTo>
                  <a:lnTo>
                    <a:pt x="112" y="150"/>
                  </a:lnTo>
                  <a:lnTo>
                    <a:pt x="108" y="150"/>
                  </a:lnTo>
                  <a:lnTo>
                    <a:pt x="106" y="150"/>
                  </a:lnTo>
                  <a:lnTo>
                    <a:pt x="104" y="152"/>
                  </a:lnTo>
                  <a:lnTo>
                    <a:pt x="98" y="154"/>
                  </a:lnTo>
                  <a:lnTo>
                    <a:pt x="100" y="154"/>
                  </a:lnTo>
                  <a:lnTo>
                    <a:pt x="104" y="154"/>
                  </a:lnTo>
                  <a:lnTo>
                    <a:pt x="106" y="152"/>
                  </a:lnTo>
                  <a:lnTo>
                    <a:pt x="108" y="152"/>
                  </a:lnTo>
                  <a:lnTo>
                    <a:pt x="110" y="152"/>
                  </a:lnTo>
                  <a:lnTo>
                    <a:pt x="112" y="150"/>
                  </a:lnTo>
                  <a:lnTo>
                    <a:pt x="113" y="150"/>
                  </a:lnTo>
                  <a:lnTo>
                    <a:pt x="115" y="152"/>
                  </a:lnTo>
                  <a:lnTo>
                    <a:pt x="113" y="155"/>
                  </a:lnTo>
                  <a:lnTo>
                    <a:pt x="113" y="157"/>
                  </a:lnTo>
                  <a:lnTo>
                    <a:pt x="115" y="157"/>
                  </a:lnTo>
                  <a:lnTo>
                    <a:pt x="117" y="159"/>
                  </a:lnTo>
                  <a:lnTo>
                    <a:pt x="119" y="159"/>
                  </a:lnTo>
                  <a:lnTo>
                    <a:pt x="119" y="161"/>
                  </a:lnTo>
                  <a:lnTo>
                    <a:pt x="121" y="163"/>
                  </a:lnTo>
                  <a:lnTo>
                    <a:pt x="117" y="167"/>
                  </a:lnTo>
                  <a:lnTo>
                    <a:pt x="112" y="167"/>
                  </a:lnTo>
                  <a:lnTo>
                    <a:pt x="110" y="167"/>
                  </a:lnTo>
                  <a:lnTo>
                    <a:pt x="108" y="165"/>
                  </a:lnTo>
                  <a:lnTo>
                    <a:pt x="106" y="165"/>
                  </a:lnTo>
                  <a:lnTo>
                    <a:pt x="106" y="167"/>
                  </a:lnTo>
                  <a:lnTo>
                    <a:pt x="104" y="169"/>
                  </a:lnTo>
                  <a:lnTo>
                    <a:pt x="102" y="169"/>
                  </a:lnTo>
                  <a:lnTo>
                    <a:pt x="98" y="173"/>
                  </a:lnTo>
                  <a:lnTo>
                    <a:pt x="96" y="175"/>
                  </a:lnTo>
                  <a:lnTo>
                    <a:pt x="94" y="173"/>
                  </a:lnTo>
                  <a:lnTo>
                    <a:pt x="90" y="175"/>
                  </a:lnTo>
                  <a:lnTo>
                    <a:pt x="89" y="175"/>
                  </a:lnTo>
                  <a:lnTo>
                    <a:pt x="87" y="173"/>
                  </a:lnTo>
                  <a:lnTo>
                    <a:pt x="85" y="171"/>
                  </a:lnTo>
                  <a:lnTo>
                    <a:pt x="81" y="171"/>
                  </a:lnTo>
                  <a:lnTo>
                    <a:pt x="79" y="169"/>
                  </a:lnTo>
                  <a:lnTo>
                    <a:pt x="79" y="167"/>
                  </a:lnTo>
                  <a:lnTo>
                    <a:pt x="81" y="171"/>
                  </a:lnTo>
                  <a:lnTo>
                    <a:pt x="81" y="173"/>
                  </a:lnTo>
                  <a:lnTo>
                    <a:pt x="83" y="173"/>
                  </a:lnTo>
                  <a:lnTo>
                    <a:pt x="87" y="175"/>
                  </a:lnTo>
                  <a:lnTo>
                    <a:pt x="90" y="177"/>
                  </a:lnTo>
                  <a:lnTo>
                    <a:pt x="92" y="177"/>
                  </a:lnTo>
                  <a:lnTo>
                    <a:pt x="94" y="177"/>
                  </a:lnTo>
                  <a:lnTo>
                    <a:pt x="98" y="179"/>
                  </a:lnTo>
                  <a:lnTo>
                    <a:pt x="100" y="180"/>
                  </a:lnTo>
                  <a:lnTo>
                    <a:pt x="102" y="180"/>
                  </a:lnTo>
                  <a:lnTo>
                    <a:pt x="104" y="180"/>
                  </a:lnTo>
                  <a:lnTo>
                    <a:pt x="106" y="180"/>
                  </a:lnTo>
                  <a:lnTo>
                    <a:pt x="110" y="177"/>
                  </a:lnTo>
                  <a:lnTo>
                    <a:pt x="112" y="175"/>
                  </a:lnTo>
                  <a:lnTo>
                    <a:pt x="113" y="175"/>
                  </a:lnTo>
                  <a:lnTo>
                    <a:pt x="115" y="177"/>
                  </a:lnTo>
                  <a:lnTo>
                    <a:pt x="117" y="179"/>
                  </a:lnTo>
                  <a:lnTo>
                    <a:pt x="117" y="180"/>
                  </a:lnTo>
                  <a:lnTo>
                    <a:pt x="119" y="180"/>
                  </a:lnTo>
                  <a:lnTo>
                    <a:pt x="121" y="180"/>
                  </a:lnTo>
                  <a:lnTo>
                    <a:pt x="125" y="184"/>
                  </a:lnTo>
                  <a:lnTo>
                    <a:pt x="127" y="186"/>
                  </a:lnTo>
                  <a:lnTo>
                    <a:pt x="129" y="188"/>
                  </a:lnTo>
                  <a:lnTo>
                    <a:pt x="129" y="186"/>
                  </a:lnTo>
                  <a:lnTo>
                    <a:pt x="133" y="188"/>
                  </a:lnTo>
                  <a:lnTo>
                    <a:pt x="133" y="190"/>
                  </a:lnTo>
                  <a:lnTo>
                    <a:pt x="135" y="196"/>
                  </a:lnTo>
                  <a:lnTo>
                    <a:pt x="133" y="196"/>
                  </a:lnTo>
                  <a:lnTo>
                    <a:pt x="133" y="200"/>
                  </a:lnTo>
                  <a:lnTo>
                    <a:pt x="131" y="200"/>
                  </a:lnTo>
                  <a:lnTo>
                    <a:pt x="127" y="204"/>
                  </a:lnTo>
                  <a:lnTo>
                    <a:pt x="125" y="205"/>
                  </a:lnTo>
                  <a:lnTo>
                    <a:pt x="123" y="205"/>
                  </a:lnTo>
                  <a:lnTo>
                    <a:pt x="123" y="209"/>
                  </a:lnTo>
                  <a:lnTo>
                    <a:pt x="123" y="205"/>
                  </a:lnTo>
                  <a:lnTo>
                    <a:pt x="125" y="205"/>
                  </a:lnTo>
                  <a:lnTo>
                    <a:pt x="127" y="204"/>
                  </a:lnTo>
                  <a:lnTo>
                    <a:pt x="131" y="200"/>
                  </a:lnTo>
                  <a:lnTo>
                    <a:pt x="133" y="200"/>
                  </a:lnTo>
                  <a:lnTo>
                    <a:pt x="133" y="196"/>
                  </a:lnTo>
                  <a:lnTo>
                    <a:pt x="135" y="196"/>
                  </a:lnTo>
                  <a:lnTo>
                    <a:pt x="137" y="200"/>
                  </a:lnTo>
                  <a:lnTo>
                    <a:pt x="137" y="202"/>
                  </a:lnTo>
                  <a:lnTo>
                    <a:pt x="138" y="204"/>
                  </a:lnTo>
                  <a:lnTo>
                    <a:pt x="140" y="207"/>
                  </a:lnTo>
                  <a:lnTo>
                    <a:pt x="142" y="209"/>
                  </a:lnTo>
                  <a:lnTo>
                    <a:pt x="144" y="209"/>
                  </a:lnTo>
                  <a:lnTo>
                    <a:pt x="146" y="211"/>
                  </a:lnTo>
                  <a:lnTo>
                    <a:pt x="146" y="215"/>
                  </a:lnTo>
                  <a:lnTo>
                    <a:pt x="146" y="217"/>
                  </a:lnTo>
                  <a:lnTo>
                    <a:pt x="146" y="219"/>
                  </a:lnTo>
                  <a:lnTo>
                    <a:pt x="146" y="223"/>
                  </a:lnTo>
                  <a:lnTo>
                    <a:pt x="144" y="225"/>
                  </a:lnTo>
                  <a:lnTo>
                    <a:pt x="144" y="227"/>
                  </a:lnTo>
                  <a:lnTo>
                    <a:pt x="146" y="228"/>
                  </a:lnTo>
                  <a:lnTo>
                    <a:pt x="144" y="232"/>
                  </a:lnTo>
                  <a:lnTo>
                    <a:pt x="144" y="234"/>
                  </a:lnTo>
                  <a:lnTo>
                    <a:pt x="146" y="234"/>
                  </a:lnTo>
                  <a:lnTo>
                    <a:pt x="146" y="236"/>
                  </a:lnTo>
                  <a:lnTo>
                    <a:pt x="146" y="238"/>
                  </a:lnTo>
                  <a:lnTo>
                    <a:pt x="144" y="240"/>
                  </a:lnTo>
                  <a:lnTo>
                    <a:pt x="146" y="240"/>
                  </a:lnTo>
                  <a:lnTo>
                    <a:pt x="146" y="244"/>
                  </a:lnTo>
                  <a:lnTo>
                    <a:pt x="148" y="248"/>
                  </a:lnTo>
                  <a:lnTo>
                    <a:pt x="148" y="250"/>
                  </a:lnTo>
                  <a:lnTo>
                    <a:pt x="150" y="252"/>
                  </a:lnTo>
                  <a:lnTo>
                    <a:pt x="150" y="253"/>
                  </a:lnTo>
                  <a:lnTo>
                    <a:pt x="148" y="255"/>
                  </a:lnTo>
                  <a:lnTo>
                    <a:pt x="148" y="259"/>
                  </a:lnTo>
                  <a:lnTo>
                    <a:pt x="148" y="265"/>
                  </a:lnTo>
                  <a:lnTo>
                    <a:pt x="150" y="269"/>
                  </a:lnTo>
                  <a:lnTo>
                    <a:pt x="154" y="271"/>
                  </a:lnTo>
                  <a:lnTo>
                    <a:pt x="152" y="273"/>
                  </a:lnTo>
                  <a:lnTo>
                    <a:pt x="152" y="275"/>
                  </a:lnTo>
                  <a:lnTo>
                    <a:pt x="152" y="277"/>
                  </a:lnTo>
                  <a:lnTo>
                    <a:pt x="150" y="278"/>
                  </a:lnTo>
                  <a:lnTo>
                    <a:pt x="152" y="278"/>
                  </a:lnTo>
                  <a:lnTo>
                    <a:pt x="154" y="277"/>
                  </a:lnTo>
                  <a:lnTo>
                    <a:pt x="154" y="275"/>
                  </a:lnTo>
                  <a:lnTo>
                    <a:pt x="154" y="277"/>
                  </a:lnTo>
                  <a:lnTo>
                    <a:pt x="156" y="277"/>
                  </a:lnTo>
                  <a:lnTo>
                    <a:pt x="158" y="278"/>
                  </a:lnTo>
                  <a:lnTo>
                    <a:pt x="160" y="278"/>
                  </a:lnTo>
                  <a:lnTo>
                    <a:pt x="162" y="280"/>
                  </a:lnTo>
                  <a:lnTo>
                    <a:pt x="165" y="282"/>
                  </a:lnTo>
                  <a:lnTo>
                    <a:pt x="165" y="284"/>
                  </a:lnTo>
                  <a:lnTo>
                    <a:pt x="167" y="284"/>
                  </a:lnTo>
                  <a:lnTo>
                    <a:pt x="171" y="286"/>
                  </a:lnTo>
                  <a:lnTo>
                    <a:pt x="173" y="290"/>
                  </a:lnTo>
                  <a:lnTo>
                    <a:pt x="173" y="292"/>
                  </a:lnTo>
                  <a:lnTo>
                    <a:pt x="173" y="294"/>
                  </a:lnTo>
                  <a:lnTo>
                    <a:pt x="175" y="296"/>
                  </a:lnTo>
                  <a:lnTo>
                    <a:pt x="177" y="298"/>
                  </a:lnTo>
                  <a:lnTo>
                    <a:pt x="177" y="302"/>
                  </a:lnTo>
                  <a:lnTo>
                    <a:pt x="177" y="303"/>
                  </a:lnTo>
                  <a:lnTo>
                    <a:pt x="179" y="305"/>
                  </a:lnTo>
                  <a:lnTo>
                    <a:pt x="181" y="305"/>
                  </a:lnTo>
                  <a:lnTo>
                    <a:pt x="181" y="307"/>
                  </a:lnTo>
                  <a:lnTo>
                    <a:pt x="181" y="309"/>
                  </a:lnTo>
                  <a:lnTo>
                    <a:pt x="183" y="311"/>
                  </a:lnTo>
                  <a:lnTo>
                    <a:pt x="185" y="313"/>
                  </a:lnTo>
                  <a:lnTo>
                    <a:pt x="187" y="313"/>
                  </a:lnTo>
                  <a:lnTo>
                    <a:pt x="187" y="315"/>
                  </a:lnTo>
                  <a:lnTo>
                    <a:pt x="183" y="315"/>
                  </a:lnTo>
                  <a:lnTo>
                    <a:pt x="183" y="317"/>
                  </a:lnTo>
                  <a:lnTo>
                    <a:pt x="181" y="319"/>
                  </a:lnTo>
                  <a:lnTo>
                    <a:pt x="181" y="323"/>
                  </a:lnTo>
                  <a:lnTo>
                    <a:pt x="183" y="326"/>
                  </a:lnTo>
                  <a:lnTo>
                    <a:pt x="183" y="330"/>
                  </a:lnTo>
                  <a:lnTo>
                    <a:pt x="185" y="334"/>
                  </a:lnTo>
                  <a:lnTo>
                    <a:pt x="187" y="338"/>
                  </a:lnTo>
                  <a:lnTo>
                    <a:pt x="188" y="342"/>
                  </a:lnTo>
                  <a:lnTo>
                    <a:pt x="190" y="346"/>
                  </a:lnTo>
                  <a:lnTo>
                    <a:pt x="190" y="348"/>
                  </a:lnTo>
                  <a:lnTo>
                    <a:pt x="190" y="350"/>
                  </a:lnTo>
                  <a:lnTo>
                    <a:pt x="188" y="350"/>
                  </a:lnTo>
                  <a:lnTo>
                    <a:pt x="190" y="348"/>
                  </a:lnTo>
                  <a:lnTo>
                    <a:pt x="188" y="346"/>
                  </a:lnTo>
                  <a:lnTo>
                    <a:pt x="187" y="346"/>
                  </a:lnTo>
                  <a:lnTo>
                    <a:pt x="187" y="344"/>
                  </a:lnTo>
                  <a:lnTo>
                    <a:pt x="183" y="346"/>
                  </a:lnTo>
                  <a:lnTo>
                    <a:pt x="181" y="346"/>
                  </a:lnTo>
                  <a:lnTo>
                    <a:pt x="181" y="344"/>
                  </a:lnTo>
                  <a:lnTo>
                    <a:pt x="179" y="340"/>
                  </a:lnTo>
                  <a:lnTo>
                    <a:pt x="177" y="338"/>
                  </a:lnTo>
                  <a:lnTo>
                    <a:pt x="175" y="338"/>
                  </a:lnTo>
                  <a:lnTo>
                    <a:pt x="171" y="338"/>
                  </a:lnTo>
                  <a:lnTo>
                    <a:pt x="167" y="338"/>
                  </a:lnTo>
                  <a:lnTo>
                    <a:pt x="165" y="338"/>
                  </a:lnTo>
                  <a:lnTo>
                    <a:pt x="165" y="336"/>
                  </a:lnTo>
                  <a:lnTo>
                    <a:pt x="162" y="336"/>
                  </a:lnTo>
                  <a:lnTo>
                    <a:pt x="162" y="338"/>
                  </a:lnTo>
                  <a:lnTo>
                    <a:pt x="158" y="338"/>
                  </a:lnTo>
                  <a:lnTo>
                    <a:pt x="160" y="338"/>
                  </a:lnTo>
                  <a:lnTo>
                    <a:pt x="160" y="340"/>
                  </a:lnTo>
                  <a:lnTo>
                    <a:pt x="162" y="338"/>
                  </a:lnTo>
                  <a:lnTo>
                    <a:pt x="163" y="338"/>
                  </a:lnTo>
                  <a:lnTo>
                    <a:pt x="165" y="338"/>
                  </a:lnTo>
                  <a:lnTo>
                    <a:pt x="165" y="340"/>
                  </a:lnTo>
                  <a:lnTo>
                    <a:pt x="167" y="340"/>
                  </a:lnTo>
                  <a:lnTo>
                    <a:pt x="169" y="340"/>
                  </a:lnTo>
                  <a:lnTo>
                    <a:pt x="171" y="340"/>
                  </a:lnTo>
                  <a:lnTo>
                    <a:pt x="173" y="340"/>
                  </a:lnTo>
                  <a:lnTo>
                    <a:pt x="175" y="338"/>
                  </a:lnTo>
                  <a:lnTo>
                    <a:pt x="175" y="340"/>
                  </a:lnTo>
                  <a:lnTo>
                    <a:pt x="177" y="342"/>
                  </a:lnTo>
                  <a:lnTo>
                    <a:pt x="177" y="344"/>
                  </a:lnTo>
                  <a:lnTo>
                    <a:pt x="179" y="346"/>
                  </a:lnTo>
                  <a:lnTo>
                    <a:pt x="181" y="348"/>
                  </a:lnTo>
                  <a:lnTo>
                    <a:pt x="183" y="350"/>
                  </a:lnTo>
                  <a:lnTo>
                    <a:pt x="185" y="351"/>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0" name="Freeform 148"/>
            <p:cNvSpPr>
              <a:spLocks/>
            </p:cNvSpPr>
            <p:nvPr/>
          </p:nvSpPr>
          <p:spPr bwMode="auto">
            <a:xfrm>
              <a:off x="1847" y="2242"/>
              <a:ext cx="269" cy="258"/>
            </a:xfrm>
            <a:custGeom>
              <a:avLst/>
              <a:gdLst>
                <a:gd name="T0" fmla="*/ 250 w 269"/>
                <a:gd name="T1" fmla="*/ 240 h 258"/>
                <a:gd name="T2" fmla="*/ 225 w 269"/>
                <a:gd name="T3" fmla="*/ 242 h 258"/>
                <a:gd name="T4" fmla="*/ 198 w 269"/>
                <a:gd name="T5" fmla="*/ 238 h 258"/>
                <a:gd name="T6" fmla="*/ 190 w 269"/>
                <a:gd name="T7" fmla="*/ 233 h 258"/>
                <a:gd name="T8" fmla="*/ 184 w 269"/>
                <a:gd name="T9" fmla="*/ 236 h 258"/>
                <a:gd name="T10" fmla="*/ 175 w 269"/>
                <a:gd name="T11" fmla="*/ 233 h 258"/>
                <a:gd name="T12" fmla="*/ 157 w 269"/>
                <a:gd name="T13" fmla="*/ 234 h 258"/>
                <a:gd name="T14" fmla="*/ 148 w 269"/>
                <a:gd name="T15" fmla="*/ 236 h 258"/>
                <a:gd name="T16" fmla="*/ 138 w 269"/>
                <a:gd name="T17" fmla="*/ 238 h 258"/>
                <a:gd name="T18" fmla="*/ 129 w 269"/>
                <a:gd name="T19" fmla="*/ 240 h 258"/>
                <a:gd name="T20" fmla="*/ 104 w 269"/>
                <a:gd name="T21" fmla="*/ 229 h 258"/>
                <a:gd name="T22" fmla="*/ 90 w 269"/>
                <a:gd name="T23" fmla="*/ 233 h 258"/>
                <a:gd name="T24" fmla="*/ 86 w 269"/>
                <a:gd name="T25" fmla="*/ 246 h 258"/>
                <a:gd name="T26" fmla="*/ 75 w 269"/>
                <a:gd name="T27" fmla="*/ 254 h 258"/>
                <a:gd name="T28" fmla="*/ 63 w 269"/>
                <a:gd name="T29" fmla="*/ 242 h 258"/>
                <a:gd name="T30" fmla="*/ 57 w 269"/>
                <a:gd name="T31" fmla="*/ 240 h 258"/>
                <a:gd name="T32" fmla="*/ 38 w 269"/>
                <a:gd name="T33" fmla="*/ 240 h 258"/>
                <a:gd name="T34" fmla="*/ 27 w 269"/>
                <a:gd name="T35" fmla="*/ 248 h 258"/>
                <a:gd name="T36" fmla="*/ 17 w 269"/>
                <a:gd name="T37" fmla="*/ 258 h 258"/>
                <a:gd name="T38" fmla="*/ 4 w 269"/>
                <a:gd name="T39" fmla="*/ 250 h 258"/>
                <a:gd name="T40" fmla="*/ 13 w 269"/>
                <a:gd name="T41" fmla="*/ 240 h 258"/>
                <a:gd name="T42" fmla="*/ 29 w 269"/>
                <a:gd name="T43" fmla="*/ 229 h 258"/>
                <a:gd name="T44" fmla="*/ 42 w 269"/>
                <a:gd name="T45" fmla="*/ 219 h 258"/>
                <a:gd name="T46" fmla="*/ 57 w 269"/>
                <a:gd name="T47" fmla="*/ 196 h 258"/>
                <a:gd name="T48" fmla="*/ 71 w 269"/>
                <a:gd name="T49" fmla="*/ 188 h 258"/>
                <a:gd name="T50" fmla="*/ 90 w 269"/>
                <a:gd name="T51" fmla="*/ 188 h 258"/>
                <a:gd name="T52" fmla="*/ 115 w 269"/>
                <a:gd name="T53" fmla="*/ 194 h 258"/>
                <a:gd name="T54" fmla="*/ 119 w 269"/>
                <a:gd name="T55" fmla="*/ 185 h 258"/>
                <a:gd name="T56" fmla="*/ 136 w 269"/>
                <a:gd name="T57" fmla="*/ 171 h 258"/>
                <a:gd name="T58" fmla="*/ 136 w 269"/>
                <a:gd name="T59" fmla="*/ 169 h 258"/>
                <a:gd name="T60" fmla="*/ 121 w 269"/>
                <a:gd name="T61" fmla="*/ 175 h 258"/>
                <a:gd name="T62" fmla="*/ 109 w 269"/>
                <a:gd name="T63" fmla="*/ 183 h 258"/>
                <a:gd name="T64" fmla="*/ 92 w 269"/>
                <a:gd name="T65" fmla="*/ 171 h 258"/>
                <a:gd name="T66" fmla="*/ 81 w 269"/>
                <a:gd name="T67" fmla="*/ 165 h 258"/>
                <a:gd name="T68" fmla="*/ 75 w 269"/>
                <a:gd name="T69" fmla="*/ 158 h 258"/>
                <a:gd name="T70" fmla="*/ 73 w 269"/>
                <a:gd name="T71" fmla="*/ 156 h 258"/>
                <a:gd name="T72" fmla="*/ 65 w 269"/>
                <a:gd name="T73" fmla="*/ 152 h 258"/>
                <a:gd name="T74" fmla="*/ 46 w 269"/>
                <a:gd name="T75" fmla="*/ 152 h 258"/>
                <a:gd name="T76" fmla="*/ 42 w 269"/>
                <a:gd name="T77" fmla="*/ 150 h 258"/>
                <a:gd name="T78" fmla="*/ 42 w 269"/>
                <a:gd name="T79" fmla="*/ 136 h 258"/>
                <a:gd name="T80" fmla="*/ 50 w 269"/>
                <a:gd name="T81" fmla="*/ 129 h 258"/>
                <a:gd name="T82" fmla="*/ 65 w 269"/>
                <a:gd name="T83" fmla="*/ 127 h 258"/>
                <a:gd name="T84" fmla="*/ 82 w 269"/>
                <a:gd name="T85" fmla="*/ 119 h 258"/>
                <a:gd name="T86" fmla="*/ 94 w 269"/>
                <a:gd name="T87" fmla="*/ 102 h 258"/>
                <a:gd name="T88" fmla="*/ 94 w 269"/>
                <a:gd name="T89" fmla="*/ 83 h 258"/>
                <a:gd name="T90" fmla="*/ 86 w 269"/>
                <a:gd name="T91" fmla="*/ 79 h 258"/>
                <a:gd name="T92" fmla="*/ 77 w 269"/>
                <a:gd name="T93" fmla="*/ 81 h 258"/>
                <a:gd name="T94" fmla="*/ 79 w 269"/>
                <a:gd name="T95" fmla="*/ 73 h 258"/>
                <a:gd name="T96" fmla="*/ 92 w 269"/>
                <a:gd name="T97" fmla="*/ 62 h 258"/>
                <a:gd name="T98" fmla="*/ 111 w 269"/>
                <a:gd name="T99" fmla="*/ 58 h 258"/>
                <a:gd name="T100" fmla="*/ 123 w 269"/>
                <a:gd name="T101" fmla="*/ 56 h 258"/>
                <a:gd name="T102" fmla="*/ 138 w 269"/>
                <a:gd name="T103" fmla="*/ 62 h 258"/>
                <a:gd name="T104" fmla="*/ 144 w 269"/>
                <a:gd name="T105" fmla="*/ 62 h 258"/>
                <a:gd name="T106" fmla="*/ 144 w 269"/>
                <a:gd name="T107" fmla="*/ 58 h 258"/>
                <a:gd name="T108" fmla="*/ 144 w 269"/>
                <a:gd name="T109" fmla="*/ 38 h 258"/>
                <a:gd name="T110" fmla="*/ 146 w 269"/>
                <a:gd name="T111" fmla="*/ 27 h 258"/>
                <a:gd name="T112" fmla="*/ 152 w 269"/>
                <a:gd name="T113" fmla="*/ 17 h 258"/>
                <a:gd name="T114" fmla="*/ 154 w 269"/>
                <a:gd name="T115" fmla="*/ 8 h 258"/>
                <a:gd name="T116" fmla="*/ 142 w 269"/>
                <a:gd name="T117" fmla="*/ 1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9" h="258">
                  <a:moveTo>
                    <a:pt x="269" y="229"/>
                  </a:moveTo>
                  <a:lnTo>
                    <a:pt x="267" y="229"/>
                  </a:lnTo>
                  <a:lnTo>
                    <a:pt x="265" y="231"/>
                  </a:lnTo>
                  <a:lnTo>
                    <a:pt x="263" y="234"/>
                  </a:lnTo>
                  <a:lnTo>
                    <a:pt x="263" y="236"/>
                  </a:lnTo>
                  <a:lnTo>
                    <a:pt x="263" y="238"/>
                  </a:lnTo>
                  <a:lnTo>
                    <a:pt x="259" y="238"/>
                  </a:lnTo>
                  <a:lnTo>
                    <a:pt x="257" y="236"/>
                  </a:lnTo>
                  <a:lnTo>
                    <a:pt x="255" y="236"/>
                  </a:lnTo>
                  <a:lnTo>
                    <a:pt x="250" y="240"/>
                  </a:lnTo>
                  <a:lnTo>
                    <a:pt x="248" y="240"/>
                  </a:lnTo>
                  <a:lnTo>
                    <a:pt x="246" y="240"/>
                  </a:lnTo>
                  <a:lnTo>
                    <a:pt x="242" y="240"/>
                  </a:lnTo>
                  <a:lnTo>
                    <a:pt x="240" y="240"/>
                  </a:lnTo>
                  <a:lnTo>
                    <a:pt x="238" y="242"/>
                  </a:lnTo>
                  <a:lnTo>
                    <a:pt x="234" y="246"/>
                  </a:lnTo>
                  <a:lnTo>
                    <a:pt x="232" y="246"/>
                  </a:lnTo>
                  <a:lnTo>
                    <a:pt x="229" y="244"/>
                  </a:lnTo>
                  <a:lnTo>
                    <a:pt x="227" y="242"/>
                  </a:lnTo>
                  <a:lnTo>
                    <a:pt x="225" y="242"/>
                  </a:lnTo>
                  <a:lnTo>
                    <a:pt x="223" y="240"/>
                  </a:lnTo>
                  <a:lnTo>
                    <a:pt x="219" y="238"/>
                  </a:lnTo>
                  <a:lnTo>
                    <a:pt x="217" y="236"/>
                  </a:lnTo>
                  <a:lnTo>
                    <a:pt x="213" y="238"/>
                  </a:lnTo>
                  <a:lnTo>
                    <a:pt x="211" y="238"/>
                  </a:lnTo>
                  <a:lnTo>
                    <a:pt x="207" y="236"/>
                  </a:lnTo>
                  <a:lnTo>
                    <a:pt x="205" y="236"/>
                  </a:lnTo>
                  <a:lnTo>
                    <a:pt x="204" y="238"/>
                  </a:lnTo>
                  <a:lnTo>
                    <a:pt x="200" y="238"/>
                  </a:lnTo>
                  <a:lnTo>
                    <a:pt x="198" y="238"/>
                  </a:lnTo>
                  <a:lnTo>
                    <a:pt x="196" y="238"/>
                  </a:lnTo>
                  <a:lnTo>
                    <a:pt x="196" y="240"/>
                  </a:lnTo>
                  <a:lnTo>
                    <a:pt x="194" y="240"/>
                  </a:lnTo>
                  <a:lnTo>
                    <a:pt x="190" y="236"/>
                  </a:lnTo>
                  <a:lnTo>
                    <a:pt x="190" y="234"/>
                  </a:lnTo>
                  <a:lnTo>
                    <a:pt x="192" y="234"/>
                  </a:lnTo>
                  <a:lnTo>
                    <a:pt x="192" y="233"/>
                  </a:lnTo>
                  <a:lnTo>
                    <a:pt x="190" y="233"/>
                  </a:lnTo>
                  <a:lnTo>
                    <a:pt x="190" y="234"/>
                  </a:lnTo>
                  <a:lnTo>
                    <a:pt x="190" y="233"/>
                  </a:lnTo>
                  <a:lnTo>
                    <a:pt x="188" y="233"/>
                  </a:lnTo>
                  <a:lnTo>
                    <a:pt x="188" y="234"/>
                  </a:lnTo>
                  <a:lnTo>
                    <a:pt x="190" y="236"/>
                  </a:lnTo>
                  <a:lnTo>
                    <a:pt x="188" y="236"/>
                  </a:lnTo>
                  <a:lnTo>
                    <a:pt x="186" y="236"/>
                  </a:lnTo>
                  <a:lnTo>
                    <a:pt x="186" y="234"/>
                  </a:lnTo>
                  <a:lnTo>
                    <a:pt x="188" y="233"/>
                  </a:lnTo>
                  <a:lnTo>
                    <a:pt x="186" y="233"/>
                  </a:lnTo>
                  <a:lnTo>
                    <a:pt x="186" y="234"/>
                  </a:lnTo>
                  <a:lnTo>
                    <a:pt x="184" y="236"/>
                  </a:lnTo>
                  <a:lnTo>
                    <a:pt x="182" y="234"/>
                  </a:lnTo>
                  <a:lnTo>
                    <a:pt x="184" y="231"/>
                  </a:lnTo>
                  <a:lnTo>
                    <a:pt x="180" y="231"/>
                  </a:lnTo>
                  <a:lnTo>
                    <a:pt x="182" y="233"/>
                  </a:lnTo>
                  <a:lnTo>
                    <a:pt x="182" y="234"/>
                  </a:lnTo>
                  <a:lnTo>
                    <a:pt x="180" y="234"/>
                  </a:lnTo>
                  <a:lnTo>
                    <a:pt x="179" y="233"/>
                  </a:lnTo>
                  <a:lnTo>
                    <a:pt x="177" y="231"/>
                  </a:lnTo>
                  <a:lnTo>
                    <a:pt x="173" y="227"/>
                  </a:lnTo>
                  <a:lnTo>
                    <a:pt x="175" y="233"/>
                  </a:lnTo>
                  <a:lnTo>
                    <a:pt x="171" y="233"/>
                  </a:lnTo>
                  <a:lnTo>
                    <a:pt x="171" y="234"/>
                  </a:lnTo>
                  <a:lnTo>
                    <a:pt x="169" y="234"/>
                  </a:lnTo>
                  <a:lnTo>
                    <a:pt x="167" y="234"/>
                  </a:lnTo>
                  <a:lnTo>
                    <a:pt x="167" y="236"/>
                  </a:lnTo>
                  <a:lnTo>
                    <a:pt x="165" y="236"/>
                  </a:lnTo>
                  <a:lnTo>
                    <a:pt x="163" y="236"/>
                  </a:lnTo>
                  <a:lnTo>
                    <a:pt x="161" y="234"/>
                  </a:lnTo>
                  <a:lnTo>
                    <a:pt x="159" y="234"/>
                  </a:lnTo>
                  <a:lnTo>
                    <a:pt x="157" y="234"/>
                  </a:lnTo>
                  <a:lnTo>
                    <a:pt x="156" y="234"/>
                  </a:lnTo>
                  <a:lnTo>
                    <a:pt x="152" y="234"/>
                  </a:lnTo>
                  <a:lnTo>
                    <a:pt x="150" y="236"/>
                  </a:lnTo>
                  <a:lnTo>
                    <a:pt x="150" y="234"/>
                  </a:lnTo>
                  <a:lnTo>
                    <a:pt x="148" y="234"/>
                  </a:lnTo>
                  <a:lnTo>
                    <a:pt x="148" y="233"/>
                  </a:lnTo>
                  <a:lnTo>
                    <a:pt x="146" y="234"/>
                  </a:lnTo>
                  <a:lnTo>
                    <a:pt x="148" y="234"/>
                  </a:lnTo>
                  <a:lnTo>
                    <a:pt x="146" y="234"/>
                  </a:lnTo>
                  <a:lnTo>
                    <a:pt x="148" y="236"/>
                  </a:lnTo>
                  <a:lnTo>
                    <a:pt x="150" y="236"/>
                  </a:lnTo>
                  <a:lnTo>
                    <a:pt x="150" y="238"/>
                  </a:lnTo>
                  <a:lnTo>
                    <a:pt x="148" y="242"/>
                  </a:lnTo>
                  <a:lnTo>
                    <a:pt x="146" y="242"/>
                  </a:lnTo>
                  <a:lnTo>
                    <a:pt x="144" y="242"/>
                  </a:lnTo>
                  <a:lnTo>
                    <a:pt x="144" y="240"/>
                  </a:lnTo>
                  <a:lnTo>
                    <a:pt x="142" y="240"/>
                  </a:lnTo>
                  <a:lnTo>
                    <a:pt x="142" y="238"/>
                  </a:lnTo>
                  <a:lnTo>
                    <a:pt x="140" y="238"/>
                  </a:lnTo>
                  <a:lnTo>
                    <a:pt x="138" y="238"/>
                  </a:lnTo>
                  <a:lnTo>
                    <a:pt x="134" y="236"/>
                  </a:lnTo>
                  <a:lnTo>
                    <a:pt x="131" y="236"/>
                  </a:lnTo>
                  <a:lnTo>
                    <a:pt x="131" y="238"/>
                  </a:lnTo>
                  <a:lnTo>
                    <a:pt x="129" y="238"/>
                  </a:lnTo>
                  <a:lnTo>
                    <a:pt x="129" y="240"/>
                  </a:lnTo>
                  <a:lnTo>
                    <a:pt x="131" y="240"/>
                  </a:lnTo>
                  <a:lnTo>
                    <a:pt x="131" y="242"/>
                  </a:lnTo>
                  <a:lnTo>
                    <a:pt x="129" y="244"/>
                  </a:lnTo>
                  <a:lnTo>
                    <a:pt x="129" y="242"/>
                  </a:lnTo>
                  <a:lnTo>
                    <a:pt x="129" y="240"/>
                  </a:lnTo>
                  <a:lnTo>
                    <a:pt x="129" y="238"/>
                  </a:lnTo>
                  <a:lnTo>
                    <a:pt x="123" y="233"/>
                  </a:lnTo>
                  <a:lnTo>
                    <a:pt x="119" y="229"/>
                  </a:lnTo>
                  <a:lnTo>
                    <a:pt x="115" y="227"/>
                  </a:lnTo>
                  <a:lnTo>
                    <a:pt x="113" y="227"/>
                  </a:lnTo>
                  <a:lnTo>
                    <a:pt x="111" y="227"/>
                  </a:lnTo>
                  <a:lnTo>
                    <a:pt x="109" y="229"/>
                  </a:lnTo>
                  <a:lnTo>
                    <a:pt x="107" y="227"/>
                  </a:lnTo>
                  <a:lnTo>
                    <a:pt x="106" y="229"/>
                  </a:lnTo>
                  <a:lnTo>
                    <a:pt x="104" y="229"/>
                  </a:lnTo>
                  <a:lnTo>
                    <a:pt x="100" y="229"/>
                  </a:lnTo>
                  <a:lnTo>
                    <a:pt x="98" y="231"/>
                  </a:lnTo>
                  <a:lnTo>
                    <a:pt x="96" y="231"/>
                  </a:lnTo>
                  <a:lnTo>
                    <a:pt x="94" y="231"/>
                  </a:lnTo>
                  <a:lnTo>
                    <a:pt x="94" y="227"/>
                  </a:lnTo>
                  <a:lnTo>
                    <a:pt x="92" y="227"/>
                  </a:lnTo>
                  <a:lnTo>
                    <a:pt x="92" y="229"/>
                  </a:lnTo>
                  <a:lnTo>
                    <a:pt x="92" y="231"/>
                  </a:lnTo>
                  <a:lnTo>
                    <a:pt x="94" y="231"/>
                  </a:lnTo>
                  <a:lnTo>
                    <a:pt x="90" y="233"/>
                  </a:lnTo>
                  <a:lnTo>
                    <a:pt x="90" y="234"/>
                  </a:lnTo>
                  <a:lnTo>
                    <a:pt x="88" y="236"/>
                  </a:lnTo>
                  <a:lnTo>
                    <a:pt x="88" y="238"/>
                  </a:lnTo>
                  <a:lnTo>
                    <a:pt x="88" y="240"/>
                  </a:lnTo>
                  <a:lnTo>
                    <a:pt x="86" y="238"/>
                  </a:lnTo>
                  <a:lnTo>
                    <a:pt x="86" y="240"/>
                  </a:lnTo>
                  <a:lnTo>
                    <a:pt x="86" y="242"/>
                  </a:lnTo>
                  <a:lnTo>
                    <a:pt x="88" y="242"/>
                  </a:lnTo>
                  <a:lnTo>
                    <a:pt x="88" y="244"/>
                  </a:lnTo>
                  <a:lnTo>
                    <a:pt x="86" y="246"/>
                  </a:lnTo>
                  <a:lnTo>
                    <a:pt x="84" y="246"/>
                  </a:lnTo>
                  <a:lnTo>
                    <a:pt x="84" y="248"/>
                  </a:lnTo>
                  <a:lnTo>
                    <a:pt x="82" y="248"/>
                  </a:lnTo>
                  <a:lnTo>
                    <a:pt x="81" y="250"/>
                  </a:lnTo>
                  <a:lnTo>
                    <a:pt x="81" y="252"/>
                  </a:lnTo>
                  <a:lnTo>
                    <a:pt x="81" y="254"/>
                  </a:lnTo>
                  <a:lnTo>
                    <a:pt x="79" y="254"/>
                  </a:lnTo>
                  <a:lnTo>
                    <a:pt x="77" y="254"/>
                  </a:lnTo>
                  <a:lnTo>
                    <a:pt x="77" y="252"/>
                  </a:lnTo>
                  <a:lnTo>
                    <a:pt x="75" y="254"/>
                  </a:lnTo>
                  <a:lnTo>
                    <a:pt x="73" y="252"/>
                  </a:lnTo>
                  <a:lnTo>
                    <a:pt x="71" y="250"/>
                  </a:lnTo>
                  <a:lnTo>
                    <a:pt x="73" y="250"/>
                  </a:lnTo>
                  <a:lnTo>
                    <a:pt x="71" y="248"/>
                  </a:lnTo>
                  <a:lnTo>
                    <a:pt x="69" y="246"/>
                  </a:lnTo>
                  <a:lnTo>
                    <a:pt x="67" y="246"/>
                  </a:lnTo>
                  <a:lnTo>
                    <a:pt x="65" y="246"/>
                  </a:lnTo>
                  <a:lnTo>
                    <a:pt x="65" y="244"/>
                  </a:lnTo>
                  <a:lnTo>
                    <a:pt x="63" y="244"/>
                  </a:lnTo>
                  <a:lnTo>
                    <a:pt x="63" y="242"/>
                  </a:lnTo>
                  <a:lnTo>
                    <a:pt x="63" y="240"/>
                  </a:lnTo>
                  <a:lnTo>
                    <a:pt x="61" y="240"/>
                  </a:lnTo>
                  <a:lnTo>
                    <a:pt x="61" y="236"/>
                  </a:lnTo>
                  <a:lnTo>
                    <a:pt x="61" y="234"/>
                  </a:lnTo>
                  <a:lnTo>
                    <a:pt x="61" y="236"/>
                  </a:lnTo>
                  <a:lnTo>
                    <a:pt x="59" y="238"/>
                  </a:lnTo>
                  <a:lnTo>
                    <a:pt x="61" y="240"/>
                  </a:lnTo>
                  <a:lnTo>
                    <a:pt x="61" y="242"/>
                  </a:lnTo>
                  <a:lnTo>
                    <a:pt x="59" y="242"/>
                  </a:lnTo>
                  <a:lnTo>
                    <a:pt x="57" y="240"/>
                  </a:lnTo>
                  <a:lnTo>
                    <a:pt x="56" y="240"/>
                  </a:lnTo>
                  <a:lnTo>
                    <a:pt x="52" y="238"/>
                  </a:lnTo>
                  <a:lnTo>
                    <a:pt x="50" y="240"/>
                  </a:lnTo>
                  <a:lnTo>
                    <a:pt x="48" y="240"/>
                  </a:lnTo>
                  <a:lnTo>
                    <a:pt x="46" y="240"/>
                  </a:lnTo>
                  <a:lnTo>
                    <a:pt x="44" y="238"/>
                  </a:lnTo>
                  <a:lnTo>
                    <a:pt x="42" y="240"/>
                  </a:lnTo>
                  <a:lnTo>
                    <a:pt x="42" y="238"/>
                  </a:lnTo>
                  <a:lnTo>
                    <a:pt x="40" y="238"/>
                  </a:lnTo>
                  <a:lnTo>
                    <a:pt x="38" y="240"/>
                  </a:lnTo>
                  <a:lnTo>
                    <a:pt x="38" y="242"/>
                  </a:lnTo>
                  <a:lnTo>
                    <a:pt x="36" y="244"/>
                  </a:lnTo>
                  <a:lnTo>
                    <a:pt x="34" y="244"/>
                  </a:lnTo>
                  <a:lnTo>
                    <a:pt x="33" y="246"/>
                  </a:lnTo>
                  <a:lnTo>
                    <a:pt x="31" y="244"/>
                  </a:lnTo>
                  <a:lnTo>
                    <a:pt x="29" y="246"/>
                  </a:lnTo>
                  <a:lnTo>
                    <a:pt x="27" y="248"/>
                  </a:lnTo>
                  <a:lnTo>
                    <a:pt x="27" y="244"/>
                  </a:lnTo>
                  <a:lnTo>
                    <a:pt x="25" y="246"/>
                  </a:lnTo>
                  <a:lnTo>
                    <a:pt x="27" y="248"/>
                  </a:lnTo>
                  <a:lnTo>
                    <a:pt x="25" y="248"/>
                  </a:lnTo>
                  <a:lnTo>
                    <a:pt x="25" y="250"/>
                  </a:lnTo>
                  <a:lnTo>
                    <a:pt x="23" y="250"/>
                  </a:lnTo>
                  <a:lnTo>
                    <a:pt x="25" y="252"/>
                  </a:lnTo>
                  <a:lnTo>
                    <a:pt x="23" y="254"/>
                  </a:lnTo>
                  <a:lnTo>
                    <a:pt x="23" y="256"/>
                  </a:lnTo>
                  <a:lnTo>
                    <a:pt x="21" y="256"/>
                  </a:lnTo>
                  <a:lnTo>
                    <a:pt x="19" y="256"/>
                  </a:lnTo>
                  <a:lnTo>
                    <a:pt x="19" y="258"/>
                  </a:lnTo>
                  <a:lnTo>
                    <a:pt x="17" y="258"/>
                  </a:lnTo>
                  <a:lnTo>
                    <a:pt x="15" y="256"/>
                  </a:lnTo>
                  <a:lnTo>
                    <a:pt x="15" y="254"/>
                  </a:lnTo>
                  <a:lnTo>
                    <a:pt x="15" y="252"/>
                  </a:lnTo>
                  <a:lnTo>
                    <a:pt x="15" y="250"/>
                  </a:lnTo>
                  <a:lnTo>
                    <a:pt x="13" y="248"/>
                  </a:lnTo>
                  <a:lnTo>
                    <a:pt x="11" y="246"/>
                  </a:lnTo>
                  <a:lnTo>
                    <a:pt x="8" y="246"/>
                  </a:lnTo>
                  <a:lnTo>
                    <a:pt x="8" y="248"/>
                  </a:lnTo>
                  <a:lnTo>
                    <a:pt x="6" y="248"/>
                  </a:lnTo>
                  <a:lnTo>
                    <a:pt x="4" y="250"/>
                  </a:lnTo>
                  <a:lnTo>
                    <a:pt x="0" y="248"/>
                  </a:lnTo>
                  <a:lnTo>
                    <a:pt x="0" y="246"/>
                  </a:lnTo>
                  <a:lnTo>
                    <a:pt x="0" y="242"/>
                  </a:lnTo>
                  <a:lnTo>
                    <a:pt x="2" y="240"/>
                  </a:lnTo>
                  <a:lnTo>
                    <a:pt x="4" y="240"/>
                  </a:lnTo>
                  <a:lnTo>
                    <a:pt x="6" y="240"/>
                  </a:lnTo>
                  <a:lnTo>
                    <a:pt x="9" y="238"/>
                  </a:lnTo>
                  <a:lnTo>
                    <a:pt x="11" y="238"/>
                  </a:lnTo>
                  <a:lnTo>
                    <a:pt x="11" y="240"/>
                  </a:lnTo>
                  <a:lnTo>
                    <a:pt x="13" y="240"/>
                  </a:lnTo>
                  <a:lnTo>
                    <a:pt x="13" y="238"/>
                  </a:lnTo>
                  <a:lnTo>
                    <a:pt x="15" y="238"/>
                  </a:lnTo>
                  <a:lnTo>
                    <a:pt x="17" y="238"/>
                  </a:lnTo>
                  <a:lnTo>
                    <a:pt x="21" y="236"/>
                  </a:lnTo>
                  <a:lnTo>
                    <a:pt x="21" y="234"/>
                  </a:lnTo>
                  <a:lnTo>
                    <a:pt x="23" y="234"/>
                  </a:lnTo>
                  <a:lnTo>
                    <a:pt x="25" y="233"/>
                  </a:lnTo>
                  <a:lnTo>
                    <a:pt x="25" y="231"/>
                  </a:lnTo>
                  <a:lnTo>
                    <a:pt x="27" y="229"/>
                  </a:lnTo>
                  <a:lnTo>
                    <a:pt x="29" y="229"/>
                  </a:lnTo>
                  <a:lnTo>
                    <a:pt x="31" y="227"/>
                  </a:lnTo>
                  <a:lnTo>
                    <a:pt x="33" y="223"/>
                  </a:lnTo>
                  <a:lnTo>
                    <a:pt x="34" y="223"/>
                  </a:lnTo>
                  <a:lnTo>
                    <a:pt x="34" y="221"/>
                  </a:lnTo>
                  <a:lnTo>
                    <a:pt x="36" y="223"/>
                  </a:lnTo>
                  <a:lnTo>
                    <a:pt x="36" y="221"/>
                  </a:lnTo>
                  <a:lnTo>
                    <a:pt x="36" y="219"/>
                  </a:lnTo>
                  <a:lnTo>
                    <a:pt x="38" y="221"/>
                  </a:lnTo>
                  <a:lnTo>
                    <a:pt x="40" y="221"/>
                  </a:lnTo>
                  <a:lnTo>
                    <a:pt x="42" y="219"/>
                  </a:lnTo>
                  <a:lnTo>
                    <a:pt x="44" y="217"/>
                  </a:lnTo>
                  <a:lnTo>
                    <a:pt x="46" y="215"/>
                  </a:lnTo>
                  <a:lnTo>
                    <a:pt x="48" y="213"/>
                  </a:lnTo>
                  <a:lnTo>
                    <a:pt x="50" y="211"/>
                  </a:lnTo>
                  <a:lnTo>
                    <a:pt x="52" y="211"/>
                  </a:lnTo>
                  <a:lnTo>
                    <a:pt x="54" y="208"/>
                  </a:lnTo>
                  <a:lnTo>
                    <a:pt x="54" y="204"/>
                  </a:lnTo>
                  <a:lnTo>
                    <a:pt x="56" y="202"/>
                  </a:lnTo>
                  <a:lnTo>
                    <a:pt x="56" y="200"/>
                  </a:lnTo>
                  <a:lnTo>
                    <a:pt x="57" y="196"/>
                  </a:lnTo>
                  <a:lnTo>
                    <a:pt x="59" y="196"/>
                  </a:lnTo>
                  <a:lnTo>
                    <a:pt x="61" y="198"/>
                  </a:lnTo>
                  <a:lnTo>
                    <a:pt x="63" y="200"/>
                  </a:lnTo>
                  <a:lnTo>
                    <a:pt x="65" y="200"/>
                  </a:lnTo>
                  <a:lnTo>
                    <a:pt x="67" y="198"/>
                  </a:lnTo>
                  <a:lnTo>
                    <a:pt x="69" y="196"/>
                  </a:lnTo>
                  <a:lnTo>
                    <a:pt x="69" y="194"/>
                  </a:lnTo>
                  <a:lnTo>
                    <a:pt x="69" y="192"/>
                  </a:lnTo>
                  <a:lnTo>
                    <a:pt x="69" y="190"/>
                  </a:lnTo>
                  <a:lnTo>
                    <a:pt x="71" y="188"/>
                  </a:lnTo>
                  <a:lnTo>
                    <a:pt x="71" y="186"/>
                  </a:lnTo>
                  <a:lnTo>
                    <a:pt x="75" y="186"/>
                  </a:lnTo>
                  <a:lnTo>
                    <a:pt x="77" y="186"/>
                  </a:lnTo>
                  <a:lnTo>
                    <a:pt x="79" y="188"/>
                  </a:lnTo>
                  <a:lnTo>
                    <a:pt x="81" y="188"/>
                  </a:lnTo>
                  <a:lnTo>
                    <a:pt x="82" y="186"/>
                  </a:lnTo>
                  <a:lnTo>
                    <a:pt x="84" y="188"/>
                  </a:lnTo>
                  <a:lnTo>
                    <a:pt x="86" y="188"/>
                  </a:lnTo>
                  <a:lnTo>
                    <a:pt x="86" y="186"/>
                  </a:lnTo>
                  <a:lnTo>
                    <a:pt x="90" y="188"/>
                  </a:lnTo>
                  <a:lnTo>
                    <a:pt x="94" y="190"/>
                  </a:lnTo>
                  <a:lnTo>
                    <a:pt x="96" y="190"/>
                  </a:lnTo>
                  <a:lnTo>
                    <a:pt x="100" y="192"/>
                  </a:lnTo>
                  <a:lnTo>
                    <a:pt x="102" y="194"/>
                  </a:lnTo>
                  <a:lnTo>
                    <a:pt x="104" y="194"/>
                  </a:lnTo>
                  <a:lnTo>
                    <a:pt x="107" y="194"/>
                  </a:lnTo>
                  <a:lnTo>
                    <a:pt x="109" y="194"/>
                  </a:lnTo>
                  <a:lnTo>
                    <a:pt x="111" y="194"/>
                  </a:lnTo>
                  <a:lnTo>
                    <a:pt x="113" y="194"/>
                  </a:lnTo>
                  <a:lnTo>
                    <a:pt x="115" y="194"/>
                  </a:lnTo>
                  <a:lnTo>
                    <a:pt x="115" y="196"/>
                  </a:lnTo>
                  <a:lnTo>
                    <a:pt x="115" y="194"/>
                  </a:lnTo>
                  <a:lnTo>
                    <a:pt x="117" y="194"/>
                  </a:lnTo>
                  <a:lnTo>
                    <a:pt x="117" y="192"/>
                  </a:lnTo>
                  <a:lnTo>
                    <a:pt x="117" y="190"/>
                  </a:lnTo>
                  <a:lnTo>
                    <a:pt x="117" y="188"/>
                  </a:lnTo>
                  <a:lnTo>
                    <a:pt x="117" y="186"/>
                  </a:lnTo>
                  <a:lnTo>
                    <a:pt x="117" y="188"/>
                  </a:lnTo>
                  <a:lnTo>
                    <a:pt x="119" y="186"/>
                  </a:lnTo>
                  <a:lnTo>
                    <a:pt x="119" y="185"/>
                  </a:lnTo>
                  <a:lnTo>
                    <a:pt x="121" y="185"/>
                  </a:lnTo>
                  <a:lnTo>
                    <a:pt x="123" y="183"/>
                  </a:lnTo>
                  <a:lnTo>
                    <a:pt x="123" y="181"/>
                  </a:lnTo>
                  <a:lnTo>
                    <a:pt x="127" y="179"/>
                  </a:lnTo>
                  <a:lnTo>
                    <a:pt x="129" y="179"/>
                  </a:lnTo>
                  <a:lnTo>
                    <a:pt x="131" y="179"/>
                  </a:lnTo>
                  <a:lnTo>
                    <a:pt x="132" y="177"/>
                  </a:lnTo>
                  <a:lnTo>
                    <a:pt x="132" y="175"/>
                  </a:lnTo>
                  <a:lnTo>
                    <a:pt x="134" y="173"/>
                  </a:lnTo>
                  <a:lnTo>
                    <a:pt x="136" y="171"/>
                  </a:lnTo>
                  <a:lnTo>
                    <a:pt x="138" y="169"/>
                  </a:lnTo>
                  <a:lnTo>
                    <a:pt x="140" y="167"/>
                  </a:lnTo>
                  <a:lnTo>
                    <a:pt x="142" y="165"/>
                  </a:lnTo>
                  <a:lnTo>
                    <a:pt x="146" y="165"/>
                  </a:lnTo>
                  <a:lnTo>
                    <a:pt x="146" y="163"/>
                  </a:lnTo>
                  <a:lnTo>
                    <a:pt x="144" y="163"/>
                  </a:lnTo>
                  <a:lnTo>
                    <a:pt x="142" y="165"/>
                  </a:lnTo>
                  <a:lnTo>
                    <a:pt x="140" y="167"/>
                  </a:lnTo>
                  <a:lnTo>
                    <a:pt x="138" y="167"/>
                  </a:lnTo>
                  <a:lnTo>
                    <a:pt x="136" y="169"/>
                  </a:lnTo>
                  <a:lnTo>
                    <a:pt x="134" y="169"/>
                  </a:lnTo>
                  <a:lnTo>
                    <a:pt x="134" y="171"/>
                  </a:lnTo>
                  <a:lnTo>
                    <a:pt x="132" y="171"/>
                  </a:lnTo>
                  <a:lnTo>
                    <a:pt x="132" y="173"/>
                  </a:lnTo>
                  <a:lnTo>
                    <a:pt x="131" y="173"/>
                  </a:lnTo>
                  <a:lnTo>
                    <a:pt x="125" y="175"/>
                  </a:lnTo>
                  <a:lnTo>
                    <a:pt x="123" y="175"/>
                  </a:lnTo>
                  <a:lnTo>
                    <a:pt x="121" y="175"/>
                  </a:lnTo>
                  <a:lnTo>
                    <a:pt x="121" y="173"/>
                  </a:lnTo>
                  <a:lnTo>
                    <a:pt x="121" y="175"/>
                  </a:lnTo>
                  <a:lnTo>
                    <a:pt x="119" y="175"/>
                  </a:lnTo>
                  <a:lnTo>
                    <a:pt x="117" y="175"/>
                  </a:lnTo>
                  <a:lnTo>
                    <a:pt x="117" y="177"/>
                  </a:lnTo>
                  <a:lnTo>
                    <a:pt x="115" y="177"/>
                  </a:lnTo>
                  <a:lnTo>
                    <a:pt x="115" y="179"/>
                  </a:lnTo>
                  <a:lnTo>
                    <a:pt x="113" y="179"/>
                  </a:lnTo>
                  <a:lnTo>
                    <a:pt x="113" y="181"/>
                  </a:lnTo>
                  <a:lnTo>
                    <a:pt x="111" y="183"/>
                  </a:lnTo>
                  <a:lnTo>
                    <a:pt x="109" y="181"/>
                  </a:lnTo>
                  <a:lnTo>
                    <a:pt x="109" y="183"/>
                  </a:lnTo>
                  <a:lnTo>
                    <a:pt x="106" y="181"/>
                  </a:lnTo>
                  <a:lnTo>
                    <a:pt x="104" y="181"/>
                  </a:lnTo>
                  <a:lnTo>
                    <a:pt x="100" y="181"/>
                  </a:lnTo>
                  <a:lnTo>
                    <a:pt x="98" y="179"/>
                  </a:lnTo>
                  <a:lnTo>
                    <a:pt x="96" y="177"/>
                  </a:lnTo>
                  <a:lnTo>
                    <a:pt x="96" y="175"/>
                  </a:lnTo>
                  <a:lnTo>
                    <a:pt x="94" y="175"/>
                  </a:lnTo>
                  <a:lnTo>
                    <a:pt x="96" y="173"/>
                  </a:lnTo>
                  <a:lnTo>
                    <a:pt x="92" y="173"/>
                  </a:lnTo>
                  <a:lnTo>
                    <a:pt x="92" y="171"/>
                  </a:lnTo>
                  <a:lnTo>
                    <a:pt x="92" y="169"/>
                  </a:lnTo>
                  <a:lnTo>
                    <a:pt x="92" y="167"/>
                  </a:lnTo>
                  <a:lnTo>
                    <a:pt x="90" y="165"/>
                  </a:lnTo>
                  <a:lnTo>
                    <a:pt x="90" y="163"/>
                  </a:lnTo>
                  <a:lnTo>
                    <a:pt x="88" y="163"/>
                  </a:lnTo>
                  <a:lnTo>
                    <a:pt x="86" y="163"/>
                  </a:lnTo>
                  <a:lnTo>
                    <a:pt x="84" y="163"/>
                  </a:lnTo>
                  <a:lnTo>
                    <a:pt x="84" y="165"/>
                  </a:lnTo>
                  <a:lnTo>
                    <a:pt x="82" y="165"/>
                  </a:lnTo>
                  <a:lnTo>
                    <a:pt x="81" y="165"/>
                  </a:lnTo>
                  <a:lnTo>
                    <a:pt x="79" y="163"/>
                  </a:lnTo>
                  <a:lnTo>
                    <a:pt x="77" y="163"/>
                  </a:lnTo>
                  <a:lnTo>
                    <a:pt x="79" y="165"/>
                  </a:lnTo>
                  <a:lnTo>
                    <a:pt x="77" y="165"/>
                  </a:lnTo>
                  <a:lnTo>
                    <a:pt x="75" y="165"/>
                  </a:lnTo>
                  <a:lnTo>
                    <a:pt x="73" y="163"/>
                  </a:lnTo>
                  <a:lnTo>
                    <a:pt x="73" y="161"/>
                  </a:lnTo>
                  <a:lnTo>
                    <a:pt x="73" y="160"/>
                  </a:lnTo>
                  <a:lnTo>
                    <a:pt x="75" y="160"/>
                  </a:lnTo>
                  <a:lnTo>
                    <a:pt x="75" y="158"/>
                  </a:lnTo>
                  <a:lnTo>
                    <a:pt x="75" y="160"/>
                  </a:lnTo>
                  <a:lnTo>
                    <a:pt x="77" y="160"/>
                  </a:lnTo>
                  <a:lnTo>
                    <a:pt x="79" y="160"/>
                  </a:lnTo>
                  <a:lnTo>
                    <a:pt x="81" y="160"/>
                  </a:lnTo>
                  <a:lnTo>
                    <a:pt x="82" y="158"/>
                  </a:lnTo>
                  <a:lnTo>
                    <a:pt x="81" y="158"/>
                  </a:lnTo>
                  <a:lnTo>
                    <a:pt x="79" y="158"/>
                  </a:lnTo>
                  <a:lnTo>
                    <a:pt x="77" y="158"/>
                  </a:lnTo>
                  <a:lnTo>
                    <a:pt x="75" y="156"/>
                  </a:lnTo>
                  <a:lnTo>
                    <a:pt x="73" y="156"/>
                  </a:lnTo>
                  <a:lnTo>
                    <a:pt x="73" y="154"/>
                  </a:lnTo>
                  <a:lnTo>
                    <a:pt x="71" y="152"/>
                  </a:lnTo>
                  <a:lnTo>
                    <a:pt x="73" y="152"/>
                  </a:lnTo>
                  <a:lnTo>
                    <a:pt x="71" y="150"/>
                  </a:lnTo>
                  <a:lnTo>
                    <a:pt x="73" y="148"/>
                  </a:lnTo>
                  <a:lnTo>
                    <a:pt x="71" y="150"/>
                  </a:lnTo>
                  <a:lnTo>
                    <a:pt x="69" y="148"/>
                  </a:lnTo>
                  <a:lnTo>
                    <a:pt x="69" y="150"/>
                  </a:lnTo>
                  <a:lnTo>
                    <a:pt x="69" y="152"/>
                  </a:lnTo>
                  <a:lnTo>
                    <a:pt x="65" y="152"/>
                  </a:lnTo>
                  <a:lnTo>
                    <a:pt x="65" y="150"/>
                  </a:lnTo>
                  <a:lnTo>
                    <a:pt x="61" y="150"/>
                  </a:lnTo>
                  <a:lnTo>
                    <a:pt x="59" y="152"/>
                  </a:lnTo>
                  <a:lnTo>
                    <a:pt x="57" y="154"/>
                  </a:lnTo>
                  <a:lnTo>
                    <a:pt x="56" y="156"/>
                  </a:lnTo>
                  <a:lnTo>
                    <a:pt x="56" y="154"/>
                  </a:lnTo>
                  <a:lnTo>
                    <a:pt x="54" y="154"/>
                  </a:lnTo>
                  <a:lnTo>
                    <a:pt x="50" y="156"/>
                  </a:lnTo>
                  <a:lnTo>
                    <a:pt x="46" y="154"/>
                  </a:lnTo>
                  <a:lnTo>
                    <a:pt x="46" y="152"/>
                  </a:lnTo>
                  <a:lnTo>
                    <a:pt x="44" y="150"/>
                  </a:lnTo>
                  <a:lnTo>
                    <a:pt x="46" y="150"/>
                  </a:lnTo>
                  <a:lnTo>
                    <a:pt x="48" y="150"/>
                  </a:lnTo>
                  <a:lnTo>
                    <a:pt x="50" y="150"/>
                  </a:lnTo>
                  <a:lnTo>
                    <a:pt x="52" y="148"/>
                  </a:lnTo>
                  <a:lnTo>
                    <a:pt x="48" y="150"/>
                  </a:lnTo>
                  <a:lnTo>
                    <a:pt x="46" y="148"/>
                  </a:lnTo>
                  <a:lnTo>
                    <a:pt x="44" y="148"/>
                  </a:lnTo>
                  <a:lnTo>
                    <a:pt x="42" y="148"/>
                  </a:lnTo>
                  <a:lnTo>
                    <a:pt x="42" y="150"/>
                  </a:lnTo>
                  <a:lnTo>
                    <a:pt x="40" y="148"/>
                  </a:lnTo>
                  <a:lnTo>
                    <a:pt x="40" y="146"/>
                  </a:lnTo>
                  <a:lnTo>
                    <a:pt x="40" y="144"/>
                  </a:lnTo>
                  <a:lnTo>
                    <a:pt x="40" y="146"/>
                  </a:lnTo>
                  <a:lnTo>
                    <a:pt x="42" y="144"/>
                  </a:lnTo>
                  <a:lnTo>
                    <a:pt x="44" y="142"/>
                  </a:lnTo>
                  <a:lnTo>
                    <a:pt x="46" y="142"/>
                  </a:lnTo>
                  <a:lnTo>
                    <a:pt x="46" y="140"/>
                  </a:lnTo>
                  <a:lnTo>
                    <a:pt x="46" y="138"/>
                  </a:lnTo>
                  <a:lnTo>
                    <a:pt x="42" y="136"/>
                  </a:lnTo>
                  <a:lnTo>
                    <a:pt x="40" y="136"/>
                  </a:lnTo>
                  <a:lnTo>
                    <a:pt x="38" y="136"/>
                  </a:lnTo>
                  <a:lnTo>
                    <a:pt x="40" y="135"/>
                  </a:lnTo>
                  <a:lnTo>
                    <a:pt x="40" y="133"/>
                  </a:lnTo>
                  <a:lnTo>
                    <a:pt x="42" y="133"/>
                  </a:lnTo>
                  <a:lnTo>
                    <a:pt x="44" y="133"/>
                  </a:lnTo>
                  <a:lnTo>
                    <a:pt x="46" y="133"/>
                  </a:lnTo>
                  <a:lnTo>
                    <a:pt x="46" y="131"/>
                  </a:lnTo>
                  <a:lnTo>
                    <a:pt x="48" y="131"/>
                  </a:lnTo>
                  <a:lnTo>
                    <a:pt x="50" y="129"/>
                  </a:lnTo>
                  <a:lnTo>
                    <a:pt x="52" y="129"/>
                  </a:lnTo>
                  <a:lnTo>
                    <a:pt x="54" y="129"/>
                  </a:lnTo>
                  <a:lnTo>
                    <a:pt x="54" y="131"/>
                  </a:lnTo>
                  <a:lnTo>
                    <a:pt x="56" y="129"/>
                  </a:lnTo>
                  <a:lnTo>
                    <a:pt x="56" y="131"/>
                  </a:lnTo>
                  <a:lnTo>
                    <a:pt x="57" y="131"/>
                  </a:lnTo>
                  <a:lnTo>
                    <a:pt x="57" y="129"/>
                  </a:lnTo>
                  <a:lnTo>
                    <a:pt x="59" y="129"/>
                  </a:lnTo>
                  <a:lnTo>
                    <a:pt x="63" y="125"/>
                  </a:lnTo>
                  <a:lnTo>
                    <a:pt x="65" y="127"/>
                  </a:lnTo>
                  <a:lnTo>
                    <a:pt x="65" y="125"/>
                  </a:lnTo>
                  <a:lnTo>
                    <a:pt x="67" y="125"/>
                  </a:lnTo>
                  <a:lnTo>
                    <a:pt x="69" y="125"/>
                  </a:lnTo>
                  <a:lnTo>
                    <a:pt x="71" y="125"/>
                  </a:lnTo>
                  <a:lnTo>
                    <a:pt x="73" y="123"/>
                  </a:lnTo>
                  <a:lnTo>
                    <a:pt x="75" y="123"/>
                  </a:lnTo>
                  <a:lnTo>
                    <a:pt x="77" y="121"/>
                  </a:lnTo>
                  <a:lnTo>
                    <a:pt x="79" y="121"/>
                  </a:lnTo>
                  <a:lnTo>
                    <a:pt x="81" y="121"/>
                  </a:lnTo>
                  <a:lnTo>
                    <a:pt x="82" y="119"/>
                  </a:lnTo>
                  <a:lnTo>
                    <a:pt x="82" y="121"/>
                  </a:lnTo>
                  <a:lnTo>
                    <a:pt x="84" y="119"/>
                  </a:lnTo>
                  <a:lnTo>
                    <a:pt x="86" y="117"/>
                  </a:lnTo>
                  <a:lnTo>
                    <a:pt x="88" y="115"/>
                  </a:lnTo>
                  <a:lnTo>
                    <a:pt x="90" y="111"/>
                  </a:lnTo>
                  <a:lnTo>
                    <a:pt x="92" y="108"/>
                  </a:lnTo>
                  <a:lnTo>
                    <a:pt x="92" y="106"/>
                  </a:lnTo>
                  <a:lnTo>
                    <a:pt x="94" y="104"/>
                  </a:lnTo>
                  <a:lnTo>
                    <a:pt x="96" y="104"/>
                  </a:lnTo>
                  <a:lnTo>
                    <a:pt x="94" y="102"/>
                  </a:lnTo>
                  <a:lnTo>
                    <a:pt x="92" y="104"/>
                  </a:lnTo>
                  <a:lnTo>
                    <a:pt x="92" y="102"/>
                  </a:lnTo>
                  <a:lnTo>
                    <a:pt x="92" y="100"/>
                  </a:lnTo>
                  <a:lnTo>
                    <a:pt x="92" y="98"/>
                  </a:lnTo>
                  <a:lnTo>
                    <a:pt x="92" y="96"/>
                  </a:lnTo>
                  <a:lnTo>
                    <a:pt x="94" y="94"/>
                  </a:lnTo>
                  <a:lnTo>
                    <a:pt x="96" y="92"/>
                  </a:lnTo>
                  <a:lnTo>
                    <a:pt x="94" y="88"/>
                  </a:lnTo>
                  <a:lnTo>
                    <a:pt x="92" y="85"/>
                  </a:lnTo>
                  <a:lnTo>
                    <a:pt x="94" y="83"/>
                  </a:lnTo>
                  <a:lnTo>
                    <a:pt x="94" y="81"/>
                  </a:lnTo>
                  <a:lnTo>
                    <a:pt x="94" y="79"/>
                  </a:lnTo>
                  <a:lnTo>
                    <a:pt x="96" y="79"/>
                  </a:lnTo>
                  <a:lnTo>
                    <a:pt x="98" y="79"/>
                  </a:lnTo>
                  <a:lnTo>
                    <a:pt x="96" y="77"/>
                  </a:lnTo>
                  <a:lnTo>
                    <a:pt x="94" y="79"/>
                  </a:lnTo>
                  <a:lnTo>
                    <a:pt x="92" y="77"/>
                  </a:lnTo>
                  <a:lnTo>
                    <a:pt x="90" y="77"/>
                  </a:lnTo>
                  <a:lnTo>
                    <a:pt x="88" y="77"/>
                  </a:lnTo>
                  <a:lnTo>
                    <a:pt x="86" y="79"/>
                  </a:lnTo>
                  <a:lnTo>
                    <a:pt x="86" y="77"/>
                  </a:lnTo>
                  <a:lnTo>
                    <a:pt x="84" y="77"/>
                  </a:lnTo>
                  <a:lnTo>
                    <a:pt x="84" y="79"/>
                  </a:lnTo>
                  <a:lnTo>
                    <a:pt x="81" y="79"/>
                  </a:lnTo>
                  <a:lnTo>
                    <a:pt x="81" y="81"/>
                  </a:lnTo>
                  <a:lnTo>
                    <a:pt x="81" y="83"/>
                  </a:lnTo>
                  <a:lnTo>
                    <a:pt x="79" y="83"/>
                  </a:lnTo>
                  <a:lnTo>
                    <a:pt x="79" y="85"/>
                  </a:lnTo>
                  <a:lnTo>
                    <a:pt x="79" y="83"/>
                  </a:lnTo>
                  <a:lnTo>
                    <a:pt x="77" y="81"/>
                  </a:lnTo>
                  <a:lnTo>
                    <a:pt x="75" y="81"/>
                  </a:lnTo>
                  <a:lnTo>
                    <a:pt x="73" y="81"/>
                  </a:lnTo>
                  <a:lnTo>
                    <a:pt x="71" y="83"/>
                  </a:lnTo>
                  <a:lnTo>
                    <a:pt x="71" y="81"/>
                  </a:lnTo>
                  <a:lnTo>
                    <a:pt x="73" y="77"/>
                  </a:lnTo>
                  <a:lnTo>
                    <a:pt x="75" y="77"/>
                  </a:lnTo>
                  <a:lnTo>
                    <a:pt x="75" y="75"/>
                  </a:lnTo>
                  <a:lnTo>
                    <a:pt x="77" y="75"/>
                  </a:lnTo>
                  <a:lnTo>
                    <a:pt x="77" y="73"/>
                  </a:lnTo>
                  <a:lnTo>
                    <a:pt x="79" y="73"/>
                  </a:lnTo>
                  <a:lnTo>
                    <a:pt x="81" y="73"/>
                  </a:lnTo>
                  <a:lnTo>
                    <a:pt x="82" y="71"/>
                  </a:lnTo>
                  <a:lnTo>
                    <a:pt x="84" y="71"/>
                  </a:lnTo>
                  <a:lnTo>
                    <a:pt x="86" y="71"/>
                  </a:lnTo>
                  <a:lnTo>
                    <a:pt x="86" y="69"/>
                  </a:lnTo>
                  <a:lnTo>
                    <a:pt x="88" y="67"/>
                  </a:lnTo>
                  <a:lnTo>
                    <a:pt x="90" y="65"/>
                  </a:lnTo>
                  <a:lnTo>
                    <a:pt x="90" y="63"/>
                  </a:lnTo>
                  <a:lnTo>
                    <a:pt x="90" y="62"/>
                  </a:lnTo>
                  <a:lnTo>
                    <a:pt x="92" y="62"/>
                  </a:lnTo>
                  <a:lnTo>
                    <a:pt x="94" y="60"/>
                  </a:lnTo>
                  <a:lnTo>
                    <a:pt x="96" y="58"/>
                  </a:lnTo>
                  <a:lnTo>
                    <a:pt x="98" y="58"/>
                  </a:lnTo>
                  <a:lnTo>
                    <a:pt x="100" y="58"/>
                  </a:lnTo>
                  <a:lnTo>
                    <a:pt x="102" y="58"/>
                  </a:lnTo>
                  <a:lnTo>
                    <a:pt x="104" y="56"/>
                  </a:lnTo>
                  <a:lnTo>
                    <a:pt x="107" y="56"/>
                  </a:lnTo>
                  <a:lnTo>
                    <a:pt x="109" y="56"/>
                  </a:lnTo>
                  <a:lnTo>
                    <a:pt x="109" y="58"/>
                  </a:lnTo>
                  <a:lnTo>
                    <a:pt x="111" y="58"/>
                  </a:lnTo>
                  <a:lnTo>
                    <a:pt x="111" y="56"/>
                  </a:lnTo>
                  <a:lnTo>
                    <a:pt x="109" y="54"/>
                  </a:lnTo>
                  <a:lnTo>
                    <a:pt x="111" y="54"/>
                  </a:lnTo>
                  <a:lnTo>
                    <a:pt x="113" y="54"/>
                  </a:lnTo>
                  <a:lnTo>
                    <a:pt x="115" y="56"/>
                  </a:lnTo>
                  <a:lnTo>
                    <a:pt x="115" y="58"/>
                  </a:lnTo>
                  <a:lnTo>
                    <a:pt x="117" y="58"/>
                  </a:lnTo>
                  <a:lnTo>
                    <a:pt x="119" y="58"/>
                  </a:lnTo>
                  <a:lnTo>
                    <a:pt x="121" y="58"/>
                  </a:lnTo>
                  <a:lnTo>
                    <a:pt x="123" y="56"/>
                  </a:lnTo>
                  <a:lnTo>
                    <a:pt x="125" y="56"/>
                  </a:lnTo>
                  <a:lnTo>
                    <a:pt x="127" y="56"/>
                  </a:lnTo>
                  <a:lnTo>
                    <a:pt x="129" y="56"/>
                  </a:lnTo>
                  <a:lnTo>
                    <a:pt x="131" y="56"/>
                  </a:lnTo>
                  <a:lnTo>
                    <a:pt x="131" y="58"/>
                  </a:lnTo>
                  <a:lnTo>
                    <a:pt x="134" y="62"/>
                  </a:lnTo>
                  <a:lnTo>
                    <a:pt x="134" y="63"/>
                  </a:lnTo>
                  <a:lnTo>
                    <a:pt x="136" y="65"/>
                  </a:lnTo>
                  <a:lnTo>
                    <a:pt x="138" y="63"/>
                  </a:lnTo>
                  <a:lnTo>
                    <a:pt x="138" y="62"/>
                  </a:lnTo>
                  <a:lnTo>
                    <a:pt x="136" y="60"/>
                  </a:lnTo>
                  <a:lnTo>
                    <a:pt x="134" y="56"/>
                  </a:lnTo>
                  <a:lnTo>
                    <a:pt x="134" y="54"/>
                  </a:lnTo>
                  <a:lnTo>
                    <a:pt x="136" y="54"/>
                  </a:lnTo>
                  <a:lnTo>
                    <a:pt x="138" y="54"/>
                  </a:lnTo>
                  <a:lnTo>
                    <a:pt x="140" y="52"/>
                  </a:lnTo>
                  <a:lnTo>
                    <a:pt x="142" y="54"/>
                  </a:lnTo>
                  <a:lnTo>
                    <a:pt x="142" y="56"/>
                  </a:lnTo>
                  <a:lnTo>
                    <a:pt x="142" y="60"/>
                  </a:lnTo>
                  <a:lnTo>
                    <a:pt x="144" y="62"/>
                  </a:lnTo>
                  <a:lnTo>
                    <a:pt x="146" y="62"/>
                  </a:lnTo>
                  <a:lnTo>
                    <a:pt x="146" y="63"/>
                  </a:lnTo>
                  <a:lnTo>
                    <a:pt x="148" y="63"/>
                  </a:lnTo>
                  <a:lnTo>
                    <a:pt x="150" y="62"/>
                  </a:lnTo>
                  <a:lnTo>
                    <a:pt x="152" y="60"/>
                  </a:lnTo>
                  <a:lnTo>
                    <a:pt x="150" y="60"/>
                  </a:lnTo>
                  <a:lnTo>
                    <a:pt x="150" y="62"/>
                  </a:lnTo>
                  <a:lnTo>
                    <a:pt x="148" y="62"/>
                  </a:lnTo>
                  <a:lnTo>
                    <a:pt x="146" y="62"/>
                  </a:lnTo>
                  <a:lnTo>
                    <a:pt x="144" y="58"/>
                  </a:lnTo>
                  <a:lnTo>
                    <a:pt x="142" y="58"/>
                  </a:lnTo>
                  <a:lnTo>
                    <a:pt x="142" y="56"/>
                  </a:lnTo>
                  <a:lnTo>
                    <a:pt x="142" y="54"/>
                  </a:lnTo>
                  <a:lnTo>
                    <a:pt x="142" y="52"/>
                  </a:lnTo>
                  <a:lnTo>
                    <a:pt x="142" y="50"/>
                  </a:lnTo>
                  <a:lnTo>
                    <a:pt x="140" y="48"/>
                  </a:lnTo>
                  <a:lnTo>
                    <a:pt x="140" y="46"/>
                  </a:lnTo>
                  <a:lnTo>
                    <a:pt x="140" y="44"/>
                  </a:lnTo>
                  <a:lnTo>
                    <a:pt x="142" y="40"/>
                  </a:lnTo>
                  <a:lnTo>
                    <a:pt x="144" y="38"/>
                  </a:lnTo>
                  <a:lnTo>
                    <a:pt x="146" y="37"/>
                  </a:lnTo>
                  <a:lnTo>
                    <a:pt x="148" y="37"/>
                  </a:lnTo>
                  <a:lnTo>
                    <a:pt x="150" y="35"/>
                  </a:lnTo>
                  <a:lnTo>
                    <a:pt x="152" y="35"/>
                  </a:lnTo>
                  <a:lnTo>
                    <a:pt x="150" y="35"/>
                  </a:lnTo>
                  <a:lnTo>
                    <a:pt x="146" y="35"/>
                  </a:lnTo>
                  <a:lnTo>
                    <a:pt x="146" y="33"/>
                  </a:lnTo>
                  <a:lnTo>
                    <a:pt x="144" y="33"/>
                  </a:lnTo>
                  <a:lnTo>
                    <a:pt x="144" y="31"/>
                  </a:lnTo>
                  <a:lnTo>
                    <a:pt x="146" y="27"/>
                  </a:lnTo>
                  <a:lnTo>
                    <a:pt x="146" y="23"/>
                  </a:lnTo>
                  <a:lnTo>
                    <a:pt x="146" y="21"/>
                  </a:lnTo>
                  <a:lnTo>
                    <a:pt x="148" y="21"/>
                  </a:lnTo>
                  <a:lnTo>
                    <a:pt x="148" y="23"/>
                  </a:lnTo>
                  <a:lnTo>
                    <a:pt x="148" y="21"/>
                  </a:lnTo>
                  <a:lnTo>
                    <a:pt x="150" y="21"/>
                  </a:lnTo>
                  <a:lnTo>
                    <a:pt x="152" y="21"/>
                  </a:lnTo>
                  <a:lnTo>
                    <a:pt x="154" y="19"/>
                  </a:lnTo>
                  <a:lnTo>
                    <a:pt x="154" y="17"/>
                  </a:lnTo>
                  <a:lnTo>
                    <a:pt x="152" y="17"/>
                  </a:lnTo>
                  <a:lnTo>
                    <a:pt x="152" y="15"/>
                  </a:lnTo>
                  <a:lnTo>
                    <a:pt x="154" y="14"/>
                  </a:lnTo>
                  <a:lnTo>
                    <a:pt x="156" y="12"/>
                  </a:lnTo>
                  <a:lnTo>
                    <a:pt x="157" y="10"/>
                  </a:lnTo>
                  <a:lnTo>
                    <a:pt x="156" y="10"/>
                  </a:lnTo>
                  <a:lnTo>
                    <a:pt x="157" y="8"/>
                  </a:lnTo>
                  <a:lnTo>
                    <a:pt x="156" y="6"/>
                  </a:lnTo>
                  <a:lnTo>
                    <a:pt x="157" y="4"/>
                  </a:lnTo>
                  <a:lnTo>
                    <a:pt x="156" y="6"/>
                  </a:lnTo>
                  <a:lnTo>
                    <a:pt x="154" y="8"/>
                  </a:lnTo>
                  <a:lnTo>
                    <a:pt x="152" y="8"/>
                  </a:lnTo>
                  <a:lnTo>
                    <a:pt x="150" y="8"/>
                  </a:lnTo>
                  <a:lnTo>
                    <a:pt x="152" y="6"/>
                  </a:lnTo>
                  <a:lnTo>
                    <a:pt x="150" y="4"/>
                  </a:lnTo>
                  <a:lnTo>
                    <a:pt x="148" y="6"/>
                  </a:lnTo>
                  <a:lnTo>
                    <a:pt x="148" y="8"/>
                  </a:lnTo>
                  <a:lnTo>
                    <a:pt x="146" y="10"/>
                  </a:lnTo>
                  <a:lnTo>
                    <a:pt x="144" y="10"/>
                  </a:lnTo>
                  <a:lnTo>
                    <a:pt x="144" y="12"/>
                  </a:lnTo>
                  <a:lnTo>
                    <a:pt x="142" y="10"/>
                  </a:lnTo>
                  <a:lnTo>
                    <a:pt x="142" y="8"/>
                  </a:lnTo>
                  <a:lnTo>
                    <a:pt x="142" y="6"/>
                  </a:lnTo>
                  <a:lnTo>
                    <a:pt x="142" y="4"/>
                  </a:lnTo>
                  <a:lnTo>
                    <a:pt x="144" y="2"/>
                  </a:lnTo>
                  <a:lnTo>
                    <a:pt x="144" y="0"/>
                  </a:lnTo>
                  <a:lnTo>
                    <a:pt x="142" y="2"/>
                  </a:lnTo>
                  <a:lnTo>
                    <a:pt x="142" y="4"/>
                  </a:lnTo>
                  <a:lnTo>
                    <a:pt x="142" y="2"/>
                  </a:lnTo>
                  <a:lnTo>
                    <a:pt x="140"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1" name="Freeform 149"/>
            <p:cNvSpPr>
              <a:spLocks/>
            </p:cNvSpPr>
            <p:nvPr/>
          </p:nvSpPr>
          <p:spPr bwMode="auto">
            <a:xfrm>
              <a:off x="2085" y="2305"/>
              <a:ext cx="69" cy="166"/>
            </a:xfrm>
            <a:custGeom>
              <a:avLst/>
              <a:gdLst>
                <a:gd name="T0" fmla="*/ 16 w 69"/>
                <a:gd name="T1" fmla="*/ 4 h 166"/>
                <a:gd name="T2" fmla="*/ 19 w 69"/>
                <a:gd name="T3" fmla="*/ 8 h 166"/>
                <a:gd name="T4" fmla="*/ 21 w 69"/>
                <a:gd name="T5" fmla="*/ 18 h 166"/>
                <a:gd name="T6" fmla="*/ 23 w 69"/>
                <a:gd name="T7" fmla="*/ 27 h 166"/>
                <a:gd name="T8" fmla="*/ 16 w 69"/>
                <a:gd name="T9" fmla="*/ 33 h 166"/>
                <a:gd name="T10" fmla="*/ 10 w 69"/>
                <a:gd name="T11" fmla="*/ 41 h 166"/>
                <a:gd name="T12" fmla="*/ 10 w 69"/>
                <a:gd name="T13" fmla="*/ 43 h 166"/>
                <a:gd name="T14" fmla="*/ 14 w 69"/>
                <a:gd name="T15" fmla="*/ 47 h 166"/>
                <a:gd name="T16" fmla="*/ 17 w 69"/>
                <a:gd name="T17" fmla="*/ 48 h 166"/>
                <a:gd name="T18" fmla="*/ 23 w 69"/>
                <a:gd name="T19" fmla="*/ 48 h 166"/>
                <a:gd name="T20" fmla="*/ 23 w 69"/>
                <a:gd name="T21" fmla="*/ 43 h 166"/>
                <a:gd name="T22" fmla="*/ 27 w 69"/>
                <a:gd name="T23" fmla="*/ 39 h 166"/>
                <a:gd name="T24" fmla="*/ 39 w 69"/>
                <a:gd name="T25" fmla="*/ 41 h 166"/>
                <a:gd name="T26" fmla="*/ 44 w 69"/>
                <a:gd name="T27" fmla="*/ 41 h 166"/>
                <a:gd name="T28" fmla="*/ 56 w 69"/>
                <a:gd name="T29" fmla="*/ 47 h 166"/>
                <a:gd name="T30" fmla="*/ 62 w 69"/>
                <a:gd name="T31" fmla="*/ 52 h 166"/>
                <a:gd name="T32" fmla="*/ 69 w 69"/>
                <a:gd name="T33" fmla="*/ 68 h 166"/>
                <a:gd name="T34" fmla="*/ 67 w 69"/>
                <a:gd name="T35" fmla="*/ 77 h 166"/>
                <a:gd name="T36" fmla="*/ 65 w 69"/>
                <a:gd name="T37" fmla="*/ 83 h 166"/>
                <a:gd name="T38" fmla="*/ 62 w 69"/>
                <a:gd name="T39" fmla="*/ 93 h 166"/>
                <a:gd name="T40" fmla="*/ 58 w 69"/>
                <a:gd name="T41" fmla="*/ 102 h 166"/>
                <a:gd name="T42" fmla="*/ 52 w 69"/>
                <a:gd name="T43" fmla="*/ 106 h 166"/>
                <a:gd name="T44" fmla="*/ 46 w 69"/>
                <a:gd name="T45" fmla="*/ 110 h 166"/>
                <a:gd name="T46" fmla="*/ 42 w 69"/>
                <a:gd name="T47" fmla="*/ 108 h 166"/>
                <a:gd name="T48" fmla="*/ 42 w 69"/>
                <a:gd name="T49" fmla="*/ 108 h 166"/>
                <a:gd name="T50" fmla="*/ 46 w 69"/>
                <a:gd name="T51" fmla="*/ 112 h 166"/>
                <a:gd name="T52" fmla="*/ 42 w 69"/>
                <a:gd name="T53" fmla="*/ 114 h 166"/>
                <a:gd name="T54" fmla="*/ 46 w 69"/>
                <a:gd name="T55" fmla="*/ 114 h 166"/>
                <a:gd name="T56" fmla="*/ 39 w 69"/>
                <a:gd name="T57" fmla="*/ 120 h 166"/>
                <a:gd name="T58" fmla="*/ 33 w 69"/>
                <a:gd name="T59" fmla="*/ 118 h 166"/>
                <a:gd name="T60" fmla="*/ 25 w 69"/>
                <a:gd name="T61" fmla="*/ 122 h 166"/>
                <a:gd name="T62" fmla="*/ 25 w 69"/>
                <a:gd name="T63" fmla="*/ 122 h 166"/>
                <a:gd name="T64" fmla="*/ 31 w 69"/>
                <a:gd name="T65" fmla="*/ 122 h 166"/>
                <a:gd name="T66" fmla="*/ 27 w 69"/>
                <a:gd name="T67" fmla="*/ 127 h 166"/>
                <a:gd name="T68" fmla="*/ 31 w 69"/>
                <a:gd name="T69" fmla="*/ 129 h 166"/>
                <a:gd name="T70" fmla="*/ 17 w 69"/>
                <a:gd name="T71" fmla="*/ 133 h 166"/>
                <a:gd name="T72" fmla="*/ 10 w 69"/>
                <a:gd name="T73" fmla="*/ 135 h 166"/>
                <a:gd name="T74" fmla="*/ 6 w 69"/>
                <a:gd name="T75" fmla="*/ 137 h 166"/>
                <a:gd name="T76" fmla="*/ 0 w 69"/>
                <a:gd name="T77" fmla="*/ 133 h 166"/>
                <a:gd name="T78" fmla="*/ 4 w 69"/>
                <a:gd name="T79" fmla="*/ 137 h 166"/>
                <a:gd name="T80" fmla="*/ 10 w 69"/>
                <a:gd name="T81" fmla="*/ 137 h 166"/>
                <a:gd name="T82" fmla="*/ 16 w 69"/>
                <a:gd name="T83" fmla="*/ 135 h 166"/>
                <a:gd name="T84" fmla="*/ 19 w 69"/>
                <a:gd name="T85" fmla="*/ 141 h 166"/>
                <a:gd name="T86" fmla="*/ 14 w 69"/>
                <a:gd name="T87" fmla="*/ 141 h 166"/>
                <a:gd name="T88" fmla="*/ 17 w 69"/>
                <a:gd name="T89" fmla="*/ 141 h 166"/>
                <a:gd name="T90" fmla="*/ 17 w 69"/>
                <a:gd name="T91" fmla="*/ 143 h 166"/>
                <a:gd name="T92" fmla="*/ 23 w 69"/>
                <a:gd name="T93" fmla="*/ 146 h 166"/>
                <a:gd name="T94" fmla="*/ 31 w 69"/>
                <a:gd name="T95" fmla="*/ 146 h 166"/>
                <a:gd name="T96" fmla="*/ 37 w 69"/>
                <a:gd name="T97" fmla="*/ 146 h 166"/>
                <a:gd name="T98" fmla="*/ 46 w 69"/>
                <a:gd name="T99" fmla="*/ 146 h 166"/>
                <a:gd name="T100" fmla="*/ 44 w 69"/>
                <a:gd name="T101" fmla="*/ 150 h 166"/>
                <a:gd name="T102" fmla="*/ 44 w 69"/>
                <a:gd name="T103" fmla="*/ 158 h 166"/>
                <a:gd name="T104" fmla="*/ 40 w 69"/>
                <a:gd name="T105" fmla="*/ 164 h 166"/>
                <a:gd name="T106" fmla="*/ 37 w 69"/>
                <a:gd name="T107" fmla="*/ 16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66">
                  <a:moveTo>
                    <a:pt x="14" y="0"/>
                  </a:moveTo>
                  <a:lnTo>
                    <a:pt x="16" y="2"/>
                  </a:lnTo>
                  <a:lnTo>
                    <a:pt x="16" y="4"/>
                  </a:lnTo>
                  <a:lnTo>
                    <a:pt x="17" y="4"/>
                  </a:lnTo>
                  <a:lnTo>
                    <a:pt x="19" y="6"/>
                  </a:lnTo>
                  <a:lnTo>
                    <a:pt x="19" y="8"/>
                  </a:lnTo>
                  <a:lnTo>
                    <a:pt x="19" y="10"/>
                  </a:lnTo>
                  <a:lnTo>
                    <a:pt x="19" y="12"/>
                  </a:lnTo>
                  <a:lnTo>
                    <a:pt x="21" y="18"/>
                  </a:lnTo>
                  <a:lnTo>
                    <a:pt x="23" y="22"/>
                  </a:lnTo>
                  <a:lnTo>
                    <a:pt x="23" y="24"/>
                  </a:lnTo>
                  <a:lnTo>
                    <a:pt x="23" y="27"/>
                  </a:lnTo>
                  <a:lnTo>
                    <a:pt x="21" y="29"/>
                  </a:lnTo>
                  <a:lnTo>
                    <a:pt x="19" y="31"/>
                  </a:lnTo>
                  <a:lnTo>
                    <a:pt x="16" y="33"/>
                  </a:lnTo>
                  <a:lnTo>
                    <a:pt x="14" y="37"/>
                  </a:lnTo>
                  <a:lnTo>
                    <a:pt x="12" y="39"/>
                  </a:lnTo>
                  <a:lnTo>
                    <a:pt x="10" y="41"/>
                  </a:lnTo>
                  <a:lnTo>
                    <a:pt x="8" y="41"/>
                  </a:lnTo>
                  <a:lnTo>
                    <a:pt x="8" y="43"/>
                  </a:lnTo>
                  <a:lnTo>
                    <a:pt x="10" y="43"/>
                  </a:lnTo>
                  <a:lnTo>
                    <a:pt x="12" y="43"/>
                  </a:lnTo>
                  <a:lnTo>
                    <a:pt x="14" y="45"/>
                  </a:lnTo>
                  <a:lnTo>
                    <a:pt x="14" y="47"/>
                  </a:lnTo>
                  <a:lnTo>
                    <a:pt x="14" y="48"/>
                  </a:lnTo>
                  <a:lnTo>
                    <a:pt x="16" y="48"/>
                  </a:lnTo>
                  <a:lnTo>
                    <a:pt x="17" y="48"/>
                  </a:lnTo>
                  <a:lnTo>
                    <a:pt x="19" y="50"/>
                  </a:lnTo>
                  <a:lnTo>
                    <a:pt x="19" y="48"/>
                  </a:lnTo>
                  <a:lnTo>
                    <a:pt x="23" y="48"/>
                  </a:lnTo>
                  <a:lnTo>
                    <a:pt x="23" y="47"/>
                  </a:lnTo>
                  <a:lnTo>
                    <a:pt x="23" y="45"/>
                  </a:lnTo>
                  <a:lnTo>
                    <a:pt x="23" y="43"/>
                  </a:lnTo>
                  <a:lnTo>
                    <a:pt x="25" y="41"/>
                  </a:lnTo>
                  <a:lnTo>
                    <a:pt x="27" y="41"/>
                  </a:lnTo>
                  <a:lnTo>
                    <a:pt x="27" y="39"/>
                  </a:lnTo>
                  <a:lnTo>
                    <a:pt x="33" y="41"/>
                  </a:lnTo>
                  <a:lnTo>
                    <a:pt x="35" y="41"/>
                  </a:lnTo>
                  <a:lnTo>
                    <a:pt x="39" y="41"/>
                  </a:lnTo>
                  <a:lnTo>
                    <a:pt x="40" y="41"/>
                  </a:lnTo>
                  <a:lnTo>
                    <a:pt x="42" y="43"/>
                  </a:lnTo>
                  <a:lnTo>
                    <a:pt x="44" y="41"/>
                  </a:lnTo>
                  <a:lnTo>
                    <a:pt x="48" y="45"/>
                  </a:lnTo>
                  <a:lnTo>
                    <a:pt x="54" y="45"/>
                  </a:lnTo>
                  <a:lnTo>
                    <a:pt x="56" y="47"/>
                  </a:lnTo>
                  <a:lnTo>
                    <a:pt x="58" y="48"/>
                  </a:lnTo>
                  <a:lnTo>
                    <a:pt x="60" y="48"/>
                  </a:lnTo>
                  <a:lnTo>
                    <a:pt x="62" y="52"/>
                  </a:lnTo>
                  <a:lnTo>
                    <a:pt x="65" y="58"/>
                  </a:lnTo>
                  <a:lnTo>
                    <a:pt x="67" y="64"/>
                  </a:lnTo>
                  <a:lnTo>
                    <a:pt x="69" y="68"/>
                  </a:lnTo>
                  <a:lnTo>
                    <a:pt x="67" y="73"/>
                  </a:lnTo>
                  <a:lnTo>
                    <a:pt x="67" y="75"/>
                  </a:lnTo>
                  <a:lnTo>
                    <a:pt x="67" y="77"/>
                  </a:lnTo>
                  <a:lnTo>
                    <a:pt x="67" y="79"/>
                  </a:lnTo>
                  <a:lnTo>
                    <a:pt x="65" y="81"/>
                  </a:lnTo>
                  <a:lnTo>
                    <a:pt x="65" y="83"/>
                  </a:lnTo>
                  <a:lnTo>
                    <a:pt x="64" y="87"/>
                  </a:lnTo>
                  <a:lnTo>
                    <a:pt x="62" y="89"/>
                  </a:lnTo>
                  <a:lnTo>
                    <a:pt x="62" y="93"/>
                  </a:lnTo>
                  <a:lnTo>
                    <a:pt x="60" y="97"/>
                  </a:lnTo>
                  <a:lnTo>
                    <a:pt x="58" y="100"/>
                  </a:lnTo>
                  <a:lnTo>
                    <a:pt x="58" y="102"/>
                  </a:lnTo>
                  <a:lnTo>
                    <a:pt x="56" y="102"/>
                  </a:lnTo>
                  <a:lnTo>
                    <a:pt x="54" y="104"/>
                  </a:lnTo>
                  <a:lnTo>
                    <a:pt x="52" y="106"/>
                  </a:lnTo>
                  <a:lnTo>
                    <a:pt x="50" y="108"/>
                  </a:lnTo>
                  <a:lnTo>
                    <a:pt x="48" y="110"/>
                  </a:lnTo>
                  <a:lnTo>
                    <a:pt x="46" y="110"/>
                  </a:lnTo>
                  <a:lnTo>
                    <a:pt x="46" y="108"/>
                  </a:lnTo>
                  <a:lnTo>
                    <a:pt x="44" y="108"/>
                  </a:lnTo>
                  <a:lnTo>
                    <a:pt x="42" y="108"/>
                  </a:lnTo>
                  <a:lnTo>
                    <a:pt x="40" y="108"/>
                  </a:lnTo>
                  <a:lnTo>
                    <a:pt x="39" y="108"/>
                  </a:lnTo>
                  <a:lnTo>
                    <a:pt x="42" y="108"/>
                  </a:lnTo>
                  <a:lnTo>
                    <a:pt x="42" y="110"/>
                  </a:lnTo>
                  <a:lnTo>
                    <a:pt x="46" y="110"/>
                  </a:lnTo>
                  <a:lnTo>
                    <a:pt x="46" y="112"/>
                  </a:lnTo>
                  <a:lnTo>
                    <a:pt x="44" y="112"/>
                  </a:lnTo>
                  <a:lnTo>
                    <a:pt x="44" y="114"/>
                  </a:lnTo>
                  <a:lnTo>
                    <a:pt x="42" y="114"/>
                  </a:lnTo>
                  <a:lnTo>
                    <a:pt x="44" y="116"/>
                  </a:lnTo>
                  <a:lnTo>
                    <a:pt x="44" y="114"/>
                  </a:lnTo>
                  <a:lnTo>
                    <a:pt x="46" y="114"/>
                  </a:lnTo>
                  <a:lnTo>
                    <a:pt x="44" y="116"/>
                  </a:lnTo>
                  <a:lnTo>
                    <a:pt x="42" y="118"/>
                  </a:lnTo>
                  <a:lnTo>
                    <a:pt x="39" y="120"/>
                  </a:lnTo>
                  <a:lnTo>
                    <a:pt x="35" y="120"/>
                  </a:lnTo>
                  <a:lnTo>
                    <a:pt x="35" y="118"/>
                  </a:lnTo>
                  <a:lnTo>
                    <a:pt x="33" y="118"/>
                  </a:lnTo>
                  <a:lnTo>
                    <a:pt x="29" y="118"/>
                  </a:lnTo>
                  <a:lnTo>
                    <a:pt x="29" y="120"/>
                  </a:lnTo>
                  <a:lnTo>
                    <a:pt x="25" y="122"/>
                  </a:lnTo>
                  <a:lnTo>
                    <a:pt x="23" y="122"/>
                  </a:lnTo>
                  <a:lnTo>
                    <a:pt x="25" y="123"/>
                  </a:lnTo>
                  <a:lnTo>
                    <a:pt x="25" y="122"/>
                  </a:lnTo>
                  <a:lnTo>
                    <a:pt x="27" y="122"/>
                  </a:lnTo>
                  <a:lnTo>
                    <a:pt x="29" y="122"/>
                  </a:lnTo>
                  <a:lnTo>
                    <a:pt x="31" y="122"/>
                  </a:lnTo>
                  <a:lnTo>
                    <a:pt x="31" y="125"/>
                  </a:lnTo>
                  <a:lnTo>
                    <a:pt x="31" y="129"/>
                  </a:lnTo>
                  <a:lnTo>
                    <a:pt x="27" y="127"/>
                  </a:lnTo>
                  <a:lnTo>
                    <a:pt x="25" y="129"/>
                  </a:lnTo>
                  <a:lnTo>
                    <a:pt x="29" y="129"/>
                  </a:lnTo>
                  <a:lnTo>
                    <a:pt x="31" y="129"/>
                  </a:lnTo>
                  <a:lnTo>
                    <a:pt x="27" y="133"/>
                  </a:lnTo>
                  <a:lnTo>
                    <a:pt x="23" y="135"/>
                  </a:lnTo>
                  <a:lnTo>
                    <a:pt x="17" y="133"/>
                  </a:lnTo>
                  <a:lnTo>
                    <a:pt x="16" y="135"/>
                  </a:lnTo>
                  <a:lnTo>
                    <a:pt x="14" y="135"/>
                  </a:lnTo>
                  <a:lnTo>
                    <a:pt x="10" y="135"/>
                  </a:lnTo>
                  <a:lnTo>
                    <a:pt x="10" y="137"/>
                  </a:lnTo>
                  <a:lnTo>
                    <a:pt x="8" y="137"/>
                  </a:lnTo>
                  <a:lnTo>
                    <a:pt x="6" y="137"/>
                  </a:lnTo>
                  <a:lnTo>
                    <a:pt x="4" y="135"/>
                  </a:lnTo>
                  <a:lnTo>
                    <a:pt x="2" y="133"/>
                  </a:lnTo>
                  <a:lnTo>
                    <a:pt x="0" y="133"/>
                  </a:lnTo>
                  <a:lnTo>
                    <a:pt x="0" y="135"/>
                  </a:lnTo>
                  <a:lnTo>
                    <a:pt x="2" y="135"/>
                  </a:lnTo>
                  <a:lnTo>
                    <a:pt x="4" y="137"/>
                  </a:lnTo>
                  <a:lnTo>
                    <a:pt x="6" y="137"/>
                  </a:lnTo>
                  <a:lnTo>
                    <a:pt x="8" y="137"/>
                  </a:lnTo>
                  <a:lnTo>
                    <a:pt x="10" y="137"/>
                  </a:lnTo>
                  <a:lnTo>
                    <a:pt x="12" y="137"/>
                  </a:lnTo>
                  <a:lnTo>
                    <a:pt x="12" y="135"/>
                  </a:lnTo>
                  <a:lnTo>
                    <a:pt x="16" y="135"/>
                  </a:lnTo>
                  <a:lnTo>
                    <a:pt x="19" y="137"/>
                  </a:lnTo>
                  <a:lnTo>
                    <a:pt x="21" y="139"/>
                  </a:lnTo>
                  <a:lnTo>
                    <a:pt x="19" y="141"/>
                  </a:lnTo>
                  <a:lnTo>
                    <a:pt x="17" y="141"/>
                  </a:lnTo>
                  <a:lnTo>
                    <a:pt x="16" y="141"/>
                  </a:lnTo>
                  <a:lnTo>
                    <a:pt x="14" y="141"/>
                  </a:lnTo>
                  <a:lnTo>
                    <a:pt x="16" y="143"/>
                  </a:lnTo>
                  <a:lnTo>
                    <a:pt x="17" y="143"/>
                  </a:lnTo>
                  <a:lnTo>
                    <a:pt x="17" y="141"/>
                  </a:lnTo>
                  <a:lnTo>
                    <a:pt x="19" y="141"/>
                  </a:lnTo>
                  <a:lnTo>
                    <a:pt x="19" y="143"/>
                  </a:lnTo>
                  <a:lnTo>
                    <a:pt x="17" y="143"/>
                  </a:lnTo>
                  <a:lnTo>
                    <a:pt x="19" y="143"/>
                  </a:lnTo>
                  <a:lnTo>
                    <a:pt x="21" y="145"/>
                  </a:lnTo>
                  <a:lnTo>
                    <a:pt x="23" y="146"/>
                  </a:lnTo>
                  <a:lnTo>
                    <a:pt x="27" y="146"/>
                  </a:lnTo>
                  <a:lnTo>
                    <a:pt x="29" y="146"/>
                  </a:lnTo>
                  <a:lnTo>
                    <a:pt x="31" y="146"/>
                  </a:lnTo>
                  <a:lnTo>
                    <a:pt x="33" y="146"/>
                  </a:lnTo>
                  <a:lnTo>
                    <a:pt x="35" y="146"/>
                  </a:lnTo>
                  <a:lnTo>
                    <a:pt x="37" y="146"/>
                  </a:lnTo>
                  <a:lnTo>
                    <a:pt x="40" y="146"/>
                  </a:lnTo>
                  <a:lnTo>
                    <a:pt x="42" y="146"/>
                  </a:lnTo>
                  <a:lnTo>
                    <a:pt x="46" y="146"/>
                  </a:lnTo>
                  <a:lnTo>
                    <a:pt x="48" y="148"/>
                  </a:lnTo>
                  <a:lnTo>
                    <a:pt x="46" y="150"/>
                  </a:lnTo>
                  <a:lnTo>
                    <a:pt x="44" y="150"/>
                  </a:lnTo>
                  <a:lnTo>
                    <a:pt x="44" y="152"/>
                  </a:lnTo>
                  <a:lnTo>
                    <a:pt x="44" y="154"/>
                  </a:lnTo>
                  <a:lnTo>
                    <a:pt x="44" y="158"/>
                  </a:lnTo>
                  <a:lnTo>
                    <a:pt x="44" y="160"/>
                  </a:lnTo>
                  <a:lnTo>
                    <a:pt x="42" y="162"/>
                  </a:lnTo>
                  <a:lnTo>
                    <a:pt x="40" y="164"/>
                  </a:lnTo>
                  <a:lnTo>
                    <a:pt x="39" y="164"/>
                  </a:lnTo>
                  <a:lnTo>
                    <a:pt x="37" y="166"/>
                  </a:lnTo>
                  <a:lnTo>
                    <a:pt x="37" y="164"/>
                  </a:lnTo>
                  <a:lnTo>
                    <a:pt x="35" y="166"/>
                  </a:lnTo>
                  <a:lnTo>
                    <a:pt x="31" y="16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2" name="Freeform 150"/>
            <p:cNvSpPr>
              <a:spLocks/>
            </p:cNvSpPr>
            <p:nvPr/>
          </p:nvSpPr>
          <p:spPr bwMode="auto">
            <a:xfrm>
              <a:off x="1820" y="2154"/>
              <a:ext cx="96" cy="80"/>
            </a:xfrm>
            <a:custGeom>
              <a:avLst/>
              <a:gdLst>
                <a:gd name="T0" fmla="*/ 8 w 96"/>
                <a:gd name="T1" fmla="*/ 50 h 80"/>
                <a:gd name="T2" fmla="*/ 13 w 96"/>
                <a:gd name="T3" fmla="*/ 61 h 80"/>
                <a:gd name="T4" fmla="*/ 25 w 96"/>
                <a:gd name="T5" fmla="*/ 67 h 80"/>
                <a:gd name="T6" fmla="*/ 27 w 96"/>
                <a:gd name="T7" fmla="*/ 65 h 80"/>
                <a:gd name="T8" fmla="*/ 33 w 96"/>
                <a:gd name="T9" fmla="*/ 57 h 80"/>
                <a:gd name="T10" fmla="*/ 40 w 96"/>
                <a:gd name="T11" fmla="*/ 50 h 80"/>
                <a:gd name="T12" fmla="*/ 48 w 96"/>
                <a:gd name="T13" fmla="*/ 75 h 80"/>
                <a:gd name="T14" fmla="*/ 60 w 96"/>
                <a:gd name="T15" fmla="*/ 75 h 80"/>
                <a:gd name="T16" fmla="*/ 63 w 96"/>
                <a:gd name="T17" fmla="*/ 77 h 80"/>
                <a:gd name="T18" fmla="*/ 67 w 96"/>
                <a:gd name="T19" fmla="*/ 80 h 80"/>
                <a:gd name="T20" fmla="*/ 73 w 96"/>
                <a:gd name="T21" fmla="*/ 78 h 80"/>
                <a:gd name="T22" fmla="*/ 77 w 96"/>
                <a:gd name="T23" fmla="*/ 73 h 80"/>
                <a:gd name="T24" fmla="*/ 79 w 96"/>
                <a:gd name="T25" fmla="*/ 69 h 80"/>
                <a:gd name="T26" fmla="*/ 83 w 96"/>
                <a:gd name="T27" fmla="*/ 69 h 80"/>
                <a:gd name="T28" fmla="*/ 86 w 96"/>
                <a:gd name="T29" fmla="*/ 69 h 80"/>
                <a:gd name="T30" fmla="*/ 88 w 96"/>
                <a:gd name="T31" fmla="*/ 61 h 80"/>
                <a:gd name="T32" fmla="*/ 88 w 96"/>
                <a:gd name="T33" fmla="*/ 57 h 80"/>
                <a:gd name="T34" fmla="*/ 86 w 96"/>
                <a:gd name="T35" fmla="*/ 50 h 80"/>
                <a:gd name="T36" fmla="*/ 92 w 96"/>
                <a:gd name="T37" fmla="*/ 52 h 80"/>
                <a:gd name="T38" fmla="*/ 90 w 96"/>
                <a:gd name="T39" fmla="*/ 61 h 80"/>
                <a:gd name="T40" fmla="*/ 92 w 96"/>
                <a:gd name="T41" fmla="*/ 63 h 80"/>
                <a:gd name="T42" fmla="*/ 94 w 96"/>
                <a:gd name="T43" fmla="*/ 57 h 80"/>
                <a:gd name="T44" fmla="*/ 94 w 96"/>
                <a:gd name="T45" fmla="*/ 52 h 80"/>
                <a:gd name="T46" fmla="*/ 94 w 96"/>
                <a:gd name="T47" fmla="*/ 46 h 80"/>
                <a:gd name="T48" fmla="*/ 90 w 96"/>
                <a:gd name="T49" fmla="*/ 42 h 80"/>
                <a:gd name="T50" fmla="*/ 83 w 96"/>
                <a:gd name="T51" fmla="*/ 44 h 80"/>
                <a:gd name="T52" fmla="*/ 84 w 96"/>
                <a:gd name="T53" fmla="*/ 40 h 80"/>
                <a:gd name="T54" fmla="*/ 90 w 96"/>
                <a:gd name="T55" fmla="*/ 36 h 80"/>
                <a:gd name="T56" fmla="*/ 88 w 96"/>
                <a:gd name="T57" fmla="*/ 30 h 80"/>
                <a:gd name="T58" fmla="*/ 88 w 96"/>
                <a:gd name="T59" fmla="*/ 30 h 80"/>
                <a:gd name="T60" fmla="*/ 84 w 96"/>
                <a:gd name="T61" fmla="*/ 25 h 80"/>
                <a:gd name="T62" fmla="*/ 84 w 96"/>
                <a:gd name="T63" fmla="*/ 19 h 80"/>
                <a:gd name="T64" fmla="*/ 83 w 96"/>
                <a:gd name="T65" fmla="*/ 13 h 80"/>
                <a:gd name="T66" fmla="*/ 79 w 96"/>
                <a:gd name="T67" fmla="*/ 5 h 80"/>
                <a:gd name="T68" fmla="*/ 71 w 96"/>
                <a:gd name="T69" fmla="*/ 0 h 80"/>
                <a:gd name="T70" fmla="*/ 63 w 96"/>
                <a:gd name="T71" fmla="*/ 2 h 80"/>
                <a:gd name="T72" fmla="*/ 54 w 96"/>
                <a:gd name="T73" fmla="*/ 2 h 80"/>
                <a:gd name="T74" fmla="*/ 48 w 96"/>
                <a:gd name="T75" fmla="*/ 9 h 80"/>
                <a:gd name="T76" fmla="*/ 40 w 96"/>
                <a:gd name="T77" fmla="*/ 7 h 80"/>
                <a:gd name="T78" fmla="*/ 27 w 96"/>
                <a:gd name="T79" fmla="*/ 21 h 80"/>
                <a:gd name="T80" fmla="*/ 19 w 96"/>
                <a:gd name="T81" fmla="*/ 25 h 80"/>
                <a:gd name="T82" fmla="*/ 19 w 96"/>
                <a:gd name="T83" fmla="*/ 30 h 80"/>
                <a:gd name="T84" fmla="*/ 4 w 96"/>
                <a:gd name="T85" fmla="*/ 3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80">
                  <a:moveTo>
                    <a:pt x="0" y="36"/>
                  </a:moveTo>
                  <a:lnTo>
                    <a:pt x="0" y="38"/>
                  </a:lnTo>
                  <a:lnTo>
                    <a:pt x="8" y="50"/>
                  </a:lnTo>
                  <a:lnTo>
                    <a:pt x="8" y="55"/>
                  </a:lnTo>
                  <a:lnTo>
                    <a:pt x="13" y="55"/>
                  </a:lnTo>
                  <a:lnTo>
                    <a:pt x="13" y="61"/>
                  </a:lnTo>
                  <a:lnTo>
                    <a:pt x="19" y="63"/>
                  </a:lnTo>
                  <a:lnTo>
                    <a:pt x="21" y="61"/>
                  </a:lnTo>
                  <a:lnTo>
                    <a:pt x="25" y="67"/>
                  </a:lnTo>
                  <a:lnTo>
                    <a:pt x="25" y="63"/>
                  </a:lnTo>
                  <a:lnTo>
                    <a:pt x="27" y="61"/>
                  </a:lnTo>
                  <a:lnTo>
                    <a:pt x="27" y="65"/>
                  </a:lnTo>
                  <a:lnTo>
                    <a:pt x="29" y="59"/>
                  </a:lnTo>
                  <a:lnTo>
                    <a:pt x="31" y="61"/>
                  </a:lnTo>
                  <a:lnTo>
                    <a:pt x="33" y="57"/>
                  </a:lnTo>
                  <a:lnTo>
                    <a:pt x="31" y="55"/>
                  </a:lnTo>
                  <a:lnTo>
                    <a:pt x="38" y="48"/>
                  </a:lnTo>
                  <a:lnTo>
                    <a:pt x="40" y="50"/>
                  </a:lnTo>
                  <a:lnTo>
                    <a:pt x="46" y="65"/>
                  </a:lnTo>
                  <a:lnTo>
                    <a:pt x="48" y="67"/>
                  </a:lnTo>
                  <a:lnTo>
                    <a:pt x="48" y="75"/>
                  </a:lnTo>
                  <a:lnTo>
                    <a:pt x="58" y="75"/>
                  </a:lnTo>
                  <a:lnTo>
                    <a:pt x="58" y="73"/>
                  </a:lnTo>
                  <a:lnTo>
                    <a:pt x="60" y="75"/>
                  </a:lnTo>
                  <a:lnTo>
                    <a:pt x="61" y="75"/>
                  </a:lnTo>
                  <a:lnTo>
                    <a:pt x="63" y="75"/>
                  </a:lnTo>
                  <a:lnTo>
                    <a:pt x="63" y="77"/>
                  </a:lnTo>
                  <a:lnTo>
                    <a:pt x="67" y="78"/>
                  </a:lnTo>
                  <a:lnTo>
                    <a:pt x="65" y="78"/>
                  </a:lnTo>
                  <a:lnTo>
                    <a:pt x="67" y="80"/>
                  </a:lnTo>
                  <a:lnTo>
                    <a:pt x="69" y="80"/>
                  </a:lnTo>
                  <a:lnTo>
                    <a:pt x="71" y="80"/>
                  </a:lnTo>
                  <a:lnTo>
                    <a:pt x="73" y="78"/>
                  </a:lnTo>
                  <a:lnTo>
                    <a:pt x="73" y="77"/>
                  </a:lnTo>
                  <a:lnTo>
                    <a:pt x="75" y="75"/>
                  </a:lnTo>
                  <a:lnTo>
                    <a:pt x="77" y="73"/>
                  </a:lnTo>
                  <a:lnTo>
                    <a:pt x="77" y="71"/>
                  </a:lnTo>
                  <a:lnTo>
                    <a:pt x="77" y="69"/>
                  </a:lnTo>
                  <a:lnTo>
                    <a:pt x="79" y="69"/>
                  </a:lnTo>
                  <a:lnTo>
                    <a:pt x="79" y="67"/>
                  </a:lnTo>
                  <a:lnTo>
                    <a:pt x="81" y="67"/>
                  </a:lnTo>
                  <a:lnTo>
                    <a:pt x="83" y="69"/>
                  </a:lnTo>
                  <a:lnTo>
                    <a:pt x="84" y="71"/>
                  </a:lnTo>
                  <a:lnTo>
                    <a:pt x="84" y="69"/>
                  </a:lnTo>
                  <a:lnTo>
                    <a:pt x="86" y="69"/>
                  </a:lnTo>
                  <a:lnTo>
                    <a:pt x="90" y="65"/>
                  </a:lnTo>
                  <a:lnTo>
                    <a:pt x="90" y="63"/>
                  </a:lnTo>
                  <a:lnTo>
                    <a:pt x="88" y="61"/>
                  </a:lnTo>
                  <a:lnTo>
                    <a:pt x="84" y="61"/>
                  </a:lnTo>
                  <a:lnTo>
                    <a:pt x="86" y="59"/>
                  </a:lnTo>
                  <a:lnTo>
                    <a:pt x="88" y="57"/>
                  </a:lnTo>
                  <a:lnTo>
                    <a:pt x="88" y="55"/>
                  </a:lnTo>
                  <a:lnTo>
                    <a:pt x="88" y="52"/>
                  </a:lnTo>
                  <a:lnTo>
                    <a:pt x="86" y="50"/>
                  </a:lnTo>
                  <a:lnTo>
                    <a:pt x="88" y="48"/>
                  </a:lnTo>
                  <a:lnTo>
                    <a:pt x="90" y="52"/>
                  </a:lnTo>
                  <a:lnTo>
                    <a:pt x="92" y="52"/>
                  </a:lnTo>
                  <a:lnTo>
                    <a:pt x="92" y="53"/>
                  </a:lnTo>
                  <a:lnTo>
                    <a:pt x="90" y="59"/>
                  </a:lnTo>
                  <a:lnTo>
                    <a:pt x="90" y="61"/>
                  </a:lnTo>
                  <a:lnTo>
                    <a:pt x="90" y="63"/>
                  </a:lnTo>
                  <a:lnTo>
                    <a:pt x="90" y="65"/>
                  </a:lnTo>
                  <a:lnTo>
                    <a:pt x="92" y="63"/>
                  </a:lnTo>
                  <a:lnTo>
                    <a:pt x="92" y="61"/>
                  </a:lnTo>
                  <a:lnTo>
                    <a:pt x="94" y="59"/>
                  </a:lnTo>
                  <a:lnTo>
                    <a:pt x="94" y="57"/>
                  </a:lnTo>
                  <a:lnTo>
                    <a:pt x="96" y="55"/>
                  </a:lnTo>
                  <a:lnTo>
                    <a:pt x="94" y="55"/>
                  </a:lnTo>
                  <a:lnTo>
                    <a:pt x="94" y="52"/>
                  </a:lnTo>
                  <a:lnTo>
                    <a:pt x="94" y="50"/>
                  </a:lnTo>
                  <a:lnTo>
                    <a:pt x="94" y="48"/>
                  </a:lnTo>
                  <a:lnTo>
                    <a:pt x="94" y="46"/>
                  </a:lnTo>
                  <a:lnTo>
                    <a:pt x="92" y="44"/>
                  </a:lnTo>
                  <a:lnTo>
                    <a:pt x="92" y="42"/>
                  </a:lnTo>
                  <a:lnTo>
                    <a:pt x="90" y="42"/>
                  </a:lnTo>
                  <a:lnTo>
                    <a:pt x="88" y="42"/>
                  </a:lnTo>
                  <a:lnTo>
                    <a:pt x="84" y="42"/>
                  </a:lnTo>
                  <a:lnTo>
                    <a:pt x="83" y="44"/>
                  </a:lnTo>
                  <a:lnTo>
                    <a:pt x="81" y="44"/>
                  </a:lnTo>
                  <a:lnTo>
                    <a:pt x="83" y="42"/>
                  </a:lnTo>
                  <a:lnTo>
                    <a:pt x="84" y="40"/>
                  </a:lnTo>
                  <a:lnTo>
                    <a:pt x="86" y="38"/>
                  </a:lnTo>
                  <a:lnTo>
                    <a:pt x="88" y="38"/>
                  </a:lnTo>
                  <a:lnTo>
                    <a:pt x="90" y="36"/>
                  </a:lnTo>
                  <a:lnTo>
                    <a:pt x="90" y="34"/>
                  </a:lnTo>
                  <a:lnTo>
                    <a:pt x="90" y="32"/>
                  </a:lnTo>
                  <a:lnTo>
                    <a:pt x="88" y="30"/>
                  </a:lnTo>
                  <a:lnTo>
                    <a:pt x="88" y="32"/>
                  </a:lnTo>
                  <a:lnTo>
                    <a:pt x="86" y="30"/>
                  </a:lnTo>
                  <a:lnTo>
                    <a:pt x="88" y="30"/>
                  </a:lnTo>
                  <a:lnTo>
                    <a:pt x="86" y="28"/>
                  </a:lnTo>
                  <a:lnTo>
                    <a:pt x="86" y="27"/>
                  </a:lnTo>
                  <a:lnTo>
                    <a:pt x="84" y="25"/>
                  </a:lnTo>
                  <a:lnTo>
                    <a:pt x="84" y="23"/>
                  </a:lnTo>
                  <a:lnTo>
                    <a:pt x="83" y="21"/>
                  </a:lnTo>
                  <a:lnTo>
                    <a:pt x="84" y="19"/>
                  </a:lnTo>
                  <a:lnTo>
                    <a:pt x="84" y="17"/>
                  </a:lnTo>
                  <a:lnTo>
                    <a:pt x="83" y="15"/>
                  </a:lnTo>
                  <a:lnTo>
                    <a:pt x="83" y="13"/>
                  </a:lnTo>
                  <a:lnTo>
                    <a:pt x="84" y="9"/>
                  </a:lnTo>
                  <a:lnTo>
                    <a:pt x="81" y="5"/>
                  </a:lnTo>
                  <a:lnTo>
                    <a:pt x="79" y="5"/>
                  </a:lnTo>
                  <a:lnTo>
                    <a:pt x="75" y="2"/>
                  </a:lnTo>
                  <a:lnTo>
                    <a:pt x="73" y="2"/>
                  </a:lnTo>
                  <a:lnTo>
                    <a:pt x="71" y="0"/>
                  </a:lnTo>
                  <a:lnTo>
                    <a:pt x="67" y="2"/>
                  </a:lnTo>
                  <a:lnTo>
                    <a:pt x="65" y="2"/>
                  </a:lnTo>
                  <a:lnTo>
                    <a:pt x="63" y="2"/>
                  </a:lnTo>
                  <a:lnTo>
                    <a:pt x="60" y="4"/>
                  </a:lnTo>
                  <a:lnTo>
                    <a:pt x="56" y="4"/>
                  </a:lnTo>
                  <a:lnTo>
                    <a:pt x="54" y="2"/>
                  </a:lnTo>
                  <a:lnTo>
                    <a:pt x="52" y="0"/>
                  </a:lnTo>
                  <a:lnTo>
                    <a:pt x="50" y="5"/>
                  </a:lnTo>
                  <a:lnTo>
                    <a:pt x="48" y="9"/>
                  </a:lnTo>
                  <a:lnTo>
                    <a:pt x="44" y="7"/>
                  </a:lnTo>
                  <a:lnTo>
                    <a:pt x="42" y="7"/>
                  </a:lnTo>
                  <a:lnTo>
                    <a:pt x="40" y="7"/>
                  </a:lnTo>
                  <a:lnTo>
                    <a:pt x="33" y="13"/>
                  </a:lnTo>
                  <a:lnTo>
                    <a:pt x="29" y="21"/>
                  </a:lnTo>
                  <a:lnTo>
                    <a:pt x="27" y="21"/>
                  </a:lnTo>
                  <a:lnTo>
                    <a:pt x="27" y="25"/>
                  </a:lnTo>
                  <a:lnTo>
                    <a:pt x="23" y="23"/>
                  </a:lnTo>
                  <a:lnTo>
                    <a:pt x="19" y="25"/>
                  </a:lnTo>
                  <a:lnTo>
                    <a:pt x="15" y="23"/>
                  </a:lnTo>
                  <a:lnTo>
                    <a:pt x="13" y="28"/>
                  </a:lnTo>
                  <a:lnTo>
                    <a:pt x="19" y="30"/>
                  </a:lnTo>
                  <a:lnTo>
                    <a:pt x="13" y="34"/>
                  </a:lnTo>
                  <a:lnTo>
                    <a:pt x="8" y="32"/>
                  </a:lnTo>
                  <a:lnTo>
                    <a:pt x="4" y="36"/>
                  </a:lnTo>
                  <a:lnTo>
                    <a:pt x="0" y="3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3" name="Freeform 151"/>
            <p:cNvSpPr>
              <a:spLocks/>
            </p:cNvSpPr>
            <p:nvPr/>
          </p:nvSpPr>
          <p:spPr bwMode="auto">
            <a:xfrm>
              <a:off x="1904" y="1952"/>
              <a:ext cx="39" cy="44"/>
            </a:xfrm>
            <a:custGeom>
              <a:avLst/>
              <a:gdLst>
                <a:gd name="T0" fmla="*/ 0 w 39"/>
                <a:gd name="T1" fmla="*/ 36 h 44"/>
                <a:gd name="T2" fmla="*/ 4 w 39"/>
                <a:gd name="T3" fmla="*/ 44 h 44"/>
                <a:gd name="T4" fmla="*/ 10 w 39"/>
                <a:gd name="T5" fmla="*/ 40 h 44"/>
                <a:gd name="T6" fmla="*/ 12 w 39"/>
                <a:gd name="T7" fmla="*/ 34 h 44"/>
                <a:gd name="T8" fmla="*/ 16 w 39"/>
                <a:gd name="T9" fmla="*/ 36 h 44"/>
                <a:gd name="T10" fmla="*/ 16 w 39"/>
                <a:gd name="T11" fmla="*/ 29 h 44"/>
                <a:gd name="T12" fmla="*/ 18 w 39"/>
                <a:gd name="T13" fmla="*/ 33 h 44"/>
                <a:gd name="T14" fmla="*/ 20 w 39"/>
                <a:gd name="T15" fmla="*/ 31 h 44"/>
                <a:gd name="T16" fmla="*/ 20 w 39"/>
                <a:gd name="T17" fmla="*/ 34 h 44"/>
                <a:gd name="T18" fmla="*/ 22 w 39"/>
                <a:gd name="T19" fmla="*/ 33 h 44"/>
                <a:gd name="T20" fmla="*/ 24 w 39"/>
                <a:gd name="T21" fmla="*/ 34 h 44"/>
                <a:gd name="T22" fmla="*/ 25 w 39"/>
                <a:gd name="T23" fmla="*/ 23 h 44"/>
                <a:gd name="T24" fmla="*/ 27 w 39"/>
                <a:gd name="T25" fmla="*/ 23 h 44"/>
                <a:gd name="T26" fmla="*/ 29 w 39"/>
                <a:gd name="T27" fmla="*/ 19 h 44"/>
                <a:gd name="T28" fmla="*/ 33 w 39"/>
                <a:gd name="T29" fmla="*/ 21 h 44"/>
                <a:gd name="T30" fmla="*/ 37 w 39"/>
                <a:gd name="T31" fmla="*/ 15 h 44"/>
                <a:gd name="T32" fmla="*/ 33 w 39"/>
                <a:gd name="T33" fmla="*/ 19 h 44"/>
                <a:gd name="T34" fmla="*/ 39 w 39"/>
                <a:gd name="T35" fmla="*/ 11 h 44"/>
                <a:gd name="T36" fmla="*/ 39 w 39"/>
                <a:gd name="T37" fmla="*/ 4 h 44"/>
                <a:gd name="T38" fmla="*/ 39 w 39"/>
                <a:gd name="T39" fmla="*/ 0 h 44"/>
                <a:gd name="T40" fmla="*/ 20 w 39"/>
                <a:gd name="T41" fmla="*/ 10 h 44"/>
                <a:gd name="T42" fmla="*/ 20 w 39"/>
                <a:gd name="T43" fmla="*/ 17 h 44"/>
                <a:gd name="T44" fmla="*/ 16 w 39"/>
                <a:gd name="T45" fmla="*/ 15 h 44"/>
                <a:gd name="T46" fmla="*/ 14 w 39"/>
                <a:gd name="T47" fmla="*/ 19 h 44"/>
                <a:gd name="T48" fmla="*/ 10 w 39"/>
                <a:gd name="T49" fmla="*/ 11 h 44"/>
                <a:gd name="T50" fmla="*/ 8 w 39"/>
                <a:gd name="T51" fmla="*/ 23 h 44"/>
                <a:gd name="T52" fmla="*/ 6 w 39"/>
                <a:gd name="T53" fmla="*/ 25 h 44"/>
                <a:gd name="T54" fmla="*/ 4 w 39"/>
                <a:gd name="T55" fmla="*/ 29 h 44"/>
                <a:gd name="T56" fmla="*/ 12 w 39"/>
                <a:gd name="T57" fmla="*/ 34 h 44"/>
                <a:gd name="T58" fmla="*/ 8 w 39"/>
                <a:gd name="T59" fmla="*/ 36 h 44"/>
                <a:gd name="T60" fmla="*/ 0 w 39"/>
                <a:gd name="T6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 h="44">
                  <a:moveTo>
                    <a:pt x="0" y="36"/>
                  </a:moveTo>
                  <a:lnTo>
                    <a:pt x="4" y="44"/>
                  </a:lnTo>
                  <a:lnTo>
                    <a:pt x="10" y="40"/>
                  </a:lnTo>
                  <a:lnTo>
                    <a:pt x="12" y="34"/>
                  </a:lnTo>
                  <a:lnTo>
                    <a:pt x="16" y="36"/>
                  </a:lnTo>
                  <a:lnTo>
                    <a:pt x="16" y="29"/>
                  </a:lnTo>
                  <a:lnTo>
                    <a:pt x="18" y="33"/>
                  </a:lnTo>
                  <a:lnTo>
                    <a:pt x="20" y="31"/>
                  </a:lnTo>
                  <a:lnTo>
                    <a:pt x="20" y="34"/>
                  </a:lnTo>
                  <a:lnTo>
                    <a:pt x="22" y="33"/>
                  </a:lnTo>
                  <a:lnTo>
                    <a:pt x="24" y="34"/>
                  </a:lnTo>
                  <a:lnTo>
                    <a:pt x="25" y="23"/>
                  </a:lnTo>
                  <a:lnTo>
                    <a:pt x="27" y="23"/>
                  </a:lnTo>
                  <a:lnTo>
                    <a:pt x="29" y="19"/>
                  </a:lnTo>
                  <a:lnTo>
                    <a:pt x="33" y="21"/>
                  </a:lnTo>
                  <a:lnTo>
                    <a:pt x="37" y="15"/>
                  </a:lnTo>
                  <a:lnTo>
                    <a:pt x="33" y="19"/>
                  </a:lnTo>
                  <a:lnTo>
                    <a:pt x="39" y="11"/>
                  </a:lnTo>
                  <a:lnTo>
                    <a:pt x="39" y="4"/>
                  </a:lnTo>
                  <a:lnTo>
                    <a:pt x="39" y="0"/>
                  </a:lnTo>
                  <a:lnTo>
                    <a:pt x="20" y="10"/>
                  </a:lnTo>
                  <a:lnTo>
                    <a:pt x="20" y="17"/>
                  </a:lnTo>
                  <a:lnTo>
                    <a:pt x="16" y="15"/>
                  </a:lnTo>
                  <a:lnTo>
                    <a:pt x="14" y="19"/>
                  </a:lnTo>
                  <a:lnTo>
                    <a:pt x="10" y="11"/>
                  </a:lnTo>
                  <a:lnTo>
                    <a:pt x="8" y="23"/>
                  </a:lnTo>
                  <a:lnTo>
                    <a:pt x="6" y="25"/>
                  </a:lnTo>
                  <a:lnTo>
                    <a:pt x="4" y="29"/>
                  </a:lnTo>
                  <a:lnTo>
                    <a:pt x="12" y="34"/>
                  </a:lnTo>
                  <a:lnTo>
                    <a:pt x="8" y="36"/>
                  </a:lnTo>
                  <a:lnTo>
                    <a:pt x="0" y="3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4" name="Freeform 152"/>
            <p:cNvSpPr>
              <a:spLocks/>
            </p:cNvSpPr>
            <p:nvPr/>
          </p:nvSpPr>
          <p:spPr bwMode="auto">
            <a:xfrm>
              <a:off x="1910" y="2002"/>
              <a:ext cx="35" cy="44"/>
            </a:xfrm>
            <a:custGeom>
              <a:avLst/>
              <a:gdLst>
                <a:gd name="T0" fmla="*/ 0 w 35"/>
                <a:gd name="T1" fmla="*/ 15 h 44"/>
                <a:gd name="T2" fmla="*/ 6 w 35"/>
                <a:gd name="T3" fmla="*/ 21 h 44"/>
                <a:gd name="T4" fmla="*/ 8 w 35"/>
                <a:gd name="T5" fmla="*/ 17 h 44"/>
                <a:gd name="T6" fmla="*/ 14 w 35"/>
                <a:gd name="T7" fmla="*/ 25 h 44"/>
                <a:gd name="T8" fmla="*/ 10 w 35"/>
                <a:gd name="T9" fmla="*/ 23 h 44"/>
                <a:gd name="T10" fmla="*/ 12 w 35"/>
                <a:gd name="T11" fmla="*/ 29 h 44"/>
                <a:gd name="T12" fmla="*/ 12 w 35"/>
                <a:gd name="T13" fmla="*/ 31 h 44"/>
                <a:gd name="T14" fmla="*/ 14 w 35"/>
                <a:gd name="T15" fmla="*/ 33 h 44"/>
                <a:gd name="T16" fmla="*/ 12 w 35"/>
                <a:gd name="T17" fmla="*/ 34 h 44"/>
                <a:gd name="T18" fmla="*/ 18 w 35"/>
                <a:gd name="T19" fmla="*/ 33 h 44"/>
                <a:gd name="T20" fmla="*/ 19 w 35"/>
                <a:gd name="T21" fmla="*/ 36 h 44"/>
                <a:gd name="T22" fmla="*/ 21 w 35"/>
                <a:gd name="T23" fmla="*/ 33 h 44"/>
                <a:gd name="T24" fmla="*/ 27 w 35"/>
                <a:gd name="T25" fmla="*/ 36 h 44"/>
                <a:gd name="T26" fmla="*/ 23 w 35"/>
                <a:gd name="T27" fmla="*/ 38 h 44"/>
                <a:gd name="T28" fmla="*/ 19 w 35"/>
                <a:gd name="T29" fmla="*/ 42 h 44"/>
                <a:gd name="T30" fmla="*/ 21 w 35"/>
                <a:gd name="T31" fmla="*/ 44 h 44"/>
                <a:gd name="T32" fmla="*/ 25 w 35"/>
                <a:gd name="T33" fmla="*/ 44 h 44"/>
                <a:gd name="T34" fmla="*/ 35 w 35"/>
                <a:gd name="T35" fmla="*/ 34 h 44"/>
                <a:gd name="T36" fmla="*/ 19 w 35"/>
                <a:gd name="T37" fmla="*/ 27 h 44"/>
                <a:gd name="T38" fmla="*/ 19 w 35"/>
                <a:gd name="T39" fmla="*/ 21 h 44"/>
                <a:gd name="T40" fmla="*/ 23 w 35"/>
                <a:gd name="T41" fmla="*/ 9 h 44"/>
                <a:gd name="T42" fmla="*/ 18 w 35"/>
                <a:gd name="T43" fmla="*/ 0 h 44"/>
                <a:gd name="T44" fmla="*/ 16 w 35"/>
                <a:gd name="T45" fmla="*/ 4 h 44"/>
                <a:gd name="T46" fmla="*/ 16 w 35"/>
                <a:gd name="T47" fmla="*/ 15 h 44"/>
                <a:gd name="T48" fmla="*/ 8 w 35"/>
                <a:gd name="T49" fmla="*/ 4 h 44"/>
                <a:gd name="T50" fmla="*/ 8 w 35"/>
                <a:gd name="T51" fmla="*/ 11 h 44"/>
                <a:gd name="T52" fmla="*/ 6 w 35"/>
                <a:gd name="T53" fmla="*/ 9 h 44"/>
                <a:gd name="T54" fmla="*/ 6 w 35"/>
                <a:gd name="T55" fmla="*/ 13 h 44"/>
                <a:gd name="T56" fmla="*/ 4 w 35"/>
                <a:gd name="T57" fmla="*/ 9 h 44"/>
                <a:gd name="T58" fmla="*/ 0 w 35"/>
                <a:gd name="T59"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44">
                  <a:moveTo>
                    <a:pt x="0" y="15"/>
                  </a:moveTo>
                  <a:lnTo>
                    <a:pt x="6" y="21"/>
                  </a:lnTo>
                  <a:lnTo>
                    <a:pt x="8" y="17"/>
                  </a:lnTo>
                  <a:lnTo>
                    <a:pt x="14" y="25"/>
                  </a:lnTo>
                  <a:lnTo>
                    <a:pt x="10" y="23"/>
                  </a:lnTo>
                  <a:lnTo>
                    <a:pt x="12" y="29"/>
                  </a:lnTo>
                  <a:lnTo>
                    <a:pt x="12" y="31"/>
                  </a:lnTo>
                  <a:lnTo>
                    <a:pt x="14" y="33"/>
                  </a:lnTo>
                  <a:lnTo>
                    <a:pt x="12" y="34"/>
                  </a:lnTo>
                  <a:lnTo>
                    <a:pt x="18" y="33"/>
                  </a:lnTo>
                  <a:lnTo>
                    <a:pt x="19" y="36"/>
                  </a:lnTo>
                  <a:lnTo>
                    <a:pt x="21" y="33"/>
                  </a:lnTo>
                  <a:lnTo>
                    <a:pt x="27" y="36"/>
                  </a:lnTo>
                  <a:lnTo>
                    <a:pt x="23" y="38"/>
                  </a:lnTo>
                  <a:lnTo>
                    <a:pt x="19" y="42"/>
                  </a:lnTo>
                  <a:lnTo>
                    <a:pt x="21" y="44"/>
                  </a:lnTo>
                  <a:lnTo>
                    <a:pt x="25" y="44"/>
                  </a:lnTo>
                  <a:lnTo>
                    <a:pt x="35" y="34"/>
                  </a:lnTo>
                  <a:lnTo>
                    <a:pt x="19" y="27"/>
                  </a:lnTo>
                  <a:lnTo>
                    <a:pt x="19" y="21"/>
                  </a:lnTo>
                  <a:lnTo>
                    <a:pt x="23" y="9"/>
                  </a:lnTo>
                  <a:lnTo>
                    <a:pt x="18" y="0"/>
                  </a:lnTo>
                  <a:lnTo>
                    <a:pt x="16" y="4"/>
                  </a:lnTo>
                  <a:lnTo>
                    <a:pt x="16" y="15"/>
                  </a:lnTo>
                  <a:lnTo>
                    <a:pt x="8" y="4"/>
                  </a:lnTo>
                  <a:lnTo>
                    <a:pt x="8" y="11"/>
                  </a:lnTo>
                  <a:lnTo>
                    <a:pt x="6" y="9"/>
                  </a:lnTo>
                  <a:lnTo>
                    <a:pt x="6" y="13"/>
                  </a:lnTo>
                  <a:lnTo>
                    <a:pt x="4" y="9"/>
                  </a:lnTo>
                  <a:lnTo>
                    <a:pt x="0" y="15"/>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5" name="Freeform 153"/>
            <p:cNvSpPr>
              <a:spLocks/>
            </p:cNvSpPr>
            <p:nvPr/>
          </p:nvSpPr>
          <p:spPr bwMode="auto">
            <a:xfrm>
              <a:off x="2106" y="1852"/>
              <a:ext cx="21" cy="48"/>
            </a:xfrm>
            <a:custGeom>
              <a:avLst/>
              <a:gdLst>
                <a:gd name="T0" fmla="*/ 0 w 21"/>
                <a:gd name="T1" fmla="*/ 17 h 48"/>
                <a:gd name="T2" fmla="*/ 14 w 21"/>
                <a:gd name="T3" fmla="*/ 15 h 48"/>
                <a:gd name="T4" fmla="*/ 12 w 21"/>
                <a:gd name="T5" fmla="*/ 12 h 48"/>
                <a:gd name="T6" fmla="*/ 12 w 21"/>
                <a:gd name="T7" fmla="*/ 8 h 48"/>
                <a:gd name="T8" fmla="*/ 10 w 21"/>
                <a:gd name="T9" fmla="*/ 8 h 48"/>
                <a:gd name="T10" fmla="*/ 4 w 21"/>
                <a:gd name="T11" fmla="*/ 8 h 48"/>
                <a:gd name="T12" fmla="*/ 10 w 21"/>
                <a:gd name="T13" fmla="*/ 2 h 48"/>
                <a:gd name="T14" fmla="*/ 10 w 21"/>
                <a:gd name="T15" fmla="*/ 4 h 48"/>
                <a:gd name="T16" fmla="*/ 14 w 21"/>
                <a:gd name="T17" fmla="*/ 0 h 48"/>
                <a:gd name="T18" fmla="*/ 16 w 21"/>
                <a:gd name="T19" fmla="*/ 0 h 48"/>
                <a:gd name="T20" fmla="*/ 14 w 21"/>
                <a:gd name="T21" fmla="*/ 12 h 48"/>
                <a:gd name="T22" fmla="*/ 16 w 21"/>
                <a:gd name="T23" fmla="*/ 10 h 48"/>
                <a:gd name="T24" fmla="*/ 18 w 21"/>
                <a:gd name="T25" fmla="*/ 8 h 48"/>
                <a:gd name="T26" fmla="*/ 19 w 21"/>
                <a:gd name="T27" fmla="*/ 13 h 48"/>
                <a:gd name="T28" fmla="*/ 18 w 21"/>
                <a:gd name="T29" fmla="*/ 13 h 48"/>
                <a:gd name="T30" fmla="*/ 21 w 21"/>
                <a:gd name="T31" fmla="*/ 13 h 48"/>
                <a:gd name="T32" fmla="*/ 19 w 21"/>
                <a:gd name="T33" fmla="*/ 15 h 48"/>
                <a:gd name="T34" fmla="*/ 21 w 21"/>
                <a:gd name="T35" fmla="*/ 15 h 48"/>
                <a:gd name="T36" fmla="*/ 18 w 21"/>
                <a:gd name="T37" fmla="*/ 17 h 48"/>
                <a:gd name="T38" fmla="*/ 19 w 21"/>
                <a:gd name="T39" fmla="*/ 21 h 48"/>
                <a:gd name="T40" fmla="*/ 18 w 21"/>
                <a:gd name="T41" fmla="*/ 21 h 48"/>
                <a:gd name="T42" fmla="*/ 19 w 21"/>
                <a:gd name="T43" fmla="*/ 23 h 48"/>
                <a:gd name="T44" fmla="*/ 16 w 21"/>
                <a:gd name="T45" fmla="*/ 25 h 48"/>
                <a:gd name="T46" fmla="*/ 18 w 21"/>
                <a:gd name="T47" fmla="*/ 25 h 48"/>
                <a:gd name="T48" fmla="*/ 16 w 21"/>
                <a:gd name="T49" fmla="*/ 27 h 48"/>
                <a:gd name="T50" fmla="*/ 18 w 21"/>
                <a:gd name="T51" fmla="*/ 29 h 48"/>
                <a:gd name="T52" fmla="*/ 16 w 21"/>
                <a:gd name="T53" fmla="*/ 31 h 48"/>
                <a:gd name="T54" fmla="*/ 16 w 21"/>
                <a:gd name="T55" fmla="*/ 36 h 48"/>
                <a:gd name="T56" fmla="*/ 14 w 21"/>
                <a:gd name="T57" fmla="*/ 36 h 48"/>
                <a:gd name="T58" fmla="*/ 14 w 21"/>
                <a:gd name="T59" fmla="*/ 38 h 48"/>
                <a:gd name="T60" fmla="*/ 12 w 21"/>
                <a:gd name="T61" fmla="*/ 40 h 48"/>
                <a:gd name="T62" fmla="*/ 10 w 21"/>
                <a:gd name="T63" fmla="*/ 48 h 48"/>
                <a:gd name="T64" fmla="*/ 8 w 21"/>
                <a:gd name="T65" fmla="*/ 46 h 48"/>
                <a:gd name="T66" fmla="*/ 8 w 21"/>
                <a:gd name="T67" fmla="*/ 44 h 48"/>
                <a:gd name="T68" fmla="*/ 6 w 21"/>
                <a:gd name="T69" fmla="*/ 42 h 48"/>
                <a:gd name="T70" fmla="*/ 8 w 21"/>
                <a:gd name="T71" fmla="*/ 40 h 48"/>
                <a:gd name="T72" fmla="*/ 14 w 21"/>
                <a:gd name="T73" fmla="*/ 29 h 48"/>
                <a:gd name="T74" fmla="*/ 12 w 21"/>
                <a:gd name="T75" fmla="*/ 29 h 48"/>
                <a:gd name="T76" fmla="*/ 14 w 21"/>
                <a:gd name="T77" fmla="*/ 25 h 48"/>
                <a:gd name="T78" fmla="*/ 12 w 21"/>
                <a:gd name="T79" fmla="*/ 27 h 48"/>
                <a:gd name="T80" fmla="*/ 14 w 21"/>
                <a:gd name="T81" fmla="*/ 23 h 48"/>
                <a:gd name="T82" fmla="*/ 12 w 21"/>
                <a:gd name="T83" fmla="*/ 25 h 48"/>
                <a:gd name="T84" fmla="*/ 12 w 21"/>
                <a:gd name="T85" fmla="*/ 23 h 48"/>
                <a:gd name="T86" fmla="*/ 10 w 21"/>
                <a:gd name="T87" fmla="*/ 27 h 48"/>
                <a:gd name="T88" fmla="*/ 8 w 21"/>
                <a:gd name="T89" fmla="*/ 27 h 48"/>
                <a:gd name="T90" fmla="*/ 8 w 21"/>
                <a:gd name="T91" fmla="*/ 29 h 48"/>
                <a:gd name="T92" fmla="*/ 6 w 21"/>
                <a:gd name="T93" fmla="*/ 25 h 48"/>
                <a:gd name="T94" fmla="*/ 6 w 21"/>
                <a:gd name="T95" fmla="*/ 23 h 48"/>
                <a:gd name="T96" fmla="*/ 4 w 21"/>
                <a:gd name="T97" fmla="*/ 25 h 48"/>
                <a:gd name="T98" fmla="*/ 4 w 21"/>
                <a:gd name="T99" fmla="*/ 23 h 48"/>
                <a:gd name="T100" fmla="*/ 0 w 21"/>
                <a:gd name="T101" fmla="*/ 21 h 48"/>
                <a:gd name="T102" fmla="*/ 0 w 21"/>
                <a:gd name="T103" fmla="*/ 1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 h="48">
                  <a:moveTo>
                    <a:pt x="0" y="17"/>
                  </a:moveTo>
                  <a:lnTo>
                    <a:pt x="14" y="15"/>
                  </a:lnTo>
                  <a:lnTo>
                    <a:pt x="12" y="12"/>
                  </a:lnTo>
                  <a:lnTo>
                    <a:pt x="12" y="8"/>
                  </a:lnTo>
                  <a:lnTo>
                    <a:pt x="10" y="8"/>
                  </a:lnTo>
                  <a:lnTo>
                    <a:pt x="4" y="8"/>
                  </a:lnTo>
                  <a:lnTo>
                    <a:pt x="10" y="2"/>
                  </a:lnTo>
                  <a:lnTo>
                    <a:pt x="10" y="4"/>
                  </a:lnTo>
                  <a:lnTo>
                    <a:pt x="14" y="0"/>
                  </a:lnTo>
                  <a:lnTo>
                    <a:pt x="16" y="0"/>
                  </a:lnTo>
                  <a:lnTo>
                    <a:pt x="14" y="12"/>
                  </a:lnTo>
                  <a:lnTo>
                    <a:pt x="16" y="10"/>
                  </a:lnTo>
                  <a:lnTo>
                    <a:pt x="18" y="8"/>
                  </a:lnTo>
                  <a:lnTo>
                    <a:pt x="19" y="13"/>
                  </a:lnTo>
                  <a:lnTo>
                    <a:pt x="18" y="13"/>
                  </a:lnTo>
                  <a:lnTo>
                    <a:pt x="21" y="13"/>
                  </a:lnTo>
                  <a:lnTo>
                    <a:pt x="19" y="15"/>
                  </a:lnTo>
                  <a:lnTo>
                    <a:pt x="21" y="15"/>
                  </a:lnTo>
                  <a:lnTo>
                    <a:pt x="18" y="17"/>
                  </a:lnTo>
                  <a:lnTo>
                    <a:pt x="19" y="21"/>
                  </a:lnTo>
                  <a:lnTo>
                    <a:pt x="18" y="21"/>
                  </a:lnTo>
                  <a:lnTo>
                    <a:pt x="19" y="23"/>
                  </a:lnTo>
                  <a:lnTo>
                    <a:pt x="16" y="25"/>
                  </a:lnTo>
                  <a:lnTo>
                    <a:pt x="18" y="25"/>
                  </a:lnTo>
                  <a:lnTo>
                    <a:pt x="16" y="27"/>
                  </a:lnTo>
                  <a:lnTo>
                    <a:pt x="18" y="29"/>
                  </a:lnTo>
                  <a:lnTo>
                    <a:pt x="16" y="31"/>
                  </a:lnTo>
                  <a:lnTo>
                    <a:pt x="16" y="36"/>
                  </a:lnTo>
                  <a:lnTo>
                    <a:pt x="14" y="36"/>
                  </a:lnTo>
                  <a:lnTo>
                    <a:pt x="14" y="38"/>
                  </a:lnTo>
                  <a:lnTo>
                    <a:pt x="12" y="40"/>
                  </a:lnTo>
                  <a:lnTo>
                    <a:pt x="10" y="48"/>
                  </a:lnTo>
                  <a:lnTo>
                    <a:pt x="8" y="46"/>
                  </a:lnTo>
                  <a:lnTo>
                    <a:pt x="8" y="44"/>
                  </a:lnTo>
                  <a:lnTo>
                    <a:pt x="6" y="42"/>
                  </a:lnTo>
                  <a:lnTo>
                    <a:pt x="8" y="40"/>
                  </a:lnTo>
                  <a:lnTo>
                    <a:pt x="14" y="29"/>
                  </a:lnTo>
                  <a:lnTo>
                    <a:pt x="12" y="29"/>
                  </a:lnTo>
                  <a:lnTo>
                    <a:pt x="14" y="25"/>
                  </a:lnTo>
                  <a:lnTo>
                    <a:pt x="12" y="27"/>
                  </a:lnTo>
                  <a:lnTo>
                    <a:pt x="14" y="23"/>
                  </a:lnTo>
                  <a:lnTo>
                    <a:pt x="12" y="25"/>
                  </a:lnTo>
                  <a:lnTo>
                    <a:pt x="12" y="23"/>
                  </a:lnTo>
                  <a:lnTo>
                    <a:pt x="10" y="27"/>
                  </a:lnTo>
                  <a:lnTo>
                    <a:pt x="8" y="27"/>
                  </a:lnTo>
                  <a:lnTo>
                    <a:pt x="8" y="29"/>
                  </a:lnTo>
                  <a:lnTo>
                    <a:pt x="6" y="25"/>
                  </a:lnTo>
                  <a:lnTo>
                    <a:pt x="6" y="23"/>
                  </a:lnTo>
                  <a:lnTo>
                    <a:pt x="4" y="25"/>
                  </a:lnTo>
                  <a:lnTo>
                    <a:pt x="4" y="23"/>
                  </a:lnTo>
                  <a:lnTo>
                    <a:pt x="0" y="21"/>
                  </a:lnTo>
                  <a:lnTo>
                    <a:pt x="0" y="17"/>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6" name="Freeform 154"/>
            <p:cNvSpPr>
              <a:spLocks/>
            </p:cNvSpPr>
            <p:nvPr/>
          </p:nvSpPr>
          <p:spPr bwMode="auto">
            <a:xfrm>
              <a:off x="1908" y="2069"/>
              <a:ext cx="27" cy="25"/>
            </a:xfrm>
            <a:custGeom>
              <a:avLst/>
              <a:gdLst>
                <a:gd name="T0" fmla="*/ 0 w 27"/>
                <a:gd name="T1" fmla="*/ 19 h 25"/>
                <a:gd name="T2" fmla="*/ 2 w 27"/>
                <a:gd name="T3" fmla="*/ 17 h 25"/>
                <a:gd name="T4" fmla="*/ 4 w 27"/>
                <a:gd name="T5" fmla="*/ 19 h 25"/>
                <a:gd name="T6" fmla="*/ 4 w 27"/>
                <a:gd name="T7" fmla="*/ 21 h 25"/>
                <a:gd name="T8" fmla="*/ 4 w 27"/>
                <a:gd name="T9" fmla="*/ 19 h 25"/>
                <a:gd name="T10" fmla="*/ 6 w 27"/>
                <a:gd name="T11" fmla="*/ 19 h 25"/>
                <a:gd name="T12" fmla="*/ 8 w 27"/>
                <a:gd name="T13" fmla="*/ 19 h 25"/>
                <a:gd name="T14" fmla="*/ 14 w 27"/>
                <a:gd name="T15" fmla="*/ 19 h 25"/>
                <a:gd name="T16" fmla="*/ 14 w 27"/>
                <a:gd name="T17" fmla="*/ 17 h 25"/>
                <a:gd name="T18" fmla="*/ 10 w 27"/>
                <a:gd name="T19" fmla="*/ 19 h 25"/>
                <a:gd name="T20" fmla="*/ 6 w 27"/>
                <a:gd name="T21" fmla="*/ 19 h 25"/>
                <a:gd name="T22" fmla="*/ 6 w 27"/>
                <a:gd name="T23" fmla="*/ 17 h 25"/>
                <a:gd name="T24" fmla="*/ 10 w 27"/>
                <a:gd name="T25" fmla="*/ 15 h 25"/>
                <a:gd name="T26" fmla="*/ 10 w 27"/>
                <a:gd name="T27" fmla="*/ 14 h 25"/>
                <a:gd name="T28" fmla="*/ 14 w 27"/>
                <a:gd name="T29" fmla="*/ 14 h 25"/>
                <a:gd name="T30" fmla="*/ 16 w 27"/>
                <a:gd name="T31" fmla="*/ 12 h 25"/>
                <a:gd name="T32" fmla="*/ 14 w 27"/>
                <a:gd name="T33" fmla="*/ 12 h 25"/>
                <a:gd name="T34" fmla="*/ 10 w 27"/>
                <a:gd name="T35" fmla="*/ 12 h 25"/>
                <a:gd name="T36" fmla="*/ 10 w 27"/>
                <a:gd name="T37" fmla="*/ 10 h 25"/>
                <a:gd name="T38" fmla="*/ 8 w 27"/>
                <a:gd name="T39" fmla="*/ 8 h 25"/>
                <a:gd name="T40" fmla="*/ 6 w 27"/>
                <a:gd name="T41" fmla="*/ 8 h 25"/>
                <a:gd name="T42" fmla="*/ 4 w 27"/>
                <a:gd name="T43" fmla="*/ 6 h 25"/>
                <a:gd name="T44" fmla="*/ 6 w 27"/>
                <a:gd name="T45" fmla="*/ 4 h 25"/>
                <a:gd name="T46" fmla="*/ 6 w 27"/>
                <a:gd name="T47" fmla="*/ 2 h 25"/>
                <a:gd name="T48" fmla="*/ 8 w 27"/>
                <a:gd name="T49" fmla="*/ 2 h 25"/>
                <a:gd name="T50" fmla="*/ 10 w 27"/>
                <a:gd name="T51" fmla="*/ 4 h 25"/>
                <a:gd name="T52" fmla="*/ 10 w 27"/>
                <a:gd name="T53" fmla="*/ 0 h 25"/>
                <a:gd name="T54" fmla="*/ 14 w 27"/>
                <a:gd name="T55" fmla="*/ 0 h 25"/>
                <a:gd name="T56" fmla="*/ 16 w 27"/>
                <a:gd name="T57" fmla="*/ 2 h 25"/>
                <a:gd name="T58" fmla="*/ 18 w 27"/>
                <a:gd name="T59" fmla="*/ 10 h 25"/>
                <a:gd name="T60" fmla="*/ 23 w 27"/>
                <a:gd name="T61" fmla="*/ 12 h 25"/>
                <a:gd name="T62" fmla="*/ 23 w 27"/>
                <a:gd name="T63" fmla="*/ 15 h 25"/>
                <a:gd name="T64" fmla="*/ 27 w 27"/>
                <a:gd name="T65" fmla="*/ 17 h 25"/>
                <a:gd name="T66" fmla="*/ 25 w 27"/>
                <a:gd name="T67" fmla="*/ 21 h 25"/>
                <a:gd name="T68" fmla="*/ 18 w 27"/>
                <a:gd name="T69" fmla="*/ 25 h 25"/>
                <a:gd name="T70" fmla="*/ 18 w 27"/>
                <a:gd name="T71" fmla="*/ 23 h 25"/>
                <a:gd name="T72" fmla="*/ 18 w 27"/>
                <a:gd name="T73" fmla="*/ 21 h 25"/>
                <a:gd name="T74" fmla="*/ 16 w 27"/>
                <a:gd name="T75" fmla="*/ 23 h 25"/>
                <a:gd name="T76" fmla="*/ 14 w 27"/>
                <a:gd name="T77" fmla="*/ 23 h 25"/>
                <a:gd name="T78" fmla="*/ 12 w 27"/>
                <a:gd name="T79" fmla="*/ 23 h 25"/>
                <a:gd name="T80" fmla="*/ 8 w 27"/>
                <a:gd name="T81" fmla="*/ 23 h 25"/>
                <a:gd name="T82" fmla="*/ 4 w 27"/>
                <a:gd name="T83" fmla="*/ 23 h 25"/>
                <a:gd name="T84" fmla="*/ 0 w 27"/>
                <a:gd name="T85" fmla="*/ 23 h 25"/>
                <a:gd name="T86" fmla="*/ 0 w 27"/>
                <a:gd name="T87"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25">
                  <a:moveTo>
                    <a:pt x="0" y="19"/>
                  </a:moveTo>
                  <a:lnTo>
                    <a:pt x="2" y="17"/>
                  </a:lnTo>
                  <a:lnTo>
                    <a:pt x="4" y="19"/>
                  </a:lnTo>
                  <a:lnTo>
                    <a:pt x="4" y="21"/>
                  </a:lnTo>
                  <a:lnTo>
                    <a:pt x="4" y="19"/>
                  </a:lnTo>
                  <a:lnTo>
                    <a:pt x="6" y="19"/>
                  </a:lnTo>
                  <a:lnTo>
                    <a:pt x="8" y="19"/>
                  </a:lnTo>
                  <a:lnTo>
                    <a:pt x="14" y="19"/>
                  </a:lnTo>
                  <a:lnTo>
                    <a:pt x="14" y="17"/>
                  </a:lnTo>
                  <a:lnTo>
                    <a:pt x="10" y="19"/>
                  </a:lnTo>
                  <a:lnTo>
                    <a:pt x="6" y="19"/>
                  </a:lnTo>
                  <a:lnTo>
                    <a:pt x="6" y="17"/>
                  </a:lnTo>
                  <a:lnTo>
                    <a:pt x="10" y="15"/>
                  </a:lnTo>
                  <a:lnTo>
                    <a:pt x="10" y="14"/>
                  </a:lnTo>
                  <a:lnTo>
                    <a:pt x="14" y="14"/>
                  </a:lnTo>
                  <a:lnTo>
                    <a:pt x="16" y="12"/>
                  </a:lnTo>
                  <a:lnTo>
                    <a:pt x="14" y="12"/>
                  </a:lnTo>
                  <a:lnTo>
                    <a:pt x="10" y="12"/>
                  </a:lnTo>
                  <a:lnTo>
                    <a:pt x="10" y="10"/>
                  </a:lnTo>
                  <a:lnTo>
                    <a:pt x="8" y="8"/>
                  </a:lnTo>
                  <a:lnTo>
                    <a:pt x="6" y="8"/>
                  </a:lnTo>
                  <a:lnTo>
                    <a:pt x="4" y="6"/>
                  </a:lnTo>
                  <a:lnTo>
                    <a:pt x="6" y="4"/>
                  </a:lnTo>
                  <a:lnTo>
                    <a:pt x="6" y="2"/>
                  </a:lnTo>
                  <a:lnTo>
                    <a:pt x="8" y="2"/>
                  </a:lnTo>
                  <a:lnTo>
                    <a:pt x="10" y="4"/>
                  </a:lnTo>
                  <a:lnTo>
                    <a:pt x="10" y="0"/>
                  </a:lnTo>
                  <a:lnTo>
                    <a:pt x="14" y="0"/>
                  </a:lnTo>
                  <a:lnTo>
                    <a:pt x="16" y="2"/>
                  </a:lnTo>
                  <a:lnTo>
                    <a:pt x="18" y="10"/>
                  </a:lnTo>
                  <a:lnTo>
                    <a:pt x="23" y="12"/>
                  </a:lnTo>
                  <a:lnTo>
                    <a:pt x="23" y="15"/>
                  </a:lnTo>
                  <a:lnTo>
                    <a:pt x="27" y="17"/>
                  </a:lnTo>
                  <a:lnTo>
                    <a:pt x="25" y="21"/>
                  </a:lnTo>
                  <a:lnTo>
                    <a:pt x="18" y="25"/>
                  </a:lnTo>
                  <a:lnTo>
                    <a:pt x="18" y="23"/>
                  </a:lnTo>
                  <a:lnTo>
                    <a:pt x="18" y="21"/>
                  </a:lnTo>
                  <a:lnTo>
                    <a:pt x="16" y="23"/>
                  </a:lnTo>
                  <a:lnTo>
                    <a:pt x="14" y="23"/>
                  </a:lnTo>
                  <a:lnTo>
                    <a:pt x="12" y="23"/>
                  </a:lnTo>
                  <a:lnTo>
                    <a:pt x="8" y="23"/>
                  </a:lnTo>
                  <a:lnTo>
                    <a:pt x="4" y="23"/>
                  </a:lnTo>
                  <a:lnTo>
                    <a:pt x="0" y="23"/>
                  </a:lnTo>
                  <a:lnTo>
                    <a:pt x="0" y="1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7" name="Freeform 155"/>
            <p:cNvSpPr>
              <a:spLocks/>
            </p:cNvSpPr>
            <p:nvPr/>
          </p:nvSpPr>
          <p:spPr bwMode="auto">
            <a:xfrm>
              <a:off x="1929" y="2284"/>
              <a:ext cx="22" cy="20"/>
            </a:xfrm>
            <a:custGeom>
              <a:avLst/>
              <a:gdLst>
                <a:gd name="T0" fmla="*/ 0 w 22"/>
                <a:gd name="T1" fmla="*/ 8 h 20"/>
                <a:gd name="T2" fmla="*/ 2 w 22"/>
                <a:gd name="T3" fmla="*/ 8 h 20"/>
                <a:gd name="T4" fmla="*/ 2 w 22"/>
                <a:gd name="T5" fmla="*/ 6 h 20"/>
                <a:gd name="T6" fmla="*/ 2 w 22"/>
                <a:gd name="T7" fmla="*/ 4 h 20"/>
                <a:gd name="T8" fmla="*/ 2 w 22"/>
                <a:gd name="T9" fmla="*/ 2 h 20"/>
                <a:gd name="T10" fmla="*/ 4 w 22"/>
                <a:gd name="T11" fmla="*/ 2 h 20"/>
                <a:gd name="T12" fmla="*/ 6 w 22"/>
                <a:gd name="T13" fmla="*/ 2 h 20"/>
                <a:gd name="T14" fmla="*/ 6 w 22"/>
                <a:gd name="T15" fmla="*/ 0 h 20"/>
                <a:gd name="T16" fmla="*/ 8 w 22"/>
                <a:gd name="T17" fmla="*/ 2 h 20"/>
                <a:gd name="T18" fmla="*/ 8 w 22"/>
                <a:gd name="T19" fmla="*/ 0 h 20"/>
                <a:gd name="T20" fmla="*/ 10 w 22"/>
                <a:gd name="T21" fmla="*/ 2 h 20"/>
                <a:gd name="T22" fmla="*/ 12 w 22"/>
                <a:gd name="T23" fmla="*/ 2 h 20"/>
                <a:gd name="T24" fmla="*/ 14 w 22"/>
                <a:gd name="T25" fmla="*/ 4 h 20"/>
                <a:gd name="T26" fmla="*/ 12 w 22"/>
                <a:gd name="T27" fmla="*/ 6 h 20"/>
                <a:gd name="T28" fmla="*/ 14 w 22"/>
                <a:gd name="T29" fmla="*/ 6 h 20"/>
                <a:gd name="T30" fmla="*/ 14 w 22"/>
                <a:gd name="T31" fmla="*/ 10 h 20"/>
                <a:gd name="T32" fmla="*/ 18 w 22"/>
                <a:gd name="T33" fmla="*/ 10 h 20"/>
                <a:gd name="T34" fmla="*/ 20 w 22"/>
                <a:gd name="T35" fmla="*/ 10 h 20"/>
                <a:gd name="T36" fmla="*/ 22 w 22"/>
                <a:gd name="T37" fmla="*/ 10 h 20"/>
                <a:gd name="T38" fmla="*/ 20 w 22"/>
                <a:gd name="T39" fmla="*/ 12 h 20"/>
                <a:gd name="T40" fmla="*/ 18 w 22"/>
                <a:gd name="T41" fmla="*/ 14 h 20"/>
                <a:gd name="T42" fmla="*/ 16 w 22"/>
                <a:gd name="T43" fmla="*/ 16 h 20"/>
                <a:gd name="T44" fmla="*/ 14 w 22"/>
                <a:gd name="T45" fmla="*/ 16 h 20"/>
                <a:gd name="T46" fmla="*/ 12 w 22"/>
                <a:gd name="T47" fmla="*/ 18 h 20"/>
                <a:gd name="T48" fmla="*/ 10 w 22"/>
                <a:gd name="T49" fmla="*/ 20 h 20"/>
                <a:gd name="T50" fmla="*/ 8 w 22"/>
                <a:gd name="T51" fmla="*/ 20 h 20"/>
                <a:gd name="T52" fmla="*/ 6 w 22"/>
                <a:gd name="T53" fmla="*/ 20 h 20"/>
                <a:gd name="T54" fmla="*/ 6 w 22"/>
                <a:gd name="T55" fmla="*/ 18 h 20"/>
                <a:gd name="T56" fmla="*/ 6 w 22"/>
                <a:gd name="T57" fmla="*/ 16 h 20"/>
                <a:gd name="T58" fmla="*/ 6 w 22"/>
                <a:gd name="T59" fmla="*/ 18 h 20"/>
                <a:gd name="T60" fmla="*/ 4 w 22"/>
                <a:gd name="T61" fmla="*/ 18 h 20"/>
                <a:gd name="T62" fmla="*/ 4 w 22"/>
                <a:gd name="T63" fmla="*/ 16 h 20"/>
                <a:gd name="T64" fmla="*/ 2 w 22"/>
                <a:gd name="T65" fmla="*/ 16 h 20"/>
                <a:gd name="T66" fmla="*/ 2 w 22"/>
                <a:gd name="T67" fmla="*/ 14 h 20"/>
                <a:gd name="T68" fmla="*/ 2 w 22"/>
                <a:gd name="T69" fmla="*/ 12 h 20"/>
                <a:gd name="T70" fmla="*/ 0 w 22"/>
                <a:gd name="T71" fmla="*/ 12 h 20"/>
                <a:gd name="T72" fmla="*/ 0 w 22"/>
                <a:gd name="T73" fmla="*/ 10 h 20"/>
                <a:gd name="T74" fmla="*/ 0 w 22"/>
                <a:gd name="T7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20">
                  <a:moveTo>
                    <a:pt x="0" y="8"/>
                  </a:moveTo>
                  <a:lnTo>
                    <a:pt x="2" y="8"/>
                  </a:lnTo>
                  <a:lnTo>
                    <a:pt x="2" y="6"/>
                  </a:lnTo>
                  <a:lnTo>
                    <a:pt x="2" y="4"/>
                  </a:lnTo>
                  <a:lnTo>
                    <a:pt x="2" y="2"/>
                  </a:lnTo>
                  <a:lnTo>
                    <a:pt x="4" y="2"/>
                  </a:lnTo>
                  <a:lnTo>
                    <a:pt x="6" y="2"/>
                  </a:lnTo>
                  <a:lnTo>
                    <a:pt x="6" y="0"/>
                  </a:lnTo>
                  <a:lnTo>
                    <a:pt x="8" y="2"/>
                  </a:lnTo>
                  <a:lnTo>
                    <a:pt x="8" y="0"/>
                  </a:lnTo>
                  <a:lnTo>
                    <a:pt x="10" y="2"/>
                  </a:lnTo>
                  <a:lnTo>
                    <a:pt x="12" y="2"/>
                  </a:lnTo>
                  <a:lnTo>
                    <a:pt x="14" y="4"/>
                  </a:lnTo>
                  <a:lnTo>
                    <a:pt x="12" y="6"/>
                  </a:lnTo>
                  <a:lnTo>
                    <a:pt x="14" y="6"/>
                  </a:lnTo>
                  <a:lnTo>
                    <a:pt x="14" y="10"/>
                  </a:lnTo>
                  <a:lnTo>
                    <a:pt x="18" y="10"/>
                  </a:lnTo>
                  <a:lnTo>
                    <a:pt x="20" y="10"/>
                  </a:lnTo>
                  <a:lnTo>
                    <a:pt x="22" y="10"/>
                  </a:lnTo>
                  <a:lnTo>
                    <a:pt x="20" y="12"/>
                  </a:lnTo>
                  <a:lnTo>
                    <a:pt x="18" y="14"/>
                  </a:lnTo>
                  <a:lnTo>
                    <a:pt x="16" y="16"/>
                  </a:lnTo>
                  <a:lnTo>
                    <a:pt x="14" y="16"/>
                  </a:lnTo>
                  <a:lnTo>
                    <a:pt x="12" y="18"/>
                  </a:lnTo>
                  <a:lnTo>
                    <a:pt x="10" y="20"/>
                  </a:lnTo>
                  <a:lnTo>
                    <a:pt x="8" y="20"/>
                  </a:lnTo>
                  <a:lnTo>
                    <a:pt x="6" y="20"/>
                  </a:lnTo>
                  <a:lnTo>
                    <a:pt x="6" y="18"/>
                  </a:lnTo>
                  <a:lnTo>
                    <a:pt x="6" y="16"/>
                  </a:lnTo>
                  <a:lnTo>
                    <a:pt x="6" y="18"/>
                  </a:lnTo>
                  <a:lnTo>
                    <a:pt x="4" y="18"/>
                  </a:lnTo>
                  <a:lnTo>
                    <a:pt x="4" y="16"/>
                  </a:lnTo>
                  <a:lnTo>
                    <a:pt x="2" y="16"/>
                  </a:lnTo>
                  <a:lnTo>
                    <a:pt x="2" y="14"/>
                  </a:lnTo>
                  <a:lnTo>
                    <a:pt x="2" y="12"/>
                  </a:lnTo>
                  <a:lnTo>
                    <a:pt x="0" y="12"/>
                  </a:lnTo>
                  <a:lnTo>
                    <a:pt x="0" y="10"/>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8" name="Freeform 156"/>
            <p:cNvSpPr>
              <a:spLocks/>
            </p:cNvSpPr>
            <p:nvPr/>
          </p:nvSpPr>
          <p:spPr bwMode="auto">
            <a:xfrm>
              <a:off x="1895" y="2115"/>
              <a:ext cx="17" cy="21"/>
            </a:xfrm>
            <a:custGeom>
              <a:avLst/>
              <a:gdLst>
                <a:gd name="T0" fmla="*/ 0 w 17"/>
                <a:gd name="T1" fmla="*/ 12 h 21"/>
                <a:gd name="T2" fmla="*/ 0 w 17"/>
                <a:gd name="T3" fmla="*/ 14 h 21"/>
                <a:gd name="T4" fmla="*/ 4 w 17"/>
                <a:gd name="T5" fmla="*/ 10 h 21"/>
                <a:gd name="T6" fmla="*/ 8 w 17"/>
                <a:gd name="T7" fmla="*/ 8 h 21"/>
                <a:gd name="T8" fmla="*/ 9 w 17"/>
                <a:gd name="T9" fmla="*/ 8 h 21"/>
                <a:gd name="T10" fmla="*/ 9 w 17"/>
                <a:gd name="T11" fmla="*/ 10 h 21"/>
                <a:gd name="T12" fmla="*/ 8 w 17"/>
                <a:gd name="T13" fmla="*/ 10 h 21"/>
                <a:gd name="T14" fmla="*/ 6 w 17"/>
                <a:gd name="T15" fmla="*/ 12 h 21"/>
                <a:gd name="T16" fmla="*/ 8 w 17"/>
                <a:gd name="T17" fmla="*/ 12 h 21"/>
                <a:gd name="T18" fmla="*/ 9 w 17"/>
                <a:gd name="T19" fmla="*/ 16 h 21"/>
                <a:gd name="T20" fmla="*/ 8 w 17"/>
                <a:gd name="T21" fmla="*/ 16 h 21"/>
                <a:gd name="T22" fmla="*/ 4 w 17"/>
                <a:gd name="T23" fmla="*/ 19 h 21"/>
                <a:gd name="T24" fmla="*/ 6 w 17"/>
                <a:gd name="T25" fmla="*/ 21 h 21"/>
                <a:gd name="T26" fmla="*/ 8 w 17"/>
                <a:gd name="T27" fmla="*/ 21 h 21"/>
                <a:gd name="T28" fmla="*/ 9 w 17"/>
                <a:gd name="T29" fmla="*/ 19 h 21"/>
                <a:gd name="T30" fmla="*/ 13 w 17"/>
                <a:gd name="T31" fmla="*/ 18 h 21"/>
                <a:gd name="T32" fmla="*/ 15 w 17"/>
                <a:gd name="T33" fmla="*/ 18 h 21"/>
                <a:gd name="T34" fmla="*/ 15 w 17"/>
                <a:gd name="T35" fmla="*/ 16 h 21"/>
                <a:gd name="T36" fmla="*/ 17 w 17"/>
                <a:gd name="T37" fmla="*/ 14 h 21"/>
                <a:gd name="T38" fmla="*/ 15 w 17"/>
                <a:gd name="T39" fmla="*/ 12 h 21"/>
                <a:gd name="T40" fmla="*/ 15 w 17"/>
                <a:gd name="T41" fmla="*/ 2 h 21"/>
                <a:gd name="T42" fmla="*/ 17 w 17"/>
                <a:gd name="T43" fmla="*/ 0 h 21"/>
                <a:gd name="T44" fmla="*/ 13 w 17"/>
                <a:gd name="T45" fmla="*/ 0 h 21"/>
                <a:gd name="T46" fmla="*/ 9 w 17"/>
                <a:gd name="T47" fmla="*/ 2 h 21"/>
                <a:gd name="T48" fmla="*/ 8 w 17"/>
                <a:gd name="T49" fmla="*/ 6 h 21"/>
                <a:gd name="T50" fmla="*/ 9 w 17"/>
                <a:gd name="T51" fmla="*/ 0 h 21"/>
                <a:gd name="T52" fmla="*/ 8 w 17"/>
                <a:gd name="T53" fmla="*/ 2 h 21"/>
                <a:gd name="T54" fmla="*/ 6 w 17"/>
                <a:gd name="T55" fmla="*/ 2 h 21"/>
                <a:gd name="T56" fmla="*/ 4 w 17"/>
                <a:gd name="T57" fmla="*/ 2 h 21"/>
                <a:gd name="T58" fmla="*/ 4 w 17"/>
                <a:gd name="T59" fmla="*/ 4 h 21"/>
                <a:gd name="T60" fmla="*/ 2 w 17"/>
                <a:gd name="T61" fmla="*/ 6 h 21"/>
                <a:gd name="T62" fmla="*/ 2 w 17"/>
                <a:gd name="T63" fmla="*/ 8 h 21"/>
                <a:gd name="T64" fmla="*/ 0 w 17"/>
                <a:gd name="T65" fmla="*/ 10 h 21"/>
                <a:gd name="T66" fmla="*/ 0 w 17"/>
                <a:gd name="T67"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1">
                  <a:moveTo>
                    <a:pt x="0" y="12"/>
                  </a:moveTo>
                  <a:lnTo>
                    <a:pt x="0" y="14"/>
                  </a:lnTo>
                  <a:lnTo>
                    <a:pt x="4" y="10"/>
                  </a:lnTo>
                  <a:lnTo>
                    <a:pt x="8" y="8"/>
                  </a:lnTo>
                  <a:lnTo>
                    <a:pt x="9" y="8"/>
                  </a:lnTo>
                  <a:lnTo>
                    <a:pt x="9" y="10"/>
                  </a:lnTo>
                  <a:lnTo>
                    <a:pt x="8" y="10"/>
                  </a:lnTo>
                  <a:lnTo>
                    <a:pt x="6" y="12"/>
                  </a:lnTo>
                  <a:lnTo>
                    <a:pt x="8" y="12"/>
                  </a:lnTo>
                  <a:lnTo>
                    <a:pt x="9" y="16"/>
                  </a:lnTo>
                  <a:lnTo>
                    <a:pt x="8" y="16"/>
                  </a:lnTo>
                  <a:lnTo>
                    <a:pt x="4" y="19"/>
                  </a:lnTo>
                  <a:lnTo>
                    <a:pt x="6" y="21"/>
                  </a:lnTo>
                  <a:lnTo>
                    <a:pt x="8" y="21"/>
                  </a:lnTo>
                  <a:lnTo>
                    <a:pt x="9" y="19"/>
                  </a:lnTo>
                  <a:lnTo>
                    <a:pt x="13" y="18"/>
                  </a:lnTo>
                  <a:lnTo>
                    <a:pt x="15" y="18"/>
                  </a:lnTo>
                  <a:lnTo>
                    <a:pt x="15" y="16"/>
                  </a:lnTo>
                  <a:lnTo>
                    <a:pt x="17" y="14"/>
                  </a:lnTo>
                  <a:lnTo>
                    <a:pt x="15" y="12"/>
                  </a:lnTo>
                  <a:lnTo>
                    <a:pt x="15" y="2"/>
                  </a:lnTo>
                  <a:lnTo>
                    <a:pt x="17" y="0"/>
                  </a:lnTo>
                  <a:lnTo>
                    <a:pt x="13" y="0"/>
                  </a:lnTo>
                  <a:lnTo>
                    <a:pt x="9" y="2"/>
                  </a:lnTo>
                  <a:lnTo>
                    <a:pt x="8" y="6"/>
                  </a:lnTo>
                  <a:lnTo>
                    <a:pt x="9" y="0"/>
                  </a:lnTo>
                  <a:lnTo>
                    <a:pt x="8" y="2"/>
                  </a:lnTo>
                  <a:lnTo>
                    <a:pt x="6" y="2"/>
                  </a:lnTo>
                  <a:lnTo>
                    <a:pt x="4" y="2"/>
                  </a:lnTo>
                  <a:lnTo>
                    <a:pt x="4" y="4"/>
                  </a:lnTo>
                  <a:lnTo>
                    <a:pt x="2" y="6"/>
                  </a:lnTo>
                  <a:lnTo>
                    <a:pt x="2" y="8"/>
                  </a:lnTo>
                  <a:lnTo>
                    <a:pt x="0" y="10"/>
                  </a:lnTo>
                  <a:lnTo>
                    <a:pt x="0" y="1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69" name="Freeform 157"/>
            <p:cNvSpPr>
              <a:spLocks/>
            </p:cNvSpPr>
            <p:nvPr/>
          </p:nvSpPr>
          <p:spPr bwMode="auto">
            <a:xfrm>
              <a:off x="1931" y="2221"/>
              <a:ext cx="22" cy="21"/>
            </a:xfrm>
            <a:custGeom>
              <a:avLst/>
              <a:gdLst>
                <a:gd name="T0" fmla="*/ 0 w 22"/>
                <a:gd name="T1" fmla="*/ 19 h 21"/>
                <a:gd name="T2" fmla="*/ 2 w 22"/>
                <a:gd name="T3" fmla="*/ 21 h 21"/>
                <a:gd name="T4" fmla="*/ 4 w 22"/>
                <a:gd name="T5" fmla="*/ 21 h 21"/>
                <a:gd name="T6" fmla="*/ 6 w 22"/>
                <a:gd name="T7" fmla="*/ 21 h 21"/>
                <a:gd name="T8" fmla="*/ 8 w 22"/>
                <a:gd name="T9" fmla="*/ 21 h 21"/>
                <a:gd name="T10" fmla="*/ 8 w 22"/>
                <a:gd name="T11" fmla="*/ 19 h 21"/>
                <a:gd name="T12" fmla="*/ 10 w 22"/>
                <a:gd name="T13" fmla="*/ 19 h 21"/>
                <a:gd name="T14" fmla="*/ 12 w 22"/>
                <a:gd name="T15" fmla="*/ 19 h 21"/>
                <a:gd name="T16" fmla="*/ 14 w 22"/>
                <a:gd name="T17" fmla="*/ 17 h 21"/>
                <a:gd name="T18" fmla="*/ 16 w 22"/>
                <a:gd name="T19" fmla="*/ 15 h 21"/>
                <a:gd name="T20" fmla="*/ 18 w 22"/>
                <a:gd name="T21" fmla="*/ 15 h 21"/>
                <a:gd name="T22" fmla="*/ 18 w 22"/>
                <a:gd name="T23" fmla="*/ 13 h 21"/>
                <a:gd name="T24" fmla="*/ 22 w 22"/>
                <a:gd name="T25" fmla="*/ 10 h 21"/>
                <a:gd name="T26" fmla="*/ 22 w 22"/>
                <a:gd name="T27" fmla="*/ 8 h 21"/>
                <a:gd name="T28" fmla="*/ 20 w 22"/>
                <a:gd name="T29" fmla="*/ 6 h 21"/>
                <a:gd name="T30" fmla="*/ 20 w 22"/>
                <a:gd name="T31" fmla="*/ 4 h 21"/>
                <a:gd name="T32" fmla="*/ 22 w 22"/>
                <a:gd name="T33" fmla="*/ 2 h 21"/>
                <a:gd name="T34" fmla="*/ 20 w 22"/>
                <a:gd name="T35" fmla="*/ 0 h 21"/>
                <a:gd name="T36" fmla="*/ 18 w 22"/>
                <a:gd name="T37" fmla="*/ 2 h 21"/>
                <a:gd name="T38" fmla="*/ 16 w 22"/>
                <a:gd name="T39" fmla="*/ 2 h 21"/>
                <a:gd name="T40" fmla="*/ 14 w 22"/>
                <a:gd name="T41" fmla="*/ 4 h 21"/>
                <a:gd name="T42" fmla="*/ 12 w 22"/>
                <a:gd name="T43" fmla="*/ 8 h 21"/>
                <a:gd name="T44" fmla="*/ 10 w 22"/>
                <a:gd name="T45" fmla="*/ 8 h 21"/>
                <a:gd name="T46" fmla="*/ 8 w 22"/>
                <a:gd name="T47" fmla="*/ 10 h 21"/>
                <a:gd name="T48" fmla="*/ 6 w 22"/>
                <a:gd name="T49" fmla="*/ 11 h 21"/>
                <a:gd name="T50" fmla="*/ 4 w 22"/>
                <a:gd name="T51" fmla="*/ 13 h 21"/>
                <a:gd name="T52" fmla="*/ 4 w 22"/>
                <a:gd name="T53" fmla="*/ 15 h 21"/>
                <a:gd name="T54" fmla="*/ 2 w 22"/>
                <a:gd name="T55" fmla="*/ 17 h 21"/>
                <a:gd name="T56" fmla="*/ 2 w 22"/>
                <a:gd name="T57" fmla="*/ 19 h 21"/>
                <a:gd name="T58" fmla="*/ 0 w 22"/>
                <a:gd name="T5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1">
                  <a:moveTo>
                    <a:pt x="0" y="19"/>
                  </a:moveTo>
                  <a:lnTo>
                    <a:pt x="2" y="21"/>
                  </a:lnTo>
                  <a:lnTo>
                    <a:pt x="4" y="21"/>
                  </a:lnTo>
                  <a:lnTo>
                    <a:pt x="6" y="21"/>
                  </a:lnTo>
                  <a:lnTo>
                    <a:pt x="8" y="21"/>
                  </a:lnTo>
                  <a:lnTo>
                    <a:pt x="8" y="19"/>
                  </a:lnTo>
                  <a:lnTo>
                    <a:pt x="10" y="19"/>
                  </a:lnTo>
                  <a:lnTo>
                    <a:pt x="12" y="19"/>
                  </a:lnTo>
                  <a:lnTo>
                    <a:pt x="14" y="17"/>
                  </a:lnTo>
                  <a:lnTo>
                    <a:pt x="16" y="15"/>
                  </a:lnTo>
                  <a:lnTo>
                    <a:pt x="18" y="15"/>
                  </a:lnTo>
                  <a:lnTo>
                    <a:pt x="18" y="13"/>
                  </a:lnTo>
                  <a:lnTo>
                    <a:pt x="22" y="10"/>
                  </a:lnTo>
                  <a:lnTo>
                    <a:pt x="22" y="8"/>
                  </a:lnTo>
                  <a:lnTo>
                    <a:pt x="20" y="6"/>
                  </a:lnTo>
                  <a:lnTo>
                    <a:pt x="20" y="4"/>
                  </a:lnTo>
                  <a:lnTo>
                    <a:pt x="22" y="2"/>
                  </a:lnTo>
                  <a:lnTo>
                    <a:pt x="20" y="0"/>
                  </a:lnTo>
                  <a:lnTo>
                    <a:pt x="18" y="2"/>
                  </a:lnTo>
                  <a:lnTo>
                    <a:pt x="16" y="2"/>
                  </a:lnTo>
                  <a:lnTo>
                    <a:pt x="14" y="4"/>
                  </a:lnTo>
                  <a:lnTo>
                    <a:pt x="12" y="8"/>
                  </a:lnTo>
                  <a:lnTo>
                    <a:pt x="10" y="8"/>
                  </a:lnTo>
                  <a:lnTo>
                    <a:pt x="8" y="10"/>
                  </a:lnTo>
                  <a:lnTo>
                    <a:pt x="6" y="11"/>
                  </a:lnTo>
                  <a:lnTo>
                    <a:pt x="4" y="13"/>
                  </a:lnTo>
                  <a:lnTo>
                    <a:pt x="4" y="15"/>
                  </a:lnTo>
                  <a:lnTo>
                    <a:pt x="2" y="17"/>
                  </a:lnTo>
                  <a:lnTo>
                    <a:pt x="2" y="19"/>
                  </a:lnTo>
                  <a:lnTo>
                    <a:pt x="0" y="1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0" name="Freeform 158"/>
            <p:cNvSpPr>
              <a:spLocks/>
            </p:cNvSpPr>
            <p:nvPr/>
          </p:nvSpPr>
          <p:spPr bwMode="auto">
            <a:xfrm>
              <a:off x="2041" y="1931"/>
              <a:ext cx="19" cy="21"/>
            </a:xfrm>
            <a:custGeom>
              <a:avLst/>
              <a:gdLst>
                <a:gd name="T0" fmla="*/ 0 w 19"/>
                <a:gd name="T1" fmla="*/ 11 h 21"/>
                <a:gd name="T2" fmla="*/ 2 w 19"/>
                <a:gd name="T3" fmla="*/ 4 h 21"/>
                <a:gd name="T4" fmla="*/ 8 w 19"/>
                <a:gd name="T5" fmla="*/ 0 h 21"/>
                <a:gd name="T6" fmla="*/ 11 w 19"/>
                <a:gd name="T7" fmla="*/ 7 h 21"/>
                <a:gd name="T8" fmla="*/ 11 w 19"/>
                <a:gd name="T9" fmla="*/ 9 h 21"/>
                <a:gd name="T10" fmla="*/ 8 w 19"/>
                <a:gd name="T11" fmla="*/ 9 h 21"/>
                <a:gd name="T12" fmla="*/ 11 w 19"/>
                <a:gd name="T13" fmla="*/ 11 h 21"/>
                <a:gd name="T14" fmla="*/ 15 w 19"/>
                <a:gd name="T15" fmla="*/ 13 h 21"/>
                <a:gd name="T16" fmla="*/ 13 w 19"/>
                <a:gd name="T17" fmla="*/ 15 h 21"/>
                <a:gd name="T18" fmla="*/ 17 w 19"/>
                <a:gd name="T19" fmla="*/ 13 h 21"/>
                <a:gd name="T20" fmla="*/ 17 w 19"/>
                <a:gd name="T21" fmla="*/ 15 h 21"/>
                <a:gd name="T22" fmla="*/ 17 w 19"/>
                <a:gd name="T23" fmla="*/ 17 h 21"/>
                <a:gd name="T24" fmla="*/ 19 w 19"/>
                <a:gd name="T25" fmla="*/ 17 h 21"/>
                <a:gd name="T26" fmla="*/ 19 w 19"/>
                <a:gd name="T27" fmla="*/ 19 h 21"/>
                <a:gd name="T28" fmla="*/ 15 w 19"/>
                <a:gd name="T29" fmla="*/ 21 h 21"/>
                <a:gd name="T30" fmla="*/ 13 w 19"/>
                <a:gd name="T31" fmla="*/ 19 h 21"/>
                <a:gd name="T32" fmla="*/ 10 w 19"/>
                <a:gd name="T33" fmla="*/ 15 h 21"/>
                <a:gd name="T34" fmla="*/ 4 w 19"/>
                <a:gd name="T35" fmla="*/ 15 h 21"/>
                <a:gd name="T36" fmla="*/ 4 w 19"/>
                <a:gd name="T37" fmla="*/ 13 h 21"/>
                <a:gd name="T38" fmla="*/ 0 w 19"/>
                <a:gd name="T3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21">
                  <a:moveTo>
                    <a:pt x="0" y="11"/>
                  </a:moveTo>
                  <a:lnTo>
                    <a:pt x="2" y="4"/>
                  </a:lnTo>
                  <a:lnTo>
                    <a:pt x="8" y="0"/>
                  </a:lnTo>
                  <a:lnTo>
                    <a:pt x="11" y="7"/>
                  </a:lnTo>
                  <a:lnTo>
                    <a:pt x="11" y="9"/>
                  </a:lnTo>
                  <a:lnTo>
                    <a:pt x="8" y="9"/>
                  </a:lnTo>
                  <a:lnTo>
                    <a:pt x="11" y="11"/>
                  </a:lnTo>
                  <a:lnTo>
                    <a:pt x="15" y="13"/>
                  </a:lnTo>
                  <a:lnTo>
                    <a:pt x="13" y="15"/>
                  </a:lnTo>
                  <a:lnTo>
                    <a:pt x="17" y="13"/>
                  </a:lnTo>
                  <a:lnTo>
                    <a:pt x="17" y="15"/>
                  </a:lnTo>
                  <a:lnTo>
                    <a:pt x="17" y="17"/>
                  </a:lnTo>
                  <a:lnTo>
                    <a:pt x="19" y="17"/>
                  </a:lnTo>
                  <a:lnTo>
                    <a:pt x="19" y="19"/>
                  </a:lnTo>
                  <a:lnTo>
                    <a:pt x="15" y="21"/>
                  </a:lnTo>
                  <a:lnTo>
                    <a:pt x="13" y="19"/>
                  </a:lnTo>
                  <a:lnTo>
                    <a:pt x="10" y="15"/>
                  </a:lnTo>
                  <a:lnTo>
                    <a:pt x="4" y="15"/>
                  </a:lnTo>
                  <a:lnTo>
                    <a:pt x="4" y="13"/>
                  </a:lnTo>
                  <a:lnTo>
                    <a:pt x="0" y="1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1" name="Freeform 159"/>
            <p:cNvSpPr>
              <a:spLocks/>
            </p:cNvSpPr>
            <p:nvPr/>
          </p:nvSpPr>
          <p:spPr bwMode="auto">
            <a:xfrm>
              <a:off x="1931" y="2134"/>
              <a:ext cx="10" cy="20"/>
            </a:xfrm>
            <a:custGeom>
              <a:avLst/>
              <a:gdLst>
                <a:gd name="T0" fmla="*/ 0 w 10"/>
                <a:gd name="T1" fmla="*/ 6 h 20"/>
                <a:gd name="T2" fmla="*/ 2 w 10"/>
                <a:gd name="T3" fmla="*/ 10 h 20"/>
                <a:gd name="T4" fmla="*/ 0 w 10"/>
                <a:gd name="T5" fmla="*/ 16 h 20"/>
                <a:gd name="T6" fmla="*/ 4 w 10"/>
                <a:gd name="T7" fmla="*/ 20 h 20"/>
                <a:gd name="T8" fmla="*/ 8 w 10"/>
                <a:gd name="T9" fmla="*/ 20 h 20"/>
                <a:gd name="T10" fmla="*/ 10 w 10"/>
                <a:gd name="T11" fmla="*/ 14 h 20"/>
                <a:gd name="T12" fmla="*/ 10 w 10"/>
                <a:gd name="T13" fmla="*/ 12 h 20"/>
                <a:gd name="T14" fmla="*/ 10 w 10"/>
                <a:gd name="T15" fmla="*/ 10 h 20"/>
                <a:gd name="T16" fmla="*/ 10 w 10"/>
                <a:gd name="T17" fmla="*/ 6 h 20"/>
                <a:gd name="T18" fmla="*/ 10 w 10"/>
                <a:gd name="T19" fmla="*/ 4 h 20"/>
                <a:gd name="T20" fmla="*/ 8 w 10"/>
                <a:gd name="T21" fmla="*/ 0 h 20"/>
                <a:gd name="T22" fmla="*/ 6 w 10"/>
                <a:gd name="T23" fmla="*/ 0 h 20"/>
                <a:gd name="T24" fmla="*/ 2 w 10"/>
                <a:gd name="T25" fmla="*/ 2 h 20"/>
                <a:gd name="T26" fmla="*/ 0 w 10"/>
                <a:gd name="T2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20">
                  <a:moveTo>
                    <a:pt x="0" y="6"/>
                  </a:moveTo>
                  <a:lnTo>
                    <a:pt x="2" y="10"/>
                  </a:lnTo>
                  <a:lnTo>
                    <a:pt x="0" y="16"/>
                  </a:lnTo>
                  <a:lnTo>
                    <a:pt x="4" y="20"/>
                  </a:lnTo>
                  <a:lnTo>
                    <a:pt x="8" y="20"/>
                  </a:lnTo>
                  <a:lnTo>
                    <a:pt x="10" y="14"/>
                  </a:lnTo>
                  <a:lnTo>
                    <a:pt x="10" y="12"/>
                  </a:lnTo>
                  <a:lnTo>
                    <a:pt x="10" y="10"/>
                  </a:lnTo>
                  <a:lnTo>
                    <a:pt x="10" y="6"/>
                  </a:lnTo>
                  <a:lnTo>
                    <a:pt x="10" y="4"/>
                  </a:lnTo>
                  <a:lnTo>
                    <a:pt x="8" y="0"/>
                  </a:lnTo>
                  <a:lnTo>
                    <a:pt x="6" y="0"/>
                  </a:lnTo>
                  <a:lnTo>
                    <a:pt x="2" y="2"/>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2" name="Freeform 160"/>
            <p:cNvSpPr>
              <a:spLocks/>
            </p:cNvSpPr>
            <p:nvPr/>
          </p:nvSpPr>
          <p:spPr bwMode="auto">
            <a:xfrm>
              <a:off x="2010" y="2476"/>
              <a:ext cx="19" cy="14"/>
            </a:xfrm>
            <a:custGeom>
              <a:avLst/>
              <a:gdLst>
                <a:gd name="T0" fmla="*/ 0 w 19"/>
                <a:gd name="T1" fmla="*/ 6 h 14"/>
                <a:gd name="T2" fmla="*/ 2 w 19"/>
                <a:gd name="T3" fmla="*/ 6 h 14"/>
                <a:gd name="T4" fmla="*/ 4 w 19"/>
                <a:gd name="T5" fmla="*/ 6 h 14"/>
                <a:gd name="T6" fmla="*/ 4 w 19"/>
                <a:gd name="T7" fmla="*/ 8 h 14"/>
                <a:gd name="T8" fmla="*/ 6 w 19"/>
                <a:gd name="T9" fmla="*/ 8 h 14"/>
                <a:gd name="T10" fmla="*/ 6 w 19"/>
                <a:gd name="T11" fmla="*/ 10 h 14"/>
                <a:gd name="T12" fmla="*/ 8 w 19"/>
                <a:gd name="T13" fmla="*/ 10 h 14"/>
                <a:gd name="T14" fmla="*/ 10 w 19"/>
                <a:gd name="T15" fmla="*/ 12 h 14"/>
                <a:gd name="T16" fmla="*/ 12 w 19"/>
                <a:gd name="T17" fmla="*/ 14 h 14"/>
                <a:gd name="T18" fmla="*/ 14 w 19"/>
                <a:gd name="T19" fmla="*/ 12 h 14"/>
                <a:gd name="T20" fmla="*/ 16 w 19"/>
                <a:gd name="T21" fmla="*/ 12 h 14"/>
                <a:gd name="T22" fmla="*/ 16 w 19"/>
                <a:gd name="T23" fmla="*/ 10 h 14"/>
                <a:gd name="T24" fmla="*/ 19 w 19"/>
                <a:gd name="T25" fmla="*/ 8 h 14"/>
                <a:gd name="T26" fmla="*/ 19 w 19"/>
                <a:gd name="T27" fmla="*/ 6 h 14"/>
                <a:gd name="T28" fmla="*/ 19 w 19"/>
                <a:gd name="T29" fmla="*/ 4 h 14"/>
                <a:gd name="T30" fmla="*/ 17 w 19"/>
                <a:gd name="T31" fmla="*/ 4 h 14"/>
                <a:gd name="T32" fmla="*/ 16 w 19"/>
                <a:gd name="T33" fmla="*/ 2 h 14"/>
                <a:gd name="T34" fmla="*/ 14 w 19"/>
                <a:gd name="T35" fmla="*/ 0 h 14"/>
                <a:gd name="T36" fmla="*/ 12 w 19"/>
                <a:gd name="T37" fmla="*/ 0 h 14"/>
                <a:gd name="T38" fmla="*/ 10 w 19"/>
                <a:gd name="T39" fmla="*/ 2 h 14"/>
                <a:gd name="T40" fmla="*/ 8 w 19"/>
                <a:gd name="T41" fmla="*/ 2 h 14"/>
                <a:gd name="T42" fmla="*/ 6 w 19"/>
                <a:gd name="T43" fmla="*/ 2 h 14"/>
                <a:gd name="T44" fmla="*/ 2 w 19"/>
                <a:gd name="T45" fmla="*/ 4 h 14"/>
                <a:gd name="T46" fmla="*/ 0 w 19"/>
                <a:gd name="T47"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4">
                  <a:moveTo>
                    <a:pt x="0" y="6"/>
                  </a:moveTo>
                  <a:lnTo>
                    <a:pt x="2" y="6"/>
                  </a:lnTo>
                  <a:lnTo>
                    <a:pt x="4" y="6"/>
                  </a:lnTo>
                  <a:lnTo>
                    <a:pt x="4" y="8"/>
                  </a:lnTo>
                  <a:lnTo>
                    <a:pt x="6" y="8"/>
                  </a:lnTo>
                  <a:lnTo>
                    <a:pt x="6" y="10"/>
                  </a:lnTo>
                  <a:lnTo>
                    <a:pt x="8" y="10"/>
                  </a:lnTo>
                  <a:lnTo>
                    <a:pt x="10" y="12"/>
                  </a:lnTo>
                  <a:lnTo>
                    <a:pt x="12" y="14"/>
                  </a:lnTo>
                  <a:lnTo>
                    <a:pt x="14" y="12"/>
                  </a:lnTo>
                  <a:lnTo>
                    <a:pt x="16" y="12"/>
                  </a:lnTo>
                  <a:lnTo>
                    <a:pt x="16" y="10"/>
                  </a:lnTo>
                  <a:lnTo>
                    <a:pt x="19" y="8"/>
                  </a:lnTo>
                  <a:lnTo>
                    <a:pt x="19" y="6"/>
                  </a:lnTo>
                  <a:lnTo>
                    <a:pt x="19" y="4"/>
                  </a:lnTo>
                  <a:lnTo>
                    <a:pt x="17" y="4"/>
                  </a:lnTo>
                  <a:lnTo>
                    <a:pt x="16" y="2"/>
                  </a:lnTo>
                  <a:lnTo>
                    <a:pt x="14" y="0"/>
                  </a:lnTo>
                  <a:lnTo>
                    <a:pt x="12" y="0"/>
                  </a:lnTo>
                  <a:lnTo>
                    <a:pt x="10" y="2"/>
                  </a:lnTo>
                  <a:lnTo>
                    <a:pt x="8" y="2"/>
                  </a:lnTo>
                  <a:lnTo>
                    <a:pt x="6" y="2"/>
                  </a:lnTo>
                  <a:lnTo>
                    <a:pt x="2" y="4"/>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3" name="Freeform 161"/>
            <p:cNvSpPr>
              <a:spLocks/>
            </p:cNvSpPr>
            <p:nvPr/>
          </p:nvSpPr>
          <p:spPr bwMode="auto">
            <a:xfrm>
              <a:off x="1887" y="1996"/>
              <a:ext cx="17" cy="14"/>
            </a:xfrm>
            <a:custGeom>
              <a:avLst/>
              <a:gdLst>
                <a:gd name="T0" fmla="*/ 0 w 17"/>
                <a:gd name="T1" fmla="*/ 4 h 14"/>
                <a:gd name="T2" fmla="*/ 4 w 17"/>
                <a:gd name="T3" fmla="*/ 0 h 14"/>
                <a:gd name="T4" fmla="*/ 8 w 17"/>
                <a:gd name="T5" fmla="*/ 2 h 14"/>
                <a:gd name="T6" fmla="*/ 14 w 17"/>
                <a:gd name="T7" fmla="*/ 0 h 14"/>
                <a:gd name="T8" fmla="*/ 17 w 17"/>
                <a:gd name="T9" fmla="*/ 4 h 14"/>
                <a:gd name="T10" fmla="*/ 16 w 17"/>
                <a:gd name="T11" fmla="*/ 6 h 14"/>
                <a:gd name="T12" fmla="*/ 14 w 17"/>
                <a:gd name="T13" fmla="*/ 4 h 14"/>
                <a:gd name="T14" fmla="*/ 16 w 17"/>
                <a:gd name="T15" fmla="*/ 8 h 14"/>
                <a:gd name="T16" fmla="*/ 8 w 17"/>
                <a:gd name="T17" fmla="*/ 10 h 14"/>
                <a:gd name="T18" fmla="*/ 14 w 17"/>
                <a:gd name="T19" fmla="*/ 10 h 14"/>
                <a:gd name="T20" fmla="*/ 12 w 17"/>
                <a:gd name="T21" fmla="*/ 14 h 14"/>
                <a:gd name="T22" fmla="*/ 6 w 17"/>
                <a:gd name="T23" fmla="*/ 12 h 14"/>
                <a:gd name="T24" fmla="*/ 0 w 17"/>
                <a:gd name="T2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4">
                  <a:moveTo>
                    <a:pt x="0" y="4"/>
                  </a:moveTo>
                  <a:lnTo>
                    <a:pt x="4" y="0"/>
                  </a:lnTo>
                  <a:lnTo>
                    <a:pt x="8" y="2"/>
                  </a:lnTo>
                  <a:lnTo>
                    <a:pt x="14" y="0"/>
                  </a:lnTo>
                  <a:lnTo>
                    <a:pt x="17" y="4"/>
                  </a:lnTo>
                  <a:lnTo>
                    <a:pt x="16" y="6"/>
                  </a:lnTo>
                  <a:lnTo>
                    <a:pt x="14" y="4"/>
                  </a:lnTo>
                  <a:lnTo>
                    <a:pt x="16" y="8"/>
                  </a:lnTo>
                  <a:lnTo>
                    <a:pt x="8" y="10"/>
                  </a:lnTo>
                  <a:lnTo>
                    <a:pt x="14" y="10"/>
                  </a:lnTo>
                  <a:lnTo>
                    <a:pt x="12" y="14"/>
                  </a:lnTo>
                  <a:lnTo>
                    <a:pt x="6" y="12"/>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4" name="Freeform 162"/>
            <p:cNvSpPr>
              <a:spLocks/>
            </p:cNvSpPr>
            <p:nvPr/>
          </p:nvSpPr>
          <p:spPr bwMode="auto">
            <a:xfrm>
              <a:off x="1912" y="2104"/>
              <a:ext cx="17" cy="19"/>
            </a:xfrm>
            <a:custGeom>
              <a:avLst/>
              <a:gdLst>
                <a:gd name="T0" fmla="*/ 0 w 17"/>
                <a:gd name="T1" fmla="*/ 13 h 19"/>
                <a:gd name="T2" fmla="*/ 0 w 17"/>
                <a:gd name="T3" fmla="*/ 19 h 19"/>
                <a:gd name="T4" fmla="*/ 2 w 17"/>
                <a:gd name="T5" fmla="*/ 19 h 19"/>
                <a:gd name="T6" fmla="*/ 8 w 17"/>
                <a:gd name="T7" fmla="*/ 13 h 19"/>
                <a:gd name="T8" fmla="*/ 10 w 17"/>
                <a:gd name="T9" fmla="*/ 11 h 19"/>
                <a:gd name="T10" fmla="*/ 12 w 17"/>
                <a:gd name="T11" fmla="*/ 9 h 19"/>
                <a:gd name="T12" fmla="*/ 16 w 17"/>
                <a:gd name="T13" fmla="*/ 5 h 19"/>
                <a:gd name="T14" fmla="*/ 17 w 17"/>
                <a:gd name="T15" fmla="*/ 4 h 19"/>
                <a:gd name="T16" fmla="*/ 17 w 17"/>
                <a:gd name="T17" fmla="*/ 0 h 19"/>
                <a:gd name="T18" fmla="*/ 16 w 17"/>
                <a:gd name="T19" fmla="*/ 2 h 19"/>
                <a:gd name="T20" fmla="*/ 14 w 17"/>
                <a:gd name="T21" fmla="*/ 2 h 19"/>
                <a:gd name="T22" fmla="*/ 14 w 17"/>
                <a:gd name="T23" fmla="*/ 4 h 19"/>
                <a:gd name="T24" fmla="*/ 8 w 17"/>
                <a:gd name="T25" fmla="*/ 5 h 19"/>
                <a:gd name="T26" fmla="*/ 6 w 17"/>
                <a:gd name="T27" fmla="*/ 7 h 19"/>
                <a:gd name="T28" fmla="*/ 4 w 17"/>
                <a:gd name="T29" fmla="*/ 9 h 19"/>
                <a:gd name="T30" fmla="*/ 6 w 17"/>
                <a:gd name="T31" fmla="*/ 9 h 19"/>
                <a:gd name="T32" fmla="*/ 8 w 17"/>
                <a:gd name="T33" fmla="*/ 9 h 19"/>
                <a:gd name="T34" fmla="*/ 6 w 17"/>
                <a:gd name="T35" fmla="*/ 11 h 19"/>
                <a:gd name="T36" fmla="*/ 4 w 17"/>
                <a:gd name="T37" fmla="*/ 9 h 19"/>
                <a:gd name="T38" fmla="*/ 2 w 17"/>
                <a:gd name="T39" fmla="*/ 11 h 19"/>
                <a:gd name="T40" fmla="*/ 0 w 17"/>
                <a:gd name="T41"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9">
                  <a:moveTo>
                    <a:pt x="0" y="13"/>
                  </a:moveTo>
                  <a:lnTo>
                    <a:pt x="0" y="19"/>
                  </a:lnTo>
                  <a:lnTo>
                    <a:pt x="2" y="19"/>
                  </a:lnTo>
                  <a:lnTo>
                    <a:pt x="8" y="13"/>
                  </a:lnTo>
                  <a:lnTo>
                    <a:pt x="10" y="11"/>
                  </a:lnTo>
                  <a:lnTo>
                    <a:pt x="12" y="9"/>
                  </a:lnTo>
                  <a:lnTo>
                    <a:pt x="16" y="5"/>
                  </a:lnTo>
                  <a:lnTo>
                    <a:pt x="17" y="4"/>
                  </a:lnTo>
                  <a:lnTo>
                    <a:pt x="17" y="0"/>
                  </a:lnTo>
                  <a:lnTo>
                    <a:pt x="16" y="2"/>
                  </a:lnTo>
                  <a:lnTo>
                    <a:pt x="14" y="2"/>
                  </a:lnTo>
                  <a:lnTo>
                    <a:pt x="14" y="4"/>
                  </a:lnTo>
                  <a:lnTo>
                    <a:pt x="8" y="5"/>
                  </a:lnTo>
                  <a:lnTo>
                    <a:pt x="6" y="7"/>
                  </a:lnTo>
                  <a:lnTo>
                    <a:pt x="4" y="9"/>
                  </a:lnTo>
                  <a:lnTo>
                    <a:pt x="6" y="9"/>
                  </a:lnTo>
                  <a:lnTo>
                    <a:pt x="8" y="9"/>
                  </a:lnTo>
                  <a:lnTo>
                    <a:pt x="6" y="11"/>
                  </a:lnTo>
                  <a:lnTo>
                    <a:pt x="4" y="9"/>
                  </a:lnTo>
                  <a:lnTo>
                    <a:pt x="2" y="11"/>
                  </a:lnTo>
                  <a:lnTo>
                    <a:pt x="0" y="1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5" name="Freeform 163"/>
            <p:cNvSpPr>
              <a:spLocks/>
            </p:cNvSpPr>
            <p:nvPr/>
          </p:nvSpPr>
          <p:spPr bwMode="auto">
            <a:xfrm>
              <a:off x="1885" y="2013"/>
              <a:ext cx="10" cy="20"/>
            </a:xfrm>
            <a:custGeom>
              <a:avLst/>
              <a:gdLst>
                <a:gd name="T0" fmla="*/ 2 w 10"/>
                <a:gd name="T1" fmla="*/ 8 h 20"/>
                <a:gd name="T2" fmla="*/ 0 w 10"/>
                <a:gd name="T3" fmla="*/ 20 h 20"/>
                <a:gd name="T4" fmla="*/ 6 w 10"/>
                <a:gd name="T5" fmla="*/ 20 h 20"/>
                <a:gd name="T6" fmla="*/ 2 w 10"/>
                <a:gd name="T7" fmla="*/ 18 h 20"/>
                <a:gd name="T8" fmla="*/ 6 w 10"/>
                <a:gd name="T9" fmla="*/ 18 h 20"/>
                <a:gd name="T10" fmla="*/ 4 w 10"/>
                <a:gd name="T11" fmla="*/ 12 h 20"/>
                <a:gd name="T12" fmla="*/ 6 w 10"/>
                <a:gd name="T13" fmla="*/ 14 h 20"/>
                <a:gd name="T14" fmla="*/ 10 w 10"/>
                <a:gd name="T15" fmla="*/ 8 h 20"/>
                <a:gd name="T16" fmla="*/ 6 w 10"/>
                <a:gd name="T17" fmla="*/ 0 h 20"/>
                <a:gd name="T18" fmla="*/ 2 w 10"/>
                <a:gd name="T19"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20">
                  <a:moveTo>
                    <a:pt x="2" y="8"/>
                  </a:moveTo>
                  <a:lnTo>
                    <a:pt x="0" y="20"/>
                  </a:lnTo>
                  <a:lnTo>
                    <a:pt x="6" y="20"/>
                  </a:lnTo>
                  <a:lnTo>
                    <a:pt x="2" y="18"/>
                  </a:lnTo>
                  <a:lnTo>
                    <a:pt x="6" y="18"/>
                  </a:lnTo>
                  <a:lnTo>
                    <a:pt x="4" y="12"/>
                  </a:lnTo>
                  <a:lnTo>
                    <a:pt x="6" y="14"/>
                  </a:lnTo>
                  <a:lnTo>
                    <a:pt x="10" y="8"/>
                  </a:lnTo>
                  <a:lnTo>
                    <a:pt x="6" y="0"/>
                  </a:lnTo>
                  <a:lnTo>
                    <a:pt x="2"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6" name="Freeform 164"/>
            <p:cNvSpPr>
              <a:spLocks/>
            </p:cNvSpPr>
            <p:nvPr/>
          </p:nvSpPr>
          <p:spPr bwMode="auto">
            <a:xfrm>
              <a:off x="2125" y="1846"/>
              <a:ext cx="8" cy="16"/>
            </a:xfrm>
            <a:custGeom>
              <a:avLst/>
              <a:gdLst>
                <a:gd name="T0" fmla="*/ 0 w 8"/>
                <a:gd name="T1" fmla="*/ 8 h 16"/>
                <a:gd name="T2" fmla="*/ 0 w 8"/>
                <a:gd name="T3" fmla="*/ 14 h 16"/>
                <a:gd name="T4" fmla="*/ 4 w 8"/>
                <a:gd name="T5" fmla="*/ 16 h 16"/>
                <a:gd name="T6" fmla="*/ 6 w 8"/>
                <a:gd name="T7" fmla="*/ 12 h 16"/>
                <a:gd name="T8" fmla="*/ 6 w 8"/>
                <a:gd name="T9" fmla="*/ 6 h 16"/>
                <a:gd name="T10" fmla="*/ 8 w 8"/>
                <a:gd name="T11" fmla="*/ 6 h 16"/>
                <a:gd name="T12" fmla="*/ 8 w 8"/>
                <a:gd name="T13" fmla="*/ 0 h 16"/>
                <a:gd name="T14" fmla="*/ 4 w 8"/>
                <a:gd name="T15" fmla="*/ 0 h 16"/>
                <a:gd name="T16" fmla="*/ 0 w 8"/>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0" y="8"/>
                  </a:moveTo>
                  <a:lnTo>
                    <a:pt x="0" y="14"/>
                  </a:lnTo>
                  <a:lnTo>
                    <a:pt x="4" y="16"/>
                  </a:lnTo>
                  <a:lnTo>
                    <a:pt x="6" y="12"/>
                  </a:lnTo>
                  <a:lnTo>
                    <a:pt x="6" y="6"/>
                  </a:lnTo>
                  <a:lnTo>
                    <a:pt x="8" y="6"/>
                  </a:lnTo>
                  <a:lnTo>
                    <a:pt x="8" y="0"/>
                  </a:lnTo>
                  <a:lnTo>
                    <a:pt x="4" y="0"/>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7" name="Freeform 165"/>
            <p:cNvSpPr>
              <a:spLocks/>
            </p:cNvSpPr>
            <p:nvPr/>
          </p:nvSpPr>
          <p:spPr bwMode="auto">
            <a:xfrm>
              <a:off x="2133" y="1840"/>
              <a:ext cx="8" cy="10"/>
            </a:xfrm>
            <a:custGeom>
              <a:avLst/>
              <a:gdLst>
                <a:gd name="T0" fmla="*/ 0 w 8"/>
                <a:gd name="T1" fmla="*/ 10 h 10"/>
                <a:gd name="T2" fmla="*/ 4 w 8"/>
                <a:gd name="T3" fmla="*/ 10 h 10"/>
                <a:gd name="T4" fmla="*/ 4 w 8"/>
                <a:gd name="T5" fmla="*/ 8 h 10"/>
                <a:gd name="T6" fmla="*/ 6 w 8"/>
                <a:gd name="T7" fmla="*/ 4 h 10"/>
                <a:gd name="T8" fmla="*/ 8 w 8"/>
                <a:gd name="T9" fmla="*/ 4 h 10"/>
                <a:gd name="T10" fmla="*/ 8 w 8"/>
                <a:gd name="T11" fmla="*/ 2 h 10"/>
                <a:gd name="T12" fmla="*/ 4 w 8"/>
                <a:gd name="T13" fmla="*/ 0 h 10"/>
                <a:gd name="T14" fmla="*/ 2 w 8"/>
                <a:gd name="T15" fmla="*/ 2 h 10"/>
                <a:gd name="T16" fmla="*/ 0 w 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0" y="10"/>
                  </a:moveTo>
                  <a:lnTo>
                    <a:pt x="4" y="10"/>
                  </a:lnTo>
                  <a:lnTo>
                    <a:pt x="4" y="8"/>
                  </a:lnTo>
                  <a:lnTo>
                    <a:pt x="6" y="4"/>
                  </a:lnTo>
                  <a:lnTo>
                    <a:pt x="8" y="4"/>
                  </a:lnTo>
                  <a:lnTo>
                    <a:pt x="8" y="2"/>
                  </a:lnTo>
                  <a:lnTo>
                    <a:pt x="4" y="0"/>
                  </a:lnTo>
                  <a:lnTo>
                    <a:pt x="2" y="2"/>
                  </a:lnTo>
                  <a:lnTo>
                    <a:pt x="0" y="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8" name="Freeform 166"/>
            <p:cNvSpPr>
              <a:spLocks/>
            </p:cNvSpPr>
            <p:nvPr/>
          </p:nvSpPr>
          <p:spPr bwMode="auto">
            <a:xfrm>
              <a:off x="2037" y="1946"/>
              <a:ext cx="8" cy="12"/>
            </a:xfrm>
            <a:custGeom>
              <a:avLst/>
              <a:gdLst>
                <a:gd name="T0" fmla="*/ 0 w 8"/>
                <a:gd name="T1" fmla="*/ 2 h 12"/>
                <a:gd name="T2" fmla="*/ 4 w 8"/>
                <a:gd name="T3" fmla="*/ 0 h 12"/>
                <a:gd name="T4" fmla="*/ 6 w 8"/>
                <a:gd name="T5" fmla="*/ 4 h 12"/>
                <a:gd name="T6" fmla="*/ 6 w 8"/>
                <a:gd name="T7" fmla="*/ 10 h 12"/>
                <a:gd name="T8" fmla="*/ 8 w 8"/>
                <a:gd name="T9" fmla="*/ 8 h 12"/>
                <a:gd name="T10" fmla="*/ 6 w 8"/>
                <a:gd name="T11" fmla="*/ 12 h 12"/>
                <a:gd name="T12" fmla="*/ 0 w 8"/>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2"/>
                  </a:moveTo>
                  <a:lnTo>
                    <a:pt x="4" y="0"/>
                  </a:lnTo>
                  <a:lnTo>
                    <a:pt x="6" y="4"/>
                  </a:lnTo>
                  <a:lnTo>
                    <a:pt x="6" y="10"/>
                  </a:lnTo>
                  <a:lnTo>
                    <a:pt x="8" y="8"/>
                  </a:lnTo>
                  <a:lnTo>
                    <a:pt x="6" y="1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79" name="Freeform 167"/>
            <p:cNvSpPr>
              <a:spLocks/>
            </p:cNvSpPr>
            <p:nvPr/>
          </p:nvSpPr>
          <p:spPr bwMode="auto">
            <a:xfrm>
              <a:off x="1941" y="2123"/>
              <a:ext cx="6" cy="11"/>
            </a:xfrm>
            <a:custGeom>
              <a:avLst/>
              <a:gdLst>
                <a:gd name="T0" fmla="*/ 0 w 6"/>
                <a:gd name="T1" fmla="*/ 0 h 11"/>
                <a:gd name="T2" fmla="*/ 2 w 6"/>
                <a:gd name="T3" fmla="*/ 0 h 11"/>
                <a:gd name="T4" fmla="*/ 6 w 6"/>
                <a:gd name="T5" fmla="*/ 2 h 11"/>
                <a:gd name="T6" fmla="*/ 6 w 6"/>
                <a:gd name="T7" fmla="*/ 6 h 11"/>
                <a:gd name="T8" fmla="*/ 6 w 6"/>
                <a:gd name="T9" fmla="*/ 4 h 11"/>
                <a:gd name="T10" fmla="*/ 6 w 6"/>
                <a:gd name="T11" fmla="*/ 8 h 11"/>
                <a:gd name="T12" fmla="*/ 6 w 6"/>
                <a:gd name="T13" fmla="*/ 10 h 11"/>
                <a:gd name="T14" fmla="*/ 6 w 6"/>
                <a:gd name="T15" fmla="*/ 11 h 11"/>
                <a:gd name="T16" fmla="*/ 4 w 6"/>
                <a:gd name="T17" fmla="*/ 11 h 11"/>
                <a:gd name="T18" fmla="*/ 4 w 6"/>
                <a:gd name="T19" fmla="*/ 10 h 11"/>
                <a:gd name="T20" fmla="*/ 2 w 6"/>
                <a:gd name="T21" fmla="*/ 10 h 11"/>
                <a:gd name="T22" fmla="*/ 2 w 6"/>
                <a:gd name="T23" fmla="*/ 4 h 11"/>
                <a:gd name="T24" fmla="*/ 0 w 6"/>
                <a:gd name="T25" fmla="*/ 2 h 11"/>
                <a:gd name="T26" fmla="*/ 0 w 6"/>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1">
                  <a:moveTo>
                    <a:pt x="0" y="0"/>
                  </a:moveTo>
                  <a:lnTo>
                    <a:pt x="2" y="0"/>
                  </a:lnTo>
                  <a:lnTo>
                    <a:pt x="6" y="2"/>
                  </a:lnTo>
                  <a:lnTo>
                    <a:pt x="6" y="6"/>
                  </a:lnTo>
                  <a:lnTo>
                    <a:pt x="6" y="4"/>
                  </a:lnTo>
                  <a:lnTo>
                    <a:pt x="6" y="8"/>
                  </a:lnTo>
                  <a:lnTo>
                    <a:pt x="6" y="10"/>
                  </a:lnTo>
                  <a:lnTo>
                    <a:pt x="6" y="11"/>
                  </a:lnTo>
                  <a:lnTo>
                    <a:pt x="4" y="11"/>
                  </a:lnTo>
                  <a:lnTo>
                    <a:pt x="4" y="10"/>
                  </a:lnTo>
                  <a:lnTo>
                    <a:pt x="2" y="10"/>
                  </a:lnTo>
                  <a:lnTo>
                    <a:pt x="2" y="4"/>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0" name="Freeform 168"/>
            <p:cNvSpPr>
              <a:spLocks/>
            </p:cNvSpPr>
            <p:nvPr/>
          </p:nvSpPr>
          <p:spPr bwMode="auto">
            <a:xfrm>
              <a:off x="2104" y="2444"/>
              <a:ext cx="10" cy="7"/>
            </a:xfrm>
            <a:custGeom>
              <a:avLst/>
              <a:gdLst>
                <a:gd name="T0" fmla="*/ 0 w 10"/>
                <a:gd name="T1" fmla="*/ 4 h 7"/>
                <a:gd name="T2" fmla="*/ 2 w 10"/>
                <a:gd name="T3" fmla="*/ 6 h 7"/>
                <a:gd name="T4" fmla="*/ 4 w 10"/>
                <a:gd name="T5" fmla="*/ 6 h 7"/>
                <a:gd name="T6" fmla="*/ 8 w 10"/>
                <a:gd name="T7" fmla="*/ 7 h 7"/>
                <a:gd name="T8" fmla="*/ 10 w 10"/>
                <a:gd name="T9" fmla="*/ 6 h 7"/>
                <a:gd name="T10" fmla="*/ 8 w 10"/>
                <a:gd name="T11" fmla="*/ 4 h 7"/>
                <a:gd name="T12" fmla="*/ 8 w 10"/>
                <a:gd name="T13" fmla="*/ 2 h 7"/>
                <a:gd name="T14" fmla="*/ 4 w 10"/>
                <a:gd name="T15" fmla="*/ 2 h 7"/>
                <a:gd name="T16" fmla="*/ 2 w 10"/>
                <a:gd name="T17" fmla="*/ 0 h 7"/>
                <a:gd name="T18" fmla="*/ 2 w 10"/>
                <a:gd name="T19" fmla="*/ 2 h 7"/>
                <a:gd name="T20" fmla="*/ 0 w 10"/>
                <a:gd name="T21" fmla="*/ 2 h 7"/>
                <a:gd name="T22" fmla="*/ 0 w 10"/>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0" y="4"/>
                  </a:moveTo>
                  <a:lnTo>
                    <a:pt x="2" y="6"/>
                  </a:lnTo>
                  <a:lnTo>
                    <a:pt x="4" y="6"/>
                  </a:lnTo>
                  <a:lnTo>
                    <a:pt x="8" y="7"/>
                  </a:lnTo>
                  <a:lnTo>
                    <a:pt x="10" y="6"/>
                  </a:lnTo>
                  <a:lnTo>
                    <a:pt x="8" y="4"/>
                  </a:lnTo>
                  <a:lnTo>
                    <a:pt x="8" y="2"/>
                  </a:lnTo>
                  <a:lnTo>
                    <a:pt x="4" y="2"/>
                  </a:lnTo>
                  <a:lnTo>
                    <a:pt x="2" y="0"/>
                  </a:lnTo>
                  <a:lnTo>
                    <a:pt x="2" y="2"/>
                  </a:lnTo>
                  <a:lnTo>
                    <a:pt x="0" y="2"/>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1" name="Freeform 169"/>
            <p:cNvSpPr>
              <a:spLocks/>
            </p:cNvSpPr>
            <p:nvPr/>
          </p:nvSpPr>
          <p:spPr bwMode="auto">
            <a:xfrm>
              <a:off x="1916" y="2042"/>
              <a:ext cx="6" cy="8"/>
            </a:xfrm>
            <a:custGeom>
              <a:avLst/>
              <a:gdLst>
                <a:gd name="T0" fmla="*/ 0 w 6"/>
                <a:gd name="T1" fmla="*/ 2 h 8"/>
                <a:gd name="T2" fmla="*/ 2 w 6"/>
                <a:gd name="T3" fmla="*/ 8 h 8"/>
                <a:gd name="T4" fmla="*/ 6 w 6"/>
                <a:gd name="T5" fmla="*/ 4 h 8"/>
                <a:gd name="T6" fmla="*/ 4 w 6"/>
                <a:gd name="T7" fmla="*/ 0 h 8"/>
                <a:gd name="T8" fmla="*/ 0 w 6"/>
                <a:gd name="T9" fmla="*/ 2 h 8"/>
              </a:gdLst>
              <a:ahLst/>
              <a:cxnLst>
                <a:cxn ang="0">
                  <a:pos x="T0" y="T1"/>
                </a:cxn>
                <a:cxn ang="0">
                  <a:pos x="T2" y="T3"/>
                </a:cxn>
                <a:cxn ang="0">
                  <a:pos x="T4" y="T5"/>
                </a:cxn>
                <a:cxn ang="0">
                  <a:pos x="T6" y="T7"/>
                </a:cxn>
                <a:cxn ang="0">
                  <a:pos x="T8" y="T9"/>
                </a:cxn>
              </a:cxnLst>
              <a:rect l="0" t="0" r="r" b="b"/>
              <a:pathLst>
                <a:path w="6" h="8">
                  <a:moveTo>
                    <a:pt x="0" y="2"/>
                  </a:moveTo>
                  <a:lnTo>
                    <a:pt x="2" y="8"/>
                  </a:lnTo>
                  <a:lnTo>
                    <a:pt x="6" y="4"/>
                  </a:lnTo>
                  <a:lnTo>
                    <a:pt x="4"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2" name="Freeform 170"/>
            <p:cNvSpPr>
              <a:spLocks/>
            </p:cNvSpPr>
            <p:nvPr/>
          </p:nvSpPr>
          <p:spPr bwMode="auto">
            <a:xfrm>
              <a:off x="1891" y="2071"/>
              <a:ext cx="10" cy="6"/>
            </a:xfrm>
            <a:custGeom>
              <a:avLst/>
              <a:gdLst>
                <a:gd name="T0" fmla="*/ 0 w 10"/>
                <a:gd name="T1" fmla="*/ 2 h 6"/>
                <a:gd name="T2" fmla="*/ 2 w 10"/>
                <a:gd name="T3" fmla="*/ 0 h 6"/>
                <a:gd name="T4" fmla="*/ 4 w 10"/>
                <a:gd name="T5" fmla="*/ 0 h 6"/>
                <a:gd name="T6" fmla="*/ 4 w 10"/>
                <a:gd name="T7" fmla="*/ 2 h 6"/>
                <a:gd name="T8" fmla="*/ 8 w 10"/>
                <a:gd name="T9" fmla="*/ 0 h 6"/>
                <a:gd name="T10" fmla="*/ 10 w 10"/>
                <a:gd name="T11" fmla="*/ 2 h 6"/>
                <a:gd name="T12" fmla="*/ 8 w 10"/>
                <a:gd name="T13" fmla="*/ 2 h 6"/>
                <a:gd name="T14" fmla="*/ 6 w 10"/>
                <a:gd name="T15" fmla="*/ 2 h 6"/>
                <a:gd name="T16" fmla="*/ 6 w 10"/>
                <a:gd name="T17" fmla="*/ 4 h 6"/>
                <a:gd name="T18" fmla="*/ 4 w 10"/>
                <a:gd name="T19" fmla="*/ 4 h 6"/>
                <a:gd name="T20" fmla="*/ 2 w 10"/>
                <a:gd name="T21" fmla="*/ 6 h 6"/>
                <a:gd name="T22" fmla="*/ 0 w 10"/>
                <a:gd name="T23" fmla="*/ 4 h 6"/>
                <a:gd name="T24" fmla="*/ 0 w 10"/>
                <a:gd name="T25" fmla="*/ 6 h 6"/>
                <a:gd name="T26" fmla="*/ 0 w 10"/>
                <a:gd name="T27" fmla="*/ 4 h 6"/>
                <a:gd name="T28" fmla="*/ 0 w 10"/>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6">
                  <a:moveTo>
                    <a:pt x="0" y="2"/>
                  </a:moveTo>
                  <a:lnTo>
                    <a:pt x="2" y="0"/>
                  </a:lnTo>
                  <a:lnTo>
                    <a:pt x="4" y="0"/>
                  </a:lnTo>
                  <a:lnTo>
                    <a:pt x="4" y="2"/>
                  </a:lnTo>
                  <a:lnTo>
                    <a:pt x="8" y="0"/>
                  </a:lnTo>
                  <a:lnTo>
                    <a:pt x="10" y="2"/>
                  </a:lnTo>
                  <a:lnTo>
                    <a:pt x="8" y="2"/>
                  </a:lnTo>
                  <a:lnTo>
                    <a:pt x="6" y="2"/>
                  </a:lnTo>
                  <a:lnTo>
                    <a:pt x="6" y="4"/>
                  </a:lnTo>
                  <a:lnTo>
                    <a:pt x="4" y="4"/>
                  </a:lnTo>
                  <a:lnTo>
                    <a:pt x="2" y="6"/>
                  </a:lnTo>
                  <a:lnTo>
                    <a:pt x="0" y="4"/>
                  </a:lnTo>
                  <a:lnTo>
                    <a:pt x="0" y="6"/>
                  </a:lnTo>
                  <a:lnTo>
                    <a:pt x="0"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3" name="Freeform 171"/>
            <p:cNvSpPr>
              <a:spLocks/>
            </p:cNvSpPr>
            <p:nvPr/>
          </p:nvSpPr>
          <p:spPr bwMode="auto">
            <a:xfrm>
              <a:off x="2064" y="1927"/>
              <a:ext cx="10" cy="6"/>
            </a:xfrm>
            <a:custGeom>
              <a:avLst/>
              <a:gdLst>
                <a:gd name="T0" fmla="*/ 0 w 10"/>
                <a:gd name="T1" fmla="*/ 4 h 6"/>
                <a:gd name="T2" fmla="*/ 4 w 10"/>
                <a:gd name="T3" fmla="*/ 2 h 6"/>
                <a:gd name="T4" fmla="*/ 4 w 10"/>
                <a:gd name="T5" fmla="*/ 0 h 6"/>
                <a:gd name="T6" fmla="*/ 8 w 10"/>
                <a:gd name="T7" fmla="*/ 0 h 6"/>
                <a:gd name="T8" fmla="*/ 6 w 10"/>
                <a:gd name="T9" fmla="*/ 2 h 6"/>
                <a:gd name="T10" fmla="*/ 10 w 10"/>
                <a:gd name="T11" fmla="*/ 0 h 6"/>
                <a:gd name="T12" fmla="*/ 10 w 10"/>
                <a:gd name="T13" fmla="*/ 4 h 6"/>
                <a:gd name="T14" fmla="*/ 8 w 10"/>
                <a:gd name="T15" fmla="*/ 4 h 6"/>
                <a:gd name="T16" fmla="*/ 6 w 10"/>
                <a:gd name="T17" fmla="*/ 6 h 6"/>
                <a:gd name="T18" fmla="*/ 4 w 10"/>
                <a:gd name="T19" fmla="*/ 4 h 6"/>
                <a:gd name="T20" fmla="*/ 2 w 10"/>
                <a:gd name="T21" fmla="*/ 6 h 6"/>
                <a:gd name="T22" fmla="*/ 0 w 10"/>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0" y="4"/>
                  </a:moveTo>
                  <a:lnTo>
                    <a:pt x="4" y="2"/>
                  </a:lnTo>
                  <a:lnTo>
                    <a:pt x="4" y="0"/>
                  </a:lnTo>
                  <a:lnTo>
                    <a:pt x="8" y="0"/>
                  </a:lnTo>
                  <a:lnTo>
                    <a:pt x="6" y="2"/>
                  </a:lnTo>
                  <a:lnTo>
                    <a:pt x="10" y="0"/>
                  </a:lnTo>
                  <a:lnTo>
                    <a:pt x="10" y="4"/>
                  </a:lnTo>
                  <a:lnTo>
                    <a:pt x="8" y="4"/>
                  </a:lnTo>
                  <a:lnTo>
                    <a:pt x="6" y="6"/>
                  </a:lnTo>
                  <a:lnTo>
                    <a:pt x="4" y="4"/>
                  </a:lnTo>
                  <a:lnTo>
                    <a:pt x="2" y="6"/>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4" name="Freeform 172"/>
            <p:cNvSpPr>
              <a:spLocks/>
            </p:cNvSpPr>
            <p:nvPr/>
          </p:nvSpPr>
          <p:spPr bwMode="auto">
            <a:xfrm>
              <a:off x="2054" y="1921"/>
              <a:ext cx="6" cy="8"/>
            </a:xfrm>
            <a:custGeom>
              <a:avLst/>
              <a:gdLst>
                <a:gd name="T0" fmla="*/ 0 w 6"/>
                <a:gd name="T1" fmla="*/ 0 h 8"/>
                <a:gd name="T2" fmla="*/ 0 w 6"/>
                <a:gd name="T3" fmla="*/ 6 h 8"/>
                <a:gd name="T4" fmla="*/ 4 w 6"/>
                <a:gd name="T5" fmla="*/ 4 h 8"/>
                <a:gd name="T6" fmla="*/ 4 w 6"/>
                <a:gd name="T7" fmla="*/ 8 h 8"/>
                <a:gd name="T8" fmla="*/ 6 w 6"/>
                <a:gd name="T9" fmla="*/ 6 h 8"/>
                <a:gd name="T10" fmla="*/ 2 w 6"/>
                <a:gd name="T11" fmla="*/ 2 h 8"/>
                <a:gd name="T12" fmla="*/ 4 w 6"/>
                <a:gd name="T13" fmla="*/ 0 h 8"/>
                <a:gd name="T14" fmla="*/ 0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0" y="0"/>
                  </a:moveTo>
                  <a:lnTo>
                    <a:pt x="0" y="6"/>
                  </a:lnTo>
                  <a:lnTo>
                    <a:pt x="4" y="4"/>
                  </a:lnTo>
                  <a:lnTo>
                    <a:pt x="4" y="8"/>
                  </a:lnTo>
                  <a:lnTo>
                    <a:pt x="6" y="6"/>
                  </a:lnTo>
                  <a:lnTo>
                    <a:pt x="2" y="2"/>
                  </a:lnTo>
                  <a:lnTo>
                    <a:pt x="4"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5" name="Freeform 173"/>
            <p:cNvSpPr>
              <a:spLocks/>
            </p:cNvSpPr>
            <p:nvPr/>
          </p:nvSpPr>
          <p:spPr bwMode="auto">
            <a:xfrm>
              <a:off x="1891" y="2010"/>
              <a:ext cx="6" cy="5"/>
            </a:xfrm>
            <a:custGeom>
              <a:avLst/>
              <a:gdLst>
                <a:gd name="T0" fmla="*/ 0 w 6"/>
                <a:gd name="T1" fmla="*/ 0 h 5"/>
                <a:gd name="T2" fmla="*/ 6 w 6"/>
                <a:gd name="T3" fmla="*/ 1 h 5"/>
                <a:gd name="T4" fmla="*/ 4 w 6"/>
                <a:gd name="T5" fmla="*/ 3 h 5"/>
                <a:gd name="T6" fmla="*/ 2 w 6"/>
                <a:gd name="T7" fmla="*/ 5 h 5"/>
                <a:gd name="T8" fmla="*/ 0 w 6"/>
                <a:gd name="T9" fmla="*/ 3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1"/>
                  </a:lnTo>
                  <a:lnTo>
                    <a:pt x="4" y="3"/>
                  </a:lnTo>
                  <a:lnTo>
                    <a:pt x="2" y="5"/>
                  </a:lnTo>
                  <a:lnTo>
                    <a:pt x="0" y="3"/>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6" name="Freeform 174"/>
            <p:cNvSpPr>
              <a:spLocks/>
            </p:cNvSpPr>
            <p:nvPr/>
          </p:nvSpPr>
          <p:spPr bwMode="auto">
            <a:xfrm>
              <a:off x="1901" y="2065"/>
              <a:ext cx="9" cy="6"/>
            </a:xfrm>
            <a:custGeom>
              <a:avLst/>
              <a:gdLst>
                <a:gd name="T0" fmla="*/ 0 w 9"/>
                <a:gd name="T1" fmla="*/ 6 h 6"/>
                <a:gd name="T2" fmla="*/ 7 w 9"/>
                <a:gd name="T3" fmla="*/ 0 h 6"/>
                <a:gd name="T4" fmla="*/ 9 w 9"/>
                <a:gd name="T5" fmla="*/ 0 h 6"/>
                <a:gd name="T6" fmla="*/ 7 w 9"/>
                <a:gd name="T7" fmla="*/ 4 h 6"/>
                <a:gd name="T8" fmla="*/ 2 w 9"/>
                <a:gd name="T9" fmla="*/ 6 h 6"/>
                <a:gd name="T10" fmla="*/ 0 w 9"/>
                <a:gd name="T11" fmla="*/ 6 h 6"/>
              </a:gdLst>
              <a:ahLst/>
              <a:cxnLst>
                <a:cxn ang="0">
                  <a:pos x="T0" y="T1"/>
                </a:cxn>
                <a:cxn ang="0">
                  <a:pos x="T2" y="T3"/>
                </a:cxn>
                <a:cxn ang="0">
                  <a:pos x="T4" y="T5"/>
                </a:cxn>
                <a:cxn ang="0">
                  <a:pos x="T6" y="T7"/>
                </a:cxn>
                <a:cxn ang="0">
                  <a:pos x="T8" y="T9"/>
                </a:cxn>
                <a:cxn ang="0">
                  <a:pos x="T10" y="T11"/>
                </a:cxn>
              </a:cxnLst>
              <a:rect l="0" t="0" r="r" b="b"/>
              <a:pathLst>
                <a:path w="9" h="6">
                  <a:moveTo>
                    <a:pt x="0" y="6"/>
                  </a:moveTo>
                  <a:lnTo>
                    <a:pt x="7" y="0"/>
                  </a:lnTo>
                  <a:lnTo>
                    <a:pt x="9" y="0"/>
                  </a:lnTo>
                  <a:lnTo>
                    <a:pt x="7" y="4"/>
                  </a:lnTo>
                  <a:lnTo>
                    <a:pt x="2" y="6"/>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7" name="Freeform 175"/>
            <p:cNvSpPr>
              <a:spLocks/>
            </p:cNvSpPr>
            <p:nvPr/>
          </p:nvSpPr>
          <p:spPr bwMode="auto">
            <a:xfrm>
              <a:off x="1878" y="2035"/>
              <a:ext cx="5" cy="5"/>
            </a:xfrm>
            <a:custGeom>
              <a:avLst/>
              <a:gdLst>
                <a:gd name="T0" fmla="*/ 0 w 5"/>
                <a:gd name="T1" fmla="*/ 5 h 5"/>
                <a:gd name="T2" fmla="*/ 5 w 5"/>
                <a:gd name="T3" fmla="*/ 0 h 5"/>
                <a:gd name="T4" fmla="*/ 5 w 5"/>
                <a:gd name="T5" fmla="*/ 5 h 5"/>
                <a:gd name="T6" fmla="*/ 0 w 5"/>
                <a:gd name="T7" fmla="*/ 5 h 5"/>
              </a:gdLst>
              <a:ahLst/>
              <a:cxnLst>
                <a:cxn ang="0">
                  <a:pos x="T0" y="T1"/>
                </a:cxn>
                <a:cxn ang="0">
                  <a:pos x="T2" y="T3"/>
                </a:cxn>
                <a:cxn ang="0">
                  <a:pos x="T4" y="T5"/>
                </a:cxn>
                <a:cxn ang="0">
                  <a:pos x="T6" y="T7"/>
                </a:cxn>
              </a:cxnLst>
              <a:rect l="0" t="0" r="r" b="b"/>
              <a:pathLst>
                <a:path w="5" h="5">
                  <a:moveTo>
                    <a:pt x="0" y="5"/>
                  </a:moveTo>
                  <a:lnTo>
                    <a:pt x="5" y="0"/>
                  </a:lnTo>
                  <a:lnTo>
                    <a:pt x="5" y="5"/>
                  </a:lnTo>
                  <a:lnTo>
                    <a:pt x="0" y="5"/>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8" name="Freeform 176"/>
            <p:cNvSpPr>
              <a:spLocks/>
            </p:cNvSpPr>
            <p:nvPr/>
          </p:nvSpPr>
          <p:spPr bwMode="auto">
            <a:xfrm>
              <a:off x="2049" y="1954"/>
              <a:ext cx="5" cy="8"/>
            </a:xfrm>
            <a:custGeom>
              <a:avLst/>
              <a:gdLst>
                <a:gd name="T0" fmla="*/ 0 w 5"/>
                <a:gd name="T1" fmla="*/ 0 h 8"/>
                <a:gd name="T2" fmla="*/ 2 w 5"/>
                <a:gd name="T3" fmla="*/ 2 h 8"/>
                <a:gd name="T4" fmla="*/ 0 w 5"/>
                <a:gd name="T5" fmla="*/ 2 h 8"/>
                <a:gd name="T6" fmla="*/ 2 w 5"/>
                <a:gd name="T7" fmla="*/ 8 h 8"/>
                <a:gd name="T8" fmla="*/ 3 w 5"/>
                <a:gd name="T9" fmla="*/ 4 h 8"/>
                <a:gd name="T10" fmla="*/ 5 w 5"/>
                <a:gd name="T11" fmla="*/ 2 h 8"/>
                <a:gd name="T12" fmla="*/ 5 w 5"/>
                <a:gd name="T13" fmla="*/ 0 h 8"/>
                <a:gd name="T14" fmla="*/ 0 w 5"/>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0" y="0"/>
                  </a:moveTo>
                  <a:lnTo>
                    <a:pt x="2" y="2"/>
                  </a:lnTo>
                  <a:lnTo>
                    <a:pt x="0" y="2"/>
                  </a:lnTo>
                  <a:lnTo>
                    <a:pt x="2" y="8"/>
                  </a:lnTo>
                  <a:lnTo>
                    <a:pt x="3" y="4"/>
                  </a:lnTo>
                  <a:lnTo>
                    <a:pt x="5" y="2"/>
                  </a:lnTo>
                  <a:lnTo>
                    <a:pt x="5"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89" name="Freeform 177"/>
            <p:cNvSpPr>
              <a:spLocks/>
            </p:cNvSpPr>
            <p:nvPr/>
          </p:nvSpPr>
          <p:spPr bwMode="auto">
            <a:xfrm>
              <a:off x="2051" y="1931"/>
              <a:ext cx="5" cy="4"/>
            </a:xfrm>
            <a:custGeom>
              <a:avLst/>
              <a:gdLst>
                <a:gd name="T0" fmla="*/ 0 w 5"/>
                <a:gd name="T1" fmla="*/ 0 h 4"/>
                <a:gd name="T2" fmla="*/ 5 w 5"/>
                <a:gd name="T3" fmla="*/ 4 h 4"/>
                <a:gd name="T4" fmla="*/ 5 w 5"/>
                <a:gd name="T5" fmla="*/ 0 h 4"/>
                <a:gd name="T6" fmla="*/ 1 w 5"/>
                <a:gd name="T7" fmla="*/ 0 h 4"/>
                <a:gd name="T8" fmla="*/ 0 w 5"/>
                <a:gd name="T9" fmla="*/ 0 h 4"/>
              </a:gdLst>
              <a:ahLst/>
              <a:cxnLst>
                <a:cxn ang="0">
                  <a:pos x="T0" y="T1"/>
                </a:cxn>
                <a:cxn ang="0">
                  <a:pos x="T2" y="T3"/>
                </a:cxn>
                <a:cxn ang="0">
                  <a:pos x="T4" y="T5"/>
                </a:cxn>
                <a:cxn ang="0">
                  <a:pos x="T6" y="T7"/>
                </a:cxn>
                <a:cxn ang="0">
                  <a:pos x="T8" y="T9"/>
                </a:cxn>
              </a:cxnLst>
              <a:rect l="0" t="0" r="r" b="b"/>
              <a:pathLst>
                <a:path w="5" h="4">
                  <a:moveTo>
                    <a:pt x="0" y="0"/>
                  </a:moveTo>
                  <a:lnTo>
                    <a:pt x="5" y="4"/>
                  </a:lnTo>
                  <a:lnTo>
                    <a:pt x="5" y="0"/>
                  </a:lnTo>
                  <a:lnTo>
                    <a:pt x="1"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0" name="Freeform 178"/>
            <p:cNvSpPr>
              <a:spLocks/>
            </p:cNvSpPr>
            <p:nvPr/>
          </p:nvSpPr>
          <p:spPr bwMode="auto">
            <a:xfrm>
              <a:off x="1933" y="2017"/>
              <a:ext cx="4" cy="12"/>
            </a:xfrm>
            <a:custGeom>
              <a:avLst/>
              <a:gdLst>
                <a:gd name="T0" fmla="*/ 0 w 4"/>
                <a:gd name="T1" fmla="*/ 10 h 12"/>
                <a:gd name="T2" fmla="*/ 4 w 4"/>
                <a:gd name="T3" fmla="*/ 0 h 12"/>
                <a:gd name="T4" fmla="*/ 2 w 4"/>
                <a:gd name="T5" fmla="*/ 12 h 12"/>
                <a:gd name="T6" fmla="*/ 0 w 4"/>
                <a:gd name="T7" fmla="*/ 10 h 12"/>
              </a:gdLst>
              <a:ahLst/>
              <a:cxnLst>
                <a:cxn ang="0">
                  <a:pos x="T0" y="T1"/>
                </a:cxn>
                <a:cxn ang="0">
                  <a:pos x="T2" y="T3"/>
                </a:cxn>
                <a:cxn ang="0">
                  <a:pos x="T4" y="T5"/>
                </a:cxn>
                <a:cxn ang="0">
                  <a:pos x="T6" y="T7"/>
                </a:cxn>
              </a:cxnLst>
              <a:rect l="0" t="0" r="r" b="b"/>
              <a:pathLst>
                <a:path w="4" h="12">
                  <a:moveTo>
                    <a:pt x="0" y="10"/>
                  </a:moveTo>
                  <a:lnTo>
                    <a:pt x="4" y="0"/>
                  </a:lnTo>
                  <a:lnTo>
                    <a:pt x="2" y="12"/>
                  </a:lnTo>
                  <a:lnTo>
                    <a:pt x="0" y="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1" name="Freeform 179"/>
            <p:cNvSpPr>
              <a:spLocks/>
            </p:cNvSpPr>
            <p:nvPr/>
          </p:nvSpPr>
          <p:spPr bwMode="auto">
            <a:xfrm>
              <a:off x="2133" y="1852"/>
              <a:ext cx="6" cy="6"/>
            </a:xfrm>
            <a:custGeom>
              <a:avLst/>
              <a:gdLst>
                <a:gd name="T0" fmla="*/ 0 w 6"/>
                <a:gd name="T1" fmla="*/ 0 h 6"/>
                <a:gd name="T2" fmla="*/ 2 w 6"/>
                <a:gd name="T3" fmla="*/ 6 h 6"/>
                <a:gd name="T4" fmla="*/ 2 w 6"/>
                <a:gd name="T5" fmla="*/ 4 h 6"/>
                <a:gd name="T6" fmla="*/ 4 w 6"/>
                <a:gd name="T7" fmla="*/ 6 h 6"/>
                <a:gd name="T8" fmla="*/ 6 w 6"/>
                <a:gd name="T9" fmla="*/ 2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2" y="6"/>
                  </a:lnTo>
                  <a:lnTo>
                    <a:pt x="2" y="4"/>
                  </a:lnTo>
                  <a:lnTo>
                    <a:pt x="4" y="6"/>
                  </a:lnTo>
                  <a:lnTo>
                    <a:pt x="6"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2" name="Freeform 180"/>
            <p:cNvSpPr>
              <a:spLocks/>
            </p:cNvSpPr>
            <p:nvPr/>
          </p:nvSpPr>
          <p:spPr bwMode="auto">
            <a:xfrm>
              <a:off x="2062" y="1935"/>
              <a:ext cx="6" cy="7"/>
            </a:xfrm>
            <a:custGeom>
              <a:avLst/>
              <a:gdLst>
                <a:gd name="T0" fmla="*/ 0 w 6"/>
                <a:gd name="T1" fmla="*/ 5 h 7"/>
                <a:gd name="T2" fmla="*/ 2 w 6"/>
                <a:gd name="T3" fmla="*/ 5 h 7"/>
                <a:gd name="T4" fmla="*/ 2 w 6"/>
                <a:gd name="T5" fmla="*/ 3 h 7"/>
                <a:gd name="T6" fmla="*/ 4 w 6"/>
                <a:gd name="T7" fmla="*/ 7 h 7"/>
                <a:gd name="T8" fmla="*/ 6 w 6"/>
                <a:gd name="T9" fmla="*/ 5 h 7"/>
                <a:gd name="T10" fmla="*/ 6 w 6"/>
                <a:gd name="T11" fmla="*/ 3 h 7"/>
                <a:gd name="T12" fmla="*/ 6 w 6"/>
                <a:gd name="T13" fmla="*/ 2 h 7"/>
                <a:gd name="T14" fmla="*/ 2 w 6"/>
                <a:gd name="T15" fmla="*/ 0 h 7"/>
                <a:gd name="T16" fmla="*/ 4 w 6"/>
                <a:gd name="T17" fmla="*/ 3 h 7"/>
                <a:gd name="T18" fmla="*/ 0 w 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5"/>
                  </a:moveTo>
                  <a:lnTo>
                    <a:pt x="2" y="5"/>
                  </a:lnTo>
                  <a:lnTo>
                    <a:pt x="2" y="3"/>
                  </a:lnTo>
                  <a:lnTo>
                    <a:pt x="4" y="7"/>
                  </a:lnTo>
                  <a:lnTo>
                    <a:pt x="6" y="5"/>
                  </a:lnTo>
                  <a:lnTo>
                    <a:pt x="6" y="3"/>
                  </a:lnTo>
                  <a:lnTo>
                    <a:pt x="6" y="2"/>
                  </a:lnTo>
                  <a:lnTo>
                    <a:pt x="2" y="0"/>
                  </a:lnTo>
                  <a:lnTo>
                    <a:pt x="4" y="3"/>
                  </a:lnTo>
                  <a:lnTo>
                    <a:pt x="0" y="5"/>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3" name="Freeform 181"/>
            <p:cNvSpPr>
              <a:spLocks/>
            </p:cNvSpPr>
            <p:nvPr/>
          </p:nvSpPr>
          <p:spPr bwMode="auto">
            <a:xfrm>
              <a:off x="1908" y="2102"/>
              <a:ext cx="6" cy="7"/>
            </a:xfrm>
            <a:custGeom>
              <a:avLst/>
              <a:gdLst>
                <a:gd name="T0" fmla="*/ 0 w 6"/>
                <a:gd name="T1" fmla="*/ 6 h 7"/>
                <a:gd name="T2" fmla="*/ 2 w 6"/>
                <a:gd name="T3" fmla="*/ 7 h 7"/>
                <a:gd name="T4" fmla="*/ 6 w 6"/>
                <a:gd name="T5" fmla="*/ 2 h 7"/>
                <a:gd name="T6" fmla="*/ 6 w 6"/>
                <a:gd name="T7" fmla="*/ 0 h 7"/>
                <a:gd name="T8" fmla="*/ 2 w 6"/>
                <a:gd name="T9" fmla="*/ 2 h 7"/>
                <a:gd name="T10" fmla="*/ 0 w 6"/>
                <a:gd name="T11" fmla="*/ 4 h 7"/>
                <a:gd name="T12" fmla="*/ 0 w 6"/>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0" y="6"/>
                  </a:moveTo>
                  <a:lnTo>
                    <a:pt x="2" y="7"/>
                  </a:lnTo>
                  <a:lnTo>
                    <a:pt x="6" y="2"/>
                  </a:lnTo>
                  <a:lnTo>
                    <a:pt x="6" y="0"/>
                  </a:lnTo>
                  <a:lnTo>
                    <a:pt x="2" y="2"/>
                  </a:lnTo>
                  <a:lnTo>
                    <a:pt x="0" y="4"/>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4" name="Freeform 182"/>
            <p:cNvSpPr>
              <a:spLocks/>
            </p:cNvSpPr>
            <p:nvPr/>
          </p:nvSpPr>
          <p:spPr bwMode="auto">
            <a:xfrm>
              <a:off x="2054" y="1938"/>
              <a:ext cx="6" cy="4"/>
            </a:xfrm>
            <a:custGeom>
              <a:avLst/>
              <a:gdLst>
                <a:gd name="T0" fmla="*/ 0 w 6"/>
                <a:gd name="T1" fmla="*/ 2 h 4"/>
                <a:gd name="T2" fmla="*/ 2 w 6"/>
                <a:gd name="T3" fmla="*/ 0 h 4"/>
                <a:gd name="T4" fmla="*/ 6 w 6"/>
                <a:gd name="T5" fmla="*/ 0 h 4"/>
                <a:gd name="T6" fmla="*/ 4 w 6"/>
                <a:gd name="T7" fmla="*/ 2 h 4"/>
                <a:gd name="T8" fmla="*/ 4 w 6"/>
                <a:gd name="T9" fmla="*/ 4 h 4"/>
                <a:gd name="T10" fmla="*/ 0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0" y="2"/>
                  </a:moveTo>
                  <a:lnTo>
                    <a:pt x="2" y="0"/>
                  </a:lnTo>
                  <a:lnTo>
                    <a:pt x="6" y="0"/>
                  </a:lnTo>
                  <a:lnTo>
                    <a:pt x="4" y="2"/>
                  </a:lnTo>
                  <a:lnTo>
                    <a:pt x="4"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5" name="Freeform 183"/>
            <p:cNvSpPr>
              <a:spLocks/>
            </p:cNvSpPr>
            <p:nvPr/>
          </p:nvSpPr>
          <p:spPr bwMode="auto">
            <a:xfrm>
              <a:off x="1926" y="2290"/>
              <a:ext cx="3" cy="6"/>
            </a:xfrm>
            <a:custGeom>
              <a:avLst/>
              <a:gdLst>
                <a:gd name="T0" fmla="*/ 0 w 3"/>
                <a:gd name="T1" fmla="*/ 0 h 6"/>
                <a:gd name="T2" fmla="*/ 2 w 3"/>
                <a:gd name="T3" fmla="*/ 0 h 6"/>
                <a:gd name="T4" fmla="*/ 3 w 3"/>
                <a:gd name="T5" fmla="*/ 0 h 6"/>
                <a:gd name="T6" fmla="*/ 2 w 3"/>
                <a:gd name="T7" fmla="*/ 0 h 6"/>
                <a:gd name="T8" fmla="*/ 3 w 3"/>
                <a:gd name="T9" fmla="*/ 2 h 6"/>
                <a:gd name="T10" fmla="*/ 3 w 3"/>
                <a:gd name="T11" fmla="*/ 4 h 6"/>
                <a:gd name="T12" fmla="*/ 3 w 3"/>
                <a:gd name="T13" fmla="*/ 6 h 6"/>
                <a:gd name="T14" fmla="*/ 2 w 3"/>
                <a:gd name="T15" fmla="*/ 6 h 6"/>
                <a:gd name="T16" fmla="*/ 2 w 3"/>
                <a:gd name="T17" fmla="*/ 4 h 6"/>
                <a:gd name="T18" fmla="*/ 2 w 3"/>
                <a:gd name="T19" fmla="*/ 2 h 6"/>
                <a:gd name="T20" fmla="*/ 2 w 3"/>
                <a:gd name="T21" fmla="*/ 4 h 6"/>
                <a:gd name="T22" fmla="*/ 0 w 3"/>
                <a:gd name="T23" fmla="*/ 2 h 6"/>
                <a:gd name="T24" fmla="*/ 0 w 3"/>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6">
                  <a:moveTo>
                    <a:pt x="0" y="0"/>
                  </a:moveTo>
                  <a:lnTo>
                    <a:pt x="2" y="0"/>
                  </a:lnTo>
                  <a:lnTo>
                    <a:pt x="3" y="0"/>
                  </a:lnTo>
                  <a:lnTo>
                    <a:pt x="2" y="0"/>
                  </a:lnTo>
                  <a:lnTo>
                    <a:pt x="3" y="2"/>
                  </a:lnTo>
                  <a:lnTo>
                    <a:pt x="3" y="4"/>
                  </a:lnTo>
                  <a:lnTo>
                    <a:pt x="3" y="6"/>
                  </a:lnTo>
                  <a:lnTo>
                    <a:pt x="2" y="6"/>
                  </a:lnTo>
                  <a:lnTo>
                    <a:pt x="2" y="4"/>
                  </a:lnTo>
                  <a:lnTo>
                    <a:pt x="2" y="2"/>
                  </a:lnTo>
                  <a:lnTo>
                    <a:pt x="2" y="4"/>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6" name="Freeform 184"/>
            <p:cNvSpPr>
              <a:spLocks/>
            </p:cNvSpPr>
            <p:nvPr/>
          </p:nvSpPr>
          <p:spPr bwMode="auto">
            <a:xfrm>
              <a:off x="2129" y="1869"/>
              <a:ext cx="4" cy="2"/>
            </a:xfrm>
            <a:custGeom>
              <a:avLst/>
              <a:gdLst>
                <a:gd name="T0" fmla="*/ 0 w 4"/>
                <a:gd name="T1" fmla="*/ 0 h 2"/>
                <a:gd name="T2" fmla="*/ 4 w 4"/>
                <a:gd name="T3" fmla="*/ 0 h 2"/>
                <a:gd name="T4" fmla="*/ 0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4" y="0"/>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7" name="Freeform 185"/>
            <p:cNvSpPr>
              <a:spLocks/>
            </p:cNvSpPr>
            <p:nvPr/>
          </p:nvSpPr>
          <p:spPr bwMode="auto">
            <a:xfrm>
              <a:off x="1922" y="2054"/>
              <a:ext cx="4" cy="2"/>
            </a:xfrm>
            <a:custGeom>
              <a:avLst/>
              <a:gdLst>
                <a:gd name="T0" fmla="*/ 0 w 4"/>
                <a:gd name="T1" fmla="*/ 0 h 2"/>
                <a:gd name="T2" fmla="*/ 2 w 4"/>
                <a:gd name="T3" fmla="*/ 2 h 2"/>
                <a:gd name="T4" fmla="*/ 4 w 4"/>
                <a:gd name="T5" fmla="*/ 0 h 2"/>
                <a:gd name="T6" fmla="*/ 0 w 4"/>
                <a:gd name="T7" fmla="*/ 0 h 2"/>
              </a:gdLst>
              <a:ahLst/>
              <a:cxnLst>
                <a:cxn ang="0">
                  <a:pos x="T0" y="T1"/>
                </a:cxn>
                <a:cxn ang="0">
                  <a:pos x="T2" y="T3"/>
                </a:cxn>
                <a:cxn ang="0">
                  <a:pos x="T4" y="T5"/>
                </a:cxn>
                <a:cxn ang="0">
                  <a:pos x="T6" y="T7"/>
                </a:cxn>
              </a:cxnLst>
              <a:rect l="0" t="0" r="r" b="b"/>
              <a:pathLst>
                <a:path w="4" h="2">
                  <a:moveTo>
                    <a:pt x="0" y="0"/>
                  </a:moveTo>
                  <a:lnTo>
                    <a:pt x="2" y="2"/>
                  </a:lnTo>
                  <a:lnTo>
                    <a:pt x="4"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8" name="Freeform 186"/>
            <p:cNvSpPr>
              <a:spLocks/>
            </p:cNvSpPr>
            <p:nvPr/>
          </p:nvSpPr>
          <p:spPr bwMode="auto">
            <a:xfrm>
              <a:off x="1918" y="2131"/>
              <a:ext cx="4" cy="5"/>
            </a:xfrm>
            <a:custGeom>
              <a:avLst/>
              <a:gdLst>
                <a:gd name="T0" fmla="*/ 0 w 4"/>
                <a:gd name="T1" fmla="*/ 3 h 5"/>
                <a:gd name="T2" fmla="*/ 4 w 4"/>
                <a:gd name="T3" fmla="*/ 0 h 5"/>
                <a:gd name="T4" fmla="*/ 4 w 4"/>
                <a:gd name="T5" fmla="*/ 2 h 5"/>
                <a:gd name="T6" fmla="*/ 4 w 4"/>
                <a:gd name="T7" fmla="*/ 3 h 5"/>
                <a:gd name="T8" fmla="*/ 2 w 4"/>
                <a:gd name="T9" fmla="*/ 5 h 5"/>
                <a:gd name="T10" fmla="*/ 0 w 4"/>
                <a:gd name="T11" fmla="*/ 3 h 5"/>
              </a:gdLst>
              <a:ahLst/>
              <a:cxnLst>
                <a:cxn ang="0">
                  <a:pos x="T0" y="T1"/>
                </a:cxn>
                <a:cxn ang="0">
                  <a:pos x="T2" y="T3"/>
                </a:cxn>
                <a:cxn ang="0">
                  <a:pos x="T4" y="T5"/>
                </a:cxn>
                <a:cxn ang="0">
                  <a:pos x="T6" y="T7"/>
                </a:cxn>
                <a:cxn ang="0">
                  <a:pos x="T8" y="T9"/>
                </a:cxn>
                <a:cxn ang="0">
                  <a:pos x="T10" y="T11"/>
                </a:cxn>
              </a:cxnLst>
              <a:rect l="0" t="0" r="r" b="b"/>
              <a:pathLst>
                <a:path w="4" h="5">
                  <a:moveTo>
                    <a:pt x="0" y="3"/>
                  </a:moveTo>
                  <a:lnTo>
                    <a:pt x="4" y="0"/>
                  </a:lnTo>
                  <a:lnTo>
                    <a:pt x="4" y="2"/>
                  </a:lnTo>
                  <a:lnTo>
                    <a:pt x="4" y="3"/>
                  </a:lnTo>
                  <a:lnTo>
                    <a:pt x="2" y="5"/>
                  </a:lnTo>
                  <a:lnTo>
                    <a:pt x="0" y="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399" name="Freeform 187"/>
            <p:cNvSpPr>
              <a:spLocks/>
            </p:cNvSpPr>
            <p:nvPr/>
          </p:nvSpPr>
          <p:spPr bwMode="auto">
            <a:xfrm>
              <a:off x="1928" y="2100"/>
              <a:ext cx="1" cy="4"/>
            </a:xfrm>
            <a:custGeom>
              <a:avLst/>
              <a:gdLst>
                <a:gd name="T0" fmla="*/ 0 w 1"/>
                <a:gd name="T1" fmla="*/ 2 h 4"/>
                <a:gd name="T2" fmla="*/ 1 w 1"/>
                <a:gd name="T3" fmla="*/ 0 h 4"/>
                <a:gd name="T4" fmla="*/ 1 w 1"/>
                <a:gd name="T5" fmla="*/ 4 h 4"/>
                <a:gd name="T6" fmla="*/ 0 w 1"/>
                <a:gd name="T7" fmla="*/ 4 h 4"/>
                <a:gd name="T8" fmla="*/ 0 w 1"/>
                <a:gd name="T9" fmla="*/ 2 h 4"/>
              </a:gdLst>
              <a:ahLst/>
              <a:cxnLst>
                <a:cxn ang="0">
                  <a:pos x="T0" y="T1"/>
                </a:cxn>
                <a:cxn ang="0">
                  <a:pos x="T2" y="T3"/>
                </a:cxn>
                <a:cxn ang="0">
                  <a:pos x="T4" y="T5"/>
                </a:cxn>
                <a:cxn ang="0">
                  <a:pos x="T6" y="T7"/>
                </a:cxn>
                <a:cxn ang="0">
                  <a:pos x="T8" y="T9"/>
                </a:cxn>
              </a:cxnLst>
              <a:rect l="0" t="0" r="r" b="b"/>
              <a:pathLst>
                <a:path w="1" h="4">
                  <a:moveTo>
                    <a:pt x="0" y="2"/>
                  </a:moveTo>
                  <a:lnTo>
                    <a:pt x="1" y="0"/>
                  </a:lnTo>
                  <a:lnTo>
                    <a:pt x="1" y="4"/>
                  </a:lnTo>
                  <a:lnTo>
                    <a:pt x="0"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00" name="Freeform 188"/>
            <p:cNvSpPr>
              <a:spLocks/>
            </p:cNvSpPr>
            <p:nvPr/>
          </p:nvSpPr>
          <p:spPr bwMode="auto">
            <a:xfrm>
              <a:off x="1931" y="2098"/>
              <a:ext cx="2" cy="4"/>
            </a:xfrm>
            <a:custGeom>
              <a:avLst/>
              <a:gdLst>
                <a:gd name="T0" fmla="*/ 0 w 2"/>
                <a:gd name="T1" fmla="*/ 2 h 4"/>
                <a:gd name="T2" fmla="*/ 0 w 2"/>
                <a:gd name="T3" fmla="*/ 4 h 4"/>
                <a:gd name="T4" fmla="*/ 2 w 2"/>
                <a:gd name="T5" fmla="*/ 2 h 4"/>
                <a:gd name="T6" fmla="*/ 2 w 2"/>
                <a:gd name="T7" fmla="*/ 0 h 4"/>
                <a:gd name="T8" fmla="*/ 0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2"/>
                  </a:lnTo>
                  <a:lnTo>
                    <a:pt x="2" y="0"/>
                  </a:ln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01" name="Freeform 189"/>
            <p:cNvSpPr>
              <a:spLocks/>
            </p:cNvSpPr>
            <p:nvPr/>
          </p:nvSpPr>
          <p:spPr bwMode="auto">
            <a:xfrm>
              <a:off x="2093" y="1875"/>
              <a:ext cx="2" cy="4"/>
            </a:xfrm>
            <a:custGeom>
              <a:avLst/>
              <a:gdLst>
                <a:gd name="T0" fmla="*/ 0 w 2"/>
                <a:gd name="T1" fmla="*/ 2 h 4"/>
                <a:gd name="T2" fmla="*/ 2 w 2"/>
                <a:gd name="T3" fmla="*/ 4 h 4"/>
                <a:gd name="T4" fmla="*/ 2 w 2"/>
                <a:gd name="T5" fmla="*/ 0 h 4"/>
                <a:gd name="T6" fmla="*/ 0 w 2"/>
                <a:gd name="T7" fmla="*/ 2 h 4"/>
              </a:gdLst>
              <a:ahLst/>
              <a:cxnLst>
                <a:cxn ang="0">
                  <a:pos x="T0" y="T1"/>
                </a:cxn>
                <a:cxn ang="0">
                  <a:pos x="T2" y="T3"/>
                </a:cxn>
                <a:cxn ang="0">
                  <a:pos x="T4" y="T5"/>
                </a:cxn>
                <a:cxn ang="0">
                  <a:pos x="T6" y="T7"/>
                </a:cxn>
              </a:cxnLst>
              <a:rect l="0" t="0" r="r" b="b"/>
              <a:pathLst>
                <a:path w="2" h="4">
                  <a:moveTo>
                    <a:pt x="0" y="2"/>
                  </a:moveTo>
                  <a:lnTo>
                    <a:pt x="2" y="4"/>
                  </a:lnTo>
                  <a:lnTo>
                    <a:pt x="2"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02" name="Freeform 190"/>
            <p:cNvSpPr>
              <a:spLocks/>
            </p:cNvSpPr>
            <p:nvPr/>
          </p:nvSpPr>
          <p:spPr bwMode="auto">
            <a:xfrm>
              <a:off x="1901" y="1994"/>
              <a:ext cx="2" cy="2"/>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lnTo>
                    <a:pt x="2"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03" name="Freeform 191"/>
            <p:cNvSpPr>
              <a:spLocks/>
            </p:cNvSpPr>
            <p:nvPr/>
          </p:nvSpPr>
          <p:spPr bwMode="auto">
            <a:xfrm>
              <a:off x="1920" y="1990"/>
              <a:ext cx="1"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04" name="Freeform 192"/>
            <p:cNvSpPr>
              <a:spLocks/>
            </p:cNvSpPr>
            <p:nvPr/>
          </p:nvSpPr>
          <p:spPr bwMode="auto">
            <a:xfrm>
              <a:off x="1901" y="1992"/>
              <a:ext cx="2" cy="2"/>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05" name="Freeform 193"/>
            <p:cNvSpPr>
              <a:spLocks/>
            </p:cNvSpPr>
            <p:nvPr/>
          </p:nvSpPr>
          <p:spPr bwMode="auto">
            <a:xfrm>
              <a:off x="1908" y="2109"/>
              <a:ext cx="2" cy="1"/>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06" name="Freeform 194"/>
            <p:cNvSpPr>
              <a:spLocks/>
            </p:cNvSpPr>
            <p:nvPr/>
          </p:nvSpPr>
          <p:spPr bwMode="auto">
            <a:xfrm>
              <a:off x="2748" y="1279"/>
              <a:ext cx="358" cy="634"/>
            </a:xfrm>
            <a:custGeom>
              <a:avLst/>
              <a:gdLst>
                <a:gd name="T0" fmla="*/ 75 w 358"/>
                <a:gd name="T1" fmla="*/ 519 h 634"/>
                <a:gd name="T2" fmla="*/ 79 w 358"/>
                <a:gd name="T3" fmla="*/ 533 h 634"/>
                <a:gd name="T4" fmla="*/ 77 w 358"/>
                <a:gd name="T5" fmla="*/ 548 h 634"/>
                <a:gd name="T6" fmla="*/ 75 w 358"/>
                <a:gd name="T7" fmla="*/ 565 h 634"/>
                <a:gd name="T8" fmla="*/ 75 w 358"/>
                <a:gd name="T9" fmla="*/ 575 h 634"/>
                <a:gd name="T10" fmla="*/ 81 w 358"/>
                <a:gd name="T11" fmla="*/ 592 h 634"/>
                <a:gd name="T12" fmla="*/ 83 w 358"/>
                <a:gd name="T13" fmla="*/ 596 h 634"/>
                <a:gd name="T14" fmla="*/ 92 w 358"/>
                <a:gd name="T15" fmla="*/ 600 h 634"/>
                <a:gd name="T16" fmla="*/ 110 w 358"/>
                <a:gd name="T17" fmla="*/ 604 h 634"/>
                <a:gd name="T18" fmla="*/ 115 w 358"/>
                <a:gd name="T19" fmla="*/ 602 h 634"/>
                <a:gd name="T20" fmla="*/ 115 w 358"/>
                <a:gd name="T21" fmla="*/ 615 h 634"/>
                <a:gd name="T22" fmla="*/ 127 w 358"/>
                <a:gd name="T23" fmla="*/ 617 h 634"/>
                <a:gd name="T24" fmla="*/ 140 w 358"/>
                <a:gd name="T25" fmla="*/ 625 h 634"/>
                <a:gd name="T26" fmla="*/ 160 w 358"/>
                <a:gd name="T27" fmla="*/ 619 h 634"/>
                <a:gd name="T28" fmla="*/ 179 w 358"/>
                <a:gd name="T29" fmla="*/ 617 h 634"/>
                <a:gd name="T30" fmla="*/ 208 w 358"/>
                <a:gd name="T31" fmla="*/ 596 h 634"/>
                <a:gd name="T32" fmla="*/ 236 w 358"/>
                <a:gd name="T33" fmla="*/ 581 h 634"/>
                <a:gd name="T34" fmla="*/ 258 w 358"/>
                <a:gd name="T35" fmla="*/ 567 h 634"/>
                <a:gd name="T36" fmla="*/ 275 w 358"/>
                <a:gd name="T37" fmla="*/ 565 h 634"/>
                <a:gd name="T38" fmla="*/ 302 w 358"/>
                <a:gd name="T39" fmla="*/ 519 h 634"/>
                <a:gd name="T40" fmla="*/ 327 w 358"/>
                <a:gd name="T41" fmla="*/ 477 h 634"/>
                <a:gd name="T42" fmla="*/ 352 w 358"/>
                <a:gd name="T43" fmla="*/ 423 h 634"/>
                <a:gd name="T44" fmla="*/ 298 w 358"/>
                <a:gd name="T45" fmla="*/ 354 h 634"/>
                <a:gd name="T46" fmla="*/ 306 w 358"/>
                <a:gd name="T47" fmla="*/ 321 h 634"/>
                <a:gd name="T48" fmla="*/ 288 w 358"/>
                <a:gd name="T49" fmla="*/ 298 h 634"/>
                <a:gd name="T50" fmla="*/ 279 w 358"/>
                <a:gd name="T51" fmla="*/ 277 h 634"/>
                <a:gd name="T52" fmla="*/ 271 w 358"/>
                <a:gd name="T53" fmla="*/ 254 h 634"/>
                <a:gd name="T54" fmla="*/ 267 w 358"/>
                <a:gd name="T55" fmla="*/ 214 h 634"/>
                <a:gd name="T56" fmla="*/ 252 w 358"/>
                <a:gd name="T57" fmla="*/ 127 h 634"/>
                <a:gd name="T58" fmla="*/ 213 w 358"/>
                <a:gd name="T59" fmla="*/ 27 h 634"/>
                <a:gd name="T60" fmla="*/ 162 w 358"/>
                <a:gd name="T61" fmla="*/ 8 h 634"/>
                <a:gd name="T62" fmla="*/ 133 w 358"/>
                <a:gd name="T63" fmla="*/ 27 h 634"/>
                <a:gd name="T64" fmla="*/ 127 w 358"/>
                <a:gd name="T65" fmla="*/ 56 h 634"/>
                <a:gd name="T66" fmla="*/ 119 w 358"/>
                <a:gd name="T67" fmla="*/ 83 h 634"/>
                <a:gd name="T68" fmla="*/ 90 w 358"/>
                <a:gd name="T69" fmla="*/ 91 h 634"/>
                <a:gd name="T70" fmla="*/ 42 w 358"/>
                <a:gd name="T71" fmla="*/ 87 h 634"/>
                <a:gd name="T72" fmla="*/ 14 w 358"/>
                <a:gd name="T73" fmla="*/ 95 h 634"/>
                <a:gd name="T74" fmla="*/ 48 w 358"/>
                <a:gd name="T75" fmla="*/ 114 h 634"/>
                <a:gd name="T76" fmla="*/ 85 w 358"/>
                <a:gd name="T77" fmla="*/ 143 h 634"/>
                <a:gd name="T78" fmla="*/ 94 w 358"/>
                <a:gd name="T79" fmla="*/ 171 h 634"/>
                <a:gd name="T80" fmla="*/ 104 w 358"/>
                <a:gd name="T81" fmla="*/ 204 h 634"/>
                <a:gd name="T82" fmla="*/ 115 w 358"/>
                <a:gd name="T83" fmla="*/ 254 h 634"/>
                <a:gd name="T84" fmla="*/ 131 w 358"/>
                <a:gd name="T85" fmla="*/ 250 h 634"/>
                <a:gd name="T86" fmla="*/ 133 w 358"/>
                <a:gd name="T87" fmla="*/ 267 h 634"/>
                <a:gd name="T88" fmla="*/ 154 w 358"/>
                <a:gd name="T89" fmla="*/ 281 h 634"/>
                <a:gd name="T90" fmla="*/ 156 w 358"/>
                <a:gd name="T91" fmla="*/ 294 h 634"/>
                <a:gd name="T92" fmla="*/ 154 w 358"/>
                <a:gd name="T93" fmla="*/ 308 h 634"/>
                <a:gd name="T94" fmla="*/ 148 w 358"/>
                <a:gd name="T95" fmla="*/ 314 h 634"/>
                <a:gd name="T96" fmla="*/ 135 w 358"/>
                <a:gd name="T97" fmla="*/ 333 h 634"/>
                <a:gd name="T98" fmla="*/ 123 w 358"/>
                <a:gd name="T99" fmla="*/ 356 h 634"/>
                <a:gd name="T100" fmla="*/ 112 w 358"/>
                <a:gd name="T101" fmla="*/ 375 h 634"/>
                <a:gd name="T102" fmla="*/ 89 w 358"/>
                <a:gd name="T103" fmla="*/ 402 h 634"/>
                <a:gd name="T104" fmla="*/ 83 w 358"/>
                <a:gd name="T105" fmla="*/ 412 h 634"/>
                <a:gd name="T106" fmla="*/ 81 w 358"/>
                <a:gd name="T107" fmla="*/ 425 h 634"/>
                <a:gd name="T108" fmla="*/ 65 w 358"/>
                <a:gd name="T109" fmla="*/ 431 h 634"/>
                <a:gd name="T110" fmla="*/ 64 w 358"/>
                <a:gd name="T111" fmla="*/ 446 h 634"/>
                <a:gd name="T112" fmla="*/ 56 w 358"/>
                <a:gd name="T113" fmla="*/ 454 h 634"/>
                <a:gd name="T114" fmla="*/ 58 w 358"/>
                <a:gd name="T115" fmla="*/ 473 h 634"/>
                <a:gd name="T116" fmla="*/ 65 w 358"/>
                <a:gd name="T117" fmla="*/ 479 h 634"/>
                <a:gd name="T118" fmla="*/ 67 w 358"/>
                <a:gd name="T119" fmla="*/ 502 h 634"/>
                <a:gd name="T120" fmla="*/ 238 w 358"/>
                <a:gd name="T121" fmla="*/ 214 h 634"/>
                <a:gd name="T122" fmla="*/ 233 w 358"/>
                <a:gd name="T123" fmla="*/ 229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8" h="634">
                  <a:moveTo>
                    <a:pt x="67" y="506"/>
                  </a:moveTo>
                  <a:lnTo>
                    <a:pt x="69" y="506"/>
                  </a:lnTo>
                  <a:lnTo>
                    <a:pt x="71" y="508"/>
                  </a:lnTo>
                  <a:lnTo>
                    <a:pt x="71" y="510"/>
                  </a:lnTo>
                  <a:lnTo>
                    <a:pt x="71" y="511"/>
                  </a:lnTo>
                  <a:lnTo>
                    <a:pt x="73" y="511"/>
                  </a:lnTo>
                  <a:lnTo>
                    <a:pt x="73" y="513"/>
                  </a:lnTo>
                  <a:lnTo>
                    <a:pt x="75" y="513"/>
                  </a:lnTo>
                  <a:lnTo>
                    <a:pt x="73" y="513"/>
                  </a:lnTo>
                  <a:lnTo>
                    <a:pt x="73" y="515"/>
                  </a:lnTo>
                  <a:lnTo>
                    <a:pt x="71" y="515"/>
                  </a:lnTo>
                  <a:lnTo>
                    <a:pt x="73" y="517"/>
                  </a:lnTo>
                  <a:lnTo>
                    <a:pt x="73" y="515"/>
                  </a:lnTo>
                  <a:lnTo>
                    <a:pt x="75" y="517"/>
                  </a:lnTo>
                  <a:lnTo>
                    <a:pt x="77" y="519"/>
                  </a:lnTo>
                  <a:lnTo>
                    <a:pt x="75" y="519"/>
                  </a:lnTo>
                  <a:lnTo>
                    <a:pt x="75" y="521"/>
                  </a:lnTo>
                  <a:lnTo>
                    <a:pt x="75" y="523"/>
                  </a:lnTo>
                  <a:lnTo>
                    <a:pt x="77" y="523"/>
                  </a:lnTo>
                  <a:lnTo>
                    <a:pt x="77" y="525"/>
                  </a:lnTo>
                  <a:lnTo>
                    <a:pt x="79" y="527"/>
                  </a:lnTo>
                  <a:lnTo>
                    <a:pt x="79" y="529"/>
                  </a:lnTo>
                  <a:lnTo>
                    <a:pt x="81" y="529"/>
                  </a:lnTo>
                  <a:lnTo>
                    <a:pt x="83" y="529"/>
                  </a:lnTo>
                  <a:lnTo>
                    <a:pt x="79" y="529"/>
                  </a:lnTo>
                  <a:lnTo>
                    <a:pt x="77" y="529"/>
                  </a:lnTo>
                  <a:lnTo>
                    <a:pt x="75" y="527"/>
                  </a:lnTo>
                  <a:lnTo>
                    <a:pt x="73" y="529"/>
                  </a:lnTo>
                  <a:lnTo>
                    <a:pt x="75" y="529"/>
                  </a:lnTo>
                  <a:lnTo>
                    <a:pt x="75" y="531"/>
                  </a:lnTo>
                  <a:lnTo>
                    <a:pt x="77" y="531"/>
                  </a:lnTo>
                  <a:lnTo>
                    <a:pt x="79" y="533"/>
                  </a:lnTo>
                  <a:lnTo>
                    <a:pt x="77" y="533"/>
                  </a:lnTo>
                  <a:lnTo>
                    <a:pt x="75" y="533"/>
                  </a:lnTo>
                  <a:lnTo>
                    <a:pt x="75" y="535"/>
                  </a:lnTo>
                  <a:lnTo>
                    <a:pt x="77" y="535"/>
                  </a:lnTo>
                  <a:lnTo>
                    <a:pt x="77" y="536"/>
                  </a:lnTo>
                  <a:lnTo>
                    <a:pt x="79" y="536"/>
                  </a:lnTo>
                  <a:lnTo>
                    <a:pt x="77" y="536"/>
                  </a:lnTo>
                  <a:lnTo>
                    <a:pt x="77" y="538"/>
                  </a:lnTo>
                  <a:lnTo>
                    <a:pt x="75" y="538"/>
                  </a:lnTo>
                  <a:lnTo>
                    <a:pt x="77" y="540"/>
                  </a:lnTo>
                  <a:lnTo>
                    <a:pt x="77" y="542"/>
                  </a:lnTo>
                  <a:lnTo>
                    <a:pt x="79" y="542"/>
                  </a:lnTo>
                  <a:lnTo>
                    <a:pt x="79" y="544"/>
                  </a:lnTo>
                  <a:lnTo>
                    <a:pt x="79" y="546"/>
                  </a:lnTo>
                  <a:lnTo>
                    <a:pt x="77" y="546"/>
                  </a:lnTo>
                  <a:lnTo>
                    <a:pt x="77" y="548"/>
                  </a:lnTo>
                  <a:lnTo>
                    <a:pt x="81" y="550"/>
                  </a:lnTo>
                  <a:lnTo>
                    <a:pt x="77" y="552"/>
                  </a:lnTo>
                  <a:lnTo>
                    <a:pt x="79" y="552"/>
                  </a:lnTo>
                  <a:lnTo>
                    <a:pt x="75" y="554"/>
                  </a:lnTo>
                  <a:lnTo>
                    <a:pt x="77" y="554"/>
                  </a:lnTo>
                  <a:lnTo>
                    <a:pt x="77" y="556"/>
                  </a:lnTo>
                  <a:lnTo>
                    <a:pt x="77" y="558"/>
                  </a:lnTo>
                  <a:lnTo>
                    <a:pt x="79" y="560"/>
                  </a:lnTo>
                  <a:lnTo>
                    <a:pt x="75" y="560"/>
                  </a:lnTo>
                  <a:lnTo>
                    <a:pt x="77" y="561"/>
                  </a:lnTo>
                  <a:lnTo>
                    <a:pt x="75" y="561"/>
                  </a:lnTo>
                  <a:lnTo>
                    <a:pt x="73" y="560"/>
                  </a:lnTo>
                  <a:lnTo>
                    <a:pt x="73" y="561"/>
                  </a:lnTo>
                  <a:lnTo>
                    <a:pt x="73" y="563"/>
                  </a:lnTo>
                  <a:lnTo>
                    <a:pt x="75" y="563"/>
                  </a:lnTo>
                  <a:lnTo>
                    <a:pt x="75" y="565"/>
                  </a:lnTo>
                  <a:lnTo>
                    <a:pt x="77" y="567"/>
                  </a:lnTo>
                  <a:lnTo>
                    <a:pt x="79" y="569"/>
                  </a:lnTo>
                  <a:lnTo>
                    <a:pt x="79" y="571"/>
                  </a:lnTo>
                  <a:lnTo>
                    <a:pt x="77" y="569"/>
                  </a:lnTo>
                  <a:lnTo>
                    <a:pt x="73" y="565"/>
                  </a:lnTo>
                  <a:lnTo>
                    <a:pt x="71" y="565"/>
                  </a:lnTo>
                  <a:lnTo>
                    <a:pt x="73" y="567"/>
                  </a:lnTo>
                  <a:lnTo>
                    <a:pt x="73" y="569"/>
                  </a:lnTo>
                  <a:lnTo>
                    <a:pt x="73" y="571"/>
                  </a:lnTo>
                  <a:lnTo>
                    <a:pt x="71" y="571"/>
                  </a:lnTo>
                  <a:lnTo>
                    <a:pt x="73" y="573"/>
                  </a:lnTo>
                  <a:lnTo>
                    <a:pt x="75" y="571"/>
                  </a:lnTo>
                  <a:lnTo>
                    <a:pt x="77" y="571"/>
                  </a:lnTo>
                  <a:lnTo>
                    <a:pt x="77" y="573"/>
                  </a:lnTo>
                  <a:lnTo>
                    <a:pt x="75" y="573"/>
                  </a:lnTo>
                  <a:lnTo>
                    <a:pt x="75" y="575"/>
                  </a:lnTo>
                  <a:lnTo>
                    <a:pt x="77" y="577"/>
                  </a:lnTo>
                  <a:lnTo>
                    <a:pt x="77" y="579"/>
                  </a:lnTo>
                  <a:lnTo>
                    <a:pt x="79" y="581"/>
                  </a:lnTo>
                  <a:lnTo>
                    <a:pt x="79" y="583"/>
                  </a:lnTo>
                  <a:lnTo>
                    <a:pt x="81" y="583"/>
                  </a:lnTo>
                  <a:lnTo>
                    <a:pt x="79" y="583"/>
                  </a:lnTo>
                  <a:lnTo>
                    <a:pt x="77" y="583"/>
                  </a:lnTo>
                  <a:lnTo>
                    <a:pt x="77" y="585"/>
                  </a:lnTo>
                  <a:lnTo>
                    <a:pt x="77" y="586"/>
                  </a:lnTo>
                  <a:lnTo>
                    <a:pt x="79" y="586"/>
                  </a:lnTo>
                  <a:lnTo>
                    <a:pt x="81" y="586"/>
                  </a:lnTo>
                  <a:lnTo>
                    <a:pt x="81" y="588"/>
                  </a:lnTo>
                  <a:lnTo>
                    <a:pt x="79" y="588"/>
                  </a:lnTo>
                  <a:lnTo>
                    <a:pt x="79" y="590"/>
                  </a:lnTo>
                  <a:lnTo>
                    <a:pt x="81" y="590"/>
                  </a:lnTo>
                  <a:lnTo>
                    <a:pt x="81" y="592"/>
                  </a:lnTo>
                  <a:lnTo>
                    <a:pt x="83" y="592"/>
                  </a:lnTo>
                  <a:lnTo>
                    <a:pt x="81" y="592"/>
                  </a:lnTo>
                  <a:lnTo>
                    <a:pt x="79" y="592"/>
                  </a:lnTo>
                  <a:lnTo>
                    <a:pt x="77" y="590"/>
                  </a:lnTo>
                  <a:lnTo>
                    <a:pt x="77" y="588"/>
                  </a:lnTo>
                  <a:lnTo>
                    <a:pt x="75" y="586"/>
                  </a:lnTo>
                  <a:lnTo>
                    <a:pt x="73" y="588"/>
                  </a:lnTo>
                  <a:lnTo>
                    <a:pt x="73" y="590"/>
                  </a:lnTo>
                  <a:lnTo>
                    <a:pt x="75" y="590"/>
                  </a:lnTo>
                  <a:lnTo>
                    <a:pt x="75" y="592"/>
                  </a:lnTo>
                  <a:lnTo>
                    <a:pt x="77" y="594"/>
                  </a:lnTo>
                  <a:lnTo>
                    <a:pt x="79" y="598"/>
                  </a:lnTo>
                  <a:lnTo>
                    <a:pt x="79" y="596"/>
                  </a:lnTo>
                  <a:lnTo>
                    <a:pt x="81" y="598"/>
                  </a:lnTo>
                  <a:lnTo>
                    <a:pt x="83" y="598"/>
                  </a:lnTo>
                  <a:lnTo>
                    <a:pt x="83" y="596"/>
                  </a:lnTo>
                  <a:lnTo>
                    <a:pt x="85" y="596"/>
                  </a:lnTo>
                  <a:lnTo>
                    <a:pt x="87" y="596"/>
                  </a:lnTo>
                  <a:lnTo>
                    <a:pt x="87" y="594"/>
                  </a:lnTo>
                  <a:lnTo>
                    <a:pt x="87" y="592"/>
                  </a:lnTo>
                  <a:lnTo>
                    <a:pt x="89" y="592"/>
                  </a:lnTo>
                  <a:lnTo>
                    <a:pt x="87" y="592"/>
                  </a:lnTo>
                  <a:lnTo>
                    <a:pt x="89" y="590"/>
                  </a:lnTo>
                  <a:lnTo>
                    <a:pt x="89" y="588"/>
                  </a:lnTo>
                  <a:lnTo>
                    <a:pt x="90" y="588"/>
                  </a:lnTo>
                  <a:lnTo>
                    <a:pt x="90" y="592"/>
                  </a:lnTo>
                  <a:lnTo>
                    <a:pt x="89" y="596"/>
                  </a:lnTo>
                  <a:lnTo>
                    <a:pt x="89" y="598"/>
                  </a:lnTo>
                  <a:lnTo>
                    <a:pt x="90" y="598"/>
                  </a:lnTo>
                  <a:lnTo>
                    <a:pt x="92" y="596"/>
                  </a:lnTo>
                  <a:lnTo>
                    <a:pt x="92" y="598"/>
                  </a:lnTo>
                  <a:lnTo>
                    <a:pt x="92" y="600"/>
                  </a:lnTo>
                  <a:lnTo>
                    <a:pt x="92" y="602"/>
                  </a:lnTo>
                  <a:lnTo>
                    <a:pt x="90" y="604"/>
                  </a:lnTo>
                  <a:lnTo>
                    <a:pt x="92" y="604"/>
                  </a:lnTo>
                  <a:lnTo>
                    <a:pt x="94" y="604"/>
                  </a:lnTo>
                  <a:lnTo>
                    <a:pt x="96" y="604"/>
                  </a:lnTo>
                  <a:lnTo>
                    <a:pt x="98" y="604"/>
                  </a:lnTo>
                  <a:lnTo>
                    <a:pt x="100" y="604"/>
                  </a:lnTo>
                  <a:lnTo>
                    <a:pt x="98" y="602"/>
                  </a:lnTo>
                  <a:lnTo>
                    <a:pt x="98" y="598"/>
                  </a:lnTo>
                  <a:lnTo>
                    <a:pt x="100" y="598"/>
                  </a:lnTo>
                  <a:lnTo>
                    <a:pt x="102" y="598"/>
                  </a:lnTo>
                  <a:lnTo>
                    <a:pt x="104" y="598"/>
                  </a:lnTo>
                  <a:lnTo>
                    <a:pt x="106" y="600"/>
                  </a:lnTo>
                  <a:lnTo>
                    <a:pt x="108" y="600"/>
                  </a:lnTo>
                  <a:lnTo>
                    <a:pt x="110" y="600"/>
                  </a:lnTo>
                  <a:lnTo>
                    <a:pt x="110" y="604"/>
                  </a:lnTo>
                  <a:lnTo>
                    <a:pt x="106" y="604"/>
                  </a:lnTo>
                  <a:lnTo>
                    <a:pt x="106" y="606"/>
                  </a:lnTo>
                  <a:lnTo>
                    <a:pt x="104" y="606"/>
                  </a:lnTo>
                  <a:lnTo>
                    <a:pt x="102" y="608"/>
                  </a:lnTo>
                  <a:lnTo>
                    <a:pt x="106" y="609"/>
                  </a:lnTo>
                  <a:lnTo>
                    <a:pt x="106" y="608"/>
                  </a:lnTo>
                  <a:lnTo>
                    <a:pt x="106" y="609"/>
                  </a:lnTo>
                  <a:lnTo>
                    <a:pt x="106" y="611"/>
                  </a:lnTo>
                  <a:lnTo>
                    <a:pt x="108" y="613"/>
                  </a:lnTo>
                  <a:lnTo>
                    <a:pt x="110" y="611"/>
                  </a:lnTo>
                  <a:lnTo>
                    <a:pt x="110" y="609"/>
                  </a:lnTo>
                  <a:lnTo>
                    <a:pt x="112" y="608"/>
                  </a:lnTo>
                  <a:lnTo>
                    <a:pt x="113" y="608"/>
                  </a:lnTo>
                  <a:lnTo>
                    <a:pt x="113" y="606"/>
                  </a:lnTo>
                  <a:lnTo>
                    <a:pt x="115" y="604"/>
                  </a:lnTo>
                  <a:lnTo>
                    <a:pt x="115" y="602"/>
                  </a:lnTo>
                  <a:lnTo>
                    <a:pt x="113" y="604"/>
                  </a:lnTo>
                  <a:lnTo>
                    <a:pt x="115" y="602"/>
                  </a:lnTo>
                  <a:lnTo>
                    <a:pt x="117" y="600"/>
                  </a:lnTo>
                  <a:lnTo>
                    <a:pt x="117" y="602"/>
                  </a:lnTo>
                  <a:lnTo>
                    <a:pt x="115" y="604"/>
                  </a:lnTo>
                  <a:lnTo>
                    <a:pt x="115" y="608"/>
                  </a:lnTo>
                  <a:lnTo>
                    <a:pt x="113" y="609"/>
                  </a:lnTo>
                  <a:lnTo>
                    <a:pt x="117" y="609"/>
                  </a:lnTo>
                  <a:lnTo>
                    <a:pt x="117" y="606"/>
                  </a:lnTo>
                  <a:lnTo>
                    <a:pt x="119" y="608"/>
                  </a:lnTo>
                  <a:lnTo>
                    <a:pt x="117" y="609"/>
                  </a:lnTo>
                  <a:lnTo>
                    <a:pt x="115" y="611"/>
                  </a:lnTo>
                  <a:lnTo>
                    <a:pt x="113" y="615"/>
                  </a:lnTo>
                  <a:lnTo>
                    <a:pt x="117" y="615"/>
                  </a:lnTo>
                  <a:lnTo>
                    <a:pt x="119" y="613"/>
                  </a:lnTo>
                  <a:lnTo>
                    <a:pt x="115" y="615"/>
                  </a:lnTo>
                  <a:lnTo>
                    <a:pt x="113" y="615"/>
                  </a:lnTo>
                  <a:lnTo>
                    <a:pt x="115" y="617"/>
                  </a:lnTo>
                  <a:lnTo>
                    <a:pt x="115" y="619"/>
                  </a:lnTo>
                  <a:lnTo>
                    <a:pt x="113" y="619"/>
                  </a:lnTo>
                  <a:lnTo>
                    <a:pt x="113" y="621"/>
                  </a:lnTo>
                  <a:lnTo>
                    <a:pt x="113" y="625"/>
                  </a:lnTo>
                  <a:lnTo>
                    <a:pt x="113" y="627"/>
                  </a:lnTo>
                  <a:lnTo>
                    <a:pt x="115" y="629"/>
                  </a:lnTo>
                  <a:lnTo>
                    <a:pt x="117" y="629"/>
                  </a:lnTo>
                  <a:lnTo>
                    <a:pt x="119" y="627"/>
                  </a:lnTo>
                  <a:lnTo>
                    <a:pt x="121" y="627"/>
                  </a:lnTo>
                  <a:lnTo>
                    <a:pt x="125" y="625"/>
                  </a:lnTo>
                  <a:lnTo>
                    <a:pt x="127" y="623"/>
                  </a:lnTo>
                  <a:lnTo>
                    <a:pt x="127" y="621"/>
                  </a:lnTo>
                  <a:lnTo>
                    <a:pt x="127" y="619"/>
                  </a:lnTo>
                  <a:lnTo>
                    <a:pt x="127" y="617"/>
                  </a:lnTo>
                  <a:lnTo>
                    <a:pt x="127" y="615"/>
                  </a:lnTo>
                  <a:lnTo>
                    <a:pt x="127" y="611"/>
                  </a:lnTo>
                  <a:lnTo>
                    <a:pt x="129" y="613"/>
                  </a:lnTo>
                  <a:lnTo>
                    <a:pt x="131" y="613"/>
                  </a:lnTo>
                  <a:lnTo>
                    <a:pt x="129" y="617"/>
                  </a:lnTo>
                  <a:lnTo>
                    <a:pt x="131" y="617"/>
                  </a:lnTo>
                  <a:lnTo>
                    <a:pt x="133" y="619"/>
                  </a:lnTo>
                  <a:lnTo>
                    <a:pt x="131" y="621"/>
                  </a:lnTo>
                  <a:lnTo>
                    <a:pt x="131" y="623"/>
                  </a:lnTo>
                  <a:lnTo>
                    <a:pt x="129" y="625"/>
                  </a:lnTo>
                  <a:lnTo>
                    <a:pt x="131" y="629"/>
                  </a:lnTo>
                  <a:lnTo>
                    <a:pt x="133" y="629"/>
                  </a:lnTo>
                  <a:lnTo>
                    <a:pt x="135" y="627"/>
                  </a:lnTo>
                  <a:lnTo>
                    <a:pt x="137" y="627"/>
                  </a:lnTo>
                  <a:lnTo>
                    <a:pt x="138" y="625"/>
                  </a:lnTo>
                  <a:lnTo>
                    <a:pt x="140" y="625"/>
                  </a:lnTo>
                  <a:lnTo>
                    <a:pt x="140" y="627"/>
                  </a:lnTo>
                  <a:lnTo>
                    <a:pt x="138" y="629"/>
                  </a:lnTo>
                  <a:lnTo>
                    <a:pt x="137" y="631"/>
                  </a:lnTo>
                  <a:lnTo>
                    <a:pt x="133" y="633"/>
                  </a:lnTo>
                  <a:lnTo>
                    <a:pt x="133" y="634"/>
                  </a:lnTo>
                  <a:lnTo>
                    <a:pt x="137" y="633"/>
                  </a:lnTo>
                  <a:lnTo>
                    <a:pt x="138" y="633"/>
                  </a:lnTo>
                  <a:lnTo>
                    <a:pt x="142" y="631"/>
                  </a:lnTo>
                  <a:lnTo>
                    <a:pt x="142" y="629"/>
                  </a:lnTo>
                  <a:lnTo>
                    <a:pt x="144" y="627"/>
                  </a:lnTo>
                  <a:lnTo>
                    <a:pt x="146" y="627"/>
                  </a:lnTo>
                  <a:lnTo>
                    <a:pt x="148" y="625"/>
                  </a:lnTo>
                  <a:lnTo>
                    <a:pt x="152" y="623"/>
                  </a:lnTo>
                  <a:lnTo>
                    <a:pt x="156" y="623"/>
                  </a:lnTo>
                  <a:lnTo>
                    <a:pt x="158" y="621"/>
                  </a:lnTo>
                  <a:lnTo>
                    <a:pt x="160" y="619"/>
                  </a:lnTo>
                  <a:lnTo>
                    <a:pt x="163" y="617"/>
                  </a:lnTo>
                  <a:lnTo>
                    <a:pt x="165" y="615"/>
                  </a:lnTo>
                  <a:lnTo>
                    <a:pt x="167" y="617"/>
                  </a:lnTo>
                  <a:lnTo>
                    <a:pt x="169" y="615"/>
                  </a:lnTo>
                  <a:lnTo>
                    <a:pt x="171" y="615"/>
                  </a:lnTo>
                  <a:lnTo>
                    <a:pt x="173" y="613"/>
                  </a:lnTo>
                  <a:lnTo>
                    <a:pt x="173" y="611"/>
                  </a:lnTo>
                  <a:lnTo>
                    <a:pt x="175" y="611"/>
                  </a:lnTo>
                  <a:lnTo>
                    <a:pt x="175" y="613"/>
                  </a:lnTo>
                  <a:lnTo>
                    <a:pt x="175" y="615"/>
                  </a:lnTo>
                  <a:lnTo>
                    <a:pt x="177" y="617"/>
                  </a:lnTo>
                  <a:lnTo>
                    <a:pt x="177" y="613"/>
                  </a:lnTo>
                  <a:lnTo>
                    <a:pt x="179" y="611"/>
                  </a:lnTo>
                  <a:lnTo>
                    <a:pt x="179" y="615"/>
                  </a:lnTo>
                  <a:lnTo>
                    <a:pt x="177" y="617"/>
                  </a:lnTo>
                  <a:lnTo>
                    <a:pt x="179" y="617"/>
                  </a:lnTo>
                  <a:lnTo>
                    <a:pt x="181" y="615"/>
                  </a:lnTo>
                  <a:lnTo>
                    <a:pt x="181" y="613"/>
                  </a:lnTo>
                  <a:lnTo>
                    <a:pt x="183" y="609"/>
                  </a:lnTo>
                  <a:lnTo>
                    <a:pt x="185" y="608"/>
                  </a:lnTo>
                  <a:lnTo>
                    <a:pt x="187" y="606"/>
                  </a:lnTo>
                  <a:lnTo>
                    <a:pt x="190" y="604"/>
                  </a:lnTo>
                  <a:lnTo>
                    <a:pt x="192" y="604"/>
                  </a:lnTo>
                  <a:lnTo>
                    <a:pt x="194" y="602"/>
                  </a:lnTo>
                  <a:lnTo>
                    <a:pt x="196" y="600"/>
                  </a:lnTo>
                  <a:lnTo>
                    <a:pt x="198" y="600"/>
                  </a:lnTo>
                  <a:lnTo>
                    <a:pt x="198" y="596"/>
                  </a:lnTo>
                  <a:lnTo>
                    <a:pt x="200" y="596"/>
                  </a:lnTo>
                  <a:lnTo>
                    <a:pt x="202" y="596"/>
                  </a:lnTo>
                  <a:lnTo>
                    <a:pt x="204" y="596"/>
                  </a:lnTo>
                  <a:lnTo>
                    <a:pt x="206" y="596"/>
                  </a:lnTo>
                  <a:lnTo>
                    <a:pt x="208" y="596"/>
                  </a:lnTo>
                  <a:lnTo>
                    <a:pt x="210" y="592"/>
                  </a:lnTo>
                  <a:lnTo>
                    <a:pt x="210" y="588"/>
                  </a:lnTo>
                  <a:lnTo>
                    <a:pt x="211" y="588"/>
                  </a:lnTo>
                  <a:lnTo>
                    <a:pt x="213" y="588"/>
                  </a:lnTo>
                  <a:lnTo>
                    <a:pt x="213" y="590"/>
                  </a:lnTo>
                  <a:lnTo>
                    <a:pt x="213" y="592"/>
                  </a:lnTo>
                  <a:lnTo>
                    <a:pt x="217" y="594"/>
                  </a:lnTo>
                  <a:lnTo>
                    <a:pt x="219" y="594"/>
                  </a:lnTo>
                  <a:lnTo>
                    <a:pt x="221" y="592"/>
                  </a:lnTo>
                  <a:lnTo>
                    <a:pt x="223" y="592"/>
                  </a:lnTo>
                  <a:lnTo>
                    <a:pt x="225" y="590"/>
                  </a:lnTo>
                  <a:lnTo>
                    <a:pt x="227" y="590"/>
                  </a:lnTo>
                  <a:lnTo>
                    <a:pt x="229" y="588"/>
                  </a:lnTo>
                  <a:lnTo>
                    <a:pt x="229" y="586"/>
                  </a:lnTo>
                  <a:lnTo>
                    <a:pt x="231" y="583"/>
                  </a:lnTo>
                  <a:lnTo>
                    <a:pt x="236" y="581"/>
                  </a:lnTo>
                  <a:lnTo>
                    <a:pt x="242" y="581"/>
                  </a:lnTo>
                  <a:lnTo>
                    <a:pt x="242" y="579"/>
                  </a:lnTo>
                  <a:lnTo>
                    <a:pt x="244" y="579"/>
                  </a:lnTo>
                  <a:lnTo>
                    <a:pt x="244" y="577"/>
                  </a:lnTo>
                  <a:lnTo>
                    <a:pt x="244" y="575"/>
                  </a:lnTo>
                  <a:lnTo>
                    <a:pt x="248" y="573"/>
                  </a:lnTo>
                  <a:lnTo>
                    <a:pt x="250" y="573"/>
                  </a:lnTo>
                  <a:lnTo>
                    <a:pt x="252" y="577"/>
                  </a:lnTo>
                  <a:lnTo>
                    <a:pt x="256" y="579"/>
                  </a:lnTo>
                  <a:lnTo>
                    <a:pt x="254" y="577"/>
                  </a:lnTo>
                  <a:lnTo>
                    <a:pt x="254" y="575"/>
                  </a:lnTo>
                  <a:lnTo>
                    <a:pt x="252" y="573"/>
                  </a:lnTo>
                  <a:lnTo>
                    <a:pt x="252" y="571"/>
                  </a:lnTo>
                  <a:lnTo>
                    <a:pt x="254" y="569"/>
                  </a:lnTo>
                  <a:lnTo>
                    <a:pt x="256" y="569"/>
                  </a:lnTo>
                  <a:lnTo>
                    <a:pt x="258" y="567"/>
                  </a:lnTo>
                  <a:lnTo>
                    <a:pt x="260" y="569"/>
                  </a:lnTo>
                  <a:lnTo>
                    <a:pt x="261" y="569"/>
                  </a:lnTo>
                  <a:lnTo>
                    <a:pt x="263" y="569"/>
                  </a:lnTo>
                  <a:lnTo>
                    <a:pt x="265" y="571"/>
                  </a:lnTo>
                  <a:lnTo>
                    <a:pt x="267" y="571"/>
                  </a:lnTo>
                  <a:lnTo>
                    <a:pt x="265" y="569"/>
                  </a:lnTo>
                  <a:lnTo>
                    <a:pt x="267" y="567"/>
                  </a:lnTo>
                  <a:lnTo>
                    <a:pt x="269" y="569"/>
                  </a:lnTo>
                  <a:lnTo>
                    <a:pt x="271" y="569"/>
                  </a:lnTo>
                  <a:lnTo>
                    <a:pt x="269" y="569"/>
                  </a:lnTo>
                  <a:lnTo>
                    <a:pt x="269" y="567"/>
                  </a:lnTo>
                  <a:lnTo>
                    <a:pt x="271" y="567"/>
                  </a:lnTo>
                  <a:lnTo>
                    <a:pt x="271" y="569"/>
                  </a:lnTo>
                  <a:lnTo>
                    <a:pt x="273" y="569"/>
                  </a:lnTo>
                  <a:lnTo>
                    <a:pt x="273" y="567"/>
                  </a:lnTo>
                  <a:lnTo>
                    <a:pt x="275" y="565"/>
                  </a:lnTo>
                  <a:lnTo>
                    <a:pt x="273" y="563"/>
                  </a:lnTo>
                  <a:lnTo>
                    <a:pt x="275" y="563"/>
                  </a:lnTo>
                  <a:lnTo>
                    <a:pt x="277" y="561"/>
                  </a:lnTo>
                  <a:lnTo>
                    <a:pt x="281" y="556"/>
                  </a:lnTo>
                  <a:lnTo>
                    <a:pt x="283" y="550"/>
                  </a:lnTo>
                  <a:lnTo>
                    <a:pt x="285" y="546"/>
                  </a:lnTo>
                  <a:lnTo>
                    <a:pt x="286" y="544"/>
                  </a:lnTo>
                  <a:lnTo>
                    <a:pt x="288" y="540"/>
                  </a:lnTo>
                  <a:lnTo>
                    <a:pt x="290" y="536"/>
                  </a:lnTo>
                  <a:lnTo>
                    <a:pt x="292" y="535"/>
                  </a:lnTo>
                  <a:lnTo>
                    <a:pt x="296" y="533"/>
                  </a:lnTo>
                  <a:lnTo>
                    <a:pt x="296" y="531"/>
                  </a:lnTo>
                  <a:lnTo>
                    <a:pt x="298" y="527"/>
                  </a:lnTo>
                  <a:lnTo>
                    <a:pt x="298" y="525"/>
                  </a:lnTo>
                  <a:lnTo>
                    <a:pt x="300" y="523"/>
                  </a:lnTo>
                  <a:lnTo>
                    <a:pt x="302" y="519"/>
                  </a:lnTo>
                  <a:lnTo>
                    <a:pt x="304" y="515"/>
                  </a:lnTo>
                  <a:lnTo>
                    <a:pt x="306" y="513"/>
                  </a:lnTo>
                  <a:lnTo>
                    <a:pt x="308" y="511"/>
                  </a:lnTo>
                  <a:lnTo>
                    <a:pt x="309" y="510"/>
                  </a:lnTo>
                  <a:lnTo>
                    <a:pt x="311" y="508"/>
                  </a:lnTo>
                  <a:lnTo>
                    <a:pt x="313" y="504"/>
                  </a:lnTo>
                  <a:lnTo>
                    <a:pt x="313" y="500"/>
                  </a:lnTo>
                  <a:lnTo>
                    <a:pt x="315" y="498"/>
                  </a:lnTo>
                  <a:lnTo>
                    <a:pt x="315" y="494"/>
                  </a:lnTo>
                  <a:lnTo>
                    <a:pt x="319" y="494"/>
                  </a:lnTo>
                  <a:lnTo>
                    <a:pt x="319" y="492"/>
                  </a:lnTo>
                  <a:lnTo>
                    <a:pt x="321" y="488"/>
                  </a:lnTo>
                  <a:lnTo>
                    <a:pt x="323" y="487"/>
                  </a:lnTo>
                  <a:lnTo>
                    <a:pt x="323" y="483"/>
                  </a:lnTo>
                  <a:lnTo>
                    <a:pt x="325" y="479"/>
                  </a:lnTo>
                  <a:lnTo>
                    <a:pt x="327" y="477"/>
                  </a:lnTo>
                  <a:lnTo>
                    <a:pt x="329" y="475"/>
                  </a:lnTo>
                  <a:lnTo>
                    <a:pt x="329" y="473"/>
                  </a:lnTo>
                  <a:lnTo>
                    <a:pt x="329" y="469"/>
                  </a:lnTo>
                  <a:lnTo>
                    <a:pt x="331" y="467"/>
                  </a:lnTo>
                  <a:lnTo>
                    <a:pt x="333" y="463"/>
                  </a:lnTo>
                  <a:lnTo>
                    <a:pt x="334" y="460"/>
                  </a:lnTo>
                  <a:lnTo>
                    <a:pt x="334" y="456"/>
                  </a:lnTo>
                  <a:lnTo>
                    <a:pt x="336" y="454"/>
                  </a:lnTo>
                  <a:lnTo>
                    <a:pt x="338" y="448"/>
                  </a:lnTo>
                  <a:lnTo>
                    <a:pt x="340" y="444"/>
                  </a:lnTo>
                  <a:lnTo>
                    <a:pt x="342" y="440"/>
                  </a:lnTo>
                  <a:lnTo>
                    <a:pt x="346" y="437"/>
                  </a:lnTo>
                  <a:lnTo>
                    <a:pt x="346" y="435"/>
                  </a:lnTo>
                  <a:lnTo>
                    <a:pt x="348" y="431"/>
                  </a:lnTo>
                  <a:lnTo>
                    <a:pt x="352" y="425"/>
                  </a:lnTo>
                  <a:lnTo>
                    <a:pt x="352" y="423"/>
                  </a:lnTo>
                  <a:lnTo>
                    <a:pt x="352" y="421"/>
                  </a:lnTo>
                  <a:lnTo>
                    <a:pt x="354" y="417"/>
                  </a:lnTo>
                  <a:lnTo>
                    <a:pt x="358" y="398"/>
                  </a:lnTo>
                  <a:lnTo>
                    <a:pt x="352" y="390"/>
                  </a:lnTo>
                  <a:lnTo>
                    <a:pt x="344" y="387"/>
                  </a:lnTo>
                  <a:lnTo>
                    <a:pt x="342" y="379"/>
                  </a:lnTo>
                  <a:lnTo>
                    <a:pt x="338" y="379"/>
                  </a:lnTo>
                  <a:lnTo>
                    <a:pt x="336" y="377"/>
                  </a:lnTo>
                  <a:lnTo>
                    <a:pt x="334" y="377"/>
                  </a:lnTo>
                  <a:lnTo>
                    <a:pt x="331" y="373"/>
                  </a:lnTo>
                  <a:lnTo>
                    <a:pt x="329" y="373"/>
                  </a:lnTo>
                  <a:lnTo>
                    <a:pt x="327" y="371"/>
                  </a:lnTo>
                  <a:lnTo>
                    <a:pt x="317" y="369"/>
                  </a:lnTo>
                  <a:lnTo>
                    <a:pt x="313" y="365"/>
                  </a:lnTo>
                  <a:lnTo>
                    <a:pt x="311" y="365"/>
                  </a:lnTo>
                  <a:lnTo>
                    <a:pt x="298" y="354"/>
                  </a:lnTo>
                  <a:lnTo>
                    <a:pt x="302" y="352"/>
                  </a:lnTo>
                  <a:lnTo>
                    <a:pt x="304" y="350"/>
                  </a:lnTo>
                  <a:lnTo>
                    <a:pt x="306" y="348"/>
                  </a:lnTo>
                  <a:lnTo>
                    <a:pt x="306" y="346"/>
                  </a:lnTo>
                  <a:lnTo>
                    <a:pt x="306" y="344"/>
                  </a:lnTo>
                  <a:lnTo>
                    <a:pt x="308" y="342"/>
                  </a:lnTo>
                  <a:lnTo>
                    <a:pt x="308" y="339"/>
                  </a:lnTo>
                  <a:lnTo>
                    <a:pt x="309" y="337"/>
                  </a:lnTo>
                  <a:lnTo>
                    <a:pt x="309" y="333"/>
                  </a:lnTo>
                  <a:lnTo>
                    <a:pt x="311" y="329"/>
                  </a:lnTo>
                  <a:lnTo>
                    <a:pt x="309" y="327"/>
                  </a:lnTo>
                  <a:lnTo>
                    <a:pt x="308" y="325"/>
                  </a:lnTo>
                  <a:lnTo>
                    <a:pt x="306" y="325"/>
                  </a:lnTo>
                  <a:lnTo>
                    <a:pt x="308" y="323"/>
                  </a:lnTo>
                  <a:lnTo>
                    <a:pt x="306" y="323"/>
                  </a:lnTo>
                  <a:lnTo>
                    <a:pt x="306" y="321"/>
                  </a:lnTo>
                  <a:lnTo>
                    <a:pt x="304" y="321"/>
                  </a:lnTo>
                  <a:lnTo>
                    <a:pt x="302" y="321"/>
                  </a:lnTo>
                  <a:lnTo>
                    <a:pt x="302" y="319"/>
                  </a:lnTo>
                  <a:lnTo>
                    <a:pt x="298" y="319"/>
                  </a:lnTo>
                  <a:lnTo>
                    <a:pt x="296" y="319"/>
                  </a:lnTo>
                  <a:lnTo>
                    <a:pt x="294" y="317"/>
                  </a:lnTo>
                  <a:lnTo>
                    <a:pt x="292" y="317"/>
                  </a:lnTo>
                  <a:lnTo>
                    <a:pt x="292" y="316"/>
                  </a:lnTo>
                  <a:lnTo>
                    <a:pt x="292" y="314"/>
                  </a:lnTo>
                  <a:lnTo>
                    <a:pt x="290" y="312"/>
                  </a:lnTo>
                  <a:lnTo>
                    <a:pt x="288" y="308"/>
                  </a:lnTo>
                  <a:lnTo>
                    <a:pt x="288" y="306"/>
                  </a:lnTo>
                  <a:lnTo>
                    <a:pt x="290" y="304"/>
                  </a:lnTo>
                  <a:lnTo>
                    <a:pt x="290" y="302"/>
                  </a:lnTo>
                  <a:lnTo>
                    <a:pt x="290" y="300"/>
                  </a:lnTo>
                  <a:lnTo>
                    <a:pt x="288" y="298"/>
                  </a:lnTo>
                  <a:lnTo>
                    <a:pt x="288" y="296"/>
                  </a:lnTo>
                  <a:lnTo>
                    <a:pt x="288" y="294"/>
                  </a:lnTo>
                  <a:lnTo>
                    <a:pt x="286" y="294"/>
                  </a:lnTo>
                  <a:lnTo>
                    <a:pt x="283" y="294"/>
                  </a:lnTo>
                  <a:lnTo>
                    <a:pt x="281" y="294"/>
                  </a:lnTo>
                  <a:lnTo>
                    <a:pt x="279" y="294"/>
                  </a:lnTo>
                  <a:lnTo>
                    <a:pt x="277" y="292"/>
                  </a:lnTo>
                  <a:lnTo>
                    <a:pt x="275" y="289"/>
                  </a:lnTo>
                  <a:lnTo>
                    <a:pt x="273" y="287"/>
                  </a:lnTo>
                  <a:lnTo>
                    <a:pt x="273" y="285"/>
                  </a:lnTo>
                  <a:lnTo>
                    <a:pt x="273" y="283"/>
                  </a:lnTo>
                  <a:lnTo>
                    <a:pt x="273" y="281"/>
                  </a:lnTo>
                  <a:lnTo>
                    <a:pt x="273" y="279"/>
                  </a:lnTo>
                  <a:lnTo>
                    <a:pt x="275" y="277"/>
                  </a:lnTo>
                  <a:lnTo>
                    <a:pt x="277" y="277"/>
                  </a:lnTo>
                  <a:lnTo>
                    <a:pt x="279" y="277"/>
                  </a:lnTo>
                  <a:lnTo>
                    <a:pt x="279" y="275"/>
                  </a:lnTo>
                  <a:lnTo>
                    <a:pt x="277" y="275"/>
                  </a:lnTo>
                  <a:lnTo>
                    <a:pt x="279" y="273"/>
                  </a:lnTo>
                  <a:lnTo>
                    <a:pt x="279" y="271"/>
                  </a:lnTo>
                  <a:lnTo>
                    <a:pt x="277" y="269"/>
                  </a:lnTo>
                  <a:lnTo>
                    <a:pt x="275" y="269"/>
                  </a:lnTo>
                  <a:lnTo>
                    <a:pt x="273" y="271"/>
                  </a:lnTo>
                  <a:lnTo>
                    <a:pt x="271" y="269"/>
                  </a:lnTo>
                  <a:lnTo>
                    <a:pt x="269" y="269"/>
                  </a:lnTo>
                  <a:lnTo>
                    <a:pt x="271" y="267"/>
                  </a:lnTo>
                  <a:lnTo>
                    <a:pt x="271" y="264"/>
                  </a:lnTo>
                  <a:lnTo>
                    <a:pt x="273" y="264"/>
                  </a:lnTo>
                  <a:lnTo>
                    <a:pt x="273" y="262"/>
                  </a:lnTo>
                  <a:lnTo>
                    <a:pt x="271" y="260"/>
                  </a:lnTo>
                  <a:lnTo>
                    <a:pt x="271" y="256"/>
                  </a:lnTo>
                  <a:lnTo>
                    <a:pt x="271" y="254"/>
                  </a:lnTo>
                  <a:lnTo>
                    <a:pt x="273" y="252"/>
                  </a:lnTo>
                  <a:lnTo>
                    <a:pt x="273" y="250"/>
                  </a:lnTo>
                  <a:lnTo>
                    <a:pt x="271" y="248"/>
                  </a:lnTo>
                  <a:lnTo>
                    <a:pt x="269" y="246"/>
                  </a:lnTo>
                  <a:lnTo>
                    <a:pt x="269" y="244"/>
                  </a:lnTo>
                  <a:lnTo>
                    <a:pt x="271" y="242"/>
                  </a:lnTo>
                  <a:lnTo>
                    <a:pt x="275" y="241"/>
                  </a:lnTo>
                  <a:lnTo>
                    <a:pt x="277" y="241"/>
                  </a:lnTo>
                  <a:lnTo>
                    <a:pt x="279" y="241"/>
                  </a:lnTo>
                  <a:lnTo>
                    <a:pt x="279" y="237"/>
                  </a:lnTo>
                  <a:lnTo>
                    <a:pt x="277" y="233"/>
                  </a:lnTo>
                  <a:lnTo>
                    <a:pt x="275" y="229"/>
                  </a:lnTo>
                  <a:lnTo>
                    <a:pt x="273" y="223"/>
                  </a:lnTo>
                  <a:lnTo>
                    <a:pt x="271" y="219"/>
                  </a:lnTo>
                  <a:lnTo>
                    <a:pt x="269" y="218"/>
                  </a:lnTo>
                  <a:lnTo>
                    <a:pt x="267" y="214"/>
                  </a:lnTo>
                  <a:lnTo>
                    <a:pt x="263" y="212"/>
                  </a:lnTo>
                  <a:lnTo>
                    <a:pt x="260" y="208"/>
                  </a:lnTo>
                  <a:lnTo>
                    <a:pt x="260" y="206"/>
                  </a:lnTo>
                  <a:lnTo>
                    <a:pt x="258" y="204"/>
                  </a:lnTo>
                  <a:lnTo>
                    <a:pt x="256" y="200"/>
                  </a:lnTo>
                  <a:lnTo>
                    <a:pt x="252" y="196"/>
                  </a:lnTo>
                  <a:lnTo>
                    <a:pt x="250" y="193"/>
                  </a:lnTo>
                  <a:lnTo>
                    <a:pt x="242" y="187"/>
                  </a:lnTo>
                  <a:lnTo>
                    <a:pt x="238" y="181"/>
                  </a:lnTo>
                  <a:lnTo>
                    <a:pt x="236" y="179"/>
                  </a:lnTo>
                  <a:lnTo>
                    <a:pt x="235" y="175"/>
                  </a:lnTo>
                  <a:lnTo>
                    <a:pt x="235" y="173"/>
                  </a:lnTo>
                  <a:lnTo>
                    <a:pt x="242" y="150"/>
                  </a:lnTo>
                  <a:lnTo>
                    <a:pt x="246" y="148"/>
                  </a:lnTo>
                  <a:lnTo>
                    <a:pt x="250" y="135"/>
                  </a:lnTo>
                  <a:lnTo>
                    <a:pt x="252" y="127"/>
                  </a:lnTo>
                  <a:lnTo>
                    <a:pt x="240" y="121"/>
                  </a:lnTo>
                  <a:lnTo>
                    <a:pt x="229" y="108"/>
                  </a:lnTo>
                  <a:lnTo>
                    <a:pt x="210" y="104"/>
                  </a:lnTo>
                  <a:lnTo>
                    <a:pt x="202" y="85"/>
                  </a:lnTo>
                  <a:lnTo>
                    <a:pt x="206" y="71"/>
                  </a:lnTo>
                  <a:lnTo>
                    <a:pt x="208" y="64"/>
                  </a:lnTo>
                  <a:lnTo>
                    <a:pt x="202" y="64"/>
                  </a:lnTo>
                  <a:lnTo>
                    <a:pt x="200" y="66"/>
                  </a:lnTo>
                  <a:lnTo>
                    <a:pt x="198" y="64"/>
                  </a:lnTo>
                  <a:lnTo>
                    <a:pt x="208" y="54"/>
                  </a:lnTo>
                  <a:lnTo>
                    <a:pt x="206" y="52"/>
                  </a:lnTo>
                  <a:lnTo>
                    <a:pt x="204" y="50"/>
                  </a:lnTo>
                  <a:lnTo>
                    <a:pt x="204" y="48"/>
                  </a:lnTo>
                  <a:lnTo>
                    <a:pt x="204" y="46"/>
                  </a:lnTo>
                  <a:lnTo>
                    <a:pt x="204" y="45"/>
                  </a:lnTo>
                  <a:lnTo>
                    <a:pt x="213" y="27"/>
                  </a:lnTo>
                  <a:lnTo>
                    <a:pt x="206" y="16"/>
                  </a:lnTo>
                  <a:lnTo>
                    <a:pt x="187" y="14"/>
                  </a:lnTo>
                  <a:lnTo>
                    <a:pt x="185" y="12"/>
                  </a:lnTo>
                  <a:lnTo>
                    <a:pt x="185" y="10"/>
                  </a:lnTo>
                  <a:lnTo>
                    <a:pt x="181" y="10"/>
                  </a:lnTo>
                  <a:lnTo>
                    <a:pt x="179" y="8"/>
                  </a:lnTo>
                  <a:lnTo>
                    <a:pt x="177" y="8"/>
                  </a:lnTo>
                  <a:lnTo>
                    <a:pt x="175" y="6"/>
                  </a:lnTo>
                  <a:lnTo>
                    <a:pt x="175" y="2"/>
                  </a:lnTo>
                  <a:lnTo>
                    <a:pt x="175" y="0"/>
                  </a:lnTo>
                  <a:lnTo>
                    <a:pt x="173" y="0"/>
                  </a:lnTo>
                  <a:lnTo>
                    <a:pt x="169" y="2"/>
                  </a:lnTo>
                  <a:lnTo>
                    <a:pt x="167" y="2"/>
                  </a:lnTo>
                  <a:lnTo>
                    <a:pt x="165" y="4"/>
                  </a:lnTo>
                  <a:lnTo>
                    <a:pt x="163" y="6"/>
                  </a:lnTo>
                  <a:lnTo>
                    <a:pt x="162" y="8"/>
                  </a:lnTo>
                  <a:lnTo>
                    <a:pt x="160" y="8"/>
                  </a:lnTo>
                  <a:lnTo>
                    <a:pt x="160" y="10"/>
                  </a:lnTo>
                  <a:lnTo>
                    <a:pt x="160" y="12"/>
                  </a:lnTo>
                  <a:lnTo>
                    <a:pt x="152" y="14"/>
                  </a:lnTo>
                  <a:lnTo>
                    <a:pt x="148" y="14"/>
                  </a:lnTo>
                  <a:lnTo>
                    <a:pt x="146" y="14"/>
                  </a:lnTo>
                  <a:lnTo>
                    <a:pt x="144" y="14"/>
                  </a:lnTo>
                  <a:lnTo>
                    <a:pt x="142" y="14"/>
                  </a:lnTo>
                  <a:lnTo>
                    <a:pt x="138" y="16"/>
                  </a:lnTo>
                  <a:lnTo>
                    <a:pt x="138" y="18"/>
                  </a:lnTo>
                  <a:lnTo>
                    <a:pt x="138" y="20"/>
                  </a:lnTo>
                  <a:lnTo>
                    <a:pt x="138" y="22"/>
                  </a:lnTo>
                  <a:lnTo>
                    <a:pt x="137" y="23"/>
                  </a:lnTo>
                  <a:lnTo>
                    <a:pt x="135" y="25"/>
                  </a:lnTo>
                  <a:lnTo>
                    <a:pt x="135" y="27"/>
                  </a:lnTo>
                  <a:lnTo>
                    <a:pt x="133" y="27"/>
                  </a:lnTo>
                  <a:lnTo>
                    <a:pt x="133" y="29"/>
                  </a:lnTo>
                  <a:lnTo>
                    <a:pt x="131" y="31"/>
                  </a:lnTo>
                  <a:lnTo>
                    <a:pt x="129" y="31"/>
                  </a:lnTo>
                  <a:lnTo>
                    <a:pt x="127" y="33"/>
                  </a:lnTo>
                  <a:lnTo>
                    <a:pt x="129" y="35"/>
                  </a:lnTo>
                  <a:lnTo>
                    <a:pt x="131" y="37"/>
                  </a:lnTo>
                  <a:lnTo>
                    <a:pt x="131" y="39"/>
                  </a:lnTo>
                  <a:lnTo>
                    <a:pt x="129" y="41"/>
                  </a:lnTo>
                  <a:lnTo>
                    <a:pt x="129" y="43"/>
                  </a:lnTo>
                  <a:lnTo>
                    <a:pt x="129" y="45"/>
                  </a:lnTo>
                  <a:lnTo>
                    <a:pt x="127" y="46"/>
                  </a:lnTo>
                  <a:lnTo>
                    <a:pt x="129" y="48"/>
                  </a:lnTo>
                  <a:lnTo>
                    <a:pt x="129" y="50"/>
                  </a:lnTo>
                  <a:lnTo>
                    <a:pt x="127" y="52"/>
                  </a:lnTo>
                  <a:lnTo>
                    <a:pt x="127" y="54"/>
                  </a:lnTo>
                  <a:lnTo>
                    <a:pt x="127" y="56"/>
                  </a:lnTo>
                  <a:lnTo>
                    <a:pt x="127" y="58"/>
                  </a:lnTo>
                  <a:lnTo>
                    <a:pt x="127" y="60"/>
                  </a:lnTo>
                  <a:lnTo>
                    <a:pt x="129" y="62"/>
                  </a:lnTo>
                  <a:lnTo>
                    <a:pt x="129" y="64"/>
                  </a:lnTo>
                  <a:lnTo>
                    <a:pt x="129" y="66"/>
                  </a:lnTo>
                  <a:lnTo>
                    <a:pt x="131" y="68"/>
                  </a:lnTo>
                  <a:lnTo>
                    <a:pt x="131" y="70"/>
                  </a:lnTo>
                  <a:lnTo>
                    <a:pt x="131" y="71"/>
                  </a:lnTo>
                  <a:lnTo>
                    <a:pt x="129" y="73"/>
                  </a:lnTo>
                  <a:lnTo>
                    <a:pt x="129" y="75"/>
                  </a:lnTo>
                  <a:lnTo>
                    <a:pt x="127" y="77"/>
                  </a:lnTo>
                  <a:lnTo>
                    <a:pt x="127" y="79"/>
                  </a:lnTo>
                  <a:lnTo>
                    <a:pt x="125" y="79"/>
                  </a:lnTo>
                  <a:lnTo>
                    <a:pt x="123" y="79"/>
                  </a:lnTo>
                  <a:lnTo>
                    <a:pt x="121" y="81"/>
                  </a:lnTo>
                  <a:lnTo>
                    <a:pt x="119" y="83"/>
                  </a:lnTo>
                  <a:lnTo>
                    <a:pt x="119" y="85"/>
                  </a:lnTo>
                  <a:lnTo>
                    <a:pt x="117" y="87"/>
                  </a:lnTo>
                  <a:lnTo>
                    <a:pt x="117" y="89"/>
                  </a:lnTo>
                  <a:lnTo>
                    <a:pt x="117" y="91"/>
                  </a:lnTo>
                  <a:lnTo>
                    <a:pt x="117" y="95"/>
                  </a:lnTo>
                  <a:lnTo>
                    <a:pt x="115" y="96"/>
                  </a:lnTo>
                  <a:lnTo>
                    <a:pt x="113" y="100"/>
                  </a:lnTo>
                  <a:lnTo>
                    <a:pt x="112" y="98"/>
                  </a:lnTo>
                  <a:lnTo>
                    <a:pt x="110" y="96"/>
                  </a:lnTo>
                  <a:lnTo>
                    <a:pt x="106" y="95"/>
                  </a:lnTo>
                  <a:lnTo>
                    <a:pt x="104" y="95"/>
                  </a:lnTo>
                  <a:lnTo>
                    <a:pt x="100" y="93"/>
                  </a:lnTo>
                  <a:lnTo>
                    <a:pt x="98" y="93"/>
                  </a:lnTo>
                  <a:lnTo>
                    <a:pt x="94" y="93"/>
                  </a:lnTo>
                  <a:lnTo>
                    <a:pt x="92" y="91"/>
                  </a:lnTo>
                  <a:lnTo>
                    <a:pt x="90" y="91"/>
                  </a:lnTo>
                  <a:lnTo>
                    <a:pt x="89" y="89"/>
                  </a:lnTo>
                  <a:lnTo>
                    <a:pt x="87" y="87"/>
                  </a:lnTo>
                  <a:lnTo>
                    <a:pt x="85" y="89"/>
                  </a:lnTo>
                  <a:lnTo>
                    <a:pt x="83" y="91"/>
                  </a:lnTo>
                  <a:lnTo>
                    <a:pt x="83" y="93"/>
                  </a:lnTo>
                  <a:lnTo>
                    <a:pt x="83" y="95"/>
                  </a:lnTo>
                  <a:lnTo>
                    <a:pt x="77" y="96"/>
                  </a:lnTo>
                  <a:lnTo>
                    <a:pt x="75" y="98"/>
                  </a:lnTo>
                  <a:lnTo>
                    <a:pt x="69" y="102"/>
                  </a:lnTo>
                  <a:lnTo>
                    <a:pt x="65" y="98"/>
                  </a:lnTo>
                  <a:lnTo>
                    <a:pt x="60" y="100"/>
                  </a:lnTo>
                  <a:lnTo>
                    <a:pt x="54" y="98"/>
                  </a:lnTo>
                  <a:lnTo>
                    <a:pt x="50" y="100"/>
                  </a:lnTo>
                  <a:lnTo>
                    <a:pt x="48" y="93"/>
                  </a:lnTo>
                  <a:lnTo>
                    <a:pt x="44" y="89"/>
                  </a:lnTo>
                  <a:lnTo>
                    <a:pt x="42" y="87"/>
                  </a:lnTo>
                  <a:lnTo>
                    <a:pt x="37" y="79"/>
                  </a:lnTo>
                  <a:lnTo>
                    <a:pt x="27" y="70"/>
                  </a:lnTo>
                  <a:lnTo>
                    <a:pt x="19" y="70"/>
                  </a:lnTo>
                  <a:lnTo>
                    <a:pt x="15" y="71"/>
                  </a:lnTo>
                  <a:lnTo>
                    <a:pt x="12" y="73"/>
                  </a:lnTo>
                  <a:lnTo>
                    <a:pt x="12" y="75"/>
                  </a:lnTo>
                  <a:lnTo>
                    <a:pt x="12" y="77"/>
                  </a:lnTo>
                  <a:lnTo>
                    <a:pt x="14" y="79"/>
                  </a:lnTo>
                  <a:lnTo>
                    <a:pt x="15" y="81"/>
                  </a:lnTo>
                  <a:lnTo>
                    <a:pt x="15" y="85"/>
                  </a:lnTo>
                  <a:lnTo>
                    <a:pt x="6" y="81"/>
                  </a:lnTo>
                  <a:lnTo>
                    <a:pt x="0" y="85"/>
                  </a:lnTo>
                  <a:lnTo>
                    <a:pt x="6" y="85"/>
                  </a:lnTo>
                  <a:lnTo>
                    <a:pt x="10" y="89"/>
                  </a:lnTo>
                  <a:lnTo>
                    <a:pt x="10" y="93"/>
                  </a:lnTo>
                  <a:lnTo>
                    <a:pt x="14" y="95"/>
                  </a:lnTo>
                  <a:lnTo>
                    <a:pt x="19" y="98"/>
                  </a:lnTo>
                  <a:lnTo>
                    <a:pt x="21" y="100"/>
                  </a:lnTo>
                  <a:lnTo>
                    <a:pt x="23" y="100"/>
                  </a:lnTo>
                  <a:lnTo>
                    <a:pt x="23" y="102"/>
                  </a:lnTo>
                  <a:lnTo>
                    <a:pt x="25" y="104"/>
                  </a:lnTo>
                  <a:lnTo>
                    <a:pt x="27" y="106"/>
                  </a:lnTo>
                  <a:lnTo>
                    <a:pt x="31" y="106"/>
                  </a:lnTo>
                  <a:lnTo>
                    <a:pt x="31" y="108"/>
                  </a:lnTo>
                  <a:lnTo>
                    <a:pt x="31" y="110"/>
                  </a:lnTo>
                  <a:lnTo>
                    <a:pt x="33" y="110"/>
                  </a:lnTo>
                  <a:lnTo>
                    <a:pt x="37" y="110"/>
                  </a:lnTo>
                  <a:lnTo>
                    <a:pt x="39" y="110"/>
                  </a:lnTo>
                  <a:lnTo>
                    <a:pt x="39" y="112"/>
                  </a:lnTo>
                  <a:lnTo>
                    <a:pt x="42" y="114"/>
                  </a:lnTo>
                  <a:lnTo>
                    <a:pt x="44" y="116"/>
                  </a:lnTo>
                  <a:lnTo>
                    <a:pt x="48" y="114"/>
                  </a:lnTo>
                  <a:lnTo>
                    <a:pt x="52" y="114"/>
                  </a:lnTo>
                  <a:lnTo>
                    <a:pt x="56" y="116"/>
                  </a:lnTo>
                  <a:lnTo>
                    <a:pt x="60" y="116"/>
                  </a:lnTo>
                  <a:lnTo>
                    <a:pt x="62" y="118"/>
                  </a:lnTo>
                  <a:lnTo>
                    <a:pt x="67" y="120"/>
                  </a:lnTo>
                  <a:lnTo>
                    <a:pt x="71" y="123"/>
                  </a:lnTo>
                  <a:lnTo>
                    <a:pt x="73" y="125"/>
                  </a:lnTo>
                  <a:lnTo>
                    <a:pt x="73" y="129"/>
                  </a:lnTo>
                  <a:lnTo>
                    <a:pt x="77" y="129"/>
                  </a:lnTo>
                  <a:lnTo>
                    <a:pt x="79" y="133"/>
                  </a:lnTo>
                  <a:lnTo>
                    <a:pt x="79" y="135"/>
                  </a:lnTo>
                  <a:lnTo>
                    <a:pt x="83" y="137"/>
                  </a:lnTo>
                  <a:lnTo>
                    <a:pt x="85" y="137"/>
                  </a:lnTo>
                  <a:lnTo>
                    <a:pt x="87" y="139"/>
                  </a:lnTo>
                  <a:lnTo>
                    <a:pt x="87" y="141"/>
                  </a:lnTo>
                  <a:lnTo>
                    <a:pt x="85" y="143"/>
                  </a:lnTo>
                  <a:lnTo>
                    <a:pt x="83" y="146"/>
                  </a:lnTo>
                  <a:lnTo>
                    <a:pt x="85" y="152"/>
                  </a:lnTo>
                  <a:lnTo>
                    <a:pt x="85" y="154"/>
                  </a:lnTo>
                  <a:lnTo>
                    <a:pt x="85" y="156"/>
                  </a:lnTo>
                  <a:lnTo>
                    <a:pt x="87" y="158"/>
                  </a:lnTo>
                  <a:lnTo>
                    <a:pt x="87" y="160"/>
                  </a:lnTo>
                  <a:lnTo>
                    <a:pt x="87" y="162"/>
                  </a:lnTo>
                  <a:lnTo>
                    <a:pt x="85" y="162"/>
                  </a:lnTo>
                  <a:lnTo>
                    <a:pt x="85" y="164"/>
                  </a:lnTo>
                  <a:lnTo>
                    <a:pt x="85" y="166"/>
                  </a:lnTo>
                  <a:lnTo>
                    <a:pt x="85" y="168"/>
                  </a:lnTo>
                  <a:lnTo>
                    <a:pt x="87" y="168"/>
                  </a:lnTo>
                  <a:lnTo>
                    <a:pt x="89" y="168"/>
                  </a:lnTo>
                  <a:lnTo>
                    <a:pt x="92" y="168"/>
                  </a:lnTo>
                  <a:lnTo>
                    <a:pt x="94" y="169"/>
                  </a:lnTo>
                  <a:lnTo>
                    <a:pt x="94" y="171"/>
                  </a:lnTo>
                  <a:lnTo>
                    <a:pt x="94" y="173"/>
                  </a:lnTo>
                  <a:lnTo>
                    <a:pt x="94" y="175"/>
                  </a:lnTo>
                  <a:lnTo>
                    <a:pt x="94" y="177"/>
                  </a:lnTo>
                  <a:lnTo>
                    <a:pt x="92" y="179"/>
                  </a:lnTo>
                  <a:lnTo>
                    <a:pt x="90" y="179"/>
                  </a:lnTo>
                  <a:lnTo>
                    <a:pt x="90" y="181"/>
                  </a:lnTo>
                  <a:lnTo>
                    <a:pt x="92" y="183"/>
                  </a:lnTo>
                  <a:lnTo>
                    <a:pt x="92" y="185"/>
                  </a:lnTo>
                  <a:lnTo>
                    <a:pt x="92" y="187"/>
                  </a:lnTo>
                  <a:lnTo>
                    <a:pt x="94" y="189"/>
                  </a:lnTo>
                  <a:lnTo>
                    <a:pt x="98" y="193"/>
                  </a:lnTo>
                  <a:lnTo>
                    <a:pt x="102" y="196"/>
                  </a:lnTo>
                  <a:lnTo>
                    <a:pt x="104" y="200"/>
                  </a:lnTo>
                  <a:lnTo>
                    <a:pt x="106" y="202"/>
                  </a:lnTo>
                  <a:lnTo>
                    <a:pt x="106" y="204"/>
                  </a:lnTo>
                  <a:lnTo>
                    <a:pt x="104" y="204"/>
                  </a:lnTo>
                  <a:lnTo>
                    <a:pt x="104" y="208"/>
                  </a:lnTo>
                  <a:lnTo>
                    <a:pt x="104" y="212"/>
                  </a:lnTo>
                  <a:lnTo>
                    <a:pt x="104" y="216"/>
                  </a:lnTo>
                  <a:lnTo>
                    <a:pt x="104" y="218"/>
                  </a:lnTo>
                  <a:lnTo>
                    <a:pt x="104" y="219"/>
                  </a:lnTo>
                  <a:lnTo>
                    <a:pt x="102" y="223"/>
                  </a:lnTo>
                  <a:lnTo>
                    <a:pt x="100" y="225"/>
                  </a:lnTo>
                  <a:lnTo>
                    <a:pt x="100" y="229"/>
                  </a:lnTo>
                  <a:lnTo>
                    <a:pt x="100" y="233"/>
                  </a:lnTo>
                  <a:lnTo>
                    <a:pt x="102" y="237"/>
                  </a:lnTo>
                  <a:lnTo>
                    <a:pt x="104" y="241"/>
                  </a:lnTo>
                  <a:lnTo>
                    <a:pt x="108" y="242"/>
                  </a:lnTo>
                  <a:lnTo>
                    <a:pt x="110" y="244"/>
                  </a:lnTo>
                  <a:lnTo>
                    <a:pt x="112" y="248"/>
                  </a:lnTo>
                  <a:lnTo>
                    <a:pt x="113" y="250"/>
                  </a:lnTo>
                  <a:lnTo>
                    <a:pt x="115" y="254"/>
                  </a:lnTo>
                  <a:lnTo>
                    <a:pt x="117" y="256"/>
                  </a:lnTo>
                  <a:lnTo>
                    <a:pt x="117" y="258"/>
                  </a:lnTo>
                  <a:lnTo>
                    <a:pt x="115" y="262"/>
                  </a:lnTo>
                  <a:lnTo>
                    <a:pt x="119" y="264"/>
                  </a:lnTo>
                  <a:lnTo>
                    <a:pt x="119" y="262"/>
                  </a:lnTo>
                  <a:lnTo>
                    <a:pt x="121" y="262"/>
                  </a:lnTo>
                  <a:lnTo>
                    <a:pt x="123" y="264"/>
                  </a:lnTo>
                  <a:lnTo>
                    <a:pt x="125" y="264"/>
                  </a:lnTo>
                  <a:lnTo>
                    <a:pt x="127" y="262"/>
                  </a:lnTo>
                  <a:lnTo>
                    <a:pt x="127" y="260"/>
                  </a:lnTo>
                  <a:lnTo>
                    <a:pt x="129" y="258"/>
                  </a:lnTo>
                  <a:lnTo>
                    <a:pt x="129" y="256"/>
                  </a:lnTo>
                  <a:lnTo>
                    <a:pt x="129" y="254"/>
                  </a:lnTo>
                  <a:lnTo>
                    <a:pt x="131" y="254"/>
                  </a:lnTo>
                  <a:lnTo>
                    <a:pt x="131" y="252"/>
                  </a:lnTo>
                  <a:lnTo>
                    <a:pt x="131" y="250"/>
                  </a:lnTo>
                  <a:lnTo>
                    <a:pt x="131" y="248"/>
                  </a:lnTo>
                  <a:lnTo>
                    <a:pt x="131" y="250"/>
                  </a:lnTo>
                  <a:lnTo>
                    <a:pt x="133" y="250"/>
                  </a:lnTo>
                  <a:lnTo>
                    <a:pt x="133" y="252"/>
                  </a:lnTo>
                  <a:lnTo>
                    <a:pt x="133" y="254"/>
                  </a:lnTo>
                  <a:lnTo>
                    <a:pt x="133" y="256"/>
                  </a:lnTo>
                  <a:lnTo>
                    <a:pt x="131" y="258"/>
                  </a:lnTo>
                  <a:lnTo>
                    <a:pt x="131" y="260"/>
                  </a:lnTo>
                  <a:lnTo>
                    <a:pt x="131" y="262"/>
                  </a:lnTo>
                  <a:lnTo>
                    <a:pt x="131" y="264"/>
                  </a:lnTo>
                  <a:lnTo>
                    <a:pt x="129" y="264"/>
                  </a:lnTo>
                  <a:lnTo>
                    <a:pt x="129" y="266"/>
                  </a:lnTo>
                  <a:lnTo>
                    <a:pt x="131" y="266"/>
                  </a:lnTo>
                  <a:lnTo>
                    <a:pt x="131" y="267"/>
                  </a:lnTo>
                  <a:lnTo>
                    <a:pt x="131" y="266"/>
                  </a:lnTo>
                  <a:lnTo>
                    <a:pt x="133" y="267"/>
                  </a:lnTo>
                  <a:lnTo>
                    <a:pt x="133" y="269"/>
                  </a:lnTo>
                  <a:lnTo>
                    <a:pt x="135" y="269"/>
                  </a:lnTo>
                  <a:lnTo>
                    <a:pt x="135" y="267"/>
                  </a:lnTo>
                  <a:lnTo>
                    <a:pt x="135" y="269"/>
                  </a:lnTo>
                  <a:lnTo>
                    <a:pt x="137" y="269"/>
                  </a:lnTo>
                  <a:lnTo>
                    <a:pt x="140" y="269"/>
                  </a:lnTo>
                  <a:lnTo>
                    <a:pt x="142" y="269"/>
                  </a:lnTo>
                  <a:lnTo>
                    <a:pt x="144" y="269"/>
                  </a:lnTo>
                  <a:lnTo>
                    <a:pt x="144" y="271"/>
                  </a:lnTo>
                  <a:lnTo>
                    <a:pt x="146" y="273"/>
                  </a:lnTo>
                  <a:lnTo>
                    <a:pt x="148" y="271"/>
                  </a:lnTo>
                  <a:lnTo>
                    <a:pt x="148" y="273"/>
                  </a:lnTo>
                  <a:lnTo>
                    <a:pt x="150" y="275"/>
                  </a:lnTo>
                  <a:lnTo>
                    <a:pt x="152" y="277"/>
                  </a:lnTo>
                  <a:lnTo>
                    <a:pt x="154" y="279"/>
                  </a:lnTo>
                  <a:lnTo>
                    <a:pt x="154" y="281"/>
                  </a:lnTo>
                  <a:lnTo>
                    <a:pt x="154" y="283"/>
                  </a:lnTo>
                  <a:lnTo>
                    <a:pt x="152" y="281"/>
                  </a:lnTo>
                  <a:lnTo>
                    <a:pt x="152" y="283"/>
                  </a:lnTo>
                  <a:lnTo>
                    <a:pt x="154" y="285"/>
                  </a:lnTo>
                  <a:lnTo>
                    <a:pt x="154" y="287"/>
                  </a:lnTo>
                  <a:lnTo>
                    <a:pt x="154" y="285"/>
                  </a:lnTo>
                  <a:lnTo>
                    <a:pt x="156" y="287"/>
                  </a:lnTo>
                  <a:lnTo>
                    <a:pt x="154" y="287"/>
                  </a:lnTo>
                  <a:lnTo>
                    <a:pt x="152" y="287"/>
                  </a:lnTo>
                  <a:lnTo>
                    <a:pt x="152" y="289"/>
                  </a:lnTo>
                  <a:lnTo>
                    <a:pt x="154" y="289"/>
                  </a:lnTo>
                  <a:lnTo>
                    <a:pt x="152" y="291"/>
                  </a:lnTo>
                  <a:lnTo>
                    <a:pt x="154" y="291"/>
                  </a:lnTo>
                  <a:lnTo>
                    <a:pt x="154" y="292"/>
                  </a:lnTo>
                  <a:lnTo>
                    <a:pt x="154" y="294"/>
                  </a:lnTo>
                  <a:lnTo>
                    <a:pt x="156" y="294"/>
                  </a:lnTo>
                  <a:lnTo>
                    <a:pt x="154" y="294"/>
                  </a:lnTo>
                  <a:lnTo>
                    <a:pt x="154" y="296"/>
                  </a:lnTo>
                  <a:lnTo>
                    <a:pt x="154" y="298"/>
                  </a:lnTo>
                  <a:lnTo>
                    <a:pt x="158" y="300"/>
                  </a:lnTo>
                  <a:lnTo>
                    <a:pt x="158" y="302"/>
                  </a:lnTo>
                  <a:lnTo>
                    <a:pt x="160" y="304"/>
                  </a:lnTo>
                  <a:lnTo>
                    <a:pt x="158" y="306"/>
                  </a:lnTo>
                  <a:lnTo>
                    <a:pt x="160" y="306"/>
                  </a:lnTo>
                  <a:lnTo>
                    <a:pt x="162" y="306"/>
                  </a:lnTo>
                  <a:lnTo>
                    <a:pt x="162" y="308"/>
                  </a:lnTo>
                  <a:lnTo>
                    <a:pt x="160" y="308"/>
                  </a:lnTo>
                  <a:lnTo>
                    <a:pt x="158" y="308"/>
                  </a:lnTo>
                  <a:lnTo>
                    <a:pt x="156" y="308"/>
                  </a:lnTo>
                  <a:lnTo>
                    <a:pt x="156" y="306"/>
                  </a:lnTo>
                  <a:lnTo>
                    <a:pt x="154" y="306"/>
                  </a:lnTo>
                  <a:lnTo>
                    <a:pt x="154" y="308"/>
                  </a:lnTo>
                  <a:lnTo>
                    <a:pt x="154" y="310"/>
                  </a:lnTo>
                  <a:lnTo>
                    <a:pt x="156" y="310"/>
                  </a:lnTo>
                  <a:lnTo>
                    <a:pt x="158" y="312"/>
                  </a:lnTo>
                  <a:lnTo>
                    <a:pt x="160" y="312"/>
                  </a:lnTo>
                  <a:lnTo>
                    <a:pt x="160" y="314"/>
                  </a:lnTo>
                  <a:lnTo>
                    <a:pt x="160" y="316"/>
                  </a:lnTo>
                  <a:lnTo>
                    <a:pt x="158" y="316"/>
                  </a:lnTo>
                  <a:lnTo>
                    <a:pt x="156" y="316"/>
                  </a:lnTo>
                  <a:lnTo>
                    <a:pt x="158" y="314"/>
                  </a:lnTo>
                  <a:lnTo>
                    <a:pt x="156" y="314"/>
                  </a:lnTo>
                  <a:lnTo>
                    <a:pt x="154" y="314"/>
                  </a:lnTo>
                  <a:lnTo>
                    <a:pt x="154" y="312"/>
                  </a:lnTo>
                  <a:lnTo>
                    <a:pt x="154" y="314"/>
                  </a:lnTo>
                  <a:lnTo>
                    <a:pt x="152" y="312"/>
                  </a:lnTo>
                  <a:lnTo>
                    <a:pt x="150" y="312"/>
                  </a:lnTo>
                  <a:lnTo>
                    <a:pt x="148" y="314"/>
                  </a:lnTo>
                  <a:lnTo>
                    <a:pt x="146" y="314"/>
                  </a:lnTo>
                  <a:lnTo>
                    <a:pt x="146" y="316"/>
                  </a:lnTo>
                  <a:lnTo>
                    <a:pt x="144" y="316"/>
                  </a:lnTo>
                  <a:lnTo>
                    <a:pt x="142" y="316"/>
                  </a:lnTo>
                  <a:lnTo>
                    <a:pt x="142" y="317"/>
                  </a:lnTo>
                  <a:lnTo>
                    <a:pt x="140" y="317"/>
                  </a:lnTo>
                  <a:lnTo>
                    <a:pt x="140" y="321"/>
                  </a:lnTo>
                  <a:lnTo>
                    <a:pt x="140" y="319"/>
                  </a:lnTo>
                  <a:lnTo>
                    <a:pt x="138" y="321"/>
                  </a:lnTo>
                  <a:lnTo>
                    <a:pt x="138" y="323"/>
                  </a:lnTo>
                  <a:lnTo>
                    <a:pt x="138" y="325"/>
                  </a:lnTo>
                  <a:lnTo>
                    <a:pt x="138" y="327"/>
                  </a:lnTo>
                  <a:lnTo>
                    <a:pt x="137" y="327"/>
                  </a:lnTo>
                  <a:lnTo>
                    <a:pt x="135" y="329"/>
                  </a:lnTo>
                  <a:lnTo>
                    <a:pt x="135" y="331"/>
                  </a:lnTo>
                  <a:lnTo>
                    <a:pt x="135" y="333"/>
                  </a:lnTo>
                  <a:lnTo>
                    <a:pt x="135" y="335"/>
                  </a:lnTo>
                  <a:lnTo>
                    <a:pt x="135" y="337"/>
                  </a:lnTo>
                  <a:lnTo>
                    <a:pt x="135" y="339"/>
                  </a:lnTo>
                  <a:lnTo>
                    <a:pt x="133" y="339"/>
                  </a:lnTo>
                  <a:lnTo>
                    <a:pt x="131" y="339"/>
                  </a:lnTo>
                  <a:lnTo>
                    <a:pt x="133" y="339"/>
                  </a:lnTo>
                  <a:lnTo>
                    <a:pt x="131" y="340"/>
                  </a:lnTo>
                  <a:lnTo>
                    <a:pt x="131" y="342"/>
                  </a:lnTo>
                  <a:lnTo>
                    <a:pt x="129" y="344"/>
                  </a:lnTo>
                  <a:lnTo>
                    <a:pt x="127" y="346"/>
                  </a:lnTo>
                  <a:lnTo>
                    <a:pt x="127" y="348"/>
                  </a:lnTo>
                  <a:lnTo>
                    <a:pt x="125" y="350"/>
                  </a:lnTo>
                  <a:lnTo>
                    <a:pt x="125" y="352"/>
                  </a:lnTo>
                  <a:lnTo>
                    <a:pt x="125" y="354"/>
                  </a:lnTo>
                  <a:lnTo>
                    <a:pt x="123" y="354"/>
                  </a:lnTo>
                  <a:lnTo>
                    <a:pt x="123" y="356"/>
                  </a:lnTo>
                  <a:lnTo>
                    <a:pt x="121" y="358"/>
                  </a:lnTo>
                  <a:lnTo>
                    <a:pt x="119" y="358"/>
                  </a:lnTo>
                  <a:lnTo>
                    <a:pt x="119" y="360"/>
                  </a:lnTo>
                  <a:lnTo>
                    <a:pt x="119" y="362"/>
                  </a:lnTo>
                  <a:lnTo>
                    <a:pt x="119" y="364"/>
                  </a:lnTo>
                  <a:lnTo>
                    <a:pt x="117" y="365"/>
                  </a:lnTo>
                  <a:lnTo>
                    <a:pt x="115" y="367"/>
                  </a:lnTo>
                  <a:lnTo>
                    <a:pt x="117" y="369"/>
                  </a:lnTo>
                  <a:lnTo>
                    <a:pt x="117" y="367"/>
                  </a:lnTo>
                  <a:lnTo>
                    <a:pt x="117" y="369"/>
                  </a:lnTo>
                  <a:lnTo>
                    <a:pt x="117" y="371"/>
                  </a:lnTo>
                  <a:lnTo>
                    <a:pt x="115" y="371"/>
                  </a:lnTo>
                  <a:lnTo>
                    <a:pt x="113" y="371"/>
                  </a:lnTo>
                  <a:lnTo>
                    <a:pt x="112" y="369"/>
                  </a:lnTo>
                  <a:lnTo>
                    <a:pt x="112" y="371"/>
                  </a:lnTo>
                  <a:lnTo>
                    <a:pt x="112" y="375"/>
                  </a:lnTo>
                  <a:lnTo>
                    <a:pt x="112" y="377"/>
                  </a:lnTo>
                  <a:lnTo>
                    <a:pt x="112" y="379"/>
                  </a:lnTo>
                  <a:lnTo>
                    <a:pt x="108" y="381"/>
                  </a:lnTo>
                  <a:lnTo>
                    <a:pt x="106" y="381"/>
                  </a:lnTo>
                  <a:lnTo>
                    <a:pt x="104" y="383"/>
                  </a:lnTo>
                  <a:lnTo>
                    <a:pt x="102" y="385"/>
                  </a:lnTo>
                  <a:lnTo>
                    <a:pt x="98" y="385"/>
                  </a:lnTo>
                  <a:lnTo>
                    <a:pt x="96" y="385"/>
                  </a:lnTo>
                  <a:lnTo>
                    <a:pt x="94" y="387"/>
                  </a:lnTo>
                  <a:lnTo>
                    <a:pt x="94" y="390"/>
                  </a:lnTo>
                  <a:lnTo>
                    <a:pt x="94" y="394"/>
                  </a:lnTo>
                  <a:lnTo>
                    <a:pt x="92" y="396"/>
                  </a:lnTo>
                  <a:lnTo>
                    <a:pt x="90" y="396"/>
                  </a:lnTo>
                  <a:lnTo>
                    <a:pt x="90" y="398"/>
                  </a:lnTo>
                  <a:lnTo>
                    <a:pt x="90" y="400"/>
                  </a:lnTo>
                  <a:lnTo>
                    <a:pt x="89" y="402"/>
                  </a:lnTo>
                  <a:lnTo>
                    <a:pt x="90" y="402"/>
                  </a:lnTo>
                  <a:lnTo>
                    <a:pt x="90" y="404"/>
                  </a:lnTo>
                  <a:lnTo>
                    <a:pt x="90" y="406"/>
                  </a:lnTo>
                  <a:lnTo>
                    <a:pt x="89" y="408"/>
                  </a:lnTo>
                  <a:lnTo>
                    <a:pt x="87" y="408"/>
                  </a:lnTo>
                  <a:lnTo>
                    <a:pt x="87" y="406"/>
                  </a:lnTo>
                  <a:lnTo>
                    <a:pt x="87" y="404"/>
                  </a:lnTo>
                  <a:lnTo>
                    <a:pt x="85" y="404"/>
                  </a:lnTo>
                  <a:lnTo>
                    <a:pt x="85" y="408"/>
                  </a:lnTo>
                  <a:lnTo>
                    <a:pt x="87" y="408"/>
                  </a:lnTo>
                  <a:lnTo>
                    <a:pt x="87" y="410"/>
                  </a:lnTo>
                  <a:lnTo>
                    <a:pt x="89" y="412"/>
                  </a:lnTo>
                  <a:lnTo>
                    <a:pt x="87" y="410"/>
                  </a:lnTo>
                  <a:lnTo>
                    <a:pt x="85" y="410"/>
                  </a:lnTo>
                  <a:lnTo>
                    <a:pt x="83" y="410"/>
                  </a:lnTo>
                  <a:lnTo>
                    <a:pt x="83" y="412"/>
                  </a:lnTo>
                  <a:lnTo>
                    <a:pt x="83" y="414"/>
                  </a:lnTo>
                  <a:lnTo>
                    <a:pt x="85" y="414"/>
                  </a:lnTo>
                  <a:lnTo>
                    <a:pt x="87" y="415"/>
                  </a:lnTo>
                  <a:lnTo>
                    <a:pt x="87" y="417"/>
                  </a:lnTo>
                  <a:lnTo>
                    <a:pt x="89" y="419"/>
                  </a:lnTo>
                  <a:lnTo>
                    <a:pt x="87" y="421"/>
                  </a:lnTo>
                  <a:lnTo>
                    <a:pt x="87" y="419"/>
                  </a:lnTo>
                  <a:lnTo>
                    <a:pt x="85" y="417"/>
                  </a:lnTo>
                  <a:lnTo>
                    <a:pt x="83" y="419"/>
                  </a:lnTo>
                  <a:lnTo>
                    <a:pt x="81" y="419"/>
                  </a:lnTo>
                  <a:lnTo>
                    <a:pt x="79" y="419"/>
                  </a:lnTo>
                  <a:lnTo>
                    <a:pt x="79" y="421"/>
                  </a:lnTo>
                  <a:lnTo>
                    <a:pt x="81" y="423"/>
                  </a:lnTo>
                  <a:lnTo>
                    <a:pt x="83" y="423"/>
                  </a:lnTo>
                  <a:lnTo>
                    <a:pt x="83" y="425"/>
                  </a:lnTo>
                  <a:lnTo>
                    <a:pt x="81" y="425"/>
                  </a:lnTo>
                  <a:lnTo>
                    <a:pt x="79" y="425"/>
                  </a:lnTo>
                  <a:lnTo>
                    <a:pt x="77" y="423"/>
                  </a:lnTo>
                  <a:lnTo>
                    <a:pt x="77" y="425"/>
                  </a:lnTo>
                  <a:lnTo>
                    <a:pt x="75" y="423"/>
                  </a:lnTo>
                  <a:lnTo>
                    <a:pt x="73" y="423"/>
                  </a:lnTo>
                  <a:lnTo>
                    <a:pt x="71" y="425"/>
                  </a:lnTo>
                  <a:lnTo>
                    <a:pt x="69" y="427"/>
                  </a:lnTo>
                  <a:lnTo>
                    <a:pt x="67" y="427"/>
                  </a:lnTo>
                  <a:lnTo>
                    <a:pt x="65" y="427"/>
                  </a:lnTo>
                  <a:lnTo>
                    <a:pt x="65" y="425"/>
                  </a:lnTo>
                  <a:lnTo>
                    <a:pt x="65" y="423"/>
                  </a:lnTo>
                  <a:lnTo>
                    <a:pt x="64" y="425"/>
                  </a:lnTo>
                  <a:lnTo>
                    <a:pt x="64" y="427"/>
                  </a:lnTo>
                  <a:lnTo>
                    <a:pt x="64" y="429"/>
                  </a:lnTo>
                  <a:lnTo>
                    <a:pt x="65" y="429"/>
                  </a:lnTo>
                  <a:lnTo>
                    <a:pt x="65" y="431"/>
                  </a:lnTo>
                  <a:lnTo>
                    <a:pt x="64" y="433"/>
                  </a:lnTo>
                  <a:lnTo>
                    <a:pt x="65" y="433"/>
                  </a:lnTo>
                  <a:lnTo>
                    <a:pt x="67" y="435"/>
                  </a:lnTo>
                  <a:lnTo>
                    <a:pt x="65" y="437"/>
                  </a:lnTo>
                  <a:lnTo>
                    <a:pt x="64" y="437"/>
                  </a:lnTo>
                  <a:lnTo>
                    <a:pt x="62" y="438"/>
                  </a:lnTo>
                  <a:lnTo>
                    <a:pt x="62" y="440"/>
                  </a:lnTo>
                  <a:lnTo>
                    <a:pt x="64" y="440"/>
                  </a:lnTo>
                  <a:lnTo>
                    <a:pt x="65" y="440"/>
                  </a:lnTo>
                  <a:lnTo>
                    <a:pt x="65" y="442"/>
                  </a:lnTo>
                  <a:lnTo>
                    <a:pt x="64" y="444"/>
                  </a:lnTo>
                  <a:lnTo>
                    <a:pt x="64" y="446"/>
                  </a:lnTo>
                  <a:lnTo>
                    <a:pt x="62" y="446"/>
                  </a:lnTo>
                  <a:lnTo>
                    <a:pt x="62" y="444"/>
                  </a:lnTo>
                  <a:lnTo>
                    <a:pt x="62" y="446"/>
                  </a:lnTo>
                  <a:lnTo>
                    <a:pt x="64" y="446"/>
                  </a:lnTo>
                  <a:lnTo>
                    <a:pt x="64" y="448"/>
                  </a:lnTo>
                  <a:lnTo>
                    <a:pt x="62" y="450"/>
                  </a:lnTo>
                  <a:lnTo>
                    <a:pt x="60" y="450"/>
                  </a:lnTo>
                  <a:lnTo>
                    <a:pt x="60" y="448"/>
                  </a:lnTo>
                  <a:lnTo>
                    <a:pt x="58" y="446"/>
                  </a:lnTo>
                  <a:lnTo>
                    <a:pt x="56" y="444"/>
                  </a:lnTo>
                  <a:lnTo>
                    <a:pt x="56" y="442"/>
                  </a:lnTo>
                  <a:lnTo>
                    <a:pt x="54" y="442"/>
                  </a:lnTo>
                  <a:lnTo>
                    <a:pt x="56" y="444"/>
                  </a:lnTo>
                  <a:lnTo>
                    <a:pt x="56" y="446"/>
                  </a:lnTo>
                  <a:lnTo>
                    <a:pt x="58" y="448"/>
                  </a:lnTo>
                  <a:lnTo>
                    <a:pt x="58" y="450"/>
                  </a:lnTo>
                  <a:lnTo>
                    <a:pt x="60" y="450"/>
                  </a:lnTo>
                  <a:lnTo>
                    <a:pt x="58" y="452"/>
                  </a:lnTo>
                  <a:lnTo>
                    <a:pt x="58" y="454"/>
                  </a:lnTo>
                  <a:lnTo>
                    <a:pt x="56" y="454"/>
                  </a:lnTo>
                  <a:lnTo>
                    <a:pt x="56" y="456"/>
                  </a:lnTo>
                  <a:lnTo>
                    <a:pt x="56" y="458"/>
                  </a:lnTo>
                  <a:lnTo>
                    <a:pt x="58" y="458"/>
                  </a:lnTo>
                  <a:lnTo>
                    <a:pt x="58" y="460"/>
                  </a:lnTo>
                  <a:lnTo>
                    <a:pt x="56" y="460"/>
                  </a:lnTo>
                  <a:lnTo>
                    <a:pt x="56" y="462"/>
                  </a:lnTo>
                  <a:lnTo>
                    <a:pt x="56" y="463"/>
                  </a:lnTo>
                  <a:lnTo>
                    <a:pt x="56" y="465"/>
                  </a:lnTo>
                  <a:lnTo>
                    <a:pt x="56" y="467"/>
                  </a:lnTo>
                  <a:lnTo>
                    <a:pt x="56" y="465"/>
                  </a:lnTo>
                  <a:lnTo>
                    <a:pt x="58" y="463"/>
                  </a:lnTo>
                  <a:lnTo>
                    <a:pt x="58" y="465"/>
                  </a:lnTo>
                  <a:lnTo>
                    <a:pt x="58" y="467"/>
                  </a:lnTo>
                  <a:lnTo>
                    <a:pt x="58" y="469"/>
                  </a:lnTo>
                  <a:lnTo>
                    <a:pt x="58" y="471"/>
                  </a:lnTo>
                  <a:lnTo>
                    <a:pt x="58" y="473"/>
                  </a:lnTo>
                  <a:lnTo>
                    <a:pt x="58" y="475"/>
                  </a:lnTo>
                  <a:lnTo>
                    <a:pt x="60" y="475"/>
                  </a:lnTo>
                  <a:lnTo>
                    <a:pt x="62" y="475"/>
                  </a:lnTo>
                  <a:lnTo>
                    <a:pt x="62" y="477"/>
                  </a:lnTo>
                  <a:lnTo>
                    <a:pt x="62" y="479"/>
                  </a:lnTo>
                  <a:lnTo>
                    <a:pt x="62" y="481"/>
                  </a:lnTo>
                  <a:lnTo>
                    <a:pt x="62" y="483"/>
                  </a:lnTo>
                  <a:lnTo>
                    <a:pt x="62" y="481"/>
                  </a:lnTo>
                  <a:lnTo>
                    <a:pt x="62" y="479"/>
                  </a:lnTo>
                  <a:lnTo>
                    <a:pt x="64" y="477"/>
                  </a:lnTo>
                  <a:lnTo>
                    <a:pt x="64" y="473"/>
                  </a:lnTo>
                  <a:lnTo>
                    <a:pt x="64" y="475"/>
                  </a:lnTo>
                  <a:lnTo>
                    <a:pt x="64" y="477"/>
                  </a:lnTo>
                  <a:lnTo>
                    <a:pt x="64" y="479"/>
                  </a:lnTo>
                  <a:lnTo>
                    <a:pt x="64" y="481"/>
                  </a:lnTo>
                  <a:lnTo>
                    <a:pt x="65" y="479"/>
                  </a:lnTo>
                  <a:lnTo>
                    <a:pt x="65" y="483"/>
                  </a:lnTo>
                  <a:lnTo>
                    <a:pt x="64" y="483"/>
                  </a:lnTo>
                  <a:lnTo>
                    <a:pt x="64" y="485"/>
                  </a:lnTo>
                  <a:lnTo>
                    <a:pt x="65" y="485"/>
                  </a:lnTo>
                  <a:lnTo>
                    <a:pt x="65" y="487"/>
                  </a:lnTo>
                  <a:lnTo>
                    <a:pt x="65" y="488"/>
                  </a:lnTo>
                  <a:lnTo>
                    <a:pt x="65" y="487"/>
                  </a:lnTo>
                  <a:lnTo>
                    <a:pt x="67" y="488"/>
                  </a:lnTo>
                  <a:lnTo>
                    <a:pt x="67" y="490"/>
                  </a:lnTo>
                  <a:lnTo>
                    <a:pt x="65" y="492"/>
                  </a:lnTo>
                  <a:lnTo>
                    <a:pt x="65" y="494"/>
                  </a:lnTo>
                  <a:lnTo>
                    <a:pt x="65" y="496"/>
                  </a:lnTo>
                  <a:lnTo>
                    <a:pt x="65" y="498"/>
                  </a:lnTo>
                  <a:lnTo>
                    <a:pt x="65" y="500"/>
                  </a:lnTo>
                  <a:lnTo>
                    <a:pt x="65" y="504"/>
                  </a:lnTo>
                  <a:lnTo>
                    <a:pt x="67" y="502"/>
                  </a:lnTo>
                  <a:lnTo>
                    <a:pt x="67" y="504"/>
                  </a:lnTo>
                  <a:lnTo>
                    <a:pt x="67" y="506"/>
                  </a:lnTo>
                  <a:lnTo>
                    <a:pt x="236" y="223"/>
                  </a:lnTo>
                  <a:lnTo>
                    <a:pt x="235" y="225"/>
                  </a:lnTo>
                  <a:lnTo>
                    <a:pt x="229" y="225"/>
                  </a:lnTo>
                  <a:lnTo>
                    <a:pt x="231" y="223"/>
                  </a:lnTo>
                  <a:lnTo>
                    <a:pt x="233" y="223"/>
                  </a:lnTo>
                  <a:lnTo>
                    <a:pt x="236" y="221"/>
                  </a:lnTo>
                  <a:lnTo>
                    <a:pt x="233" y="221"/>
                  </a:lnTo>
                  <a:lnTo>
                    <a:pt x="235" y="219"/>
                  </a:lnTo>
                  <a:lnTo>
                    <a:pt x="235" y="218"/>
                  </a:lnTo>
                  <a:lnTo>
                    <a:pt x="238" y="218"/>
                  </a:lnTo>
                  <a:lnTo>
                    <a:pt x="238" y="216"/>
                  </a:lnTo>
                  <a:lnTo>
                    <a:pt x="240" y="216"/>
                  </a:lnTo>
                  <a:lnTo>
                    <a:pt x="242" y="214"/>
                  </a:lnTo>
                  <a:lnTo>
                    <a:pt x="238" y="214"/>
                  </a:lnTo>
                  <a:lnTo>
                    <a:pt x="238" y="212"/>
                  </a:lnTo>
                  <a:lnTo>
                    <a:pt x="240" y="212"/>
                  </a:lnTo>
                  <a:lnTo>
                    <a:pt x="244" y="214"/>
                  </a:lnTo>
                  <a:lnTo>
                    <a:pt x="244" y="216"/>
                  </a:lnTo>
                  <a:lnTo>
                    <a:pt x="242" y="216"/>
                  </a:lnTo>
                  <a:lnTo>
                    <a:pt x="242" y="218"/>
                  </a:lnTo>
                  <a:lnTo>
                    <a:pt x="240" y="218"/>
                  </a:lnTo>
                  <a:lnTo>
                    <a:pt x="238" y="219"/>
                  </a:lnTo>
                  <a:lnTo>
                    <a:pt x="238" y="221"/>
                  </a:lnTo>
                  <a:lnTo>
                    <a:pt x="236" y="223"/>
                  </a:lnTo>
                  <a:lnTo>
                    <a:pt x="67" y="506"/>
                  </a:lnTo>
                  <a:lnTo>
                    <a:pt x="236" y="227"/>
                  </a:lnTo>
                  <a:lnTo>
                    <a:pt x="235" y="227"/>
                  </a:lnTo>
                  <a:lnTo>
                    <a:pt x="233" y="227"/>
                  </a:lnTo>
                  <a:lnTo>
                    <a:pt x="229" y="229"/>
                  </a:lnTo>
                  <a:lnTo>
                    <a:pt x="233" y="229"/>
                  </a:lnTo>
                  <a:lnTo>
                    <a:pt x="229" y="229"/>
                  </a:lnTo>
                  <a:lnTo>
                    <a:pt x="225" y="229"/>
                  </a:lnTo>
                  <a:lnTo>
                    <a:pt x="223" y="231"/>
                  </a:lnTo>
                  <a:lnTo>
                    <a:pt x="221" y="229"/>
                  </a:lnTo>
                  <a:lnTo>
                    <a:pt x="223" y="227"/>
                  </a:lnTo>
                  <a:lnTo>
                    <a:pt x="225" y="227"/>
                  </a:lnTo>
                  <a:lnTo>
                    <a:pt x="229" y="225"/>
                  </a:lnTo>
                  <a:lnTo>
                    <a:pt x="229" y="227"/>
                  </a:lnTo>
                  <a:lnTo>
                    <a:pt x="235" y="225"/>
                  </a:lnTo>
                  <a:lnTo>
                    <a:pt x="238" y="225"/>
                  </a:lnTo>
                  <a:lnTo>
                    <a:pt x="236" y="227"/>
                  </a:lnTo>
                  <a:lnTo>
                    <a:pt x="67" y="50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407" name="Freeform 195"/>
            <p:cNvSpPr>
              <a:spLocks/>
            </p:cNvSpPr>
            <p:nvPr/>
          </p:nvSpPr>
          <p:spPr bwMode="auto">
            <a:xfrm>
              <a:off x="2748" y="1279"/>
              <a:ext cx="358" cy="634"/>
            </a:xfrm>
            <a:custGeom>
              <a:avLst/>
              <a:gdLst>
                <a:gd name="T0" fmla="*/ 75 w 358"/>
                <a:gd name="T1" fmla="*/ 519 h 634"/>
                <a:gd name="T2" fmla="*/ 79 w 358"/>
                <a:gd name="T3" fmla="*/ 533 h 634"/>
                <a:gd name="T4" fmla="*/ 77 w 358"/>
                <a:gd name="T5" fmla="*/ 548 h 634"/>
                <a:gd name="T6" fmla="*/ 75 w 358"/>
                <a:gd name="T7" fmla="*/ 565 h 634"/>
                <a:gd name="T8" fmla="*/ 75 w 358"/>
                <a:gd name="T9" fmla="*/ 575 h 634"/>
                <a:gd name="T10" fmla="*/ 81 w 358"/>
                <a:gd name="T11" fmla="*/ 592 h 634"/>
                <a:gd name="T12" fmla="*/ 83 w 358"/>
                <a:gd name="T13" fmla="*/ 596 h 634"/>
                <a:gd name="T14" fmla="*/ 92 w 358"/>
                <a:gd name="T15" fmla="*/ 600 h 634"/>
                <a:gd name="T16" fmla="*/ 110 w 358"/>
                <a:gd name="T17" fmla="*/ 604 h 634"/>
                <a:gd name="T18" fmla="*/ 115 w 358"/>
                <a:gd name="T19" fmla="*/ 602 h 634"/>
                <a:gd name="T20" fmla="*/ 115 w 358"/>
                <a:gd name="T21" fmla="*/ 615 h 634"/>
                <a:gd name="T22" fmla="*/ 127 w 358"/>
                <a:gd name="T23" fmla="*/ 617 h 634"/>
                <a:gd name="T24" fmla="*/ 140 w 358"/>
                <a:gd name="T25" fmla="*/ 625 h 634"/>
                <a:gd name="T26" fmla="*/ 160 w 358"/>
                <a:gd name="T27" fmla="*/ 619 h 634"/>
                <a:gd name="T28" fmla="*/ 179 w 358"/>
                <a:gd name="T29" fmla="*/ 617 h 634"/>
                <a:gd name="T30" fmla="*/ 208 w 358"/>
                <a:gd name="T31" fmla="*/ 596 h 634"/>
                <a:gd name="T32" fmla="*/ 236 w 358"/>
                <a:gd name="T33" fmla="*/ 581 h 634"/>
                <a:gd name="T34" fmla="*/ 258 w 358"/>
                <a:gd name="T35" fmla="*/ 567 h 634"/>
                <a:gd name="T36" fmla="*/ 275 w 358"/>
                <a:gd name="T37" fmla="*/ 565 h 634"/>
                <a:gd name="T38" fmla="*/ 302 w 358"/>
                <a:gd name="T39" fmla="*/ 519 h 634"/>
                <a:gd name="T40" fmla="*/ 327 w 358"/>
                <a:gd name="T41" fmla="*/ 477 h 634"/>
                <a:gd name="T42" fmla="*/ 352 w 358"/>
                <a:gd name="T43" fmla="*/ 423 h 634"/>
                <a:gd name="T44" fmla="*/ 298 w 358"/>
                <a:gd name="T45" fmla="*/ 354 h 634"/>
                <a:gd name="T46" fmla="*/ 306 w 358"/>
                <a:gd name="T47" fmla="*/ 321 h 634"/>
                <a:gd name="T48" fmla="*/ 288 w 358"/>
                <a:gd name="T49" fmla="*/ 298 h 634"/>
                <a:gd name="T50" fmla="*/ 279 w 358"/>
                <a:gd name="T51" fmla="*/ 277 h 634"/>
                <a:gd name="T52" fmla="*/ 271 w 358"/>
                <a:gd name="T53" fmla="*/ 254 h 634"/>
                <a:gd name="T54" fmla="*/ 267 w 358"/>
                <a:gd name="T55" fmla="*/ 214 h 634"/>
                <a:gd name="T56" fmla="*/ 252 w 358"/>
                <a:gd name="T57" fmla="*/ 127 h 634"/>
                <a:gd name="T58" fmla="*/ 213 w 358"/>
                <a:gd name="T59" fmla="*/ 27 h 634"/>
                <a:gd name="T60" fmla="*/ 162 w 358"/>
                <a:gd name="T61" fmla="*/ 8 h 634"/>
                <a:gd name="T62" fmla="*/ 133 w 358"/>
                <a:gd name="T63" fmla="*/ 27 h 634"/>
                <a:gd name="T64" fmla="*/ 127 w 358"/>
                <a:gd name="T65" fmla="*/ 56 h 634"/>
                <a:gd name="T66" fmla="*/ 119 w 358"/>
                <a:gd name="T67" fmla="*/ 83 h 634"/>
                <a:gd name="T68" fmla="*/ 90 w 358"/>
                <a:gd name="T69" fmla="*/ 91 h 634"/>
                <a:gd name="T70" fmla="*/ 42 w 358"/>
                <a:gd name="T71" fmla="*/ 87 h 634"/>
                <a:gd name="T72" fmla="*/ 14 w 358"/>
                <a:gd name="T73" fmla="*/ 95 h 634"/>
                <a:gd name="T74" fmla="*/ 48 w 358"/>
                <a:gd name="T75" fmla="*/ 114 h 634"/>
                <a:gd name="T76" fmla="*/ 85 w 358"/>
                <a:gd name="T77" fmla="*/ 143 h 634"/>
                <a:gd name="T78" fmla="*/ 94 w 358"/>
                <a:gd name="T79" fmla="*/ 171 h 634"/>
                <a:gd name="T80" fmla="*/ 104 w 358"/>
                <a:gd name="T81" fmla="*/ 204 h 634"/>
                <a:gd name="T82" fmla="*/ 115 w 358"/>
                <a:gd name="T83" fmla="*/ 254 h 634"/>
                <a:gd name="T84" fmla="*/ 131 w 358"/>
                <a:gd name="T85" fmla="*/ 250 h 634"/>
                <a:gd name="T86" fmla="*/ 133 w 358"/>
                <a:gd name="T87" fmla="*/ 267 h 634"/>
                <a:gd name="T88" fmla="*/ 154 w 358"/>
                <a:gd name="T89" fmla="*/ 281 h 634"/>
                <a:gd name="T90" fmla="*/ 156 w 358"/>
                <a:gd name="T91" fmla="*/ 294 h 634"/>
                <a:gd name="T92" fmla="*/ 154 w 358"/>
                <a:gd name="T93" fmla="*/ 308 h 634"/>
                <a:gd name="T94" fmla="*/ 148 w 358"/>
                <a:gd name="T95" fmla="*/ 314 h 634"/>
                <a:gd name="T96" fmla="*/ 135 w 358"/>
                <a:gd name="T97" fmla="*/ 333 h 634"/>
                <a:gd name="T98" fmla="*/ 123 w 358"/>
                <a:gd name="T99" fmla="*/ 356 h 634"/>
                <a:gd name="T100" fmla="*/ 112 w 358"/>
                <a:gd name="T101" fmla="*/ 375 h 634"/>
                <a:gd name="T102" fmla="*/ 89 w 358"/>
                <a:gd name="T103" fmla="*/ 402 h 634"/>
                <a:gd name="T104" fmla="*/ 83 w 358"/>
                <a:gd name="T105" fmla="*/ 412 h 634"/>
                <a:gd name="T106" fmla="*/ 81 w 358"/>
                <a:gd name="T107" fmla="*/ 425 h 634"/>
                <a:gd name="T108" fmla="*/ 65 w 358"/>
                <a:gd name="T109" fmla="*/ 431 h 634"/>
                <a:gd name="T110" fmla="*/ 64 w 358"/>
                <a:gd name="T111" fmla="*/ 446 h 634"/>
                <a:gd name="T112" fmla="*/ 56 w 358"/>
                <a:gd name="T113" fmla="*/ 454 h 634"/>
                <a:gd name="T114" fmla="*/ 58 w 358"/>
                <a:gd name="T115" fmla="*/ 473 h 634"/>
                <a:gd name="T116" fmla="*/ 65 w 358"/>
                <a:gd name="T117" fmla="*/ 479 h 634"/>
                <a:gd name="T118" fmla="*/ 67 w 358"/>
                <a:gd name="T119" fmla="*/ 50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634">
                  <a:moveTo>
                    <a:pt x="67" y="506"/>
                  </a:moveTo>
                  <a:lnTo>
                    <a:pt x="69" y="506"/>
                  </a:lnTo>
                  <a:lnTo>
                    <a:pt x="71" y="508"/>
                  </a:lnTo>
                  <a:lnTo>
                    <a:pt x="71" y="510"/>
                  </a:lnTo>
                  <a:lnTo>
                    <a:pt x="71" y="511"/>
                  </a:lnTo>
                  <a:lnTo>
                    <a:pt x="73" y="511"/>
                  </a:lnTo>
                  <a:lnTo>
                    <a:pt x="73" y="513"/>
                  </a:lnTo>
                  <a:lnTo>
                    <a:pt x="75" y="513"/>
                  </a:lnTo>
                  <a:lnTo>
                    <a:pt x="73" y="513"/>
                  </a:lnTo>
                  <a:lnTo>
                    <a:pt x="73" y="515"/>
                  </a:lnTo>
                  <a:lnTo>
                    <a:pt x="71" y="515"/>
                  </a:lnTo>
                  <a:lnTo>
                    <a:pt x="73" y="517"/>
                  </a:lnTo>
                  <a:lnTo>
                    <a:pt x="73" y="515"/>
                  </a:lnTo>
                  <a:lnTo>
                    <a:pt x="75" y="517"/>
                  </a:lnTo>
                  <a:lnTo>
                    <a:pt x="77" y="519"/>
                  </a:lnTo>
                  <a:lnTo>
                    <a:pt x="75" y="519"/>
                  </a:lnTo>
                  <a:lnTo>
                    <a:pt x="75" y="521"/>
                  </a:lnTo>
                  <a:lnTo>
                    <a:pt x="75" y="523"/>
                  </a:lnTo>
                  <a:lnTo>
                    <a:pt x="77" y="523"/>
                  </a:lnTo>
                  <a:lnTo>
                    <a:pt x="77" y="525"/>
                  </a:lnTo>
                  <a:lnTo>
                    <a:pt x="79" y="527"/>
                  </a:lnTo>
                  <a:lnTo>
                    <a:pt x="79" y="529"/>
                  </a:lnTo>
                  <a:lnTo>
                    <a:pt x="81" y="529"/>
                  </a:lnTo>
                  <a:lnTo>
                    <a:pt x="83" y="529"/>
                  </a:lnTo>
                  <a:lnTo>
                    <a:pt x="79" y="529"/>
                  </a:lnTo>
                  <a:lnTo>
                    <a:pt x="77" y="529"/>
                  </a:lnTo>
                  <a:lnTo>
                    <a:pt x="75" y="527"/>
                  </a:lnTo>
                  <a:lnTo>
                    <a:pt x="73" y="529"/>
                  </a:lnTo>
                  <a:lnTo>
                    <a:pt x="75" y="529"/>
                  </a:lnTo>
                  <a:lnTo>
                    <a:pt x="75" y="531"/>
                  </a:lnTo>
                  <a:lnTo>
                    <a:pt x="77" y="531"/>
                  </a:lnTo>
                  <a:lnTo>
                    <a:pt x="79" y="533"/>
                  </a:lnTo>
                  <a:lnTo>
                    <a:pt x="77" y="533"/>
                  </a:lnTo>
                  <a:lnTo>
                    <a:pt x="75" y="533"/>
                  </a:lnTo>
                  <a:lnTo>
                    <a:pt x="75" y="535"/>
                  </a:lnTo>
                  <a:lnTo>
                    <a:pt x="77" y="535"/>
                  </a:lnTo>
                  <a:lnTo>
                    <a:pt x="77" y="536"/>
                  </a:lnTo>
                  <a:lnTo>
                    <a:pt x="79" y="536"/>
                  </a:lnTo>
                  <a:lnTo>
                    <a:pt x="77" y="536"/>
                  </a:lnTo>
                  <a:lnTo>
                    <a:pt x="77" y="538"/>
                  </a:lnTo>
                  <a:lnTo>
                    <a:pt x="75" y="538"/>
                  </a:lnTo>
                  <a:lnTo>
                    <a:pt x="77" y="540"/>
                  </a:lnTo>
                  <a:lnTo>
                    <a:pt x="77" y="542"/>
                  </a:lnTo>
                  <a:lnTo>
                    <a:pt x="79" y="542"/>
                  </a:lnTo>
                  <a:lnTo>
                    <a:pt x="79" y="544"/>
                  </a:lnTo>
                  <a:lnTo>
                    <a:pt x="79" y="546"/>
                  </a:lnTo>
                  <a:lnTo>
                    <a:pt x="77" y="546"/>
                  </a:lnTo>
                  <a:lnTo>
                    <a:pt x="77" y="548"/>
                  </a:lnTo>
                  <a:lnTo>
                    <a:pt x="81" y="550"/>
                  </a:lnTo>
                  <a:lnTo>
                    <a:pt x="77" y="552"/>
                  </a:lnTo>
                  <a:lnTo>
                    <a:pt x="79" y="552"/>
                  </a:lnTo>
                  <a:lnTo>
                    <a:pt x="75" y="554"/>
                  </a:lnTo>
                  <a:lnTo>
                    <a:pt x="77" y="554"/>
                  </a:lnTo>
                  <a:lnTo>
                    <a:pt x="77" y="556"/>
                  </a:lnTo>
                  <a:lnTo>
                    <a:pt x="77" y="558"/>
                  </a:lnTo>
                  <a:lnTo>
                    <a:pt x="79" y="560"/>
                  </a:lnTo>
                  <a:lnTo>
                    <a:pt x="75" y="560"/>
                  </a:lnTo>
                  <a:lnTo>
                    <a:pt x="77" y="561"/>
                  </a:lnTo>
                  <a:lnTo>
                    <a:pt x="75" y="561"/>
                  </a:lnTo>
                  <a:lnTo>
                    <a:pt x="73" y="560"/>
                  </a:lnTo>
                  <a:lnTo>
                    <a:pt x="73" y="561"/>
                  </a:lnTo>
                  <a:lnTo>
                    <a:pt x="73" y="563"/>
                  </a:lnTo>
                  <a:lnTo>
                    <a:pt x="75" y="563"/>
                  </a:lnTo>
                  <a:lnTo>
                    <a:pt x="75" y="565"/>
                  </a:lnTo>
                  <a:lnTo>
                    <a:pt x="77" y="567"/>
                  </a:lnTo>
                  <a:lnTo>
                    <a:pt x="79" y="569"/>
                  </a:lnTo>
                  <a:lnTo>
                    <a:pt x="79" y="571"/>
                  </a:lnTo>
                  <a:lnTo>
                    <a:pt x="77" y="569"/>
                  </a:lnTo>
                  <a:lnTo>
                    <a:pt x="73" y="565"/>
                  </a:lnTo>
                  <a:lnTo>
                    <a:pt x="71" y="565"/>
                  </a:lnTo>
                  <a:lnTo>
                    <a:pt x="73" y="567"/>
                  </a:lnTo>
                  <a:lnTo>
                    <a:pt x="73" y="569"/>
                  </a:lnTo>
                  <a:lnTo>
                    <a:pt x="73" y="571"/>
                  </a:lnTo>
                  <a:lnTo>
                    <a:pt x="71" y="571"/>
                  </a:lnTo>
                  <a:lnTo>
                    <a:pt x="73" y="573"/>
                  </a:lnTo>
                  <a:lnTo>
                    <a:pt x="75" y="571"/>
                  </a:lnTo>
                  <a:lnTo>
                    <a:pt x="77" y="571"/>
                  </a:lnTo>
                  <a:lnTo>
                    <a:pt x="77" y="573"/>
                  </a:lnTo>
                  <a:lnTo>
                    <a:pt x="75" y="573"/>
                  </a:lnTo>
                  <a:lnTo>
                    <a:pt x="75" y="575"/>
                  </a:lnTo>
                  <a:lnTo>
                    <a:pt x="77" y="577"/>
                  </a:lnTo>
                  <a:lnTo>
                    <a:pt x="77" y="579"/>
                  </a:lnTo>
                  <a:lnTo>
                    <a:pt x="79" y="581"/>
                  </a:lnTo>
                  <a:lnTo>
                    <a:pt x="79" y="583"/>
                  </a:lnTo>
                  <a:lnTo>
                    <a:pt x="81" y="583"/>
                  </a:lnTo>
                  <a:lnTo>
                    <a:pt x="79" y="583"/>
                  </a:lnTo>
                  <a:lnTo>
                    <a:pt x="77" y="583"/>
                  </a:lnTo>
                  <a:lnTo>
                    <a:pt x="77" y="585"/>
                  </a:lnTo>
                  <a:lnTo>
                    <a:pt x="77" y="586"/>
                  </a:lnTo>
                  <a:lnTo>
                    <a:pt x="79" y="586"/>
                  </a:lnTo>
                  <a:lnTo>
                    <a:pt x="81" y="586"/>
                  </a:lnTo>
                  <a:lnTo>
                    <a:pt x="81" y="588"/>
                  </a:lnTo>
                  <a:lnTo>
                    <a:pt x="79" y="588"/>
                  </a:lnTo>
                  <a:lnTo>
                    <a:pt x="79" y="590"/>
                  </a:lnTo>
                  <a:lnTo>
                    <a:pt x="81" y="590"/>
                  </a:lnTo>
                  <a:lnTo>
                    <a:pt x="81" y="592"/>
                  </a:lnTo>
                  <a:lnTo>
                    <a:pt x="83" y="592"/>
                  </a:lnTo>
                  <a:lnTo>
                    <a:pt x="81" y="592"/>
                  </a:lnTo>
                  <a:lnTo>
                    <a:pt x="79" y="592"/>
                  </a:lnTo>
                  <a:lnTo>
                    <a:pt x="77" y="590"/>
                  </a:lnTo>
                  <a:lnTo>
                    <a:pt x="77" y="588"/>
                  </a:lnTo>
                  <a:lnTo>
                    <a:pt x="75" y="586"/>
                  </a:lnTo>
                  <a:lnTo>
                    <a:pt x="73" y="588"/>
                  </a:lnTo>
                  <a:lnTo>
                    <a:pt x="73" y="590"/>
                  </a:lnTo>
                  <a:lnTo>
                    <a:pt x="75" y="590"/>
                  </a:lnTo>
                  <a:lnTo>
                    <a:pt x="75" y="592"/>
                  </a:lnTo>
                  <a:lnTo>
                    <a:pt x="77" y="594"/>
                  </a:lnTo>
                  <a:lnTo>
                    <a:pt x="79" y="598"/>
                  </a:lnTo>
                  <a:lnTo>
                    <a:pt x="79" y="596"/>
                  </a:lnTo>
                  <a:lnTo>
                    <a:pt x="81" y="598"/>
                  </a:lnTo>
                  <a:lnTo>
                    <a:pt x="83" y="598"/>
                  </a:lnTo>
                  <a:lnTo>
                    <a:pt x="83" y="596"/>
                  </a:lnTo>
                  <a:lnTo>
                    <a:pt x="85" y="596"/>
                  </a:lnTo>
                  <a:lnTo>
                    <a:pt x="87" y="596"/>
                  </a:lnTo>
                  <a:lnTo>
                    <a:pt x="87" y="594"/>
                  </a:lnTo>
                  <a:lnTo>
                    <a:pt x="87" y="592"/>
                  </a:lnTo>
                  <a:lnTo>
                    <a:pt x="89" y="592"/>
                  </a:lnTo>
                  <a:lnTo>
                    <a:pt x="87" y="592"/>
                  </a:lnTo>
                  <a:lnTo>
                    <a:pt x="89" y="590"/>
                  </a:lnTo>
                  <a:lnTo>
                    <a:pt x="89" y="588"/>
                  </a:lnTo>
                  <a:lnTo>
                    <a:pt x="90" y="588"/>
                  </a:lnTo>
                  <a:lnTo>
                    <a:pt x="90" y="592"/>
                  </a:lnTo>
                  <a:lnTo>
                    <a:pt x="89" y="596"/>
                  </a:lnTo>
                  <a:lnTo>
                    <a:pt x="89" y="598"/>
                  </a:lnTo>
                  <a:lnTo>
                    <a:pt x="90" y="598"/>
                  </a:lnTo>
                  <a:lnTo>
                    <a:pt x="92" y="596"/>
                  </a:lnTo>
                  <a:lnTo>
                    <a:pt x="92" y="598"/>
                  </a:lnTo>
                  <a:lnTo>
                    <a:pt x="92" y="600"/>
                  </a:lnTo>
                  <a:lnTo>
                    <a:pt x="92" y="602"/>
                  </a:lnTo>
                  <a:lnTo>
                    <a:pt x="90" y="604"/>
                  </a:lnTo>
                  <a:lnTo>
                    <a:pt x="92" y="604"/>
                  </a:lnTo>
                  <a:lnTo>
                    <a:pt x="94" y="604"/>
                  </a:lnTo>
                  <a:lnTo>
                    <a:pt x="96" y="604"/>
                  </a:lnTo>
                  <a:lnTo>
                    <a:pt x="98" y="604"/>
                  </a:lnTo>
                  <a:lnTo>
                    <a:pt x="100" y="604"/>
                  </a:lnTo>
                  <a:lnTo>
                    <a:pt x="98" y="602"/>
                  </a:lnTo>
                  <a:lnTo>
                    <a:pt x="98" y="598"/>
                  </a:lnTo>
                  <a:lnTo>
                    <a:pt x="100" y="598"/>
                  </a:lnTo>
                  <a:lnTo>
                    <a:pt x="102" y="598"/>
                  </a:lnTo>
                  <a:lnTo>
                    <a:pt x="104" y="598"/>
                  </a:lnTo>
                  <a:lnTo>
                    <a:pt x="106" y="600"/>
                  </a:lnTo>
                  <a:lnTo>
                    <a:pt x="108" y="600"/>
                  </a:lnTo>
                  <a:lnTo>
                    <a:pt x="110" y="600"/>
                  </a:lnTo>
                  <a:lnTo>
                    <a:pt x="110" y="604"/>
                  </a:lnTo>
                  <a:lnTo>
                    <a:pt x="106" y="604"/>
                  </a:lnTo>
                  <a:lnTo>
                    <a:pt x="106" y="606"/>
                  </a:lnTo>
                  <a:lnTo>
                    <a:pt x="104" y="606"/>
                  </a:lnTo>
                  <a:lnTo>
                    <a:pt x="102" y="608"/>
                  </a:lnTo>
                  <a:lnTo>
                    <a:pt x="106" y="609"/>
                  </a:lnTo>
                  <a:lnTo>
                    <a:pt x="106" y="608"/>
                  </a:lnTo>
                  <a:lnTo>
                    <a:pt x="106" y="609"/>
                  </a:lnTo>
                  <a:lnTo>
                    <a:pt x="106" y="611"/>
                  </a:lnTo>
                  <a:lnTo>
                    <a:pt x="108" y="613"/>
                  </a:lnTo>
                  <a:lnTo>
                    <a:pt x="110" y="611"/>
                  </a:lnTo>
                  <a:lnTo>
                    <a:pt x="110" y="609"/>
                  </a:lnTo>
                  <a:lnTo>
                    <a:pt x="112" y="608"/>
                  </a:lnTo>
                  <a:lnTo>
                    <a:pt x="113" y="608"/>
                  </a:lnTo>
                  <a:lnTo>
                    <a:pt x="113" y="606"/>
                  </a:lnTo>
                  <a:lnTo>
                    <a:pt x="115" y="604"/>
                  </a:lnTo>
                  <a:lnTo>
                    <a:pt x="115" y="602"/>
                  </a:lnTo>
                  <a:lnTo>
                    <a:pt x="113" y="604"/>
                  </a:lnTo>
                  <a:lnTo>
                    <a:pt x="115" y="602"/>
                  </a:lnTo>
                  <a:lnTo>
                    <a:pt x="117" y="600"/>
                  </a:lnTo>
                  <a:lnTo>
                    <a:pt x="117" y="602"/>
                  </a:lnTo>
                  <a:lnTo>
                    <a:pt x="115" y="604"/>
                  </a:lnTo>
                  <a:lnTo>
                    <a:pt x="115" y="608"/>
                  </a:lnTo>
                  <a:lnTo>
                    <a:pt x="113" y="609"/>
                  </a:lnTo>
                  <a:lnTo>
                    <a:pt x="117" y="609"/>
                  </a:lnTo>
                  <a:lnTo>
                    <a:pt x="117" y="606"/>
                  </a:lnTo>
                  <a:lnTo>
                    <a:pt x="119" y="608"/>
                  </a:lnTo>
                  <a:lnTo>
                    <a:pt x="117" y="609"/>
                  </a:lnTo>
                  <a:lnTo>
                    <a:pt x="115" y="611"/>
                  </a:lnTo>
                  <a:lnTo>
                    <a:pt x="113" y="615"/>
                  </a:lnTo>
                  <a:lnTo>
                    <a:pt x="117" y="615"/>
                  </a:lnTo>
                  <a:lnTo>
                    <a:pt x="119" y="613"/>
                  </a:lnTo>
                  <a:lnTo>
                    <a:pt x="115" y="615"/>
                  </a:lnTo>
                  <a:lnTo>
                    <a:pt x="113" y="615"/>
                  </a:lnTo>
                  <a:lnTo>
                    <a:pt x="115" y="617"/>
                  </a:lnTo>
                  <a:lnTo>
                    <a:pt x="115" y="619"/>
                  </a:lnTo>
                  <a:lnTo>
                    <a:pt x="113" y="619"/>
                  </a:lnTo>
                  <a:lnTo>
                    <a:pt x="113" y="621"/>
                  </a:lnTo>
                  <a:lnTo>
                    <a:pt x="113" y="625"/>
                  </a:lnTo>
                  <a:lnTo>
                    <a:pt x="113" y="627"/>
                  </a:lnTo>
                  <a:lnTo>
                    <a:pt x="115" y="629"/>
                  </a:lnTo>
                  <a:lnTo>
                    <a:pt x="117" y="629"/>
                  </a:lnTo>
                  <a:lnTo>
                    <a:pt x="119" y="627"/>
                  </a:lnTo>
                  <a:lnTo>
                    <a:pt x="121" y="627"/>
                  </a:lnTo>
                  <a:lnTo>
                    <a:pt x="125" y="625"/>
                  </a:lnTo>
                  <a:lnTo>
                    <a:pt x="127" y="623"/>
                  </a:lnTo>
                  <a:lnTo>
                    <a:pt x="127" y="621"/>
                  </a:lnTo>
                  <a:lnTo>
                    <a:pt x="127" y="619"/>
                  </a:lnTo>
                  <a:lnTo>
                    <a:pt x="127" y="617"/>
                  </a:lnTo>
                  <a:lnTo>
                    <a:pt x="127" y="615"/>
                  </a:lnTo>
                  <a:lnTo>
                    <a:pt x="127" y="611"/>
                  </a:lnTo>
                  <a:lnTo>
                    <a:pt x="129" y="613"/>
                  </a:lnTo>
                  <a:lnTo>
                    <a:pt x="131" y="613"/>
                  </a:lnTo>
                  <a:lnTo>
                    <a:pt x="129" y="617"/>
                  </a:lnTo>
                  <a:lnTo>
                    <a:pt x="131" y="617"/>
                  </a:lnTo>
                  <a:lnTo>
                    <a:pt x="133" y="619"/>
                  </a:lnTo>
                  <a:lnTo>
                    <a:pt x="131" y="621"/>
                  </a:lnTo>
                  <a:lnTo>
                    <a:pt x="131" y="623"/>
                  </a:lnTo>
                  <a:lnTo>
                    <a:pt x="129" y="625"/>
                  </a:lnTo>
                  <a:lnTo>
                    <a:pt x="131" y="629"/>
                  </a:lnTo>
                  <a:lnTo>
                    <a:pt x="133" y="629"/>
                  </a:lnTo>
                  <a:lnTo>
                    <a:pt x="135" y="627"/>
                  </a:lnTo>
                  <a:lnTo>
                    <a:pt x="137" y="627"/>
                  </a:lnTo>
                  <a:lnTo>
                    <a:pt x="138" y="625"/>
                  </a:lnTo>
                  <a:lnTo>
                    <a:pt x="140" y="625"/>
                  </a:lnTo>
                  <a:lnTo>
                    <a:pt x="140" y="627"/>
                  </a:lnTo>
                  <a:lnTo>
                    <a:pt x="138" y="629"/>
                  </a:lnTo>
                  <a:lnTo>
                    <a:pt x="137" y="631"/>
                  </a:lnTo>
                  <a:lnTo>
                    <a:pt x="133" y="633"/>
                  </a:lnTo>
                  <a:lnTo>
                    <a:pt x="133" y="634"/>
                  </a:lnTo>
                  <a:lnTo>
                    <a:pt x="137" y="633"/>
                  </a:lnTo>
                  <a:lnTo>
                    <a:pt x="138" y="633"/>
                  </a:lnTo>
                  <a:lnTo>
                    <a:pt x="142" y="631"/>
                  </a:lnTo>
                  <a:lnTo>
                    <a:pt x="142" y="629"/>
                  </a:lnTo>
                  <a:lnTo>
                    <a:pt x="144" y="627"/>
                  </a:lnTo>
                  <a:lnTo>
                    <a:pt x="146" y="627"/>
                  </a:lnTo>
                  <a:lnTo>
                    <a:pt x="148" y="625"/>
                  </a:lnTo>
                  <a:lnTo>
                    <a:pt x="152" y="623"/>
                  </a:lnTo>
                  <a:lnTo>
                    <a:pt x="156" y="623"/>
                  </a:lnTo>
                  <a:lnTo>
                    <a:pt x="158" y="621"/>
                  </a:lnTo>
                  <a:lnTo>
                    <a:pt x="160" y="619"/>
                  </a:lnTo>
                  <a:lnTo>
                    <a:pt x="163" y="617"/>
                  </a:lnTo>
                  <a:lnTo>
                    <a:pt x="165" y="615"/>
                  </a:lnTo>
                  <a:lnTo>
                    <a:pt x="167" y="617"/>
                  </a:lnTo>
                  <a:lnTo>
                    <a:pt x="169" y="615"/>
                  </a:lnTo>
                  <a:lnTo>
                    <a:pt x="171" y="615"/>
                  </a:lnTo>
                  <a:lnTo>
                    <a:pt x="173" y="613"/>
                  </a:lnTo>
                  <a:lnTo>
                    <a:pt x="173" y="611"/>
                  </a:lnTo>
                  <a:lnTo>
                    <a:pt x="175" y="611"/>
                  </a:lnTo>
                  <a:lnTo>
                    <a:pt x="175" y="613"/>
                  </a:lnTo>
                  <a:lnTo>
                    <a:pt x="175" y="615"/>
                  </a:lnTo>
                  <a:lnTo>
                    <a:pt x="177" y="617"/>
                  </a:lnTo>
                  <a:lnTo>
                    <a:pt x="177" y="613"/>
                  </a:lnTo>
                  <a:lnTo>
                    <a:pt x="179" y="611"/>
                  </a:lnTo>
                  <a:lnTo>
                    <a:pt x="179" y="615"/>
                  </a:lnTo>
                  <a:lnTo>
                    <a:pt x="177" y="617"/>
                  </a:lnTo>
                  <a:lnTo>
                    <a:pt x="179" y="617"/>
                  </a:lnTo>
                  <a:lnTo>
                    <a:pt x="181" y="615"/>
                  </a:lnTo>
                  <a:lnTo>
                    <a:pt x="181" y="613"/>
                  </a:lnTo>
                  <a:lnTo>
                    <a:pt x="183" y="609"/>
                  </a:lnTo>
                  <a:lnTo>
                    <a:pt x="185" y="608"/>
                  </a:lnTo>
                  <a:lnTo>
                    <a:pt x="187" y="606"/>
                  </a:lnTo>
                  <a:lnTo>
                    <a:pt x="190" y="604"/>
                  </a:lnTo>
                  <a:lnTo>
                    <a:pt x="192" y="604"/>
                  </a:lnTo>
                  <a:lnTo>
                    <a:pt x="194" y="602"/>
                  </a:lnTo>
                  <a:lnTo>
                    <a:pt x="196" y="600"/>
                  </a:lnTo>
                  <a:lnTo>
                    <a:pt x="198" y="600"/>
                  </a:lnTo>
                  <a:lnTo>
                    <a:pt x="198" y="596"/>
                  </a:lnTo>
                  <a:lnTo>
                    <a:pt x="200" y="596"/>
                  </a:lnTo>
                  <a:lnTo>
                    <a:pt x="202" y="596"/>
                  </a:lnTo>
                  <a:lnTo>
                    <a:pt x="204" y="596"/>
                  </a:lnTo>
                  <a:lnTo>
                    <a:pt x="206" y="596"/>
                  </a:lnTo>
                  <a:lnTo>
                    <a:pt x="208" y="596"/>
                  </a:lnTo>
                  <a:lnTo>
                    <a:pt x="210" y="592"/>
                  </a:lnTo>
                  <a:lnTo>
                    <a:pt x="210" y="588"/>
                  </a:lnTo>
                  <a:lnTo>
                    <a:pt x="211" y="588"/>
                  </a:lnTo>
                  <a:lnTo>
                    <a:pt x="213" y="588"/>
                  </a:lnTo>
                  <a:lnTo>
                    <a:pt x="213" y="590"/>
                  </a:lnTo>
                  <a:lnTo>
                    <a:pt x="213" y="592"/>
                  </a:lnTo>
                  <a:lnTo>
                    <a:pt x="217" y="594"/>
                  </a:lnTo>
                  <a:lnTo>
                    <a:pt x="219" y="594"/>
                  </a:lnTo>
                  <a:lnTo>
                    <a:pt x="221" y="592"/>
                  </a:lnTo>
                  <a:lnTo>
                    <a:pt x="223" y="592"/>
                  </a:lnTo>
                  <a:lnTo>
                    <a:pt x="225" y="590"/>
                  </a:lnTo>
                  <a:lnTo>
                    <a:pt x="227" y="590"/>
                  </a:lnTo>
                  <a:lnTo>
                    <a:pt x="229" y="588"/>
                  </a:lnTo>
                  <a:lnTo>
                    <a:pt x="229" y="586"/>
                  </a:lnTo>
                  <a:lnTo>
                    <a:pt x="231" y="583"/>
                  </a:lnTo>
                  <a:lnTo>
                    <a:pt x="236" y="581"/>
                  </a:lnTo>
                  <a:lnTo>
                    <a:pt x="242" y="581"/>
                  </a:lnTo>
                  <a:lnTo>
                    <a:pt x="242" y="579"/>
                  </a:lnTo>
                  <a:lnTo>
                    <a:pt x="244" y="579"/>
                  </a:lnTo>
                  <a:lnTo>
                    <a:pt x="244" y="577"/>
                  </a:lnTo>
                  <a:lnTo>
                    <a:pt x="244" y="575"/>
                  </a:lnTo>
                  <a:lnTo>
                    <a:pt x="248" y="573"/>
                  </a:lnTo>
                  <a:lnTo>
                    <a:pt x="250" y="573"/>
                  </a:lnTo>
                  <a:lnTo>
                    <a:pt x="252" y="577"/>
                  </a:lnTo>
                  <a:lnTo>
                    <a:pt x="256" y="579"/>
                  </a:lnTo>
                  <a:lnTo>
                    <a:pt x="254" y="577"/>
                  </a:lnTo>
                  <a:lnTo>
                    <a:pt x="254" y="575"/>
                  </a:lnTo>
                  <a:lnTo>
                    <a:pt x="252" y="573"/>
                  </a:lnTo>
                  <a:lnTo>
                    <a:pt x="252" y="571"/>
                  </a:lnTo>
                  <a:lnTo>
                    <a:pt x="254" y="569"/>
                  </a:lnTo>
                  <a:lnTo>
                    <a:pt x="256" y="569"/>
                  </a:lnTo>
                  <a:lnTo>
                    <a:pt x="258" y="567"/>
                  </a:lnTo>
                  <a:lnTo>
                    <a:pt x="260" y="569"/>
                  </a:lnTo>
                  <a:lnTo>
                    <a:pt x="261" y="569"/>
                  </a:lnTo>
                  <a:lnTo>
                    <a:pt x="263" y="569"/>
                  </a:lnTo>
                  <a:lnTo>
                    <a:pt x="265" y="571"/>
                  </a:lnTo>
                  <a:lnTo>
                    <a:pt x="267" y="571"/>
                  </a:lnTo>
                  <a:lnTo>
                    <a:pt x="265" y="569"/>
                  </a:lnTo>
                  <a:lnTo>
                    <a:pt x="267" y="567"/>
                  </a:lnTo>
                  <a:lnTo>
                    <a:pt x="269" y="569"/>
                  </a:lnTo>
                  <a:lnTo>
                    <a:pt x="271" y="569"/>
                  </a:lnTo>
                  <a:lnTo>
                    <a:pt x="269" y="569"/>
                  </a:lnTo>
                  <a:lnTo>
                    <a:pt x="269" y="567"/>
                  </a:lnTo>
                  <a:lnTo>
                    <a:pt x="271" y="567"/>
                  </a:lnTo>
                  <a:lnTo>
                    <a:pt x="271" y="569"/>
                  </a:lnTo>
                  <a:lnTo>
                    <a:pt x="273" y="569"/>
                  </a:lnTo>
                  <a:lnTo>
                    <a:pt x="273" y="567"/>
                  </a:lnTo>
                  <a:lnTo>
                    <a:pt x="275" y="565"/>
                  </a:lnTo>
                  <a:lnTo>
                    <a:pt x="273" y="563"/>
                  </a:lnTo>
                  <a:lnTo>
                    <a:pt x="275" y="563"/>
                  </a:lnTo>
                  <a:lnTo>
                    <a:pt x="277" y="561"/>
                  </a:lnTo>
                  <a:lnTo>
                    <a:pt x="281" y="556"/>
                  </a:lnTo>
                  <a:lnTo>
                    <a:pt x="283" y="550"/>
                  </a:lnTo>
                  <a:lnTo>
                    <a:pt x="285" y="546"/>
                  </a:lnTo>
                  <a:lnTo>
                    <a:pt x="286" y="544"/>
                  </a:lnTo>
                  <a:lnTo>
                    <a:pt x="288" y="540"/>
                  </a:lnTo>
                  <a:lnTo>
                    <a:pt x="290" y="536"/>
                  </a:lnTo>
                  <a:lnTo>
                    <a:pt x="292" y="535"/>
                  </a:lnTo>
                  <a:lnTo>
                    <a:pt x="296" y="533"/>
                  </a:lnTo>
                  <a:lnTo>
                    <a:pt x="296" y="531"/>
                  </a:lnTo>
                  <a:lnTo>
                    <a:pt x="298" y="527"/>
                  </a:lnTo>
                  <a:lnTo>
                    <a:pt x="298" y="525"/>
                  </a:lnTo>
                  <a:lnTo>
                    <a:pt x="300" y="523"/>
                  </a:lnTo>
                  <a:lnTo>
                    <a:pt x="302" y="519"/>
                  </a:lnTo>
                  <a:lnTo>
                    <a:pt x="304" y="515"/>
                  </a:lnTo>
                  <a:lnTo>
                    <a:pt x="306" y="513"/>
                  </a:lnTo>
                  <a:lnTo>
                    <a:pt x="308" y="511"/>
                  </a:lnTo>
                  <a:lnTo>
                    <a:pt x="309" y="510"/>
                  </a:lnTo>
                  <a:lnTo>
                    <a:pt x="311" y="508"/>
                  </a:lnTo>
                  <a:lnTo>
                    <a:pt x="313" y="504"/>
                  </a:lnTo>
                  <a:lnTo>
                    <a:pt x="313" y="500"/>
                  </a:lnTo>
                  <a:lnTo>
                    <a:pt x="315" y="498"/>
                  </a:lnTo>
                  <a:lnTo>
                    <a:pt x="315" y="494"/>
                  </a:lnTo>
                  <a:lnTo>
                    <a:pt x="319" y="494"/>
                  </a:lnTo>
                  <a:lnTo>
                    <a:pt x="319" y="492"/>
                  </a:lnTo>
                  <a:lnTo>
                    <a:pt x="321" y="488"/>
                  </a:lnTo>
                  <a:lnTo>
                    <a:pt x="323" y="487"/>
                  </a:lnTo>
                  <a:lnTo>
                    <a:pt x="323" y="483"/>
                  </a:lnTo>
                  <a:lnTo>
                    <a:pt x="325" y="479"/>
                  </a:lnTo>
                  <a:lnTo>
                    <a:pt x="327" y="477"/>
                  </a:lnTo>
                  <a:lnTo>
                    <a:pt x="329" y="475"/>
                  </a:lnTo>
                  <a:lnTo>
                    <a:pt x="329" y="473"/>
                  </a:lnTo>
                  <a:lnTo>
                    <a:pt x="329" y="469"/>
                  </a:lnTo>
                  <a:lnTo>
                    <a:pt x="331" y="467"/>
                  </a:lnTo>
                  <a:lnTo>
                    <a:pt x="333" y="463"/>
                  </a:lnTo>
                  <a:lnTo>
                    <a:pt x="334" y="460"/>
                  </a:lnTo>
                  <a:lnTo>
                    <a:pt x="334" y="456"/>
                  </a:lnTo>
                  <a:lnTo>
                    <a:pt x="336" y="454"/>
                  </a:lnTo>
                  <a:lnTo>
                    <a:pt x="338" y="448"/>
                  </a:lnTo>
                  <a:lnTo>
                    <a:pt x="340" y="444"/>
                  </a:lnTo>
                  <a:lnTo>
                    <a:pt x="342" y="440"/>
                  </a:lnTo>
                  <a:lnTo>
                    <a:pt x="346" y="437"/>
                  </a:lnTo>
                  <a:lnTo>
                    <a:pt x="346" y="435"/>
                  </a:lnTo>
                  <a:lnTo>
                    <a:pt x="348" y="431"/>
                  </a:lnTo>
                  <a:lnTo>
                    <a:pt x="352" y="425"/>
                  </a:lnTo>
                  <a:lnTo>
                    <a:pt x="352" y="423"/>
                  </a:lnTo>
                  <a:lnTo>
                    <a:pt x="352" y="421"/>
                  </a:lnTo>
                  <a:lnTo>
                    <a:pt x="354" y="417"/>
                  </a:lnTo>
                  <a:lnTo>
                    <a:pt x="358" y="398"/>
                  </a:lnTo>
                  <a:lnTo>
                    <a:pt x="352" y="390"/>
                  </a:lnTo>
                  <a:lnTo>
                    <a:pt x="344" y="387"/>
                  </a:lnTo>
                  <a:lnTo>
                    <a:pt x="342" y="379"/>
                  </a:lnTo>
                  <a:lnTo>
                    <a:pt x="338" y="379"/>
                  </a:lnTo>
                  <a:lnTo>
                    <a:pt x="336" y="377"/>
                  </a:lnTo>
                  <a:lnTo>
                    <a:pt x="334" y="377"/>
                  </a:lnTo>
                  <a:lnTo>
                    <a:pt x="331" y="373"/>
                  </a:lnTo>
                  <a:lnTo>
                    <a:pt x="329" y="373"/>
                  </a:lnTo>
                  <a:lnTo>
                    <a:pt x="327" y="371"/>
                  </a:lnTo>
                  <a:lnTo>
                    <a:pt x="317" y="369"/>
                  </a:lnTo>
                  <a:lnTo>
                    <a:pt x="313" y="365"/>
                  </a:lnTo>
                  <a:lnTo>
                    <a:pt x="311" y="365"/>
                  </a:lnTo>
                  <a:lnTo>
                    <a:pt x="298" y="354"/>
                  </a:lnTo>
                  <a:lnTo>
                    <a:pt x="302" y="352"/>
                  </a:lnTo>
                  <a:lnTo>
                    <a:pt x="304" y="350"/>
                  </a:lnTo>
                  <a:lnTo>
                    <a:pt x="306" y="348"/>
                  </a:lnTo>
                  <a:lnTo>
                    <a:pt x="306" y="346"/>
                  </a:lnTo>
                  <a:lnTo>
                    <a:pt x="306" y="344"/>
                  </a:lnTo>
                  <a:lnTo>
                    <a:pt x="308" y="342"/>
                  </a:lnTo>
                  <a:lnTo>
                    <a:pt x="308" y="339"/>
                  </a:lnTo>
                  <a:lnTo>
                    <a:pt x="309" y="337"/>
                  </a:lnTo>
                  <a:lnTo>
                    <a:pt x="309" y="333"/>
                  </a:lnTo>
                  <a:lnTo>
                    <a:pt x="311" y="329"/>
                  </a:lnTo>
                  <a:lnTo>
                    <a:pt x="309" y="327"/>
                  </a:lnTo>
                  <a:lnTo>
                    <a:pt x="308" y="325"/>
                  </a:lnTo>
                  <a:lnTo>
                    <a:pt x="306" y="325"/>
                  </a:lnTo>
                  <a:lnTo>
                    <a:pt x="308" y="323"/>
                  </a:lnTo>
                  <a:lnTo>
                    <a:pt x="306" y="323"/>
                  </a:lnTo>
                  <a:lnTo>
                    <a:pt x="306" y="321"/>
                  </a:lnTo>
                  <a:lnTo>
                    <a:pt x="304" y="321"/>
                  </a:lnTo>
                  <a:lnTo>
                    <a:pt x="302" y="321"/>
                  </a:lnTo>
                  <a:lnTo>
                    <a:pt x="302" y="319"/>
                  </a:lnTo>
                  <a:lnTo>
                    <a:pt x="298" y="319"/>
                  </a:lnTo>
                  <a:lnTo>
                    <a:pt x="296" y="319"/>
                  </a:lnTo>
                  <a:lnTo>
                    <a:pt x="294" y="317"/>
                  </a:lnTo>
                  <a:lnTo>
                    <a:pt x="292" y="317"/>
                  </a:lnTo>
                  <a:lnTo>
                    <a:pt x="292" y="316"/>
                  </a:lnTo>
                  <a:lnTo>
                    <a:pt x="292" y="314"/>
                  </a:lnTo>
                  <a:lnTo>
                    <a:pt x="290" y="312"/>
                  </a:lnTo>
                  <a:lnTo>
                    <a:pt x="288" y="308"/>
                  </a:lnTo>
                  <a:lnTo>
                    <a:pt x="288" y="306"/>
                  </a:lnTo>
                  <a:lnTo>
                    <a:pt x="290" y="304"/>
                  </a:lnTo>
                  <a:lnTo>
                    <a:pt x="290" y="302"/>
                  </a:lnTo>
                  <a:lnTo>
                    <a:pt x="290" y="300"/>
                  </a:lnTo>
                  <a:lnTo>
                    <a:pt x="288" y="298"/>
                  </a:lnTo>
                  <a:lnTo>
                    <a:pt x="288" y="296"/>
                  </a:lnTo>
                  <a:lnTo>
                    <a:pt x="288" y="294"/>
                  </a:lnTo>
                  <a:lnTo>
                    <a:pt x="286" y="294"/>
                  </a:lnTo>
                  <a:lnTo>
                    <a:pt x="283" y="294"/>
                  </a:lnTo>
                  <a:lnTo>
                    <a:pt x="281" y="294"/>
                  </a:lnTo>
                  <a:lnTo>
                    <a:pt x="279" y="294"/>
                  </a:lnTo>
                  <a:lnTo>
                    <a:pt x="277" y="292"/>
                  </a:lnTo>
                  <a:lnTo>
                    <a:pt x="275" y="289"/>
                  </a:lnTo>
                  <a:lnTo>
                    <a:pt x="273" y="287"/>
                  </a:lnTo>
                  <a:lnTo>
                    <a:pt x="273" y="285"/>
                  </a:lnTo>
                  <a:lnTo>
                    <a:pt x="273" y="283"/>
                  </a:lnTo>
                  <a:lnTo>
                    <a:pt x="273" y="281"/>
                  </a:lnTo>
                  <a:lnTo>
                    <a:pt x="273" y="279"/>
                  </a:lnTo>
                  <a:lnTo>
                    <a:pt x="275" y="277"/>
                  </a:lnTo>
                  <a:lnTo>
                    <a:pt x="277" y="277"/>
                  </a:lnTo>
                  <a:lnTo>
                    <a:pt x="279" y="277"/>
                  </a:lnTo>
                  <a:lnTo>
                    <a:pt x="279" y="275"/>
                  </a:lnTo>
                  <a:lnTo>
                    <a:pt x="277" y="275"/>
                  </a:lnTo>
                  <a:lnTo>
                    <a:pt x="279" y="273"/>
                  </a:lnTo>
                  <a:lnTo>
                    <a:pt x="279" y="271"/>
                  </a:lnTo>
                  <a:lnTo>
                    <a:pt x="277" y="269"/>
                  </a:lnTo>
                  <a:lnTo>
                    <a:pt x="275" y="269"/>
                  </a:lnTo>
                  <a:lnTo>
                    <a:pt x="273" y="271"/>
                  </a:lnTo>
                  <a:lnTo>
                    <a:pt x="271" y="269"/>
                  </a:lnTo>
                  <a:lnTo>
                    <a:pt x="269" y="269"/>
                  </a:lnTo>
                  <a:lnTo>
                    <a:pt x="271" y="267"/>
                  </a:lnTo>
                  <a:lnTo>
                    <a:pt x="271" y="264"/>
                  </a:lnTo>
                  <a:lnTo>
                    <a:pt x="273" y="264"/>
                  </a:lnTo>
                  <a:lnTo>
                    <a:pt x="273" y="262"/>
                  </a:lnTo>
                  <a:lnTo>
                    <a:pt x="271" y="260"/>
                  </a:lnTo>
                  <a:lnTo>
                    <a:pt x="271" y="256"/>
                  </a:lnTo>
                  <a:lnTo>
                    <a:pt x="271" y="254"/>
                  </a:lnTo>
                  <a:lnTo>
                    <a:pt x="273" y="252"/>
                  </a:lnTo>
                  <a:lnTo>
                    <a:pt x="273" y="250"/>
                  </a:lnTo>
                  <a:lnTo>
                    <a:pt x="271" y="248"/>
                  </a:lnTo>
                  <a:lnTo>
                    <a:pt x="269" y="246"/>
                  </a:lnTo>
                  <a:lnTo>
                    <a:pt x="269" y="244"/>
                  </a:lnTo>
                  <a:lnTo>
                    <a:pt x="271" y="242"/>
                  </a:lnTo>
                  <a:lnTo>
                    <a:pt x="275" y="241"/>
                  </a:lnTo>
                  <a:lnTo>
                    <a:pt x="277" y="241"/>
                  </a:lnTo>
                  <a:lnTo>
                    <a:pt x="279" y="241"/>
                  </a:lnTo>
                  <a:lnTo>
                    <a:pt x="279" y="237"/>
                  </a:lnTo>
                  <a:lnTo>
                    <a:pt x="277" y="233"/>
                  </a:lnTo>
                  <a:lnTo>
                    <a:pt x="275" y="229"/>
                  </a:lnTo>
                  <a:lnTo>
                    <a:pt x="273" y="223"/>
                  </a:lnTo>
                  <a:lnTo>
                    <a:pt x="271" y="219"/>
                  </a:lnTo>
                  <a:lnTo>
                    <a:pt x="269" y="218"/>
                  </a:lnTo>
                  <a:lnTo>
                    <a:pt x="267" y="214"/>
                  </a:lnTo>
                  <a:lnTo>
                    <a:pt x="263" y="212"/>
                  </a:lnTo>
                  <a:lnTo>
                    <a:pt x="260" y="208"/>
                  </a:lnTo>
                  <a:lnTo>
                    <a:pt x="260" y="206"/>
                  </a:lnTo>
                  <a:lnTo>
                    <a:pt x="258" y="204"/>
                  </a:lnTo>
                  <a:lnTo>
                    <a:pt x="256" y="200"/>
                  </a:lnTo>
                  <a:lnTo>
                    <a:pt x="252" y="196"/>
                  </a:lnTo>
                  <a:lnTo>
                    <a:pt x="250" y="193"/>
                  </a:lnTo>
                  <a:lnTo>
                    <a:pt x="242" y="187"/>
                  </a:lnTo>
                  <a:lnTo>
                    <a:pt x="238" y="181"/>
                  </a:lnTo>
                  <a:lnTo>
                    <a:pt x="236" y="179"/>
                  </a:lnTo>
                  <a:lnTo>
                    <a:pt x="235" y="175"/>
                  </a:lnTo>
                  <a:lnTo>
                    <a:pt x="235" y="173"/>
                  </a:lnTo>
                  <a:lnTo>
                    <a:pt x="242" y="150"/>
                  </a:lnTo>
                  <a:lnTo>
                    <a:pt x="246" y="148"/>
                  </a:lnTo>
                  <a:lnTo>
                    <a:pt x="250" y="135"/>
                  </a:lnTo>
                  <a:lnTo>
                    <a:pt x="252" y="127"/>
                  </a:lnTo>
                  <a:lnTo>
                    <a:pt x="240" y="121"/>
                  </a:lnTo>
                  <a:lnTo>
                    <a:pt x="229" y="108"/>
                  </a:lnTo>
                  <a:lnTo>
                    <a:pt x="210" y="104"/>
                  </a:lnTo>
                  <a:lnTo>
                    <a:pt x="202" y="85"/>
                  </a:lnTo>
                  <a:lnTo>
                    <a:pt x="206" y="71"/>
                  </a:lnTo>
                  <a:lnTo>
                    <a:pt x="208" y="64"/>
                  </a:lnTo>
                  <a:lnTo>
                    <a:pt x="202" y="64"/>
                  </a:lnTo>
                  <a:lnTo>
                    <a:pt x="200" y="66"/>
                  </a:lnTo>
                  <a:lnTo>
                    <a:pt x="198" y="64"/>
                  </a:lnTo>
                  <a:lnTo>
                    <a:pt x="208" y="54"/>
                  </a:lnTo>
                  <a:lnTo>
                    <a:pt x="206" y="52"/>
                  </a:lnTo>
                  <a:lnTo>
                    <a:pt x="204" y="50"/>
                  </a:lnTo>
                  <a:lnTo>
                    <a:pt x="204" y="48"/>
                  </a:lnTo>
                  <a:lnTo>
                    <a:pt x="204" y="46"/>
                  </a:lnTo>
                  <a:lnTo>
                    <a:pt x="204" y="45"/>
                  </a:lnTo>
                  <a:lnTo>
                    <a:pt x="213" y="27"/>
                  </a:lnTo>
                  <a:lnTo>
                    <a:pt x="206" y="16"/>
                  </a:lnTo>
                  <a:lnTo>
                    <a:pt x="187" y="14"/>
                  </a:lnTo>
                  <a:lnTo>
                    <a:pt x="185" y="12"/>
                  </a:lnTo>
                  <a:lnTo>
                    <a:pt x="185" y="10"/>
                  </a:lnTo>
                  <a:lnTo>
                    <a:pt x="181" y="10"/>
                  </a:lnTo>
                  <a:lnTo>
                    <a:pt x="179" y="8"/>
                  </a:lnTo>
                  <a:lnTo>
                    <a:pt x="177" y="8"/>
                  </a:lnTo>
                  <a:lnTo>
                    <a:pt x="175" y="6"/>
                  </a:lnTo>
                  <a:lnTo>
                    <a:pt x="175" y="2"/>
                  </a:lnTo>
                  <a:lnTo>
                    <a:pt x="175" y="0"/>
                  </a:lnTo>
                  <a:lnTo>
                    <a:pt x="173" y="0"/>
                  </a:lnTo>
                  <a:lnTo>
                    <a:pt x="169" y="2"/>
                  </a:lnTo>
                  <a:lnTo>
                    <a:pt x="167" y="2"/>
                  </a:lnTo>
                  <a:lnTo>
                    <a:pt x="165" y="4"/>
                  </a:lnTo>
                  <a:lnTo>
                    <a:pt x="163" y="6"/>
                  </a:lnTo>
                  <a:lnTo>
                    <a:pt x="162" y="8"/>
                  </a:lnTo>
                  <a:lnTo>
                    <a:pt x="160" y="8"/>
                  </a:lnTo>
                  <a:lnTo>
                    <a:pt x="160" y="10"/>
                  </a:lnTo>
                  <a:lnTo>
                    <a:pt x="160" y="12"/>
                  </a:lnTo>
                  <a:lnTo>
                    <a:pt x="152" y="14"/>
                  </a:lnTo>
                  <a:lnTo>
                    <a:pt x="148" y="14"/>
                  </a:lnTo>
                  <a:lnTo>
                    <a:pt x="146" y="14"/>
                  </a:lnTo>
                  <a:lnTo>
                    <a:pt x="144" y="14"/>
                  </a:lnTo>
                  <a:lnTo>
                    <a:pt x="142" y="14"/>
                  </a:lnTo>
                  <a:lnTo>
                    <a:pt x="138" y="16"/>
                  </a:lnTo>
                  <a:lnTo>
                    <a:pt x="138" y="18"/>
                  </a:lnTo>
                  <a:lnTo>
                    <a:pt x="138" y="20"/>
                  </a:lnTo>
                  <a:lnTo>
                    <a:pt x="138" y="22"/>
                  </a:lnTo>
                  <a:lnTo>
                    <a:pt x="137" y="23"/>
                  </a:lnTo>
                  <a:lnTo>
                    <a:pt x="135" y="25"/>
                  </a:lnTo>
                  <a:lnTo>
                    <a:pt x="135" y="27"/>
                  </a:lnTo>
                  <a:lnTo>
                    <a:pt x="133" y="27"/>
                  </a:lnTo>
                  <a:lnTo>
                    <a:pt x="133" y="29"/>
                  </a:lnTo>
                  <a:lnTo>
                    <a:pt x="131" y="31"/>
                  </a:lnTo>
                  <a:lnTo>
                    <a:pt x="129" y="31"/>
                  </a:lnTo>
                  <a:lnTo>
                    <a:pt x="127" y="33"/>
                  </a:lnTo>
                  <a:lnTo>
                    <a:pt x="129" y="35"/>
                  </a:lnTo>
                  <a:lnTo>
                    <a:pt x="131" y="37"/>
                  </a:lnTo>
                  <a:lnTo>
                    <a:pt x="131" y="39"/>
                  </a:lnTo>
                  <a:lnTo>
                    <a:pt x="129" y="41"/>
                  </a:lnTo>
                  <a:lnTo>
                    <a:pt x="129" y="43"/>
                  </a:lnTo>
                  <a:lnTo>
                    <a:pt x="129" y="45"/>
                  </a:lnTo>
                  <a:lnTo>
                    <a:pt x="127" y="46"/>
                  </a:lnTo>
                  <a:lnTo>
                    <a:pt x="129" y="48"/>
                  </a:lnTo>
                  <a:lnTo>
                    <a:pt x="129" y="50"/>
                  </a:lnTo>
                  <a:lnTo>
                    <a:pt x="127" y="52"/>
                  </a:lnTo>
                  <a:lnTo>
                    <a:pt x="127" y="54"/>
                  </a:lnTo>
                  <a:lnTo>
                    <a:pt x="127" y="56"/>
                  </a:lnTo>
                  <a:lnTo>
                    <a:pt x="127" y="58"/>
                  </a:lnTo>
                  <a:lnTo>
                    <a:pt x="127" y="60"/>
                  </a:lnTo>
                  <a:lnTo>
                    <a:pt x="129" y="62"/>
                  </a:lnTo>
                  <a:lnTo>
                    <a:pt x="129" y="64"/>
                  </a:lnTo>
                  <a:lnTo>
                    <a:pt x="129" y="66"/>
                  </a:lnTo>
                  <a:lnTo>
                    <a:pt x="131" y="68"/>
                  </a:lnTo>
                  <a:lnTo>
                    <a:pt x="131" y="70"/>
                  </a:lnTo>
                  <a:lnTo>
                    <a:pt x="131" y="71"/>
                  </a:lnTo>
                  <a:lnTo>
                    <a:pt x="129" y="73"/>
                  </a:lnTo>
                  <a:lnTo>
                    <a:pt x="129" y="75"/>
                  </a:lnTo>
                  <a:lnTo>
                    <a:pt x="127" y="77"/>
                  </a:lnTo>
                  <a:lnTo>
                    <a:pt x="127" y="79"/>
                  </a:lnTo>
                  <a:lnTo>
                    <a:pt x="125" y="79"/>
                  </a:lnTo>
                  <a:lnTo>
                    <a:pt x="123" y="79"/>
                  </a:lnTo>
                  <a:lnTo>
                    <a:pt x="121" y="81"/>
                  </a:lnTo>
                  <a:lnTo>
                    <a:pt x="119" y="83"/>
                  </a:lnTo>
                  <a:lnTo>
                    <a:pt x="119" y="85"/>
                  </a:lnTo>
                  <a:lnTo>
                    <a:pt x="117" y="87"/>
                  </a:lnTo>
                  <a:lnTo>
                    <a:pt x="117" y="89"/>
                  </a:lnTo>
                  <a:lnTo>
                    <a:pt x="117" y="91"/>
                  </a:lnTo>
                  <a:lnTo>
                    <a:pt x="117" y="95"/>
                  </a:lnTo>
                  <a:lnTo>
                    <a:pt x="115" y="96"/>
                  </a:lnTo>
                  <a:lnTo>
                    <a:pt x="113" y="100"/>
                  </a:lnTo>
                  <a:lnTo>
                    <a:pt x="112" y="98"/>
                  </a:lnTo>
                  <a:lnTo>
                    <a:pt x="110" y="96"/>
                  </a:lnTo>
                  <a:lnTo>
                    <a:pt x="106" y="95"/>
                  </a:lnTo>
                  <a:lnTo>
                    <a:pt x="104" y="95"/>
                  </a:lnTo>
                  <a:lnTo>
                    <a:pt x="100" y="93"/>
                  </a:lnTo>
                  <a:lnTo>
                    <a:pt x="98" y="93"/>
                  </a:lnTo>
                  <a:lnTo>
                    <a:pt x="94" y="93"/>
                  </a:lnTo>
                  <a:lnTo>
                    <a:pt x="92" y="91"/>
                  </a:lnTo>
                  <a:lnTo>
                    <a:pt x="90" y="91"/>
                  </a:lnTo>
                  <a:lnTo>
                    <a:pt x="89" y="89"/>
                  </a:lnTo>
                  <a:lnTo>
                    <a:pt x="87" y="87"/>
                  </a:lnTo>
                  <a:lnTo>
                    <a:pt x="85" y="89"/>
                  </a:lnTo>
                  <a:lnTo>
                    <a:pt x="83" y="91"/>
                  </a:lnTo>
                  <a:lnTo>
                    <a:pt x="83" y="93"/>
                  </a:lnTo>
                  <a:lnTo>
                    <a:pt x="83" y="95"/>
                  </a:lnTo>
                  <a:lnTo>
                    <a:pt x="77" y="96"/>
                  </a:lnTo>
                  <a:lnTo>
                    <a:pt x="75" y="98"/>
                  </a:lnTo>
                  <a:lnTo>
                    <a:pt x="69" y="102"/>
                  </a:lnTo>
                  <a:lnTo>
                    <a:pt x="65" y="98"/>
                  </a:lnTo>
                  <a:lnTo>
                    <a:pt x="60" y="100"/>
                  </a:lnTo>
                  <a:lnTo>
                    <a:pt x="54" y="98"/>
                  </a:lnTo>
                  <a:lnTo>
                    <a:pt x="50" y="100"/>
                  </a:lnTo>
                  <a:lnTo>
                    <a:pt x="48" y="93"/>
                  </a:lnTo>
                  <a:lnTo>
                    <a:pt x="44" y="89"/>
                  </a:lnTo>
                  <a:lnTo>
                    <a:pt x="42" y="87"/>
                  </a:lnTo>
                  <a:lnTo>
                    <a:pt x="37" y="79"/>
                  </a:lnTo>
                  <a:lnTo>
                    <a:pt x="27" y="70"/>
                  </a:lnTo>
                  <a:lnTo>
                    <a:pt x="19" y="70"/>
                  </a:lnTo>
                  <a:lnTo>
                    <a:pt x="15" y="71"/>
                  </a:lnTo>
                  <a:lnTo>
                    <a:pt x="12" y="73"/>
                  </a:lnTo>
                  <a:lnTo>
                    <a:pt x="12" y="75"/>
                  </a:lnTo>
                  <a:lnTo>
                    <a:pt x="12" y="77"/>
                  </a:lnTo>
                  <a:lnTo>
                    <a:pt x="14" y="79"/>
                  </a:lnTo>
                  <a:lnTo>
                    <a:pt x="15" y="81"/>
                  </a:lnTo>
                  <a:lnTo>
                    <a:pt x="15" y="85"/>
                  </a:lnTo>
                  <a:lnTo>
                    <a:pt x="6" y="81"/>
                  </a:lnTo>
                  <a:lnTo>
                    <a:pt x="0" y="85"/>
                  </a:lnTo>
                  <a:lnTo>
                    <a:pt x="6" y="85"/>
                  </a:lnTo>
                  <a:lnTo>
                    <a:pt x="10" y="89"/>
                  </a:lnTo>
                  <a:lnTo>
                    <a:pt x="10" y="93"/>
                  </a:lnTo>
                  <a:lnTo>
                    <a:pt x="14" y="95"/>
                  </a:lnTo>
                  <a:lnTo>
                    <a:pt x="19" y="98"/>
                  </a:lnTo>
                  <a:lnTo>
                    <a:pt x="21" y="100"/>
                  </a:lnTo>
                  <a:lnTo>
                    <a:pt x="23" y="100"/>
                  </a:lnTo>
                  <a:lnTo>
                    <a:pt x="23" y="102"/>
                  </a:lnTo>
                  <a:lnTo>
                    <a:pt x="25" y="104"/>
                  </a:lnTo>
                  <a:lnTo>
                    <a:pt x="27" y="106"/>
                  </a:lnTo>
                  <a:lnTo>
                    <a:pt x="31" y="106"/>
                  </a:lnTo>
                  <a:lnTo>
                    <a:pt x="31" y="108"/>
                  </a:lnTo>
                  <a:lnTo>
                    <a:pt x="31" y="110"/>
                  </a:lnTo>
                  <a:lnTo>
                    <a:pt x="33" y="110"/>
                  </a:lnTo>
                  <a:lnTo>
                    <a:pt x="37" y="110"/>
                  </a:lnTo>
                  <a:lnTo>
                    <a:pt x="39" y="110"/>
                  </a:lnTo>
                  <a:lnTo>
                    <a:pt x="39" y="112"/>
                  </a:lnTo>
                  <a:lnTo>
                    <a:pt x="42" y="114"/>
                  </a:lnTo>
                  <a:lnTo>
                    <a:pt x="44" y="116"/>
                  </a:lnTo>
                  <a:lnTo>
                    <a:pt x="48" y="114"/>
                  </a:lnTo>
                  <a:lnTo>
                    <a:pt x="52" y="114"/>
                  </a:lnTo>
                  <a:lnTo>
                    <a:pt x="56" y="116"/>
                  </a:lnTo>
                  <a:lnTo>
                    <a:pt x="60" y="116"/>
                  </a:lnTo>
                  <a:lnTo>
                    <a:pt x="62" y="118"/>
                  </a:lnTo>
                  <a:lnTo>
                    <a:pt x="67" y="120"/>
                  </a:lnTo>
                  <a:lnTo>
                    <a:pt x="71" y="123"/>
                  </a:lnTo>
                  <a:lnTo>
                    <a:pt x="73" y="125"/>
                  </a:lnTo>
                  <a:lnTo>
                    <a:pt x="73" y="129"/>
                  </a:lnTo>
                  <a:lnTo>
                    <a:pt x="77" y="129"/>
                  </a:lnTo>
                  <a:lnTo>
                    <a:pt x="79" y="133"/>
                  </a:lnTo>
                  <a:lnTo>
                    <a:pt x="79" y="135"/>
                  </a:lnTo>
                  <a:lnTo>
                    <a:pt x="83" y="137"/>
                  </a:lnTo>
                  <a:lnTo>
                    <a:pt x="85" y="137"/>
                  </a:lnTo>
                  <a:lnTo>
                    <a:pt x="87" y="139"/>
                  </a:lnTo>
                  <a:lnTo>
                    <a:pt x="87" y="141"/>
                  </a:lnTo>
                  <a:lnTo>
                    <a:pt x="85" y="143"/>
                  </a:lnTo>
                  <a:lnTo>
                    <a:pt x="83" y="146"/>
                  </a:lnTo>
                  <a:lnTo>
                    <a:pt x="85" y="152"/>
                  </a:lnTo>
                  <a:lnTo>
                    <a:pt x="85" y="154"/>
                  </a:lnTo>
                  <a:lnTo>
                    <a:pt x="85" y="156"/>
                  </a:lnTo>
                  <a:lnTo>
                    <a:pt x="87" y="158"/>
                  </a:lnTo>
                  <a:lnTo>
                    <a:pt x="87" y="160"/>
                  </a:lnTo>
                  <a:lnTo>
                    <a:pt x="87" y="162"/>
                  </a:lnTo>
                  <a:lnTo>
                    <a:pt x="85" y="162"/>
                  </a:lnTo>
                  <a:lnTo>
                    <a:pt x="85" y="164"/>
                  </a:lnTo>
                  <a:lnTo>
                    <a:pt x="85" y="166"/>
                  </a:lnTo>
                  <a:lnTo>
                    <a:pt x="85" y="168"/>
                  </a:lnTo>
                  <a:lnTo>
                    <a:pt x="87" y="168"/>
                  </a:lnTo>
                  <a:lnTo>
                    <a:pt x="89" y="168"/>
                  </a:lnTo>
                  <a:lnTo>
                    <a:pt x="92" y="168"/>
                  </a:lnTo>
                  <a:lnTo>
                    <a:pt x="94" y="169"/>
                  </a:lnTo>
                  <a:lnTo>
                    <a:pt x="94" y="171"/>
                  </a:lnTo>
                  <a:lnTo>
                    <a:pt x="94" y="173"/>
                  </a:lnTo>
                  <a:lnTo>
                    <a:pt x="94" y="175"/>
                  </a:lnTo>
                  <a:lnTo>
                    <a:pt x="94" y="177"/>
                  </a:lnTo>
                  <a:lnTo>
                    <a:pt x="92" y="179"/>
                  </a:lnTo>
                  <a:lnTo>
                    <a:pt x="90" y="179"/>
                  </a:lnTo>
                  <a:lnTo>
                    <a:pt x="90" y="181"/>
                  </a:lnTo>
                  <a:lnTo>
                    <a:pt x="92" y="183"/>
                  </a:lnTo>
                  <a:lnTo>
                    <a:pt x="92" y="185"/>
                  </a:lnTo>
                  <a:lnTo>
                    <a:pt x="92" y="187"/>
                  </a:lnTo>
                  <a:lnTo>
                    <a:pt x="94" y="189"/>
                  </a:lnTo>
                  <a:lnTo>
                    <a:pt x="98" y="193"/>
                  </a:lnTo>
                  <a:lnTo>
                    <a:pt x="102" y="196"/>
                  </a:lnTo>
                  <a:lnTo>
                    <a:pt x="104" y="200"/>
                  </a:lnTo>
                  <a:lnTo>
                    <a:pt x="106" y="202"/>
                  </a:lnTo>
                  <a:lnTo>
                    <a:pt x="106" y="204"/>
                  </a:lnTo>
                  <a:lnTo>
                    <a:pt x="104" y="204"/>
                  </a:lnTo>
                  <a:lnTo>
                    <a:pt x="104" y="208"/>
                  </a:lnTo>
                  <a:lnTo>
                    <a:pt x="104" y="212"/>
                  </a:lnTo>
                  <a:lnTo>
                    <a:pt x="104" y="216"/>
                  </a:lnTo>
                  <a:lnTo>
                    <a:pt x="104" y="218"/>
                  </a:lnTo>
                  <a:lnTo>
                    <a:pt x="104" y="219"/>
                  </a:lnTo>
                  <a:lnTo>
                    <a:pt x="102" y="223"/>
                  </a:lnTo>
                  <a:lnTo>
                    <a:pt x="100" y="225"/>
                  </a:lnTo>
                  <a:lnTo>
                    <a:pt x="100" y="229"/>
                  </a:lnTo>
                  <a:lnTo>
                    <a:pt x="100" y="233"/>
                  </a:lnTo>
                  <a:lnTo>
                    <a:pt x="102" y="237"/>
                  </a:lnTo>
                  <a:lnTo>
                    <a:pt x="104" y="241"/>
                  </a:lnTo>
                  <a:lnTo>
                    <a:pt x="108" y="242"/>
                  </a:lnTo>
                  <a:lnTo>
                    <a:pt x="110" y="244"/>
                  </a:lnTo>
                  <a:lnTo>
                    <a:pt x="112" y="248"/>
                  </a:lnTo>
                  <a:lnTo>
                    <a:pt x="113" y="250"/>
                  </a:lnTo>
                  <a:lnTo>
                    <a:pt x="115" y="254"/>
                  </a:lnTo>
                  <a:lnTo>
                    <a:pt x="117" y="256"/>
                  </a:lnTo>
                  <a:lnTo>
                    <a:pt x="117" y="258"/>
                  </a:lnTo>
                  <a:lnTo>
                    <a:pt x="115" y="262"/>
                  </a:lnTo>
                  <a:lnTo>
                    <a:pt x="119" y="264"/>
                  </a:lnTo>
                  <a:lnTo>
                    <a:pt x="119" y="262"/>
                  </a:lnTo>
                  <a:lnTo>
                    <a:pt x="121" y="262"/>
                  </a:lnTo>
                  <a:lnTo>
                    <a:pt x="123" y="264"/>
                  </a:lnTo>
                  <a:lnTo>
                    <a:pt x="125" y="264"/>
                  </a:lnTo>
                  <a:lnTo>
                    <a:pt x="127" y="262"/>
                  </a:lnTo>
                  <a:lnTo>
                    <a:pt x="127" y="260"/>
                  </a:lnTo>
                  <a:lnTo>
                    <a:pt x="129" y="258"/>
                  </a:lnTo>
                  <a:lnTo>
                    <a:pt x="129" y="256"/>
                  </a:lnTo>
                  <a:lnTo>
                    <a:pt x="129" y="254"/>
                  </a:lnTo>
                  <a:lnTo>
                    <a:pt x="131" y="254"/>
                  </a:lnTo>
                  <a:lnTo>
                    <a:pt x="131" y="252"/>
                  </a:lnTo>
                  <a:lnTo>
                    <a:pt x="131" y="250"/>
                  </a:lnTo>
                  <a:lnTo>
                    <a:pt x="131" y="248"/>
                  </a:lnTo>
                  <a:lnTo>
                    <a:pt x="131" y="250"/>
                  </a:lnTo>
                  <a:lnTo>
                    <a:pt x="133" y="250"/>
                  </a:lnTo>
                  <a:lnTo>
                    <a:pt x="133" y="252"/>
                  </a:lnTo>
                  <a:lnTo>
                    <a:pt x="133" y="254"/>
                  </a:lnTo>
                  <a:lnTo>
                    <a:pt x="133" y="256"/>
                  </a:lnTo>
                  <a:lnTo>
                    <a:pt x="131" y="258"/>
                  </a:lnTo>
                  <a:lnTo>
                    <a:pt x="131" y="260"/>
                  </a:lnTo>
                  <a:lnTo>
                    <a:pt x="131" y="262"/>
                  </a:lnTo>
                  <a:lnTo>
                    <a:pt x="131" y="264"/>
                  </a:lnTo>
                  <a:lnTo>
                    <a:pt x="129" y="264"/>
                  </a:lnTo>
                  <a:lnTo>
                    <a:pt x="129" y="266"/>
                  </a:lnTo>
                  <a:lnTo>
                    <a:pt x="131" y="266"/>
                  </a:lnTo>
                  <a:lnTo>
                    <a:pt x="131" y="267"/>
                  </a:lnTo>
                  <a:lnTo>
                    <a:pt x="131" y="266"/>
                  </a:lnTo>
                  <a:lnTo>
                    <a:pt x="133" y="267"/>
                  </a:lnTo>
                  <a:lnTo>
                    <a:pt x="133" y="269"/>
                  </a:lnTo>
                  <a:lnTo>
                    <a:pt x="135" y="269"/>
                  </a:lnTo>
                  <a:lnTo>
                    <a:pt x="135" y="267"/>
                  </a:lnTo>
                  <a:lnTo>
                    <a:pt x="135" y="269"/>
                  </a:lnTo>
                  <a:lnTo>
                    <a:pt x="137" y="269"/>
                  </a:lnTo>
                  <a:lnTo>
                    <a:pt x="140" y="269"/>
                  </a:lnTo>
                  <a:lnTo>
                    <a:pt x="142" y="269"/>
                  </a:lnTo>
                  <a:lnTo>
                    <a:pt x="144" y="269"/>
                  </a:lnTo>
                  <a:lnTo>
                    <a:pt x="144" y="271"/>
                  </a:lnTo>
                  <a:lnTo>
                    <a:pt x="146" y="273"/>
                  </a:lnTo>
                  <a:lnTo>
                    <a:pt x="148" y="271"/>
                  </a:lnTo>
                  <a:lnTo>
                    <a:pt x="148" y="273"/>
                  </a:lnTo>
                  <a:lnTo>
                    <a:pt x="150" y="275"/>
                  </a:lnTo>
                  <a:lnTo>
                    <a:pt x="152" y="277"/>
                  </a:lnTo>
                  <a:lnTo>
                    <a:pt x="154" y="279"/>
                  </a:lnTo>
                  <a:lnTo>
                    <a:pt x="154" y="281"/>
                  </a:lnTo>
                  <a:lnTo>
                    <a:pt x="154" y="283"/>
                  </a:lnTo>
                  <a:lnTo>
                    <a:pt x="152" y="281"/>
                  </a:lnTo>
                  <a:lnTo>
                    <a:pt x="152" y="283"/>
                  </a:lnTo>
                  <a:lnTo>
                    <a:pt x="154" y="285"/>
                  </a:lnTo>
                  <a:lnTo>
                    <a:pt x="154" y="287"/>
                  </a:lnTo>
                  <a:lnTo>
                    <a:pt x="154" y="285"/>
                  </a:lnTo>
                  <a:lnTo>
                    <a:pt x="156" y="287"/>
                  </a:lnTo>
                  <a:lnTo>
                    <a:pt x="154" y="287"/>
                  </a:lnTo>
                  <a:lnTo>
                    <a:pt x="152" y="287"/>
                  </a:lnTo>
                  <a:lnTo>
                    <a:pt x="152" y="289"/>
                  </a:lnTo>
                  <a:lnTo>
                    <a:pt x="154" y="289"/>
                  </a:lnTo>
                  <a:lnTo>
                    <a:pt x="152" y="291"/>
                  </a:lnTo>
                  <a:lnTo>
                    <a:pt x="154" y="291"/>
                  </a:lnTo>
                  <a:lnTo>
                    <a:pt x="154" y="292"/>
                  </a:lnTo>
                  <a:lnTo>
                    <a:pt x="154" y="294"/>
                  </a:lnTo>
                  <a:lnTo>
                    <a:pt x="156" y="294"/>
                  </a:lnTo>
                  <a:lnTo>
                    <a:pt x="154" y="294"/>
                  </a:lnTo>
                  <a:lnTo>
                    <a:pt x="154" y="296"/>
                  </a:lnTo>
                  <a:lnTo>
                    <a:pt x="154" y="298"/>
                  </a:lnTo>
                  <a:lnTo>
                    <a:pt x="158" y="300"/>
                  </a:lnTo>
                  <a:lnTo>
                    <a:pt x="158" y="302"/>
                  </a:lnTo>
                  <a:lnTo>
                    <a:pt x="160" y="304"/>
                  </a:lnTo>
                  <a:lnTo>
                    <a:pt x="158" y="306"/>
                  </a:lnTo>
                  <a:lnTo>
                    <a:pt x="160" y="306"/>
                  </a:lnTo>
                  <a:lnTo>
                    <a:pt x="162" y="306"/>
                  </a:lnTo>
                  <a:lnTo>
                    <a:pt x="162" y="308"/>
                  </a:lnTo>
                  <a:lnTo>
                    <a:pt x="160" y="308"/>
                  </a:lnTo>
                  <a:lnTo>
                    <a:pt x="158" y="308"/>
                  </a:lnTo>
                  <a:lnTo>
                    <a:pt x="156" y="308"/>
                  </a:lnTo>
                  <a:lnTo>
                    <a:pt x="156" y="306"/>
                  </a:lnTo>
                  <a:lnTo>
                    <a:pt x="154" y="306"/>
                  </a:lnTo>
                  <a:lnTo>
                    <a:pt x="154" y="308"/>
                  </a:lnTo>
                  <a:lnTo>
                    <a:pt x="154" y="310"/>
                  </a:lnTo>
                  <a:lnTo>
                    <a:pt x="156" y="310"/>
                  </a:lnTo>
                  <a:lnTo>
                    <a:pt x="158" y="312"/>
                  </a:lnTo>
                  <a:lnTo>
                    <a:pt x="160" y="312"/>
                  </a:lnTo>
                  <a:lnTo>
                    <a:pt x="160" y="314"/>
                  </a:lnTo>
                  <a:lnTo>
                    <a:pt x="160" y="316"/>
                  </a:lnTo>
                  <a:lnTo>
                    <a:pt x="158" y="316"/>
                  </a:lnTo>
                  <a:lnTo>
                    <a:pt x="156" y="316"/>
                  </a:lnTo>
                  <a:lnTo>
                    <a:pt x="158" y="314"/>
                  </a:lnTo>
                  <a:lnTo>
                    <a:pt x="156" y="314"/>
                  </a:lnTo>
                  <a:lnTo>
                    <a:pt x="154" y="314"/>
                  </a:lnTo>
                  <a:lnTo>
                    <a:pt x="154" y="312"/>
                  </a:lnTo>
                  <a:lnTo>
                    <a:pt x="154" y="314"/>
                  </a:lnTo>
                  <a:lnTo>
                    <a:pt x="152" y="312"/>
                  </a:lnTo>
                  <a:lnTo>
                    <a:pt x="150" y="312"/>
                  </a:lnTo>
                  <a:lnTo>
                    <a:pt x="148" y="314"/>
                  </a:lnTo>
                  <a:lnTo>
                    <a:pt x="146" y="314"/>
                  </a:lnTo>
                  <a:lnTo>
                    <a:pt x="146" y="316"/>
                  </a:lnTo>
                  <a:lnTo>
                    <a:pt x="144" y="316"/>
                  </a:lnTo>
                  <a:lnTo>
                    <a:pt x="142" y="316"/>
                  </a:lnTo>
                  <a:lnTo>
                    <a:pt x="142" y="317"/>
                  </a:lnTo>
                  <a:lnTo>
                    <a:pt x="140" y="317"/>
                  </a:lnTo>
                  <a:lnTo>
                    <a:pt x="140" y="321"/>
                  </a:lnTo>
                  <a:lnTo>
                    <a:pt x="140" y="319"/>
                  </a:lnTo>
                  <a:lnTo>
                    <a:pt x="138" y="321"/>
                  </a:lnTo>
                  <a:lnTo>
                    <a:pt x="138" y="323"/>
                  </a:lnTo>
                  <a:lnTo>
                    <a:pt x="138" y="325"/>
                  </a:lnTo>
                  <a:lnTo>
                    <a:pt x="138" y="327"/>
                  </a:lnTo>
                  <a:lnTo>
                    <a:pt x="137" y="327"/>
                  </a:lnTo>
                  <a:lnTo>
                    <a:pt x="135" y="329"/>
                  </a:lnTo>
                  <a:lnTo>
                    <a:pt x="135" y="331"/>
                  </a:lnTo>
                  <a:lnTo>
                    <a:pt x="135" y="333"/>
                  </a:lnTo>
                  <a:lnTo>
                    <a:pt x="135" y="335"/>
                  </a:lnTo>
                  <a:lnTo>
                    <a:pt x="135" y="337"/>
                  </a:lnTo>
                  <a:lnTo>
                    <a:pt x="135" y="339"/>
                  </a:lnTo>
                  <a:lnTo>
                    <a:pt x="133" y="339"/>
                  </a:lnTo>
                  <a:lnTo>
                    <a:pt x="131" y="339"/>
                  </a:lnTo>
                  <a:lnTo>
                    <a:pt x="133" y="339"/>
                  </a:lnTo>
                  <a:lnTo>
                    <a:pt x="131" y="340"/>
                  </a:lnTo>
                  <a:lnTo>
                    <a:pt x="131" y="342"/>
                  </a:lnTo>
                  <a:lnTo>
                    <a:pt x="129" y="344"/>
                  </a:lnTo>
                  <a:lnTo>
                    <a:pt x="127" y="346"/>
                  </a:lnTo>
                  <a:lnTo>
                    <a:pt x="127" y="348"/>
                  </a:lnTo>
                  <a:lnTo>
                    <a:pt x="125" y="350"/>
                  </a:lnTo>
                  <a:lnTo>
                    <a:pt x="125" y="352"/>
                  </a:lnTo>
                  <a:lnTo>
                    <a:pt x="125" y="354"/>
                  </a:lnTo>
                  <a:lnTo>
                    <a:pt x="123" y="354"/>
                  </a:lnTo>
                  <a:lnTo>
                    <a:pt x="123" y="356"/>
                  </a:lnTo>
                  <a:lnTo>
                    <a:pt x="121" y="358"/>
                  </a:lnTo>
                  <a:lnTo>
                    <a:pt x="119" y="358"/>
                  </a:lnTo>
                  <a:lnTo>
                    <a:pt x="119" y="360"/>
                  </a:lnTo>
                  <a:lnTo>
                    <a:pt x="119" y="362"/>
                  </a:lnTo>
                  <a:lnTo>
                    <a:pt x="119" y="364"/>
                  </a:lnTo>
                  <a:lnTo>
                    <a:pt x="117" y="365"/>
                  </a:lnTo>
                  <a:lnTo>
                    <a:pt x="115" y="367"/>
                  </a:lnTo>
                  <a:lnTo>
                    <a:pt x="117" y="369"/>
                  </a:lnTo>
                  <a:lnTo>
                    <a:pt x="117" y="367"/>
                  </a:lnTo>
                  <a:lnTo>
                    <a:pt x="117" y="369"/>
                  </a:lnTo>
                  <a:lnTo>
                    <a:pt x="117" y="371"/>
                  </a:lnTo>
                  <a:lnTo>
                    <a:pt x="115" y="371"/>
                  </a:lnTo>
                  <a:lnTo>
                    <a:pt x="113" y="371"/>
                  </a:lnTo>
                  <a:lnTo>
                    <a:pt x="112" y="369"/>
                  </a:lnTo>
                  <a:lnTo>
                    <a:pt x="112" y="371"/>
                  </a:lnTo>
                  <a:lnTo>
                    <a:pt x="112" y="375"/>
                  </a:lnTo>
                  <a:lnTo>
                    <a:pt x="112" y="377"/>
                  </a:lnTo>
                  <a:lnTo>
                    <a:pt x="112" y="379"/>
                  </a:lnTo>
                  <a:lnTo>
                    <a:pt x="108" y="381"/>
                  </a:lnTo>
                  <a:lnTo>
                    <a:pt x="106" y="381"/>
                  </a:lnTo>
                  <a:lnTo>
                    <a:pt x="104" y="383"/>
                  </a:lnTo>
                  <a:lnTo>
                    <a:pt x="102" y="385"/>
                  </a:lnTo>
                  <a:lnTo>
                    <a:pt x="98" y="385"/>
                  </a:lnTo>
                  <a:lnTo>
                    <a:pt x="96" y="385"/>
                  </a:lnTo>
                  <a:lnTo>
                    <a:pt x="94" y="387"/>
                  </a:lnTo>
                  <a:lnTo>
                    <a:pt x="94" y="390"/>
                  </a:lnTo>
                  <a:lnTo>
                    <a:pt x="94" y="394"/>
                  </a:lnTo>
                  <a:lnTo>
                    <a:pt x="92" y="396"/>
                  </a:lnTo>
                  <a:lnTo>
                    <a:pt x="90" y="396"/>
                  </a:lnTo>
                  <a:lnTo>
                    <a:pt x="90" y="398"/>
                  </a:lnTo>
                  <a:lnTo>
                    <a:pt x="90" y="400"/>
                  </a:lnTo>
                  <a:lnTo>
                    <a:pt x="89" y="402"/>
                  </a:lnTo>
                  <a:lnTo>
                    <a:pt x="90" y="402"/>
                  </a:lnTo>
                  <a:lnTo>
                    <a:pt x="90" y="404"/>
                  </a:lnTo>
                  <a:lnTo>
                    <a:pt x="90" y="406"/>
                  </a:lnTo>
                  <a:lnTo>
                    <a:pt x="89" y="408"/>
                  </a:lnTo>
                  <a:lnTo>
                    <a:pt x="87" y="408"/>
                  </a:lnTo>
                  <a:lnTo>
                    <a:pt x="87" y="406"/>
                  </a:lnTo>
                  <a:lnTo>
                    <a:pt x="87" y="404"/>
                  </a:lnTo>
                  <a:lnTo>
                    <a:pt x="85" y="404"/>
                  </a:lnTo>
                  <a:lnTo>
                    <a:pt x="85" y="408"/>
                  </a:lnTo>
                  <a:lnTo>
                    <a:pt x="87" y="408"/>
                  </a:lnTo>
                  <a:lnTo>
                    <a:pt x="87" y="410"/>
                  </a:lnTo>
                  <a:lnTo>
                    <a:pt x="89" y="412"/>
                  </a:lnTo>
                  <a:lnTo>
                    <a:pt x="87" y="410"/>
                  </a:lnTo>
                  <a:lnTo>
                    <a:pt x="85" y="410"/>
                  </a:lnTo>
                  <a:lnTo>
                    <a:pt x="83" y="410"/>
                  </a:lnTo>
                  <a:lnTo>
                    <a:pt x="83" y="412"/>
                  </a:lnTo>
                  <a:lnTo>
                    <a:pt x="83" y="414"/>
                  </a:lnTo>
                  <a:lnTo>
                    <a:pt x="85" y="414"/>
                  </a:lnTo>
                  <a:lnTo>
                    <a:pt x="87" y="415"/>
                  </a:lnTo>
                  <a:lnTo>
                    <a:pt x="87" y="417"/>
                  </a:lnTo>
                  <a:lnTo>
                    <a:pt x="89" y="419"/>
                  </a:lnTo>
                  <a:lnTo>
                    <a:pt x="87" y="421"/>
                  </a:lnTo>
                  <a:lnTo>
                    <a:pt x="87" y="419"/>
                  </a:lnTo>
                  <a:lnTo>
                    <a:pt x="85" y="417"/>
                  </a:lnTo>
                  <a:lnTo>
                    <a:pt x="83" y="419"/>
                  </a:lnTo>
                  <a:lnTo>
                    <a:pt x="81" y="419"/>
                  </a:lnTo>
                  <a:lnTo>
                    <a:pt x="79" y="419"/>
                  </a:lnTo>
                  <a:lnTo>
                    <a:pt x="79" y="421"/>
                  </a:lnTo>
                  <a:lnTo>
                    <a:pt x="81" y="423"/>
                  </a:lnTo>
                  <a:lnTo>
                    <a:pt x="83" y="423"/>
                  </a:lnTo>
                  <a:lnTo>
                    <a:pt x="83" y="425"/>
                  </a:lnTo>
                  <a:lnTo>
                    <a:pt x="81" y="425"/>
                  </a:lnTo>
                  <a:lnTo>
                    <a:pt x="79" y="425"/>
                  </a:lnTo>
                  <a:lnTo>
                    <a:pt x="77" y="423"/>
                  </a:lnTo>
                  <a:lnTo>
                    <a:pt x="77" y="425"/>
                  </a:lnTo>
                  <a:lnTo>
                    <a:pt x="75" y="423"/>
                  </a:lnTo>
                  <a:lnTo>
                    <a:pt x="73" y="423"/>
                  </a:lnTo>
                  <a:lnTo>
                    <a:pt x="71" y="425"/>
                  </a:lnTo>
                  <a:lnTo>
                    <a:pt x="69" y="427"/>
                  </a:lnTo>
                  <a:lnTo>
                    <a:pt x="67" y="427"/>
                  </a:lnTo>
                  <a:lnTo>
                    <a:pt x="65" y="427"/>
                  </a:lnTo>
                  <a:lnTo>
                    <a:pt x="65" y="425"/>
                  </a:lnTo>
                  <a:lnTo>
                    <a:pt x="65" y="423"/>
                  </a:lnTo>
                  <a:lnTo>
                    <a:pt x="64" y="425"/>
                  </a:lnTo>
                  <a:lnTo>
                    <a:pt x="64" y="427"/>
                  </a:lnTo>
                  <a:lnTo>
                    <a:pt x="64" y="429"/>
                  </a:lnTo>
                  <a:lnTo>
                    <a:pt x="65" y="429"/>
                  </a:lnTo>
                  <a:lnTo>
                    <a:pt x="65" y="431"/>
                  </a:lnTo>
                  <a:lnTo>
                    <a:pt x="64" y="433"/>
                  </a:lnTo>
                  <a:lnTo>
                    <a:pt x="65" y="433"/>
                  </a:lnTo>
                  <a:lnTo>
                    <a:pt x="67" y="435"/>
                  </a:lnTo>
                  <a:lnTo>
                    <a:pt x="65" y="437"/>
                  </a:lnTo>
                  <a:lnTo>
                    <a:pt x="64" y="437"/>
                  </a:lnTo>
                  <a:lnTo>
                    <a:pt x="62" y="438"/>
                  </a:lnTo>
                  <a:lnTo>
                    <a:pt x="62" y="440"/>
                  </a:lnTo>
                  <a:lnTo>
                    <a:pt x="64" y="440"/>
                  </a:lnTo>
                  <a:lnTo>
                    <a:pt x="65" y="440"/>
                  </a:lnTo>
                  <a:lnTo>
                    <a:pt x="65" y="442"/>
                  </a:lnTo>
                  <a:lnTo>
                    <a:pt x="64" y="444"/>
                  </a:lnTo>
                  <a:lnTo>
                    <a:pt x="64" y="446"/>
                  </a:lnTo>
                  <a:lnTo>
                    <a:pt x="62" y="446"/>
                  </a:lnTo>
                  <a:lnTo>
                    <a:pt x="62" y="444"/>
                  </a:lnTo>
                  <a:lnTo>
                    <a:pt x="62" y="446"/>
                  </a:lnTo>
                  <a:lnTo>
                    <a:pt x="64" y="446"/>
                  </a:lnTo>
                  <a:lnTo>
                    <a:pt x="64" y="448"/>
                  </a:lnTo>
                  <a:lnTo>
                    <a:pt x="62" y="450"/>
                  </a:lnTo>
                  <a:lnTo>
                    <a:pt x="60" y="450"/>
                  </a:lnTo>
                  <a:lnTo>
                    <a:pt x="60" y="448"/>
                  </a:lnTo>
                  <a:lnTo>
                    <a:pt x="58" y="446"/>
                  </a:lnTo>
                  <a:lnTo>
                    <a:pt x="56" y="444"/>
                  </a:lnTo>
                  <a:lnTo>
                    <a:pt x="56" y="442"/>
                  </a:lnTo>
                  <a:lnTo>
                    <a:pt x="54" y="442"/>
                  </a:lnTo>
                  <a:lnTo>
                    <a:pt x="56" y="444"/>
                  </a:lnTo>
                  <a:lnTo>
                    <a:pt x="56" y="446"/>
                  </a:lnTo>
                  <a:lnTo>
                    <a:pt x="58" y="448"/>
                  </a:lnTo>
                  <a:lnTo>
                    <a:pt x="58" y="450"/>
                  </a:lnTo>
                  <a:lnTo>
                    <a:pt x="60" y="450"/>
                  </a:lnTo>
                  <a:lnTo>
                    <a:pt x="58" y="452"/>
                  </a:lnTo>
                  <a:lnTo>
                    <a:pt x="58" y="454"/>
                  </a:lnTo>
                  <a:lnTo>
                    <a:pt x="56" y="454"/>
                  </a:lnTo>
                  <a:lnTo>
                    <a:pt x="56" y="456"/>
                  </a:lnTo>
                  <a:lnTo>
                    <a:pt x="56" y="458"/>
                  </a:lnTo>
                  <a:lnTo>
                    <a:pt x="58" y="458"/>
                  </a:lnTo>
                  <a:lnTo>
                    <a:pt x="58" y="460"/>
                  </a:lnTo>
                  <a:lnTo>
                    <a:pt x="56" y="460"/>
                  </a:lnTo>
                  <a:lnTo>
                    <a:pt x="56" y="462"/>
                  </a:lnTo>
                  <a:lnTo>
                    <a:pt x="56" y="463"/>
                  </a:lnTo>
                  <a:lnTo>
                    <a:pt x="56" y="465"/>
                  </a:lnTo>
                  <a:lnTo>
                    <a:pt x="56" y="467"/>
                  </a:lnTo>
                  <a:lnTo>
                    <a:pt x="56" y="465"/>
                  </a:lnTo>
                  <a:lnTo>
                    <a:pt x="58" y="463"/>
                  </a:lnTo>
                  <a:lnTo>
                    <a:pt x="58" y="465"/>
                  </a:lnTo>
                  <a:lnTo>
                    <a:pt x="58" y="467"/>
                  </a:lnTo>
                  <a:lnTo>
                    <a:pt x="58" y="469"/>
                  </a:lnTo>
                  <a:lnTo>
                    <a:pt x="58" y="471"/>
                  </a:lnTo>
                  <a:lnTo>
                    <a:pt x="58" y="473"/>
                  </a:lnTo>
                  <a:lnTo>
                    <a:pt x="58" y="475"/>
                  </a:lnTo>
                  <a:lnTo>
                    <a:pt x="60" y="475"/>
                  </a:lnTo>
                  <a:lnTo>
                    <a:pt x="62" y="475"/>
                  </a:lnTo>
                  <a:lnTo>
                    <a:pt x="62" y="477"/>
                  </a:lnTo>
                  <a:lnTo>
                    <a:pt x="62" y="479"/>
                  </a:lnTo>
                  <a:lnTo>
                    <a:pt x="62" y="481"/>
                  </a:lnTo>
                  <a:lnTo>
                    <a:pt x="62" y="483"/>
                  </a:lnTo>
                  <a:lnTo>
                    <a:pt x="62" y="481"/>
                  </a:lnTo>
                  <a:lnTo>
                    <a:pt x="62" y="479"/>
                  </a:lnTo>
                  <a:lnTo>
                    <a:pt x="64" y="477"/>
                  </a:lnTo>
                  <a:lnTo>
                    <a:pt x="64" y="473"/>
                  </a:lnTo>
                  <a:lnTo>
                    <a:pt x="64" y="475"/>
                  </a:lnTo>
                  <a:lnTo>
                    <a:pt x="64" y="477"/>
                  </a:lnTo>
                  <a:lnTo>
                    <a:pt x="64" y="479"/>
                  </a:lnTo>
                  <a:lnTo>
                    <a:pt x="64" y="481"/>
                  </a:lnTo>
                  <a:lnTo>
                    <a:pt x="65" y="479"/>
                  </a:lnTo>
                  <a:lnTo>
                    <a:pt x="65" y="483"/>
                  </a:lnTo>
                  <a:lnTo>
                    <a:pt x="64" y="483"/>
                  </a:lnTo>
                  <a:lnTo>
                    <a:pt x="64" y="485"/>
                  </a:lnTo>
                  <a:lnTo>
                    <a:pt x="65" y="485"/>
                  </a:lnTo>
                  <a:lnTo>
                    <a:pt x="65" y="487"/>
                  </a:lnTo>
                  <a:lnTo>
                    <a:pt x="65" y="488"/>
                  </a:lnTo>
                  <a:lnTo>
                    <a:pt x="65" y="487"/>
                  </a:lnTo>
                  <a:lnTo>
                    <a:pt x="67" y="488"/>
                  </a:lnTo>
                  <a:lnTo>
                    <a:pt x="67" y="490"/>
                  </a:lnTo>
                  <a:lnTo>
                    <a:pt x="65" y="492"/>
                  </a:lnTo>
                  <a:lnTo>
                    <a:pt x="65" y="494"/>
                  </a:lnTo>
                  <a:lnTo>
                    <a:pt x="65" y="496"/>
                  </a:lnTo>
                  <a:lnTo>
                    <a:pt x="65" y="498"/>
                  </a:lnTo>
                  <a:lnTo>
                    <a:pt x="65" y="500"/>
                  </a:lnTo>
                  <a:lnTo>
                    <a:pt x="65" y="504"/>
                  </a:lnTo>
                  <a:lnTo>
                    <a:pt x="67" y="502"/>
                  </a:lnTo>
                  <a:lnTo>
                    <a:pt x="67" y="504"/>
                  </a:lnTo>
                  <a:lnTo>
                    <a:pt x="67" y="50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408" name="Freeform 196"/>
            <p:cNvSpPr>
              <a:spLocks/>
            </p:cNvSpPr>
            <p:nvPr/>
          </p:nvSpPr>
          <p:spPr bwMode="auto">
            <a:xfrm>
              <a:off x="2748" y="1279"/>
              <a:ext cx="327" cy="506"/>
            </a:xfrm>
            <a:custGeom>
              <a:avLst/>
              <a:gdLst>
                <a:gd name="T0" fmla="*/ 306 w 327"/>
                <a:gd name="T1" fmla="*/ 344 h 506"/>
                <a:gd name="T2" fmla="*/ 306 w 327"/>
                <a:gd name="T3" fmla="*/ 323 h 506"/>
                <a:gd name="T4" fmla="*/ 292 w 327"/>
                <a:gd name="T5" fmla="*/ 314 h 506"/>
                <a:gd name="T6" fmla="*/ 286 w 327"/>
                <a:gd name="T7" fmla="*/ 294 h 506"/>
                <a:gd name="T8" fmla="*/ 273 w 327"/>
                <a:gd name="T9" fmla="*/ 279 h 506"/>
                <a:gd name="T10" fmla="*/ 273 w 327"/>
                <a:gd name="T11" fmla="*/ 271 h 506"/>
                <a:gd name="T12" fmla="*/ 273 w 327"/>
                <a:gd name="T13" fmla="*/ 252 h 506"/>
                <a:gd name="T14" fmla="*/ 277 w 327"/>
                <a:gd name="T15" fmla="*/ 233 h 506"/>
                <a:gd name="T16" fmla="*/ 256 w 327"/>
                <a:gd name="T17" fmla="*/ 200 h 506"/>
                <a:gd name="T18" fmla="*/ 250 w 327"/>
                <a:gd name="T19" fmla="*/ 135 h 506"/>
                <a:gd name="T20" fmla="*/ 198 w 327"/>
                <a:gd name="T21" fmla="*/ 64 h 506"/>
                <a:gd name="T22" fmla="*/ 185 w 327"/>
                <a:gd name="T23" fmla="*/ 12 h 506"/>
                <a:gd name="T24" fmla="*/ 167 w 327"/>
                <a:gd name="T25" fmla="*/ 2 h 506"/>
                <a:gd name="T26" fmla="*/ 144 w 327"/>
                <a:gd name="T27" fmla="*/ 14 h 506"/>
                <a:gd name="T28" fmla="*/ 133 w 327"/>
                <a:gd name="T29" fmla="*/ 29 h 506"/>
                <a:gd name="T30" fmla="*/ 127 w 327"/>
                <a:gd name="T31" fmla="*/ 46 h 506"/>
                <a:gd name="T32" fmla="*/ 129 w 327"/>
                <a:gd name="T33" fmla="*/ 66 h 506"/>
                <a:gd name="T34" fmla="*/ 121 w 327"/>
                <a:gd name="T35" fmla="*/ 81 h 506"/>
                <a:gd name="T36" fmla="*/ 110 w 327"/>
                <a:gd name="T37" fmla="*/ 96 h 506"/>
                <a:gd name="T38" fmla="*/ 85 w 327"/>
                <a:gd name="T39" fmla="*/ 89 h 506"/>
                <a:gd name="T40" fmla="*/ 50 w 327"/>
                <a:gd name="T41" fmla="*/ 100 h 506"/>
                <a:gd name="T42" fmla="*/ 12 w 327"/>
                <a:gd name="T43" fmla="*/ 77 h 506"/>
                <a:gd name="T44" fmla="*/ 19 w 327"/>
                <a:gd name="T45" fmla="*/ 98 h 506"/>
                <a:gd name="T46" fmla="*/ 37 w 327"/>
                <a:gd name="T47" fmla="*/ 110 h 506"/>
                <a:gd name="T48" fmla="*/ 67 w 327"/>
                <a:gd name="T49" fmla="*/ 120 h 506"/>
                <a:gd name="T50" fmla="*/ 87 w 327"/>
                <a:gd name="T51" fmla="*/ 141 h 506"/>
                <a:gd name="T52" fmla="*/ 85 w 327"/>
                <a:gd name="T53" fmla="*/ 164 h 506"/>
                <a:gd name="T54" fmla="*/ 94 w 327"/>
                <a:gd name="T55" fmla="*/ 177 h 506"/>
                <a:gd name="T56" fmla="*/ 104 w 327"/>
                <a:gd name="T57" fmla="*/ 200 h 506"/>
                <a:gd name="T58" fmla="*/ 100 w 327"/>
                <a:gd name="T59" fmla="*/ 225 h 506"/>
                <a:gd name="T60" fmla="*/ 117 w 327"/>
                <a:gd name="T61" fmla="*/ 256 h 506"/>
                <a:gd name="T62" fmla="*/ 129 w 327"/>
                <a:gd name="T63" fmla="*/ 258 h 506"/>
                <a:gd name="T64" fmla="*/ 133 w 327"/>
                <a:gd name="T65" fmla="*/ 254 h 506"/>
                <a:gd name="T66" fmla="*/ 131 w 327"/>
                <a:gd name="T67" fmla="*/ 266 h 506"/>
                <a:gd name="T68" fmla="*/ 144 w 327"/>
                <a:gd name="T69" fmla="*/ 271 h 506"/>
                <a:gd name="T70" fmla="*/ 152 w 327"/>
                <a:gd name="T71" fmla="*/ 283 h 506"/>
                <a:gd name="T72" fmla="*/ 154 w 327"/>
                <a:gd name="T73" fmla="*/ 291 h 506"/>
                <a:gd name="T74" fmla="*/ 158 w 327"/>
                <a:gd name="T75" fmla="*/ 306 h 506"/>
                <a:gd name="T76" fmla="*/ 154 w 327"/>
                <a:gd name="T77" fmla="*/ 310 h 506"/>
                <a:gd name="T78" fmla="*/ 154 w 327"/>
                <a:gd name="T79" fmla="*/ 314 h 506"/>
                <a:gd name="T80" fmla="*/ 142 w 327"/>
                <a:gd name="T81" fmla="*/ 317 h 506"/>
                <a:gd name="T82" fmla="*/ 135 w 327"/>
                <a:gd name="T83" fmla="*/ 331 h 506"/>
                <a:gd name="T84" fmla="*/ 129 w 327"/>
                <a:gd name="T85" fmla="*/ 344 h 506"/>
                <a:gd name="T86" fmla="*/ 119 w 327"/>
                <a:gd name="T87" fmla="*/ 360 h 506"/>
                <a:gd name="T88" fmla="*/ 113 w 327"/>
                <a:gd name="T89" fmla="*/ 371 h 506"/>
                <a:gd name="T90" fmla="*/ 98 w 327"/>
                <a:gd name="T91" fmla="*/ 385 h 506"/>
                <a:gd name="T92" fmla="*/ 90 w 327"/>
                <a:gd name="T93" fmla="*/ 402 h 506"/>
                <a:gd name="T94" fmla="*/ 87 w 327"/>
                <a:gd name="T95" fmla="*/ 410 h 506"/>
                <a:gd name="T96" fmla="*/ 89 w 327"/>
                <a:gd name="T97" fmla="*/ 419 h 506"/>
                <a:gd name="T98" fmla="*/ 83 w 327"/>
                <a:gd name="T99" fmla="*/ 425 h 506"/>
                <a:gd name="T100" fmla="*/ 65 w 327"/>
                <a:gd name="T101" fmla="*/ 427 h 506"/>
                <a:gd name="T102" fmla="*/ 67 w 327"/>
                <a:gd name="T103" fmla="*/ 435 h 506"/>
                <a:gd name="T104" fmla="*/ 62 w 327"/>
                <a:gd name="T105" fmla="*/ 446 h 506"/>
                <a:gd name="T106" fmla="*/ 56 w 327"/>
                <a:gd name="T107" fmla="*/ 442 h 506"/>
                <a:gd name="T108" fmla="*/ 56 w 327"/>
                <a:gd name="T109" fmla="*/ 456 h 506"/>
                <a:gd name="T110" fmla="*/ 58 w 327"/>
                <a:gd name="T111" fmla="*/ 463 h 506"/>
                <a:gd name="T112" fmla="*/ 62 w 327"/>
                <a:gd name="T113" fmla="*/ 479 h 506"/>
                <a:gd name="T114" fmla="*/ 64 w 327"/>
                <a:gd name="T115" fmla="*/ 481 h 506"/>
                <a:gd name="T116" fmla="*/ 67 w 327"/>
                <a:gd name="T117" fmla="*/ 490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506">
                  <a:moveTo>
                    <a:pt x="327" y="371"/>
                  </a:moveTo>
                  <a:lnTo>
                    <a:pt x="317" y="369"/>
                  </a:lnTo>
                  <a:lnTo>
                    <a:pt x="313" y="365"/>
                  </a:lnTo>
                  <a:lnTo>
                    <a:pt x="311" y="365"/>
                  </a:lnTo>
                  <a:lnTo>
                    <a:pt x="298" y="354"/>
                  </a:lnTo>
                  <a:lnTo>
                    <a:pt x="302" y="352"/>
                  </a:lnTo>
                  <a:lnTo>
                    <a:pt x="304" y="350"/>
                  </a:lnTo>
                  <a:lnTo>
                    <a:pt x="306" y="348"/>
                  </a:lnTo>
                  <a:lnTo>
                    <a:pt x="306" y="346"/>
                  </a:lnTo>
                  <a:lnTo>
                    <a:pt x="306" y="344"/>
                  </a:lnTo>
                  <a:lnTo>
                    <a:pt x="308" y="342"/>
                  </a:lnTo>
                  <a:lnTo>
                    <a:pt x="308" y="339"/>
                  </a:lnTo>
                  <a:lnTo>
                    <a:pt x="309" y="337"/>
                  </a:lnTo>
                  <a:lnTo>
                    <a:pt x="309" y="333"/>
                  </a:lnTo>
                  <a:lnTo>
                    <a:pt x="311" y="329"/>
                  </a:lnTo>
                  <a:lnTo>
                    <a:pt x="309" y="327"/>
                  </a:lnTo>
                  <a:lnTo>
                    <a:pt x="308" y="325"/>
                  </a:lnTo>
                  <a:lnTo>
                    <a:pt x="306" y="325"/>
                  </a:lnTo>
                  <a:lnTo>
                    <a:pt x="308" y="323"/>
                  </a:lnTo>
                  <a:lnTo>
                    <a:pt x="306" y="323"/>
                  </a:lnTo>
                  <a:lnTo>
                    <a:pt x="306" y="321"/>
                  </a:lnTo>
                  <a:lnTo>
                    <a:pt x="304" y="321"/>
                  </a:lnTo>
                  <a:lnTo>
                    <a:pt x="302" y="321"/>
                  </a:lnTo>
                  <a:lnTo>
                    <a:pt x="302" y="319"/>
                  </a:lnTo>
                  <a:lnTo>
                    <a:pt x="298" y="319"/>
                  </a:lnTo>
                  <a:lnTo>
                    <a:pt x="296" y="319"/>
                  </a:lnTo>
                  <a:lnTo>
                    <a:pt x="294" y="317"/>
                  </a:lnTo>
                  <a:lnTo>
                    <a:pt x="292" y="317"/>
                  </a:lnTo>
                  <a:lnTo>
                    <a:pt x="292" y="316"/>
                  </a:lnTo>
                  <a:lnTo>
                    <a:pt x="292" y="314"/>
                  </a:lnTo>
                  <a:lnTo>
                    <a:pt x="290" y="312"/>
                  </a:lnTo>
                  <a:lnTo>
                    <a:pt x="288" y="308"/>
                  </a:lnTo>
                  <a:lnTo>
                    <a:pt x="288" y="306"/>
                  </a:lnTo>
                  <a:lnTo>
                    <a:pt x="290" y="304"/>
                  </a:lnTo>
                  <a:lnTo>
                    <a:pt x="290" y="302"/>
                  </a:lnTo>
                  <a:lnTo>
                    <a:pt x="290" y="300"/>
                  </a:lnTo>
                  <a:lnTo>
                    <a:pt x="288" y="298"/>
                  </a:lnTo>
                  <a:lnTo>
                    <a:pt x="288" y="296"/>
                  </a:lnTo>
                  <a:lnTo>
                    <a:pt x="288" y="294"/>
                  </a:lnTo>
                  <a:lnTo>
                    <a:pt x="286" y="294"/>
                  </a:lnTo>
                  <a:lnTo>
                    <a:pt x="283" y="294"/>
                  </a:lnTo>
                  <a:lnTo>
                    <a:pt x="281" y="294"/>
                  </a:lnTo>
                  <a:lnTo>
                    <a:pt x="279" y="294"/>
                  </a:lnTo>
                  <a:lnTo>
                    <a:pt x="277" y="292"/>
                  </a:lnTo>
                  <a:lnTo>
                    <a:pt x="275" y="289"/>
                  </a:lnTo>
                  <a:lnTo>
                    <a:pt x="273" y="287"/>
                  </a:lnTo>
                  <a:lnTo>
                    <a:pt x="273" y="285"/>
                  </a:lnTo>
                  <a:lnTo>
                    <a:pt x="273" y="283"/>
                  </a:lnTo>
                  <a:lnTo>
                    <a:pt x="273" y="281"/>
                  </a:lnTo>
                  <a:lnTo>
                    <a:pt x="273" y="279"/>
                  </a:lnTo>
                  <a:lnTo>
                    <a:pt x="275" y="277"/>
                  </a:lnTo>
                  <a:lnTo>
                    <a:pt x="277" y="277"/>
                  </a:lnTo>
                  <a:lnTo>
                    <a:pt x="279" y="277"/>
                  </a:lnTo>
                  <a:lnTo>
                    <a:pt x="279" y="275"/>
                  </a:lnTo>
                  <a:lnTo>
                    <a:pt x="277" y="275"/>
                  </a:lnTo>
                  <a:lnTo>
                    <a:pt x="279" y="273"/>
                  </a:lnTo>
                  <a:lnTo>
                    <a:pt x="279" y="271"/>
                  </a:lnTo>
                  <a:lnTo>
                    <a:pt x="277" y="269"/>
                  </a:lnTo>
                  <a:lnTo>
                    <a:pt x="275" y="269"/>
                  </a:lnTo>
                  <a:lnTo>
                    <a:pt x="273" y="271"/>
                  </a:lnTo>
                  <a:lnTo>
                    <a:pt x="271" y="269"/>
                  </a:lnTo>
                  <a:lnTo>
                    <a:pt x="269" y="269"/>
                  </a:lnTo>
                  <a:lnTo>
                    <a:pt x="271" y="267"/>
                  </a:lnTo>
                  <a:lnTo>
                    <a:pt x="271" y="264"/>
                  </a:lnTo>
                  <a:lnTo>
                    <a:pt x="273" y="264"/>
                  </a:lnTo>
                  <a:lnTo>
                    <a:pt x="273" y="262"/>
                  </a:lnTo>
                  <a:lnTo>
                    <a:pt x="271" y="260"/>
                  </a:lnTo>
                  <a:lnTo>
                    <a:pt x="271" y="256"/>
                  </a:lnTo>
                  <a:lnTo>
                    <a:pt x="271" y="254"/>
                  </a:lnTo>
                  <a:lnTo>
                    <a:pt x="273" y="252"/>
                  </a:lnTo>
                  <a:lnTo>
                    <a:pt x="273" y="250"/>
                  </a:lnTo>
                  <a:lnTo>
                    <a:pt x="271" y="248"/>
                  </a:lnTo>
                  <a:lnTo>
                    <a:pt x="269" y="246"/>
                  </a:lnTo>
                  <a:lnTo>
                    <a:pt x="269" y="244"/>
                  </a:lnTo>
                  <a:lnTo>
                    <a:pt x="271" y="242"/>
                  </a:lnTo>
                  <a:lnTo>
                    <a:pt x="275" y="241"/>
                  </a:lnTo>
                  <a:lnTo>
                    <a:pt x="277" y="241"/>
                  </a:lnTo>
                  <a:lnTo>
                    <a:pt x="279" y="241"/>
                  </a:lnTo>
                  <a:lnTo>
                    <a:pt x="279" y="237"/>
                  </a:lnTo>
                  <a:lnTo>
                    <a:pt x="277" y="233"/>
                  </a:lnTo>
                  <a:lnTo>
                    <a:pt x="275" y="229"/>
                  </a:lnTo>
                  <a:lnTo>
                    <a:pt x="273" y="223"/>
                  </a:lnTo>
                  <a:lnTo>
                    <a:pt x="271" y="219"/>
                  </a:lnTo>
                  <a:lnTo>
                    <a:pt x="269" y="218"/>
                  </a:lnTo>
                  <a:lnTo>
                    <a:pt x="267" y="214"/>
                  </a:lnTo>
                  <a:lnTo>
                    <a:pt x="263" y="212"/>
                  </a:lnTo>
                  <a:lnTo>
                    <a:pt x="260" y="208"/>
                  </a:lnTo>
                  <a:lnTo>
                    <a:pt x="260" y="206"/>
                  </a:lnTo>
                  <a:lnTo>
                    <a:pt x="258" y="204"/>
                  </a:lnTo>
                  <a:lnTo>
                    <a:pt x="256" y="200"/>
                  </a:lnTo>
                  <a:lnTo>
                    <a:pt x="252" y="196"/>
                  </a:lnTo>
                  <a:lnTo>
                    <a:pt x="250" y="193"/>
                  </a:lnTo>
                  <a:lnTo>
                    <a:pt x="242" y="187"/>
                  </a:lnTo>
                  <a:lnTo>
                    <a:pt x="238" y="181"/>
                  </a:lnTo>
                  <a:lnTo>
                    <a:pt x="236" y="179"/>
                  </a:lnTo>
                  <a:lnTo>
                    <a:pt x="235" y="175"/>
                  </a:lnTo>
                  <a:lnTo>
                    <a:pt x="235" y="173"/>
                  </a:lnTo>
                  <a:lnTo>
                    <a:pt x="242" y="150"/>
                  </a:lnTo>
                  <a:lnTo>
                    <a:pt x="246" y="148"/>
                  </a:lnTo>
                  <a:lnTo>
                    <a:pt x="250" y="135"/>
                  </a:lnTo>
                  <a:lnTo>
                    <a:pt x="252" y="127"/>
                  </a:lnTo>
                  <a:lnTo>
                    <a:pt x="240" y="121"/>
                  </a:lnTo>
                  <a:lnTo>
                    <a:pt x="229" y="108"/>
                  </a:lnTo>
                  <a:lnTo>
                    <a:pt x="210" y="104"/>
                  </a:lnTo>
                  <a:lnTo>
                    <a:pt x="202" y="85"/>
                  </a:lnTo>
                  <a:lnTo>
                    <a:pt x="206" y="71"/>
                  </a:lnTo>
                  <a:lnTo>
                    <a:pt x="208" y="64"/>
                  </a:lnTo>
                  <a:lnTo>
                    <a:pt x="202" y="64"/>
                  </a:lnTo>
                  <a:lnTo>
                    <a:pt x="200" y="66"/>
                  </a:lnTo>
                  <a:lnTo>
                    <a:pt x="198" y="64"/>
                  </a:lnTo>
                  <a:lnTo>
                    <a:pt x="208" y="54"/>
                  </a:lnTo>
                  <a:lnTo>
                    <a:pt x="206" y="52"/>
                  </a:lnTo>
                  <a:lnTo>
                    <a:pt x="204" y="50"/>
                  </a:lnTo>
                  <a:lnTo>
                    <a:pt x="204" y="48"/>
                  </a:lnTo>
                  <a:lnTo>
                    <a:pt x="204" y="46"/>
                  </a:lnTo>
                  <a:lnTo>
                    <a:pt x="204" y="45"/>
                  </a:lnTo>
                  <a:lnTo>
                    <a:pt x="213" y="27"/>
                  </a:lnTo>
                  <a:lnTo>
                    <a:pt x="206" y="16"/>
                  </a:lnTo>
                  <a:lnTo>
                    <a:pt x="187" y="14"/>
                  </a:lnTo>
                  <a:lnTo>
                    <a:pt x="185" y="12"/>
                  </a:lnTo>
                  <a:lnTo>
                    <a:pt x="185" y="10"/>
                  </a:lnTo>
                  <a:lnTo>
                    <a:pt x="181" y="10"/>
                  </a:lnTo>
                  <a:lnTo>
                    <a:pt x="179" y="8"/>
                  </a:lnTo>
                  <a:lnTo>
                    <a:pt x="177" y="8"/>
                  </a:lnTo>
                  <a:lnTo>
                    <a:pt x="175" y="6"/>
                  </a:lnTo>
                  <a:lnTo>
                    <a:pt x="175" y="2"/>
                  </a:lnTo>
                  <a:lnTo>
                    <a:pt x="175" y="0"/>
                  </a:lnTo>
                  <a:lnTo>
                    <a:pt x="173" y="0"/>
                  </a:lnTo>
                  <a:lnTo>
                    <a:pt x="169" y="2"/>
                  </a:lnTo>
                  <a:lnTo>
                    <a:pt x="167" y="2"/>
                  </a:lnTo>
                  <a:lnTo>
                    <a:pt x="165" y="4"/>
                  </a:lnTo>
                  <a:lnTo>
                    <a:pt x="163" y="6"/>
                  </a:lnTo>
                  <a:lnTo>
                    <a:pt x="162" y="8"/>
                  </a:lnTo>
                  <a:lnTo>
                    <a:pt x="160" y="8"/>
                  </a:lnTo>
                  <a:lnTo>
                    <a:pt x="160" y="10"/>
                  </a:lnTo>
                  <a:lnTo>
                    <a:pt x="160" y="12"/>
                  </a:lnTo>
                  <a:lnTo>
                    <a:pt x="152" y="14"/>
                  </a:lnTo>
                  <a:lnTo>
                    <a:pt x="148" y="14"/>
                  </a:lnTo>
                  <a:lnTo>
                    <a:pt x="146" y="14"/>
                  </a:lnTo>
                  <a:lnTo>
                    <a:pt x="144" y="14"/>
                  </a:lnTo>
                  <a:lnTo>
                    <a:pt x="142" y="14"/>
                  </a:lnTo>
                  <a:lnTo>
                    <a:pt x="138" y="16"/>
                  </a:lnTo>
                  <a:lnTo>
                    <a:pt x="138" y="18"/>
                  </a:lnTo>
                  <a:lnTo>
                    <a:pt x="138" y="20"/>
                  </a:lnTo>
                  <a:lnTo>
                    <a:pt x="138" y="22"/>
                  </a:lnTo>
                  <a:lnTo>
                    <a:pt x="137" y="23"/>
                  </a:lnTo>
                  <a:lnTo>
                    <a:pt x="135" y="25"/>
                  </a:lnTo>
                  <a:lnTo>
                    <a:pt x="135" y="27"/>
                  </a:lnTo>
                  <a:lnTo>
                    <a:pt x="133" y="27"/>
                  </a:lnTo>
                  <a:lnTo>
                    <a:pt x="133" y="29"/>
                  </a:lnTo>
                  <a:lnTo>
                    <a:pt x="131" y="31"/>
                  </a:lnTo>
                  <a:lnTo>
                    <a:pt x="129" y="31"/>
                  </a:lnTo>
                  <a:lnTo>
                    <a:pt x="127" y="33"/>
                  </a:lnTo>
                  <a:lnTo>
                    <a:pt x="129" y="35"/>
                  </a:lnTo>
                  <a:lnTo>
                    <a:pt x="131" y="37"/>
                  </a:lnTo>
                  <a:lnTo>
                    <a:pt x="131" y="39"/>
                  </a:lnTo>
                  <a:lnTo>
                    <a:pt x="129" y="41"/>
                  </a:lnTo>
                  <a:lnTo>
                    <a:pt x="129" y="43"/>
                  </a:lnTo>
                  <a:lnTo>
                    <a:pt x="129" y="45"/>
                  </a:lnTo>
                  <a:lnTo>
                    <a:pt x="127" y="46"/>
                  </a:lnTo>
                  <a:lnTo>
                    <a:pt x="129" y="48"/>
                  </a:lnTo>
                  <a:lnTo>
                    <a:pt x="129" y="50"/>
                  </a:lnTo>
                  <a:lnTo>
                    <a:pt x="127" y="52"/>
                  </a:lnTo>
                  <a:lnTo>
                    <a:pt x="127" y="54"/>
                  </a:lnTo>
                  <a:lnTo>
                    <a:pt x="127" y="56"/>
                  </a:lnTo>
                  <a:lnTo>
                    <a:pt x="127" y="58"/>
                  </a:lnTo>
                  <a:lnTo>
                    <a:pt x="127" y="60"/>
                  </a:lnTo>
                  <a:lnTo>
                    <a:pt x="129" y="62"/>
                  </a:lnTo>
                  <a:lnTo>
                    <a:pt x="129" y="64"/>
                  </a:lnTo>
                  <a:lnTo>
                    <a:pt x="129" y="66"/>
                  </a:lnTo>
                  <a:lnTo>
                    <a:pt x="131" y="68"/>
                  </a:lnTo>
                  <a:lnTo>
                    <a:pt x="131" y="70"/>
                  </a:lnTo>
                  <a:lnTo>
                    <a:pt x="131" y="71"/>
                  </a:lnTo>
                  <a:lnTo>
                    <a:pt x="129" y="73"/>
                  </a:lnTo>
                  <a:lnTo>
                    <a:pt x="129" y="75"/>
                  </a:lnTo>
                  <a:lnTo>
                    <a:pt x="127" y="77"/>
                  </a:lnTo>
                  <a:lnTo>
                    <a:pt x="127" y="79"/>
                  </a:lnTo>
                  <a:lnTo>
                    <a:pt x="125" y="79"/>
                  </a:lnTo>
                  <a:lnTo>
                    <a:pt x="123" y="79"/>
                  </a:lnTo>
                  <a:lnTo>
                    <a:pt x="121" y="81"/>
                  </a:lnTo>
                  <a:lnTo>
                    <a:pt x="119" y="83"/>
                  </a:lnTo>
                  <a:lnTo>
                    <a:pt x="119" y="85"/>
                  </a:lnTo>
                  <a:lnTo>
                    <a:pt x="117" y="87"/>
                  </a:lnTo>
                  <a:lnTo>
                    <a:pt x="117" y="89"/>
                  </a:lnTo>
                  <a:lnTo>
                    <a:pt x="117" y="91"/>
                  </a:lnTo>
                  <a:lnTo>
                    <a:pt x="117" y="95"/>
                  </a:lnTo>
                  <a:lnTo>
                    <a:pt x="115" y="96"/>
                  </a:lnTo>
                  <a:lnTo>
                    <a:pt x="113" y="100"/>
                  </a:lnTo>
                  <a:lnTo>
                    <a:pt x="112" y="98"/>
                  </a:lnTo>
                  <a:lnTo>
                    <a:pt x="110" y="96"/>
                  </a:lnTo>
                  <a:lnTo>
                    <a:pt x="106" y="95"/>
                  </a:lnTo>
                  <a:lnTo>
                    <a:pt x="104" y="95"/>
                  </a:lnTo>
                  <a:lnTo>
                    <a:pt x="100" y="93"/>
                  </a:lnTo>
                  <a:lnTo>
                    <a:pt x="98" y="93"/>
                  </a:lnTo>
                  <a:lnTo>
                    <a:pt x="94" y="93"/>
                  </a:lnTo>
                  <a:lnTo>
                    <a:pt x="92" y="91"/>
                  </a:lnTo>
                  <a:lnTo>
                    <a:pt x="90" y="91"/>
                  </a:lnTo>
                  <a:lnTo>
                    <a:pt x="89" y="89"/>
                  </a:lnTo>
                  <a:lnTo>
                    <a:pt x="87" y="87"/>
                  </a:lnTo>
                  <a:lnTo>
                    <a:pt x="85" y="89"/>
                  </a:lnTo>
                  <a:lnTo>
                    <a:pt x="83" y="91"/>
                  </a:lnTo>
                  <a:lnTo>
                    <a:pt x="83" y="93"/>
                  </a:lnTo>
                  <a:lnTo>
                    <a:pt x="83" y="95"/>
                  </a:lnTo>
                  <a:lnTo>
                    <a:pt x="77" y="96"/>
                  </a:lnTo>
                  <a:lnTo>
                    <a:pt x="75" y="98"/>
                  </a:lnTo>
                  <a:lnTo>
                    <a:pt x="69" y="102"/>
                  </a:lnTo>
                  <a:lnTo>
                    <a:pt x="65" y="98"/>
                  </a:lnTo>
                  <a:lnTo>
                    <a:pt x="60" y="100"/>
                  </a:lnTo>
                  <a:lnTo>
                    <a:pt x="54" y="98"/>
                  </a:lnTo>
                  <a:lnTo>
                    <a:pt x="50" y="100"/>
                  </a:lnTo>
                  <a:lnTo>
                    <a:pt x="48" y="93"/>
                  </a:lnTo>
                  <a:lnTo>
                    <a:pt x="44" y="89"/>
                  </a:lnTo>
                  <a:lnTo>
                    <a:pt x="42" y="87"/>
                  </a:lnTo>
                  <a:lnTo>
                    <a:pt x="37" y="79"/>
                  </a:lnTo>
                  <a:lnTo>
                    <a:pt x="27" y="70"/>
                  </a:lnTo>
                  <a:lnTo>
                    <a:pt x="19" y="70"/>
                  </a:lnTo>
                  <a:lnTo>
                    <a:pt x="15" y="71"/>
                  </a:lnTo>
                  <a:lnTo>
                    <a:pt x="12" y="73"/>
                  </a:lnTo>
                  <a:lnTo>
                    <a:pt x="12" y="75"/>
                  </a:lnTo>
                  <a:lnTo>
                    <a:pt x="12" y="77"/>
                  </a:lnTo>
                  <a:lnTo>
                    <a:pt x="14" y="79"/>
                  </a:lnTo>
                  <a:lnTo>
                    <a:pt x="15" y="81"/>
                  </a:lnTo>
                  <a:lnTo>
                    <a:pt x="15" y="85"/>
                  </a:lnTo>
                  <a:lnTo>
                    <a:pt x="6" y="81"/>
                  </a:lnTo>
                  <a:lnTo>
                    <a:pt x="0" y="85"/>
                  </a:lnTo>
                  <a:lnTo>
                    <a:pt x="6" y="85"/>
                  </a:lnTo>
                  <a:lnTo>
                    <a:pt x="10" y="89"/>
                  </a:lnTo>
                  <a:lnTo>
                    <a:pt x="10" y="93"/>
                  </a:lnTo>
                  <a:lnTo>
                    <a:pt x="14" y="95"/>
                  </a:lnTo>
                  <a:lnTo>
                    <a:pt x="19" y="98"/>
                  </a:lnTo>
                  <a:lnTo>
                    <a:pt x="21" y="100"/>
                  </a:lnTo>
                  <a:lnTo>
                    <a:pt x="23" y="100"/>
                  </a:lnTo>
                  <a:lnTo>
                    <a:pt x="23" y="102"/>
                  </a:lnTo>
                  <a:lnTo>
                    <a:pt x="25" y="104"/>
                  </a:lnTo>
                  <a:lnTo>
                    <a:pt x="27" y="106"/>
                  </a:lnTo>
                  <a:lnTo>
                    <a:pt x="31" y="106"/>
                  </a:lnTo>
                  <a:lnTo>
                    <a:pt x="31" y="108"/>
                  </a:lnTo>
                  <a:lnTo>
                    <a:pt x="31" y="110"/>
                  </a:lnTo>
                  <a:lnTo>
                    <a:pt x="33" y="110"/>
                  </a:lnTo>
                  <a:lnTo>
                    <a:pt x="37" y="110"/>
                  </a:lnTo>
                  <a:lnTo>
                    <a:pt x="39" y="110"/>
                  </a:lnTo>
                  <a:lnTo>
                    <a:pt x="39" y="112"/>
                  </a:lnTo>
                  <a:lnTo>
                    <a:pt x="42" y="114"/>
                  </a:lnTo>
                  <a:lnTo>
                    <a:pt x="44" y="116"/>
                  </a:lnTo>
                  <a:lnTo>
                    <a:pt x="48" y="114"/>
                  </a:lnTo>
                  <a:lnTo>
                    <a:pt x="52" y="114"/>
                  </a:lnTo>
                  <a:lnTo>
                    <a:pt x="56" y="116"/>
                  </a:lnTo>
                  <a:lnTo>
                    <a:pt x="60" y="116"/>
                  </a:lnTo>
                  <a:lnTo>
                    <a:pt x="62" y="118"/>
                  </a:lnTo>
                  <a:lnTo>
                    <a:pt x="67" y="120"/>
                  </a:lnTo>
                  <a:lnTo>
                    <a:pt x="71" y="123"/>
                  </a:lnTo>
                  <a:lnTo>
                    <a:pt x="73" y="125"/>
                  </a:lnTo>
                  <a:lnTo>
                    <a:pt x="73" y="129"/>
                  </a:lnTo>
                  <a:lnTo>
                    <a:pt x="77" y="129"/>
                  </a:lnTo>
                  <a:lnTo>
                    <a:pt x="79" y="133"/>
                  </a:lnTo>
                  <a:lnTo>
                    <a:pt x="79" y="135"/>
                  </a:lnTo>
                  <a:lnTo>
                    <a:pt x="83" y="137"/>
                  </a:lnTo>
                  <a:lnTo>
                    <a:pt x="85" y="137"/>
                  </a:lnTo>
                  <a:lnTo>
                    <a:pt x="87" y="139"/>
                  </a:lnTo>
                  <a:lnTo>
                    <a:pt x="87" y="141"/>
                  </a:lnTo>
                  <a:lnTo>
                    <a:pt x="85" y="143"/>
                  </a:lnTo>
                  <a:lnTo>
                    <a:pt x="83" y="146"/>
                  </a:lnTo>
                  <a:lnTo>
                    <a:pt x="85" y="152"/>
                  </a:lnTo>
                  <a:lnTo>
                    <a:pt x="85" y="154"/>
                  </a:lnTo>
                  <a:lnTo>
                    <a:pt x="85" y="156"/>
                  </a:lnTo>
                  <a:lnTo>
                    <a:pt x="87" y="158"/>
                  </a:lnTo>
                  <a:lnTo>
                    <a:pt x="87" y="160"/>
                  </a:lnTo>
                  <a:lnTo>
                    <a:pt x="87" y="162"/>
                  </a:lnTo>
                  <a:lnTo>
                    <a:pt x="85" y="162"/>
                  </a:lnTo>
                  <a:lnTo>
                    <a:pt x="85" y="164"/>
                  </a:lnTo>
                  <a:lnTo>
                    <a:pt x="85" y="166"/>
                  </a:lnTo>
                  <a:lnTo>
                    <a:pt x="85" y="168"/>
                  </a:lnTo>
                  <a:lnTo>
                    <a:pt x="87" y="168"/>
                  </a:lnTo>
                  <a:lnTo>
                    <a:pt x="89" y="168"/>
                  </a:lnTo>
                  <a:lnTo>
                    <a:pt x="92" y="168"/>
                  </a:lnTo>
                  <a:lnTo>
                    <a:pt x="94" y="169"/>
                  </a:lnTo>
                  <a:lnTo>
                    <a:pt x="94" y="171"/>
                  </a:lnTo>
                  <a:lnTo>
                    <a:pt x="94" y="173"/>
                  </a:lnTo>
                  <a:lnTo>
                    <a:pt x="94" y="175"/>
                  </a:lnTo>
                  <a:lnTo>
                    <a:pt x="94" y="177"/>
                  </a:lnTo>
                  <a:lnTo>
                    <a:pt x="92" y="179"/>
                  </a:lnTo>
                  <a:lnTo>
                    <a:pt x="90" y="179"/>
                  </a:lnTo>
                  <a:lnTo>
                    <a:pt x="90" y="181"/>
                  </a:lnTo>
                  <a:lnTo>
                    <a:pt x="92" y="183"/>
                  </a:lnTo>
                  <a:lnTo>
                    <a:pt x="92" y="185"/>
                  </a:lnTo>
                  <a:lnTo>
                    <a:pt x="92" y="187"/>
                  </a:lnTo>
                  <a:lnTo>
                    <a:pt x="94" y="189"/>
                  </a:lnTo>
                  <a:lnTo>
                    <a:pt x="98" y="193"/>
                  </a:lnTo>
                  <a:lnTo>
                    <a:pt x="102" y="196"/>
                  </a:lnTo>
                  <a:lnTo>
                    <a:pt x="104" y="200"/>
                  </a:lnTo>
                  <a:lnTo>
                    <a:pt x="106" y="202"/>
                  </a:lnTo>
                  <a:lnTo>
                    <a:pt x="106" y="204"/>
                  </a:lnTo>
                  <a:lnTo>
                    <a:pt x="104" y="204"/>
                  </a:lnTo>
                  <a:lnTo>
                    <a:pt x="104" y="208"/>
                  </a:lnTo>
                  <a:lnTo>
                    <a:pt x="104" y="212"/>
                  </a:lnTo>
                  <a:lnTo>
                    <a:pt x="104" y="216"/>
                  </a:lnTo>
                  <a:lnTo>
                    <a:pt x="104" y="218"/>
                  </a:lnTo>
                  <a:lnTo>
                    <a:pt x="104" y="219"/>
                  </a:lnTo>
                  <a:lnTo>
                    <a:pt x="102" y="223"/>
                  </a:lnTo>
                  <a:lnTo>
                    <a:pt x="100" y="225"/>
                  </a:lnTo>
                  <a:lnTo>
                    <a:pt x="100" y="229"/>
                  </a:lnTo>
                  <a:lnTo>
                    <a:pt x="100" y="233"/>
                  </a:lnTo>
                  <a:lnTo>
                    <a:pt x="102" y="237"/>
                  </a:lnTo>
                  <a:lnTo>
                    <a:pt x="104" y="241"/>
                  </a:lnTo>
                  <a:lnTo>
                    <a:pt x="108" y="242"/>
                  </a:lnTo>
                  <a:lnTo>
                    <a:pt x="110" y="244"/>
                  </a:lnTo>
                  <a:lnTo>
                    <a:pt x="112" y="248"/>
                  </a:lnTo>
                  <a:lnTo>
                    <a:pt x="113" y="250"/>
                  </a:lnTo>
                  <a:lnTo>
                    <a:pt x="115" y="254"/>
                  </a:lnTo>
                  <a:lnTo>
                    <a:pt x="117" y="256"/>
                  </a:lnTo>
                  <a:lnTo>
                    <a:pt x="117" y="258"/>
                  </a:lnTo>
                  <a:lnTo>
                    <a:pt x="115" y="262"/>
                  </a:lnTo>
                  <a:lnTo>
                    <a:pt x="119" y="264"/>
                  </a:lnTo>
                  <a:lnTo>
                    <a:pt x="119" y="262"/>
                  </a:lnTo>
                  <a:lnTo>
                    <a:pt x="121" y="262"/>
                  </a:lnTo>
                  <a:lnTo>
                    <a:pt x="123" y="264"/>
                  </a:lnTo>
                  <a:lnTo>
                    <a:pt x="125" y="264"/>
                  </a:lnTo>
                  <a:lnTo>
                    <a:pt x="127" y="262"/>
                  </a:lnTo>
                  <a:lnTo>
                    <a:pt x="127" y="260"/>
                  </a:lnTo>
                  <a:lnTo>
                    <a:pt x="129" y="258"/>
                  </a:lnTo>
                  <a:lnTo>
                    <a:pt x="129" y="256"/>
                  </a:lnTo>
                  <a:lnTo>
                    <a:pt x="129" y="254"/>
                  </a:lnTo>
                  <a:lnTo>
                    <a:pt x="131" y="254"/>
                  </a:lnTo>
                  <a:lnTo>
                    <a:pt x="131" y="252"/>
                  </a:lnTo>
                  <a:lnTo>
                    <a:pt x="131" y="250"/>
                  </a:lnTo>
                  <a:lnTo>
                    <a:pt x="131" y="248"/>
                  </a:lnTo>
                  <a:lnTo>
                    <a:pt x="131" y="250"/>
                  </a:lnTo>
                  <a:lnTo>
                    <a:pt x="133" y="250"/>
                  </a:lnTo>
                  <a:lnTo>
                    <a:pt x="133" y="252"/>
                  </a:lnTo>
                  <a:lnTo>
                    <a:pt x="133" y="254"/>
                  </a:lnTo>
                  <a:lnTo>
                    <a:pt x="133" y="256"/>
                  </a:lnTo>
                  <a:lnTo>
                    <a:pt x="131" y="258"/>
                  </a:lnTo>
                  <a:lnTo>
                    <a:pt x="131" y="260"/>
                  </a:lnTo>
                  <a:lnTo>
                    <a:pt x="131" y="262"/>
                  </a:lnTo>
                  <a:lnTo>
                    <a:pt x="131" y="264"/>
                  </a:lnTo>
                  <a:lnTo>
                    <a:pt x="129" y="264"/>
                  </a:lnTo>
                  <a:lnTo>
                    <a:pt x="129" y="266"/>
                  </a:lnTo>
                  <a:lnTo>
                    <a:pt x="131" y="266"/>
                  </a:lnTo>
                  <a:lnTo>
                    <a:pt x="131" y="267"/>
                  </a:lnTo>
                  <a:lnTo>
                    <a:pt x="131" y="266"/>
                  </a:lnTo>
                  <a:lnTo>
                    <a:pt x="133" y="267"/>
                  </a:lnTo>
                  <a:lnTo>
                    <a:pt x="133" y="269"/>
                  </a:lnTo>
                  <a:lnTo>
                    <a:pt x="135" y="269"/>
                  </a:lnTo>
                  <a:lnTo>
                    <a:pt x="135" y="267"/>
                  </a:lnTo>
                  <a:lnTo>
                    <a:pt x="135" y="269"/>
                  </a:lnTo>
                  <a:lnTo>
                    <a:pt x="137" y="269"/>
                  </a:lnTo>
                  <a:lnTo>
                    <a:pt x="140" y="269"/>
                  </a:lnTo>
                  <a:lnTo>
                    <a:pt x="142" y="269"/>
                  </a:lnTo>
                  <a:lnTo>
                    <a:pt x="144" y="269"/>
                  </a:lnTo>
                  <a:lnTo>
                    <a:pt x="144" y="271"/>
                  </a:lnTo>
                  <a:lnTo>
                    <a:pt x="146" y="273"/>
                  </a:lnTo>
                  <a:lnTo>
                    <a:pt x="148" y="271"/>
                  </a:lnTo>
                  <a:lnTo>
                    <a:pt x="148" y="273"/>
                  </a:lnTo>
                  <a:lnTo>
                    <a:pt x="150" y="275"/>
                  </a:lnTo>
                  <a:lnTo>
                    <a:pt x="152" y="277"/>
                  </a:lnTo>
                  <a:lnTo>
                    <a:pt x="154" y="279"/>
                  </a:lnTo>
                  <a:lnTo>
                    <a:pt x="154" y="281"/>
                  </a:lnTo>
                  <a:lnTo>
                    <a:pt x="154" y="283"/>
                  </a:lnTo>
                  <a:lnTo>
                    <a:pt x="152" y="281"/>
                  </a:lnTo>
                  <a:lnTo>
                    <a:pt x="152" y="283"/>
                  </a:lnTo>
                  <a:lnTo>
                    <a:pt x="154" y="285"/>
                  </a:lnTo>
                  <a:lnTo>
                    <a:pt x="154" y="287"/>
                  </a:lnTo>
                  <a:lnTo>
                    <a:pt x="154" y="285"/>
                  </a:lnTo>
                  <a:lnTo>
                    <a:pt x="156" y="287"/>
                  </a:lnTo>
                  <a:lnTo>
                    <a:pt x="154" y="287"/>
                  </a:lnTo>
                  <a:lnTo>
                    <a:pt x="152" y="287"/>
                  </a:lnTo>
                  <a:lnTo>
                    <a:pt x="152" y="289"/>
                  </a:lnTo>
                  <a:lnTo>
                    <a:pt x="154" y="289"/>
                  </a:lnTo>
                  <a:lnTo>
                    <a:pt x="152" y="291"/>
                  </a:lnTo>
                  <a:lnTo>
                    <a:pt x="154" y="291"/>
                  </a:lnTo>
                  <a:lnTo>
                    <a:pt x="154" y="292"/>
                  </a:lnTo>
                  <a:lnTo>
                    <a:pt x="154" y="294"/>
                  </a:lnTo>
                  <a:lnTo>
                    <a:pt x="156" y="294"/>
                  </a:lnTo>
                  <a:lnTo>
                    <a:pt x="154" y="294"/>
                  </a:lnTo>
                  <a:lnTo>
                    <a:pt x="154" y="296"/>
                  </a:lnTo>
                  <a:lnTo>
                    <a:pt x="154" y="298"/>
                  </a:lnTo>
                  <a:lnTo>
                    <a:pt x="158" y="300"/>
                  </a:lnTo>
                  <a:lnTo>
                    <a:pt x="158" y="302"/>
                  </a:lnTo>
                  <a:lnTo>
                    <a:pt x="160" y="304"/>
                  </a:lnTo>
                  <a:lnTo>
                    <a:pt x="158" y="306"/>
                  </a:lnTo>
                  <a:lnTo>
                    <a:pt x="160" y="306"/>
                  </a:lnTo>
                  <a:lnTo>
                    <a:pt x="162" y="306"/>
                  </a:lnTo>
                  <a:lnTo>
                    <a:pt x="162" y="308"/>
                  </a:lnTo>
                  <a:lnTo>
                    <a:pt x="160" y="308"/>
                  </a:lnTo>
                  <a:lnTo>
                    <a:pt x="158" y="308"/>
                  </a:lnTo>
                  <a:lnTo>
                    <a:pt x="156" y="308"/>
                  </a:lnTo>
                  <a:lnTo>
                    <a:pt x="156" y="306"/>
                  </a:lnTo>
                  <a:lnTo>
                    <a:pt x="154" y="306"/>
                  </a:lnTo>
                  <a:lnTo>
                    <a:pt x="154" y="308"/>
                  </a:lnTo>
                  <a:lnTo>
                    <a:pt x="154" y="310"/>
                  </a:lnTo>
                  <a:lnTo>
                    <a:pt x="156" y="310"/>
                  </a:lnTo>
                  <a:lnTo>
                    <a:pt x="158" y="312"/>
                  </a:lnTo>
                  <a:lnTo>
                    <a:pt x="160" y="312"/>
                  </a:lnTo>
                  <a:lnTo>
                    <a:pt x="160" y="314"/>
                  </a:lnTo>
                  <a:lnTo>
                    <a:pt x="160" y="316"/>
                  </a:lnTo>
                  <a:lnTo>
                    <a:pt x="158" y="316"/>
                  </a:lnTo>
                  <a:lnTo>
                    <a:pt x="156" y="316"/>
                  </a:lnTo>
                  <a:lnTo>
                    <a:pt x="158" y="314"/>
                  </a:lnTo>
                  <a:lnTo>
                    <a:pt x="156" y="314"/>
                  </a:lnTo>
                  <a:lnTo>
                    <a:pt x="154" y="314"/>
                  </a:lnTo>
                  <a:lnTo>
                    <a:pt x="154" y="312"/>
                  </a:lnTo>
                  <a:lnTo>
                    <a:pt x="154" y="314"/>
                  </a:lnTo>
                  <a:lnTo>
                    <a:pt x="152" y="312"/>
                  </a:lnTo>
                  <a:lnTo>
                    <a:pt x="150" y="312"/>
                  </a:lnTo>
                  <a:lnTo>
                    <a:pt x="148" y="314"/>
                  </a:lnTo>
                  <a:lnTo>
                    <a:pt x="146" y="314"/>
                  </a:lnTo>
                  <a:lnTo>
                    <a:pt x="146" y="316"/>
                  </a:lnTo>
                  <a:lnTo>
                    <a:pt x="144" y="316"/>
                  </a:lnTo>
                  <a:lnTo>
                    <a:pt x="142" y="316"/>
                  </a:lnTo>
                  <a:lnTo>
                    <a:pt x="142" y="317"/>
                  </a:lnTo>
                  <a:lnTo>
                    <a:pt x="140" y="317"/>
                  </a:lnTo>
                  <a:lnTo>
                    <a:pt x="140" y="321"/>
                  </a:lnTo>
                  <a:lnTo>
                    <a:pt x="140" y="319"/>
                  </a:lnTo>
                  <a:lnTo>
                    <a:pt x="138" y="321"/>
                  </a:lnTo>
                  <a:lnTo>
                    <a:pt x="138" y="323"/>
                  </a:lnTo>
                  <a:lnTo>
                    <a:pt x="138" y="325"/>
                  </a:lnTo>
                  <a:lnTo>
                    <a:pt x="138" y="327"/>
                  </a:lnTo>
                  <a:lnTo>
                    <a:pt x="137" y="327"/>
                  </a:lnTo>
                  <a:lnTo>
                    <a:pt x="135" y="329"/>
                  </a:lnTo>
                  <a:lnTo>
                    <a:pt x="135" y="331"/>
                  </a:lnTo>
                  <a:lnTo>
                    <a:pt x="135" y="333"/>
                  </a:lnTo>
                  <a:lnTo>
                    <a:pt x="135" y="335"/>
                  </a:lnTo>
                  <a:lnTo>
                    <a:pt x="135" y="337"/>
                  </a:lnTo>
                  <a:lnTo>
                    <a:pt x="135" y="339"/>
                  </a:lnTo>
                  <a:lnTo>
                    <a:pt x="133" y="339"/>
                  </a:lnTo>
                  <a:lnTo>
                    <a:pt x="131" y="339"/>
                  </a:lnTo>
                  <a:lnTo>
                    <a:pt x="133" y="339"/>
                  </a:lnTo>
                  <a:lnTo>
                    <a:pt x="131" y="340"/>
                  </a:lnTo>
                  <a:lnTo>
                    <a:pt x="131" y="342"/>
                  </a:lnTo>
                  <a:lnTo>
                    <a:pt x="129" y="344"/>
                  </a:lnTo>
                  <a:lnTo>
                    <a:pt x="127" y="346"/>
                  </a:lnTo>
                  <a:lnTo>
                    <a:pt x="127" y="348"/>
                  </a:lnTo>
                  <a:lnTo>
                    <a:pt x="125" y="350"/>
                  </a:lnTo>
                  <a:lnTo>
                    <a:pt x="125" y="352"/>
                  </a:lnTo>
                  <a:lnTo>
                    <a:pt x="125" y="354"/>
                  </a:lnTo>
                  <a:lnTo>
                    <a:pt x="123" y="354"/>
                  </a:lnTo>
                  <a:lnTo>
                    <a:pt x="123" y="356"/>
                  </a:lnTo>
                  <a:lnTo>
                    <a:pt x="121" y="358"/>
                  </a:lnTo>
                  <a:lnTo>
                    <a:pt x="119" y="358"/>
                  </a:lnTo>
                  <a:lnTo>
                    <a:pt x="119" y="360"/>
                  </a:lnTo>
                  <a:lnTo>
                    <a:pt x="119" y="362"/>
                  </a:lnTo>
                  <a:lnTo>
                    <a:pt x="119" y="364"/>
                  </a:lnTo>
                  <a:lnTo>
                    <a:pt x="117" y="365"/>
                  </a:lnTo>
                  <a:lnTo>
                    <a:pt x="115" y="367"/>
                  </a:lnTo>
                  <a:lnTo>
                    <a:pt x="117" y="369"/>
                  </a:lnTo>
                  <a:lnTo>
                    <a:pt x="117" y="367"/>
                  </a:lnTo>
                  <a:lnTo>
                    <a:pt x="117" y="369"/>
                  </a:lnTo>
                  <a:lnTo>
                    <a:pt x="117" y="371"/>
                  </a:lnTo>
                  <a:lnTo>
                    <a:pt x="115" y="371"/>
                  </a:lnTo>
                  <a:lnTo>
                    <a:pt x="113" y="371"/>
                  </a:lnTo>
                  <a:lnTo>
                    <a:pt x="112" y="369"/>
                  </a:lnTo>
                  <a:lnTo>
                    <a:pt x="112" y="371"/>
                  </a:lnTo>
                  <a:lnTo>
                    <a:pt x="112" y="375"/>
                  </a:lnTo>
                  <a:lnTo>
                    <a:pt x="112" y="377"/>
                  </a:lnTo>
                  <a:lnTo>
                    <a:pt x="112" y="379"/>
                  </a:lnTo>
                  <a:lnTo>
                    <a:pt x="108" y="381"/>
                  </a:lnTo>
                  <a:lnTo>
                    <a:pt x="106" y="381"/>
                  </a:lnTo>
                  <a:lnTo>
                    <a:pt x="104" y="383"/>
                  </a:lnTo>
                  <a:lnTo>
                    <a:pt x="102" y="385"/>
                  </a:lnTo>
                  <a:lnTo>
                    <a:pt x="98" y="385"/>
                  </a:lnTo>
                  <a:lnTo>
                    <a:pt x="96" y="385"/>
                  </a:lnTo>
                  <a:lnTo>
                    <a:pt x="94" y="387"/>
                  </a:lnTo>
                  <a:lnTo>
                    <a:pt x="94" y="390"/>
                  </a:lnTo>
                  <a:lnTo>
                    <a:pt x="94" y="394"/>
                  </a:lnTo>
                  <a:lnTo>
                    <a:pt x="92" y="396"/>
                  </a:lnTo>
                  <a:lnTo>
                    <a:pt x="90" y="396"/>
                  </a:lnTo>
                  <a:lnTo>
                    <a:pt x="90" y="398"/>
                  </a:lnTo>
                  <a:lnTo>
                    <a:pt x="90" y="400"/>
                  </a:lnTo>
                  <a:lnTo>
                    <a:pt x="89" y="402"/>
                  </a:lnTo>
                  <a:lnTo>
                    <a:pt x="90" y="402"/>
                  </a:lnTo>
                  <a:lnTo>
                    <a:pt x="90" y="404"/>
                  </a:lnTo>
                  <a:lnTo>
                    <a:pt x="90" y="406"/>
                  </a:lnTo>
                  <a:lnTo>
                    <a:pt x="89" y="408"/>
                  </a:lnTo>
                  <a:lnTo>
                    <a:pt x="87" y="408"/>
                  </a:lnTo>
                  <a:lnTo>
                    <a:pt x="87" y="406"/>
                  </a:lnTo>
                  <a:lnTo>
                    <a:pt x="87" y="404"/>
                  </a:lnTo>
                  <a:lnTo>
                    <a:pt x="85" y="404"/>
                  </a:lnTo>
                  <a:lnTo>
                    <a:pt x="85" y="408"/>
                  </a:lnTo>
                  <a:lnTo>
                    <a:pt x="87" y="408"/>
                  </a:lnTo>
                  <a:lnTo>
                    <a:pt x="87" y="410"/>
                  </a:lnTo>
                  <a:lnTo>
                    <a:pt x="89" y="412"/>
                  </a:lnTo>
                  <a:lnTo>
                    <a:pt x="87" y="410"/>
                  </a:lnTo>
                  <a:lnTo>
                    <a:pt x="85" y="410"/>
                  </a:lnTo>
                  <a:lnTo>
                    <a:pt x="83" y="410"/>
                  </a:lnTo>
                  <a:lnTo>
                    <a:pt x="83" y="412"/>
                  </a:lnTo>
                  <a:lnTo>
                    <a:pt x="83" y="414"/>
                  </a:lnTo>
                  <a:lnTo>
                    <a:pt x="85" y="414"/>
                  </a:lnTo>
                  <a:lnTo>
                    <a:pt x="87" y="415"/>
                  </a:lnTo>
                  <a:lnTo>
                    <a:pt x="87" y="417"/>
                  </a:lnTo>
                  <a:lnTo>
                    <a:pt x="89" y="419"/>
                  </a:lnTo>
                  <a:lnTo>
                    <a:pt x="87" y="421"/>
                  </a:lnTo>
                  <a:lnTo>
                    <a:pt x="87" y="419"/>
                  </a:lnTo>
                  <a:lnTo>
                    <a:pt x="85" y="417"/>
                  </a:lnTo>
                  <a:lnTo>
                    <a:pt x="83" y="419"/>
                  </a:lnTo>
                  <a:lnTo>
                    <a:pt x="81" y="419"/>
                  </a:lnTo>
                  <a:lnTo>
                    <a:pt x="79" y="419"/>
                  </a:lnTo>
                  <a:lnTo>
                    <a:pt x="79" y="421"/>
                  </a:lnTo>
                  <a:lnTo>
                    <a:pt x="81" y="423"/>
                  </a:lnTo>
                  <a:lnTo>
                    <a:pt x="83" y="423"/>
                  </a:lnTo>
                  <a:lnTo>
                    <a:pt x="83" y="425"/>
                  </a:lnTo>
                  <a:lnTo>
                    <a:pt x="81" y="425"/>
                  </a:lnTo>
                  <a:lnTo>
                    <a:pt x="79" y="425"/>
                  </a:lnTo>
                  <a:lnTo>
                    <a:pt x="77" y="423"/>
                  </a:lnTo>
                  <a:lnTo>
                    <a:pt x="77" y="425"/>
                  </a:lnTo>
                  <a:lnTo>
                    <a:pt x="75" y="423"/>
                  </a:lnTo>
                  <a:lnTo>
                    <a:pt x="73" y="423"/>
                  </a:lnTo>
                  <a:lnTo>
                    <a:pt x="71" y="425"/>
                  </a:lnTo>
                  <a:lnTo>
                    <a:pt x="69" y="427"/>
                  </a:lnTo>
                  <a:lnTo>
                    <a:pt x="67" y="427"/>
                  </a:lnTo>
                  <a:lnTo>
                    <a:pt x="65" y="427"/>
                  </a:lnTo>
                  <a:lnTo>
                    <a:pt x="65" y="425"/>
                  </a:lnTo>
                  <a:lnTo>
                    <a:pt x="65" y="423"/>
                  </a:lnTo>
                  <a:lnTo>
                    <a:pt x="64" y="425"/>
                  </a:lnTo>
                  <a:lnTo>
                    <a:pt x="64" y="427"/>
                  </a:lnTo>
                  <a:lnTo>
                    <a:pt x="64" y="429"/>
                  </a:lnTo>
                  <a:lnTo>
                    <a:pt x="65" y="429"/>
                  </a:lnTo>
                  <a:lnTo>
                    <a:pt x="65" y="431"/>
                  </a:lnTo>
                  <a:lnTo>
                    <a:pt x="64" y="433"/>
                  </a:lnTo>
                  <a:lnTo>
                    <a:pt x="65" y="433"/>
                  </a:lnTo>
                  <a:lnTo>
                    <a:pt x="67" y="435"/>
                  </a:lnTo>
                  <a:lnTo>
                    <a:pt x="65" y="437"/>
                  </a:lnTo>
                  <a:lnTo>
                    <a:pt x="64" y="437"/>
                  </a:lnTo>
                  <a:lnTo>
                    <a:pt x="62" y="438"/>
                  </a:lnTo>
                  <a:lnTo>
                    <a:pt x="62" y="440"/>
                  </a:lnTo>
                  <a:lnTo>
                    <a:pt x="64" y="440"/>
                  </a:lnTo>
                  <a:lnTo>
                    <a:pt x="65" y="440"/>
                  </a:lnTo>
                  <a:lnTo>
                    <a:pt x="65" y="442"/>
                  </a:lnTo>
                  <a:lnTo>
                    <a:pt x="64" y="444"/>
                  </a:lnTo>
                  <a:lnTo>
                    <a:pt x="64" y="446"/>
                  </a:lnTo>
                  <a:lnTo>
                    <a:pt x="62" y="446"/>
                  </a:lnTo>
                  <a:lnTo>
                    <a:pt x="62" y="444"/>
                  </a:lnTo>
                  <a:lnTo>
                    <a:pt x="62" y="446"/>
                  </a:lnTo>
                  <a:lnTo>
                    <a:pt x="64" y="446"/>
                  </a:lnTo>
                  <a:lnTo>
                    <a:pt x="64" y="448"/>
                  </a:lnTo>
                  <a:lnTo>
                    <a:pt x="62" y="450"/>
                  </a:lnTo>
                  <a:lnTo>
                    <a:pt x="60" y="450"/>
                  </a:lnTo>
                  <a:lnTo>
                    <a:pt x="60" y="448"/>
                  </a:lnTo>
                  <a:lnTo>
                    <a:pt x="58" y="446"/>
                  </a:lnTo>
                  <a:lnTo>
                    <a:pt x="56" y="444"/>
                  </a:lnTo>
                  <a:lnTo>
                    <a:pt x="56" y="442"/>
                  </a:lnTo>
                  <a:lnTo>
                    <a:pt x="54" y="442"/>
                  </a:lnTo>
                  <a:lnTo>
                    <a:pt x="56" y="444"/>
                  </a:lnTo>
                  <a:lnTo>
                    <a:pt x="56" y="446"/>
                  </a:lnTo>
                  <a:lnTo>
                    <a:pt x="58" y="448"/>
                  </a:lnTo>
                  <a:lnTo>
                    <a:pt x="58" y="450"/>
                  </a:lnTo>
                  <a:lnTo>
                    <a:pt x="60" y="450"/>
                  </a:lnTo>
                  <a:lnTo>
                    <a:pt x="58" y="452"/>
                  </a:lnTo>
                  <a:lnTo>
                    <a:pt x="58" y="454"/>
                  </a:lnTo>
                  <a:lnTo>
                    <a:pt x="56" y="454"/>
                  </a:lnTo>
                  <a:lnTo>
                    <a:pt x="56" y="456"/>
                  </a:lnTo>
                  <a:lnTo>
                    <a:pt x="56" y="458"/>
                  </a:lnTo>
                  <a:lnTo>
                    <a:pt x="58" y="458"/>
                  </a:lnTo>
                  <a:lnTo>
                    <a:pt x="58" y="460"/>
                  </a:lnTo>
                  <a:lnTo>
                    <a:pt x="56" y="460"/>
                  </a:lnTo>
                  <a:lnTo>
                    <a:pt x="56" y="462"/>
                  </a:lnTo>
                  <a:lnTo>
                    <a:pt x="56" y="463"/>
                  </a:lnTo>
                  <a:lnTo>
                    <a:pt x="56" y="465"/>
                  </a:lnTo>
                  <a:lnTo>
                    <a:pt x="56" y="467"/>
                  </a:lnTo>
                  <a:lnTo>
                    <a:pt x="56" y="465"/>
                  </a:lnTo>
                  <a:lnTo>
                    <a:pt x="58" y="463"/>
                  </a:lnTo>
                  <a:lnTo>
                    <a:pt x="58" y="465"/>
                  </a:lnTo>
                  <a:lnTo>
                    <a:pt x="58" y="467"/>
                  </a:lnTo>
                  <a:lnTo>
                    <a:pt x="58" y="469"/>
                  </a:lnTo>
                  <a:lnTo>
                    <a:pt x="58" y="471"/>
                  </a:lnTo>
                  <a:lnTo>
                    <a:pt x="58" y="473"/>
                  </a:lnTo>
                  <a:lnTo>
                    <a:pt x="58" y="475"/>
                  </a:lnTo>
                  <a:lnTo>
                    <a:pt x="60" y="475"/>
                  </a:lnTo>
                  <a:lnTo>
                    <a:pt x="62" y="475"/>
                  </a:lnTo>
                  <a:lnTo>
                    <a:pt x="62" y="477"/>
                  </a:lnTo>
                  <a:lnTo>
                    <a:pt x="62" y="479"/>
                  </a:lnTo>
                  <a:lnTo>
                    <a:pt x="62" y="481"/>
                  </a:lnTo>
                  <a:lnTo>
                    <a:pt x="62" y="483"/>
                  </a:lnTo>
                  <a:lnTo>
                    <a:pt x="62" y="481"/>
                  </a:lnTo>
                  <a:lnTo>
                    <a:pt x="62" y="479"/>
                  </a:lnTo>
                  <a:lnTo>
                    <a:pt x="64" y="477"/>
                  </a:lnTo>
                  <a:lnTo>
                    <a:pt x="64" y="473"/>
                  </a:lnTo>
                  <a:lnTo>
                    <a:pt x="64" y="475"/>
                  </a:lnTo>
                  <a:lnTo>
                    <a:pt x="64" y="477"/>
                  </a:lnTo>
                  <a:lnTo>
                    <a:pt x="64" y="479"/>
                  </a:lnTo>
                  <a:lnTo>
                    <a:pt x="64" y="481"/>
                  </a:lnTo>
                  <a:lnTo>
                    <a:pt x="65" y="479"/>
                  </a:lnTo>
                  <a:lnTo>
                    <a:pt x="65" y="483"/>
                  </a:lnTo>
                  <a:lnTo>
                    <a:pt x="64" y="483"/>
                  </a:lnTo>
                  <a:lnTo>
                    <a:pt x="64" y="485"/>
                  </a:lnTo>
                  <a:lnTo>
                    <a:pt x="65" y="485"/>
                  </a:lnTo>
                  <a:lnTo>
                    <a:pt x="65" y="487"/>
                  </a:lnTo>
                  <a:lnTo>
                    <a:pt x="65" y="488"/>
                  </a:lnTo>
                  <a:lnTo>
                    <a:pt x="65" y="487"/>
                  </a:lnTo>
                  <a:lnTo>
                    <a:pt x="67" y="488"/>
                  </a:lnTo>
                  <a:lnTo>
                    <a:pt x="67" y="490"/>
                  </a:lnTo>
                  <a:lnTo>
                    <a:pt x="65" y="492"/>
                  </a:lnTo>
                  <a:lnTo>
                    <a:pt x="65" y="494"/>
                  </a:lnTo>
                  <a:lnTo>
                    <a:pt x="65" y="496"/>
                  </a:lnTo>
                  <a:lnTo>
                    <a:pt x="65" y="498"/>
                  </a:lnTo>
                  <a:lnTo>
                    <a:pt x="65" y="500"/>
                  </a:lnTo>
                  <a:lnTo>
                    <a:pt x="65" y="504"/>
                  </a:lnTo>
                  <a:lnTo>
                    <a:pt x="67" y="502"/>
                  </a:lnTo>
                  <a:lnTo>
                    <a:pt x="67" y="504"/>
                  </a:lnTo>
                  <a:lnTo>
                    <a:pt x="67" y="50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09" name="Freeform 197"/>
            <p:cNvSpPr>
              <a:spLocks/>
            </p:cNvSpPr>
            <p:nvPr/>
          </p:nvSpPr>
          <p:spPr bwMode="auto">
            <a:xfrm>
              <a:off x="2815" y="1650"/>
              <a:ext cx="291" cy="263"/>
            </a:xfrm>
            <a:custGeom>
              <a:avLst/>
              <a:gdLst>
                <a:gd name="T0" fmla="*/ 6 w 291"/>
                <a:gd name="T1" fmla="*/ 140 h 263"/>
                <a:gd name="T2" fmla="*/ 6 w 291"/>
                <a:gd name="T3" fmla="*/ 146 h 263"/>
                <a:gd name="T4" fmla="*/ 8 w 291"/>
                <a:gd name="T5" fmla="*/ 152 h 263"/>
                <a:gd name="T6" fmla="*/ 16 w 291"/>
                <a:gd name="T7" fmla="*/ 158 h 263"/>
                <a:gd name="T8" fmla="*/ 8 w 291"/>
                <a:gd name="T9" fmla="*/ 160 h 263"/>
                <a:gd name="T10" fmla="*/ 10 w 291"/>
                <a:gd name="T11" fmla="*/ 164 h 263"/>
                <a:gd name="T12" fmla="*/ 10 w 291"/>
                <a:gd name="T13" fmla="*/ 169 h 263"/>
                <a:gd name="T14" fmla="*/ 10 w 291"/>
                <a:gd name="T15" fmla="*/ 177 h 263"/>
                <a:gd name="T16" fmla="*/ 10 w 291"/>
                <a:gd name="T17" fmla="*/ 185 h 263"/>
                <a:gd name="T18" fmla="*/ 6 w 291"/>
                <a:gd name="T19" fmla="*/ 189 h 263"/>
                <a:gd name="T20" fmla="*/ 12 w 291"/>
                <a:gd name="T21" fmla="*/ 198 h 263"/>
                <a:gd name="T22" fmla="*/ 6 w 291"/>
                <a:gd name="T23" fmla="*/ 198 h 263"/>
                <a:gd name="T24" fmla="*/ 10 w 291"/>
                <a:gd name="T25" fmla="*/ 202 h 263"/>
                <a:gd name="T26" fmla="*/ 12 w 291"/>
                <a:gd name="T27" fmla="*/ 212 h 263"/>
                <a:gd name="T28" fmla="*/ 12 w 291"/>
                <a:gd name="T29" fmla="*/ 215 h 263"/>
                <a:gd name="T30" fmla="*/ 14 w 291"/>
                <a:gd name="T31" fmla="*/ 221 h 263"/>
                <a:gd name="T32" fmla="*/ 8 w 291"/>
                <a:gd name="T33" fmla="*/ 215 h 263"/>
                <a:gd name="T34" fmla="*/ 12 w 291"/>
                <a:gd name="T35" fmla="*/ 227 h 263"/>
                <a:gd name="T36" fmla="*/ 20 w 291"/>
                <a:gd name="T37" fmla="*/ 225 h 263"/>
                <a:gd name="T38" fmla="*/ 22 w 291"/>
                <a:gd name="T39" fmla="*/ 217 h 263"/>
                <a:gd name="T40" fmla="*/ 25 w 291"/>
                <a:gd name="T41" fmla="*/ 225 h 263"/>
                <a:gd name="T42" fmla="*/ 27 w 291"/>
                <a:gd name="T43" fmla="*/ 233 h 263"/>
                <a:gd name="T44" fmla="*/ 33 w 291"/>
                <a:gd name="T45" fmla="*/ 227 h 263"/>
                <a:gd name="T46" fmla="*/ 43 w 291"/>
                <a:gd name="T47" fmla="*/ 233 h 263"/>
                <a:gd name="T48" fmla="*/ 39 w 291"/>
                <a:gd name="T49" fmla="*/ 237 h 263"/>
                <a:gd name="T50" fmla="*/ 45 w 291"/>
                <a:gd name="T51" fmla="*/ 237 h 263"/>
                <a:gd name="T52" fmla="*/ 48 w 291"/>
                <a:gd name="T53" fmla="*/ 231 h 263"/>
                <a:gd name="T54" fmla="*/ 50 w 291"/>
                <a:gd name="T55" fmla="*/ 238 h 263"/>
                <a:gd name="T56" fmla="*/ 50 w 291"/>
                <a:gd name="T57" fmla="*/ 244 h 263"/>
                <a:gd name="T58" fmla="*/ 46 w 291"/>
                <a:gd name="T59" fmla="*/ 248 h 263"/>
                <a:gd name="T60" fmla="*/ 52 w 291"/>
                <a:gd name="T61" fmla="*/ 256 h 263"/>
                <a:gd name="T62" fmla="*/ 60 w 291"/>
                <a:gd name="T63" fmla="*/ 246 h 263"/>
                <a:gd name="T64" fmla="*/ 64 w 291"/>
                <a:gd name="T65" fmla="*/ 246 h 263"/>
                <a:gd name="T66" fmla="*/ 66 w 291"/>
                <a:gd name="T67" fmla="*/ 258 h 263"/>
                <a:gd name="T68" fmla="*/ 71 w 291"/>
                <a:gd name="T69" fmla="*/ 258 h 263"/>
                <a:gd name="T70" fmla="*/ 75 w 291"/>
                <a:gd name="T71" fmla="*/ 260 h 263"/>
                <a:gd name="T72" fmla="*/ 89 w 291"/>
                <a:gd name="T73" fmla="*/ 252 h 263"/>
                <a:gd name="T74" fmla="*/ 102 w 291"/>
                <a:gd name="T75" fmla="*/ 244 h 263"/>
                <a:gd name="T76" fmla="*/ 108 w 291"/>
                <a:gd name="T77" fmla="*/ 244 h 263"/>
                <a:gd name="T78" fmla="*/ 112 w 291"/>
                <a:gd name="T79" fmla="*/ 246 h 263"/>
                <a:gd name="T80" fmla="*/ 123 w 291"/>
                <a:gd name="T81" fmla="*/ 233 h 263"/>
                <a:gd name="T82" fmla="*/ 133 w 291"/>
                <a:gd name="T83" fmla="*/ 225 h 263"/>
                <a:gd name="T84" fmla="*/ 143 w 291"/>
                <a:gd name="T85" fmla="*/ 217 h 263"/>
                <a:gd name="T86" fmla="*/ 152 w 291"/>
                <a:gd name="T87" fmla="*/ 223 h 263"/>
                <a:gd name="T88" fmla="*/ 162 w 291"/>
                <a:gd name="T89" fmla="*/ 215 h 263"/>
                <a:gd name="T90" fmla="*/ 177 w 291"/>
                <a:gd name="T91" fmla="*/ 206 h 263"/>
                <a:gd name="T92" fmla="*/ 187 w 291"/>
                <a:gd name="T93" fmla="*/ 206 h 263"/>
                <a:gd name="T94" fmla="*/ 191 w 291"/>
                <a:gd name="T95" fmla="*/ 196 h 263"/>
                <a:gd name="T96" fmla="*/ 198 w 291"/>
                <a:gd name="T97" fmla="*/ 198 h 263"/>
                <a:gd name="T98" fmla="*/ 204 w 291"/>
                <a:gd name="T99" fmla="*/ 196 h 263"/>
                <a:gd name="T100" fmla="*/ 208 w 291"/>
                <a:gd name="T101" fmla="*/ 192 h 263"/>
                <a:gd name="T102" fmla="*/ 221 w 291"/>
                <a:gd name="T103" fmla="*/ 169 h 263"/>
                <a:gd name="T104" fmla="*/ 231 w 291"/>
                <a:gd name="T105" fmla="*/ 154 h 263"/>
                <a:gd name="T106" fmla="*/ 242 w 291"/>
                <a:gd name="T107" fmla="*/ 139 h 263"/>
                <a:gd name="T108" fmla="*/ 252 w 291"/>
                <a:gd name="T109" fmla="*/ 123 h 263"/>
                <a:gd name="T110" fmla="*/ 260 w 291"/>
                <a:gd name="T111" fmla="*/ 106 h 263"/>
                <a:gd name="T112" fmla="*/ 267 w 291"/>
                <a:gd name="T113" fmla="*/ 89 h 263"/>
                <a:gd name="T114" fmla="*/ 279 w 291"/>
                <a:gd name="T115" fmla="*/ 66 h 263"/>
                <a:gd name="T116" fmla="*/ 287 w 291"/>
                <a:gd name="T117" fmla="*/ 46 h 263"/>
                <a:gd name="T118" fmla="*/ 269 w 291"/>
                <a:gd name="T119" fmla="*/ 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263">
                  <a:moveTo>
                    <a:pt x="0" y="135"/>
                  </a:moveTo>
                  <a:lnTo>
                    <a:pt x="2" y="135"/>
                  </a:lnTo>
                  <a:lnTo>
                    <a:pt x="4" y="137"/>
                  </a:lnTo>
                  <a:lnTo>
                    <a:pt x="4" y="139"/>
                  </a:lnTo>
                  <a:lnTo>
                    <a:pt x="4" y="140"/>
                  </a:lnTo>
                  <a:lnTo>
                    <a:pt x="6" y="140"/>
                  </a:lnTo>
                  <a:lnTo>
                    <a:pt x="6" y="142"/>
                  </a:lnTo>
                  <a:lnTo>
                    <a:pt x="8" y="142"/>
                  </a:lnTo>
                  <a:lnTo>
                    <a:pt x="6" y="142"/>
                  </a:lnTo>
                  <a:lnTo>
                    <a:pt x="6" y="144"/>
                  </a:lnTo>
                  <a:lnTo>
                    <a:pt x="4" y="144"/>
                  </a:lnTo>
                  <a:lnTo>
                    <a:pt x="6" y="146"/>
                  </a:lnTo>
                  <a:lnTo>
                    <a:pt x="6" y="144"/>
                  </a:lnTo>
                  <a:lnTo>
                    <a:pt x="8" y="146"/>
                  </a:lnTo>
                  <a:lnTo>
                    <a:pt x="10" y="148"/>
                  </a:lnTo>
                  <a:lnTo>
                    <a:pt x="8" y="148"/>
                  </a:lnTo>
                  <a:lnTo>
                    <a:pt x="8" y="150"/>
                  </a:lnTo>
                  <a:lnTo>
                    <a:pt x="8" y="152"/>
                  </a:lnTo>
                  <a:lnTo>
                    <a:pt x="10" y="152"/>
                  </a:lnTo>
                  <a:lnTo>
                    <a:pt x="10" y="154"/>
                  </a:lnTo>
                  <a:lnTo>
                    <a:pt x="12" y="156"/>
                  </a:lnTo>
                  <a:lnTo>
                    <a:pt x="12" y="158"/>
                  </a:lnTo>
                  <a:lnTo>
                    <a:pt x="14" y="158"/>
                  </a:lnTo>
                  <a:lnTo>
                    <a:pt x="16" y="158"/>
                  </a:lnTo>
                  <a:lnTo>
                    <a:pt x="12" y="158"/>
                  </a:lnTo>
                  <a:lnTo>
                    <a:pt x="10" y="158"/>
                  </a:lnTo>
                  <a:lnTo>
                    <a:pt x="8" y="156"/>
                  </a:lnTo>
                  <a:lnTo>
                    <a:pt x="6" y="158"/>
                  </a:lnTo>
                  <a:lnTo>
                    <a:pt x="8" y="158"/>
                  </a:lnTo>
                  <a:lnTo>
                    <a:pt x="8" y="160"/>
                  </a:lnTo>
                  <a:lnTo>
                    <a:pt x="10" y="160"/>
                  </a:lnTo>
                  <a:lnTo>
                    <a:pt x="12" y="162"/>
                  </a:lnTo>
                  <a:lnTo>
                    <a:pt x="10" y="162"/>
                  </a:lnTo>
                  <a:lnTo>
                    <a:pt x="8" y="162"/>
                  </a:lnTo>
                  <a:lnTo>
                    <a:pt x="8" y="164"/>
                  </a:lnTo>
                  <a:lnTo>
                    <a:pt x="10" y="164"/>
                  </a:lnTo>
                  <a:lnTo>
                    <a:pt x="10" y="165"/>
                  </a:lnTo>
                  <a:lnTo>
                    <a:pt x="12" y="165"/>
                  </a:lnTo>
                  <a:lnTo>
                    <a:pt x="10" y="165"/>
                  </a:lnTo>
                  <a:lnTo>
                    <a:pt x="10" y="167"/>
                  </a:lnTo>
                  <a:lnTo>
                    <a:pt x="8" y="167"/>
                  </a:lnTo>
                  <a:lnTo>
                    <a:pt x="10" y="169"/>
                  </a:lnTo>
                  <a:lnTo>
                    <a:pt x="10" y="171"/>
                  </a:lnTo>
                  <a:lnTo>
                    <a:pt x="12" y="171"/>
                  </a:lnTo>
                  <a:lnTo>
                    <a:pt x="12" y="173"/>
                  </a:lnTo>
                  <a:lnTo>
                    <a:pt x="12" y="175"/>
                  </a:lnTo>
                  <a:lnTo>
                    <a:pt x="10" y="175"/>
                  </a:lnTo>
                  <a:lnTo>
                    <a:pt x="10" y="177"/>
                  </a:lnTo>
                  <a:lnTo>
                    <a:pt x="14" y="179"/>
                  </a:lnTo>
                  <a:lnTo>
                    <a:pt x="10" y="181"/>
                  </a:lnTo>
                  <a:lnTo>
                    <a:pt x="12" y="181"/>
                  </a:lnTo>
                  <a:lnTo>
                    <a:pt x="8" y="183"/>
                  </a:lnTo>
                  <a:lnTo>
                    <a:pt x="10" y="183"/>
                  </a:lnTo>
                  <a:lnTo>
                    <a:pt x="10" y="185"/>
                  </a:lnTo>
                  <a:lnTo>
                    <a:pt x="10" y="187"/>
                  </a:lnTo>
                  <a:lnTo>
                    <a:pt x="12" y="189"/>
                  </a:lnTo>
                  <a:lnTo>
                    <a:pt x="8" y="189"/>
                  </a:lnTo>
                  <a:lnTo>
                    <a:pt x="10" y="190"/>
                  </a:lnTo>
                  <a:lnTo>
                    <a:pt x="8" y="190"/>
                  </a:lnTo>
                  <a:lnTo>
                    <a:pt x="6" y="189"/>
                  </a:lnTo>
                  <a:lnTo>
                    <a:pt x="6" y="190"/>
                  </a:lnTo>
                  <a:lnTo>
                    <a:pt x="6" y="192"/>
                  </a:lnTo>
                  <a:lnTo>
                    <a:pt x="8" y="192"/>
                  </a:lnTo>
                  <a:lnTo>
                    <a:pt x="8" y="194"/>
                  </a:lnTo>
                  <a:lnTo>
                    <a:pt x="10" y="196"/>
                  </a:lnTo>
                  <a:lnTo>
                    <a:pt x="12" y="198"/>
                  </a:lnTo>
                  <a:lnTo>
                    <a:pt x="12" y="200"/>
                  </a:lnTo>
                  <a:lnTo>
                    <a:pt x="10" y="198"/>
                  </a:lnTo>
                  <a:lnTo>
                    <a:pt x="6" y="194"/>
                  </a:lnTo>
                  <a:lnTo>
                    <a:pt x="4" y="194"/>
                  </a:lnTo>
                  <a:lnTo>
                    <a:pt x="6" y="196"/>
                  </a:lnTo>
                  <a:lnTo>
                    <a:pt x="6" y="198"/>
                  </a:lnTo>
                  <a:lnTo>
                    <a:pt x="6" y="200"/>
                  </a:lnTo>
                  <a:lnTo>
                    <a:pt x="4" y="200"/>
                  </a:lnTo>
                  <a:lnTo>
                    <a:pt x="6" y="202"/>
                  </a:lnTo>
                  <a:lnTo>
                    <a:pt x="8" y="200"/>
                  </a:lnTo>
                  <a:lnTo>
                    <a:pt x="10" y="200"/>
                  </a:lnTo>
                  <a:lnTo>
                    <a:pt x="10" y="202"/>
                  </a:lnTo>
                  <a:lnTo>
                    <a:pt x="8" y="202"/>
                  </a:lnTo>
                  <a:lnTo>
                    <a:pt x="8" y="204"/>
                  </a:lnTo>
                  <a:lnTo>
                    <a:pt x="10" y="206"/>
                  </a:lnTo>
                  <a:lnTo>
                    <a:pt x="10" y="208"/>
                  </a:lnTo>
                  <a:lnTo>
                    <a:pt x="12" y="210"/>
                  </a:lnTo>
                  <a:lnTo>
                    <a:pt x="12" y="212"/>
                  </a:lnTo>
                  <a:lnTo>
                    <a:pt x="14" y="212"/>
                  </a:lnTo>
                  <a:lnTo>
                    <a:pt x="12" y="212"/>
                  </a:lnTo>
                  <a:lnTo>
                    <a:pt x="10" y="212"/>
                  </a:lnTo>
                  <a:lnTo>
                    <a:pt x="10" y="214"/>
                  </a:lnTo>
                  <a:lnTo>
                    <a:pt x="10" y="215"/>
                  </a:lnTo>
                  <a:lnTo>
                    <a:pt x="12" y="215"/>
                  </a:lnTo>
                  <a:lnTo>
                    <a:pt x="14" y="215"/>
                  </a:lnTo>
                  <a:lnTo>
                    <a:pt x="14" y="217"/>
                  </a:lnTo>
                  <a:lnTo>
                    <a:pt x="12" y="217"/>
                  </a:lnTo>
                  <a:lnTo>
                    <a:pt x="12" y="219"/>
                  </a:lnTo>
                  <a:lnTo>
                    <a:pt x="14" y="219"/>
                  </a:lnTo>
                  <a:lnTo>
                    <a:pt x="14" y="221"/>
                  </a:lnTo>
                  <a:lnTo>
                    <a:pt x="16" y="221"/>
                  </a:lnTo>
                  <a:lnTo>
                    <a:pt x="14" y="221"/>
                  </a:lnTo>
                  <a:lnTo>
                    <a:pt x="12" y="221"/>
                  </a:lnTo>
                  <a:lnTo>
                    <a:pt x="10" y="219"/>
                  </a:lnTo>
                  <a:lnTo>
                    <a:pt x="10" y="217"/>
                  </a:lnTo>
                  <a:lnTo>
                    <a:pt x="8" y="215"/>
                  </a:lnTo>
                  <a:lnTo>
                    <a:pt x="6" y="217"/>
                  </a:lnTo>
                  <a:lnTo>
                    <a:pt x="6" y="219"/>
                  </a:lnTo>
                  <a:lnTo>
                    <a:pt x="8" y="219"/>
                  </a:lnTo>
                  <a:lnTo>
                    <a:pt x="8" y="221"/>
                  </a:lnTo>
                  <a:lnTo>
                    <a:pt x="10" y="223"/>
                  </a:lnTo>
                  <a:lnTo>
                    <a:pt x="12" y="227"/>
                  </a:lnTo>
                  <a:lnTo>
                    <a:pt x="12" y="225"/>
                  </a:lnTo>
                  <a:lnTo>
                    <a:pt x="14" y="227"/>
                  </a:lnTo>
                  <a:lnTo>
                    <a:pt x="16" y="227"/>
                  </a:lnTo>
                  <a:lnTo>
                    <a:pt x="16" y="225"/>
                  </a:lnTo>
                  <a:lnTo>
                    <a:pt x="18" y="225"/>
                  </a:lnTo>
                  <a:lnTo>
                    <a:pt x="20" y="225"/>
                  </a:lnTo>
                  <a:lnTo>
                    <a:pt x="20" y="223"/>
                  </a:lnTo>
                  <a:lnTo>
                    <a:pt x="20" y="221"/>
                  </a:lnTo>
                  <a:lnTo>
                    <a:pt x="22" y="221"/>
                  </a:lnTo>
                  <a:lnTo>
                    <a:pt x="20" y="221"/>
                  </a:lnTo>
                  <a:lnTo>
                    <a:pt x="22" y="219"/>
                  </a:lnTo>
                  <a:lnTo>
                    <a:pt x="22" y="217"/>
                  </a:lnTo>
                  <a:lnTo>
                    <a:pt x="23" y="217"/>
                  </a:lnTo>
                  <a:lnTo>
                    <a:pt x="23" y="221"/>
                  </a:lnTo>
                  <a:lnTo>
                    <a:pt x="22" y="225"/>
                  </a:lnTo>
                  <a:lnTo>
                    <a:pt x="22" y="227"/>
                  </a:lnTo>
                  <a:lnTo>
                    <a:pt x="23" y="227"/>
                  </a:lnTo>
                  <a:lnTo>
                    <a:pt x="25" y="225"/>
                  </a:lnTo>
                  <a:lnTo>
                    <a:pt x="25" y="227"/>
                  </a:lnTo>
                  <a:lnTo>
                    <a:pt x="25" y="229"/>
                  </a:lnTo>
                  <a:lnTo>
                    <a:pt x="25" y="231"/>
                  </a:lnTo>
                  <a:lnTo>
                    <a:pt x="23" y="233"/>
                  </a:lnTo>
                  <a:lnTo>
                    <a:pt x="25" y="233"/>
                  </a:lnTo>
                  <a:lnTo>
                    <a:pt x="27" y="233"/>
                  </a:lnTo>
                  <a:lnTo>
                    <a:pt x="29" y="233"/>
                  </a:lnTo>
                  <a:lnTo>
                    <a:pt x="31" y="233"/>
                  </a:lnTo>
                  <a:lnTo>
                    <a:pt x="33" y="233"/>
                  </a:lnTo>
                  <a:lnTo>
                    <a:pt x="31" y="231"/>
                  </a:lnTo>
                  <a:lnTo>
                    <a:pt x="31" y="227"/>
                  </a:lnTo>
                  <a:lnTo>
                    <a:pt x="33" y="227"/>
                  </a:lnTo>
                  <a:lnTo>
                    <a:pt x="35" y="227"/>
                  </a:lnTo>
                  <a:lnTo>
                    <a:pt x="37" y="227"/>
                  </a:lnTo>
                  <a:lnTo>
                    <a:pt x="39" y="229"/>
                  </a:lnTo>
                  <a:lnTo>
                    <a:pt x="41" y="229"/>
                  </a:lnTo>
                  <a:lnTo>
                    <a:pt x="43" y="229"/>
                  </a:lnTo>
                  <a:lnTo>
                    <a:pt x="43" y="233"/>
                  </a:lnTo>
                  <a:lnTo>
                    <a:pt x="39" y="233"/>
                  </a:lnTo>
                  <a:lnTo>
                    <a:pt x="39" y="235"/>
                  </a:lnTo>
                  <a:lnTo>
                    <a:pt x="37" y="235"/>
                  </a:lnTo>
                  <a:lnTo>
                    <a:pt x="35" y="237"/>
                  </a:lnTo>
                  <a:lnTo>
                    <a:pt x="39" y="238"/>
                  </a:lnTo>
                  <a:lnTo>
                    <a:pt x="39" y="237"/>
                  </a:lnTo>
                  <a:lnTo>
                    <a:pt x="39" y="238"/>
                  </a:lnTo>
                  <a:lnTo>
                    <a:pt x="39" y="240"/>
                  </a:lnTo>
                  <a:lnTo>
                    <a:pt x="41" y="242"/>
                  </a:lnTo>
                  <a:lnTo>
                    <a:pt x="43" y="240"/>
                  </a:lnTo>
                  <a:lnTo>
                    <a:pt x="43" y="238"/>
                  </a:lnTo>
                  <a:lnTo>
                    <a:pt x="45" y="237"/>
                  </a:lnTo>
                  <a:lnTo>
                    <a:pt x="46" y="237"/>
                  </a:lnTo>
                  <a:lnTo>
                    <a:pt x="46" y="235"/>
                  </a:lnTo>
                  <a:lnTo>
                    <a:pt x="48" y="233"/>
                  </a:lnTo>
                  <a:lnTo>
                    <a:pt x="48" y="231"/>
                  </a:lnTo>
                  <a:lnTo>
                    <a:pt x="46" y="233"/>
                  </a:lnTo>
                  <a:lnTo>
                    <a:pt x="48" y="231"/>
                  </a:lnTo>
                  <a:lnTo>
                    <a:pt x="50" y="229"/>
                  </a:lnTo>
                  <a:lnTo>
                    <a:pt x="50" y="231"/>
                  </a:lnTo>
                  <a:lnTo>
                    <a:pt x="48" y="233"/>
                  </a:lnTo>
                  <a:lnTo>
                    <a:pt x="48" y="237"/>
                  </a:lnTo>
                  <a:lnTo>
                    <a:pt x="46" y="238"/>
                  </a:lnTo>
                  <a:lnTo>
                    <a:pt x="50" y="238"/>
                  </a:lnTo>
                  <a:lnTo>
                    <a:pt x="50" y="235"/>
                  </a:lnTo>
                  <a:lnTo>
                    <a:pt x="52" y="237"/>
                  </a:lnTo>
                  <a:lnTo>
                    <a:pt x="50" y="238"/>
                  </a:lnTo>
                  <a:lnTo>
                    <a:pt x="48" y="240"/>
                  </a:lnTo>
                  <a:lnTo>
                    <a:pt x="46" y="244"/>
                  </a:lnTo>
                  <a:lnTo>
                    <a:pt x="50" y="244"/>
                  </a:lnTo>
                  <a:lnTo>
                    <a:pt x="52" y="242"/>
                  </a:lnTo>
                  <a:lnTo>
                    <a:pt x="48" y="244"/>
                  </a:lnTo>
                  <a:lnTo>
                    <a:pt x="46" y="244"/>
                  </a:lnTo>
                  <a:lnTo>
                    <a:pt x="48" y="246"/>
                  </a:lnTo>
                  <a:lnTo>
                    <a:pt x="48" y="248"/>
                  </a:lnTo>
                  <a:lnTo>
                    <a:pt x="46" y="248"/>
                  </a:lnTo>
                  <a:lnTo>
                    <a:pt x="46" y="250"/>
                  </a:lnTo>
                  <a:lnTo>
                    <a:pt x="46" y="254"/>
                  </a:lnTo>
                  <a:lnTo>
                    <a:pt x="46" y="256"/>
                  </a:lnTo>
                  <a:lnTo>
                    <a:pt x="48" y="258"/>
                  </a:lnTo>
                  <a:lnTo>
                    <a:pt x="50" y="258"/>
                  </a:lnTo>
                  <a:lnTo>
                    <a:pt x="52" y="256"/>
                  </a:lnTo>
                  <a:lnTo>
                    <a:pt x="54" y="256"/>
                  </a:lnTo>
                  <a:lnTo>
                    <a:pt x="58" y="254"/>
                  </a:lnTo>
                  <a:lnTo>
                    <a:pt x="60" y="252"/>
                  </a:lnTo>
                  <a:lnTo>
                    <a:pt x="60" y="250"/>
                  </a:lnTo>
                  <a:lnTo>
                    <a:pt x="60" y="248"/>
                  </a:lnTo>
                  <a:lnTo>
                    <a:pt x="60" y="246"/>
                  </a:lnTo>
                  <a:lnTo>
                    <a:pt x="60" y="244"/>
                  </a:lnTo>
                  <a:lnTo>
                    <a:pt x="60" y="240"/>
                  </a:lnTo>
                  <a:lnTo>
                    <a:pt x="62" y="242"/>
                  </a:lnTo>
                  <a:lnTo>
                    <a:pt x="64" y="242"/>
                  </a:lnTo>
                  <a:lnTo>
                    <a:pt x="62" y="246"/>
                  </a:lnTo>
                  <a:lnTo>
                    <a:pt x="64" y="246"/>
                  </a:lnTo>
                  <a:lnTo>
                    <a:pt x="66" y="248"/>
                  </a:lnTo>
                  <a:lnTo>
                    <a:pt x="64" y="250"/>
                  </a:lnTo>
                  <a:lnTo>
                    <a:pt x="64" y="252"/>
                  </a:lnTo>
                  <a:lnTo>
                    <a:pt x="62" y="254"/>
                  </a:lnTo>
                  <a:lnTo>
                    <a:pt x="64" y="258"/>
                  </a:lnTo>
                  <a:lnTo>
                    <a:pt x="66" y="258"/>
                  </a:lnTo>
                  <a:lnTo>
                    <a:pt x="68" y="256"/>
                  </a:lnTo>
                  <a:lnTo>
                    <a:pt x="70" y="256"/>
                  </a:lnTo>
                  <a:lnTo>
                    <a:pt x="71" y="254"/>
                  </a:lnTo>
                  <a:lnTo>
                    <a:pt x="73" y="254"/>
                  </a:lnTo>
                  <a:lnTo>
                    <a:pt x="73" y="256"/>
                  </a:lnTo>
                  <a:lnTo>
                    <a:pt x="71" y="258"/>
                  </a:lnTo>
                  <a:lnTo>
                    <a:pt x="70" y="260"/>
                  </a:lnTo>
                  <a:lnTo>
                    <a:pt x="66" y="262"/>
                  </a:lnTo>
                  <a:lnTo>
                    <a:pt x="66" y="263"/>
                  </a:lnTo>
                  <a:lnTo>
                    <a:pt x="70" y="262"/>
                  </a:lnTo>
                  <a:lnTo>
                    <a:pt x="71" y="262"/>
                  </a:lnTo>
                  <a:lnTo>
                    <a:pt x="75" y="260"/>
                  </a:lnTo>
                  <a:lnTo>
                    <a:pt x="75" y="258"/>
                  </a:lnTo>
                  <a:lnTo>
                    <a:pt x="77" y="256"/>
                  </a:lnTo>
                  <a:lnTo>
                    <a:pt x="79" y="256"/>
                  </a:lnTo>
                  <a:lnTo>
                    <a:pt x="81" y="254"/>
                  </a:lnTo>
                  <a:lnTo>
                    <a:pt x="85" y="252"/>
                  </a:lnTo>
                  <a:lnTo>
                    <a:pt x="89" y="252"/>
                  </a:lnTo>
                  <a:lnTo>
                    <a:pt x="91" y="250"/>
                  </a:lnTo>
                  <a:lnTo>
                    <a:pt x="93" y="248"/>
                  </a:lnTo>
                  <a:lnTo>
                    <a:pt x="96" y="246"/>
                  </a:lnTo>
                  <a:lnTo>
                    <a:pt x="98" y="244"/>
                  </a:lnTo>
                  <a:lnTo>
                    <a:pt x="100" y="246"/>
                  </a:lnTo>
                  <a:lnTo>
                    <a:pt x="102" y="244"/>
                  </a:lnTo>
                  <a:lnTo>
                    <a:pt x="104" y="244"/>
                  </a:lnTo>
                  <a:lnTo>
                    <a:pt x="106" y="242"/>
                  </a:lnTo>
                  <a:lnTo>
                    <a:pt x="106" y="240"/>
                  </a:lnTo>
                  <a:lnTo>
                    <a:pt x="108" y="240"/>
                  </a:lnTo>
                  <a:lnTo>
                    <a:pt x="108" y="242"/>
                  </a:lnTo>
                  <a:lnTo>
                    <a:pt x="108" y="244"/>
                  </a:lnTo>
                  <a:lnTo>
                    <a:pt x="110" y="246"/>
                  </a:lnTo>
                  <a:lnTo>
                    <a:pt x="110" y="242"/>
                  </a:lnTo>
                  <a:lnTo>
                    <a:pt x="112" y="240"/>
                  </a:lnTo>
                  <a:lnTo>
                    <a:pt x="112" y="244"/>
                  </a:lnTo>
                  <a:lnTo>
                    <a:pt x="110" y="246"/>
                  </a:lnTo>
                  <a:lnTo>
                    <a:pt x="112" y="246"/>
                  </a:lnTo>
                  <a:lnTo>
                    <a:pt x="114" y="244"/>
                  </a:lnTo>
                  <a:lnTo>
                    <a:pt x="114" y="242"/>
                  </a:lnTo>
                  <a:lnTo>
                    <a:pt x="116" y="238"/>
                  </a:lnTo>
                  <a:lnTo>
                    <a:pt x="118" y="237"/>
                  </a:lnTo>
                  <a:lnTo>
                    <a:pt x="120" y="235"/>
                  </a:lnTo>
                  <a:lnTo>
                    <a:pt x="123" y="233"/>
                  </a:lnTo>
                  <a:lnTo>
                    <a:pt x="125" y="233"/>
                  </a:lnTo>
                  <a:lnTo>
                    <a:pt x="127" y="231"/>
                  </a:lnTo>
                  <a:lnTo>
                    <a:pt x="129" y="229"/>
                  </a:lnTo>
                  <a:lnTo>
                    <a:pt x="131" y="229"/>
                  </a:lnTo>
                  <a:lnTo>
                    <a:pt x="131" y="225"/>
                  </a:lnTo>
                  <a:lnTo>
                    <a:pt x="133" y="225"/>
                  </a:lnTo>
                  <a:lnTo>
                    <a:pt x="135" y="225"/>
                  </a:lnTo>
                  <a:lnTo>
                    <a:pt x="137" y="225"/>
                  </a:lnTo>
                  <a:lnTo>
                    <a:pt x="139" y="225"/>
                  </a:lnTo>
                  <a:lnTo>
                    <a:pt x="141" y="225"/>
                  </a:lnTo>
                  <a:lnTo>
                    <a:pt x="143" y="221"/>
                  </a:lnTo>
                  <a:lnTo>
                    <a:pt x="143" y="217"/>
                  </a:lnTo>
                  <a:lnTo>
                    <a:pt x="144" y="217"/>
                  </a:lnTo>
                  <a:lnTo>
                    <a:pt x="146" y="217"/>
                  </a:lnTo>
                  <a:lnTo>
                    <a:pt x="146" y="219"/>
                  </a:lnTo>
                  <a:lnTo>
                    <a:pt x="146" y="221"/>
                  </a:lnTo>
                  <a:lnTo>
                    <a:pt x="150" y="223"/>
                  </a:lnTo>
                  <a:lnTo>
                    <a:pt x="152" y="223"/>
                  </a:lnTo>
                  <a:lnTo>
                    <a:pt x="154" y="221"/>
                  </a:lnTo>
                  <a:lnTo>
                    <a:pt x="156" y="221"/>
                  </a:lnTo>
                  <a:lnTo>
                    <a:pt x="158" y="219"/>
                  </a:lnTo>
                  <a:lnTo>
                    <a:pt x="160" y="219"/>
                  </a:lnTo>
                  <a:lnTo>
                    <a:pt x="162" y="217"/>
                  </a:lnTo>
                  <a:lnTo>
                    <a:pt x="162" y="215"/>
                  </a:lnTo>
                  <a:lnTo>
                    <a:pt x="164" y="212"/>
                  </a:lnTo>
                  <a:lnTo>
                    <a:pt x="169" y="210"/>
                  </a:lnTo>
                  <a:lnTo>
                    <a:pt x="175" y="210"/>
                  </a:lnTo>
                  <a:lnTo>
                    <a:pt x="175" y="208"/>
                  </a:lnTo>
                  <a:lnTo>
                    <a:pt x="177" y="208"/>
                  </a:lnTo>
                  <a:lnTo>
                    <a:pt x="177" y="206"/>
                  </a:lnTo>
                  <a:lnTo>
                    <a:pt x="177" y="204"/>
                  </a:lnTo>
                  <a:lnTo>
                    <a:pt x="181" y="202"/>
                  </a:lnTo>
                  <a:lnTo>
                    <a:pt x="183" y="202"/>
                  </a:lnTo>
                  <a:lnTo>
                    <a:pt x="185" y="206"/>
                  </a:lnTo>
                  <a:lnTo>
                    <a:pt x="189" y="208"/>
                  </a:lnTo>
                  <a:lnTo>
                    <a:pt x="187" y="206"/>
                  </a:lnTo>
                  <a:lnTo>
                    <a:pt x="187" y="204"/>
                  </a:lnTo>
                  <a:lnTo>
                    <a:pt x="185" y="202"/>
                  </a:lnTo>
                  <a:lnTo>
                    <a:pt x="185" y="200"/>
                  </a:lnTo>
                  <a:lnTo>
                    <a:pt x="187" y="198"/>
                  </a:lnTo>
                  <a:lnTo>
                    <a:pt x="189" y="198"/>
                  </a:lnTo>
                  <a:lnTo>
                    <a:pt x="191" y="196"/>
                  </a:lnTo>
                  <a:lnTo>
                    <a:pt x="193" y="198"/>
                  </a:lnTo>
                  <a:lnTo>
                    <a:pt x="194" y="198"/>
                  </a:lnTo>
                  <a:lnTo>
                    <a:pt x="196" y="198"/>
                  </a:lnTo>
                  <a:lnTo>
                    <a:pt x="198" y="200"/>
                  </a:lnTo>
                  <a:lnTo>
                    <a:pt x="200" y="200"/>
                  </a:lnTo>
                  <a:lnTo>
                    <a:pt x="198" y="198"/>
                  </a:lnTo>
                  <a:lnTo>
                    <a:pt x="200" y="196"/>
                  </a:lnTo>
                  <a:lnTo>
                    <a:pt x="202" y="198"/>
                  </a:lnTo>
                  <a:lnTo>
                    <a:pt x="204" y="198"/>
                  </a:lnTo>
                  <a:lnTo>
                    <a:pt x="202" y="198"/>
                  </a:lnTo>
                  <a:lnTo>
                    <a:pt x="202" y="196"/>
                  </a:lnTo>
                  <a:lnTo>
                    <a:pt x="204" y="196"/>
                  </a:lnTo>
                  <a:lnTo>
                    <a:pt x="204" y="198"/>
                  </a:lnTo>
                  <a:lnTo>
                    <a:pt x="206" y="198"/>
                  </a:lnTo>
                  <a:lnTo>
                    <a:pt x="206" y="196"/>
                  </a:lnTo>
                  <a:lnTo>
                    <a:pt x="208" y="194"/>
                  </a:lnTo>
                  <a:lnTo>
                    <a:pt x="206" y="192"/>
                  </a:lnTo>
                  <a:lnTo>
                    <a:pt x="208" y="192"/>
                  </a:lnTo>
                  <a:lnTo>
                    <a:pt x="210" y="190"/>
                  </a:lnTo>
                  <a:lnTo>
                    <a:pt x="214" y="185"/>
                  </a:lnTo>
                  <a:lnTo>
                    <a:pt x="216" y="179"/>
                  </a:lnTo>
                  <a:lnTo>
                    <a:pt x="218" y="175"/>
                  </a:lnTo>
                  <a:lnTo>
                    <a:pt x="219" y="173"/>
                  </a:lnTo>
                  <a:lnTo>
                    <a:pt x="221" y="169"/>
                  </a:lnTo>
                  <a:lnTo>
                    <a:pt x="223" y="165"/>
                  </a:lnTo>
                  <a:lnTo>
                    <a:pt x="225" y="164"/>
                  </a:lnTo>
                  <a:lnTo>
                    <a:pt x="229" y="162"/>
                  </a:lnTo>
                  <a:lnTo>
                    <a:pt x="229" y="160"/>
                  </a:lnTo>
                  <a:lnTo>
                    <a:pt x="231" y="156"/>
                  </a:lnTo>
                  <a:lnTo>
                    <a:pt x="231" y="154"/>
                  </a:lnTo>
                  <a:lnTo>
                    <a:pt x="233" y="152"/>
                  </a:lnTo>
                  <a:lnTo>
                    <a:pt x="235" y="148"/>
                  </a:lnTo>
                  <a:lnTo>
                    <a:pt x="237" y="144"/>
                  </a:lnTo>
                  <a:lnTo>
                    <a:pt x="239" y="142"/>
                  </a:lnTo>
                  <a:lnTo>
                    <a:pt x="241" y="140"/>
                  </a:lnTo>
                  <a:lnTo>
                    <a:pt x="242" y="139"/>
                  </a:lnTo>
                  <a:lnTo>
                    <a:pt x="244" y="137"/>
                  </a:lnTo>
                  <a:lnTo>
                    <a:pt x="246" y="133"/>
                  </a:lnTo>
                  <a:lnTo>
                    <a:pt x="246" y="129"/>
                  </a:lnTo>
                  <a:lnTo>
                    <a:pt x="248" y="127"/>
                  </a:lnTo>
                  <a:lnTo>
                    <a:pt x="248" y="123"/>
                  </a:lnTo>
                  <a:lnTo>
                    <a:pt x="252" y="123"/>
                  </a:lnTo>
                  <a:lnTo>
                    <a:pt x="252" y="121"/>
                  </a:lnTo>
                  <a:lnTo>
                    <a:pt x="254" y="117"/>
                  </a:lnTo>
                  <a:lnTo>
                    <a:pt x="256" y="116"/>
                  </a:lnTo>
                  <a:lnTo>
                    <a:pt x="256" y="112"/>
                  </a:lnTo>
                  <a:lnTo>
                    <a:pt x="258" y="108"/>
                  </a:lnTo>
                  <a:lnTo>
                    <a:pt x="260" y="106"/>
                  </a:lnTo>
                  <a:lnTo>
                    <a:pt x="262" y="104"/>
                  </a:lnTo>
                  <a:lnTo>
                    <a:pt x="262" y="102"/>
                  </a:lnTo>
                  <a:lnTo>
                    <a:pt x="262" y="98"/>
                  </a:lnTo>
                  <a:lnTo>
                    <a:pt x="264" y="96"/>
                  </a:lnTo>
                  <a:lnTo>
                    <a:pt x="266" y="92"/>
                  </a:lnTo>
                  <a:lnTo>
                    <a:pt x="267" y="89"/>
                  </a:lnTo>
                  <a:lnTo>
                    <a:pt x="267" y="85"/>
                  </a:lnTo>
                  <a:lnTo>
                    <a:pt x="269" y="83"/>
                  </a:lnTo>
                  <a:lnTo>
                    <a:pt x="271" y="77"/>
                  </a:lnTo>
                  <a:lnTo>
                    <a:pt x="273" y="73"/>
                  </a:lnTo>
                  <a:lnTo>
                    <a:pt x="275" y="69"/>
                  </a:lnTo>
                  <a:lnTo>
                    <a:pt x="279" y="66"/>
                  </a:lnTo>
                  <a:lnTo>
                    <a:pt x="279" y="64"/>
                  </a:lnTo>
                  <a:lnTo>
                    <a:pt x="281" y="60"/>
                  </a:lnTo>
                  <a:lnTo>
                    <a:pt x="285" y="54"/>
                  </a:lnTo>
                  <a:lnTo>
                    <a:pt x="285" y="52"/>
                  </a:lnTo>
                  <a:lnTo>
                    <a:pt x="285" y="50"/>
                  </a:lnTo>
                  <a:lnTo>
                    <a:pt x="287" y="46"/>
                  </a:lnTo>
                  <a:lnTo>
                    <a:pt x="291" y="27"/>
                  </a:lnTo>
                  <a:lnTo>
                    <a:pt x="285" y="19"/>
                  </a:lnTo>
                  <a:lnTo>
                    <a:pt x="277" y="16"/>
                  </a:lnTo>
                  <a:lnTo>
                    <a:pt x="275" y="8"/>
                  </a:lnTo>
                  <a:lnTo>
                    <a:pt x="271" y="8"/>
                  </a:lnTo>
                  <a:lnTo>
                    <a:pt x="269" y="6"/>
                  </a:lnTo>
                  <a:lnTo>
                    <a:pt x="267" y="6"/>
                  </a:lnTo>
                  <a:lnTo>
                    <a:pt x="264" y="2"/>
                  </a:lnTo>
                  <a:lnTo>
                    <a:pt x="262" y="2"/>
                  </a:lnTo>
                  <a:lnTo>
                    <a:pt x="26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0" name="Freeform 198"/>
            <p:cNvSpPr>
              <a:spLocks/>
            </p:cNvSpPr>
            <p:nvPr/>
          </p:nvSpPr>
          <p:spPr bwMode="auto">
            <a:xfrm>
              <a:off x="2977" y="1491"/>
              <a:ext cx="15" cy="13"/>
            </a:xfrm>
            <a:custGeom>
              <a:avLst/>
              <a:gdLst>
                <a:gd name="T0" fmla="*/ 7 w 15"/>
                <a:gd name="T1" fmla="*/ 11 h 13"/>
                <a:gd name="T2" fmla="*/ 6 w 15"/>
                <a:gd name="T3" fmla="*/ 13 h 13"/>
                <a:gd name="T4" fmla="*/ 0 w 15"/>
                <a:gd name="T5" fmla="*/ 13 h 13"/>
                <a:gd name="T6" fmla="*/ 2 w 15"/>
                <a:gd name="T7" fmla="*/ 11 h 13"/>
                <a:gd name="T8" fmla="*/ 4 w 15"/>
                <a:gd name="T9" fmla="*/ 11 h 13"/>
                <a:gd name="T10" fmla="*/ 7 w 15"/>
                <a:gd name="T11" fmla="*/ 9 h 13"/>
                <a:gd name="T12" fmla="*/ 4 w 15"/>
                <a:gd name="T13" fmla="*/ 9 h 13"/>
                <a:gd name="T14" fmla="*/ 6 w 15"/>
                <a:gd name="T15" fmla="*/ 7 h 13"/>
                <a:gd name="T16" fmla="*/ 6 w 15"/>
                <a:gd name="T17" fmla="*/ 6 h 13"/>
                <a:gd name="T18" fmla="*/ 9 w 15"/>
                <a:gd name="T19" fmla="*/ 6 h 13"/>
                <a:gd name="T20" fmla="*/ 9 w 15"/>
                <a:gd name="T21" fmla="*/ 4 h 13"/>
                <a:gd name="T22" fmla="*/ 11 w 15"/>
                <a:gd name="T23" fmla="*/ 4 h 13"/>
                <a:gd name="T24" fmla="*/ 13 w 15"/>
                <a:gd name="T25" fmla="*/ 2 h 13"/>
                <a:gd name="T26" fmla="*/ 9 w 15"/>
                <a:gd name="T27" fmla="*/ 2 h 13"/>
                <a:gd name="T28" fmla="*/ 9 w 15"/>
                <a:gd name="T29" fmla="*/ 0 h 13"/>
                <a:gd name="T30" fmla="*/ 11 w 15"/>
                <a:gd name="T31" fmla="*/ 0 h 13"/>
                <a:gd name="T32" fmla="*/ 15 w 15"/>
                <a:gd name="T33" fmla="*/ 2 h 13"/>
                <a:gd name="T34" fmla="*/ 15 w 15"/>
                <a:gd name="T35" fmla="*/ 4 h 13"/>
                <a:gd name="T36" fmla="*/ 13 w 15"/>
                <a:gd name="T37" fmla="*/ 4 h 13"/>
                <a:gd name="T38" fmla="*/ 13 w 15"/>
                <a:gd name="T39" fmla="*/ 6 h 13"/>
                <a:gd name="T40" fmla="*/ 11 w 15"/>
                <a:gd name="T41" fmla="*/ 6 h 13"/>
                <a:gd name="T42" fmla="*/ 9 w 15"/>
                <a:gd name="T43" fmla="*/ 7 h 13"/>
                <a:gd name="T44" fmla="*/ 9 w 15"/>
                <a:gd name="T45" fmla="*/ 9 h 13"/>
                <a:gd name="T46" fmla="*/ 7 w 15"/>
                <a:gd name="T4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13">
                  <a:moveTo>
                    <a:pt x="7" y="11"/>
                  </a:moveTo>
                  <a:lnTo>
                    <a:pt x="6" y="13"/>
                  </a:lnTo>
                  <a:lnTo>
                    <a:pt x="0" y="13"/>
                  </a:lnTo>
                  <a:lnTo>
                    <a:pt x="2" y="11"/>
                  </a:lnTo>
                  <a:lnTo>
                    <a:pt x="4" y="11"/>
                  </a:lnTo>
                  <a:lnTo>
                    <a:pt x="7" y="9"/>
                  </a:lnTo>
                  <a:lnTo>
                    <a:pt x="4" y="9"/>
                  </a:lnTo>
                  <a:lnTo>
                    <a:pt x="6" y="7"/>
                  </a:lnTo>
                  <a:lnTo>
                    <a:pt x="6" y="6"/>
                  </a:lnTo>
                  <a:lnTo>
                    <a:pt x="9" y="6"/>
                  </a:lnTo>
                  <a:lnTo>
                    <a:pt x="9" y="4"/>
                  </a:lnTo>
                  <a:lnTo>
                    <a:pt x="11" y="4"/>
                  </a:lnTo>
                  <a:lnTo>
                    <a:pt x="13" y="2"/>
                  </a:lnTo>
                  <a:lnTo>
                    <a:pt x="9" y="2"/>
                  </a:lnTo>
                  <a:lnTo>
                    <a:pt x="9" y="0"/>
                  </a:lnTo>
                  <a:lnTo>
                    <a:pt x="11" y="0"/>
                  </a:lnTo>
                  <a:lnTo>
                    <a:pt x="15" y="2"/>
                  </a:lnTo>
                  <a:lnTo>
                    <a:pt x="15" y="4"/>
                  </a:lnTo>
                  <a:lnTo>
                    <a:pt x="13" y="4"/>
                  </a:lnTo>
                  <a:lnTo>
                    <a:pt x="13" y="6"/>
                  </a:lnTo>
                  <a:lnTo>
                    <a:pt x="11" y="6"/>
                  </a:lnTo>
                  <a:lnTo>
                    <a:pt x="9" y="7"/>
                  </a:lnTo>
                  <a:lnTo>
                    <a:pt x="9" y="9"/>
                  </a:lnTo>
                  <a:lnTo>
                    <a:pt x="7" y="1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1" name="Freeform 199"/>
            <p:cNvSpPr>
              <a:spLocks/>
            </p:cNvSpPr>
            <p:nvPr/>
          </p:nvSpPr>
          <p:spPr bwMode="auto">
            <a:xfrm>
              <a:off x="2969" y="1504"/>
              <a:ext cx="17" cy="6"/>
            </a:xfrm>
            <a:custGeom>
              <a:avLst/>
              <a:gdLst>
                <a:gd name="T0" fmla="*/ 15 w 17"/>
                <a:gd name="T1" fmla="*/ 2 h 6"/>
                <a:gd name="T2" fmla="*/ 14 w 17"/>
                <a:gd name="T3" fmla="*/ 2 h 6"/>
                <a:gd name="T4" fmla="*/ 12 w 17"/>
                <a:gd name="T5" fmla="*/ 2 h 6"/>
                <a:gd name="T6" fmla="*/ 8 w 17"/>
                <a:gd name="T7" fmla="*/ 4 h 6"/>
                <a:gd name="T8" fmla="*/ 12 w 17"/>
                <a:gd name="T9" fmla="*/ 4 h 6"/>
                <a:gd name="T10" fmla="*/ 8 w 17"/>
                <a:gd name="T11" fmla="*/ 4 h 6"/>
                <a:gd name="T12" fmla="*/ 4 w 17"/>
                <a:gd name="T13" fmla="*/ 4 h 6"/>
                <a:gd name="T14" fmla="*/ 2 w 17"/>
                <a:gd name="T15" fmla="*/ 6 h 6"/>
                <a:gd name="T16" fmla="*/ 0 w 17"/>
                <a:gd name="T17" fmla="*/ 4 h 6"/>
                <a:gd name="T18" fmla="*/ 2 w 17"/>
                <a:gd name="T19" fmla="*/ 2 h 6"/>
                <a:gd name="T20" fmla="*/ 4 w 17"/>
                <a:gd name="T21" fmla="*/ 2 h 6"/>
                <a:gd name="T22" fmla="*/ 8 w 17"/>
                <a:gd name="T23" fmla="*/ 0 h 6"/>
                <a:gd name="T24" fmla="*/ 8 w 17"/>
                <a:gd name="T25" fmla="*/ 2 h 6"/>
                <a:gd name="T26" fmla="*/ 14 w 17"/>
                <a:gd name="T27" fmla="*/ 0 h 6"/>
                <a:gd name="T28" fmla="*/ 17 w 17"/>
                <a:gd name="T29" fmla="*/ 0 h 6"/>
                <a:gd name="T30" fmla="*/ 15 w 17"/>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6">
                  <a:moveTo>
                    <a:pt x="15" y="2"/>
                  </a:moveTo>
                  <a:lnTo>
                    <a:pt x="14" y="2"/>
                  </a:lnTo>
                  <a:lnTo>
                    <a:pt x="12" y="2"/>
                  </a:lnTo>
                  <a:lnTo>
                    <a:pt x="8" y="4"/>
                  </a:lnTo>
                  <a:lnTo>
                    <a:pt x="12" y="4"/>
                  </a:lnTo>
                  <a:lnTo>
                    <a:pt x="8" y="4"/>
                  </a:lnTo>
                  <a:lnTo>
                    <a:pt x="4" y="4"/>
                  </a:lnTo>
                  <a:lnTo>
                    <a:pt x="2" y="6"/>
                  </a:lnTo>
                  <a:lnTo>
                    <a:pt x="0" y="4"/>
                  </a:lnTo>
                  <a:lnTo>
                    <a:pt x="2" y="2"/>
                  </a:lnTo>
                  <a:lnTo>
                    <a:pt x="4" y="2"/>
                  </a:lnTo>
                  <a:lnTo>
                    <a:pt x="8" y="0"/>
                  </a:lnTo>
                  <a:lnTo>
                    <a:pt x="8" y="2"/>
                  </a:lnTo>
                  <a:lnTo>
                    <a:pt x="14" y="0"/>
                  </a:lnTo>
                  <a:lnTo>
                    <a:pt x="17" y="0"/>
                  </a:lnTo>
                  <a:lnTo>
                    <a:pt x="15"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2" name="Freeform 200"/>
            <p:cNvSpPr>
              <a:spLocks/>
            </p:cNvSpPr>
            <p:nvPr/>
          </p:nvSpPr>
          <p:spPr bwMode="auto">
            <a:xfrm>
              <a:off x="2769" y="1885"/>
              <a:ext cx="27" cy="27"/>
            </a:xfrm>
            <a:custGeom>
              <a:avLst/>
              <a:gdLst>
                <a:gd name="T0" fmla="*/ 2 w 27"/>
                <a:gd name="T1" fmla="*/ 11 h 27"/>
                <a:gd name="T2" fmla="*/ 6 w 27"/>
                <a:gd name="T3" fmla="*/ 9 h 27"/>
                <a:gd name="T4" fmla="*/ 10 w 27"/>
                <a:gd name="T5" fmla="*/ 9 h 27"/>
                <a:gd name="T6" fmla="*/ 12 w 27"/>
                <a:gd name="T7" fmla="*/ 11 h 27"/>
                <a:gd name="T8" fmla="*/ 16 w 27"/>
                <a:gd name="T9" fmla="*/ 9 h 27"/>
                <a:gd name="T10" fmla="*/ 12 w 27"/>
                <a:gd name="T11" fmla="*/ 7 h 27"/>
                <a:gd name="T12" fmla="*/ 8 w 27"/>
                <a:gd name="T13" fmla="*/ 5 h 27"/>
                <a:gd name="T14" fmla="*/ 8 w 27"/>
                <a:gd name="T15" fmla="*/ 2 h 27"/>
                <a:gd name="T16" fmla="*/ 14 w 27"/>
                <a:gd name="T17" fmla="*/ 0 h 27"/>
                <a:gd name="T18" fmla="*/ 16 w 27"/>
                <a:gd name="T19" fmla="*/ 3 h 27"/>
                <a:gd name="T20" fmla="*/ 19 w 27"/>
                <a:gd name="T21" fmla="*/ 3 h 27"/>
                <a:gd name="T22" fmla="*/ 23 w 27"/>
                <a:gd name="T23" fmla="*/ 5 h 27"/>
                <a:gd name="T24" fmla="*/ 25 w 27"/>
                <a:gd name="T25" fmla="*/ 9 h 27"/>
                <a:gd name="T26" fmla="*/ 23 w 27"/>
                <a:gd name="T27" fmla="*/ 13 h 27"/>
                <a:gd name="T28" fmla="*/ 19 w 27"/>
                <a:gd name="T29" fmla="*/ 15 h 27"/>
                <a:gd name="T30" fmla="*/ 19 w 27"/>
                <a:gd name="T31" fmla="*/ 11 h 27"/>
                <a:gd name="T32" fmla="*/ 18 w 27"/>
                <a:gd name="T33" fmla="*/ 7 h 27"/>
                <a:gd name="T34" fmla="*/ 16 w 27"/>
                <a:gd name="T35" fmla="*/ 9 h 27"/>
                <a:gd name="T36" fmla="*/ 19 w 27"/>
                <a:gd name="T37" fmla="*/ 13 h 27"/>
                <a:gd name="T38" fmla="*/ 19 w 27"/>
                <a:gd name="T39" fmla="*/ 17 h 27"/>
                <a:gd name="T40" fmla="*/ 19 w 27"/>
                <a:gd name="T41" fmla="*/ 21 h 27"/>
                <a:gd name="T42" fmla="*/ 21 w 27"/>
                <a:gd name="T43" fmla="*/ 21 h 27"/>
                <a:gd name="T44" fmla="*/ 23 w 27"/>
                <a:gd name="T45" fmla="*/ 17 h 27"/>
                <a:gd name="T46" fmla="*/ 27 w 27"/>
                <a:gd name="T47" fmla="*/ 15 h 27"/>
                <a:gd name="T48" fmla="*/ 27 w 27"/>
                <a:gd name="T49" fmla="*/ 19 h 27"/>
                <a:gd name="T50" fmla="*/ 25 w 27"/>
                <a:gd name="T51" fmla="*/ 23 h 27"/>
                <a:gd name="T52" fmla="*/ 25 w 27"/>
                <a:gd name="T53" fmla="*/ 27 h 27"/>
                <a:gd name="T54" fmla="*/ 23 w 27"/>
                <a:gd name="T55" fmla="*/ 25 h 27"/>
                <a:gd name="T56" fmla="*/ 21 w 27"/>
                <a:gd name="T57" fmla="*/ 27 h 27"/>
                <a:gd name="T58" fmla="*/ 19 w 27"/>
                <a:gd name="T59" fmla="*/ 23 h 27"/>
                <a:gd name="T60" fmla="*/ 18 w 27"/>
                <a:gd name="T61" fmla="*/ 23 h 27"/>
                <a:gd name="T62" fmla="*/ 16 w 27"/>
                <a:gd name="T63" fmla="*/ 21 h 27"/>
                <a:gd name="T64" fmla="*/ 12 w 27"/>
                <a:gd name="T65" fmla="*/ 21 h 27"/>
                <a:gd name="T66" fmla="*/ 8 w 27"/>
                <a:gd name="T67" fmla="*/ 19 h 27"/>
                <a:gd name="T68" fmla="*/ 8 w 27"/>
                <a:gd name="T69" fmla="*/ 17 h 27"/>
                <a:gd name="T70" fmla="*/ 8 w 27"/>
                <a:gd name="T71" fmla="*/ 15 h 27"/>
                <a:gd name="T72" fmla="*/ 4 w 27"/>
                <a:gd name="T73" fmla="*/ 17 h 27"/>
                <a:gd name="T74" fmla="*/ 2 w 27"/>
                <a:gd name="T75" fmla="*/ 19 h 27"/>
                <a:gd name="T76" fmla="*/ 0 w 27"/>
                <a:gd name="T77"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 h="27">
                  <a:moveTo>
                    <a:pt x="0" y="13"/>
                  </a:moveTo>
                  <a:lnTo>
                    <a:pt x="2" y="11"/>
                  </a:lnTo>
                  <a:lnTo>
                    <a:pt x="4" y="11"/>
                  </a:lnTo>
                  <a:lnTo>
                    <a:pt x="6" y="9"/>
                  </a:lnTo>
                  <a:lnTo>
                    <a:pt x="10" y="7"/>
                  </a:lnTo>
                  <a:lnTo>
                    <a:pt x="10" y="9"/>
                  </a:lnTo>
                  <a:lnTo>
                    <a:pt x="10" y="11"/>
                  </a:lnTo>
                  <a:lnTo>
                    <a:pt x="12" y="11"/>
                  </a:lnTo>
                  <a:lnTo>
                    <a:pt x="14" y="9"/>
                  </a:lnTo>
                  <a:lnTo>
                    <a:pt x="16" y="9"/>
                  </a:lnTo>
                  <a:lnTo>
                    <a:pt x="14" y="7"/>
                  </a:lnTo>
                  <a:lnTo>
                    <a:pt x="12" y="7"/>
                  </a:lnTo>
                  <a:lnTo>
                    <a:pt x="10" y="5"/>
                  </a:lnTo>
                  <a:lnTo>
                    <a:pt x="8" y="5"/>
                  </a:lnTo>
                  <a:lnTo>
                    <a:pt x="8" y="3"/>
                  </a:lnTo>
                  <a:lnTo>
                    <a:pt x="8" y="2"/>
                  </a:lnTo>
                  <a:lnTo>
                    <a:pt x="10" y="2"/>
                  </a:lnTo>
                  <a:lnTo>
                    <a:pt x="14" y="0"/>
                  </a:lnTo>
                  <a:lnTo>
                    <a:pt x="16" y="2"/>
                  </a:lnTo>
                  <a:lnTo>
                    <a:pt x="16" y="3"/>
                  </a:lnTo>
                  <a:lnTo>
                    <a:pt x="18" y="3"/>
                  </a:lnTo>
                  <a:lnTo>
                    <a:pt x="19" y="3"/>
                  </a:lnTo>
                  <a:lnTo>
                    <a:pt x="21" y="3"/>
                  </a:lnTo>
                  <a:lnTo>
                    <a:pt x="23" y="5"/>
                  </a:lnTo>
                  <a:lnTo>
                    <a:pt x="25" y="7"/>
                  </a:lnTo>
                  <a:lnTo>
                    <a:pt x="25" y="9"/>
                  </a:lnTo>
                  <a:lnTo>
                    <a:pt x="23" y="11"/>
                  </a:lnTo>
                  <a:lnTo>
                    <a:pt x="23" y="13"/>
                  </a:lnTo>
                  <a:lnTo>
                    <a:pt x="21" y="13"/>
                  </a:lnTo>
                  <a:lnTo>
                    <a:pt x="19" y="15"/>
                  </a:lnTo>
                  <a:lnTo>
                    <a:pt x="19" y="13"/>
                  </a:lnTo>
                  <a:lnTo>
                    <a:pt x="19" y="11"/>
                  </a:lnTo>
                  <a:lnTo>
                    <a:pt x="18" y="9"/>
                  </a:lnTo>
                  <a:lnTo>
                    <a:pt x="18" y="7"/>
                  </a:lnTo>
                  <a:lnTo>
                    <a:pt x="16" y="7"/>
                  </a:lnTo>
                  <a:lnTo>
                    <a:pt x="16" y="9"/>
                  </a:lnTo>
                  <a:lnTo>
                    <a:pt x="18" y="11"/>
                  </a:lnTo>
                  <a:lnTo>
                    <a:pt x="19" y="13"/>
                  </a:lnTo>
                  <a:lnTo>
                    <a:pt x="19" y="15"/>
                  </a:lnTo>
                  <a:lnTo>
                    <a:pt x="19" y="17"/>
                  </a:lnTo>
                  <a:lnTo>
                    <a:pt x="19" y="19"/>
                  </a:lnTo>
                  <a:lnTo>
                    <a:pt x="19" y="21"/>
                  </a:lnTo>
                  <a:lnTo>
                    <a:pt x="21" y="19"/>
                  </a:lnTo>
                  <a:lnTo>
                    <a:pt x="21" y="21"/>
                  </a:lnTo>
                  <a:lnTo>
                    <a:pt x="23" y="19"/>
                  </a:lnTo>
                  <a:lnTo>
                    <a:pt x="23" y="17"/>
                  </a:lnTo>
                  <a:lnTo>
                    <a:pt x="25" y="15"/>
                  </a:lnTo>
                  <a:lnTo>
                    <a:pt x="27" y="15"/>
                  </a:lnTo>
                  <a:lnTo>
                    <a:pt x="27" y="17"/>
                  </a:lnTo>
                  <a:lnTo>
                    <a:pt x="27" y="19"/>
                  </a:lnTo>
                  <a:lnTo>
                    <a:pt x="25" y="21"/>
                  </a:lnTo>
                  <a:lnTo>
                    <a:pt x="25" y="23"/>
                  </a:lnTo>
                  <a:lnTo>
                    <a:pt x="25" y="25"/>
                  </a:lnTo>
                  <a:lnTo>
                    <a:pt x="25" y="27"/>
                  </a:lnTo>
                  <a:lnTo>
                    <a:pt x="23" y="27"/>
                  </a:lnTo>
                  <a:lnTo>
                    <a:pt x="23" y="25"/>
                  </a:lnTo>
                  <a:lnTo>
                    <a:pt x="23" y="27"/>
                  </a:lnTo>
                  <a:lnTo>
                    <a:pt x="21" y="27"/>
                  </a:lnTo>
                  <a:lnTo>
                    <a:pt x="21" y="25"/>
                  </a:lnTo>
                  <a:lnTo>
                    <a:pt x="19" y="23"/>
                  </a:lnTo>
                  <a:lnTo>
                    <a:pt x="19" y="25"/>
                  </a:lnTo>
                  <a:lnTo>
                    <a:pt x="18" y="23"/>
                  </a:lnTo>
                  <a:lnTo>
                    <a:pt x="16" y="23"/>
                  </a:lnTo>
                  <a:lnTo>
                    <a:pt x="16" y="21"/>
                  </a:lnTo>
                  <a:lnTo>
                    <a:pt x="14" y="21"/>
                  </a:lnTo>
                  <a:lnTo>
                    <a:pt x="12" y="21"/>
                  </a:lnTo>
                  <a:lnTo>
                    <a:pt x="10" y="21"/>
                  </a:lnTo>
                  <a:lnTo>
                    <a:pt x="8" y="19"/>
                  </a:lnTo>
                  <a:lnTo>
                    <a:pt x="10" y="17"/>
                  </a:lnTo>
                  <a:lnTo>
                    <a:pt x="8" y="17"/>
                  </a:lnTo>
                  <a:lnTo>
                    <a:pt x="8" y="13"/>
                  </a:lnTo>
                  <a:lnTo>
                    <a:pt x="8" y="15"/>
                  </a:lnTo>
                  <a:lnTo>
                    <a:pt x="6" y="17"/>
                  </a:lnTo>
                  <a:lnTo>
                    <a:pt x="4" y="17"/>
                  </a:lnTo>
                  <a:lnTo>
                    <a:pt x="4" y="19"/>
                  </a:lnTo>
                  <a:lnTo>
                    <a:pt x="2" y="19"/>
                  </a:lnTo>
                  <a:lnTo>
                    <a:pt x="0" y="15"/>
                  </a:lnTo>
                  <a:lnTo>
                    <a:pt x="0" y="1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3" name="Freeform 201"/>
            <p:cNvSpPr>
              <a:spLocks/>
            </p:cNvSpPr>
            <p:nvPr/>
          </p:nvSpPr>
          <p:spPr bwMode="auto">
            <a:xfrm>
              <a:off x="2798" y="1702"/>
              <a:ext cx="12" cy="10"/>
            </a:xfrm>
            <a:custGeom>
              <a:avLst/>
              <a:gdLst>
                <a:gd name="T0" fmla="*/ 0 w 12"/>
                <a:gd name="T1" fmla="*/ 2 h 10"/>
                <a:gd name="T2" fmla="*/ 2 w 12"/>
                <a:gd name="T3" fmla="*/ 2 h 10"/>
                <a:gd name="T4" fmla="*/ 4 w 12"/>
                <a:gd name="T5" fmla="*/ 2 h 10"/>
                <a:gd name="T6" fmla="*/ 4 w 12"/>
                <a:gd name="T7" fmla="*/ 0 h 10"/>
                <a:gd name="T8" fmla="*/ 6 w 12"/>
                <a:gd name="T9" fmla="*/ 0 h 10"/>
                <a:gd name="T10" fmla="*/ 6 w 12"/>
                <a:gd name="T11" fmla="*/ 2 h 10"/>
                <a:gd name="T12" fmla="*/ 4 w 12"/>
                <a:gd name="T13" fmla="*/ 4 h 10"/>
                <a:gd name="T14" fmla="*/ 6 w 12"/>
                <a:gd name="T15" fmla="*/ 4 h 10"/>
                <a:gd name="T16" fmla="*/ 8 w 12"/>
                <a:gd name="T17" fmla="*/ 4 h 10"/>
                <a:gd name="T18" fmla="*/ 10 w 12"/>
                <a:gd name="T19" fmla="*/ 2 h 10"/>
                <a:gd name="T20" fmla="*/ 12 w 12"/>
                <a:gd name="T21" fmla="*/ 2 h 10"/>
                <a:gd name="T22" fmla="*/ 12 w 12"/>
                <a:gd name="T23" fmla="*/ 4 h 10"/>
                <a:gd name="T24" fmla="*/ 12 w 12"/>
                <a:gd name="T25" fmla="*/ 6 h 10"/>
                <a:gd name="T26" fmla="*/ 10 w 12"/>
                <a:gd name="T27" fmla="*/ 8 h 10"/>
                <a:gd name="T28" fmla="*/ 10 w 12"/>
                <a:gd name="T29" fmla="*/ 6 h 10"/>
                <a:gd name="T30" fmla="*/ 10 w 12"/>
                <a:gd name="T31" fmla="*/ 8 h 10"/>
                <a:gd name="T32" fmla="*/ 8 w 12"/>
                <a:gd name="T33" fmla="*/ 8 h 10"/>
                <a:gd name="T34" fmla="*/ 8 w 12"/>
                <a:gd name="T35" fmla="*/ 10 h 10"/>
                <a:gd name="T36" fmla="*/ 6 w 12"/>
                <a:gd name="T37" fmla="*/ 10 h 10"/>
                <a:gd name="T38" fmla="*/ 6 w 12"/>
                <a:gd name="T39" fmla="*/ 8 h 10"/>
                <a:gd name="T40" fmla="*/ 6 w 12"/>
                <a:gd name="T41" fmla="*/ 6 h 10"/>
                <a:gd name="T42" fmla="*/ 4 w 12"/>
                <a:gd name="T43" fmla="*/ 8 h 10"/>
                <a:gd name="T44" fmla="*/ 4 w 12"/>
                <a:gd name="T45" fmla="*/ 6 h 10"/>
                <a:gd name="T46" fmla="*/ 2 w 12"/>
                <a:gd name="T47" fmla="*/ 4 h 10"/>
                <a:gd name="T48" fmla="*/ 0 w 12"/>
                <a:gd name="T4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0">
                  <a:moveTo>
                    <a:pt x="0" y="2"/>
                  </a:moveTo>
                  <a:lnTo>
                    <a:pt x="2" y="2"/>
                  </a:lnTo>
                  <a:lnTo>
                    <a:pt x="4" y="2"/>
                  </a:lnTo>
                  <a:lnTo>
                    <a:pt x="4" y="0"/>
                  </a:lnTo>
                  <a:lnTo>
                    <a:pt x="6" y="0"/>
                  </a:lnTo>
                  <a:lnTo>
                    <a:pt x="6" y="2"/>
                  </a:lnTo>
                  <a:lnTo>
                    <a:pt x="4" y="4"/>
                  </a:lnTo>
                  <a:lnTo>
                    <a:pt x="6" y="4"/>
                  </a:lnTo>
                  <a:lnTo>
                    <a:pt x="8" y="4"/>
                  </a:lnTo>
                  <a:lnTo>
                    <a:pt x="10" y="2"/>
                  </a:lnTo>
                  <a:lnTo>
                    <a:pt x="12" y="2"/>
                  </a:lnTo>
                  <a:lnTo>
                    <a:pt x="12" y="4"/>
                  </a:lnTo>
                  <a:lnTo>
                    <a:pt x="12" y="6"/>
                  </a:lnTo>
                  <a:lnTo>
                    <a:pt x="10" y="8"/>
                  </a:lnTo>
                  <a:lnTo>
                    <a:pt x="10" y="6"/>
                  </a:lnTo>
                  <a:lnTo>
                    <a:pt x="10" y="8"/>
                  </a:lnTo>
                  <a:lnTo>
                    <a:pt x="8" y="8"/>
                  </a:lnTo>
                  <a:lnTo>
                    <a:pt x="8" y="10"/>
                  </a:lnTo>
                  <a:lnTo>
                    <a:pt x="6" y="10"/>
                  </a:lnTo>
                  <a:lnTo>
                    <a:pt x="6" y="8"/>
                  </a:lnTo>
                  <a:lnTo>
                    <a:pt x="6" y="6"/>
                  </a:lnTo>
                  <a:lnTo>
                    <a:pt x="4" y="8"/>
                  </a:lnTo>
                  <a:lnTo>
                    <a:pt x="4" y="6"/>
                  </a:lnTo>
                  <a:lnTo>
                    <a:pt x="2"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4" name="Freeform 202"/>
            <p:cNvSpPr>
              <a:spLocks/>
            </p:cNvSpPr>
            <p:nvPr/>
          </p:nvSpPr>
          <p:spPr bwMode="auto">
            <a:xfrm>
              <a:off x="2840" y="1890"/>
              <a:ext cx="12" cy="8"/>
            </a:xfrm>
            <a:custGeom>
              <a:avLst/>
              <a:gdLst>
                <a:gd name="T0" fmla="*/ 0 w 12"/>
                <a:gd name="T1" fmla="*/ 8 h 8"/>
                <a:gd name="T2" fmla="*/ 0 w 12"/>
                <a:gd name="T3" fmla="*/ 6 h 8"/>
                <a:gd name="T4" fmla="*/ 0 w 12"/>
                <a:gd name="T5" fmla="*/ 4 h 8"/>
                <a:gd name="T6" fmla="*/ 0 w 12"/>
                <a:gd name="T7" fmla="*/ 2 h 8"/>
                <a:gd name="T8" fmla="*/ 4 w 12"/>
                <a:gd name="T9" fmla="*/ 2 h 8"/>
                <a:gd name="T10" fmla="*/ 6 w 12"/>
                <a:gd name="T11" fmla="*/ 4 h 8"/>
                <a:gd name="T12" fmla="*/ 6 w 12"/>
                <a:gd name="T13" fmla="*/ 2 h 8"/>
                <a:gd name="T14" fmla="*/ 8 w 12"/>
                <a:gd name="T15" fmla="*/ 2 h 8"/>
                <a:gd name="T16" fmla="*/ 10 w 12"/>
                <a:gd name="T17" fmla="*/ 2 h 8"/>
                <a:gd name="T18" fmla="*/ 10 w 12"/>
                <a:gd name="T19" fmla="*/ 0 h 8"/>
                <a:gd name="T20" fmla="*/ 12 w 12"/>
                <a:gd name="T21" fmla="*/ 0 h 8"/>
                <a:gd name="T22" fmla="*/ 12 w 12"/>
                <a:gd name="T23" fmla="*/ 2 h 8"/>
                <a:gd name="T24" fmla="*/ 10 w 12"/>
                <a:gd name="T25" fmla="*/ 2 h 8"/>
                <a:gd name="T26" fmla="*/ 10 w 12"/>
                <a:gd name="T27" fmla="*/ 4 h 8"/>
                <a:gd name="T28" fmla="*/ 10 w 12"/>
                <a:gd name="T29" fmla="*/ 6 h 8"/>
                <a:gd name="T30" fmla="*/ 8 w 12"/>
                <a:gd name="T31" fmla="*/ 6 h 8"/>
                <a:gd name="T32" fmla="*/ 6 w 12"/>
                <a:gd name="T33" fmla="*/ 4 h 8"/>
                <a:gd name="T34" fmla="*/ 4 w 12"/>
                <a:gd name="T35" fmla="*/ 4 h 8"/>
                <a:gd name="T36" fmla="*/ 2 w 12"/>
                <a:gd name="T37" fmla="*/ 6 h 8"/>
                <a:gd name="T38" fmla="*/ 2 w 12"/>
                <a:gd name="T39" fmla="*/ 8 h 8"/>
                <a:gd name="T40" fmla="*/ 0 w 12"/>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8">
                  <a:moveTo>
                    <a:pt x="0" y="8"/>
                  </a:moveTo>
                  <a:lnTo>
                    <a:pt x="0" y="6"/>
                  </a:lnTo>
                  <a:lnTo>
                    <a:pt x="0" y="4"/>
                  </a:lnTo>
                  <a:lnTo>
                    <a:pt x="0" y="2"/>
                  </a:lnTo>
                  <a:lnTo>
                    <a:pt x="4" y="2"/>
                  </a:lnTo>
                  <a:lnTo>
                    <a:pt x="6" y="4"/>
                  </a:lnTo>
                  <a:lnTo>
                    <a:pt x="6" y="2"/>
                  </a:lnTo>
                  <a:lnTo>
                    <a:pt x="8" y="2"/>
                  </a:lnTo>
                  <a:lnTo>
                    <a:pt x="10" y="2"/>
                  </a:lnTo>
                  <a:lnTo>
                    <a:pt x="10" y="0"/>
                  </a:lnTo>
                  <a:lnTo>
                    <a:pt x="12" y="0"/>
                  </a:lnTo>
                  <a:lnTo>
                    <a:pt x="12" y="2"/>
                  </a:lnTo>
                  <a:lnTo>
                    <a:pt x="10" y="2"/>
                  </a:lnTo>
                  <a:lnTo>
                    <a:pt x="10" y="4"/>
                  </a:lnTo>
                  <a:lnTo>
                    <a:pt x="10" y="6"/>
                  </a:lnTo>
                  <a:lnTo>
                    <a:pt x="8" y="6"/>
                  </a:lnTo>
                  <a:lnTo>
                    <a:pt x="6" y="4"/>
                  </a:lnTo>
                  <a:lnTo>
                    <a:pt x="4" y="4"/>
                  </a:lnTo>
                  <a:lnTo>
                    <a:pt x="2" y="6"/>
                  </a:lnTo>
                  <a:lnTo>
                    <a:pt x="2" y="8"/>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5" name="Freeform 203"/>
            <p:cNvSpPr>
              <a:spLocks/>
            </p:cNvSpPr>
            <p:nvPr/>
          </p:nvSpPr>
          <p:spPr bwMode="auto">
            <a:xfrm>
              <a:off x="2833" y="1894"/>
              <a:ext cx="5" cy="6"/>
            </a:xfrm>
            <a:custGeom>
              <a:avLst/>
              <a:gdLst>
                <a:gd name="T0" fmla="*/ 0 w 5"/>
                <a:gd name="T1" fmla="*/ 4 h 6"/>
                <a:gd name="T2" fmla="*/ 2 w 5"/>
                <a:gd name="T3" fmla="*/ 4 h 6"/>
                <a:gd name="T4" fmla="*/ 4 w 5"/>
                <a:gd name="T5" fmla="*/ 4 h 6"/>
                <a:gd name="T6" fmla="*/ 2 w 5"/>
                <a:gd name="T7" fmla="*/ 4 h 6"/>
                <a:gd name="T8" fmla="*/ 0 w 5"/>
                <a:gd name="T9" fmla="*/ 4 h 6"/>
                <a:gd name="T10" fmla="*/ 2 w 5"/>
                <a:gd name="T11" fmla="*/ 6 h 6"/>
                <a:gd name="T12" fmla="*/ 4 w 5"/>
                <a:gd name="T13" fmla="*/ 6 h 6"/>
                <a:gd name="T14" fmla="*/ 5 w 5"/>
                <a:gd name="T15" fmla="*/ 4 h 6"/>
                <a:gd name="T16" fmla="*/ 5 w 5"/>
                <a:gd name="T17" fmla="*/ 2 h 6"/>
                <a:gd name="T18" fmla="*/ 5 w 5"/>
                <a:gd name="T19" fmla="*/ 0 h 6"/>
                <a:gd name="T20" fmla="*/ 4 w 5"/>
                <a:gd name="T21" fmla="*/ 2 h 6"/>
                <a:gd name="T22" fmla="*/ 4 w 5"/>
                <a:gd name="T23" fmla="*/ 0 h 6"/>
                <a:gd name="T24" fmla="*/ 2 w 5"/>
                <a:gd name="T25" fmla="*/ 2 h 6"/>
                <a:gd name="T26" fmla="*/ 0 w 5"/>
                <a:gd name="T2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0" y="4"/>
                  </a:moveTo>
                  <a:lnTo>
                    <a:pt x="2" y="4"/>
                  </a:lnTo>
                  <a:lnTo>
                    <a:pt x="4" y="4"/>
                  </a:lnTo>
                  <a:lnTo>
                    <a:pt x="2" y="4"/>
                  </a:lnTo>
                  <a:lnTo>
                    <a:pt x="0" y="4"/>
                  </a:lnTo>
                  <a:lnTo>
                    <a:pt x="2" y="6"/>
                  </a:lnTo>
                  <a:lnTo>
                    <a:pt x="4" y="6"/>
                  </a:lnTo>
                  <a:lnTo>
                    <a:pt x="5" y="4"/>
                  </a:lnTo>
                  <a:lnTo>
                    <a:pt x="5" y="2"/>
                  </a:lnTo>
                  <a:lnTo>
                    <a:pt x="5" y="0"/>
                  </a:lnTo>
                  <a:lnTo>
                    <a:pt x="4" y="2"/>
                  </a:lnTo>
                  <a:lnTo>
                    <a:pt x="4" y="0"/>
                  </a:lnTo>
                  <a:lnTo>
                    <a:pt x="2" y="2"/>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6" name="Freeform 204"/>
            <p:cNvSpPr>
              <a:spLocks/>
            </p:cNvSpPr>
            <p:nvPr/>
          </p:nvSpPr>
          <p:spPr bwMode="auto">
            <a:xfrm>
              <a:off x="2794" y="1892"/>
              <a:ext cx="6" cy="8"/>
            </a:xfrm>
            <a:custGeom>
              <a:avLst/>
              <a:gdLst>
                <a:gd name="T0" fmla="*/ 0 w 6"/>
                <a:gd name="T1" fmla="*/ 6 h 8"/>
                <a:gd name="T2" fmla="*/ 2 w 6"/>
                <a:gd name="T3" fmla="*/ 4 h 8"/>
                <a:gd name="T4" fmla="*/ 2 w 6"/>
                <a:gd name="T5" fmla="*/ 2 h 8"/>
                <a:gd name="T6" fmla="*/ 2 w 6"/>
                <a:gd name="T7" fmla="*/ 0 h 8"/>
                <a:gd name="T8" fmla="*/ 4 w 6"/>
                <a:gd name="T9" fmla="*/ 0 h 8"/>
                <a:gd name="T10" fmla="*/ 4 w 6"/>
                <a:gd name="T11" fmla="*/ 2 h 8"/>
                <a:gd name="T12" fmla="*/ 6 w 6"/>
                <a:gd name="T13" fmla="*/ 2 h 8"/>
                <a:gd name="T14" fmla="*/ 4 w 6"/>
                <a:gd name="T15" fmla="*/ 4 h 8"/>
                <a:gd name="T16" fmla="*/ 4 w 6"/>
                <a:gd name="T17" fmla="*/ 6 h 8"/>
                <a:gd name="T18" fmla="*/ 4 w 6"/>
                <a:gd name="T19" fmla="*/ 4 h 8"/>
                <a:gd name="T20" fmla="*/ 2 w 6"/>
                <a:gd name="T21" fmla="*/ 4 h 8"/>
                <a:gd name="T22" fmla="*/ 2 w 6"/>
                <a:gd name="T23" fmla="*/ 6 h 8"/>
                <a:gd name="T24" fmla="*/ 0 w 6"/>
                <a:gd name="T25" fmla="*/ 8 h 8"/>
                <a:gd name="T26" fmla="*/ 0 w 6"/>
                <a:gd name="T2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0" y="6"/>
                  </a:moveTo>
                  <a:lnTo>
                    <a:pt x="2" y="4"/>
                  </a:lnTo>
                  <a:lnTo>
                    <a:pt x="2" y="2"/>
                  </a:lnTo>
                  <a:lnTo>
                    <a:pt x="2" y="0"/>
                  </a:lnTo>
                  <a:lnTo>
                    <a:pt x="4" y="0"/>
                  </a:lnTo>
                  <a:lnTo>
                    <a:pt x="4" y="2"/>
                  </a:lnTo>
                  <a:lnTo>
                    <a:pt x="6" y="2"/>
                  </a:lnTo>
                  <a:lnTo>
                    <a:pt x="4" y="4"/>
                  </a:lnTo>
                  <a:lnTo>
                    <a:pt x="4" y="6"/>
                  </a:lnTo>
                  <a:lnTo>
                    <a:pt x="4" y="4"/>
                  </a:lnTo>
                  <a:lnTo>
                    <a:pt x="2" y="4"/>
                  </a:lnTo>
                  <a:lnTo>
                    <a:pt x="2" y="6"/>
                  </a:lnTo>
                  <a:lnTo>
                    <a:pt x="0" y="8"/>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7" name="Freeform 205"/>
            <p:cNvSpPr>
              <a:spLocks/>
            </p:cNvSpPr>
            <p:nvPr/>
          </p:nvSpPr>
          <p:spPr bwMode="auto">
            <a:xfrm>
              <a:off x="2796" y="1910"/>
              <a:ext cx="6" cy="3"/>
            </a:xfrm>
            <a:custGeom>
              <a:avLst/>
              <a:gdLst>
                <a:gd name="T0" fmla="*/ 0 w 6"/>
                <a:gd name="T1" fmla="*/ 2 h 3"/>
                <a:gd name="T2" fmla="*/ 2 w 6"/>
                <a:gd name="T3" fmla="*/ 0 h 3"/>
                <a:gd name="T4" fmla="*/ 4 w 6"/>
                <a:gd name="T5" fmla="*/ 0 h 3"/>
                <a:gd name="T6" fmla="*/ 6 w 6"/>
                <a:gd name="T7" fmla="*/ 0 h 3"/>
                <a:gd name="T8" fmla="*/ 6 w 6"/>
                <a:gd name="T9" fmla="*/ 2 h 3"/>
                <a:gd name="T10" fmla="*/ 4 w 6"/>
                <a:gd name="T11" fmla="*/ 2 h 3"/>
                <a:gd name="T12" fmla="*/ 2 w 6"/>
                <a:gd name="T13" fmla="*/ 2 h 3"/>
                <a:gd name="T14" fmla="*/ 2 w 6"/>
                <a:gd name="T15" fmla="*/ 3 h 3"/>
                <a:gd name="T16" fmla="*/ 0 w 6"/>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3">
                  <a:moveTo>
                    <a:pt x="0" y="2"/>
                  </a:moveTo>
                  <a:lnTo>
                    <a:pt x="2" y="0"/>
                  </a:lnTo>
                  <a:lnTo>
                    <a:pt x="4" y="0"/>
                  </a:lnTo>
                  <a:lnTo>
                    <a:pt x="6" y="0"/>
                  </a:lnTo>
                  <a:lnTo>
                    <a:pt x="6" y="2"/>
                  </a:lnTo>
                  <a:lnTo>
                    <a:pt x="4" y="2"/>
                  </a:lnTo>
                  <a:lnTo>
                    <a:pt x="2" y="2"/>
                  </a:lnTo>
                  <a:lnTo>
                    <a:pt x="2" y="3"/>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8" name="Freeform 206"/>
            <p:cNvSpPr>
              <a:spLocks/>
            </p:cNvSpPr>
            <p:nvPr/>
          </p:nvSpPr>
          <p:spPr bwMode="auto">
            <a:xfrm>
              <a:off x="2804" y="1906"/>
              <a:ext cx="2" cy="4"/>
            </a:xfrm>
            <a:custGeom>
              <a:avLst/>
              <a:gdLst>
                <a:gd name="T0" fmla="*/ 0 w 2"/>
                <a:gd name="T1" fmla="*/ 2 h 4"/>
                <a:gd name="T2" fmla="*/ 0 w 2"/>
                <a:gd name="T3" fmla="*/ 4 h 4"/>
                <a:gd name="T4" fmla="*/ 2 w 2"/>
                <a:gd name="T5" fmla="*/ 4 h 4"/>
                <a:gd name="T6" fmla="*/ 2 w 2"/>
                <a:gd name="T7" fmla="*/ 2 h 4"/>
                <a:gd name="T8" fmla="*/ 2 w 2"/>
                <a:gd name="T9" fmla="*/ 0 h 4"/>
                <a:gd name="T10" fmla="*/ 0 w 2"/>
                <a:gd name="T11" fmla="*/ 0 h 4"/>
                <a:gd name="T12" fmla="*/ 0 w 2"/>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2"/>
                  </a:moveTo>
                  <a:lnTo>
                    <a:pt x="0" y="4"/>
                  </a:lnTo>
                  <a:lnTo>
                    <a:pt x="2" y="4"/>
                  </a:lnTo>
                  <a:lnTo>
                    <a:pt x="2" y="2"/>
                  </a:lnTo>
                  <a:lnTo>
                    <a:pt x="2" y="0"/>
                  </a:ln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19" name="Freeform 207"/>
            <p:cNvSpPr>
              <a:spLocks/>
            </p:cNvSpPr>
            <p:nvPr/>
          </p:nvSpPr>
          <p:spPr bwMode="auto">
            <a:xfrm>
              <a:off x="2810" y="1890"/>
              <a:ext cx="2" cy="4"/>
            </a:xfrm>
            <a:custGeom>
              <a:avLst/>
              <a:gdLst>
                <a:gd name="T0" fmla="*/ 0 w 2"/>
                <a:gd name="T1" fmla="*/ 0 h 4"/>
                <a:gd name="T2" fmla="*/ 2 w 2"/>
                <a:gd name="T3" fmla="*/ 0 h 4"/>
                <a:gd name="T4" fmla="*/ 2 w 2"/>
                <a:gd name="T5" fmla="*/ 2 h 4"/>
                <a:gd name="T6" fmla="*/ 2 w 2"/>
                <a:gd name="T7" fmla="*/ 4 h 4"/>
                <a:gd name="T8" fmla="*/ 0 w 2"/>
                <a:gd name="T9" fmla="*/ 4 h 4"/>
                <a:gd name="T10" fmla="*/ 0 w 2"/>
                <a:gd name="T11" fmla="*/ 2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2" y="0"/>
                  </a:lnTo>
                  <a:lnTo>
                    <a:pt x="2" y="2"/>
                  </a:lnTo>
                  <a:lnTo>
                    <a:pt x="2" y="4"/>
                  </a:lnTo>
                  <a:lnTo>
                    <a:pt x="0" y="4"/>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20" name="Rectangle 208"/>
            <p:cNvSpPr>
              <a:spLocks noChangeArrowheads="1"/>
            </p:cNvSpPr>
            <p:nvPr/>
          </p:nvSpPr>
          <p:spPr bwMode="auto">
            <a:xfrm>
              <a:off x="2802" y="1906"/>
              <a:ext cx="2" cy="2"/>
            </a:xfrm>
            <a:prstGeom prst="rect">
              <a:avLst/>
            </a:prstGeom>
            <a:grpFill/>
            <a:ln w="3175">
              <a:solidFill>
                <a:schemeClr val="bg2"/>
              </a:solidFill>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421" name="Freeform 209"/>
            <p:cNvSpPr>
              <a:spLocks/>
            </p:cNvSpPr>
            <p:nvPr/>
          </p:nvSpPr>
          <p:spPr bwMode="auto">
            <a:xfrm>
              <a:off x="2800" y="1906"/>
              <a:ext cx="2" cy="2"/>
            </a:xfrm>
            <a:custGeom>
              <a:avLst/>
              <a:gdLst>
                <a:gd name="T0" fmla="*/ 0 w 2"/>
                <a:gd name="T1" fmla="*/ 2 h 2"/>
                <a:gd name="T2" fmla="*/ 0 w 2"/>
                <a:gd name="T3" fmla="*/ 0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0" y="0"/>
                  </a:lnTo>
                  <a:lnTo>
                    <a:pt x="2"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22" name="Freeform 210"/>
            <p:cNvSpPr>
              <a:spLocks/>
            </p:cNvSpPr>
            <p:nvPr/>
          </p:nvSpPr>
          <p:spPr bwMode="auto">
            <a:xfrm>
              <a:off x="2808" y="1894"/>
              <a:ext cx="1" cy="2"/>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23" name="Freeform 211"/>
            <p:cNvSpPr>
              <a:spLocks/>
            </p:cNvSpPr>
            <p:nvPr/>
          </p:nvSpPr>
          <p:spPr bwMode="auto">
            <a:xfrm>
              <a:off x="2314" y="1226"/>
              <a:ext cx="684" cy="820"/>
            </a:xfrm>
            <a:custGeom>
              <a:avLst/>
              <a:gdLst>
                <a:gd name="T0" fmla="*/ 42 w 684"/>
                <a:gd name="T1" fmla="*/ 714 h 820"/>
                <a:gd name="T2" fmla="*/ 29 w 684"/>
                <a:gd name="T3" fmla="*/ 709 h 820"/>
                <a:gd name="T4" fmla="*/ 65 w 684"/>
                <a:gd name="T5" fmla="*/ 664 h 820"/>
                <a:gd name="T6" fmla="*/ 19 w 684"/>
                <a:gd name="T7" fmla="*/ 682 h 820"/>
                <a:gd name="T8" fmla="*/ 11 w 684"/>
                <a:gd name="T9" fmla="*/ 659 h 820"/>
                <a:gd name="T10" fmla="*/ 7 w 684"/>
                <a:gd name="T11" fmla="*/ 638 h 820"/>
                <a:gd name="T12" fmla="*/ 36 w 684"/>
                <a:gd name="T13" fmla="*/ 618 h 820"/>
                <a:gd name="T14" fmla="*/ 23 w 684"/>
                <a:gd name="T15" fmla="*/ 599 h 820"/>
                <a:gd name="T16" fmla="*/ 40 w 684"/>
                <a:gd name="T17" fmla="*/ 572 h 820"/>
                <a:gd name="T18" fmla="*/ 40 w 684"/>
                <a:gd name="T19" fmla="*/ 557 h 820"/>
                <a:gd name="T20" fmla="*/ 56 w 684"/>
                <a:gd name="T21" fmla="*/ 528 h 820"/>
                <a:gd name="T22" fmla="*/ 86 w 684"/>
                <a:gd name="T23" fmla="*/ 505 h 820"/>
                <a:gd name="T24" fmla="*/ 125 w 684"/>
                <a:gd name="T25" fmla="*/ 482 h 820"/>
                <a:gd name="T26" fmla="*/ 161 w 684"/>
                <a:gd name="T27" fmla="*/ 482 h 820"/>
                <a:gd name="T28" fmla="*/ 198 w 684"/>
                <a:gd name="T29" fmla="*/ 453 h 820"/>
                <a:gd name="T30" fmla="*/ 154 w 684"/>
                <a:gd name="T31" fmla="*/ 459 h 820"/>
                <a:gd name="T32" fmla="*/ 198 w 684"/>
                <a:gd name="T33" fmla="*/ 420 h 820"/>
                <a:gd name="T34" fmla="*/ 221 w 684"/>
                <a:gd name="T35" fmla="*/ 378 h 820"/>
                <a:gd name="T36" fmla="*/ 227 w 684"/>
                <a:gd name="T37" fmla="*/ 365 h 820"/>
                <a:gd name="T38" fmla="*/ 253 w 684"/>
                <a:gd name="T39" fmla="*/ 340 h 820"/>
                <a:gd name="T40" fmla="*/ 269 w 684"/>
                <a:gd name="T41" fmla="*/ 311 h 820"/>
                <a:gd name="T42" fmla="*/ 255 w 684"/>
                <a:gd name="T43" fmla="*/ 295 h 820"/>
                <a:gd name="T44" fmla="*/ 277 w 684"/>
                <a:gd name="T45" fmla="*/ 267 h 820"/>
                <a:gd name="T46" fmla="*/ 305 w 684"/>
                <a:gd name="T47" fmla="*/ 238 h 820"/>
                <a:gd name="T48" fmla="*/ 317 w 684"/>
                <a:gd name="T49" fmla="*/ 222 h 820"/>
                <a:gd name="T50" fmla="*/ 305 w 684"/>
                <a:gd name="T51" fmla="*/ 215 h 820"/>
                <a:gd name="T52" fmla="*/ 319 w 684"/>
                <a:gd name="T53" fmla="*/ 199 h 820"/>
                <a:gd name="T54" fmla="*/ 338 w 684"/>
                <a:gd name="T55" fmla="*/ 205 h 820"/>
                <a:gd name="T56" fmla="*/ 338 w 684"/>
                <a:gd name="T57" fmla="*/ 190 h 820"/>
                <a:gd name="T58" fmla="*/ 338 w 684"/>
                <a:gd name="T59" fmla="*/ 180 h 820"/>
                <a:gd name="T60" fmla="*/ 303 w 684"/>
                <a:gd name="T61" fmla="*/ 188 h 820"/>
                <a:gd name="T62" fmla="*/ 294 w 684"/>
                <a:gd name="T63" fmla="*/ 173 h 820"/>
                <a:gd name="T64" fmla="*/ 294 w 684"/>
                <a:gd name="T65" fmla="*/ 165 h 820"/>
                <a:gd name="T66" fmla="*/ 311 w 684"/>
                <a:gd name="T67" fmla="*/ 151 h 820"/>
                <a:gd name="T68" fmla="*/ 325 w 684"/>
                <a:gd name="T69" fmla="*/ 159 h 820"/>
                <a:gd name="T70" fmla="*/ 359 w 684"/>
                <a:gd name="T71" fmla="*/ 157 h 820"/>
                <a:gd name="T72" fmla="*/ 376 w 684"/>
                <a:gd name="T73" fmla="*/ 126 h 820"/>
                <a:gd name="T74" fmla="*/ 407 w 684"/>
                <a:gd name="T75" fmla="*/ 132 h 820"/>
                <a:gd name="T76" fmla="*/ 421 w 684"/>
                <a:gd name="T77" fmla="*/ 109 h 820"/>
                <a:gd name="T78" fmla="*/ 434 w 684"/>
                <a:gd name="T79" fmla="*/ 113 h 820"/>
                <a:gd name="T80" fmla="*/ 448 w 684"/>
                <a:gd name="T81" fmla="*/ 82 h 820"/>
                <a:gd name="T82" fmla="*/ 453 w 684"/>
                <a:gd name="T83" fmla="*/ 69 h 820"/>
                <a:gd name="T84" fmla="*/ 474 w 684"/>
                <a:gd name="T85" fmla="*/ 78 h 820"/>
                <a:gd name="T86" fmla="*/ 498 w 684"/>
                <a:gd name="T87" fmla="*/ 57 h 820"/>
                <a:gd name="T88" fmla="*/ 517 w 684"/>
                <a:gd name="T89" fmla="*/ 28 h 820"/>
                <a:gd name="T90" fmla="*/ 546 w 684"/>
                <a:gd name="T91" fmla="*/ 19 h 820"/>
                <a:gd name="T92" fmla="*/ 542 w 684"/>
                <a:gd name="T93" fmla="*/ 61 h 820"/>
                <a:gd name="T94" fmla="*/ 574 w 684"/>
                <a:gd name="T95" fmla="*/ 36 h 820"/>
                <a:gd name="T96" fmla="*/ 588 w 684"/>
                <a:gd name="T97" fmla="*/ 1 h 820"/>
                <a:gd name="T98" fmla="*/ 609 w 684"/>
                <a:gd name="T99" fmla="*/ 21 h 820"/>
                <a:gd name="T100" fmla="*/ 615 w 684"/>
                <a:gd name="T101" fmla="*/ 17 h 820"/>
                <a:gd name="T102" fmla="*/ 669 w 684"/>
                <a:gd name="T103" fmla="*/ 19 h 820"/>
                <a:gd name="T104" fmla="*/ 634 w 684"/>
                <a:gd name="T105" fmla="*/ 50 h 820"/>
                <a:gd name="T106" fmla="*/ 670 w 684"/>
                <a:gd name="T107" fmla="*/ 61 h 820"/>
                <a:gd name="T108" fmla="*/ 647 w 684"/>
                <a:gd name="T109" fmla="*/ 94 h 820"/>
                <a:gd name="T110" fmla="*/ 567 w 684"/>
                <a:gd name="T111" fmla="*/ 82 h 820"/>
                <a:gd name="T112" fmla="*/ 523 w 684"/>
                <a:gd name="T113" fmla="*/ 142 h 820"/>
                <a:gd name="T114" fmla="*/ 342 w 684"/>
                <a:gd name="T115" fmla="*/ 217 h 820"/>
                <a:gd name="T116" fmla="*/ 227 w 684"/>
                <a:gd name="T117" fmla="*/ 566 h 820"/>
                <a:gd name="T118" fmla="*/ 205 w 684"/>
                <a:gd name="T119" fmla="*/ 768 h 820"/>
                <a:gd name="T120" fmla="*/ 165 w 684"/>
                <a:gd name="T121" fmla="*/ 753 h 820"/>
                <a:gd name="T122" fmla="*/ 71 w 684"/>
                <a:gd name="T123" fmla="*/ 818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4" h="820">
                  <a:moveTo>
                    <a:pt x="36" y="799"/>
                  </a:moveTo>
                  <a:lnTo>
                    <a:pt x="34" y="799"/>
                  </a:lnTo>
                  <a:lnTo>
                    <a:pt x="34" y="797"/>
                  </a:lnTo>
                  <a:lnTo>
                    <a:pt x="31" y="795"/>
                  </a:lnTo>
                  <a:lnTo>
                    <a:pt x="27" y="793"/>
                  </a:lnTo>
                  <a:lnTo>
                    <a:pt x="25" y="787"/>
                  </a:lnTo>
                  <a:lnTo>
                    <a:pt x="21" y="787"/>
                  </a:lnTo>
                  <a:lnTo>
                    <a:pt x="19" y="785"/>
                  </a:lnTo>
                  <a:lnTo>
                    <a:pt x="13" y="780"/>
                  </a:lnTo>
                  <a:lnTo>
                    <a:pt x="11" y="776"/>
                  </a:lnTo>
                  <a:lnTo>
                    <a:pt x="11" y="774"/>
                  </a:lnTo>
                  <a:lnTo>
                    <a:pt x="9" y="768"/>
                  </a:lnTo>
                  <a:lnTo>
                    <a:pt x="11" y="764"/>
                  </a:lnTo>
                  <a:lnTo>
                    <a:pt x="13" y="759"/>
                  </a:lnTo>
                  <a:lnTo>
                    <a:pt x="13" y="755"/>
                  </a:lnTo>
                  <a:lnTo>
                    <a:pt x="13" y="753"/>
                  </a:lnTo>
                  <a:lnTo>
                    <a:pt x="19" y="755"/>
                  </a:lnTo>
                  <a:lnTo>
                    <a:pt x="19" y="759"/>
                  </a:lnTo>
                  <a:lnTo>
                    <a:pt x="21" y="759"/>
                  </a:lnTo>
                  <a:lnTo>
                    <a:pt x="23" y="757"/>
                  </a:lnTo>
                  <a:lnTo>
                    <a:pt x="25" y="759"/>
                  </a:lnTo>
                  <a:lnTo>
                    <a:pt x="25" y="760"/>
                  </a:lnTo>
                  <a:lnTo>
                    <a:pt x="31" y="764"/>
                  </a:lnTo>
                  <a:lnTo>
                    <a:pt x="29" y="760"/>
                  </a:lnTo>
                  <a:lnTo>
                    <a:pt x="48" y="753"/>
                  </a:lnTo>
                  <a:lnTo>
                    <a:pt x="34" y="755"/>
                  </a:lnTo>
                  <a:lnTo>
                    <a:pt x="29" y="759"/>
                  </a:lnTo>
                  <a:lnTo>
                    <a:pt x="27" y="757"/>
                  </a:lnTo>
                  <a:lnTo>
                    <a:pt x="29" y="753"/>
                  </a:lnTo>
                  <a:lnTo>
                    <a:pt x="27" y="753"/>
                  </a:lnTo>
                  <a:lnTo>
                    <a:pt x="25" y="753"/>
                  </a:lnTo>
                  <a:lnTo>
                    <a:pt x="23" y="751"/>
                  </a:lnTo>
                  <a:lnTo>
                    <a:pt x="25" y="747"/>
                  </a:lnTo>
                  <a:lnTo>
                    <a:pt x="34" y="745"/>
                  </a:lnTo>
                  <a:lnTo>
                    <a:pt x="29" y="745"/>
                  </a:lnTo>
                  <a:lnTo>
                    <a:pt x="32" y="741"/>
                  </a:lnTo>
                  <a:lnTo>
                    <a:pt x="44" y="736"/>
                  </a:lnTo>
                  <a:lnTo>
                    <a:pt x="32" y="739"/>
                  </a:lnTo>
                  <a:lnTo>
                    <a:pt x="32" y="736"/>
                  </a:lnTo>
                  <a:lnTo>
                    <a:pt x="36" y="736"/>
                  </a:lnTo>
                  <a:lnTo>
                    <a:pt x="29" y="734"/>
                  </a:lnTo>
                  <a:lnTo>
                    <a:pt x="31" y="730"/>
                  </a:lnTo>
                  <a:lnTo>
                    <a:pt x="32" y="728"/>
                  </a:lnTo>
                  <a:lnTo>
                    <a:pt x="36" y="724"/>
                  </a:lnTo>
                  <a:lnTo>
                    <a:pt x="46" y="720"/>
                  </a:lnTo>
                  <a:lnTo>
                    <a:pt x="44" y="720"/>
                  </a:lnTo>
                  <a:lnTo>
                    <a:pt x="38" y="722"/>
                  </a:lnTo>
                  <a:lnTo>
                    <a:pt x="42" y="714"/>
                  </a:lnTo>
                  <a:lnTo>
                    <a:pt x="34" y="724"/>
                  </a:lnTo>
                  <a:lnTo>
                    <a:pt x="31" y="730"/>
                  </a:lnTo>
                  <a:lnTo>
                    <a:pt x="27" y="732"/>
                  </a:lnTo>
                  <a:lnTo>
                    <a:pt x="27" y="726"/>
                  </a:lnTo>
                  <a:lnTo>
                    <a:pt x="34" y="724"/>
                  </a:lnTo>
                  <a:lnTo>
                    <a:pt x="32" y="724"/>
                  </a:lnTo>
                  <a:lnTo>
                    <a:pt x="25" y="724"/>
                  </a:lnTo>
                  <a:lnTo>
                    <a:pt x="25" y="720"/>
                  </a:lnTo>
                  <a:lnTo>
                    <a:pt x="23" y="722"/>
                  </a:lnTo>
                  <a:lnTo>
                    <a:pt x="23" y="724"/>
                  </a:lnTo>
                  <a:lnTo>
                    <a:pt x="17" y="728"/>
                  </a:lnTo>
                  <a:lnTo>
                    <a:pt x="23" y="726"/>
                  </a:lnTo>
                  <a:lnTo>
                    <a:pt x="25" y="732"/>
                  </a:lnTo>
                  <a:lnTo>
                    <a:pt x="19" y="734"/>
                  </a:lnTo>
                  <a:lnTo>
                    <a:pt x="17" y="737"/>
                  </a:lnTo>
                  <a:lnTo>
                    <a:pt x="17" y="734"/>
                  </a:lnTo>
                  <a:lnTo>
                    <a:pt x="17" y="722"/>
                  </a:lnTo>
                  <a:lnTo>
                    <a:pt x="11" y="726"/>
                  </a:lnTo>
                  <a:lnTo>
                    <a:pt x="15" y="726"/>
                  </a:lnTo>
                  <a:lnTo>
                    <a:pt x="15" y="736"/>
                  </a:lnTo>
                  <a:lnTo>
                    <a:pt x="7" y="736"/>
                  </a:lnTo>
                  <a:lnTo>
                    <a:pt x="6" y="743"/>
                  </a:lnTo>
                  <a:lnTo>
                    <a:pt x="2" y="743"/>
                  </a:lnTo>
                  <a:lnTo>
                    <a:pt x="4" y="728"/>
                  </a:lnTo>
                  <a:lnTo>
                    <a:pt x="4" y="722"/>
                  </a:lnTo>
                  <a:lnTo>
                    <a:pt x="4" y="720"/>
                  </a:lnTo>
                  <a:lnTo>
                    <a:pt x="7" y="716"/>
                  </a:lnTo>
                  <a:lnTo>
                    <a:pt x="7" y="714"/>
                  </a:lnTo>
                  <a:lnTo>
                    <a:pt x="11" y="712"/>
                  </a:lnTo>
                  <a:lnTo>
                    <a:pt x="11" y="716"/>
                  </a:lnTo>
                  <a:lnTo>
                    <a:pt x="13" y="712"/>
                  </a:lnTo>
                  <a:lnTo>
                    <a:pt x="11" y="711"/>
                  </a:lnTo>
                  <a:lnTo>
                    <a:pt x="13" y="709"/>
                  </a:lnTo>
                  <a:lnTo>
                    <a:pt x="15" y="709"/>
                  </a:lnTo>
                  <a:lnTo>
                    <a:pt x="15" y="718"/>
                  </a:lnTo>
                  <a:lnTo>
                    <a:pt x="13" y="720"/>
                  </a:lnTo>
                  <a:lnTo>
                    <a:pt x="11" y="722"/>
                  </a:lnTo>
                  <a:lnTo>
                    <a:pt x="11" y="724"/>
                  </a:lnTo>
                  <a:lnTo>
                    <a:pt x="15" y="720"/>
                  </a:lnTo>
                  <a:lnTo>
                    <a:pt x="17" y="712"/>
                  </a:lnTo>
                  <a:lnTo>
                    <a:pt x="23" y="714"/>
                  </a:lnTo>
                  <a:lnTo>
                    <a:pt x="23" y="716"/>
                  </a:lnTo>
                  <a:lnTo>
                    <a:pt x="25" y="714"/>
                  </a:lnTo>
                  <a:lnTo>
                    <a:pt x="29" y="712"/>
                  </a:lnTo>
                  <a:lnTo>
                    <a:pt x="27" y="712"/>
                  </a:lnTo>
                  <a:lnTo>
                    <a:pt x="23" y="712"/>
                  </a:lnTo>
                  <a:lnTo>
                    <a:pt x="23" y="711"/>
                  </a:lnTo>
                  <a:lnTo>
                    <a:pt x="29" y="709"/>
                  </a:lnTo>
                  <a:lnTo>
                    <a:pt x="32" y="709"/>
                  </a:lnTo>
                  <a:lnTo>
                    <a:pt x="40" y="703"/>
                  </a:lnTo>
                  <a:lnTo>
                    <a:pt x="29" y="707"/>
                  </a:lnTo>
                  <a:lnTo>
                    <a:pt x="31" y="701"/>
                  </a:lnTo>
                  <a:lnTo>
                    <a:pt x="27" y="705"/>
                  </a:lnTo>
                  <a:lnTo>
                    <a:pt x="25" y="703"/>
                  </a:lnTo>
                  <a:lnTo>
                    <a:pt x="23" y="701"/>
                  </a:lnTo>
                  <a:lnTo>
                    <a:pt x="21" y="703"/>
                  </a:lnTo>
                  <a:lnTo>
                    <a:pt x="21" y="699"/>
                  </a:lnTo>
                  <a:lnTo>
                    <a:pt x="23" y="699"/>
                  </a:lnTo>
                  <a:lnTo>
                    <a:pt x="25" y="697"/>
                  </a:lnTo>
                  <a:lnTo>
                    <a:pt x="27" y="695"/>
                  </a:lnTo>
                  <a:lnTo>
                    <a:pt x="29" y="695"/>
                  </a:lnTo>
                  <a:lnTo>
                    <a:pt x="31" y="695"/>
                  </a:lnTo>
                  <a:lnTo>
                    <a:pt x="32" y="693"/>
                  </a:lnTo>
                  <a:lnTo>
                    <a:pt x="31" y="691"/>
                  </a:lnTo>
                  <a:lnTo>
                    <a:pt x="32" y="689"/>
                  </a:lnTo>
                  <a:lnTo>
                    <a:pt x="34" y="686"/>
                  </a:lnTo>
                  <a:lnTo>
                    <a:pt x="42" y="686"/>
                  </a:lnTo>
                  <a:lnTo>
                    <a:pt x="40" y="684"/>
                  </a:lnTo>
                  <a:lnTo>
                    <a:pt x="42" y="682"/>
                  </a:lnTo>
                  <a:lnTo>
                    <a:pt x="40" y="682"/>
                  </a:lnTo>
                  <a:lnTo>
                    <a:pt x="40" y="684"/>
                  </a:lnTo>
                  <a:lnTo>
                    <a:pt x="36" y="686"/>
                  </a:lnTo>
                  <a:lnTo>
                    <a:pt x="38" y="684"/>
                  </a:lnTo>
                  <a:lnTo>
                    <a:pt x="34" y="680"/>
                  </a:lnTo>
                  <a:lnTo>
                    <a:pt x="36" y="678"/>
                  </a:lnTo>
                  <a:lnTo>
                    <a:pt x="36" y="680"/>
                  </a:lnTo>
                  <a:lnTo>
                    <a:pt x="40" y="674"/>
                  </a:lnTo>
                  <a:lnTo>
                    <a:pt x="44" y="672"/>
                  </a:lnTo>
                  <a:lnTo>
                    <a:pt x="44" y="670"/>
                  </a:lnTo>
                  <a:lnTo>
                    <a:pt x="46" y="668"/>
                  </a:lnTo>
                  <a:lnTo>
                    <a:pt x="50" y="668"/>
                  </a:lnTo>
                  <a:lnTo>
                    <a:pt x="52" y="666"/>
                  </a:lnTo>
                  <a:lnTo>
                    <a:pt x="54" y="666"/>
                  </a:lnTo>
                  <a:lnTo>
                    <a:pt x="52" y="672"/>
                  </a:lnTo>
                  <a:lnTo>
                    <a:pt x="52" y="674"/>
                  </a:lnTo>
                  <a:lnTo>
                    <a:pt x="50" y="676"/>
                  </a:lnTo>
                  <a:lnTo>
                    <a:pt x="50" y="678"/>
                  </a:lnTo>
                  <a:lnTo>
                    <a:pt x="48" y="686"/>
                  </a:lnTo>
                  <a:lnTo>
                    <a:pt x="50" y="687"/>
                  </a:lnTo>
                  <a:lnTo>
                    <a:pt x="52" y="680"/>
                  </a:lnTo>
                  <a:lnTo>
                    <a:pt x="54" y="676"/>
                  </a:lnTo>
                  <a:lnTo>
                    <a:pt x="56" y="670"/>
                  </a:lnTo>
                  <a:lnTo>
                    <a:pt x="57" y="666"/>
                  </a:lnTo>
                  <a:lnTo>
                    <a:pt x="59" y="664"/>
                  </a:lnTo>
                  <a:lnTo>
                    <a:pt x="63" y="664"/>
                  </a:lnTo>
                  <a:lnTo>
                    <a:pt x="65" y="664"/>
                  </a:lnTo>
                  <a:lnTo>
                    <a:pt x="67" y="666"/>
                  </a:lnTo>
                  <a:lnTo>
                    <a:pt x="67" y="662"/>
                  </a:lnTo>
                  <a:lnTo>
                    <a:pt x="65" y="662"/>
                  </a:lnTo>
                  <a:lnTo>
                    <a:pt x="63" y="662"/>
                  </a:lnTo>
                  <a:lnTo>
                    <a:pt x="59" y="662"/>
                  </a:lnTo>
                  <a:lnTo>
                    <a:pt x="57" y="664"/>
                  </a:lnTo>
                  <a:lnTo>
                    <a:pt x="56" y="666"/>
                  </a:lnTo>
                  <a:lnTo>
                    <a:pt x="54" y="664"/>
                  </a:lnTo>
                  <a:lnTo>
                    <a:pt x="56" y="661"/>
                  </a:lnTo>
                  <a:lnTo>
                    <a:pt x="52" y="664"/>
                  </a:lnTo>
                  <a:lnTo>
                    <a:pt x="50" y="664"/>
                  </a:lnTo>
                  <a:lnTo>
                    <a:pt x="44" y="666"/>
                  </a:lnTo>
                  <a:lnTo>
                    <a:pt x="42" y="668"/>
                  </a:lnTo>
                  <a:lnTo>
                    <a:pt x="40" y="668"/>
                  </a:lnTo>
                  <a:lnTo>
                    <a:pt x="38" y="668"/>
                  </a:lnTo>
                  <a:lnTo>
                    <a:pt x="38" y="670"/>
                  </a:lnTo>
                  <a:lnTo>
                    <a:pt x="40" y="670"/>
                  </a:lnTo>
                  <a:lnTo>
                    <a:pt x="40" y="672"/>
                  </a:lnTo>
                  <a:lnTo>
                    <a:pt x="38" y="672"/>
                  </a:lnTo>
                  <a:lnTo>
                    <a:pt x="38" y="674"/>
                  </a:lnTo>
                  <a:lnTo>
                    <a:pt x="36" y="676"/>
                  </a:lnTo>
                  <a:lnTo>
                    <a:pt x="32" y="674"/>
                  </a:lnTo>
                  <a:lnTo>
                    <a:pt x="32" y="678"/>
                  </a:lnTo>
                  <a:lnTo>
                    <a:pt x="31" y="682"/>
                  </a:lnTo>
                  <a:lnTo>
                    <a:pt x="29" y="686"/>
                  </a:lnTo>
                  <a:lnTo>
                    <a:pt x="29" y="687"/>
                  </a:lnTo>
                  <a:lnTo>
                    <a:pt x="27" y="691"/>
                  </a:lnTo>
                  <a:lnTo>
                    <a:pt x="23" y="693"/>
                  </a:lnTo>
                  <a:lnTo>
                    <a:pt x="23" y="691"/>
                  </a:lnTo>
                  <a:lnTo>
                    <a:pt x="19" y="693"/>
                  </a:lnTo>
                  <a:lnTo>
                    <a:pt x="21" y="697"/>
                  </a:lnTo>
                  <a:lnTo>
                    <a:pt x="19" y="697"/>
                  </a:lnTo>
                  <a:lnTo>
                    <a:pt x="17" y="697"/>
                  </a:lnTo>
                  <a:lnTo>
                    <a:pt x="15" y="695"/>
                  </a:lnTo>
                  <a:lnTo>
                    <a:pt x="13" y="691"/>
                  </a:lnTo>
                  <a:lnTo>
                    <a:pt x="13" y="689"/>
                  </a:lnTo>
                  <a:lnTo>
                    <a:pt x="15" y="691"/>
                  </a:lnTo>
                  <a:lnTo>
                    <a:pt x="15" y="687"/>
                  </a:lnTo>
                  <a:lnTo>
                    <a:pt x="19" y="687"/>
                  </a:lnTo>
                  <a:lnTo>
                    <a:pt x="23" y="687"/>
                  </a:lnTo>
                  <a:lnTo>
                    <a:pt x="25" y="687"/>
                  </a:lnTo>
                  <a:lnTo>
                    <a:pt x="27" y="686"/>
                  </a:lnTo>
                  <a:lnTo>
                    <a:pt x="25" y="686"/>
                  </a:lnTo>
                  <a:lnTo>
                    <a:pt x="23" y="684"/>
                  </a:lnTo>
                  <a:lnTo>
                    <a:pt x="25" y="684"/>
                  </a:lnTo>
                  <a:lnTo>
                    <a:pt x="23" y="680"/>
                  </a:lnTo>
                  <a:lnTo>
                    <a:pt x="21" y="682"/>
                  </a:lnTo>
                  <a:lnTo>
                    <a:pt x="19" y="682"/>
                  </a:lnTo>
                  <a:lnTo>
                    <a:pt x="19" y="680"/>
                  </a:lnTo>
                  <a:lnTo>
                    <a:pt x="19" y="678"/>
                  </a:lnTo>
                  <a:lnTo>
                    <a:pt x="21" y="678"/>
                  </a:lnTo>
                  <a:lnTo>
                    <a:pt x="23" y="676"/>
                  </a:lnTo>
                  <a:lnTo>
                    <a:pt x="25" y="676"/>
                  </a:lnTo>
                  <a:lnTo>
                    <a:pt x="23" y="676"/>
                  </a:lnTo>
                  <a:lnTo>
                    <a:pt x="21" y="676"/>
                  </a:lnTo>
                  <a:lnTo>
                    <a:pt x="23" y="670"/>
                  </a:lnTo>
                  <a:lnTo>
                    <a:pt x="23" y="668"/>
                  </a:lnTo>
                  <a:lnTo>
                    <a:pt x="27" y="668"/>
                  </a:lnTo>
                  <a:lnTo>
                    <a:pt x="27" y="666"/>
                  </a:lnTo>
                  <a:lnTo>
                    <a:pt x="25" y="666"/>
                  </a:lnTo>
                  <a:lnTo>
                    <a:pt x="23" y="666"/>
                  </a:lnTo>
                  <a:lnTo>
                    <a:pt x="21" y="670"/>
                  </a:lnTo>
                  <a:lnTo>
                    <a:pt x="19" y="672"/>
                  </a:lnTo>
                  <a:lnTo>
                    <a:pt x="19" y="674"/>
                  </a:lnTo>
                  <a:lnTo>
                    <a:pt x="17" y="678"/>
                  </a:lnTo>
                  <a:lnTo>
                    <a:pt x="15" y="680"/>
                  </a:lnTo>
                  <a:lnTo>
                    <a:pt x="13" y="680"/>
                  </a:lnTo>
                  <a:lnTo>
                    <a:pt x="9" y="680"/>
                  </a:lnTo>
                  <a:lnTo>
                    <a:pt x="7" y="678"/>
                  </a:lnTo>
                  <a:lnTo>
                    <a:pt x="9" y="676"/>
                  </a:lnTo>
                  <a:lnTo>
                    <a:pt x="11" y="674"/>
                  </a:lnTo>
                  <a:lnTo>
                    <a:pt x="11" y="672"/>
                  </a:lnTo>
                  <a:lnTo>
                    <a:pt x="9" y="674"/>
                  </a:lnTo>
                  <a:lnTo>
                    <a:pt x="7" y="672"/>
                  </a:lnTo>
                  <a:lnTo>
                    <a:pt x="7" y="674"/>
                  </a:lnTo>
                  <a:lnTo>
                    <a:pt x="6" y="674"/>
                  </a:lnTo>
                  <a:lnTo>
                    <a:pt x="6" y="676"/>
                  </a:lnTo>
                  <a:lnTo>
                    <a:pt x="4" y="676"/>
                  </a:lnTo>
                  <a:lnTo>
                    <a:pt x="2" y="676"/>
                  </a:lnTo>
                  <a:lnTo>
                    <a:pt x="2" y="674"/>
                  </a:lnTo>
                  <a:lnTo>
                    <a:pt x="0" y="670"/>
                  </a:lnTo>
                  <a:lnTo>
                    <a:pt x="4" y="670"/>
                  </a:lnTo>
                  <a:lnTo>
                    <a:pt x="4" y="668"/>
                  </a:lnTo>
                  <a:lnTo>
                    <a:pt x="2" y="668"/>
                  </a:lnTo>
                  <a:lnTo>
                    <a:pt x="0" y="668"/>
                  </a:lnTo>
                  <a:lnTo>
                    <a:pt x="2" y="666"/>
                  </a:lnTo>
                  <a:lnTo>
                    <a:pt x="2" y="662"/>
                  </a:lnTo>
                  <a:lnTo>
                    <a:pt x="4" y="664"/>
                  </a:lnTo>
                  <a:lnTo>
                    <a:pt x="6" y="664"/>
                  </a:lnTo>
                  <a:lnTo>
                    <a:pt x="7" y="664"/>
                  </a:lnTo>
                  <a:lnTo>
                    <a:pt x="9" y="664"/>
                  </a:lnTo>
                  <a:lnTo>
                    <a:pt x="11" y="664"/>
                  </a:lnTo>
                  <a:lnTo>
                    <a:pt x="13" y="662"/>
                  </a:lnTo>
                  <a:lnTo>
                    <a:pt x="11" y="662"/>
                  </a:lnTo>
                  <a:lnTo>
                    <a:pt x="11" y="661"/>
                  </a:lnTo>
                  <a:lnTo>
                    <a:pt x="11" y="659"/>
                  </a:lnTo>
                  <a:lnTo>
                    <a:pt x="13" y="657"/>
                  </a:lnTo>
                  <a:lnTo>
                    <a:pt x="15" y="657"/>
                  </a:lnTo>
                  <a:lnTo>
                    <a:pt x="13" y="657"/>
                  </a:lnTo>
                  <a:lnTo>
                    <a:pt x="13" y="655"/>
                  </a:lnTo>
                  <a:lnTo>
                    <a:pt x="15" y="655"/>
                  </a:lnTo>
                  <a:lnTo>
                    <a:pt x="17" y="655"/>
                  </a:lnTo>
                  <a:lnTo>
                    <a:pt x="19" y="653"/>
                  </a:lnTo>
                  <a:lnTo>
                    <a:pt x="21" y="651"/>
                  </a:lnTo>
                  <a:lnTo>
                    <a:pt x="19" y="651"/>
                  </a:lnTo>
                  <a:lnTo>
                    <a:pt x="17" y="651"/>
                  </a:lnTo>
                  <a:lnTo>
                    <a:pt x="15" y="653"/>
                  </a:lnTo>
                  <a:lnTo>
                    <a:pt x="13" y="655"/>
                  </a:lnTo>
                  <a:lnTo>
                    <a:pt x="11" y="655"/>
                  </a:lnTo>
                  <a:lnTo>
                    <a:pt x="9" y="653"/>
                  </a:lnTo>
                  <a:lnTo>
                    <a:pt x="7" y="651"/>
                  </a:lnTo>
                  <a:lnTo>
                    <a:pt x="4" y="647"/>
                  </a:lnTo>
                  <a:lnTo>
                    <a:pt x="2" y="645"/>
                  </a:lnTo>
                  <a:lnTo>
                    <a:pt x="2" y="643"/>
                  </a:lnTo>
                  <a:lnTo>
                    <a:pt x="4" y="643"/>
                  </a:lnTo>
                  <a:lnTo>
                    <a:pt x="6" y="645"/>
                  </a:lnTo>
                  <a:lnTo>
                    <a:pt x="6" y="647"/>
                  </a:lnTo>
                  <a:lnTo>
                    <a:pt x="7" y="647"/>
                  </a:lnTo>
                  <a:lnTo>
                    <a:pt x="7" y="649"/>
                  </a:lnTo>
                  <a:lnTo>
                    <a:pt x="7" y="647"/>
                  </a:lnTo>
                  <a:lnTo>
                    <a:pt x="9" y="647"/>
                  </a:lnTo>
                  <a:lnTo>
                    <a:pt x="9" y="649"/>
                  </a:lnTo>
                  <a:lnTo>
                    <a:pt x="11" y="649"/>
                  </a:lnTo>
                  <a:lnTo>
                    <a:pt x="11" y="651"/>
                  </a:lnTo>
                  <a:lnTo>
                    <a:pt x="11" y="649"/>
                  </a:lnTo>
                  <a:lnTo>
                    <a:pt x="9" y="647"/>
                  </a:lnTo>
                  <a:lnTo>
                    <a:pt x="9" y="645"/>
                  </a:lnTo>
                  <a:lnTo>
                    <a:pt x="7" y="645"/>
                  </a:lnTo>
                  <a:lnTo>
                    <a:pt x="9" y="645"/>
                  </a:lnTo>
                  <a:lnTo>
                    <a:pt x="9" y="643"/>
                  </a:lnTo>
                  <a:lnTo>
                    <a:pt x="7" y="643"/>
                  </a:lnTo>
                  <a:lnTo>
                    <a:pt x="6" y="641"/>
                  </a:lnTo>
                  <a:lnTo>
                    <a:pt x="4" y="641"/>
                  </a:lnTo>
                  <a:lnTo>
                    <a:pt x="4" y="643"/>
                  </a:lnTo>
                  <a:lnTo>
                    <a:pt x="2" y="641"/>
                  </a:lnTo>
                  <a:lnTo>
                    <a:pt x="0" y="639"/>
                  </a:lnTo>
                  <a:lnTo>
                    <a:pt x="4" y="639"/>
                  </a:lnTo>
                  <a:lnTo>
                    <a:pt x="6" y="639"/>
                  </a:lnTo>
                  <a:lnTo>
                    <a:pt x="9" y="639"/>
                  </a:lnTo>
                  <a:lnTo>
                    <a:pt x="11" y="641"/>
                  </a:lnTo>
                  <a:lnTo>
                    <a:pt x="13" y="641"/>
                  </a:lnTo>
                  <a:lnTo>
                    <a:pt x="13" y="639"/>
                  </a:lnTo>
                  <a:lnTo>
                    <a:pt x="11" y="638"/>
                  </a:lnTo>
                  <a:lnTo>
                    <a:pt x="7" y="638"/>
                  </a:lnTo>
                  <a:lnTo>
                    <a:pt x="7" y="636"/>
                  </a:lnTo>
                  <a:lnTo>
                    <a:pt x="9" y="634"/>
                  </a:lnTo>
                  <a:lnTo>
                    <a:pt x="9" y="632"/>
                  </a:lnTo>
                  <a:lnTo>
                    <a:pt x="11" y="628"/>
                  </a:lnTo>
                  <a:lnTo>
                    <a:pt x="9" y="628"/>
                  </a:lnTo>
                  <a:lnTo>
                    <a:pt x="7" y="628"/>
                  </a:lnTo>
                  <a:lnTo>
                    <a:pt x="6" y="626"/>
                  </a:lnTo>
                  <a:lnTo>
                    <a:pt x="7" y="624"/>
                  </a:lnTo>
                  <a:lnTo>
                    <a:pt x="9" y="622"/>
                  </a:lnTo>
                  <a:lnTo>
                    <a:pt x="13" y="622"/>
                  </a:lnTo>
                  <a:lnTo>
                    <a:pt x="15" y="624"/>
                  </a:lnTo>
                  <a:lnTo>
                    <a:pt x="19" y="626"/>
                  </a:lnTo>
                  <a:lnTo>
                    <a:pt x="21" y="624"/>
                  </a:lnTo>
                  <a:lnTo>
                    <a:pt x="25" y="622"/>
                  </a:lnTo>
                  <a:lnTo>
                    <a:pt x="31" y="622"/>
                  </a:lnTo>
                  <a:lnTo>
                    <a:pt x="32" y="620"/>
                  </a:lnTo>
                  <a:lnTo>
                    <a:pt x="36" y="620"/>
                  </a:lnTo>
                  <a:lnTo>
                    <a:pt x="38" y="622"/>
                  </a:lnTo>
                  <a:lnTo>
                    <a:pt x="42" y="622"/>
                  </a:lnTo>
                  <a:lnTo>
                    <a:pt x="44" y="622"/>
                  </a:lnTo>
                  <a:lnTo>
                    <a:pt x="46" y="624"/>
                  </a:lnTo>
                  <a:lnTo>
                    <a:pt x="46" y="626"/>
                  </a:lnTo>
                  <a:lnTo>
                    <a:pt x="50" y="624"/>
                  </a:lnTo>
                  <a:lnTo>
                    <a:pt x="54" y="626"/>
                  </a:lnTo>
                  <a:lnTo>
                    <a:pt x="56" y="620"/>
                  </a:lnTo>
                  <a:lnTo>
                    <a:pt x="63" y="622"/>
                  </a:lnTo>
                  <a:lnTo>
                    <a:pt x="63" y="626"/>
                  </a:lnTo>
                  <a:lnTo>
                    <a:pt x="67" y="626"/>
                  </a:lnTo>
                  <a:lnTo>
                    <a:pt x="69" y="624"/>
                  </a:lnTo>
                  <a:lnTo>
                    <a:pt x="71" y="624"/>
                  </a:lnTo>
                  <a:lnTo>
                    <a:pt x="75" y="622"/>
                  </a:lnTo>
                  <a:lnTo>
                    <a:pt x="73" y="622"/>
                  </a:lnTo>
                  <a:lnTo>
                    <a:pt x="69" y="622"/>
                  </a:lnTo>
                  <a:lnTo>
                    <a:pt x="65" y="624"/>
                  </a:lnTo>
                  <a:lnTo>
                    <a:pt x="65" y="622"/>
                  </a:lnTo>
                  <a:lnTo>
                    <a:pt x="67" y="620"/>
                  </a:lnTo>
                  <a:lnTo>
                    <a:pt x="67" y="618"/>
                  </a:lnTo>
                  <a:lnTo>
                    <a:pt x="63" y="620"/>
                  </a:lnTo>
                  <a:lnTo>
                    <a:pt x="57" y="618"/>
                  </a:lnTo>
                  <a:lnTo>
                    <a:pt x="54" y="616"/>
                  </a:lnTo>
                  <a:lnTo>
                    <a:pt x="52" y="620"/>
                  </a:lnTo>
                  <a:lnTo>
                    <a:pt x="50" y="622"/>
                  </a:lnTo>
                  <a:lnTo>
                    <a:pt x="48" y="622"/>
                  </a:lnTo>
                  <a:lnTo>
                    <a:pt x="44" y="620"/>
                  </a:lnTo>
                  <a:lnTo>
                    <a:pt x="44" y="618"/>
                  </a:lnTo>
                  <a:lnTo>
                    <a:pt x="42" y="618"/>
                  </a:lnTo>
                  <a:lnTo>
                    <a:pt x="40" y="620"/>
                  </a:lnTo>
                  <a:lnTo>
                    <a:pt x="36" y="618"/>
                  </a:lnTo>
                  <a:lnTo>
                    <a:pt x="34" y="618"/>
                  </a:lnTo>
                  <a:lnTo>
                    <a:pt x="31" y="618"/>
                  </a:lnTo>
                  <a:lnTo>
                    <a:pt x="27" y="618"/>
                  </a:lnTo>
                  <a:lnTo>
                    <a:pt x="23" y="620"/>
                  </a:lnTo>
                  <a:lnTo>
                    <a:pt x="19" y="622"/>
                  </a:lnTo>
                  <a:lnTo>
                    <a:pt x="17" y="622"/>
                  </a:lnTo>
                  <a:lnTo>
                    <a:pt x="17" y="620"/>
                  </a:lnTo>
                  <a:lnTo>
                    <a:pt x="13" y="620"/>
                  </a:lnTo>
                  <a:lnTo>
                    <a:pt x="15" y="618"/>
                  </a:lnTo>
                  <a:lnTo>
                    <a:pt x="11" y="616"/>
                  </a:lnTo>
                  <a:lnTo>
                    <a:pt x="9" y="616"/>
                  </a:lnTo>
                  <a:lnTo>
                    <a:pt x="9" y="614"/>
                  </a:lnTo>
                  <a:lnTo>
                    <a:pt x="11" y="614"/>
                  </a:lnTo>
                  <a:lnTo>
                    <a:pt x="13" y="616"/>
                  </a:lnTo>
                  <a:lnTo>
                    <a:pt x="15" y="616"/>
                  </a:lnTo>
                  <a:lnTo>
                    <a:pt x="11" y="613"/>
                  </a:lnTo>
                  <a:lnTo>
                    <a:pt x="7" y="613"/>
                  </a:lnTo>
                  <a:lnTo>
                    <a:pt x="9" y="613"/>
                  </a:lnTo>
                  <a:lnTo>
                    <a:pt x="9" y="611"/>
                  </a:lnTo>
                  <a:lnTo>
                    <a:pt x="7" y="611"/>
                  </a:lnTo>
                  <a:lnTo>
                    <a:pt x="7" y="609"/>
                  </a:lnTo>
                  <a:lnTo>
                    <a:pt x="11" y="609"/>
                  </a:lnTo>
                  <a:lnTo>
                    <a:pt x="13" y="607"/>
                  </a:lnTo>
                  <a:lnTo>
                    <a:pt x="17" y="607"/>
                  </a:lnTo>
                  <a:lnTo>
                    <a:pt x="15" y="605"/>
                  </a:lnTo>
                  <a:lnTo>
                    <a:pt x="9" y="605"/>
                  </a:lnTo>
                  <a:lnTo>
                    <a:pt x="7" y="603"/>
                  </a:lnTo>
                  <a:lnTo>
                    <a:pt x="9" y="603"/>
                  </a:lnTo>
                  <a:lnTo>
                    <a:pt x="11" y="599"/>
                  </a:lnTo>
                  <a:lnTo>
                    <a:pt x="9" y="601"/>
                  </a:lnTo>
                  <a:lnTo>
                    <a:pt x="7" y="601"/>
                  </a:lnTo>
                  <a:lnTo>
                    <a:pt x="7" y="599"/>
                  </a:lnTo>
                  <a:lnTo>
                    <a:pt x="9" y="599"/>
                  </a:lnTo>
                  <a:lnTo>
                    <a:pt x="11" y="597"/>
                  </a:lnTo>
                  <a:lnTo>
                    <a:pt x="13" y="599"/>
                  </a:lnTo>
                  <a:lnTo>
                    <a:pt x="17" y="597"/>
                  </a:lnTo>
                  <a:lnTo>
                    <a:pt x="19" y="599"/>
                  </a:lnTo>
                  <a:lnTo>
                    <a:pt x="23" y="601"/>
                  </a:lnTo>
                  <a:lnTo>
                    <a:pt x="25" y="599"/>
                  </a:lnTo>
                  <a:lnTo>
                    <a:pt x="27" y="599"/>
                  </a:lnTo>
                  <a:lnTo>
                    <a:pt x="29" y="597"/>
                  </a:lnTo>
                  <a:lnTo>
                    <a:pt x="31" y="597"/>
                  </a:lnTo>
                  <a:lnTo>
                    <a:pt x="32" y="599"/>
                  </a:lnTo>
                  <a:lnTo>
                    <a:pt x="32" y="597"/>
                  </a:lnTo>
                  <a:lnTo>
                    <a:pt x="31" y="597"/>
                  </a:lnTo>
                  <a:lnTo>
                    <a:pt x="29" y="597"/>
                  </a:lnTo>
                  <a:lnTo>
                    <a:pt x="25" y="599"/>
                  </a:lnTo>
                  <a:lnTo>
                    <a:pt x="23" y="599"/>
                  </a:lnTo>
                  <a:lnTo>
                    <a:pt x="21" y="597"/>
                  </a:lnTo>
                  <a:lnTo>
                    <a:pt x="19" y="597"/>
                  </a:lnTo>
                  <a:lnTo>
                    <a:pt x="17" y="595"/>
                  </a:lnTo>
                  <a:lnTo>
                    <a:pt x="13" y="595"/>
                  </a:lnTo>
                  <a:lnTo>
                    <a:pt x="13" y="593"/>
                  </a:lnTo>
                  <a:lnTo>
                    <a:pt x="15" y="591"/>
                  </a:lnTo>
                  <a:lnTo>
                    <a:pt x="17" y="593"/>
                  </a:lnTo>
                  <a:lnTo>
                    <a:pt x="19" y="593"/>
                  </a:lnTo>
                  <a:lnTo>
                    <a:pt x="17" y="591"/>
                  </a:lnTo>
                  <a:lnTo>
                    <a:pt x="15" y="591"/>
                  </a:lnTo>
                  <a:lnTo>
                    <a:pt x="15" y="589"/>
                  </a:lnTo>
                  <a:lnTo>
                    <a:pt x="15" y="588"/>
                  </a:lnTo>
                  <a:lnTo>
                    <a:pt x="15" y="586"/>
                  </a:lnTo>
                  <a:lnTo>
                    <a:pt x="13" y="586"/>
                  </a:lnTo>
                  <a:lnTo>
                    <a:pt x="9" y="586"/>
                  </a:lnTo>
                  <a:lnTo>
                    <a:pt x="9" y="584"/>
                  </a:lnTo>
                  <a:lnTo>
                    <a:pt x="9" y="580"/>
                  </a:lnTo>
                  <a:lnTo>
                    <a:pt x="9" y="578"/>
                  </a:lnTo>
                  <a:lnTo>
                    <a:pt x="11" y="578"/>
                  </a:lnTo>
                  <a:lnTo>
                    <a:pt x="13" y="580"/>
                  </a:lnTo>
                  <a:lnTo>
                    <a:pt x="13" y="582"/>
                  </a:lnTo>
                  <a:lnTo>
                    <a:pt x="15" y="580"/>
                  </a:lnTo>
                  <a:lnTo>
                    <a:pt x="15" y="578"/>
                  </a:lnTo>
                  <a:lnTo>
                    <a:pt x="19" y="576"/>
                  </a:lnTo>
                  <a:lnTo>
                    <a:pt x="11" y="578"/>
                  </a:lnTo>
                  <a:lnTo>
                    <a:pt x="13" y="576"/>
                  </a:lnTo>
                  <a:lnTo>
                    <a:pt x="19" y="574"/>
                  </a:lnTo>
                  <a:lnTo>
                    <a:pt x="21" y="572"/>
                  </a:lnTo>
                  <a:lnTo>
                    <a:pt x="19" y="572"/>
                  </a:lnTo>
                  <a:lnTo>
                    <a:pt x="23" y="568"/>
                  </a:lnTo>
                  <a:lnTo>
                    <a:pt x="31" y="572"/>
                  </a:lnTo>
                  <a:lnTo>
                    <a:pt x="31" y="576"/>
                  </a:lnTo>
                  <a:lnTo>
                    <a:pt x="36" y="574"/>
                  </a:lnTo>
                  <a:lnTo>
                    <a:pt x="38" y="574"/>
                  </a:lnTo>
                  <a:lnTo>
                    <a:pt x="38" y="576"/>
                  </a:lnTo>
                  <a:lnTo>
                    <a:pt x="38" y="578"/>
                  </a:lnTo>
                  <a:lnTo>
                    <a:pt x="36" y="580"/>
                  </a:lnTo>
                  <a:lnTo>
                    <a:pt x="36" y="582"/>
                  </a:lnTo>
                  <a:lnTo>
                    <a:pt x="38" y="580"/>
                  </a:lnTo>
                  <a:lnTo>
                    <a:pt x="38" y="578"/>
                  </a:lnTo>
                  <a:lnTo>
                    <a:pt x="40" y="576"/>
                  </a:lnTo>
                  <a:lnTo>
                    <a:pt x="42" y="574"/>
                  </a:lnTo>
                  <a:lnTo>
                    <a:pt x="42" y="572"/>
                  </a:lnTo>
                  <a:lnTo>
                    <a:pt x="38" y="572"/>
                  </a:lnTo>
                  <a:lnTo>
                    <a:pt x="36" y="572"/>
                  </a:lnTo>
                  <a:lnTo>
                    <a:pt x="32" y="572"/>
                  </a:lnTo>
                  <a:lnTo>
                    <a:pt x="36" y="572"/>
                  </a:lnTo>
                  <a:lnTo>
                    <a:pt x="40" y="572"/>
                  </a:lnTo>
                  <a:lnTo>
                    <a:pt x="38" y="570"/>
                  </a:lnTo>
                  <a:lnTo>
                    <a:pt x="34" y="570"/>
                  </a:lnTo>
                  <a:lnTo>
                    <a:pt x="31" y="570"/>
                  </a:lnTo>
                  <a:lnTo>
                    <a:pt x="27" y="568"/>
                  </a:lnTo>
                  <a:lnTo>
                    <a:pt x="23" y="566"/>
                  </a:lnTo>
                  <a:lnTo>
                    <a:pt x="19" y="568"/>
                  </a:lnTo>
                  <a:lnTo>
                    <a:pt x="13" y="568"/>
                  </a:lnTo>
                  <a:lnTo>
                    <a:pt x="11" y="566"/>
                  </a:lnTo>
                  <a:lnTo>
                    <a:pt x="11" y="564"/>
                  </a:lnTo>
                  <a:lnTo>
                    <a:pt x="13" y="564"/>
                  </a:lnTo>
                  <a:lnTo>
                    <a:pt x="11" y="563"/>
                  </a:lnTo>
                  <a:lnTo>
                    <a:pt x="9" y="563"/>
                  </a:lnTo>
                  <a:lnTo>
                    <a:pt x="9" y="561"/>
                  </a:lnTo>
                  <a:lnTo>
                    <a:pt x="11" y="561"/>
                  </a:lnTo>
                  <a:lnTo>
                    <a:pt x="13" y="563"/>
                  </a:lnTo>
                  <a:lnTo>
                    <a:pt x="15" y="561"/>
                  </a:lnTo>
                  <a:lnTo>
                    <a:pt x="17" y="566"/>
                  </a:lnTo>
                  <a:lnTo>
                    <a:pt x="19" y="564"/>
                  </a:lnTo>
                  <a:lnTo>
                    <a:pt x="21" y="563"/>
                  </a:lnTo>
                  <a:lnTo>
                    <a:pt x="23" y="563"/>
                  </a:lnTo>
                  <a:lnTo>
                    <a:pt x="21" y="561"/>
                  </a:lnTo>
                  <a:lnTo>
                    <a:pt x="21" y="559"/>
                  </a:lnTo>
                  <a:lnTo>
                    <a:pt x="17" y="557"/>
                  </a:lnTo>
                  <a:lnTo>
                    <a:pt x="15" y="557"/>
                  </a:lnTo>
                  <a:lnTo>
                    <a:pt x="15" y="555"/>
                  </a:lnTo>
                  <a:lnTo>
                    <a:pt x="15" y="553"/>
                  </a:lnTo>
                  <a:lnTo>
                    <a:pt x="15" y="551"/>
                  </a:lnTo>
                  <a:lnTo>
                    <a:pt x="17" y="551"/>
                  </a:lnTo>
                  <a:lnTo>
                    <a:pt x="21" y="553"/>
                  </a:lnTo>
                  <a:lnTo>
                    <a:pt x="21" y="557"/>
                  </a:lnTo>
                  <a:lnTo>
                    <a:pt x="27" y="563"/>
                  </a:lnTo>
                  <a:lnTo>
                    <a:pt x="27" y="559"/>
                  </a:lnTo>
                  <a:lnTo>
                    <a:pt x="29" y="561"/>
                  </a:lnTo>
                  <a:lnTo>
                    <a:pt x="29" y="559"/>
                  </a:lnTo>
                  <a:lnTo>
                    <a:pt x="27" y="557"/>
                  </a:lnTo>
                  <a:lnTo>
                    <a:pt x="25" y="557"/>
                  </a:lnTo>
                  <a:lnTo>
                    <a:pt x="23" y="555"/>
                  </a:lnTo>
                  <a:lnTo>
                    <a:pt x="25" y="553"/>
                  </a:lnTo>
                  <a:lnTo>
                    <a:pt x="27" y="551"/>
                  </a:lnTo>
                  <a:lnTo>
                    <a:pt x="29" y="555"/>
                  </a:lnTo>
                  <a:lnTo>
                    <a:pt x="31" y="555"/>
                  </a:lnTo>
                  <a:lnTo>
                    <a:pt x="31" y="557"/>
                  </a:lnTo>
                  <a:lnTo>
                    <a:pt x="31" y="559"/>
                  </a:lnTo>
                  <a:lnTo>
                    <a:pt x="32" y="559"/>
                  </a:lnTo>
                  <a:lnTo>
                    <a:pt x="32" y="555"/>
                  </a:lnTo>
                  <a:lnTo>
                    <a:pt x="36" y="553"/>
                  </a:lnTo>
                  <a:lnTo>
                    <a:pt x="38" y="553"/>
                  </a:lnTo>
                  <a:lnTo>
                    <a:pt x="40" y="557"/>
                  </a:lnTo>
                  <a:lnTo>
                    <a:pt x="38" y="559"/>
                  </a:lnTo>
                  <a:lnTo>
                    <a:pt x="36" y="563"/>
                  </a:lnTo>
                  <a:lnTo>
                    <a:pt x="34" y="564"/>
                  </a:lnTo>
                  <a:lnTo>
                    <a:pt x="38" y="563"/>
                  </a:lnTo>
                  <a:lnTo>
                    <a:pt x="40" y="559"/>
                  </a:lnTo>
                  <a:lnTo>
                    <a:pt x="40" y="557"/>
                  </a:lnTo>
                  <a:lnTo>
                    <a:pt x="42" y="559"/>
                  </a:lnTo>
                  <a:lnTo>
                    <a:pt x="42" y="561"/>
                  </a:lnTo>
                  <a:lnTo>
                    <a:pt x="44" y="561"/>
                  </a:lnTo>
                  <a:lnTo>
                    <a:pt x="50" y="561"/>
                  </a:lnTo>
                  <a:lnTo>
                    <a:pt x="46" y="559"/>
                  </a:lnTo>
                  <a:lnTo>
                    <a:pt x="44" y="557"/>
                  </a:lnTo>
                  <a:lnTo>
                    <a:pt x="38" y="551"/>
                  </a:lnTo>
                  <a:lnTo>
                    <a:pt x="40" y="551"/>
                  </a:lnTo>
                  <a:lnTo>
                    <a:pt x="40" y="549"/>
                  </a:lnTo>
                  <a:lnTo>
                    <a:pt x="46" y="545"/>
                  </a:lnTo>
                  <a:lnTo>
                    <a:pt x="52" y="543"/>
                  </a:lnTo>
                  <a:lnTo>
                    <a:pt x="54" y="545"/>
                  </a:lnTo>
                  <a:lnTo>
                    <a:pt x="54" y="547"/>
                  </a:lnTo>
                  <a:lnTo>
                    <a:pt x="56" y="551"/>
                  </a:lnTo>
                  <a:lnTo>
                    <a:pt x="56" y="555"/>
                  </a:lnTo>
                  <a:lnTo>
                    <a:pt x="57" y="557"/>
                  </a:lnTo>
                  <a:lnTo>
                    <a:pt x="59" y="557"/>
                  </a:lnTo>
                  <a:lnTo>
                    <a:pt x="57" y="551"/>
                  </a:lnTo>
                  <a:lnTo>
                    <a:pt x="56" y="547"/>
                  </a:lnTo>
                  <a:lnTo>
                    <a:pt x="54" y="543"/>
                  </a:lnTo>
                  <a:lnTo>
                    <a:pt x="56" y="541"/>
                  </a:lnTo>
                  <a:lnTo>
                    <a:pt x="57" y="541"/>
                  </a:lnTo>
                  <a:lnTo>
                    <a:pt x="59" y="545"/>
                  </a:lnTo>
                  <a:lnTo>
                    <a:pt x="61" y="545"/>
                  </a:lnTo>
                  <a:lnTo>
                    <a:pt x="59" y="541"/>
                  </a:lnTo>
                  <a:lnTo>
                    <a:pt x="57" y="540"/>
                  </a:lnTo>
                  <a:lnTo>
                    <a:pt x="54" y="540"/>
                  </a:lnTo>
                  <a:lnTo>
                    <a:pt x="48" y="540"/>
                  </a:lnTo>
                  <a:lnTo>
                    <a:pt x="46" y="541"/>
                  </a:lnTo>
                  <a:lnTo>
                    <a:pt x="44" y="540"/>
                  </a:lnTo>
                  <a:lnTo>
                    <a:pt x="46" y="538"/>
                  </a:lnTo>
                  <a:lnTo>
                    <a:pt x="50" y="538"/>
                  </a:lnTo>
                  <a:lnTo>
                    <a:pt x="52" y="538"/>
                  </a:lnTo>
                  <a:lnTo>
                    <a:pt x="48" y="536"/>
                  </a:lnTo>
                  <a:lnTo>
                    <a:pt x="46" y="536"/>
                  </a:lnTo>
                  <a:lnTo>
                    <a:pt x="52" y="534"/>
                  </a:lnTo>
                  <a:lnTo>
                    <a:pt x="56" y="534"/>
                  </a:lnTo>
                  <a:lnTo>
                    <a:pt x="59" y="534"/>
                  </a:lnTo>
                  <a:lnTo>
                    <a:pt x="59" y="532"/>
                  </a:lnTo>
                  <a:lnTo>
                    <a:pt x="52" y="532"/>
                  </a:lnTo>
                  <a:lnTo>
                    <a:pt x="50" y="530"/>
                  </a:lnTo>
                  <a:lnTo>
                    <a:pt x="56" y="528"/>
                  </a:lnTo>
                  <a:lnTo>
                    <a:pt x="56" y="530"/>
                  </a:lnTo>
                  <a:lnTo>
                    <a:pt x="57" y="528"/>
                  </a:lnTo>
                  <a:lnTo>
                    <a:pt x="59" y="528"/>
                  </a:lnTo>
                  <a:lnTo>
                    <a:pt x="61" y="530"/>
                  </a:lnTo>
                  <a:lnTo>
                    <a:pt x="61" y="528"/>
                  </a:lnTo>
                  <a:lnTo>
                    <a:pt x="67" y="526"/>
                  </a:lnTo>
                  <a:lnTo>
                    <a:pt x="67" y="528"/>
                  </a:lnTo>
                  <a:lnTo>
                    <a:pt x="71" y="530"/>
                  </a:lnTo>
                  <a:lnTo>
                    <a:pt x="71" y="528"/>
                  </a:lnTo>
                  <a:lnTo>
                    <a:pt x="75" y="528"/>
                  </a:lnTo>
                  <a:lnTo>
                    <a:pt x="75" y="534"/>
                  </a:lnTo>
                  <a:lnTo>
                    <a:pt x="77" y="534"/>
                  </a:lnTo>
                  <a:lnTo>
                    <a:pt x="77" y="530"/>
                  </a:lnTo>
                  <a:lnTo>
                    <a:pt x="82" y="530"/>
                  </a:lnTo>
                  <a:lnTo>
                    <a:pt x="84" y="532"/>
                  </a:lnTo>
                  <a:lnTo>
                    <a:pt x="84" y="534"/>
                  </a:lnTo>
                  <a:lnTo>
                    <a:pt x="86" y="534"/>
                  </a:lnTo>
                  <a:lnTo>
                    <a:pt x="88" y="538"/>
                  </a:lnTo>
                  <a:lnTo>
                    <a:pt x="90" y="538"/>
                  </a:lnTo>
                  <a:lnTo>
                    <a:pt x="92" y="534"/>
                  </a:lnTo>
                  <a:lnTo>
                    <a:pt x="96" y="532"/>
                  </a:lnTo>
                  <a:lnTo>
                    <a:pt x="92" y="532"/>
                  </a:lnTo>
                  <a:lnTo>
                    <a:pt x="88" y="532"/>
                  </a:lnTo>
                  <a:lnTo>
                    <a:pt x="88" y="530"/>
                  </a:lnTo>
                  <a:lnTo>
                    <a:pt x="88" y="528"/>
                  </a:lnTo>
                  <a:lnTo>
                    <a:pt x="86" y="524"/>
                  </a:lnTo>
                  <a:lnTo>
                    <a:pt x="86" y="522"/>
                  </a:lnTo>
                  <a:lnTo>
                    <a:pt x="84" y="522"/>
                  </a:lnTo>
                  <a:lnTo>
                    <a:pt x="77" y="522"/>
                  </a:lnTo>
                  <a:lnTo>
                    <a:pt x="73" y="522"/>
                  </a:lnTo>
                  <a:lnTo>
                    <a:pt x="73" y="518"/>
                  </a:lnTo>
                  <a:lnTo>
                    <a:pt x="75" y="516"/>
                  </a:lnTo>
                  <a:lnTo>
                    <a:pt x="81" y="516"/>
                  </a:lnTo>
                  <a:lnTo>
                    <a:pt x="79" y="515"/>
                  </a:lnTo>
                  <a:lnTo>
                    <a:pt x="73" y="515"/>
                  </a:lnTo>
                  <a:lnTo>
                    <a:pt x="73" y="513"/>
                  </a:lnTo>
                  <a:lnTo>
                    <a:pt x="71" y="511"/>
                  </a:lnTo>
                  <a:lnTo>
                    <a:pt x="77" y="507"/>
                  </a:lnTo>
                  <a:lnTo>
                    <a:pt x="82" y="505"/>
                  </a:lnTo>
                  <a:lnTo>
                    <a:pt x="86" y="509"/>
                  </a:lnTo>
                  <a:lnTo>
                    <a:pt x="88" y="511"/>
                  </a:lnTo>
                  <a:lnTo>
                    <a:pt x="92" y="509"/>
                  </a:lnTo>
                  <a:lnTo>
                    <a:pt x="96" y="509"/>
                  </a:lnTo>
                  <a:lnTo>
                    <a:pt x="96" y="507"/>
                  </a:lnTo>
                  <a:lnTo>
                    <a:pt x="94" y="507"/>
                  </a:lnTo>
                  <a:lnTo>
                    <a:pt x="90" y="509"/>
                  </a:lnTo>
                  <a:lnTo>
                    <a:pt x="86" y="507"/>
                  </a:lnTo>
                  <a:lnTo>
                    <a:pt x="86" y="505"/>
                  </a:lnTo>
                  <a:lnTo>
                    <a:pt x="88" y="505"/>
                  </a:lnTo>
                  <a:lnTo>
                    <a:pt x="84" y="505"/>
                  </a:lnTo>
                  <a:lnTo>
                    <a:pt x="84" y="503"/>
                  </a:lnTo>
                  <a:lnTo>
                    <a:pt x="90" y="503"/>
                  </a:lnTo>
                  <a:lnTo>
                    <a:pt x="90" y="505"/>
                  </a:lnTo>
                  <a:lnTo>
                    <a:pt x="92" y="501"/>
                  </a:lnTo>
                  <a:lnTo>
                    <a:pt x="94" y="499"/>
                  </a:lnTo>
                  <a:lnTo>
                    <a:pt x="94" y="503"/>
                  </a:lnTo>
                  <a:lnTo>
                    <a:pt x="96" y="501"/>
                  </a:lnTo>
                  <a:lnTo>
                    <a:pt x="100" y="499"/>
                  </a:lnTo>
                  <a:lnTo>
                    <a:pt x="100" y="503"/>
                  </a:lnTo>
                  <a:lnTo>
                    <a:pt x="98" y="505"/>
                  </a:lnTo>
                  <a:lnTo>
                    <a:pt x="98" y="507"/>
                  </a:lnTo>
                  <a:lnTo>
                    <a:pt x="104" y="503"/>
                  </a:lnTo>
                  <a:lnTo>
                    <a:pt x="102" y="501"/>
                  </a:lnTo>
                  <a:lnTo>
                    <a:pt x="106" y="499"/>
                  </a:lnTo>
                  <a:lnTo>
                    <a:pt x="106" y="501"/>
                  </a:lnTo>
                  <a:lnTo>
                    <a:pt x="107" y="503"/>
                  </a:lnTo>
                  <a:lnTo>
                    <a:pt x="109" y="507"/>
                  </a:lnTo>
                  <a:lnTo>
                    <a:pt x="111" y="509"/>
                  </a:lnTo>
                  <a:lnTo>
                    <a:pt x="111" y="511"/>
                  </a:lnTo>
                  <a:lnTo>
                    <a:pt x="111" y="513"/>
                  </a:lnTo>
                  <a:lnTo>
                    <a:pt x="117" y="516"/>
                  </a:lnTo>
                  <a:lnTo>
                    <a:pt x="121" y="515"/>
                  </a:lnTo>
                  <a:lnTo>
                    <a:pt x="117" y="513"/>
                  </a:lnTo>
                  <a:lnTo>
                    <a:pt x="115" y="511"/>
                  </a:lnTo>
                  <a:lnTo>
                    <a:pt x="113" y="507"/>
                  </a:lnTo>
                  <a:lnTo>
                    <a:pt x="109" y="503"/>
                  </a:lnTo>
                  <a:lnTo>
                    <a:pt x="107" y="503"/>
                  </a:lnTo>
                  <a:lnTo>
                    <a:pt x="107" y="499"/>
                  </a:lnTo>
                  <a:lnTo>
                    <a:pt x="111" y="499"/>
                  </a:lnTo>
                  <a:lnTo>
                    <a:pt x="115" y="499"/>
                  </a:lnTo>
                  <a:lnTo>
                    <a:pt x="119" y="499"/>
                  </a:lnTo>
                  <a:lnTo>
                    <a:pt x="121" y="501"/>
                  </a:lnTo>
                  <a:lnTo>
                    <a:pt x="123" y="501"/>
                  </a:lnTo>
                  <a:lnTo>
                    <a:pt x="123" y="495"/>
                  </a:lnTo>
                  <a:lnTo>
                    <a:pt x="117" y="497"/>
                  </a:lnTo>
                  <a:lnTo>
                    <a:pt x="115" y="497"/>
                  </a:lnTo>
                  <a:lnTo>
                    <a:pt x="111" y="493"/>
                  </a:lnTo>
                  <a:lnTo>
                    <a:pt x="111" y="491"/>
                  </a:lnTo>
                  <a:lnTo>
                    <a:pt x="113" y="491"/>
                  </a:lnTo>
                  <a:lnTo>
                    <a:pt x="117" y="490"/>
                  </a:lnTo>
                  <a:lnTo>
                    <a:pt x="119" y="491"/>
                  </a:lnTo>
                  <a:lnTo>
                    <a:pt x="121" y="495"/>
                  </a:lnTo>
                  <a:lnTo>
                    <a:pt x="119" y="491"/>
                  </a:lnTo>
                  <a:lnTo>
                    <a:pt x="119" y="490"/>
                  </a:lnTo>
                  <a:lnTo>
                    <a:pt x="127" y="486"/>
                  </a:lnTo>
                  <a:lnTo>
                    <a:pt x="125" y="482"/>
                  </a:lnTo>
                  <a:lnTo>
                    <a:pt x="127" y="482"/>
                  </a:lnTo>
                  <a:lnTo>
                    <a:pt x="129" y="482"/>
                  </a:lnTo>
                  <a:lnTo>
                    <a:pt x="130" y="484"/>
                  </a:lnTo>
                  <a:lnTo>
                    <a:pt x="132" y="482"/>
                  </a:lnTo>
                  <a:lnTo>
                    <a:pt x="134" y="482"/>
                  </a:lnTo>
                  <a:lnTo>
                    <a:pt x="132" y="480"/>
                  </a:lnTo>
                  <a:lnTo>
                    <a:pt x="134" y="480"/>
                  </a:lnTo>
                  <a:lnTo>
                    <a:pt x="138" y="486"/>
                  </a:lnTo>
                  <a:lnTo>
                    <a:pt x="134" y="490"/>
                  </a:lnTo>
                  <a:lnTo>
                    <a:pt x="132" y="491"/>
                  </a:lnTo>
                  <a:lnTo>
                    <a:pt x="134" y="493"/>
                  </a:lnTo>
                  <a:lnTo>
                    <a:pt x="136" y="491"/>
                  </a:lnTo>
                  <a:lnTo>
                    <a:pt x="138" y="488"/>
                  </a:lnTo>
                  <a:lnTo>
                    <a:pt x="140" y="488"/>
                  </a:lnTo>
                  <a:lnTo>
                    <a:pt x="144" y="486"/>
                  </a:lnTo>
                  <a:lnTo>
                    <a:pt x="148" y="486"/>
                  </a:lnTo>
                  <a:lnTo>
                    <a:pt x="148" y="484"/>
                  </a:lnTo>
                  <a:lnTo>
                    <a:pt x="146" y="486"/>
                  </a:lnTo>
                  <a:lnTo>
                    <a:pt x="142" y="486"/>
                  </a:lnTo>
                  <a:lnTo>
                    <a:pt x="140" y="486"/>
                  </a:lnTo>
                  <a:lnTo>
                    <a:pt x="138" y="484"/>
                  </a:lnTo>
                  <a:lnTo>
                    <a:pt x="138" y="482"/>
                  </a:lnTo>
                  <a:lnTo>
                    <a:pt x="142" y="482"/>
                  </a:lnTo>
                  <a:lnTo>
                    <a:pt x="144" y="480"/>
                  </a:lnTo>
                  <a:lnTo>
                    <a:pt x="148" y="480"/>
                  </a:lnTo>
                  <a:lnTo>
                    <a:pt x="148" y="478"/>
                  </a:lnTo>
                  <a:lnTo>
                    <a:pt x="144" y="480"/>
                  </a:lnTo>
                  <a:lnTo>
                    <a:pt x="142" y="478"/>
                  </a:lnTo>
                  <a:lnTo>
                    <a:pt x="142" y="480"/>
                  </a:lnTo>
                  <a:lnTo>
                    <a:pt x="140" y="480"/>
                  </a:lnTo>
                  <a:lnTo>
                    <a:pt x="138" y="478"/>
                  </a:lnTo>
                  <a:lnTo>
                    <a:pt x="140" y="476"/>
                  </a:lnTo>
                  <a:lnTo>
                    <a:pt x="144" y="474"/>
                  </a:lnTo>
                  <a:lnTo>
                    <a:pt x="146" y="474"/>
                  </a:lnTo>
                  <a:lnTo>
                    <a:pt x="146" y="478"/>
                  </a:lnTo>
                  <a:lnTo>
                    <a:pt x="146" y="476"/>
                  </a:lnTo>
                  <a:lnTo>
                    <a:pt x="148" y="474"/>
                  </a:lnTo>
                  <a:lnTo>
                    <a:pt x="150" y="474"/>
                  </a:lnTo>
                  <a:lnTo>
                    <a:pt x="150" y="476"/>
                  </a:lnTo>
                  <a:lnTo>
                    <a:pt x="150" y="472"/>
                  </a:lnTo>
                  <a:lnTo>
                    <a:pt x="148" y="472"/>
                  </a:lnTo>
                  <a:lnTo>
                    <a:pt x="155" y="468"/>
                  </a:lnTo>
                  <a:lnTo>
                    <a:pt x="155" y="472"/>
                  </a:lnTo>
                  <a:lnTo>
                    <a:pt x="155" y="474"/>
                  </a:lnTo>
                  <a:lnTo>
                    <a:pt x="157" y="476"/>
                  </a:lnTo>
                  <a:lnTo>
                    <a:pt x="159" y="478"/>
                  </a:lnTo>
                  <a:lnTo>
                    <a:pt x="159" y="480"/>
                  </a:lnTo>
                  <a:lnTo>
                    <a:pt x="161" y="482"/>
                  </a:lnTo>
                  <a:lnTo>
                    <a:pt x="161" y="486"/>
                  </a:lnTo>
                  <a:lnTo>
                    <a:pt x="159" y="488"/>
                  </a:lnTo>
                  <a:lnTo>
                    <a:pt x="157" y="488"/>
                  </a:lnTo>
                  <a:lnTo>
                    <a:pt x="157" y="490"/>
                  </a:lnTo>
                  <a:lnTo>
                    <a:pt x="161" y="488"/>
                  </a:lnTo>
                  <a:lnTo>
                    <a:pt x="163" y="488"/>
                  </a:lnTo>
                  <a:lnTo>
                    <a:pt x="165" y="490"/>
                  </a:lnTo>
                  <a:lnTo>
                    <a:pt x="167" y="490"/>
                  </a:lnTo>
                  <a:lnTo>
                    <a:pt x="169" y="490"/>
                  </a:lnTo>
                  <a:lnTo>
                    <a:pt x="169" y="488"/>
                  </a:lnTo>
                  <a:lnTo>
                    <a:pt x="167" y="488"/>
                  </a:lnTo>
                  <a:lnTo>
                    <a:pt x="163" y="486"/>
                  </a:lnTo>
                  <a:lnTo>
                    <a:pt x="165" y="484"/>
                  </a:lnTo>
                  <a:lnTo>
                    <a:pt x="167" y="482"/>
                  </a:lnTo>
                  <a:lnTo>
                    <a:pt x="169" y="482"/>
                  </a:lnTo>
                  <a:lnTo>
                    <a:pt x="173" y="482"/>
                  </a:lnTo>
                  <a:lnTo>
                    <a:pt x="175" y="482"/>
                  </a:lnTo>
                  <a:lnTo>
                    <a:pt x="177" y="482"/>
                  </a:lnTo>
                  <a:lnTo>
                    <a:pt x="180" y="482"/>
                  </a:lnTo>
                  <a:lnTo>
                    <a:pt x="184" y="484"/>
                  </a:lnTo>
                  <a:lnTo>
                    <a:pt x="186" y="482"/>
                  </a:lnTo>
                  <a:lnTo>
                    <a:pt x="188" y="482"/>
                  </a:lnTo>
                  <a:lnTo>
                    <a:pt x="188" y="480"/>
                  </a:lnTo>
                  <a:lnTo>
                    <a:pt x="186" y="480"/>
                  </a:lnTo>
                  <a:lnTo>
                    <a:pt x="184" y="478"/>
                  </a:lnTo>
                  <a:lnTo>
                    <a:pt x="186" y="476"/>
                  </a:lnTo>
                  <a:lnTo>
                    <a:pt x="188" y="474"/>
                  </a:lnTo>
                  <a:lnTo>
                    <a:pt x="190" y="472"/>
                  </a:lnTo>
                  <a:lnTo>
                    <a:pt x="188" y="470"/>
                  </a:lnTo>
                  <a:lnTo>
                    <a:pt x="182" y="476"/>
                  </a:lnTo>
                  <a:lnTo>
                    <a:pt x="182" y="472"/>
                  </a:lnTo>
                  <a:lnTo>
                    <a:pt x="184" y="470"/>
                  </a:lnTo>
                  <a:lnTo>
                    <a:pt x="188" y="468"/>
                  </a:lnTo>
                  <a:lnTo>
                    <a:pt x="188" y="467"/>
                  </a:lnTo>
                  <a:lnTo>
                    <a:pt x="192" y="467"/>
                  </a:lnTo>
                  <a:lnTo>
                    <a:pt x="196" y="465"/>
                  </a:lnTo>
                  <a:lnTo>
                    <a:pt x="198" y="463"/>
                  </a:lnTo>
                  <a:lnTo>
                    <a:pt x="200" y="463"/>
                  </a:lnTo>
                  <a:lnTo>
                    <a:pt x="204" y="463"/>
                  </a:lnTo>
                  <a:lnTo>
                    <a:pt x="204" y="461"/>
                  </a:lnTo>
                  <a:lnTo>
                    <a:pt x="204" y="459"/>
                  </a:lnTo>
                  <a:lnTo>
                    <a:pt x="202" y="459"/>
                  </a:lnTo>
                  <a:lnTo>
                    <a:pt x="200" y="459"/>
                  </a:lnTo>
                  <a:lnTo>
                    <a:pt x="200" y="457"/>
                  </a:lnTo>
                  <a:lnTo>
                    <a:pt x="196" y="457"/>
                  </a:lnTo>
                  <a:lnTo>
                    <a:pt x="194" y="457"/>
                  </a:lnTo>
                  <a:lnTo>
                    <a:pt x="194" y="455"/>
                  </a:lnTo>
                  <a:lnTo>
                    <a:pt x="198" y="453"/>
                  </a:lnTo>
                  <a:lnTo>
                    <a:pt x="200" y="449"/>
                  </a:lnTo>
                  <a:lnTo>
                    <a:pt x="202" y="449"/>
                  </a:lnTo>
                  <a:lnTo>
                    <a:pt x="205" y="449"/>
                  </a:lnTo>
                  <a:lnTo>
                    <a:pt x="205" y="447"/>
                  </a:lnTo>
                  <a:lnTo>
                    <a:pt x="204" y="447"/>
                  </a:lnTo>
                  <a:lnTo>
                    <a:pt x="200" y="445"/>
                  </a:lnTo>
                  <a:lnTo>
                    <a:pt x="200" y="443"/>
                  </a:lnTo>
                  <a:lnTo>
                    <a:pt x="202" y="443"/>
                  </a:lnTo>
                  <a:lnTo>
                    <a:pt x="202" y="442"/>
                  </a:lnTo>
                  <a:lnTo>
                    <a:pt x="198" y="443"/>
                  </a:lnTo>
                  <a:lnTo>
                    <a:pt x="198" y="447"/>
                  </a:lnTo>
                  <a:lnTo>
                    <a:pt x="196" y="447"/>
                  </a:lnTo>
                  <a:lnTo>
                    <a:pt x="192" y="451"/>
                  </a:lnTo>
                  <a:lnTo>
                    <a:pt x="188" y="455"/>
                  </a:lnTo>
                  <a:lnTo>
                    <a:pt x="180" y="457"/>
                  </a:lnTo>
                  <a:lnTo>
                    <a:pt x="180" y="461"/>
                  </a:lnTo>
                  <a:lnTo>
                    <a:pt x="180" y="459"/>
                  </a:lnTo>
                  <a:lnTo>
                    <a:pt x="182" y="457"/>
                  </a:lnTo>
                  <a:lnTo>
                    <a:pt x="186" y="457"/>
                  </a:lnTo>
                  <a:lnTo>
                    <a:pt x="190" y="455"/>
                  </a:lnTo>
                  <a:lnTo>
                    <a:pt x="192" y="455"/>
                  </a:lnTo>
                  <a:lnTo>
                    <a:pt x="194" y="459"/>
                  </a:lnTo>
                  <a:lnTo>
                    <a:pt x="190" y="461"/>
                  </a:lnTo>
                  <a:lnTo>
                    <a:pt x="190" y="465"/>
                  </a:lnTo>
                  <a:lnTo>
                    <a:pt x="184" y="467"/>
                  </a:lnTo>
                  <a:lnTo>
                    <a:pt x="180" y="468"/>
                  </a:lnTo>
                  <a:lnTo>
                    <a:pt x="175" y="474"/>
                  </a:lnTo>
                  <a:lnTo>
                    <a:pt x="169" y="476"/>
                  </a:lnTo>
                  <a:lnTo>
                    <a:pt x="165" y="478"/>
                  </a:lnTo>
                  <a:lnTo>
                    <a:pt x="161" y="478"/>
                  </a:lnTo>
                  <a:lnTo>
                    <a:pt x="159" y="476"/>
                  </a:lnTo>
                  <a:lnTo>
                    <a:pt x="159" y="474"/>
                  </a:lnTo>
                  <a:lnTo>
                    <a:pt x="159" y="472"/>
                  </a:lnTo>
                  <a:lnTo>
                    <a:pt x="157" y="472"/>
                  </a:lnTo>
                  <a:lnTo>
                    <a:pt x="157" y="468"/>
                  </a:lnTo>
                  <a:lnTo>
                    <a:pt x="157" y="467"/>
                  </a:lnTo>
                  <a:lnTo>
                    <a:pt x="161" y="467"/>
                  </a:lnTo>
                  <a:lnTo>
                    <a:pt x="163" y="465"/>
                  </a:lnTo>
                  <a:lnTo>
                    <a:pt x="167" y="461"/>
                  </a:lnTo>
                  <a:lnTo>
                    <a:pt x="161" y="463"/>
                  </a:lnTo>
                  <a:lnTo>
                    <a:pt x="157" y="465"/>
                  </a:lnTo>
                  <a:lnTo>
                    <a:pt x="154" y="465"/>
                  </a:lnTo>
                  <a:lnTo>
                    <a:pt x="150" y="468"/>
                  </a:lnTo>
                  <a:lnTo>
                    <a:pt x="150" y="465"/>
                  </a:lnTo>
                  <a:lnTo>
                    <a:pt x="155" y="463"/>
                  </a:lnTo>
                  <a:lnTo>
                    <a:pt x="150" y="463"/>
                  </a:lnTo>
                  <a:lnTo>
                    <a:pt x="152" y="461"/>
                  </a:lnTo>
                  <a:lnTo>
                    <a:pt x="154" y="459"/>
                  </a:lnTo>
                  <a:lnTo>
                    <a:pt x="159" y="457"/>
                  </a:lnTo>
                  <a:lnTo>
                    <a:pt x="159" y="455"/>
                  </a:lnTo>
                  <a:lnTo>
                    <a:pt x="157" y="455"/>
                  </a:lnTo>
                  <a:lnTo>
                    <a:pt x="161" y="455"/>
                  </a:lnTo>
                  <a:lnTo>
                    <a:pt x="167" y="453"/>
                  </a:lnTo>
                  <a:lnTo>
                    <a:pt x="169" y="453"/>
                  </a:lnTo>
                  <a:lnTo>
                    <a:pt x="169" y="451"/>
                  </a:lnTo>
                  <a:lnTo>
                    <a:pt x="165" y="451"/>
                  </a:lnTo>
                  <a:lnTo>
                    <a:pt x="169" y="447"/>
                  </a:lnTo>
                  <a:lnTo>
                    <a:pt x="165" y="449"/>
                  </a:lnTo>
                  <a:lnTo>
                    <a:pt x="163" y="449"/>
                  </a:lnTo>
                  <a:lnTo>
                    <a:pt x="163" y="445"/>
                  </a:lnTo>
                  <a:lnTo>
                    <a:pt x="165" y="445"/>
                  </a:lnTo>
                  <a:lnTo>
                    <a:pt x="163" y="445"/>
                  </a:lnTo>
                  <a:lnTo>
                    <a:pt x="161" y="443"/>
                  </a:lnTo>
                  <a:lnTo>
                    <a:pt x="163" y="442"/>
                  </a:lnTo>
                  <a:lnTo>
                    <a:pt x="163" y="443"/>
                  </a:lnTo>
                  <a:lnTo>
                    <a:pt x="163" y="442"/>
                  </a:lnTo>
                  <a:lnTo>
                    <a:pt x="165" y="442"/>
                  </a:lnTo>
                  <a:lnTo>
                    <a:pt x="167" y="443"/>
                  </a:lnTo>
                  <a:lnTo>
                    <a:pt x="171" y="442"/>
                  </a:lnTo>
                  <a:lnTo>
                    <a:pt x="169" y="442"/>
                  </a:lnTo>
                  <a:lnTo>
                    <a:pt x="167" y="440"/>
                  </a:lnTo>
                  <a:lnTo>
                    <a:pt x="169" y="438"/>
                  </a:lnTo>
                  <a:lnTo>
                    <a:pt x="169" y="436"/>
                  </a:lnTo>
                  <a:lnTo>
                    <a:pt x="173" y="436"/>
                  </a:lnTo>
                  <a:lnTo>
                    <a:pt x="175" y="436"/>
                  </a:lnTo>
                  <a:lnTo>
                    <a:pt x="171" y="434"/>
                  </a:lnTo>
                  <a:lnTo>
                    <a:pt x="173" y="432"/>
                  </a:lnTo>
                  <a:lnTo>
                    <a:pt x="175" y="432"/>
                  </a:lnTo>
                  <a:lnTo>
                    <a:pt x="173" y="430"/>
                  </a:lnTo>
                  <a:lnTo>
                    <a:pt x="175" y="430"/>
                  </a:lnTo>
                  <a:lnTo>
                    <a:pt x="179" y="430"/>
                  </a:lnTo>
                  <a:lnTo>
                    <a:pt x="179" y="428"/>
                  </a:lnTo>
                  <a:lnTo>
                    <a:pt x="177" y="428"/>
                  </a:lnTo>
                  <a:lnTo>
                    <a:pt x="177" y="426"/>
                  </a:lnTo>
                  <a:lnTo>
                    <a:pt x="179" y="424"/>
                  </a:lnTo>
                  <a:lnTo>
                    <a:pt x="180" y="422"/>
                  </a:lnTo>
                  <a:lnTo>
                    <a:pt x="180" y="420"/>
                  </a:lnTo>
                  <a:lnTo>
                    <a:pt x="184" y="418"/>
                  </a:lnTo>
                  <a:lnTo>
                    <a:pt x="186" y="417"/>
                  </a:lnTo>
                  <a:lnTo>
                    <a:pt x="190" y="417"/>
                  </a:lnTo>
                  <a:lnTo>
                    <a:pt x="192" y="415"/>
                  </a:lnTo>
                  <a:lnTo>
                    <a:pt x="190" y="413"/>
                  </a:lnTo>
                  <a:lnTo>
                    <a:pt x="192" y="411"/>
                  </a:lnTo>
                  <a:lnTo>
                    <a:pt x="194" y="413"/>
                  </a:lnTo>
                  <a:lnTo>
                    <a:pt x="194" y="417"/>
                  </a:lnTo>
                  <a:lnTo>
                    <a:pt x="198" y="420"/>
                  </a:lnTo>
                  <a:lnTo>
                    <a:pt x="202" y="420"/>
                  </a:lnTo>
                  <a:lnTo>
                    <a:pt x="200" y="424"/>
                  </a:lnTo>
                  <a:lnTo>
                    <a:pt x="198" y="426"/>
                  </a:lnTo>
                  <a:lnTo>
                    <a:pt x="200" y="428"/>
                  </a:lnTo>
                  <a:lnTo>
                    <a:pt x="204" y="420"/>
                  </a:lnTo>
                  <a:lnTo>
                    <a:pt x="205" y="420"/>
                  </a:lnTo>
                  <a:lnTo>
                    <a:pt x="207" y="418"/>
                  </a:lnTo>
                  <a:lnTo>
                    <a:pt x="213" y="420"/>
                  </a:lnTo>
                  <a:lnTo>
                    <a:pt x="217" y="420"/>
                  </a:lnTo>
                  <a:lnTo>
                    <a:pt x="219" y="418"/>
                  </a:lnTo>
                  <a:lnTo>
                    <a:pt x="221" y="417"/>
                  </a:lnTo>
                  <a:lnTo>
                    <a:pt x="217" y="418"/>
                  </a:lnTo>
                  <a:lnTo>
                    <a:pt x="217" y="420"/>
                  </a:lnTo>
                  <a:lnTo>
                    <a:pt x="209" y="417"/>
                  </a:lnTo>
                  <a:lnTo>
                    <a:pt x="204" y="420"/>
                  </a:lnTo>
                  <a:lnTo>
                    <a:pt x="200" y="417"/>
                  </a:lnTo>
                  <a:lnTo>
                    <a:pt x="196" y="413"/>
                  </a:lnTo>
                  <a:lnTo>
                    <a:pt x="194" y="409"/>
                  </a:lnTo>
                  <a:lnTo>
                    <a:pt x="194" y="407"/>
                  </a:lnTo>
                  <a:lnTo>
                    <a:pt x="198" y="405"/>
                  </a:lnTo>
                  <a:lnTo>
                    <a:pt x="202" y="405"/>
                  </a:lnTo>
                  <a:lnTo>
                    <a:pt x="204" y="407"/>
                  </a:lnTo>
                  <a:lnTo>
                    <a:pt x="204" y="405"/>
                  </a:lnTo>
                  <a:lnTo>
                    <a:pt x="207" y="401"/>
                  </a:lnTo>
                  <a:lnTo>
                    <a:pt x="213" y="399"/>
                  </a:lnTo>
                  <a:lnTo>
                    <a:pt x="215" y="399"/>
                  </a:lnTo>
                  <a:lnTo>
                    <a:pt x="215" y="397"/>
                  </a:lnTo>
                  <a:lnTo>
                    <a:pt x="211" y="399"/>
                  </a:lnTo>
                  <a:lnTo>
                    <a:pt x="207" y="397"/>
                  </a:lnTo>
                  <a:lnTo>
                    <a:pt x="205" y="397"/>
                  </a:lnTo>
                  <a:lnTo>
                    <a:pt x="204" y="401"/>
                  </a:lnTo>
                  <a:lnTo>
                    <a:pt x="198" y="403"/>
                  </a:lnTo>
                  <a:lnTo>
                    <a:pt x="198" y="401"/>
                  </a:lnTo>
                  <a:lnTo>
                    <a:pt x="204" y="397"/>
                  </a:lnTo>
                  <a:lnTo>
                    <a:pt x="200" y="397"/>
                  </a:lnTo>
                  <a:lnTo>
                    <a:pt x="200" y="395"/>
                  </a:lnTo>
                  <a:lnTo>
                    <a:pt x="202" y="392"/>
                  </a:lnTo>
                  <a:lnTo>
                    <a:pt x="205" y="390"/>
                  </a:lnTo>
                  <a:lnTo>
                    <a:pt x="209" y="388"/>
                  </a:lnTo>
                  <a:lnTo>
                    <a:pt x="213" y="388"/>
                  </a:lnTo>
                  <a:lnTo>
                    <a:pt x="209" y="388"/>
                  </a:lnTo>
                  <a:lnTo>
                    <a:pt x="211" y="386"/>
                  </a:lnTo>
                  <a:lnTo>
                    <a:pt x="213" y="386"/>
                  </a:lnTo>
                  <a:lnTo>
                    <a:pt x="215" y="386"/>
                  </a:lnTo>
                  <a:lnTo>
                    <a:pt x="213" y="384"/>
                  </a:lnTo>
                  <a:lnTo>
                    <a:pt x="217" y="380"/>
                  </a:lnTo>
                  <a:lnTo>
                    <a:pt x="219" y="378"/>
                  </a:lnTo>
                  <a:lnTo>
                    <a:pt x="221" y="378"/>
                  </a:lnTo>
                  <a:lnTo>
                    <a:pt x="221" y="382"/>
                  </a:lnTo>
                  <a:lnTo>
                    <a:pt x="223" y="380"/>
                  </a:lnTo>
                  <a:lnTo>
                    <a:pt x="225" y="380"/>
                  </a:lnTo>
                  <a:lnTo>
                    <a:pt x="225" y="378"/>
                  </a:lnTo>
                  <a:lnTo>
                    <a:pt x="225" y="376"/>
                  </a:lnTo>
                  <a:lnTo>
                    <a:pt x="227" y="374"/>
                  </a:lnTo>
                  <a:lnTo>
                    <a:pt x="228" y="378"/>
                  </a:lnTo>
                  <a:lnTo>
                    <a:pt x="228" y="380"/>
                  </a:lnTo>
                  <a:lnTo>
                    <a:pt x="230" y="380"/>
                  </a:lnTo>
                  <a:lnTo>
                    <a:pt x="230" y="382"/>
                  </a:lnTo>
                  <a:lnTo>
                    <a:pt x="227" y="384"/>
                  </a:lnTo>
                  <a:lnTo>
                    <a:pt x="228" y="384"/>
                  </a:lnTo>
                  <a:lnTo>
                    <a:pt x="232" y="382"/>
                  </a:lnTo>
                  <a:lnTo>
                    <a:pt x="238" y="378"/>
                  </a:lnTo>
                  <a:lnTo>
                    <a:pt x="244" y="374"/>
                  </a:lnTo>
                  <a:lnTo>
                    <a:pt x="244" y="370"/>
                  </a:lnTo>
                  <a:lnTo>
                    <a:pt x="248" y="369"/>
                  </a:lnTo>
                  <a:lnTo>
                    <a:pt x="246" y="369"/>
                  </a:lnTo>
                  <a:lnTo>
                    <a:pt x="242" y="372"/>
                  </a:lnTo>
                  <a:lnTo>
                    <a:pt x="238" y="376"/>
                  </a:lnTo>
                  <a:lnTo>
                    <a:pt x="234" y="380"/>
                  </a:lnTo>
                  <a:lnTo>
                    <a:pt x="230" y="378"/>
                  </a:lnTo>
                  <a:lnTo>
                    <a:pt x="232" y="376"/>
                  </a:lnTo>
                  <a:lnTo>
                    <a:pt x="234" y="376"/>
                  </a:lnTo>
                  <a:lnTo>
                    <a:pt x="232" y="374"/>
                  </a:lnTo>
                  <a:lnTo>
                    <a:pt x="230" y="374"/>
                  </a:lnTo>
                  <a:lnTo>
                    <a:pt x="232" y="372"/>
                  </a:lnTo>
                  <a:lnTo>
                    <a:pt x="234" y="372"/>
                  </a:lnTo>
                  <a:lnTo>
                    <a:pt x="232" y="372"/>
                  </a:lnTo>
                  <a:lnTo>
                    <a:pt x="228" y="374"/>
                  </a:lnTo>
                  <a:lnTo>
                    <a:pt x="230" y="370"/>
                  </a:lnTo>
                  <a:lnTo>
                    <a:pt x="232" y="369"/>
                  </a:lnTo>
                  <a:lnTo>
                    <a:pt x="232" y="367"/>
                  </a:lnTo>
                  <a:lnTo>
                    <a:pt x="236" y="367"/>
                  </a:lnTo>
                  <a:lnTo>
                    <a:pt x="234" y="365"/>
                  </a:lnTo>
                  <a:lnTo>
                    <a:pt x="232" y="367"/>
                  </a:lnTo>
                  <a:lnTo>
                    <a:pt x="230" y="369"/>
                  </a:lnTo>
                  <a:lnTo>
                    <a:pt x="227" y="369"/>
                  </a:lnTo>
                  <a:lnTo>
                    <a:pt x="227" y="370"/>
                  </a:lnTo>
                  <a:lnTo>
                    <a:pt x="228" y="370"/>
                  </a:lnTo>
                  <a:lnTo>
                    <a:pt x="227" y="372"/>
                  </a:lnTo>
                  <a:lnTo>
                    <a:pt x="223" y="374"/>
                  </a:lnTo>
                  <a:lnTo>
                    <a:pt x="225" y="370"/>
                  </a:lnTo>
                  <a:lnTo>
                    <a:pt x="225" y="369"/>
                  </a:lnTo>
                  <a:lnTo>
                    <a:pt x="223" y="369"/>
                  </a:lnTo>
                  <a:lnTo>
                    <a:pt x="225" y="365"/>
                  </a:lnTo>
                  <a:lnTo>
                    <a:pt x="227" y="367"/>
                  </a:lnTo>
                  <a:lnTo>
                    <a:pt x="227" y="365"/>
                  </a:lnTo>
                  <a:lnTo>
                    <a:pt x="225" y="365"/>
                  </a:lnTo>
                  <a:lnTo>
                    <a:pt x="227" y="363"/>
                  </a:lnTo>
                  <a:lnTo>
                    <a:pt x="230" y="361"/>
                  </a:lnTo>
                  <a:lnTo>
                    <a:pt x="230" y="359"/>
                  </a:lnTo>
                  <a:lnTo>
                    <a:pt x="228" y="359"/>
                  </a:lnTo>
                  <a:lnTo>
                    <a:pt x="227" y="361"/>
                  </a:lnTo>
                  <a:lnTo>
                    <a:pt x="227" y="359"/>
                  </a:lnTo>
                  <a:lnTo>
                    <a:pt x="228" y="353"/>
                  </a:lnTo>
                  <a:lnTo>
                    <a:pt x="230" y="357"/>
                  </a:lnTo>
                  <a:lnTo>
                    <a:pt x="232" y="359"/>
                  </a:lnTo>
                  <a:lnTo>
                    <a:pt x="232" y="363"/>
                  </a:lnTo>
                  <a:lnTo>
                    <a:pt x="236" y="361"/>
                  </a:lnTo>
                  <a:lnTo>
                    <a:pt x="238" y="361"/>
                  </a:lnTo>
                  <a:lnTo>
                    <a:pt x="236" y="357"/>
                  </a:lnTo>
                  <a:lnTo>
                    <a:pt x="236" y="353"/>
                  </a:lnTo>
                  <a:lnTo>
                    <a:pt x="236" y="357"/>
                  </a:lnTo>
                  <a:lnTo>
                    <a:pt x="234" y="357"/>
                  </a:lnTo>
                  <a:lnTo>
                    <a:pt x="234" y="355"/>
                  </a:lnTo>
                  <a:lnTo>
                    <a:pt x="234" y="353"/>
                  </a:lnTo>
                  <a:lnTo>
                    <a:pt x="232" y="357"/>
                  </a:lnTo>
                  <a:lnTo>
                    <a:pt x="230" y="353"/>
                  </a:lnTo>
                  <a:lnTo>
                    <a:pt x="232" y="353"/>
                  </a:lnTo>
                  <a:lnTo>
                    <a:pt x="230" y="353"/>
                  </a:lnTo>
                  <a:lnTo>
                    <a:pt x="230" y="349"/>
                  </a:lnTo>
                  <a:lnTo>
                    <a:pt x="234" y="344"/>
                  </a:lnTo>
                  <a:lnTo>
                    <a:pt x="236" y="345"/>
                  </a:lnTo>
                  <a:lnTo>
                    <a:pt x="238" y="347"/>
                  </a:lnTo>
                  <a:lnTo>
                    <a:pt x="238" y="349"/>
                  </a:lnTo>
                  <a:lnTo>
                    <a:pt x="242" y="351"/>
                  </a:lnTo>
                  <a:lnTo>
                    <a:pt x="244" y="351"/>
                  </a:lnTo>
                  <a:lnTo>
                    <a:pt x="242" y="349"/>
                  </a:lnTo>
                  <a:lnTo>
                    <a:pt x="238" y="349"/>
                  </a:lnTo>
                  <a:lnTo>
                    <a:pt x="238" y="347"/>
                  </a:lnTo>
                  <a:lnTo>
                    <a:pt x="238" y="345"/>
                  </a:lnTo>
                  <a:lnTo>
                    <a:pt x="236" y="344"/>
                  </a:lnTo>
                  <a:lnTo>
                    <a:pt x="236" y="340"/>
                  </a:lnTo>
                  <a:lnTo>
                    <a:pt x="238" y="340"/>
                  </a:lnTo>
                  <a:lnTo>
                    <a:pt x="240" y="342"/>
                  </a:lnTo>
                  <a:lnTo>
                    <a:pt x="240" y="340"/>
                  </a:lnTo>
                  <a:lnTo>
                    <a:pt x="240" y="338"/>
                  </a:lnTo>
                  <a:lnTo>
                    <a:pt x="238" y="340"/>
                  </a:lnTo>
                  <a:lnTo>
                    <a:pt x="238" y="336"/>
                  </a:lnTo>
                  <a:lnTo>
                    <a:pt x="238" y="334"/>
                  </a:lnTo>
                  <a:lnTo>
                    <a:pt x="244" y="330"/>
                  </a:lnTo>
                  <a:lnTo>
                    <a:pt x="248" y="332"/>
                  </a:lnTo>
                  <a:lnTo>
                    <a:pt x="250" y="334"/>
                  </a:lnTo>
                  <a:lnTo>
                    <a:pt x="252" y="336"/>
                  </a:lnTo>
                  <a:lnTo>
                    <a:pt x="253" y="340"/>
                  </a:lnTo>
                  <a:lnTo>
                    <a:pt x="253" y="342"/>
                  </a:lnTo>
                  <a:lnTo>
                    <a:pt x="255" y="342"/>
                  </a:lnTo>
                  <a:lnTo>
                    <a:pt x="253" y="338"/>
                  </a:lnTo>
                  <a:lnTo>
                    <a:pt x="252" y="334"/>
                  </a:lnTo>
                  <a:lnTo>
                    <a:pt x="252" y="332"/>
                  </a:lnTo>
                  <a:lnTo>
                    <a:pt x="250" y="332"/>
                  </a:lnTo>
                  <a:lnTo>
                    <a:pt x="246" y="330"/>
                  </a:lnTo>
                  <a:lnTo>
                    <a:pt x="246" y="326"/>
                  </a:lnTo>
                  <a:lnTo>
                    <a:pt x="248" y="324"/>
                  </a:lnTo>
                  <a:lnTo>
                    <a:pt x="244" y="324"/>
                  </a:lnTo>
                  <a:lnTo>
                    <a:pt x="240" y="326"/>
                  </a:lnTo>
                  <a:lnTo>
                    <a:pt x="238" y="330"/>
                  </a:lnTo>
                  <a:lnTo>
                    <a:pt x="246" y="326"/>
                  </a:lnTo>
                  <a:lnTo>
                    <a:pt x="246" y="328"/>
                  </a:lnTo>
                  <a:lnTo>
                    <a:pt x="240" y="330"/>
                  </a:lnTo>
                  <a:lnTo>
                    <a:pt x="234" y="334"/>
                  </a:lnTo>
                  <a:lnTo>
                    <a:pt x="234" y="338"/>
                  </a:lnTo>
                  <a:lnTo>
                    <a:pt x="232" y="336"/>
                  </a:lnTo>
                  <a:lnTo>
                    <a:pt x="234" y="334"/>
                  </a:lnTo>
                  <a:lnTo>
                    <a:pt x="232" y="336"/>
                  </a:lnTo>
                  <a:lnTo>
                    <a:pt x="232" y="334"/>
                  </a:lnTo>
                  <a:lnTo>
                    <a:pt x="232" y="332"/>
                  </a:lnTo>
                  <a:lnTo>
                    <a:pt x="234" y="330"/>
                  </a:lnTo>
                  <a:lnTo>
                    <a:pt x="236" y="326"/>
                  </a:lnTo>
                  <a:lnTo>
                    <a:pt x="238" y="322"/>
                  </a:lnTo>
                  <a:lnTo>
                    <a:pt x="242" y="320"/>
                  </a:lnTo>
                  <a:lnTo>
                    <a:pt x="250" y="319"/>
                  </a:lnTo>
                  <a:lnTo>
                    <a:pt x="253" y="317"/>
                  </a:lnTo>
                  <a:lnTo>
                    <a:pt x="255" y="315"/>
                  </a:lnTo>
                  <a:lnTo>
                    <a:pt x="257" y="315"/>
                  </a:lnTo>
                  <a:lnTo>
                    <a:pt x="263" y="315"/>
                  </a:lnTo>
                  <a:lnTo>
                    <a:pt x="261" y="317"/>
                  </a:lnTo>
                  <a:lnTo>
                    <a:pt x="263" y="317"/>
                  </a:lnTo>
                  <a:lnTo>
                    <a:pt x="263" y="320"/>
                  </a:lnTo>
                  <a:lnTo>
                    <a:pt x="265" y="319"/>
                  </a:lnTo>
                  <a:lnTo>
                    <a:pt x="267" y="319"/>
                  </a:lnTo>
                  <a:lnTo>
                    <a:pt x="269" y="319"/>
                  </a:lnTo>
                  <a:lnTo>
                    <a:pt x="271" y="319"/>
                  </a:lnTo>
                  <a:lnTo>
                    <a:pt x="269" y="317"/>
                  </a:lnTo>
                  <a:lnTo>
                    <a:pt x="267" y="317"/>
                  </a:lnTo>
                  <a:lnTo>
                    <a:pt x="263" y="315"/>
                  </a:lnTo>
                  <a:lnTo>
                    <a:pt x="269" y="313"/>
                  </a:lnTo>
                  <a:lnTo>
                    <a:pt x="269" y="315"/>
                  </a:lnTo>
                  <a:lnTo>
                    <a:pt x="273" y="313"/>
                  </a:lnTo>
                  <a:lnTo>
                    <a:pt x="278" y="309"/>
                  </a:lnTo>
                  <a:lnTo>
                    <a:pt x="277" y="309"/>
                  </a:lnTo>
                  <a:lnTo>
                    <a:pt x="273" y="311"/>
                  </a:lnTo>
                  <a:lnTo>
                    <a:pt x="269" y="311"/>
                  </a:lnTo>
                  <a:lnTo>
                    <a:pt x="265" y="313"/>
                  </a:lnTo>
                  <a:lnTo>
                    <a:pt x="263" y="313"/>
                  </a:lnTo>
                  <a:lnTo>
                    <a:pt x="263" y="311"/>
                  </a:lnTo>
                  <a:lnTo>
                    <a:pt x="261" y="313"/>
                  </a:lnTo>
                  <a:lnTo>
                    <a:pt x="257" y="315"/>
                  </a:lnTo>
                  <a:lnTo>
                    <a:pt x="257" y="313"/>
                  </a:lnTo>
                  <a:lnTo>
                    <a:pt x="252" y="317"/>
                  </a:lnTo>
                  <a:lnTo>
                    <a:pt x="248" y="319"/>
                  </a:lnTo>
                  <a:lnTo>
                    <a:pt x="248" y="317"/>
                  </a:lnTo>
                  <a:lnTo>
                    <a:pt x="253" y="313"/>
                  </a:lnTo>
                  <a:lnTo>
                    <a:pt x="257" y="309"/>
                  </a:lnTo>
                  <a:lnTo>
                    <a:pt x="263" y="311"/>
                  </a:lnTo>
                  <a:lnTo>
                    <a:pt x="259" y="309"/>
                  </a:lnTo>
                  <a:lnTo>
                    <a:pt x="261" y="307"/>
                  </a:lnTo>
                  <a:lnTo>
                    <a:pt x="255" y="309"/>
                  </a:lnTo>
                  <a:lnTo>
                    <a:pt x="252" y="309"/>
                  </a:lnTo>
                  <a:lnTo>
                    <a:pt x="252" y="311"/>
                  </a:lnTo>
                  <a:lnTo>
                    <a:pt x="252" y="309"/>
                  </a:lnTo>
                  <a:lnTo>
                    <a:pt x="250" y="309"/>
                  </a:lnTo>
                  <a:lnTo>
                    <a:pt x="248" y="307"/>
                  </a:lnTo>
                  <a:lnTo>
                    <a:pt x="252" y="305"/>
                  </a:lnTo>
                  <a:lnTo>
                    <a:pt x="253" y="303"/>
                  </a:lnTo>
                  <a:lnTo>
                    <a:pt x="252" y="301"/>
                  </a:lnTo>
                  <a:lnTo>
                    <a:pt x="252" y="299"/>
                  </a:lnTo>
                  <a:lnTo>
                    <a:pt x="248" y="299"/>
                  </a:lnTo>
                  <a:lnTo>
                    <a:pt x="248" y="297"/>
                  </a:lnTo>
                  <a:lnTo>
                    <a:pt x="252" y="295"/>
                  </a:lnTo>
                  <a:lnTo>
                    <a:pt x="253" y="295"/>
                  </a:lnTo>
                  <a:lnTo>
                    <a:pt x="253" y="299"/>
                  </a:lnTo>
                  <a:lnTo>
                    <a:pt x="255" y="301"/>
                  </a:lnTo>
                  <a:lnTo>
                    <a:pt x="259" y="299"/>
                  </a:lnTo>
                  <a:lnTo>
                    <a:pt x="255" y="299"/>
                  </a:lnTo>
                  <a:lnTo>
                    <a:pt x="255" y="297"/>
                  </a:lnTo>
                  <a:lnTo>
                    <a:pt x="257" y="295"/>
                  </a:lnTo>
                  <a:lnTo>
                    <a:pt x="261" y="295"/>
                  </a:lnTo>
                  <a:lnTo>
                    <a:pt x="263" y="295"/>
                  </a:lnTo>
                  <a:lnTo>
                    <a:pt x="265" y="297"/>
                  </a:lnTo>
                  <a:lnTo>
                    <a:pt x="265" y="295"/>
                  </a:lnTo>
                  <a:lnTo>
                    <a:pt x="263" y="295"/>
                  </a:lnTo>
                  <a:lnTo>
                    <a:pt x="261" y="294"/>
                  </a:lnTo>
                  <a:lnTo>
                    <a:pt x="263" y="294"/>
                  </a:lnTo>
                  <a:lnTo>
                    <a:pt x="265" y="292"/>
                  </a:lnTo>
                  <a:lnTo>
                    <a:pt x="267" y="292"/>
                  </a:lnTo>
                  <a:lnTo>
                    <a:pt x="265" y="292"/>
                  </a:lnTo>
                  <a:lnTo>
                    <a:pt x="263" y="292"/>
                  </a:lnTo>
                  <a:lnTo>
                    <a:pt x="261" y="294"/>
                  </a:lnTo>
                  <a:lnTo>
                    <a:pt x="259" y="294"/>
                  </a:lnTo>
                  <a:lnTo>
                    <a:pt x="255" y="295"/>
                  </a:lnTo>
                  <a:lnTo>
                    <a:pt x="253" y="295"/>
                  </a:lnTo>
                  <a:lnTo>
                    <a:pt x="253" y="292"/>
                  </a:lnTo>
                  <a:lnTo>
                    <a:pt x="257" y="290"/>
                  </a:lnTo>
                  <a:lnTo>
                    <a:pt x="253" y="290"/>
                  </a:lnTo>
                  <a:lnTo>
                    <a:pt x="253" y="288"/>
                  </a:lnTo>
                  <a:lnTo>
                    <a:pt x="255" y="288"/>
                  </a:lnTo>
                  <a:lnTo>
                    <a:pt x="257" y="288"/>
                  </a:lnTo>
                  <a:lnTo>
                    <a:pt x="261" y="290"/>
                  </a:lnTo>
                  <a:lnTo>
                    <a:pt x="261" y="288"/>
                  </a:lnTo>
                  <a:lnTo>
                    <a:pt x="259" y="286"/>
                  </a:lnTo>
                  <a:lnTo>
                    <a:pt x="255" y="286"/>
                  </a:lnTo>
                  <a:lnTo>
                    <a:pt x="253" y="286"/>
                  </a:lnTo>
                  <a:lnTo>
                    <a:pt x="257" y="284"/>
                  </a:lnTo>
                  <a:lnTo>
                    <a:pt x="259" y="286"/>
                  </a:lnTo>
                  <a:lnTo>
                    <a:pt x="263" y="286"/>
                  </a:lnTo>
                  <a:lnTo>
                    <a:pt x="265" y="286"/>
                  </a:lnTo>
                  <a:lnTo>
                    <a:pt x="267" y="286"/>
                  </a:lnTo>
                  <a:lnTo>
                    <a:pt x="271" y="284"/>
                  </a:lnTo>
                  <a:lnTo>
                    <a:pt x="267" y="284"/>
                  </a:lnTo>
                  <a:lnTo>
                    <a:pt x="265" y="286"/>
                  </a:lnTo>
                  <a:lnTo>
                    <a:pt x="261" y="284"/>
                  </a:lnTo>
                  <a:lnTo>
                    <a:pt x="261" y="282"/>
                  </a:lnTo>
                  <a:lnTo>
                    <a:pt x="261" y="280"/>
                  </a:lnTo>
                  <a:lnTo>
                    <a:pt x="267" y="280"/>
                  </a:lnTo>
                  <a:lnTo>
                    <a:pt x="269" y="280"/>
                  </a:lnTo>
                  <a:lnTo>
                    <a:pt x="275" y="280"/>
                  </a:lnTo>
                  <a:lnTo>
                    <a:pt x="269" y="280"/>
                  </a:lnTo>
                  <a:lnTo>
                    <a:pt x="267" y="278"/>
                  </a:lnTo>
                  <a:lnTo>
                    <a:pt x="265" y="276"/>
                  </a:lnTo>
                  <a:lnTo>
                    <a:pt x="263" y="274"/>
                  </a:lnTo>
                  <a:lnTo>
                    <a:pt x="261" y="274"/>
                  </a:lnTo>
                  <a:lnTo>
                    <a:pt x="261" y="272"/>
                  </a:lnTo>
                  <a:lnTo>
                    <a:pt x="263" y="272"/>
                  </a:lnTo>
                  <a:lnTo>
                    <a:pt x="267" y="272"/>
                  </a:lnTo>
                  <a:lnTo>
                    <a:pt x="269" y="271"/>
                  </a:lnTo>
                  <a:lnTo>
                    <a:pt x="267" y="271"/>
                  </a:lnTo>
                  <a:lnTo>
                    <a:pt x="269" y="271"/>
                  </a:lnTo>
                  <a:lnTo>
                    <a:pt x="271" y="271"/>
                  </a:lnTo>
                  <a:lnTo>
                    <a:pt x="271" y="269"/>
                  </a:lnTo>
                  <a:lnTo>
                    <a:pt x="273" y="269"/>
                  </a:lnTo>
                  <a:lnTo>
                    <a:pt x="273" y="271"/>
                  </a:lnTo>
                  <a:lnTo>
                    <a:pt x="271" y="271"/>
                  </a:lnTo>
                  <a:lnTo>
                    <a:pt x="273" y="271"/>
                  </a:lnTo>
                  <a:lnTo>
                    <a:pt x="275" y="271"/>
                  </a:lnTo>
                  <a:lnTo>
                    <a:pt x="275" y="269"/>
                  </a:lnTo>
                  <a:lnTo>
                    <a:pt x="275" y="267"/>
                  </a:lnTo>
                  <a:lnTo>
                    <a:pt x="275" y="265"/>
                  </a:lnTo>
                  <a:lnTo>
                    <a:pt x="277" y="267"/>
                  </a:lnTo>
                  <a:lnTo>
                    <a:pt x="277" y="269"/>
                  </a:lnTo>
                  <a:lnTo>
                    <a:pt x="278" y="269"/>
                  </a:lnTo>
                  <a:lnTo>
                    <a:pt x="280" y="269"/>
                  </a:lnTo>
                  <a:lnTo>
                    <a:pt x="280" y="267"/>
                  </a:lnTo>
                  <a:lnTo>
                    <a:pt x="280" y="265"/>
                  </a:lnTo>
                  <a:lnTo>
                    <a:pt x="282" y="261"/>
                  </a:lnTo>
                  <a:lnTo>
                    <a:pt x="282" y="259"/>
                  </a:lnTo>
                  <a:lnTo>
                    <a:pt x="284" y="257"/>
                  </a:lnTo>
                  <a:lnTo>
                    <a:pt x="290" y="257"/>
                  </a:lnTo>
                  <a:lnTo>
                    <a:pt x="290" y="253"/>
                  </a:lnTo>
                  <a:lnTo>
                    <a:pt x="292" y="253"/>
                  </a:lnTo>
                  <a:lnTo>
                    <a:pt x="292" y="251"/>
                  </a:lnTo>
                  <a:lnTo>
                    <a:pt x="288" y="251"/>
                  </a:lnTo>
                  <a:lnTo>
                    <a:pt x="286" y="253"/>
                  </a:lnTo>
                  <a:lnTo>
                    <a:pt x="282" y="253"/>
                  </a:lnTo>
                  <a:lnTo>
                    <a:pt x="282" y="251"/>
                  </a:lnTo>
                  <a:lnTo>
                    <a:pt x="284" y="249"/>
                  </a:lnTo>
                  <a:lnTo>
                    <a:pt x="286" y="249"/>
                  </a:lnTo>
                  <a:lnTo>
                    <a:pt x="288" y="247"/>
                  </a:lnTo>
                  <a:lnTo>
                    <a:pt x="290" y="244"/>
                  </a:lnTo>
                  <a:lnTo>
                    <a:pt x="290" y="242"/>
                  </a:lnTo>
                  <a:lnTo>
                    <a:pt x="292" y="242"/>
                  </a:lnTo>
                  <a:lnTo>
                    <a:pt x="294" y="242"/>
                  </a:lnTo>
                  <a:lnTo>
                    <a:pt x="296" y="244"/>
                  </a:lnTo>
                  <a:lnTo>
                    <a:pt x="294" y="244"/>
                  </a:lnTo>
                  <a:lnTo>
                    <a:pt x="296" y="246"/>
                  </a:lnTo>
                  <a:lnTo>
                    <a:pt x="296" y="244"/>
                  </a:lnTo>
                  <a:lnTo>
                    <a:pt x="298" y="242"/>
                  </a:lnTo>
                  <a:lnTo>
                    <a:pt x="300" y="242"/>
                  </a:lnTo>
                  <a:lnTo>
                    <a:pt x="300" y="240"/>
                  </a:lnTo>
                  <a:lnTo>
                    <a:pt x="298" y="240"/>
                  </a:lnTo>
                  <a:lnTo>
                    <a:pt x="296" y="240"/>
                  </a:lnTo>
                  <a:lnTo>
                    <a:pt x="292" y="242"/>
                  </a:lnTo>
                  <a:lnTo>
                    <a:pt x="290" y="240"/>
                  </a:lnTo>
                  <a:lnTo>
                    <a:pt x="292" y="238"/>
                  </a:lnTo>
                  <a:lnTo>
                    <a:pt x="296" y="234"/>
                  </a:lnTo>
                  <a:lnTo>
                    <a:pt x="300" y="232"/>
                  </a:lnTo>
                  <a:lnTo>
                    <a:pt x="302" y="232"/>
                  </a:lnTo>
                  <a:lnTo>
                    <a:pt x="302" y="234"/>
                  </a:lnTo>
                  <a:lnTo>
                    <a:pt x="300" y="236"/>
                  </a:lnTo>
                  <a:lnTo>
                    <a:pt x="298" y="238"/>
                  </a:lnTo>
                  <a:lnTo>
                    <a:pt x="300" y="236"/>
                  </a:lnTo>
                  <a:lnTo>
                    <a:pt x="302" y="236"/>
                  </a:lnTo>
                  <a:lnTo>
                    <a:pt x="303" y="236"/>
                  </a:lnTo>
                  <a:lnTo>
                    <a:pt x="305" y="236"/>
                  </a:lnTo>
                  <a:lnTo>
                    <a:pt x="303" y="238"/>
                  </a:lnTo>
                  <a:lnTo>
                    <a:pt x="302" y="240"/>
                  </a:lnTo>
                  <a:lnTo>
                    <a:pt x="305" y="238"/>
                  </a:lnTo>
                  <a:lnTo>
                    <a:pt x="307" y="236"/>
                  </a:lnTo>
                  <a:lnTo>
                    <a:pt x="309" y="238"/>
                  </a:lnTo>
                  <a:lnTo>
                    <a:pt x="311" y="238"/>
                  </a:lnTo>
                  <a:lnTo>
                    <a:pt x="311" y="240"/>
                  </a:lnTo>
                  <a:lnTo>
                    <a:pt x="313" y="242"/>
                  </a:lnTo>
                  <a:lnTo>
                    <a:pt x="313" y="244"/>
                  </a:lnTo>
                  <a:lnTo>
                    <a:pt x="313" y="246"/>
                  </a:lnTo>
                  <a:lnTo>
                    <a:pt x="315" y="247"/>
                  </a:lnTo>
                  <a:lnTo>
                    <a:pt x="315" y="249"/>
                  </a:lnTo>
                  <a:lnTo>
                    <a:pt x="317" y="247"/>
                  </a:lnTo>
                  <a:lnTo>
                    <a:pt x="317" y="244"/>
                  </a:lnTo>
                  <a:lnTo>
                    <a:pt x="315" y="242"/>
                  </a:lnTo>
                  <a:lnTo>
                    <a:pt x="315" y="240"/>
                  </a:lnTo>
                  <a:lnTo>
                    <a:pt x="315" y="238"/>
                  </a:lnTo>
                  <a:lnTo>
                    <a:pt x="315" y="236"/>
                  </a:lnTo>
                  <a:lnTo>
                    <a:pt x="315" y="234"/>
                  </a:lnTo>
                  <a:lnTo>
                    <a:pt x="319" y="232"/>
                  </a:lnTo>
                  <a:lnTo>
                    <a:pt x="321" y="232"/>
                  </a:lnTo>
                  <a:lnTo>
                    <a:pt x="323" y="230"/>
                  </a:lnTo>
                  <a:lnTo>
                    <a:pt x="321" y="232"/>
                  </a:lnTo>
                  <a:lnTo>
                    <a:pt x="319" y="232"/>
                  </a:lnTo>
                  <a:lnTo>
                    <a:pt x="315" y="234"/>
                  </a:lnTo>
                  <a:lnTo>
                    <a:pt x="313" y="236"/>
                  </a:lnTo>
                  <a:lnTo>
                    <a:pt x="311" y="236"/>
                  </a:lnTo>
                  <a:lnTo>
                    <a:pt x="311" y="234"/>
                  </a:lnTo>
                  <a:lnTo>
                    <a:pt x="309" y="234"/>
                  </a:lnTo>
                  <a:lnTo>
                    <a:pt x="307" y="236"/>
                  </a:lnTo>
                  <a:lnTo>
                    <a:pt x="305" y="234"/>
                  </a:lnTo>
                  <a:lnTo>
                    <a:pt x="305" y="232"/>
                  </a:lnTo>
                  <a:lnTo>
                    <a:pt x="305" y="230"/>
                  </a:lnTo>
                  <a:lnTo>
                    <a:pt x="307" y="232"/>
                  </a:lnTo>
                  <a:lnTo>
                    <a:pt x="311" y="232"/>
                  </a:lnTo>
                  <a:lnTo>
                    <a:pt x="311" y="230"/>
                  </a:lnTo>
                  <a:lnTo>
                    <a:pt x="309" y="230"/>
                  </a:lnTo>
                  <a:lnTo>
                    <a:pt x="307" y="230"/>
                  </a:lnTo>
                  <a:lnTo>
                    <a:pt x="305" y="228"/>
                  </a:lnTo>
                  <a:lnTo>
                    <a:pt x="303" y="230"/>
                  </a:lnTo>
                  <a:lnTo>
                    <a:pt x="303" y="228"/>
                  </a:lnTo>
                  <a:lnTo>
                    <a:pt x="307" y="224"/>
                  </a:lnTo>
                  <a:lnTo>
                    <a:pt x="309" y="224"/>
                  </a:lnTo>
                  <a:lnTo>
                    <a:pt x="311" y="226"/>
                  </a:lnTo>
                  <a:lnTo>
                    <a:pt x="313" y="224"/>
                  </a:lnTo>
                  <a:lnTo>
                    <a:pt x="311" y="224"/>
                  </a:lnTo>
                  <a:lnTo>
                    <a:pt x="309" y="222"/>
                  </a:lnTo>
                  <a:lnTo>
                    <a:pt x="311" y="221"/>
                  </a:lnTo>
                  <a:lnTo>
                    <a:pt x="313" y="221"/>
                  </a:lnTo>
                  <a:lnTo>
                    <a:pt x="315" y="222"/>
                  </a:lnTo>
                  <a:lnTo>
                    <a:pt x="317" y="222"/>
                  </a:lnTo>
                  <a:lnTo>
                    <a:pt x="319" y="224"/>
                  </a:lnTo>
                  <a:lnTo>
                    <a:pt x="321" y="224"/>
                  </a:lnTo>
                  <a:lnTo>
                    <a:pt x="319" y="222"/>
                  </a:lnTo>
                  <a:lnTo>
                    <a:pt x="317" y="222"/>
                  </a:lnTo>
                  <a:lnTo>
                    <a:pt x="315" y="221"/>
                  </a:lnTo>
                  <a:lnTo>
                    <a:pt x="315" y="219"/>
                  </a:lnTo>
                  <a:lnTo>
                    <a:pt x="313" y="219"/>
                  </a:lnTo>
                  <a:lnTo>
                    <a:pt x="311" y="219"/>
                  </a:lnTo>
                  <a:lnTo>
                    <a:pt x="309" y="219"/>
                  </a:lnTo>
                  <a:lnTo>
                    <a:pt x="309" y="217"/>
                  </a:lnTo>
                  <a:lnTo>
                    <a:pt x="307" y="217"/>
                  </a:lnTo>
                  <a:lnTo>
                    <a:pt x="307" y="219"/>
                  </a:lnTo>
                  <a:lnTo>
                    <a:pt x="305" y="221"/>
                  </a:lnTo>
                  <a:lnTo>
                    <a:pt x="303" y="222"/>
                  </a:lnTo>
                  <a:lnTo>
                    <a:pt x="303" y="224"/>
                  </a:lnTo>
                  <a:lnTo>
                    <a:pt x="302" y="224"/>
                  </a:lnTo>
                  <a:lnTo>
                    <a:pt x="300" y="226"/>
                  </a:lnTo>
                  <a:lnTo>
                    <a:pt x="298" y="228"/>
                  </a:lnTo>
                  <a:lnTo>
                    <a:pt x="296" y="228"/>
                  </a:lnTo>
                  <a:lnTo>
                    <a:pt x="294" y="228"/>
                  </a:lnTo>
                  <a:lnTo>
                    <a:pt x="292" y="228"/>
                  </a:lnTo>
                  <a:lnTo>
                    <a:pt x="292" y="226"/>
                  </a:lnTo>
                  <a:lnTo>
                    <a:pt x="296" y="224"/>
                  </a:lnTo>
                  <a:lnTo>
                    <a:pt x="294" y="224"/>
                  </a:lnTo>
                  <a:lnTo>
                    <a:pt x="296" y="222"/>
                  </a:lnTo>
                  <a:lnTo>
                    <a:pt x="298" y="222"/>
                  </a:lnTo>
                  <a:lnTo>
                    <a:pt x="300" y="222"/>
                  </a:lnTo>
                  <a:lnTo>
                    <a:pt x="302" y="222"/>
                  </a:lnTo>
                  <a:lnTo>
                    <a:pt x="300" y="222"/>
                  </a:lnTo>
                  <a:lnTo>
                    <a:pt x="298" y="221"/>
                  </a:lnTo>
                  <a:lnTo>
                    <a:pt x="296" y="221"/>
                  </a:lnTo>
                  <a:lnTo>
                    <a:pt x="294" y="221"/>
                  </a:lnTo>
                  <a:lnTo>
                    <a:pt x="292" y="221"/>
                  </a:lnTo>
                  <a:lnTo>
                    <a:pt x="294" y="217"/>
                  </a:lnTo>
                  <a:lnTo>
                    <a:pt x="294" y="219"/>
                  </a:lnTo>
                  <a:lnTo>
                    <a:pt x="296" y="217"/>
                  </a:lnTo>
                  <a:lnTo>
                    <a:pt x="298" y="217"/>
                  </a:lnTo>
                  <a:lnTo>
                    <a:pt x="300" y="217"/>
                  </a:lnTo>
                  <a:lnTo>
                    <a:pt x="300" y="215"/>
                  </a:lnTo>
                  <a:lnTo>
                    <a:pt x="298" y="215"/>
                  </a:lnTo>
                  <a:lnTo>
                    <a:pt x="296" y="217"/>
                  </a:lnTo>
                  <a:lnTo>
                    <a:pt x="294" y="217"/>
                  </a:lnTo>
                  <a:lnTo>
                    <a:pt x="294" y="215"/>
                  </a:lnTo>
                  <a:lnTo>
                    <a:pt x="296" y="215"/>
                  </a:lnTo>
                  <a:lnTo>
                    <a:pt x="298" y="215"/>
                  </a:lnTo>
                  <a:lnTo>
                    <a:pt x="300" y="215"/>
                  </a:lnTo>
                  <a:lnTo>
                    <a:pt x="302" y="213"/>
                  </a:lnTo>
                  <a:lnTo>
                    <a:pt x="305" y="215"/>
                  </a:lnTo>
                  <a:lnTo>
                    <a:pt x="305" y="213"/>
                  </a:lnTo>
                  <a:lnTo>
                    <a:pt x="307" y="213"/>
                  </a:lnTo>
                  <a:lnTo>
                    <a:pt x="309" y="211"/>
                  </a:lnTo>
                  <a:lnTo>
                    <a:pt x="311" y="211"/>
                  </a:lnTo>
                  <a:lnTo>
                    <a:pt x="313" y="213"/>
                  </a:lnTo>
                  <a:lnTo>
                    <a:pt x="313" y="211"/>
                  </a:lnTo>
                  <a:lnTo>
                    <a:pt x="315" y="211"/>
                  </a:lnTo>
                  <a:lnTo>
                    <a:pt x="315" y="209"/>
                  </a:lnTo>
                  <a:lnTo>
                    <a:pt x="317" y="209"/>
                  </a:lnTo>
                  <a:lnTo>
                    <a:pt x="319" y="211"/>
                  </a:lnTo>
                  <a:lnTo>
                    <a:pt x="319" y="213"/>
                  </a:lnTo>
                  <a:lnTo>
                    <a:pt x="319" y="215"/>
                  </a:lnTo>
                  <a:lnTo>
                    <a:pt x="321" y="215"/>
                  </a:lnTo>
                  <a:lnTo>
                    <a:pt x="321" y="217"/>
                  </a:lnTo>
                  <a:lnTo>
                    <a:pt x="323" y="217"/>
                  </a:lnTo>
                  <a:lnTo>
                    <a:pt x="325" y="217"/>
                  </a:lnTo>
                  <a:lnTo>
                    <a:pt x="325" y="215"/>
                  </a:lnTo>
                  <a:lnTo>
                    <a:pt x="321" y="215"/>
                  </a:lnTo>
                  <a:lnTo>
                    <a:pt x="321" y="213"/>
                  </a:lnTo>
                  <a:lnTo>
                    <a:pt x="321" y="211"/>
                  </a:lnTo>
                  <a:lnTo>
                    <a:pt x="321" y="209"/>
                  </a:lnTo>
                  <a:lnTo>
                    <a:pt x="323" y="207"/>
                  </a:lnTo>
                  <a:lnTo>
                    <a:pt x="323" y="205"/>
                  </a:lnTo>
                  <a:lnTo>
                    <a:pt x="321" y="205"/>
                  </a:lnTo>
                  <a:lnTo>
                    <a:pt x="319" y="205"/>
                  </a:lnTo>
                  <a:lnTo>
                    <a:pt x="317" y="203"/>
                  </a:lnTo>
                  <a:lnTo>
                    <a:pt x="315" y="205"/>
                  </a:lnTo>
                  <a:lnTo>
                    <a:pt x="313" y="205"/>
                  </a:lnTo>
                  <a:lnTo>
                    <a:pt x="313" y="203"/>
                  </a:lnTo>
                  <a:lnTo>
                    <a:pt x="311" y="203"/>
                  </a:lnTo>
                  <a:lnTo>
                    <a:pt x="311" y="205"/>
                  </a:lnTo>
                  <a:lnTo>
                    <a:pt x="309" y="207"/>
                  </a:lnTo>
                  <a:lnTo>
                    <a:pt x="307" y="207"/>
                  </a:lnTo>
                  <a:lnTo>
                    <a:pt x="305" y="207"/>
                  </a:lnTo>
                  <a:lnTo>
                    <a:pt x="305" y="205"/>
                  </a:lnTo>
                  <a:lnTo>
                    <a:pt x="307" y="203"/>
                  </a:lnTo>
                  <a:lnTo>
                    <a:pt x="307" y="201"/>
                  </a:lnTo>
                  <a:lnTo>
                    <a:pt x="309" y="199"/>
                  </a:lnTo>
                  <a:lnTo>
                    <a:pt x="311" y="199"/>
                  </a:lnTo>
                  <a:lnTo>
                    <a:pt x="309" y="199"/>
                  </a:lnTo>
                  <a:lnTo>
                    <a:pt x="311" y="201"/>
                  </a:lnTo>
                  <a:lnTo>
                    <a:pt x="311" y="199"/>
                  </a:lnTo>
                  <a:lnTo>
                    <a:pt x="313" y="199"/>
                  </a:lnTo>
                  <a:lnTo>
                    <a:pt x="313" y="197"/>
                  </a:lnTo>
                  <a:lnTo>
                    <a:pt x="315" y="197"/>
                  </a:lnTo>
                  <a:lnTo>
                    <a:pt x="315" y="199"/>
                  </a:lnTo>
                  <a:lnTo>
                    <a:pt x="317" y="201"/>
                  </a:lnTo>
                  <a:lnTo>
                    <a:pt x="319" y="199"/>
                  </a:lnTo>
                  <a:lnTo>
                    <a:pt x="321" y="197"/>
                  </a:lnTo>
                  <a:lnTo>
                    <a:pt x="319" y="197"/>
                  </a:lnTo>
                  <a:lnTo>
                    <a:pt x="321" y="196"/>
                  </a:lnTo>
                  <a:lnTo>
                    <a:pt x="323" y="196"/>
                  </a:lnTo>
                  <a:lnTo>
                    <a:pt x="321" y="194"/>
                  </a:lnTo>
                  <a:lnTo>
                    <a:pt x="323" y="192"/>
                  </a:lnTo>
                  <a:lnTo>
                    <a:pt x="325" y="192"/>
                  </a:lnTo>
                  <a:lnTo>
                    <a:pt x="325" y="194"/>
                  </a:lnTo>
                  <a:lnTo>
                    <a:pt x="325" y="196"/>
                  </a:lnTo>
                  <a:lnTo>
                    <a:pt x="326" y="197"/>
                  </a:lnTo>
                  <a:lnTo>
                    <a:pt x="326" y="199"/>
                  </a:lnTo>
                  <a:lnTo>
                    <a:pt x="325" y="199"/>
                  </a:lnTo>
                  <a:lnTo>
                    <a:pt x="326" y="201"/>
                  </a:lnTo>
                  <a:lnTo>
                    <a:pt x="325" y="203"/>
                  </a:lnTo>
                  <a:lnTo>
                    <a:pt x="325" y="205"/>
                  </a:lnTo>
                  <a:lnTo>
                    <a:pt x="328" y="207"/>
                  </a:lnTo>
                  <a:lnTo>
                    <a:pt x="328" y="209"/>
                  </a:lnTo>
                  <a:lnTo>
                    <a:pt x="328" y="211"/>
                  </a:lnTo>
                  <a:lnTo>
                    <a:pt x="328" y="213"/>
                  </a:lnTo>
                  <a:lnTo>
                    <a:pt x="330" y="215"/>
                  </a:lnTo>
                  <a:lnTo>
                    <a:pt x="332" y="215"/>
                  </a:lnTo>
                  <a:lnTo>
                    <a:pt x="334" y="217"/>
                  </a:lnTo>
                  <a:lnTo>
                    <a:pt x="338" y="219"/>
                  </a:lnTo>
                  <a:lnTo>
                    <a:pt x="338" y="217"/>
                  </a:lnTo>
                  <a:lnTo>
                    <a:pt x="336" y="215"/>
                  </a:lnTo>
                  <a:lnTo>
                    <a:pt x="334" y="215"/>
                  </a:lnTo>
                  <a:lnTo>
                    <a:pt x="332" y="213"/>
                  </a:lnTo>
                  <a:lnTo>
                    <a:pt x="330" y="213"/>
                  </a:lnTo>
                  <a:lnTo>
                    <a:pt x="330" y="209"/>
                  </a:lnTo>
                  <a:lnTo>
                    <a:pt x="332" y="207"/>
                  </a:lnTo>
                  <a:lnTo>
                    <a:pt x="330" y="207"/>
                  </a:lnTo>
                  <a:lnTo>
                    <a:pt x="328" y="207"/>
                  </a:lnTo>
                  <a:lnTo>
                    <a:pt x="330" y="205"/>
                  </a:lnTo>
                  <a:lnTo>
                    <a:pt x="332" y="207"/>
                  </a:lnTo>
                  <a:lnTo>
                    <a:pt x="334" y="209"/>
                  </a:lnTo>
                  <a:lnTo>
                    <a:pt x="334" y="211"/>
                  </a:lnTo>
                  <a:lnTo>
                    <a:pt x="336" y="209"/>
                  </a:lnTo>
                  <a:lnTo>
                    <a:pt x="334" y="209"/>
                  </a:lnTo>
                  <a:lnTo>
                    <a:pt x="332" y="207"/>
                  </a:lnTo>
                  <a:lnTo>
                    <a:pt x="332" y="205"/>
                  </a:lnTo>
                  <a:lnTo>
                    <a:pt x="334" y="205"/>
                  </a:lnTo>
                  <a:lnTo>
                    <a:pt x="334" y="207"/>
                  </a:lnTo>
                  <a:lnTo>
                    <a:pt x="336" y="207"/>
                  </a:lnTo>
                  <a:lnTo>
                    <a:pt x="336" y="209"/>
                  </a:lnTo>
                  <a:lnTo>
                    <a:pt x="338" y="207"/>
                  </a:lnTo>
                  <a:lnTo>
                    <a:pt x="336" y="207"/>
                  </a:lnTo>
                  <a:lnTo>
                    <a:pt x="336" y="205"/>
                  </a:lnTo>
                  <a:lnTo>
                    <a:pt x="338" y="205"/>
                  </a:lnTo>
                  <a:lnTo>
                    <a:pt x="336" y="205"/>
                  </a:lnTo>
                  <a:lnTo>
                    <a:pt x="334" y="205"/>
                  </a:lnTo>
                  <a:lnTo>
                    <a:pt x="332" y="205"/>
                  </a:lnTo>
                  <a:lnTo>
                    <a:pt x="334" y="203"/>
                  </a:lnTo>
                  <a:lnTo>
                    <a:pt x="334" y="201"/>
                  </a:lnTo>
                  <a:lnTo>
                    <a:pt x="336" y="199"/>
                  </a:lnTo>
                  <a:lnTo>
                    <a:pt x="338" y="203"/>
                  </a:lnTo>
                  <a:lnTo>
                    <a:pt x="340" y="201"/>
                  </a:lnTo>
                  <a:lnTo>
                    <a:pt x="342" y="201"/>
                  </a:lnTo>
                  <a:lnTo>
                    <a:pt x="338" y="201"/>
                  </a:lnTo>
                  <a:lnTo>
                    <a:pt x="338" y="199"/>
                  </a:lnTo>
                  <a:lnTo>
                    <a:pt x="336" y="199"/>
                  </a:lnTo>
                  <a:lnTo>
                    <a:pt x="334" y="201"/>
                  </a:lnTo>
                  <a:lnTo>
                    <a:pt x="332" y="201"/>
                  </a:lnTo>
                  <a:lnTo>
                    <a:pt x="330" y="199"/>
                  </a:lnTo>
                  <a:lnTo>
                    <a:pt x="330" y="197"/>
                  </a:lnTo>
                  <a:lnTo>
                    <a:pt x="332" y="197"/>
                  </a:lnTo>
                  <a:lnTo>
                    <a:pt x="334" y="197"/>
                  </a:lnTo>
                  <a:lnTo>
                    <a:pt x="336" y="196"/>
                  </a:lnTo>
                  <a:lnTo>
                    <a:pt x="338" y="196"/>
                  </a:lnTo>
                  <a:lnTo>
                    <a:pt x="336" y="196"/>
                  </a:lnTo>
                  <a:lnTo>
                    <a:pt x="334" y="194"/>
                  </a:lnTo>
                  <a:lnTo>
                    <a:pt x="336" y="194"/>
                  </a:lnTo>
                  <a:lnTo>
                    <a:pt x="334" y="194"/>
                  </a:lnTo>
                  <a:lnTo>
                    <a:pt x="330" y="196"/>
                  </a:lnTo>
                  <a:lnTo>
                    <a:pt x="328" y="196"/>
                  </a:lnTo>
                  <a:lnTo>
                    <a:pt x="328" y="194"/>
                  </a:lnTo>
                  <a:lnTo>
                    <a:pt x="330" y="194"/>
                  </a:lnTo>
                  <a:lnTo>
                    <a:pt x="330" y="192"/>
                  </a:lnTo>
                  <a:lnTo>
                    <a:pt x="328" y="192"/>
                  </a:lnTo>
                  <a:lnTo>
                    <a:pt x="326" y="192"/>
                  </a:lnTo>
                  <a:lnTo>
                    <a:pt x="326" y="190"/>
                  </a:lnTo>
                  <a:lnTo>
                    <a:pt x="328" y="190"/>
                  </a:lnTo>
                  <a:lnTo>
                    <a:pt x="330" y="188"/>
                  </a:lnTo>
                  <a:lnTo>
                    <a:pt x="330" y="190"/>
                  </a:lnTo>
                  <a:lnTo>
                    <a:pt x="332" y="190"/>
                  </a:lnTo>
                  <a:lnTo>
                    <a:pt x="334" y="190"/>
                  </a:lnTo>
                  <a:lnTo>
                    <a:pt x="336" y="192"/>
                  </a:lnTo>
                  <a:lnTo>
                    <a:pt x="338" y="192"/>
                  </a:lnTo>
                  <a:lnTo>
                    <a:pt x="338" y="194"/>
                  </a:lnTo>
                  <a:lnTo>
                    <a:pt x="340" y="196"/>
                  </a:lnTo>
                  <a:lnTo>
                    <a:pt x="342" y="197"/>
                  </a:lnTo>
                  <a:lnTo>
                    <a:pt x="344" y="197"/>
                  </a:lnTo>
                  <a:lnTo>
                    <a:pt x="344" y="196"/>
                  </a:lnTo>
                  <a:lnTo>
                    <a:pt x="342" y="196"/>
                  </a:lnTo>
                  <a:lnTo>
                    <a:pt x="340" y="194"/>
                  </a:lnTo>
                  <a:lnTo>
                    <a:pt x="338" y="192"/>
                  </a:lnTo>
                  <a:lnTo>
                    <a:pt x="338" y="190"/>
                  </a:lnTo>
                  <a:lnTo>
                    <a:pt x="336" y="190"/>
                  </a:lnTo>
                  <a:lnTo>
                    <a:pt x="334" y="188"/>
                  </a:lnTo>
                  <a:lnTo>
                    <a:pt x="332" y="188"/>
                  </a:lnTo>
                  <a:lnTo>
                    <a:pt x="330" y="188"/>
                  </a:lnTo>
                  <a:lnTo>
                    <a:pt x="330" y="186"/>
                  </a:lnTo>
                  <a:lnTo>
                    <a:pt x="330" y="188"/>
                  </a:lnTo>
                  <a:lnTo>
                    <a:pt x="330" y="186"/>
                  </a:lnTo>
                  <a:lnTo>
                    <a:pt x="332" y="186"/>
                  </a:lnTo>
                  <a:lnTo>
                    <a:pt x="334" y="184"/>
                  </a:lnTo>
                  <a:lnTo>
                    <a:pt x="336" y="184"/>
                  </a:lnTo>
                  <a:lnTo>
                    <a:pt x="340" y="182"/>
                  </a:lnTo>
                  <a:lnTo>
                    <a:pt x="342" y="182"/>
                  </a:lnTo>
                  <a:lnTo>
                    <a:pt x="342" y="184"/>
                  </a:lnTo>
                  <a:lnTo>
                    <a:pt x="346" y="184"/>
                  </a:lnTo>
                  <a:lnTo>
                    <a:pt x="346" y="186"/>
                  </a:lnTo>
                  <a:lnTo>
                    <a:pt x="344" y="188"/>
                  </a:lnTo>
                  <a:lnTo>
                    <a:pt x="346" y="186"/>
                  </a:lnTo>
                  <a:lnTo>
                    <a:pt x="348" y="186"/>
                  </a:lnTo>
                  <a:lnTo>
                    <a:pt x="350" y="184"/>
                  </a:lnTo>
                  <a:lnTo>
                    <a:pt x="351" y="182"/>
                  </a:lnTo>
                  <a:lnTo>
                    <a:pt x="353" y="184"/>
                  </a:lnTo>
                  <a:lnTo>
                    <a:pt x="355" y="184"/>
                  </a:lnTo>
                  <a:lnTo>
                    <a:pt x="355" y="182"/>
                  </a:lnTo>
                  <a:lnTo>
                    <a:pt x="355" y="180"/>
                  </a:lnTo>
                  <a:lnTo>
                    <a:pt x="357" y="182"/>
                  </a:lnTo>
                  <a:lnTo>
                    <a:pt x="359" y="182"/>
                  </a:lnTo>
                  <a:lnTo>
                    <a:pt x="359" y="180"/>
                  </a:lnTo>
                  <a:lnTo>
                    <a:pt x="359" y="178"/>
                  </a:lnTo>
                  <a:lnTo>
                    <a:pt x="363" y="180"/>
                  </a:lnTo>
                  <a:lnTo>
                    <a:pt x="365" y="180"/>
                  </a:lnTo>
                  <a:lnTo>
                    <a:pt x="365" y="178"/>
                  </a:lnTo>
                  <a:lnTo>
                    <a:pt x="363" y="178"/>
                  </a:lnTo>
                  <a:lnTo>
                    <a:pt x="359" y="178"/>
                  </a:lnTo>
                  <a:lnTo>
                    <a:pt x="361" y="176"/>
                  </a:lnTo>
                  <a:lnTo>
                    <a:pt x="361" y="174"/>
                  </a:lnTo>
                  <a:lnTo>
                    <a:pt x="359" y="174"/>
                  </a:lnTo>
                  <a:lnTo>
                    <a:pt x="357" y="176"/>
                  </a:lnTo>
                  <a:lnTo>
                    <a:pt x="355" y="176"/>
                  </a:lnTo>
                  <a:lnTo>
                    <a:pt x="353" y="178"/>
                  </a:lnTo>
                  <a:lnTo>
                    <a:pt x="350" y="180"/>
                  </a:lnTo>
                  <a:lnTo>
                    <a:pt x="348" y="180"/>
                  </a:lnTo>
                  <a:lnTo>
                    <a:pt x="348" y="178"/>
                  </a:lnTo>
                  <a:lnTo>
                    <a:pt x="350" y="178"/>
                  </a:lnTo>
                  <a:lnTo>
                    <a:pt x="348" y="176"/>
                  </a:lnTo>
                  <a:lnTo>
                    <a:pt x="346" y="178"/>
                  </a:lnTo>
                  <a:lnTo>
                    <a:pt x="344" y="180"/>
                  </a:lnTo>
                  <a:lnTo>
                    <a:pt x="342" y="180"/>
                  </a:lnTo>
                  <a:lnTo>
                    <a:pt x="338" y="180"/>
                  </a:lnTo>
                  <a:lnTo>
                    <a:pt x="336" y="182"/>
                  </a:lnTo>
                  <a:lnTo>
                    <a:pt x="336" y="180"/>
                  </a:lnTo>
                  <a:lnTo>
                    <a:pt x="336" y="178"/>
                  </a:lnTo>
                  <a:lnTo>
                    <a:pt x="334" y="178"/>
                  </a:lnTo>
                  <a:lnTo>
                    <a:pt x="334" y="176"/>
                  </a:lnTo>
                  <a:lnTo>
                    <a:pt x="330" y="174"/>
                  </a:lnTo>
                  <a:lnTo>
                    <a:pt x="328" y="174"/>
                  </a:lnTo>
                  <a:lnTo>
                    <a:pt x="326" y="174"/>
                  </a:lnTo>
                  <a:lnTo>
                    <a:pt x="326" y="176"/>
                  </a:lnTo>
                  <a:lnTo>
                    <a:pt x="325" y="174"/>
                  </a:lnTo>
                  <a:lnTo>
                    <a:pt x="325" y="176"/>
                  </a:lnTo>
                  <a:lnTo>
                    <a:pt x="325" y="178"/>
                  </a:lnTo>
                  <a:lnTo>
                    <a:pt x="323" y="178"/>
                  </a:lnTo>
                  <a:lnTo>
                    <a:pt x="323" y="180"/>
                  </a:lnTo>
                  <a:lnTo>
                    <a:pt x="323" y="182"/>
                  </a:lnTo>
                  <a:lnTo>
                    <a:pt x="323" y="184"/>
                  </a:lnTo>
                  <a:lnTo>
                    <a:pt x="321" y="184"/>
                  </a:lnTo>
                  <a:lnTo>
                    <a:pt x="321" y="186"/>
                  </a:lnTo>
                  <a:lnTo>
                    <a:pt x="319" y="186"/>
                  </a:lnTo>
                  <a:lnTo>
                    <a:pt x="319" y="184"/>
                  </a:lnTo>
                  <a:lnTo>
                    <a:pt x="319" y="182"/>
                  </a:lnTo>
                  <a:lnTo>
                    <a:pt x="319" y="180"/>
                  </a:lnTo>
                  <a:lnTo>
                    <a:pt x="319" y="182"/>
                  </a:lnTo>
                  <a:lnTo>
                    <a:pt x="317" y="182"/>
                  </a:lnTo>
                  <a:lnTo>
                    <a:pt x="317" y="184"/>
                  </a:lnTo>
                  <a:lnTo>
                    <a:pt x="317" y="186"/>
                  </a:lnTo>
                  <a:lnTo>
                    <a:pt x="315" y="186"/>
                  </a:lnTo>
                  <a:lnTo>
                    <a:pt x="315" y="188"/>
                  </a:lnTo>
                  <a:lnTo>
                    <a:pt x="313" y="190"/>
                  </a:lnTo>
                  <a:lnTo>
                    <a:pt x="311" y="190"/>
                  </a:lnTo>
                  <a:lnTo>
                    <a:pt x="311" y="188"/>
                  </a:lnTo>
                  <a:lnTo>
                    <a:pt x="311" y="190"/>
                  </a:lnTo>
                  <a:lnTo>
                    <a:pt x="309" y="188"/>
                  </a:lnTo>
                  <a:lnTo>
                    <a:pt x="307" y="188"/>
                  </a:lnTo>
                  <a:lnTo>
                    <a:pt x="305" y="188"/>
                  </a:lnTo>
                  <a:lnTo>
                    <a:pt x="307" y="186"/>
                  </a:lnTo>
                  <a:lnTo>
                    <a:pt x="307" y="184"/>
                  </a:lnTo>
                  <a:lnTo>
                    <a:pt x="309" y="182"/>
                  </a:lnTo>
                  <a:lnTo>
                    <a:pt x="311" y="180"/>
                  </a:lnTo>
                  <a:lnTo>
                    <a:pt x="313" y="178"/>
                  </a:lnTo>
                  <a:lnTo>
                    <a:pt x="311" y="178"/>
                  </a:lnTo>
                  <a:lnTo>
                    <a:pt x="311" y="180"/>
                  </a:lnTo>
                  <a:lnTo>
                    <a:pt x="309" y="182"/>
                  </a:lnTo>
                  <a:lnTo>
                    <a:pt x="307" y="184"/>
                  </a:lnTo>
                  <a:lnTo>
                    <a:pt x="305" y="184"/>
                  </a:lnTo>
                  <a:lnTo>
                    <a:pt x="305" y="186"/>
                  </a:lnTo>
                  <a:lnTo>
                    <a:pt x="303" y="186"/>
                  </a:lnTo>
                  <a:lnTo>
                    <a:pt x="303" y="188"/>
                  </a:lnTo>
                  <a:lnTo>
                    <a:pt x="302" y="190"/>
                  </a:lnTo>
                  <a:lnTo>
                    <a:pt x="300" y="190"/>
                  </a:lnTo>
                  <a:lnTo>
                    <a:pt x="300" y="192"/>
                  </a:lnTo>
                  <a:lnTo>
                    <a:pt x="298" y="190"/>
                  </a:lnTo>
                  <a:lnTo>
                    <a:pt x="300" y="188"/>
                  </a:lnTo>
                  <a:lnTo>
                    <a:pt x="300" y="186"/>
                  </a:lnTo>
                  <a:lnTo>
                    <a:pt x="302" y="184"/>
                  </a:lnTo>
                  <a:lnTo>
                    <a:pt x="302" y="182"/>
                  </a:lnTo>
                  <a:lnTo>
                    <a:pt x="303" y="182"/>
                  </a:lnTo>
                  <a:lnTo>
                    <a:pt x="305" y="182"/>
                  </a:lnTo>
                  <a:lnTo>
                    <a:pt x="307" y="182"/>
                  </a:lnTo>
                  <a:lnTo>
                    <a:pt x="307" y="180"/>
                  </a:lnTo>
                  <a:lnTo>
                    <a:pt x="305" y="180"/>
                  </a:lnTo>
                  <a:lnTo>
                    <a:pt x="303" y="180"/>
                  </a:lnTo>
                  <a:lnTo>
                    <a:pt x="303" y="178"/>
                  </a:lnTo>
                  <a:lnTo>
                    <a:pt x="303" y="180"/>
                  </a:lnTo>
                  <a:lnTo>
                    <a:pt x="305" y="180"/>
                  </a:lnTo>
                  <a:lnTo>
                    <a:pt x="305" y="178"/>
                  </a:lnTo>
                  <a:lnTo>
                    <a:pt x="303" y="178"/>
                  </a:lnTo>
                  <a:lnTo>
                    <a:pt x="302" y="178"/>
                  </a:lnTo>
                  <a:lnTo>
                    <a:pt x="302" y="176"/>
                  </a:lnTo>
                  <a:lnTo>
                    <a:pt x="303" y="174"/>
                  </a:lnTo>
                  <a:lnTo>
                    <a:pt x="303" y="176"/>
                  </a:lnTo>
                  <a:lnTo>
                    <a:pt x="305" y="174"/>
                  </a:lnTo>
                  <a:lnTo>
                    <a:pt x="307" y="173"/>
                  </a:lnTo>
                  <a:lnTo>
                    <a:pt x="309" y="173"/>
                  </a:lnTo>
                  <a:lnTo>
                    <a:pt x="309" y="171"/>
                  </a:lnTo>
                  <a:lnTo>
                    <a:pt x="307" y="171"/>
                  </a:lnTo>
                  <a:lnTo>
                    <a:pt x="307" y="169"/>
                  </a:lnTo>
                  <a:lnTo>
                    <a:pt x="305" y="171"/>
                  </a:lnTo>
                  <a:lnTo>
                    <a:pt x="303" y="171"/>
                  </a:lnTo>
                  <a:lnTo>
                    <a:pt x="303" y="173"/>
                  </a:lnTo>
                  <a:lnTo>
                    <a:pt x="302" y="173"/>
                  </a:lnTo>
                  <a:lnTo>
                    <a:pt x="300" y="174"/>
                  </a:lnTo>
                  <a:lnTo>
                    <a:pt x="298" y="174"/>
                  </a:lnTo>
                  <a:lnTo>
                    <a:pt x="296" y="174"/>
                  </a:lnTo>
                  <a:lnTo>
                    <a:pt x="296" y="176"/>
                  </a:lnTo>
                  <a:lnTo>
                    <a:pt x="296" y="178"/>
                  </a:lnTo>
                  <a:lnTo>
                    <a:pt x="294" y="178"/>
                  </a:lnTo>
                  <a:lnTo>
                    <a:pt x="292" y="180"/>
                  </a:lnTo>
                  <a:lnTo>
                    <a:pt x="290" y="178"/>
                  </a:lnTo>
                  <a:lnTo>
                    <a:pt x="288" y="178"/>
                  </a:lnTo>
                  <a:lnTo>
                    <a:pt x="288" y="176"/>
                  </a:lnTo>
                  <a:lnTo>
                    <a:pt x="288" y="174"/>
                  </a:lnTo>
                  <a:lnTo>
                    <a:pt x="290" y="174"/>
                  </a:lnTo>
                  <a:lnTo>
                    <a:pt x="292" y="176"/>
                  </a:lnTo>
                  <a:lnTo>
                    <a:pt x="294" y="174"/>
                  </a:lnTo>
                  <a:lnTo>
                    <a:pt x="294" y="173"/>
                  </a:lnTo>
                  <a:lnTo>
                    <a:pt x="292" y="173"/>
                  </a:lnTo>
                  <a:lnTo>
                    <a:pt x="292" y="171"/>
                  </a:lnTo>
                  <a:lnTo>
                    <a:pt x="294" y="171"/>
                  </a:lnTo>
                  <a:lnTo>
                    <a:pt x="296" y="171"/>
                  </a:lnTo>
                  <a:lnTo>
                    <a:pt x="298" y="169"/>
                  </a:lnTo>
                  <a:lnTo>
                    <a:pt x="300" y="169"/>
                  </a:lnTo>
                  <a:lnTo>
                    <a:pt x="302" y="167"/>
                  </a:lnTo>
                  <a:lnTo>
                    <a:pt x="300" y="165"/>
                  </a:lnTo>
                  <a:lnTo>
                    <a:pt x="298" y="165"/>
                  </a:lnTo>
                  <a:lnTo>
                    <a:pt x="298" y="167"/>
                  </a:lnTo>
                  <a:lnTo>
                    <a:pt x="296" y="169"/>
                  </a:lnTo>
                  <a:lnTo>
                    <a:pt x="296" y="167"/>
                  </a:lnTo>
                  <a:lnTo>
                    <a:pt x="294" y="169"/>
                  </a:lnTo>
                  <a:lnTo>
                    <a:pt x="292" y="171"/>
                  </a:lnTo>
                  <a:lnTo>
                    <a:pt x="292" y="167"/>
                  </a:lnTo>
                  <a:lnTo>
                    <a:pt x="292" y="171"/>
                  </a:lnTo>
                  <a:lnTo>
                    <a:pt x="290" y="171"/>
                  </a:lnTo>
                  <a:lnTo>
                    <a:pt x="288" y="169"/>
                  </a:lnTo>
                  <a:lnTo>
                    <a:pt x="288" y="171"/>
                  </a:lnTo>
                  <a:lnTo>
                    <a:pt x="288" y="173"/>
                  </a:lnTo>
                  <a:lnTo>
                    <a:pt x="286" y="173"/>
                  </a:lnTo>
                  <a:lnTo>
                    <a:pt x="284" y="174"/>
                  </a:lnTo>
                  <a:lnTo>
                    <a:pt x="282" y="174"/>
                  </a:lnTo>
                  <a:lnTo>
                    <a:pt x="282" y="173"/>
                  </a:lnTo>
                  <a:lnTo>
                    <a:pt x="282" y="171"/>
                  </a:lnTo>
                  <a:lnTo>
                    <a:pt x="282" y="169"/>
                  </a:lnTo>
                  <a:lnTo>
                    <a:pt x="284" y="169"/>
                  </a:lnTo>
                  <a:lnTo>
                    <a:pt x="282" y="169"/>
                  </a:lnTo>
                  <a:lnTo>
                    <a:pt x="282" y="167"/>
                  </a:lnTo>
                  <a:lnTo>
                    <a:pt x="284" y="167"/>
                  </a:lnTo>
                  <a:lnTo>
                    <a:pt x="286" y="167"/>
                  </a:lnTo>
                  <a:lnTo>
                    <a:pt x="284" y="167"/>
                  </a:lnTo>
                  <a:lnTo>
                    <a:pt x="282" y="165"/>
                  </a:lnTo>
                  <a:lnTo>
                    <a:pt x="284" y="165"/>
                  </a:lnTo>
                  <a:lnTo>
                    <a:pt x="284" y="163"/>
                  </a:lnTo>
                  <a:lnTo>
                    <a:pt x="286" y="163"/>
                  </a:lnTo>
                  <a:lnTo>
                    <a:pt x="286" y="165"/>
                  </a:lnTo>
                  <a:lnTo>
                    <a:pt x="286" y="167"/>
                  </a:lnTo>
                  <a:lnTo>
                    <a:pt x="288" y="165"/>
                  </a:lnTo>
                  <a:lnTo>
                    <a:pt x="288" y="163"/>
                  </a:lnTo>
                  <a:lnTo>
                    <a:pt x="288" y="161"/>
                  </a:lnTo>
                  <a:lnTo>
                    <a:pt x="290" y="163"/>
                  </a:lnTo>
                  <a:lnTo>
                    <a:pt x="288" y="163"/>
                  </a:lnTo>
                  <a:lnTo>
                    <a:pt x="288" y="165"/>
                  </a:lnTo>
                  <a:lnTo>
                    <a:pt x="290" y="165"/>
                  </a:lnTo>
                  <a:lnTo>
                    <a:pt x="292" y="163"/>
                  </a:lnTo>
                  <a:lnTo>
                    <a:pt x="294" y="163"/>
                  </a:lnTo>
                  <a:lnTo>
                    <a:pt x="294" y="165"/>
                  </a:lnTo>
                  <a:lnTo>
                    <a:pt x="296" y="163"/>
                  </a:lnTo>
                  <a:lnTo>
                    <a:pt x="294" y="163"/>
                  </a:lnTo>
                  <a:lnTo>
                    <a:pt x="296" y="161"/>
                  </a:lnTo>
                  <a:lnTo>
                    <a:pt x="294" y="161"/>
                  </a:lnTo>
                  <a:lnTo>
                    <a:pt x="294" y="159"/>
                  </a:lnTo>
                  <a:lnTo>
                    <a:pt x="296" y="159"/>
                  </a:lnTo>
                  <a:lnTo>
                    <a:pt x="298" y="161"/>
                  </a:lnTo>
                  <a:lnTo>
                    <a:pt x="298" y="163"/>
                  </a:lnTo>
                  <a:lnTo>
                    <a:pt x="298" y="161"/>
                  </a:lnTo>
                  <a:lnTo>
                    <a:pt x="298" y="159"/>
                  </a:lnTo>
                  <a:lnTo>
                    <a:pt x="300" y="159"/>
                  </a:lnTo>
                  <a:lnTo>
                    <a:pt x="300" y="161"/>
                  </a:lnTo>
                  <a:lnTo>
                    <a:pt x="300" y="163"/>
                  </a:lnTo>
                  <a:lnTo>
                    <a:pt x="300" y="161"/>
                  </a:lnTo>
                  <a:lnTo>
                    <a:pt x="300" y="159"/>
                  </a:lnTo>
                  <a:lnTo>
                    <a:pt x="298" y="157"/>
                  </a:lnTo>
                  <a:lnTo>
                    <a:pt x="298" y="155"/>
                  </a:lnTo>
                  <a:lnTo>
                    <a:pt x="298" y="153"/>
                  </a:lnTo>
                  <a:lnTo>
                    <a:pt x="298" y="151"/>
                  </a:lnTo>
                  <a:lnTo>
                    <a:pt x="300" y="151"/>
                  </a:lnTo>
                  <a:lnTo>
                    <a:pt x="300" y="153"/>
                  </a:lnTo>
                  <a:lnTo>
                    <a:pt x="302" y="155"/>
                  </a:lnTo>
                  <a:lnTo>
                    <a:pt x="303" y="155"/>
                  </a:lnTo>
                  <a:lnTo>
                    <a:pt x="303" y="157"/>
                  </a:lnTo>
                  <a:lnTo>
                    <a:pt x="303" y="159"/>
                  </a:lnTo>
                  <a:lnTo>
                    <a:pt x="303" y="161"/>
                  </a:lnTo>
                  <a:lnTo>
                    <a:pt x="303" y="159"/>
                  </a:lnTo>
                  <a:lnTo>
                    <a:pt x="305" y="159"/>
                  </a:lnTo>
                  <a:lnTo>
                    <a:pt x="305" y="161"/>
                  </a:lnTo>
                  <a:lnTo>
                    <a:pt x="305" y="163"/>
                  </a:lnTo>
                  <a:lnTo>
                    <a:pt x="303" y="163"/>
                  </a:lnTo>
                  <a:lnTo>
                    <a:pt x="305" y="163"/>
                  </a:lnTo>
                  <a:lnTo>
                    <a:pt x="303" y="165"/>
                  </a:lnTo>
                  <a:lnTo>
                    <a:pt x="305" y="165"/>
                  </a:lnTo>
                  <a:lnTo>
                    <a:pt x="307" y="167"/>
                  </a:lnTo>
                  <a:lnTo>
                    <a:pt x="309" y="167"/>
                  </a:lnTo>
                  <a:lnTo>
                    <a:pt x="309" y="165"/>
                  </a:lnTo>
                  <a:lnTo>
                    <a:pt x="307" y="163"/>
                  </a:lnTo>
                  <a:lnTo>
                    <a:pt x="309" y="161"/>
                  </a:lnTo>
                  <a:lnTo>
                    <a:pt x="311" y="161"/>
                  </a:lnTo>
                  <a:lnTo>
                    <a:pt x="313" y="161"/>
                  </a:lnTo>
                  <a:lnTo>
                    <a:pt x="313" y="159"/>
                  </a:lnTo>
                  <a:lnTo>
                    <a:pt x="311" y="159"/>
                  </a:lnTo>
                  <a:lnTo>
                    <a:pt x="311" y="157"/>
                  </a:lnTo>
                  <a:lnTo>
                    <a:pt x="311" y="155"/>
                  </a:lnTo>
                  <a:lnTo>
                    <a:pt x="313" y="153"/>
                  </a:lnTo>
                  <a:lnTo>
                    <a:pt x="313" y="151"/>
                  </a:lnTo>
                  <a:lnTo>
                    <a:pt x="311" y="151"/>
                  </a:lnTo>
                  <a:lnTo>
                    <a:pt x="311" y="149"/>
                  </a:lnTo>
                  <a:lnTo>
                    <a:pt x="309" y="149"/>
                  </a:lnTo>
                  <a:lnTo>
                    <a:pt x="309" y="148"/>
                  </a:lnTo>
                  <a:lnTo>
                    <a:pt x="311" y="146"/>
                  </a:lnTo>
                  <a:lnTo>
                    <a:pt x="311" y="144"/>
                  </a:lnTo>
                  <a:lnTo>
                    <a:pt x="313" y="144"/>
                  </a:lnTo>
                  <a:lnTo>
                    <a:pt x="315" y="142"/>
                  </a:lnTo>
                  <a:lnTo>
                    <a:pt x="317" y="140"/>
                  </a:lnTo>
                  <a:lnTo>
                    <a:pt x="317" y="138"/>
                  </a:lnTo>
                  <a:lnTo>
                    <a:pt x="317" y="136"/>
                  </a:lnTo>
                  <a:lnTo>
                    <a:pt x="323" y="132"/>
                  </a:lnTo>
                  <a:lnTo>
                    <a:pt x="323" y="134"/>
                  </a:lnTo>
                  <a:lnTo>
                    <a:pt x="325" y="134"/>
                  </a:lnTo>
                  <a:lnTo>
                    <a:pt x="325" y="136"/>
                  </a:lnTo>
                  <a:lnTo>
                    <a:pt x="323" y="138"/>
                  </a:lnTo>
                  <a:lnTo>
                    <a:pt x="323" y="140"/>
                  </a:lnTo>
                  <a:lnTo>
                    <a:pt x="323" y="142"/>
                  </a:lnTo>
                  <a:lnTo>
                    <a:pt x="319" y="146"/>
                  </a:lnTo>
                  <a:lnTo>
                    <a:pt x="319" y="148"/>
                  </a:lnTo>
                  <a:lnTo>
                    <a:pt x="317" y="149"/>
                  </a:lnTo>
                  <a:lnTo>
                    <a:pt x="315" y="149"/>
                  </a:lnTo>
                  <a:lnTo>
                    <a:pt x="313" y="151"/>
                  </a:lnTo>
                  <a:lnTo>
                    <a:pt x="315" y="153"/>
                  </a:lnTo>
                  <a:lnTo>
                    <a:pt x="317" y="151"/>
                  </a:lnTo>
                  <a:lnTo>
                    <a:pt x="319" y="153"/>
                  </a:lnTo>
                  <a:lnTo>
                    <a:pt x="321" y="155"/>
                  </a:lnTo>
                  <a:lnTo>
                    <a:pt x="321" y="157"/>
                  </a:lnTo>
                  <a:lnTo>
                    <a:pt x="321" y="159"/>
                  </a:lnTo>
                  <a:lnTo>
                    <a:pt x="319" y="161"/>
                  </a:lnTo>
                  <a:lnTo>
                    <a:pt x="319" y="163"/>
                  </a:lnTo>
                  <a:lnTo>
                    <a:pt x="321" y="163"/>
                  </a:lnTo>
                  <a:lnTo>
                    <a:pt x="323" y="163"/>
                  </a:lnTo>
                  <a:lnTo>
                    <a:pt x="323" y="165"/>
                  </a:lnTo>
                  <a:lnTo>
                    <a:pt x="323" y="167"/>
                  </a:lnTo>
                  <a:lnTo>
                    <a:pt x="321" y="167"/>
                  </a:lnTo>
                  <a:lnTo>
                    <a:pt x="321" y="169"/>
                  </a:lnTo>
                  <a:lnTo>
                    <a:pt x="319" y="169"/>
                  </a:lnTo>
                  <a:lnTo>
                    <a:pt x="321" y="171"/>
                  </a:lnTo>
                  <a:lnTo>
                    <a:pt x="323" y="169"/>
                  </a:lnTo>
                  <a:lnTo>
                    <a:pt x="323" y="167"/>
                  </a:lnTo>
                  <a:lnTo>
                    <a:pt x="323" y="165"/>
                  </a:lnTo>
                  <a:lnTo>
                    <a:pt x="325" y="165"/>
                  </a:lnTo>
                  <a:lnTo>
                    <a:pt x="326" y="165"/>
                  </a:lnTo>
                  <a:lnTo>
                    <a:pt x="328" y="163"/>
                  </a:lnTo>
                  <a:lnTo>
                    <a:pt x="326" y="163"/>
                  </a:lnTo>
                  <a:lnTo>
                    <a:pt x="325" y="163"/>
                  </a:lnTo>
                  <a:lnTo>
                    <a:pt x="325" y="161"/>
                  </a:lnTo>
                  <a:lnTo>
                    <a:pt x="325" y="159"/>
                  </a:lnTo>
                  <a:lnTo>
                    <a:pt x="326" y="157"/>
                  </a:lnTo>
                  <a:lnTo>
                    <a:pt x="326" y="159"/>
                  </a:lnTo>
                  <a:lnTo>
                    <a:pt x="328" y="159"/>
                  </a:lnTo>
                  <a:lnTo>
                    <a:pt x="330" y="157"/>
                  </a:lnTo>
                  <a:lnTo>
                    <a:pt x="328" y="157"/>
                  </a:lnTo>
                  <a:lnTo>
                    <a:pt x="328" y="155"/>
                  </a:lnTo>
                  <a:lnTo>
                    <a:pt x="330" y="155"/>
                  </a:lnTo>
                  <a:lnTo>
                    <a:pt x="330" y="157"/>
                  </a:lnTo>
                  <a:lnTo>
                    <a:pt x="332" y="157"/>
                  </a:lnTo>
                  <a:lnTo>
                    <a:pt x="334" y="157"/>
                  </a:lnTo>
                  <a:lnTo>
                    <a:pt x="334" y="159"/>
                  </a:lnTo>
                  <a:lnTo>
                    <a:pt x="336" y="159"/>
                  </a:lnTo>
                  <a:lnTo>
                    <a:pt x="336" y="161"/>
                  </a:lnTo>
                  <a:lnTo>
                    <a:pt x="336" y="163"/>
                  </a:lnTo>
                  <a:lnTo>
                    <a:pt x="336" y="165"/>
                  </a:lnTo>
                  <a:lnTo>
                    <a:pt x="338" y="165"/>
                  </a:lnTo>
                  <a:lnTo>
                    <a:pt x="336" y="167"/>
                  </a:lnTo>
                  <a:lnTo>
                    <a:pt x="336" y="169"/>
                  </a:lnTo>
                  <a:lnTo>
                    <a:pt x="340" y="169"/>
                  </a:lnTo>
                  <a:lnTo>
                    <a:pt x="342" y="167"/>
                  </a:lnTo>
                  <a:lnTo>
                    <a:pt x="344" y="167"/>
                  </a:lnTo>
                  <a:lnTo>
                    <a:pt x="346" y="165"/>
                  </a:lnTo>
                  <a:lnTo>
                    <a:pt x="348" y="165"/>
                  </a:lnTo>
                  <a:lnTo>
                    <a:pt x="350" y="165"/>
                  </a:lnTo>
                  <a:lnTo>
                    <a:pt x="351" y="163"/>
                  </a:lnTo>
                  <a:lnTo>
                    <a:pt x="353" y="163"/>
                  </a:lnTo>
                  <a:lnTo>
                    <a:pt x="355" y="163"/>
                  </a:lnTo>
                  <a:lnTo>
                    <a:pt x="357" y="163"/>
                  </a:lnTo>
                  <a:lnTo>
                    <a:pt x="357" y="165"/>
                  </a:lnTo>
                  <a:lnTo>
                    <a:pt x="359" y="167"/>
                  </a:lnTo>
                  <a:lnTo>
                    <a:pt x="361" y="167"/>
                  </a:lnTo>
                  <a:lnTo>
                    <a:pt x="359" y="165"/>
                  </a:lnTo>
                  <a:lnTo>
                    <a:pt x="359" y="163"/>
                  </a:lnTo>
                  <a:lnTo>
                    <a:pt x="357" y="163"/>
                  </a:lnTo>
                  <a:lnTo>
                    <a:pt x="357" y="161"/>
                  </a:lnTo>
                  <a:lnTo>
                    <a:pt x="355" y="163"/>
                  </a:lnTo>
                  <a:lnTo>
                    <a:pt x="353" y="163"/>
                  </a:lnTo>
                  <a:lnTo>
                    <a:pt x="353" y="161"/>
                  </a:lnTo>
                  <a:lnTo>
                    <a:pt x="355" y="159"/>
                  </a:lnTo>
                  <a:lnTo>
                    <a:pt x="357" y="159"/>
                  </a:lnTo>
                  <a:lnTo>
                    <a:pt x="359" y="159"/>
                  </a:lnTo>
                  <a:lnTo>
                    <a:pt x="363" y="161"/>
                  </a:lnTo>
                  <a:lnTo>
                    <a:pt x="365" y="161"/>
                  </a:lnTo>
                  <a:lnTo>
                    <a:pt x="367" y="161"/>
                  </a:lnTo>
                  <a:lnTo>
                    <a:pt x="365" y="159"/>
                  </a:lnTo>
                  <a:lnTo>
                    <a:pt x="363" y="159"/>
                  </a:lnTo>
                  <a:lnTo>
                    <a:pt x="361" y="159"/>
                  </a:lnTo>
                  <a:lnTo>
                    <a:pt x="359" y="157"/>
                  </a:lnTo>
                  <a:lnTo>
                    <a:pt x="361" y="155"/>
                  </a:lnTo>
                  <a:lnTo>
                    <a:pt x="363" y="153"/>
                  </a:lnTo>
                  <a:lnTo>
                    <a:pt x="363" y="155"/>
                  </a:lnTo>
                  <a:lnTo>
                    <a:pt x="365" y="155"/>
                  </a:lnTo>
                  <a:lnTo>
                    <a:pt x="367" y="155"/>
                  </a:lnTo>
                  <a:lnTo>
                    <a:pt x="367" y="153"/>
                  </a:lnTo>
                  <a:lnTo>
                    <a:pt x="365" y="153"/>
                  </a:lnTo>
                  <a:lnTo>
                    <a:pt x="363" y="153"/>
                  </a:lnTo>
                  <a:lnTo>
                    <a:pt x="363" y="151"/>
                  </a:lnTo>
                  <a:lnTo>
                    <a:pt x="361" y="153"/>
                  </a:lnTo>
                  <a:lnTo>
                    <a:pt x="359" y="153"/>
                  </a:lnTo>
                  <a:lnTo>
                    <a:pt x="357" y="153"/>
                  </a:lnTo>
                  <a:lnTo>
                    <a:pt x="357" y="151"/>
                  </a:lnTo>
                  <a:lnTo>
                    <a:pt x="357" y="149"/>
                  </a:lnTo>
                  <a:lnTo>
                    <a:pt x="359" y="149"/>
                  </a:lnTo>
                  <a:lnTo>
                    <a:pt x="357" y="149"/>
                  </a:lnTo>
                  <a:lnTo>
                    <a:pt x="359" y="148"/>
                  </a:lnTo>
                  <a:lnTo>
                    <a:pt x="361" y="146"/>
                  </a:lnTo>
                  <a:lnTo>
                    <a:pt x="361" y="144"/>
                  </a:lnTo>
                  <a:lnTo>
                    <a:pt x="361" y="142"/>
                  </a:lnTo>
                  <a:lnTo>
                    <a:pt x="363" y="142"/>
                  </a:lnTo>
                  <a:lnTo>
                    <a:pt x="365" y="142"/>
                  </a:lnTo>
                  <a:lnTo>
                    <a:pt x="367" y="140"/>
                  </a:lnTo>
                  <a:lnTo>
                    <a:pt x="369" y="140"/>
                  </a:lnTo>
                  <a:lnTo>
                    <a:pt x="371" y="138"/>
                  </a:lnTo>
                  <a:lnTo>
                    <a:pt x="371" y="140"/>
                  </a:lnTo>
                  <a:lnTo>
                    <a:pt x="375" y="138"/>
                  </a:lnTo>
                  <a:lnTo>
                    <a:pt x="373" y="138"/>
                  </a:lnTo>
                  <a:lnTo>
                    <a:pt x="371" y="138"/>
                  </a:lnTo>
                  <a:lnTo>
                    <a:pt x="371" y="136"/>
                  </a:lnTo>
                  <a:lnTo>
                    <a:pt x="371" y="134"/>
                  </a:lnTo>
                  <a:lnTo>
                    <a:pt x="369" y="134"/>
                  </a:lnTo>
                  <a:lnTo>
                    <a:pt x="369" y="132"/>
                  </a:lnTo>
                  <a:lnTo>
                    <a:pt x="369" y="130"/>
                  </a:lnTo>
                  <a:lnTo>
                    <a:pt x="371" y="130"/>
                  </a:lnTo>
                  <a:lnTo>
                    <a:pt x="371" y="128"/>
                  </a:lnTo>
                  <a:lnTo>
                    <a:pt x="373" y="126"/>
                  </a:lnTo>
                  <a:lnTo>
                    <a:pt x="371" y="126"/>
                  </a:lnTo>
                  <a:lnTo>
                    <a:pt x="373" y="126"/>
                  </a:lnTo>
                  <a:lnTo>
                    <a:pt x="375" y="124"/>
                  </a:lnTo>
                  <a:lnTo>
                    <a:pt x="373" y="124"/>
                  </a:lnTo>
                  <a:lnTo>
                    <a:pt x="373" y="123"/>
                  </a:lnTo>
                  <a:lnTo>
                    <a:pt x="373" y="121"/>
                  </a:lnTo>
                  <a:lnTo>
                    <a:pt x="375" y="121"/>
                  </a:lnTo>
                  <a:lnTo>
                    <a:pt x="376" y="121"/>
                  </a:lnTo>
                  <a:lnTo>
                    <a:pt x="378" y="123"/>
                  </a:lnTo>
                  <a:lnTo>
                    <a:pt x="378" y="124"/>
                  </a:lnTo>
                  <a:lnTo>
                    <a:pt x="376" y="126"/>
                  </a:lnTo>
                  <a:lnTo>
                    <a:pt x="376" y="128"/>
                  </a:lnTo>
                  <a:lnTo>
                    <a:pt x="375" y="130"/>
                  </a:lnTo>
                  <a:lnTo>
                    <a:pt x="375" y="132"/>
                  </a:lnTo>
                  <a:lnTo>
                    <a:pt x="376" y="130"/>
                  </a:lnTo>
                  <a:lnTo>
                    <a:pt x="376" y="128"/>
                  </a:lnTo>
                  <a:lnTo>
                    <a:pt x="378" y="126"/>
                  </a:lnTo>
                  <a:lnTo>
                    <a:pt x="380" y="124"/>
                  </a:lnTo>
                  <a:lnTo>
                    <a:pt x="380" y="126"/>
                  </a:lnTo>
                  <a:lnTo>
                    <a:pt x="380" y="128"/>
                  </a:lnTo>
                  <a:lnTo>
                    <a:pt x="382" y="132"/>
                  </a:lnTo>
                  <a:lnTo>
                    <a:pt x="380" y="132"/>
                  </a:lnTo>
                  <a:lnTo>
                    <a:pt x="382" y="134"/>
                  </a:lnTo>
                  <a:lnTo>
                    <a:pt x="384" y="136"/>
                  </a:lnTo>
                  <a:lnTo>
                    <a:pt x="384" y="134"/>
                  </a:lnTo>
                  <a:lnTo>
                    <a:pt x="384" y="132"/>
                  </a:lnTo>
                  <a:lnTo>
                    <a:pt x="384" y="130"/>
                  </a:lnTo>
                  <a:lnTo>
                    <a:pt x="384" y="128"/>
                  </a:lnTo>
                  <a:lnTo>
                    <a:pt x="386" y="128"/>
                  </a:lnTo>
                  <a:lnTo>
                    <a:pt x="388" y="128"/>
                  </a:lnTo>
                  <a:lnTo>
                    <a:pt x="390" y="128"/>
                  </a:lnTo>
                  <a:lnTo>
                    <a:pt x="392" y="128"/>
                  </a:lnTo>
                  <a:lnTo>
                    <a:pt x="394" y="128"/>
                  </a:lnTo>
                  <a:lnTo>
                    <a:pt x="392" y="126"/>
                  </a:lnTo>
                  <a:lnTo>
                    <a:pt x="390" y="126"/>
                  </a:lnTo>
                  <a:lnTo>
                    <a:pt x="386" y="124"/>
                  </a:lnTo>
                  <a:lnTo>
                    <a:pt x="384" y="124"/>
                  </a:lnTo>
                  <a:lnTo>
                    <a:pt x="384" y="123"/>
                  </a:lnTo>
                  <a:lnTo>
                    <a:pt x="382" y="123"/>
                  </a:lnTo>
                  <a:lnTo>
                    <a:pt x="380" y="121"/>
                  </a:lnTo>
                  <a:lnTo>
                    <a:pt x="380" y="119"/>
                  </a:lnTo>
                  <a:lnTo>
                    <a:pt x="380" y="117"/>
                  </a:lnTo>
                  <a:lnTo>
                    <a:pt x="384" y="117"/>
                  </a:lnTo>
                  <a:lnTo>
                    <a:pt x="386" y="115"/>
                  </a:lnTo>
                  <a:lnTo>
                    <a:pt x="388" y="115"/>
                  </a:lnTo>
                  <a:lnTo>
                    <a:pt x="390" y="117"/>
                  </a:lnTo>
                  <a:lnTo>
                    <a:pt x="392" y="121"/>
                  </a:lnTo>
                  <a:lnTo>
                    <a:pt x="392" y="123"/>
                  </a:lnTo>
                  <a:lnTo>
                    <a:pt x="394" y="124"/>
                  </a:lnTo>
                  <a:lnTo>
                    <a:pt x="396" y="126"/>
                  </a:lnTo>
                  <a:lnTo>
                    <a:pt x="400" y="126"/>
                  </a:lnTo>
                  <a:lnTo>
                    <a:pt x="401" y="124"/>
                  </a:lnTo>
                  <a:lnTo>
                    <a:pt x="401" y="126"/>
                  </a:lnTo>
                  <a:lnTo>
                    <a:pt x="401" y="128"/>
                  </a:lnTo>
                  <a:lnTo>
                    <a:pt x="401" y="130"/>
                  </a:lnTo>
                  <a:lnTo>
                    <a:pt x="400" y="130"/>
                  </a:lnTo>
                  <a:lnTo>
                    <a:pt x="401" y="132"/>
                  </a:lnTo>
                  <a:lnTo>
                    <a:pt x="403" y="132"/>
                  </a:lnTo>
                  <a:lnTo>
                    <a:pt x="407" y="132"/>
                  </a:lnTo>
                  <a:lnTo>
                    <a:pt x="409" y="132"/>
                  </a:lnTo>
                  <a:lnTo>
                    <a:pt x="407" y="130"/>
                  </a:lnTo>
                  <a:lnTo>
                    <a:pt x="405" y="130"/>
                  </a:lnTo>
                  <a:lnTo>
                    <a:pt x="405" y="128"/>
                  </a:lnTo>
                  <a:lnTo>
                    <a:pt x="405" y="126"/>
                  </a:lnTo>
                  <a:lnTo>
                    <a:pt x="403" y="124"/>
                  </a:lnTo>
                  <a:lnTo>
                    <a:pt x="400" y="123"/>
                  </a:lnTo>
                  <a:lnTo>
                    <a:pt x="396" y="124"/>
                  </a:lnTo>
                  <a:lnTo>
                    <a:pt x="396" y="123"/>
                  </a:lnTo>
                  <a:lnTo>
                    <a:pt x="394" y="121"/>
                  </a:lnTo>
                  <a:lnTo>
                    <a:pt x="394" y="119"/>
                  </a:lnTo>
                  <a:lnTo>
                    <a:pt x="394" y="117"/>
                  </a:lnTo>
                  <a:lnTo>
                    <a:pt x="394" y="115"/>
                  </a:lnTo>
                  <a:lnTo>
                    <a:pt x="392" y="115"/>
                  </a:lnTo>
                  <a:lnTo>
                    <a:pt x="392" y="113"/>
                  </a:lnTo>
                  <a:lnTo>
                    <a:pt x="392" y="111"/>
                  </a:lnTo>
                  <a:lnTo>
                    <a:pt x="392" y="109"/>
                  </a:lnTo>
                  <a:lnTo>
                    <a:pt x="394" y="109"/>
                  </a:lnTo>
                  <a:lnTo>
                    <a:pt x="394" y="107"/>
                  </a:lnTo>
                  <a:lnTo>
                    <a:pt x="394" y="105"/>
                  </a:lnTo>
                  <a:lnTo>
                    <a:pt x="396" y="105"/>
                  </a:lnTo>
                  <a:lnTo>
                    <a:pt x="396" y="103"/>
                  </a:lnTo>
                  <a:lnTo>
                    <a:pt x="398" y="101"/>
                  </a:lnTo>
                  <a:lnTo>
                    <a:pt x="400" y="101"/>
                  </a:lnTo>
                  <a:lnTo>
                    <a:pt x="401" y="99"/>
                  </a:lnTo>
                  <a:lnTo>
                    <a:pt x="405" y="99"/>
                  </a:lnTo>
                  <a:lnTo>
                    <a:pt x="407" y="99"/>
                  </a:lnTo>
                  <a:lnTo>
                    <a:pt x="409" y="98"/>
                  </a:lnTo>
                  <a:lnTo>
                    <a:pt x="409" y="99"/>
                  </a:lnTo>
                  <a:lnTo>
                    <a:pt x="409" y="101"/>
                  </a:lnTo>
                  <a:lnTo>
                    <a:pt x="409" y="105"/>
                  </a:lnTo>
                  <a:lnTo>
                    <a:pt x="407" y="105"/>
                  </a:lnTo>
                  <a:lnTo>
                    <a:pt x="409" y="107"/>
                  </a:lnTo>
                  <a:lnTo>
                    <a:pt x="411" y="109"/>
                  </a:lnTo>
                  <a:lnTo>
                    <a:pt x="409" y="111"/>
                  </a:lnTo>
                  <a:lnTo>
                    <a:pt x="409" y="113"/>
                  </a:lnTo>
                  <a:lnTo>
                    <a:pt x="409" y="115"/>
                  </a:lnTo>
                  <a:lnTo>
                    <a:pt x="409" y="117"/>
                  </a:lnTo>
                  <a:lnTo>
                    <a:pt x="411" y="117"/>
                  </a:lnTo>
                  <a:lnTo>
                    <a:pt x="413" y="115"/>
                  </a:lnTo>
                  <a:lnTo>
                    <a:pt x="411" y="113"/>
                  </a:lnTo>
                  <a:lnTo>
                    <a:pt x="411" y="111"/>
                  </a:lnTo>
                  <a:lnTo>
                    <a:pt x="411" y="109"/>
                  </a:lnTo>
                  <a:lnTo>
                    <a:pt x="415" y="111"/>
                  </a:lnTo>
                  <a:lnTo>
                    <a:pt x="417" y="111"/>
                  </a:lnTo>
                  <a:lnTo>
                    <a:pt x="419" y="111"/>
                  </a:lnTo>
                  <a:lnTo>
                    <a:pt x="421" y="111"/>
                  </a:lnTo>
                  <a:lnTo>
                    <a:pt x="421" y="109"/>
                  </a:lnTo>
                  <a:lnTo>
                    <a:pt x="419" y="109"/>
                  </a:lnTo>
                  <a:lnTo>
                    <a:pt x="415" y="109"/>
                  </a:lnTo>
                  <a:lnTo>
                    <a:pt x="413" y="107"/>
                  </a:lnTo>
                  <a:lnTo>
                    <a:pt x="411" y="105"/>
                  </a:lnTo>
                  <a:lnTo>
                    <a:pt x="411" y="103"/>
                  </a:lnTo>
                  <a:lnTo>
                    <a:pt x="413" y="101"/>
                  </a:lnTo>
                  <a:lnTo>
                    <a:pt x="413" y="99"/>
                  </a:lnTo>
                  <a:lnTo>
                    <a:pt x="415" y="98"/>
                  </a:lnTo>
                  <a:lnTo>
                    <a:pt x="417" y="96"/>
                  </a:lnTo>
                  <a:lnTo>
                    <a:pt x="417" y="98"/>
                  </a:lnTo>
                  <a:lnTo>
                    <a:pt x="415" y="101"/>
                  </a:lnTo>
                  <a:lnTo>
                    <a:pt x="417" y="98"/>
                  </a:lnTo>
                  <a:lnTo>
                    <a:pt x="419" y="96"/>
                  </a:lnTo>
                  <a:lnTo>
                    <a:pt x="419" y="94"/>
                  </a:lnTo>
                  <a:lnTo>
                    <a:pt x="419" y="92"/>
                  </a:lnTo>
                  <a:lnTo>
                    <a:pt x="421" y="90"/>
                  </a:lnTo>
                  <a:lnTo>
                    <a:pt x="423" y="88"/>
                  </a:lnTo>
                  <a:lnTo>
                    <a:pt x="423" y="90"/>
                  </a:lnTo>
                  <a:lnTo>
                    <a:pt x="424" y="92"/>
                  </a:lnTo>
                  <a:lnTo>
                    <a:pt x="426" y="94"/>
                  </a:lnTo>
                  <a:lnTo>
                    <a:pt x="424" y="96"/>
                  </a:lnTo>
                  <a:lnTo>
                    <a:pt x="423" y="99"/>
                  </a:lnTo>
                  <a:lnTo>
                    <a:pt x="423" y="103"/>
                  </a:lnTo>
                  <a:lnTo>
                    <a:pt x="423" y="105"/>
                  </a:lnTo>
                  <a:lnTo>
                    <a:pt x="426" y="105"/>
                  </a:lnTo>
                  <a:lnTo>
                    <a:pt x="426" y="107"/>
                  </a:lnTo>
                  <a:lnTo>
                    <a:pt x="424" y="109"/>
                  </a:lnTo>
                  <a:lnTo>
                    <a:pt x="424" y="111"/>
                  </a:lnTo>
                  <a:lnTo>
                    <a:pt x="424" y="113"/>
                  </a:lnTo>
                  <a:lnTo>
                    <a:pt x="424" y="115"/>
                  </a:lnTo>
                  <a:lnTo>
                    <a:pt x="423" y="117"/>
                  </a:lnTo>
                  <a:lnTo>
                    <a:pt x="423" y="119"/>
                  </a:lnTo>
                  <a:lnTo>
                    <a:pt x="423" y="121"/>
                  </a:lnTo>
                  <a:lnTo>
                    <a:pt x="419" y="123"/>
                  </a:lnTo>
                  <a:lnTo>
                    <a:pt x="419" y="124"/>
                  </a:lnTo>
                  <a:lnTo>
                    <a:pt x="417" y="128"/>
                  </a:lnTo>
                  <a:lnTo>
                    <a:pt x="419" y="128"/>
                  </a:lnTo>
                  <a:lnTo>
                    <a:pt x="419" y="124"/>
                  </a:lnTo>
                  <a:lnTo>
                    <a:pt x="423" y="123"/>
                  </a:lnTo>
                  <a:lnTo>
                    <a:pt x="424" y="121"/>
                  </a:lnTo>
                  <a:lnTo>
                    <a:pt x="426" y="121"/>
                  </a:lnTo>
                  <a:lnTo>
                    <a:pt x="426" y="115"/>
                  </a:lnTo>
                  <a:lnTo>
                    <a:pt x="426" y="113"/>
                  </a:lnTo>
                  <a:lnTo>
                    <a:pt x="426" y="109"/>
                  </a:lnTo>
                  <a:lnTo>
                    <a:pt x="428" y="111"/>
                  </a:lnTo>
                  <a:lnTo>
                    <a:pt x="430" y="111"/>
                  </a:lnTo>
                  <a:lnTo>
                    <a:pt x="432" y="113"/>
                  </a:lnTo>
                  <a:lnTo>
                    <a:pt x="434" y="113"/>
                  </a:lnTo>
                  <a:lnTo>
                    <a:pt x="436" y="113"/>
                  </a:lnTo>
                  <a:lnTo>
                    <a:pt x="438" y="113"/>
                  </a:lnTo>
                  <a:lnTo>
                    <a:pt x="436" y="111"/>
                  </a:lnTo>
                  <a:lnTo>
                    <a:pt x="434" y="111"/>
                  </a:lnTo>
                  <a:lnTo>
                    <a:pt x="434" y="109"/>
                  </a:lnTo>
                  <a:lnTo>
                    <a:pt x="432" y="109"/>
                  </a:lnTo>
                  <a:lnTo>
                    <a:pt x="432" y="107"/>
                  </a:lnTo>
                  <a:lnTo>
                    <a:pt x="430" y="107"/>
                  </a:lnTo>
                  <a:lnTo>
                    <a:pt x="430" y="105"/>
                  </a:lnTo>
                  <a:lnTo>
                    <a:pt x="430" y="103"/>
                  </a:lnTo>
                  <a:lnTo>
                    <a:pt x="430" y="101"/>
                  </a:lnTo>
                  <a:lnTo>
                    <a:pt x="428" y="99"/>
                  </a:lnTo>
                  <a:lnTo>
                    <a:pt x="430" y="98"/>
                  </a:lnTo>
                  <a:lnTo>
                    <a:pt x="432" y="98"/>
                  </a:lnTo>
                  <a:lnTo>
                    <a:pt x="434" y="98"/>
                  </a:lnTo>
                  <a:lnTo>
                    <a:pt x="436" y="96"/>
                  </a:lnTo>
                  <a:lnTo>
                    <a:pt x="436" y="94"/>
                  </a:lnTo>
                  <a:lnTo>
                    <a:pt x="434" y="92"/>
                  </a:lnTo>
                  <a:lnTo>
                    <a:pt x="436" y="92"/>
                  </a:lnTo>
                  <a:lnTo>
                    <a:pt x="438" y="90"/>
                  </a:lnTo>
                  <a:lnTo>
                    <a:pt x="438" y="88"/>
                  </a:lnTo>
                  <a:lnTo>
                    <a:pt x="440" y="88"/>
                  </a:lnTo>
                  <a:lnTo>
                    <a:pt x="442" y="86"/>
                  </a:lnTo>
                  <a:lnTo>
                    <a:pt x="442" y="88"/>
                  </a:lnTo>
                  <a:lnTo>
                    <a:pt x="440" y="88"/>
                  </a:lnTo>
                  <a:lnTo>
                    <a:pt x="440" y="90"/>
                  </a:lnTo>
                  <a:lnTo>
                    <a:pt x="438" y="92"/>
                  </a:lnTo>
                  <a:lnTo>
                    <a:pt x="436" y="94"/>
                  </a:lnTo>
                  <a:lnTo>
                    <a:pt x="440" y="94"/>
                  </a:lnTo>
                  <a:lnTo>
                    <a:pt x="438" y="96"/>
                  </a:lnTo>
                  <a:lnTo>
                    <a:pt x="440" y="96"/>
                  </a:lnTo>
                  <a:lnTo>
                    <a:pt x="442" y="94"/>
                  </a:lnTo>
                  <a:lnTo>
                    <a:pt x="442" y="92"/>
                  </a:lnTo>
                  <a:lnTo>
                    <a:pt x="444" y="90"/>
                  </a:lnTo>
                  <a:lnTo>
                    <a:pt x="446" y="92"/>
                  </a:lnTo>
                  <a:lnTo>
                    <a:pt x="444" y="94"/>
                  </a:lnTo>
                  <a:lnTo>
                    <a:pt x="444" y="96"/>
                  </a:lnTo>
                  <a:lnTo>
                    <a:pt x="446" y="94"/>
                  </a:lnTo>
                  <a:lnTo>
                    <a:pt x="446" y="92"/>
                  </a:lnTo>
                  <a:lnTo>
                    <a:pt x="448" y="92"/>
                  </a:lnTo>
                  <a:lnTo>
                    <a:pt x="446" y="90"/>
                  </a:lnTo>
                  <a:lnTo>
                    <a:pt x="448" y="90"/>
                  </a:lnTo>
                  <a:lnTo>
                    <a:pt x="448" y="88"/>
                  </a:lnTo>
                  <a:lnTo>
                    <a:pt x="446" y="88"/>
                  </a:lnTo>
                  <a:lnTo>
                    <a:pt x="446" y="86"/>
                  </a:lnTo>
                  <a:lnTo>
                    <a:pt x="446" y="84"/>
                  </a:lnTo>
                  <a:lnTo>
                    <a:pt x="446" y="82"/>
                  </a:lnTo>
                  <a:lnTo>
                    <a:pt x="448" y="82"/>
                  </a:lnTo>
                  <a:lnTo>
                    <a:pt x="451" y="82"/>
                  </a:lnTo>
                  <a:lnTo>
                    <a:pt x="451" y="84"/>
                  </a:lnTo>
                  <a:lnTo>
                    <a:pt x="453" y="86"/>
                  </a:lnTo>
                  <a:lnTo>
                    <a:pt x="455" y="88"/>
                  </a:lnTo>
                  <a:lnTo>
                    <a:pt x="457" y="90"/>
                  </a:lnTo>
                  <a:lnTo>
                    <a:pt x="459" y="90"/>
                  </a:lnTo>
                  <a:lnTo>
                    <a:pt x="463" y="92"/>
                  </a:lnTo>
                  <a:lnTo>
                    <a:pt x="463" y="90"/>
                  </a:lnTo>
                  <a:lnTo>
                    <a:pt x="467" y="90"/>
                  </a:lnTo>
                  <a:lnTo>
                    <a:pt x="465" y="88"/>
                  </a:lnTo>
                  <a:lnTo>
                    <a:pt x="463" y="88"/>
                  </a:lnTo>
                  <a:lnTo>
                    <a:pt x="463" y="86"/>
                  </a:lnTo>
                  <a:lnTo>
                    <a:pt x="463" y="84"/>
                  </a:lnTo>
                  <a:lnTo>
                    <a:pt x="463" y="82"/>
                  </a:lnTo>
                  <a:lnTo>
                    <a:pt x="465" y="82"/>
                  </a:lnTo>
                  <a:lnTo>
                    <a:pt x="467" y="82"/>
                  </a:lnTo>
                  <a:lnTo>
                    <a:pt x="465" y="80"/>
                  </a:lnTo>
                  <a:lnTo>
                    <a:pt x="463" y="80"/>
                  </a:lnTo>
                  <a:lnTo>
                    <a:pt x="461" y="80"/>
                  </a:lnTo>
                  <a:lnTo>
                    <a:pt x="459" y="80"/>
                  </a:lnTo>
                  <a:lnTo>
                    <a:pt x="461" y="78"/>
                  </a:lnTo>
                  <a:lnTo>
                    <a:pt x="463" y="78"/>
                  </a:lnTo>
                  <a:lnTo>
                    <a:pt x="465" y="76"/>
                  </a:lnTo>
                  <a:lnTo>
                    <a:pt x="467" y="75"/>
                  </a:lnTo>
                  <a:lnTo>
                    <a:pt x="463" y="76"/>
                  </a:lnTo>
                  <a:lnTo>
                    <a:pt x="461" y="78"/>
                  </a:lnTo>
                  <a:lnTo>
                    <a:pt x="459" y="78"/>
                  </a:lnTo>
                  <a:lnTo>
                    <a:pt x="457" y="80"/>
                  </a:lnTo>
                  <a:lnTo>
                    <a:pt x="457" y="78"/>
                  </a:lnTo>
                  <a:lnTo>
                    <a:pt x="453" y="78"/>
                  </a:lnTo>
                  <a:lnTo>
                    <a:pt x="455" y="76"/>
                  </a:lnTo>
                  <a:lnTo>
                    <a:pt x="451" y="78"/>
                  </a:lnTo>
                  <a:lnTo>
                    <a:pt x="451" y="76"/>
                  </a:lnTo>
                  <a:lnTo>
                    <a:pt x="449" y="76"/>
                  </a:lnTo>
                  <a:lnTo>
                    <a:pt x="449" y="75"/>
                  </a:lnTo>
                  <a:lnTo>
                    <a:pt x="451" y="75"/>
                  </a:lnTo>
                  <a:lnTo>
                    <a:pt x="449" y="75"/>
                  </a:lnTo>
                  <a:lnTo>
                    <a:pt x="448" y="75"/>
                  </a:lnTo>
                  <a:lnTo>
                    <a:pt x="446" y="75"/>
                  </a:lnTo>
                  <a:lnTo>
                    <a:pt x="444" y="73"/>
                  </a:lnTo>
                  <a:lnTo>
                    <a:pt x="444" y="71"/>
                  </a:lnTo>
                  <a:lnTo>
                    <a:pt x="446" y="69"/>
                  </a:lnTo>
                  <a:lnTo>
                    <a:pt x="448" y="69"/>
                  </a:lnTo>
                  <a:lnTo>
                    <a:pt x="449" y="71"/>
                  </a:lnTo>
                  <a:lnTo>
                    <a:pt x="449" y="67"/>
                  </a:lnTo>
                  <a:lnTo>
                    <a:pt x="451" y="65"/>
                  </a:lnTo>
                  <a:lnTo>
                    <a:pt x="451" y="67"/>
                  </a:lnTo>
                  <a:lnTo>
                    <a:pt x="453" y="69"/>
                  </a:lnTo>
                  <a:lnTo>
                    <a:pt x="455" y="71"/>
                  </a:lnTo>
                  <a:lnTo>
                    <a:pt x="457" y="71"/>
                  </a:lnTo>
                  <a:lnTo>
                    <a:pt x="459" y="73"/>
                  </a:lnTo>
                  <a:lnTo>
                    <a:pt x="459" y="71"/>
                  </a:lnTo>
                  <a:lnTo>
                    <a:pt x="457" y="69"/>
                  </a:lnTo>
                  <a:lnTo>
                    <a:pt x="461" y="65"/>
                  </a:lnTo>
                  <a:lnTo>
                    <a:pt x="461" y="63"/>
                  </a:lnTo>
                  <a:lnTo>
                    <a:pt x="461" y="65"/>
                  </a:lnTo>
                  <a:lnTo>
                    <a:pt x="461" y="67"/>
                  </a:lnTo>
                  <a:lnTo>
                    <a:pt x="463" y="65"/>
                  </a:lnTo>
                  <a:lnTo>
                    <a:pt x="465" y="65"/>
                  </a:lnTo>
                  <a:lnTo>
                    <a:pt x="465" y="69"/>
                  </a:lnTo>
                  <a:lnTo>
                    <a:pt x="465" y="65"/>
                  </a:lnTo>
                  <a:lnTo>
                    <a:pt x="469" y="65"/>
                  </a:lnTo>
                  <a:lnTo>
                    <a:pt x="469" y="69"/>
                  </a:lnTo>
                  <a:lnTo>
                    <a:pt x="469" y="73"/>
                  </a:lnTo>
                  <a:lnTo>
                    <a:pt x="469" y="75"/>
                  </a:lnTo>
                  <a:lnTo>
                    <a:pt x="471" y="73"/>
                  </a:lnTo>
                  <a:lnTo>
                    <a:pt x="473" y="73"/>
                  </a:lnTo>
                  <a:lnTo>
                    <a:pt x="474" y="73"/>
                  </a:lnTo>
                  <a:lnTo>
                    <a:pt x="474" y="75"/>
                  </a:lnTo>
                  <a:lnTo>
                    <a:pt x="474" y="71"/>
                  </a:lnTo>
                  <a:lnTo>
                    <a:pt x="473" y="71"/>
                  </a:lnTo>
                  <a:lnTo>
                    <a:pt x="471" y="73"/>
                  </a:lnTo>
                  <a:lnTo>
                    <a:pt x="471" y="71"/>
                  </a:lnTo>
                  <a:lnTo>
                    <a:pt x="471" y="69"/>
                  </a:lnTo>
                  <a:lnTo>
                    <a:pt x="471" y="67"/>
                  </a:lnTo>
                  <a:lnTo>
                    <a:pt x="474" y="67"/>
                  </a:lnTo>
                  <a:lnTo>
                    <a:pt x="474" y="69"/>
                  </a:lnTo>
                  <a:lnTo>
                    <a:pt x="476" y="67"/>
                  </a:lnTo>
                  <a:lnTo>
                    <a:pt x="478" y="67"/>
                  </a:lnTo>
                  <a:lnTo>
                    <a:pt x="478" y="69"/>
                  </a:lnTo>
                  <a:lnTo>
                    <a:pt x="478" y="67"/>
                  </a:lnTo>
                  <a:lnTo>
                    <a:pt x="482" y="67"/>
                  </a:lnTo>
                  <a:lnTo>
                    <a:pt x="482" y="69"/>
                  </a:lnTo>
                  <a:lnTo>
                    <a:pt x="484" y="67"/>
                  </a:lnTo>
                  <a:lnTo>
                    <a:pt x="486" y="67"/>
                  </a:lnTo>
                  <a:lnTo>
                    <a:pt x="486" y="69"/>
                  </a:lnTo>
                  <a:lnTo>
                    <a:pt x="486" y="71"/>
                  </a:lnTo>
                  <a:lnTo>
                    <a:pt x="484" y="73"/>
                  </a:lnTo>
                  <a:lnTo>
                    <a:pt x="482" y="75"/>
                  </a:lnTo>
                  <a:lnTo>
                    <a:pt x="480" y="75"/>
                  </a:lnTo>
                  <a:lnTo>
                    <a:pt x="476" y="76"/>
                  </a:lnTo>
                  <a:lnTo>
                    <a:pt x="474" y="76"/>
                  </a:lnTo>
                  <a:lnTo>
                    <a:pt x="473" y="76"/>
                  </a:lnTo>
                  <a:lnTo>
                    <a:pt x="471" y="78"/>
                  </a:lnTo>
                  <a:lnTo>
                    <a:pt x="473" y="78"/>
                  </a:lnTo>
                  <a:lnTo>
                    <a:pt x="474" y="78"/>
                  </a:lnTo>
                  <a:lnTo>
                    <a:pt x="476" y="76"/>
                  </a:lnTo>
                  <a:lnTo>
                    <a:pt x="480" y="76"/>
                  </a:lnTo>
                  <a:lnTo>
                    <a:pt x="482" y="75"/>
                  </a:lnTo>
                  <a:lnTo>
                    <a:pt x="486" y="73"/>
                  </a:lnTo>
                  <a:lnTo>
                    <a:pt x="488" y="71"/>
                  </a:lnTo>
                  <a:lnTo>
                    <a:pt x="488" y="73"/>
                  </a:lnTo>
                  <a:lnTo>
                    <a:pt x="488" y="75"/>
                  </a:lnTo>
                  <a:lnTo>
                    <a:pt x="488" y="76"/>
                  </a:lnTo>
                  <a:lnTo>
                    <a:pt x="490" y="76"/>
                  </a:lnTo>
                  <a:lnTo>
                    <a:pt x="492" y="78"/>
                  </a:lnTo>
                  <a:lnTo>
                    <a:pt x="492" y="80"/>
                  </a:lnTo>
                  <a:lnTo>
                    <a:pt x="492" y="82"/>
                  </a:lnTo>
                  <a:lnTo>
                    <a:pt x="494" y="80"/>
                  </a:lnTo>
                  <a:lnTo>
                    <a:pt x="496" y="80"/>
                  </a:lnTo>
                  <a:lnTo>
                    <a:pt x="496" y="78"/>
                  </a:lnTo>
                  <a:lnTo>
                    <a:pt x="498" y="78"/>
                  </a:lnTo>
                  <a:lnTo>
                    <a:pt x="499" y="78"/>
                  </a:lnTo>
                  <a:lnTo>
                    <a:pt x="501" y="78"/>
                  </a:lnTo>
                  <a:lnTo>
                    <a:pt x="501" y="76"/>
                  </a:lnTo>
                  <a:lnTo>
                    <a:pt x="499" y="76"/>
                  </a:lnTo>
                  <a:lnTo>
                    <a:pt x="498" y="76"/>
                  </a:lnTo>
                  <a:lnTo>
                    <a:pt x="494" y="76"/>
                  </a:lnTo>
                  <a:lnTo>
                    <a:pt x="494" y="75"/>
                  </a:lnTo>
                  <a:lnTo>
                    <a:pt x="492" y="75"/>
                  </a:lnTo>
                  <a:lnTo>
                    <a:pt x="492" y="73"/>
                  </a:lnTo>
                  <a:lnTo>
                    <a:pt x="494" y="73"/>
                  </a:lnTo>
                  <a:lnTo>
                    <a:pt x="496" y="73"/>
                  </a:lnTo>
                  <a:lnTo>
                    <a:pt x="496" y="71"/>
                  </a:lnTo>
                  <a:lnTo>
                    <a:pt x="494" y="69"/>
                  </a:lnTo>
                  <a:lnTo>
                    <a:pt x="496" y="69"/>
                  </a:lnTo>
                  <a:lnTo>
                    <a:pt x="496" y="67"/>
                  </a:lnTo>
                  <a:lnTo>
                    <a:pt x="494" y="67"/>
                  </a:lnTo>
                  <a:lnTo>
                    <a:pt x="492" y="67"/>
                  </a:lnTo>
                  <a:lnTo>
                    <a:pt x="492" y="65"/>
                  </a:lnTo>
                  <a:lnTo>
                    <a:pt x="494" y="65"/>
                  </a:lnTo>
                  <a:lnTo>
                    <a:pt x="496" y="65"/>
                  </a:lnTo>
                  <a:lnTo>
                    <a:pt x="498" y="65"/>
                  </a:lnTo>
                  <a:lnTo>
                    <a:pt x="498" y="63"/>
                  </a:lnTo>
                  <a:lnTo>
                    <a:pt x="496" y="63"/>
                  </a:lnTo>
                  <a:lnTo>
                    <a:pt x="494" y="65"/>
                  </a:lnTo>
                  <a:lnTo>
                    <a:pt x="494" y="63"/>
                  </a:lnTo>
                  <a:lnTo>
                    <a:pt x="496" y="63"/>
                  </a:lnTo>
                  <a:lnTo>
                    <a:pt x="496" y="61"/>
                  </a:lnTo>
                  <a:lnTo>
                    <a:pt x="498" y="61"/>
                  </a:lnTo>
                  <a:lnTo>
                    <a:pt x="499" y="61"/>
                  </a:lnTo>
                  <a:lnTo>
                    <a:pt x="498" y="59"/>
                  </a:lnTo>
                  <a:lnTo>
                    <a:pt x="496" y="59"/>
                  </a:lnTo>
                  <a:lnTo>
                    <a:pt x="498" y="57"/>
                  </a:lnTo>
                  <a:lnTo>
                    <a:pt x="499" y="57"/>
                  </a:lnTo>
                  <a:lnTo>
                    <a:pt x="499" y="55"/>
                  </a:lnTo>
                  <a:lnTo>
                    <a:pt x="501" y="53"/>
                  </a:lnTo>
                  <a:lnTo>
                    <a:pt x="503" y="51"/>
                  </a:lnTo>
                  <a:lnTo>
                    <a:pt x="503" y="50"/>
                  </a:lnTo>
                  <a:lnTo>
                    <a:pt x="505" y="48"/>
                  </a:lnTo>
                  <a:lnTo>
                    <a:pt x="507" y="48"/>
                  </a:lnTo>
                  <a:lnTo>
                    <a:pt x="509" y="48"/>
                  </a:lnTo>
                  <a:lnTo>
                    <a:pt x="513" y="48"/>
                  </a:lnTo>
                  <a:lnTo>
                    <a:pt x="515" y="48"/>
                  </a:lnTo>
                  <a:lnTo>
                    <a:pt x="517" y="50"/>
                  </a:lnTo>
                  <a:lnTo>
                    <a:pt x="517" y="48"/>
                  </a:lnTo>
                  <a:lnTo>
                    <a:pt x="515" y="48"/>
                  </a:lnTo>
                  <a:lnTo>
                    <a:pt x="513" y="46"/>
                  </a:lnTo>
                  <a:lnTo>
                    <a:pt x="511" y="46"/>
                  </a:lnTo>
                  <a:lnTo>
                    <a:pt x="511" y="44"/>
                  </a:lnTo>
                  <a:lnTo>
                    <a:pt x="513" y="44"/>
                  </a:lnTo>
                  <a:lnTo>
                    <a:pt x="513" y="42"/>
                  </a:lnTo>
                  <a:lnTo>
                    <a:pt x="513" y="40"/>
                  </a:lnTo>
                  <a:lnTo>
                    <a:pt x="513" y="38"/>
                  </a:lnTo>
                  <a:lnTo>
                    <a:pt x="515" y="38"/>
                  </a:lnTo>
                  <a:lnTo>
                    <a:pt x="515" y="36"/>
                  </a:lnTo>
                  <a:lnTo>
                    <a:pt x="517" y="36"/>
                  </a:lnTo>
                  <a:lnTo>
                    <a:pt x="519" y="36"/>
                  </a:lnTo>
                  <a:lnTo>
                    <a:pt x="519" y="38"/>
                  </a:lnTo>
                  <a:lnTo>
                    <a:pt x="521" y="38"/>
                  </a:lnTo>
                  <a:lnTo>
                    <a:pt x="523" y="40"/>
                  </a:lnTo>
                  <a:lnTo>
                    <a:pt x="523" y="38"/>
                  </a:lnTo>
                  <a:lnTo>
                    <a:pt x="523" y="40"/>
                  </a:lnTo>
                  <a:lnTo>
                    <a:pt x="524" y="40"/>
                  </a:lnTo>
                  <a:lnTo>
                    <a:pt x="524" y="38"/>
                  </a:lnTo>
                  <a:lnTo>
                    <a:pt x="523" y="38"/>
                  </a:lnTo>
                  <a:lnTo>
                    <a:pt x="523" y="36"/>
                  </a:lnTo>
                  <a:lnTo>
                    <a:pt x="521" y="36"/>
                  </a:lnTo>
                  <a:lnTo>
                    <a:pt x="523" y="34"/>
                  </a:lnTo>
                  <a:lnTo>
                    <a:pt x="521" y="34"/>
                  </a:lnTo>
                  <a:lnTo>
                    <a:pt x="519" y="32"/>
                  </a:lnTo>
                  <a:lnTo>
                    <a:pt x="515" y="34"/>
                  </a:lnTo>
                  <a:lnTo>
                    <a:pt x="515" y="32"/>
                  </a:lnTo>
                  <a:lnTo>
                    <a:pt x="513" y="32"/>
                  </a:lnTo>
                  <a:lnTo>
                    <a:pt x="513" y="30"/>
                  </a:lnTo>
                  <a:lnTo>
                    <a:pt x="511" y="28"/>
                  </a:lnTo>
                  <a:lnTo>
                    <a:pt x="513" y="26"/>
                  </a:lnTo>
                  <a:lnTo>
                    <a:pt x="513" y="28"/>
                  </a:lnTo>
                  <a:lnTo>
                    <a:pt x="513" y="26"/>
                  </a:lnTo>
                  <a:lnTo>
                    <a:pt x="515" y="26"/>
                  </a:lnTo>
                  <a:lnTo>
                    <a:pt x="515" y="28"/>
                  </a:lnTo>
                  <a:lnTo>
                    <a:pt x="517" y="28"/>
                  </a:lnTo>
                  <a:lnTo>
                    <a:pt x="519" y="30"/>
                  </a:lnTo>
                  <a:lnTo>
                    <a:pt x="521" y="30"/>
                  </a:lnTo>
                  <a:lnTo>
                    <a:pt x="521" y="28"/>
                  </a:lnTo>
                  <a:lnTo>
                    <a:pt x="519" y="26"/>
                  </a:lnTo>
                  <a:lnTo>
                    <a:pt x="521" y="26"/>
                  </a:lnTo>
                  <a:lnTo>
                    <a:pt x="523" y="26"/>
                  </a:lnTo>
                  <a:lnTo>
                    <a:pt x="523" y="25"/>
                  </a:lnTo>
                  <a:lnTo>
                    <a:pt x="521" y="25"/>
                  </a:lnTo>
                  <a:lnTo>
                    <a:pt x="519" y="25"/>
                  </a:lnTo>
                  <a:lnTo>
                    <a:pt x="521" y="23"/>
                  </a:lnTo>
                  <a:lnTo>
                    <a:pt x="519" y="23"/>
                  </a:lnTo>
                  <a:lnTo>
                    <a:pt x="519" y="21"/>
                  </a:lnTo>
                  <a:lnTo>
                    <a:pt x="519" y="19"/>
                  </a:lnTo>
                  <a:lnTo>
                    <a:pt x="521" y="19"/>
                  </a:lnTo>
                  <a:lnTo>
                    <a:pt x="521" y="21"/>
                  </a:lnTo>
                  <a:lnTo>
                    <a:pt x="521" y="19"/>
                  </a:lnTo>
                  <a:lnTo>
                    <a:pt x="523" y="19"/>
                  </a:lnTo>
                  <a:lnTo>
                    <a:pt x="523" y="21"/>
                  </a:lnTo>
                  <a:lnTo>
                    <a:pt x="524" y="21"/>
                  </a:lnTo>
                  <a:lnTo>
                    <a:pt x="524" y="23"/>
                  </a:lnTo>
                  <a:lnTo>
                    <a:pt x="526" y="23"/>
                  </a:lnTo>
                  <a:lnTo>
                    <a:pt x="526" y="21"/>
                  </a:lnTo>
                  <a:lnTo>
                    <a:pt x="526" y="23"/>
                  </a:lnTo>
                  <a:lnTo>
                    <a:pt x="528" y="23"/>
                  </a:lnTo>
                  <a:lnTo>
                    <a:pt x="526" y="21"/>
                  </a:lnTo>
                  <a:lnTo>
                    <a:pt x="528" y="19"/>
                  </a:lnTo>
                  <a:lnTo>
                    <a:pt x="530" y="21"/>
                  </a:lnTo>
                  <a:lnTo>
                    <a:pt x="528" y="25"/>
                  </a:lnTo>
                  <a:lnTo>
                    <a:pt x="530" y="25"/>
                  </a:lnTo>
                  <a:lnTo>
                    <a:pt x="530" y="23"/>
                  </a:lnTo>
                  <a:lnTo>
                    <a:pt x="532" y="21"/>
                  </a:lnTo>
                  <a:lnTo>
                    <a:pt x="534" y="23"/>
                  </a:lnTo>
                  <a:lnTo>
                    <a:pt x="534" y="21"/>
                  </a:lnTo>
                  <a:lnTo>
                    <a:pt x="534" y="23"/>
                  </a:lnTo>
                  <a:lnTo>
                    <a:pt x="536" y="26"/>
                  </a:lnTo>
                  <a:lnTo>
                    <a:pt x="538" y="26"/>
                  </a:lnTo>
                  <a:lnTo>
                    <a:pt x="538" y="25"/>
                  </a:lnTo>
                  <a:lnTo>
                    <a:pt x="538" y="23"/>
                  </a:lnTo>
                  <a:lnTo>
                    <a:pt x="538" y="21"/>
                  </a:lnTo>
                  <a:lnTo>
                    <a:pt x="536" y="19"/>
                  </a:lnTo>
                  <a:lnTo>
                    <a:pt x="536" y="17"/>
                  </a:lnTo>
                  <a:lnTo>
                    <a:pt x="540" y="19"/>
                  </a:lnTo>
                  <a:lnTo>
                    <a:pt x="542" y="21"/>
                  </a:lnTo>
                  <a:lnTo>
                    <a:pt x="540" y="23"/>
                  </a:lnTo>
                  <a:lnTo>
                    <a:pt x="542" y="23"/>
                  </a:lnTo>
                  <a:lnTo>
                    <a:pt x="542" y="21"/>
                  </a:lnTo>
                  <a:lnTo>
                    <a:pt x="544" y="19"/>
                  </a:lnTo>
                  <a:lnTo>
                    <a:pt x="546" y="19"/>
                  </a:lnTo>
                  <a:lnTo>
                    <a:pt x="546" y="21"/>
                  </a:lnTo>
                  <a:lnTo>
                    <a:pt x="547" y="21"/>
                  </a:lnTo>
                  <a:lnTo>
                    <a:pt x="549" y="19"/>
                  </a:lnTo>
                  <a:lnTo>
                    <a:pt x="549" y="21"/>
                  </a:lnTo>
                  <a:lnTo>
                    <a:pt x="551" y="21"/>
                  </a:lnTo>
                  <a:lnTo>
                    <a:pt x="551" y="23"/>
                  </a:lnTo>
                  <a:lnTo>
                    <a:pt x="547" y="25"/>
                  </a:lnTo>
                  <a:lnTo>
                    <a:pt x="547" y="26"/>
                  </a:lnTo>
                  <a:lnTo>
                    <a:pt x="546" y="26"/>
                  </a:lnTo>
                  <a:lnTo>
                    <a:pt x="546" y="28"/>
                  </a:lnTo>
                  <a:lnTo>
                    <a:pt x="547" y="28"/>
                  </a:lnTo>
                  <a:lnTo>
                    <a:pt x="546" y="30"/>
                  </a:lnTo>
                  <a:lnTo>
                    <a:pt x="546" y="28"/>
                  </a:lnTo>
                  <a:lnTo>
                    <a:pt x="544" y="30"/>
                  </a:lnTo>
                  <a:lnTo>
                    <a:pt x="542" y="32"/>
                  </a:lnTo>
                  <a:lnTo>
                    <a:pt x="540" y="34"/>
                  </a:lnTo>
                  <a:lnTo>
                    <a:pt x="538" y="38"/>
                  </a:lnTo>
                  <a:lnTo>
                    <a:pt x="538" y="40"/>
                  </a:lnTo>
                  <a:lnTo>
                    <a:pt x="534" y="42"/>
                  </a:lnTo>
                  <a:lnTo>
                    <a:pt x="534" y="44"/>
                  </a:lnTo>
                  <a:lnTo>
                    <a:pt x="534" y="46"/>
                  </a:lnTo>
                  <a:lnTo>
                    <a:pt x="536" y="46"/>
                  </a:lnTo>
                  <a:lnTo>
                    <a:pt x="538" y="46"/>
                  </a:lnTo>
                  <a:lnTo>
                    <a:pt x="538" y="44"/>
                  </a:lnTo>
                  <a:lnTo>
                    <a:pt x="538" y="46"/>
                  </a:lnTo>
                  <a:lnTo>
                    <a:pt x="538" y="48"/>
                  </a:lnTo>
                  <a:lnTo>
                    <a:pt x="540" y="50"/>
                  </a:lnTo>
                  <a:lnTo>
                    <a:pt x="538" y="50"/>
                  </a:lnTo>
                  <a:lnTo>
                    <a:pt x="536" y="50"/>
                  </a:lnTo>
                  <a:lnTo>
                    <a:pt x="536" y="51"/>
                  </a:lnTo>
                  <a:lnTo>
                    <a:pt x="536" y="53"/>
                  </a:lnTo>
                  <a:lnTo>
                    <a:pt x="538" y="53"/>
                  </a:lnTo>
                  <a:lnTo>
                    <a:pt x="538" y="55"/>
                  </a:lnTo>
                  <a:lnTo>
                    <a:pt x="536" y="55"/>
                  </a:lnTo>
                  <a:lnTo>
                    <a:pt x="536" y="57"/>
                  </a:lnTo>
                  <a:lnTo>
                    <a:pt x="534" y="57"/>
                  </a:lnTo>
                  <a:lnTo>
                    <a:pt x="534" y="59"/>
                  </a:lnTo>
                  <a:lnTo>
                    <a:pt x="534" y="61"/>
                  </a:lnTo>
                  <a:lnTo>
                    <a:pt x="534" y="63"/>
                  </a:lnTo>
                  <a:lnTo>
                    <a:pt x="534" y="65"/>
                  </a:lnTo>
                  <a:lnTo>
                    <a:pt x="536" y="67"/>
                  </a:lnTo>
                  <a:lnTo>
                    <a:pt x="536" y="63"/>
                  </a:lnTo>
                  <a:lnTo>
                    <a:pt x="538" y="63"/>
                  </a:lnTo>
                  <a:lnTo>
                    <a:pt x="538" y="65"/>
                  </a:lnTo>
                  <a:lnTo>
                    <a:pt x="538" y="67"/>
                  </a:lnTo>
                  <a:lnTo>
                    <a:pt x="540" y="67"/>
                  </a:lnTo>
                  <a:lnTo>
                    <a:pt x="542" y="65"/>
                  </a:lnTo>
                  <a:lnTo>
                    <a:pt x="542" y="61"/>
                  </a:lnTo>
                  <a:lnTo>
                    <a:pt x="544" y="59"/>
                  </a:lnTo>
                  <a:lnTo>
                    <a:pt x="546" y="57"/>
                  </a:lnTo>
                  <a:lnTo>
                    <a:pt x="546" y="53"/>
                  </a:lnTo>
                  <a:lnTo>
                    <a:pt x="544" y="53"/>
                  </a:lnTo>
                  <a:lnTo>
                    <a:pt x="544" y="50"/>
                  </a:lnTo>
                  <a:lnTo>
                    <a:pt x="546" y="50"/>
                  </a:lnTo>
                  <a:lnTo>
                    <a:pt x="546" y="48"/>
                  </a:lnTo>
                  <a:lnTo>
                    <a:pt x="547" y="46"/>
                  </a:lnTo>
                  <a:lnTo>
                    <a:pt x="549" y="42"/>
                  </a:lnTo>
                  <a:lnTo>
                    <a:pt x="553" y="36"/>
                  </a:lnTo>
                  <a:lnTo>
                    <a:pt x="555" y="34"/>
                  </a:lnTo>
                  <a:lnTo>
                    <a:pt x="555" y="30"/>
                  </a:lnTo>
                  <a:lnTo>
                    <a:pt x="555" y="28"/>
                  </a:lnTo>
                  <a:lnTo>
                    <a:pt x="557" y="26"/>
                  </a:lnTo>
                  <a:lnTo>
                    <a:pt x="557" y="25"/>
                  </a:lnTo>
                  <a:lnTo>
                    <a:pt x="559" y="25"/>
                  </a:lnTo>
                  <a:lnTo>
                    <a:pt x="561" y="21"/>
                  </a:lnTo>
                  <a:lnTo>
                    <a:pt x="563" y="17"/>
                  </a:lnTo>
                  <a:lnTo>
                    <a:pt x="565" y="15"/>
                  </a:lnTo>
                  <a:lnTo>
                    <a:pt x="567" y="13"/>
                  </a:lnTo>
                  <a:lnTo>
                    <a:pt x="569" y="13"/>
                  </a:lnTo>
                  <a:lnTo>
                    <a:pt x="571" y="15"/>
                  </a:lnTo>
                  <a:lnTo>
                    <a:pt x="569" y="19"/>
                  </a:lnTo>
                  <a:lnTo>
                    <a:pt x="571" y="19"/>
                  </a:lnTo>
                  <a:lnTo>
                    <a:pt x="571" y="21"/>
                  </a:lnTo>
                  <a:lnTo>
                    <a:pt x="571" y="23"/>
                  </a:lnTo>
                  <a:lnTo>
                    <a:pt x="569" y="25"/>
                  </a:lnTo>
                  <a:lnTo>
                    <a:pt x="567" y="26"/>
                  </a:lnTo>
                  <a:lnTo>
                    <a:pt x="565" y="28"/>
                  </a:lnTo>
                  <a:lnTo>
                    <a:pt x="565" y="30"/>
                  </a:lnTo>
                  <a:lnTo>
                    <a:pt x="567" y="28"/>
                  </a:lnTo>
                  <a:lnTo>
                    <a:pt x="569" y="28"/>
                  </a:lnTo>
                  <a:lnTo>
                    <a:pt x="571" y="30"/>
                  </a:lnTo>
                  <a:lnTo>
                    <a:pt x="571" y="34"/>
                  </a:lnTo>
                  <a:lnTo>
                    <a:pt x="571" y="36"/>
                  </a:lnTo>
                  <a:lnTo>
                    <a:pt x="571" y="40"/>
                  </a:lnTo>
                  <a:lnTo>
                    <a:pt x="571" y="42"/>
                  </a:lnTo>
                  <a:lnTo>
                    <a:pt x="569" y="42"/>
                  </a:lnTo>
                  <a:lnTo>
                    <a:pt x="571" y="44"/>
                  </a:lnTo>
                  <a:lnTo>
                    <a:pt x="569" y="46"/>
                  </a:lnTo>
                  <a:lnTo>
                    <a:pt x="571" y="46"/>
                  </a:lnTo>
                  <a:lnTo>
                    <a:pt x="571" y="44"/>
                  </a:lnTo>
                  <a:lnTo>
                    <a:pt x="572" y="44"/>
                  </a:lnTo>
                  <a:lnTo>
                    <a:pt x="572" y="42"/>
                  </a:lnTo>
                  <a:lnTo>
                    <a:pt x="574" y="42"/>
                  </a:lnTo>
                  <a:lnTo>
                    <a:pt x="574" y="40"/>
                  </a:lnTo>
                  <a:lnTo>
                    <a:pt x="574" y="38"/>
                  </a:lnTo>
                  <a:lnTo>
                    <a:pt x="574" y="36"/>
                  </a:lnTo>
                  <a:lnTo>
                    <a:pt x="576" y="38"/>
                  </a:lnTo>
                  <a:lnTo>
                    <a:pt x="578" y="36"/>
                  </a:lnTo>
                  <a:lnTo>
                    <a:pt x="580" y="38"/>
                  </a:lnTo>
                  <a:lnTo>
                    <a:pt x="582" y="38"/>
                  </a:lnTo>
                  <a:lnTo>
                    <a:pt x="582" y="36"/>
                  </a:lnTo>
                  <a:lnTo>
                    <a:pt x="580" y="34"/>
                  </a:lnTo>
                  <a:lnTo>
                    <a:pt x="578" y="34"/>
                  </a:lnTo>
                  <a:lnTo>
                    <a:pt x="578" y="32"/>
                  </a:lnTo>
                  <a:lnTo>
                    <a:pt x="580" y="30"/>
                  </a:lnTo>
                  <a:lnTo>
                    <a:pt x="582" y="30"/>
                  </a:lnTo>
                  <a:lnTo>
                    <a:pt x="584" y="32"/>
                  </a:lnTo>
                  <a:lnTo>
                    <a:pt x="584" y="30"/>
                  </a:lnTo>
                  <a:lnTo>
                    <a:pt x="582" y="28"/>
                  </a:lnTo>
                  <a:lnTo>
                    <a:pt x="580" y="28"/>
                  </a:lnTo>
                  <a:lnTo>
                    <a:pt x="580" y="26"/>
                  </a:lnTo>
                  <a:lnTo>
                    <a:pt x="582" y="26"/>
                  </a:lnTo>
                  <a:lnTo>
                    <a:pt x="580" y="25"/>
                  </a:lnTo>
                  <a:lnTo>
                    <a:pt x="580" y="23"/>
                  </a:lnTo>
                  <a:lnTo>
                    <a:pt x="582" y="23"/>
                  </a:lnTo>
                  <a:lnTo>
                    <a:pt x="584" y="23"/>
                  </a:lnTo>
                  <a:lnTo>
                    <a:pt x="586" y="23"/>
                  </a:lnTo>
                  <a:lnTo>
                    <a:pt x="586" y="21"/>
                  </a:lnTo>
                  <a:lnTo>
                    <a:pt x="584" y="21"/>
                  </a:lnTo>
                  <a:lnTo>
                    <a:pt x="584" y="17"/>
                  </a:lnTo>
                  <a:lnTo>
                    <a:pt x="588" y="17"/>
                  </a:lnTo>
                  <a:lnTo>
                    <a:pt x="594" y="17"/>
                  </a:lnTo>
                  <a:lnTo>
                    <a:pt x="588" y="15"/>
                  </a:lnTo>
                  <a:lnTo>
                    <a:pt x="590" y="13"/>
                  </a:lnTo>
                  <a:lnTo>
                    <a:pt x="588" y="13"/>
                  </a:lnTo>
                  <a:lnTo>
                    <a:pt x="586" y="13"/>
                  </a:lnTo>
                  <a:lnTo>
                    <a:pt x="584" y="13"/>
                  </a:lnTo>
                  <a:lnTo>
                    <a:pt x="580" y="13"/>
                  </a:lnTo>
                  <a:lnTo>
                    <a:pt x="578" y="13"/>
                  </a:lnTo>
                  <a:lnTo>
                    <a:pt x="580" y="9"/>
                  </a:lnTo>
                  <a:lnTo>
                    <a:pt x="582" y="9"/>
                  </a:lnTo>
                  <a:lnTo>
                    <a:pt x="584" y="9"/>
                  </a:lnTo>
                  <a:lnTo>
                    <a:pt x="584" y="7"/>
                  </a:lnTo>
                  <a:lnTo>
                    <a:pt x="580" y="7"/>
                  </a:lnTo>
                  <a:lnTo>
                    <a:pt x="582" y="5"/>
                  </a:lnTo>
                  <a:lnTo>
                    <a:pt x="584" y="5"/>
                  </a:lnTo>
                  <a:lnTo>
                    <a:pt x="586" y="5"/>
                  </a:lnTo>
                  <a:lnTo>
                    <a:pt x="586" y="7"/>
                  </a:lnTo>
                  <a:lnTo>
                    <a:pt x="588" y="9"/>
                  </a:lnTo>
                  <a:lnTo>
                    <a:pt x="588" y="7"/>
                  </a:lnTo>
                  <a:lnTo>
                    <a:pt x="588" y="5"/>
                  </a:lnTo>
                  <a:lnTo>
                    <a:pt x="586" y="5"/>
                  </a:lnTo>
                  <a:lnTo>
                    <a:pt x="586" y="3"/>
                  </a:lnTo>
                  <a:lnTo>
                    <a:pt x="588" y="1"/>
                  </a:lnTo>
                  <a:lnTo>
                    <a:pt x="590" y="1"/>
                  </a:lnTo>
                  <a:lnTo>
                    <a:pt x="590" y="0"/>
                  </a:lnTo>
                  <a:lnTo>
                    <a:pt x="592" y="0"/>
                  </a:lnTo>
                  <a:lnTo>
                    <a:pt x="592" y="1"/>
                  </a:lnTo>
                  <a:lnTo>
                    <a:pt x="592" y="3"/>
                  </a:lnTo>
                  <a:lnTo>
                    <a:pt x="594" y="1"/>
                  </a:lnTo>
                  <a:lnTo>
                    <a:pt x="594" y="3"/>
                  </a:lnTo>
                  <a:lnTo>
                    <a:pt x="596" y="3"/>
                  </a:lnTo>
                  <a:lnTo>
                    <a:pt x="597" y="1"/>
                  </a:lnTo>
                  <a:lnTo>
                    <a:pt x="599" y="0"/>
                  </a:lnTo>
                  <a:lnTo>
                    <a:pt x="599" y="1"/>
                  </a:lnTo>
                  <a:lnTo>
                    <a:pt x="601" y="0"/>
                  </a:lnTo>
                  <a:lnTo>
                    <a:pt x="603" y="0"/>
                  </a:lnTo>
                  <a:lnTo>
                    <a:pt x="603" y="1"/>
                  </a:lnTo>
                  <a:lnTo>
                    <a:pt x="603" y="3"/>
                  </a:lnTo>
                  <a:lnTo>
                    <a:pt x="603" y="5"/>
                  </a:lnTo>
                  <a:lnTo>
                    <a:pt x="605" y="3"/>
                  </a:lnTo>
                  <a:lnTo>
                    <a:pt x="609" y="3"/>
                  </a:lnTo>
                  <a:lnTo>
                    <a:pt x="611" y="3"/>
                  </a:lnTo>
                  <a:lnTo>
                    <a:pt x="611" y="5"/>
                  </a:lnTo>
                  <a:lnTo>
                    <a:pt x="611" y="7"/>
                  </a:lnTo>
                  <a:lnTo>
                    <a:pt x="609" y="9"/>
                  </a:lnTo>
                  <a:lnTo>
                    <a:pt x="611" y="9"/>
                  </a:lnTo>
                  <a:lnTo>
                    <a:pt x="609" y="11"/>
                  </a:lnTo>
                  <a:lnTo>
                    <a:pt x="605" y="11"/>
                  </a:lnTo>
                  <a:lnTo>
                    <a:pt x="607" y="13"/>
                  </a:lnTo>
                  <a:lnTo>
                    <a:pt x="607" y="15"/>
                  </a:lnTo>
                  <a:lnTo>
                    <a:pt x="603" y="15"/>
                  </a:lnTo>
                  <a:lnTo>
                    <a:pt x="603" y="13"/>
                  </a:lnTo>
                  <a:lnTo>
                    <a:pt x="603" y="15"/>
                  </a:lnTo>
                  <a:lnTo>
                    <a:pt x="601" y="15"/>
                  </a:lnTo>
                  <a:lnTo>
                    <a:pt x="601" y="13"/>
                  </a:lnTo>
                  <a:lnTo>
                    <a:pt x="599" y="15"/>
                  </a:lnTo>
                  <a:lnTo>
                    <a:pt x="596" y="17"/>
                  </a:lnTo>
                  <a:lnTo>
                    <a:pt x="597" y="17"/>
                  </a:lnTo>
                  <a:lnTo>
                    <a:pt x="599" y="17"/>
                  </a:lnTo>
                  <a:lnTo>
                    <a:pt x="601" y="17"/>
                  </a:lnTo>
                  <a:lnTo>
                    <a:pt x="603" y="17"/>
                  </a:lnTo>
                  <a:lnTo>
                    <a:pt x="605" y="17"/>
                  </a:lnTo>
                  <a:lnTo>
                    <a:pt x="603" y="21"/>
                  </a:lnTo>
                  <a:lnTo>
                    <a:pt x="599" y="23"/>
                  </a:lnTo>
                  <a:lnTo>
                    <a:pt x="596" y="26"/>
                  </a:lnTo>
                  <a:lnTo>
                    <a:pt x="601" y="25"/>
                  </a:lnTo>
                  <a:lnTo>
                    <a:pt x="603" y="23"/>
                  </a:lnTo>
                  <a:lnTo>
                    <a:pt x="605" y="21"/>
                  </a:lnTo>
                  <a:lnTo>
                    <a:pt x="607" y="19"/>
                  </a:lnTo>
                  <a:lnTo>
                    <a:pt x="609" y="19"/>
                  </a:lnTo>
                  <a:lnTo>
                    <a:pt x="609" y="21"/>
                  </a:lnTo>
                  <a:lnTo>
                    <a:pt x="609" y="25"/>
                  </a:lnTo>
                  <a:lnTo>
                    <a:pt x="605" y="26"/>
                  </a:lnTo>
                  <a:lnTo>
                    <a:pt x="603" y="30"/>
                  </a:lnTo>
                  <a:lnTo>
                    <a:pt x="601" y="32"/>
                  </a:lnTo>
                  <a:lnTo>
                    <a:pt x="599" y="32"/>
                  </a:lnTo>
                  <a:lnTo>
                    <a:pt x="601" y="32"/>
                  </a:lnTo>
                  <a:lnTo>
                    <a:pt x="601" y="36"/>
                  </a:lnTo>
                  <a:lnTo>
                    <a:pt x="603" y="30"/>
                  </a:lnTo>
                  <a:lnTo>
                    <a:pt x="603" y="32"/>
                  </a:lnTo>
                  <a:lnTo>
                    <a:pt x="605" y="30"/>
                  </a:lnTo>
                  <a:lnTo>
                    <a:pt x="607" y="30"/>
                  </a:lnTo>
                  <a:lnTo>
                    <a:pt x="609" y="30"/>
                  </a:lnTo>
                  <a:lnTo>
                    <a:pt x="607" y="32"/>
                  </a:lnTo>
                  <a:lnTo>
                    <a:pt x="605" y="34"/>
                  </a:lnTo>
                  <a:lnTo>
                    <a:pt x="607" y="34"/>
                  </a:lnTo>
                  <a:lnTo>
                    <a:pt x="609" y="32"/>
                  </a:lnTo>
                  <a:lnTo>
                    <a:pt x="609" y="30"/>
                  </a:lnTo>
                  <a:lnTo>
                    <a:pt x="611" y="30"/>
                  </a:lnTo>
                  <a:lnTo>
                    <a:pt x="613" y="28"/>
                  </a:lnTo>
                  <a:lnTo>
                    <a:pt x="611" y="36"/>
                  </a:lnTo>
                  <a:lnTo>
                    <a:pt x="609" y="40"/>
                  </a:lnTo>
                  <a:lnTo>
                    <a:pt x="609" y="42"/>
                  </a:lnTo>
                  <a:lnTo>
                    <a:pt x="611" y="48"/>
                  </a:lnTo>
                  <a:lnTo>
                    <a:pt x="613" y="50"/>
                  </a:lnTo>
                  <a:lnTo>
                    <a:pt x="611" y="53"/>
                  </a:lnTo>
                  <a:lnTo>
                    <a:pt x="609" y="55"/>
                  </a:lnTo>
                  <a:lnTo>
                    <a:pt x="611" y="55"/>
                  </a:lnTo>
                  <a:lnTo>
                    <a:pt x="613" y="51"/>
                  </a:lnTo>
                  <a:lnTo>
                    <a:pt x="613" y="48"/>
                  </a:lnTo>
                  <a:lnTo>
                    <a:pt x="611" y="44"/>
                  </a:lnTo>
                  <a:lnTo>
                    <a:pt x="611" y="42"/>
                  </a:lnTo>
                  <a:lnTo>
                    <a:pt x="611" y="38"/>
                  </a:lnTo>
                  <a:lnTo>
                    <a:pt x="611" y="36"/>
                  </a:lnTo>
                  <a:lnTo>
                    <a:pt x="613" y="34"/>
                  </a:lnTo>
                  <a:lnTo>
                    <a:pt x="613" y="32"/>
                  </a:lnTo>
                  <a:lnTo>
                    <a:pt x="613" y="30"/>
                  </a:lnTo>
                  <a:lnTo>
                    <a:pt x="615" y="30"/>
                  </a:lnTo>
                  <a:lnTo>
                    <a:pt x="617" y="32"/>
                  </a:lnTo>
                  <a:lnTo>
                    <a:pt x="617" y="30"/>
                  </a:lnTo>
                  <a:lnTo>
                    <a:pt x="617" y="28"/>
                  </a:lnTo>
                  <a:lnTo>
                    <a:pt x="615" y="28"/>
                  </a:lnTo>
                  <a:lnTo>
                    <a:pt x="613" y="26"/>
                  </a:lnTo>
                  <a:lnTo>
                    <a:pt x="613" y="25"/>
                  </a:lnTo>
                  <a:lnTo>
                    <a:pt x="615" y="23"/>
                  </a:lnTo>
                  <a:lnTo>
                    <a:pt x="615" y="19"/>
                  </a:lnTo>
                  <a:lnTo>
                    <a:pt x="617" y="19"/>
                  </a:lnTo>
                  <a:lnTo>
                    <a:pt x="617" y="17"/>
                  </a:lnTo>
                  <a:lnTo>
                    <a:pt x="615" y="17"/>
                  </a:lnTo>
                  <a:lnTo>
                    <a:pt x="615" y="15"/>
                  </a:lnTo>
                  <a:lnTo>
                    <a:pt x="617" y="13"/>
                  </a:lnTo>
                  <a:lnTo>
                    <a:pt x="617" y="11"/>
                  </a:lnTo>
                  <a:lnTo>
                    <a:pt x="619" y="9"/>
                  </a:lnTo>
                  <a:lnTo>
                    <a:pt x="621" y="7"/>
                  </a:lnTo>
                  <a:lnTo>
                    <a:pt x="622" y="5"/>
                  </a:lnTo>
                  <a:lnTo>
                    <a:pt x="624" y="5"/>
                  </a:lnTo>
                  <a:lnTo>
                    <a:pt x="626" y="7"/>
                  </a:lnTo>
                  <a:lnTo>
                    <a:pt x="628" y="5"/>
                  </a:lnTo>
                  <a:lnTo>
                    <a:pt x="630" y="7"/>
                  </a:lnTo>
                  <a:lnTo>
                    <a:pt x="630" y="9"/>
                  </a:lnTo>
                  <a:lnTo>
                    <a:pt x="634" y="9"/>
                  </a:lnTo>
                  <a:lnTo>
                    <a:pt x="634" y="11"/>
                  </a:lnTo>
                  <a:lnTo>
                    <a:pt x="632" y="11"/>
                  </a:lnTo>
                  <a:lnTo>
                    <a:pt x="630" y="11"/>
                  </a:lnTo>
                  <a:lnTo>
                    <a:pt x="632" y="13"/>
                  </a:lnTo>
                  <a:lnTo>
                    <a:pt x="634" y="11"/>
                  </a:lnTo>
                  <a:lnTo>
                    <a:pt x="632" y="13"/>
                  </a:lnTo>
                  <a:lnTo>
                    <a:pt x="634" y="13"/>
                  </a:lnTo>
                  <a:lnTo>
                    <a:pt x="632" y="15"/>
                  </a:lnTo>
                  <a:lnTo>
                    <a:pt x="632" y="17"/>
                  </a:lnTo>
                  <a:lnTo>
                    <a:pt x="634" y="17"/>
                  </a:lnTo>
                  <a:lnTo>
                    <a:pt x="634" y="15"/>
                  </a:lnTo>
                  <a:lnTo>
                    <a:pt x="640" y="13"/>
                  </a:lnTo>
                  <a:lnTo>
                    <a:pt x="640" y="11"/>
                  </a:lnTo>
                  <a:lnTo>
                    <a:pt x="644" y="9"/>
                  </a:lnTo>
                  <a:lnTo>
                    <a:pt x="644" y="11"/>
                  </a:lnTo>
                  <a:lnTo>
                    <a:pt x="644" y="15"/>
                  </a:lnTo>
                  <a:lnTo>
                    <a:pt x="644" y="17"/>
                  </a:lnTo>
                  <a:lnTo>
                    <a:pt x="645" y="15"/>
                  </a:lnTo>
                  <a:lnTo>
                    <a:pt x="647" y="13"/>
                  </a:lnTo>
                  <a:lnTo>
                    <a:pt x="647" y="11"/>
                  </a:lnTo>
                  <a:lnTo>
                    <a:pt x="649" y="9"/>
                  </a:lnTo>
                  <a:lnTo>
                    <a:pt x="653" y="11"/>
                  </a:lnTo>
                  <a:lnTo>
                    <a:pt x="651" y="13"/>
                  </a:lnTo>
                  <a:lnTo>
                    <a:pt x="653" y="13"/>
                  </a:lnTo>
                  <a:lnTo>
                    <a:pt x="655" y="13"/>
                  </a:lnTo>
                  <a:lnTo>
                    <a:pt x="657" y="13"/>
                  </a:lnTo>
                  <a:lnTo>
                    <a:pt x="657" y="15"/>
                  </a:lnTo>
                  <a:lnTo>
                    <a:pt x="655" y="17"/>
                  </a:lnTo>
                  <a:lnTo>
                    <a:pt x="653" y="19"/>
                  </a:lnTo>
                  <a:lnTo>
                    <a:pt x="651" y="19"/>
                  </a:lnTo>
                  <a:lnTo>
                    <a:pt x="653" y="21"/>
                  </a:lnTo>
                  <a:lnTo>
                    <a:pt x="659" y="17"/>
                  </a:lnTo>
                  <a:lnTo>
                    <a:pt x="663" y="17"/>
                  </a:lnTo>
                  <a:lnTo>
                    <a:pt x="665" y="15"/>
                  </a:lnTo>
                  <a:lnTo>
                    <a:pt x="665" y="17"/>
                  </a:lnTo>
                  <a:lnTo>
                    <a:pt x="669" y="19"/>
                  </a:lnTo>
                  <a:lnTo>
                    <a:pt x="669" y="21"/>
                  </a:lnTo>
                  <a:lnTo>
                    <a:pt x="670" y="21"/>
                  </a:lnTo>
                  <a:lnTo>
                    <a:pt x="674" y="19"/>
                  </a:lnTo>
                  <a:lnTo>
                    <a:pt x="674" y="21"/>
                  </a:lnTo>
                  <a:lnTo>
                    <a:pt x="676" y="21"/>
                  </a:lnTo>
                  <a:lnTo>
                    <a:pt x="678" y="23"/>
                  </a:lnTo>
                  <a:lnTo>
                    <a:pt x="678" y="25"/>
                  </a:lnTo>
                  <a:lnTo>
                    <a:pt x="676" y="28"/>
                  </a:lnTo>
                  <a:lnTo>
                    <a:pt x="674" y="30"/>
                  </a:lnTo>
                  <a:lnTo>
                    <a:pt x="672" y="30"/>
                  </a:lnTo>
                  <a:lnTo>
                    <a:pt x="670" y="30"/>
                  </a:lnTo>
                  <a:lnTo>
                    <a:pt x="669" y="32"/>
                  </a:lnTo>
                  <a:lnTo>
                    <a:pt x="667" y="32"/>
                  </a:lnTo>
                  <a:lnTo>
                    <a:pt x="665" y="34"/>
                  </a:lnTo>
                  <a:lnTo>
                    <a:pt x="663" y="36"/>
                  </a:lnTo>
                  <a:lnTo>
                    <a:pt x="661" y="38"/>
                  </a:lnTo>
                  <a:lnTo>
                    <a:pt x="663" y="38"/>
                  </a:lnTo>
                  <a:lnTo>
                    <a:pt x="663" y="40"/>
                  </a:lnTo>
                  <a:lnTo>
                    <a:pt x="661" y="42"/>
                  </a:lnTo>
                  <a:lnTo>
                    <a:pt x="659" y="42"/>
                  </a:lnTo>
                  <a:lnTo>
                    <a:pt x="659" y="44"/>
                  </a:lnTo>
                  <a:lnTo>
                    <a:pt x="659" y="46"/>
                  </a:lnTo>
                  <a:lnTo>
                    <a:pt x="657" y="44"/>
                  </a:lnTo>
                  <a:lnTo>
                    <a:pt x="653" y="46"/>
                  </a:lnTo>
                  <a:lnTo>
                    <a:pt x="649" y="46"/>
                  </a:lnTo>
                  <a:lnTo>
                    <a:pt x="644" y="46"/>
                  </a:lnTo>
                  <a:lnTo>
                    <a:pt x="642" y="48"/>
                  </a:lnTo>
                  <a:lnTo>
                    <a:pt x="640" y="46"/>
                  </a:lnTo>
                  <a:lnTo>
                    <a:pt x="636" y="48"/>
                  </a:lnTo>
                  <a:lnTo>
                    <a:pt x="634" y="48"/>
                  </a:lnTo>
                  <a:lnTo>
                    <a:pt x="630" y="48"/>
                  </a:lnTo>
                  <a:lnTo>
                    <a:pt x="628" y="46"/>
                  </a:lnTo>
                  <a:lnTo>
                    <a:pt x="624" y="46"/>
                  </a:lnTo>
                  <a:lnTo>
                    <a:pt x="622" y="46"/>
                  </a:lnTo>
                  <a:lnTo>
                    <a:pt x="621" y="46"/>
                  </a:lnTo>
                  <a:lnTo>
                    <a:pt x="624" y="46"/>
                  </a:lnTo>
                  <a:lnTo>
                    <a:pt x="626" y="46"/>
                  </a:lnTo>
                  <a:lnTo>
                    <a:pt x="624" y="48"/>
                  </a:lnTo>
                  <a:lnTo>
                    <a:pt x="624" y="50"/>
                  </a:lnTo>
                  <a:lnTo>
                    <a:pt x="622" y="50"/>
                  </a:lnTo>
                  <a:lnTo>
                    <a:pt x="624" y="50"/>
                  </a:lnTo>
                  <a:lnTo>
                    <a:pt x="626" y="50"/>
                  </a:lnTo>
                  <a:lnTo>
                    <a:pt x="628" y="50"/>
                  </a:lnTo>
                  <a:lnTo>
                    <a:pt x="626" y="50"/>
                  </a:lnTo>
                  <a:lnTo>
                    <a:pt x="626" y="51"/>
                  </a:lnTo>
                  <a:lnTo>
                    <a:pt x="632" y="50"/>
                  </a:lnTo>
                  <a:lnTo>
                    <a:pt x="634" y="51"/>
                  </a:lnTo>
                  <a:lnTo>
                    <a:pt x="634" y="50"/>
                  </a:lnTo>
                  <a:lnTo>
                    <a:pt x="636" y="50"/>
                  </a:lnTo>
                  <a:lnTo>
                    <a:pt x="636" y="51"/>
                  </a:lnTo>
                  <a:lnTo>
                    <a:pt x="636" y="53"/>
                  </a:lnTo>
                  <a:lnTo>
                    <a:pt x="640" y="51"/>
                  </a:lnTo>
                  <a:lnTo>
                    <a:pt x="644" y="51"/>
                  </a:lnTo>
                  <a:lnTo>
                    <a:pt x="645" y="51"/>
                  </a:lnTo>
                  <a:lnTo>
                    <a:pt x="649" y="51"/>
                  </a:lnTo>
                  <a:lnTo>
                    <a:pt x="649" y="53"/>
                  </a:lnTo>
                  <a:lnTo>
                    <a:pt x="647" y="55"/>
                  </a:lnTo>
                  <a:lnTo>
                    <a:pt x="645" y="55"/>
                  </a:lnTo>
                  <a:lnTo>
                    <a:pt x="645" y="57"/>
                  </a:lnTo>
                  <a:lnTo>
                    <a:pt x="644" y="59"/>
                  </a:lnTo>
                  <a:lnTo>
                    <a:pt x="645" y="59"/>
                  </a:lnTo>
                  <a:lnTo>
                    <a:pt x="647" y="57"/>
                  </a:lnTo>
                  <a:lnTo>
                    <a:pt x="647" y="55"/>
                  </a:lnTo>
                  <a:lnTo>
                    <a:pt x="649" y="55"/>
                  </a:lnTo>
                  <a:lnTo>
                    <a:pt x="651" y="55"/>
                  </a:lnTo>
                  <a:lnTo>
                    <a:pt x="653" y="57"/>
                  </a:lnTo>
                  <a:lnTo>
                    <a:pt x="653" y="59"/>
                  </a:lnTo>
                  <a:lnTo>
                    <a:pt x="653" y="61"/>
                  </a:lnTo>
                  <a:lnTo>
                    <a:pt x="651" y="63"/>
                  </a:lnTo>
                  <a:lnTo>
                    <a:pt x="649" y="65"/>
                  </a:lnTo>
                  <a:lnTo>
                    <a:pt x="649" y="69"/>
                  </a:lnTo>
                  <a:lnTo>
                    <a:pt x="649" y="71"/>
                  </a:lnTo>
                  <a:lnTo>
                    <a:pt x="649" y="69"/>
                  </a:lnTo>
                  <a:lnTo>
                    <a:pt x="651" y="67"/>
                  </a:lnTo>
                  <a:lnTo>
                    <a:pt x="653" y="65"/>
                  </a:lnTo>
                  <a:lnTo>
                    <a:pt x="655" y="65"/>
                  </a:lnTo>
                  <a:lnTo>
                    <a:pt x="659" y="63"/>
                  </a:lnTo>
                  <a:lnTo>
                    <a:pt x="661" y="61"/>
                  </a:lnTo>
                  <a:lnTo>
                    <a:pt x="661" y="63"/>
                  </a:lnTo>
                  <a:lnTo>
                    <a:pt x="659" y="65"/>
                  </a:lnTo>
                  <a:lnTo>
                    <a:pt x="661" y="65"/>
                  </a:lnTo>
                  <a:lnTo>
                    <a:pt x="663" y="65"/>
                  </a:lnTo>
                  <a:lnTo>
                    <a:pt x="663" y="63"/>
                  </a:lnTo>
                  <a:lnTo>
                    <a:pt x="663" y="61"/>
                  </a:lnTo>
                  <a:lnTo>
                    <a:pt x="665" y="59"/>
                  </a:lnTo>
                  <a:lnTo>
                    <a:pt x="663" y="59"/>
                  </a:lnTo>
                  <a:lnTo>
                    <a:pt x="663" y="57"/>
                  </a:lnTo>
                  <a:lnTo>
                    <a:pt x="661" y="55"/>
                  </a:lnTo>
                  <a:lnTo>
                    <a:pt x="663" y="55"/>
                  </a:lnTo>
                  <a:lnTo>
                    <a:pt x="667" y="53"/>
                  </a:lnTo>
                  <a:lnTo>
                    <a:pt x="667" y="55"/>
                  </a:lnTo>
                  <a:lnTo>
                    <a:pt x="665" y="57"/>
                  </a:lnTo>
                  <a:lnTo>
                    <a:pt x="669" y="55"/>
                  </a:lnTo>
                  <a:lnTo>
                    <a:pt x="669" y="57"/>
                  </a:lnTo>
                  <a:lnTo>
                    <a:pt x="669" y="59"/>
                  </a:lnTo>
                  <a:lnTo>
                    <a:pt x="670" y="61"/>
                  </a:lnTo>
                  <a:lnTo>
                    <a:pt x="670" y="63"/>
                  </a:lnTo>
                  <a:lnTo>
                    <a:pt x="670" y="65"/>
                  </a:lnTo>
                  <a:lnTo>
                    <a:pt x="670" y="63"/>
                  </a:lnTo>
                  <a:lnTo>
                    <a:pt x="670" y="61"/>
                  </a:lnTo>
                  <a:lnTo>
                    <a:pt x="670" y="59"/>
                  </a:lnTo>
                  <a:lnTo>
                    <a:pt x="670" y="57"/>
                  </a:lnTo>
                  <a:lnTo>
                    <a:pt x="672" y="55"/>
                  </a:lnTo>
                  <a:lnTo>
                    <a:pt x="674" y="55"/>
                  </a:lnTo>
                  <a:lnTo>
                    <a:pt x="676" y="55"/>
                  </a:lnTo>
                  <a:lnTo>
                    <a:pt x="676" y="57"/>
                  </a:lnTo>
                  <a:lnTo>
                    <a:pt x="678" y="57"/>
                  </a:lnTo>
                  <a:lnTo>
                    <a:pt x="678" y="55"/>
                  </a:lnTo>
                  <a:lnTo>
                    <a:pt x="680" y="59"/>
                  </a:lnTo>
                  <a:lnTo>
                    <a:pt x="682" y="61"/>
                  </a:lnTo>
                  <a:lnTo>
                    <a:pt x="682" y="63"/>
                  </a:lnTo>
                  <a:lnTo>
                    <a:pt x="684" y="65"/>
                  </a:lnTo>
                  <a:lnTo>
                    <a:pt x="684" y="67"/>
                  </a:lnTo>
                  <a:lnTo>
                    <a:pt x="684" y="69"/>
                  </a:lnTo>
                  <a:lnTo>
                    <a:pt x="680" y="71"/>
                  </a:lnTo>
                  <a:lnTo>
                    <a:pt x="678" y="71"/>
                  </a:lnTo>
                  <a:lnTo>
                    <a:pt x="676" y="71"/>
                  </a:lnTo>
                  <a:lnTo>
                    <a:pt x="674" y="71"/>
                  </a:lnTo>
                  <a:lnTo>
                    <a:pt x="672" y="69"/>
                  </a:lnTo>
                  <a:lnTo>
                    <a:pt x="670" y="69"/>
                  </a:lnTo>
                  <a:lnTo>
                    <a:pt x="669" y="67"/>
                  </a:lnTo>
                  <a:lnTo>
                    <a:pt x="667" y="67"/>
                  </a:lnTo>
                  <a:lnTo>
                    <a:pt x="663" y="67"/>
                  </a:lnTo>
                  <a:lnTo>
                    <a:pt x="665" y="71"/>
                  </a:lnTo>
                  <a:lnTo>
                    <a:pt x="667" y="71"/>
                  </a:lnTo>
                  <a:lnTo>
                    <a:pt x="667" y="73"/>
                  </a:lnTo>
                  <a:lnTo>
                    <a:pt x="667" y="75"/>
                  </a:lnTo>
                  <a:lnTo>
                    <a:pt x="665" y="75"/>
                  </a:lnTo>
                  <a:lnTo>
                    <a:pt x="665" y="76"/>
                  </a:lnTo>
                  <a:lnTo>
                    <a:pt x="665" y="78"/>
                  </a:lnTo>
                  <a:lnTo>
                    <a:pt x="665" y="80"/>
                  </a:lnTo>
                  <a:lnTo>
                    <a:pt x="663" y="80"/>
                  </a:lnTo>
                  <a:lnTo>
                    <a:pt x="663" y="82"/>
                  </a:lnTo>
                  <a:lnTo>
                    <a:pt x="661" y="82"/>
                  </a:lnTo>
                  <a:lnTo>
                    <a:pt x="659" y="82"/>
                  </a:lnTo>
                  <a:lnTo>
                    <a:pt x="657" y="84"/>
                  </a:lnTo>
                  <a:lnTo>
                    <a:pt x="657" y="86"/>
                  </a:lnTo>
                  <a:lnTo>
                    <a:pt x="655" y="86"/>
                  </a:lnTo>
                  <a:lnTo>
                    <a:pt x="655" y="88"/>
                  </a:lnTo>
                  <a:lnTo>
                    <a:pt x="653" y="88"/>
                  </a:lnTo>
                  <a:lnTo>
                    <a:pt x="651" y="88"/>
                  </a:lnTo>
                  <a:lnTo>
                    <a:pt x="649" y="90"/>
                  </a:lnTo>
                  <a:lnTo>
                    <a:pt x="647" y="92"/>
                  </a:lnTo>
                  <a:lnTo>
                    <a:pt x="647" y="94"/>
                  </a:lnTo>
                  <a:lnTo>
                    <a:pt x="649" y="94"/>
                  </a:lnTo>
                  <a:lnTo>
                    <a:pt x="649" y="96"/>
                  </a:lnTo>
                  <a:lnTo>
                    <a:pt x="649" y="98"/>
                  </a:lnTo>
                  <a:lnTo>
                    <a:pt x="647" y="101"/>
                  </a:lnTo>
                  <a:lnTo>
                    <a:pt x="647" y="103"/>
                  </a:lnTo>
                  <a:lnTo>
                    <a:pt x="647" y="105"/>
                  </a:lnTo>
                  <a:lnTo>
                    <a:pt x="645" y="107"/>
                  </a:lnTo>
                  <a:lnTo>
                    <a:pt x="644" y="107"/>
                  </a:lnTo>
                  <a:lnTo>
                    <a:pt x="642" y="107"/>
                  </a:lnTo>
                  <a:lnTo>
                    <a:pt x="640" y="105"/>
                  </a:lnTo>
                  <a:lnTo>
                    <a:pt x="638" y="103"/>
                  </a:lnTo>
                  <a:lnTo>
                    <a:pt x="638" y="101"/>
                  </a:lnTo>
                  <a:lnTo>
                    <a:pt x="638" y="99"/>
                  </a:lnTo>
                  <a:lnTo>
                    <a:pt x="638" y="98"/>
                  </a:lnTo>
                  <a:lnTo>
                    <a:pt x="647" y="80"/>
                  </a:lnTo>
                  <a:lnTo>
                    <a:pt x="640" y="69"/>
                  </a:lnTo>
                  <a:lnTo>
                    <a:pt x="621" y="67"/>
                  </a:lnTo>
                  <a:lnTo>
                    <a:pt x="619" y="65"/>
                  </a:lnTo>
                  <a:lnTo>
                    <a:pt x="619" y="63"/>
                  </a:lnTo>
                  <a:lnTo>
                    <a:pt x="615" y="63"/>
                  </a:lnTo>
                  <a:lnTo>
                    <a:pt x="613" y="61"/>
                  </a:lnTo>
                  <a:lnTo>
                    <a:pt x="611" y="61"/>
                  </a:lnTo>
                  <a:lnTo>
                    <a:pt x="609" y="59"/>
                  </a:lnTo>
                  <a:lnTo>
                    <a:pt x="609" y="55"/>
                  </a:lnTo>
                  <a:lnTo>
                    <a:pt x="609" y="53"/>
                  </a:lnTo>
                  <a:lnTo>
                    <a:pt x="607" y="53"/>
                  </a:lnTo>
                  <a:lnTo>
                    <a:pt x="603" y="55"/>
                  </a:lnTo>
                  <a:lnTo>
                    <a:pt x="601" y="55"/>
                  </a:lnTo>
                  <a:lnTo>
                    <a:pt x="599" y="57"/>
                  </a:lnTo>
                  <a:lnTo>
                    <a:pt x="597" y="59"/>
                  </a:lnTo>
                  <a:lnTo>
                    <a:pt x="596" y="61"/>
                  </a:lnTo>
                  <a:lnTo>
                    <a:pt x="594" y="61"/>
                  </a:lnTo>
                  <a:lnTo>
                    <a:pt x="594" y="63"/>
                  </a:lnTo>
                  <a:lnTo>
                    <a:pt x="594" y="65"/>
                  </a:lnTo>
                  <a:lnTo>
                    <a:pt x="586" y="67"/>
                  </a:lnTo>
                  <a:lnTo>
                    <a:pt x="582" y="67"/>
                  </a:lnTo>
                  <a:lnTo>
                    <a:pt x="580" y="67"/>
                  </a:lnTo>
                  <a:lnTo>
                    <a:pt x="578" y="67"/>
                  </a:lnTo>
                  <a:lnTo>
                    <a:pt x="576" y="67"/>
                  </a:lnTo>
                  <a:lnTo>
                    <a:pt x="572" y="69"/>
                  </a:lnTo>
                  <a:lnTo>
                    <a:pt x="572" y="71"/>
                  </a:lnTo>
                  <a:lnTo>
                    <a:pt x="572" y="73"/>
                  </a:lnTo>
                  <a:lnTo>
                    <a:pt x="572" y="75"/>
                  </a:lnTo>
                  <a:lnTo>
                    <a:pt x="571" y="76"/>
                  </a:lnTo>
                  <a:lnTo>
                    <a:pt x="569" y="78"/>
                  </a:lnTo>
                  <a:lnTo>
                    <a:pt x="569" y="80"/>
                  </a:lnTo>
                  <a:lnTo>
                    <a:pt x="567" y="80"/>
                  </a:lnTo>
                  <a:lnTo>
                    <a:pt x="567" y="82"/>
                  </a:lnTo>
                  <a:lnTo>
                    <a:pt x="565" y="84"/>
                  </a:lnTo>
                  <a:lnTo>
                    <a:pt x="563" y="84"/>
                  </a:lnTo>
                  <a:lnTo>
                    <a:pt x="561" y="86"/>
                  </a:lnTo>
                  <a:lnTo>
                    <a:pt x="563" y="88"/>
                  </a:lnTo>
                  <a:lnTo>
                    <a:pt x="565" y="90"/>
                  </a:lnTo>
                  <a:lnTo>
                    <a:pt x="565" y="92"/>
                  </a:lnTo>
                  <a:lnTo>
                    <a:pt x="563" y="94"/>
                  </a:lnTo>
                  <a:lnTo>
                    <a:pt x="563" y="96"/>
                  </a:lnTo>
                  <a:lnTo>
                    <a:pt x="563" y="98"/>
                  </a:lnTo>
                  <a:lnTo>
                    <a:pt x="561" y="99"/>
                  </a:lnTo>
                  <a:lnTo>
                    <a:pt x="563" y="101"/>
                  </a:lnTo>
                  <a:lnTo>
                    <a:pt x="563" y="103"/>
                  </a:lnTo>
                  <a:lnTo>
                    <a:pt x="561" y="105"/>
                  </a:lnTo>
                  <a:lnTo>
                    <a:pt x="561" y="107"/>
                  </a:lnTo>
                  <a:lnTo>
                    <a:pt x="561" y="109"/>
                  </a:lnTo>
                  <a:lnTo>
                    <a:pt x="561" y="111"/>
                  </a:lnTo>
                  <a:lnTo>
                    <a:pt x="561" y="113"/>
                  </a:lnTo>
                  <a:lnTo>
                    <a:pt x="563" y="115"/>
                  </a:lnTo>
                  <a:lnTo>
                    <a:pt x="563" y="117"/>
                  </a:lnTo>
                  <a:lnTo>
                    <a:pt x="563" y="119"/>
                  </a:lnTo>
                  <a:lnTo>
                    <a:pt x="565" y="121"/>
                  </a:lnTo>
                  <a:lnTo>
                    <a:pt x="565" y="123"/>
                  </a:lnTo>
                  <a:lnTo>
                    <a:pt x="565" y="124"/>
                  </a:lnTo>
                  <a:lnTo>
                    <a:pt x="563" y="126"/>
                  </a:lnTo>
                  <a:lnTo>
                    <a:pt x="563" y="128"/>
                  </a:lnTo>
                  <a:lnTo>
                    <a:pt x="561" y="130"/>
                  </a:lnTo>
                  <a:lnTo>
                    <a:pt x="561" y="132"/>
                  </a:lnTo>
                  <a:lnTo>
                    <a:pt x="559" y="132"/>
                  </a:lnTo>
                  <a:lnTo>
                    <a:pt x="557" y="132"/>
                  </a:lnTo>
                  <a:lnTo>
                    <a:pt x="555" y="134"/>
                  </a:lnTo>
                  <a:lnTo>
                    <a:pt x="553" y="136"/>
                  </a:lnTo>
                  <a:lnTo>
                    <a:pt x="553" y="138"/>
                  </a:lnTo>
                  <a:lnTo>
                    <a:pt x="551" y="140"/>
                  </a:lnTo>
                  <a:lnTo>
                    <a:pt x="551" y="142"/>
                  </a:lnTo>
                  <a:lnTo>
                    <a:pt x="551" y="144"/>
                  </a:lnTo>
                  <a:lnTo>
                    <a:pt x="551" y="148"/>
                  </a:lnTo>
                  <a:lnTo>
                    <a:pt x="549" y="149"/>
                  </a:lnTo>
                  <a:lnTo>
                    <a:pt x="547" y="153"/>
                  </a:lnTo>
                  <a:lnTo>
                    <a:pt x="546" y="151"/>
                  </a:lnTo>
                  <a:lnTo>
                    <a:pt x="544" y="149"/>
                  </a:lnTo>
                  <a:lnTo>
                    <a:pt x="540" y="148"/>
                  </a:lnTo>
                  <a:lnTo>
                    <a:pt x="538" y="148"/>
                  </a:lnTo>
                  <a:lnTo>
                    <a:pt x="534" y="146"/>
                  </a:lnTo>
                  <a:lnTo>
                    <a:pt x="532" y="146"/>
                  </a:lnTo>
                  <a:lnTo>
                    <a:pt x="528" y="146"/>
                  </a:lnTo>
                  <a:lnTo>
                    <a:pt x="526" y="144"/>
                  </a:lnTo>
                  <a:lnTo>
                    <a:pt x="524" y="144"/>
                  </a:lnTo>
                  <a:lnTo>
                    <a:pt x="523" y="142"/>
                  </a:lnTo>
                  <a:lnTo>
                    <a:pt x="521" y="140"/>
                  </a:lnTo>
                  <a:lnTo>
                    <a:pt x="519" y="142"/>
                  </a:lnTo>
                  <a:lnTo>
                    <a:pt x="517" y="144"/>
                  </a:lnTo>
                  <a:lnTo>
                    <a:pt x="517" y="146"/>
                  </a:lnTo>
                  <a:lnTo>
                    <a:pt x="517" y="148"/>
                  </a:lnTo>
                  <a:lnTo>
                    <a:pt x="511" y="149"/>
                  </a:lnTo>
                  <a:lnTo>
                    <a:pt x="509" y="151"/>
                  </a:lnTo>
                  <a:lnTo>
                    <a:pt x="503" y="155"/>
                  </a:lnTo>
                  <a:lnTo>
                    <a:pt x="499" y="151"/>
                  </a:lnTo>
                  <a:lnTo>
                    <a:pt x="494" y="153"/>
                  </a:lnTo>
                  <a:lnTo>
                    <a:pt x="488" y="151"/>
                  </a:lnTo>
                  <a:lnTo>
                    <a:pt x="484" y="153"/>
                  </a:lnTo>
                  <a:lnTo>
                    <a:pt x="482" y="146"/>
                  </a:lnTo>
                  <a:lnTo>
                    <a:pt x="478" y="142"/>
                  </a:lnTo>
                  <a:lnTo>
                    <a:pt x="476" y="140"/>
                  </a:lnTo>
                  <a:lnTo>
                    <a:pt x="471" y="132"/>
                  </a:lnTo>
                  <a:lnTo>
                    <a:pt x="461" y="123"/>
                  </a:lnTo>
                  <a:lnTo>
                    <a:pt x="453" y="123"/>
                  </a:lnTo>
                  <a:lnTo>
                    <a:pt x="449" y="124"/>
                  </a:lnTo>
                  <a:lnTo>
                    <a:pt x="446" y="126"/>
                  </a:lnTo>
                  <a:lnTo>
                    <a:pt x="446" y="128"/>
                  </a:lnTo>
                  <a:lnTo>
                    <a:pt x="446" y="130"/>
                  </a:lnTo>
                  <a:lnTo>
                    <a:pt x="448" y="132"/>
                  </a:lnTo>
                  <a:lnTo>
                    <a:pt x="449" y="134"/>
                  </a:lnTo>
                  <a:lnTo>
                    <a:pt x="449" y="138"/>
                  </a:lnTo>
                  <a:lnTo>
                    <a:pt x="440" y="134"/>
                  </a:lnTo>
                  <a:lnTo>
                    <a:pt x="434" y="138"/>
                  </a:lnTo>
                  <a:lnTo>
                    <a:pt x="423" y="140"/>
                  </a:lnTo>
                  <a:lnTo>
                    <a:pt x="430" y="146"/>
                  </a:lnTo>
                  <a:lnTo>
                    <a:pt x="430" y="153"/>
                  </a:lnTo>
                  <a:lnTo>
                    <a:pt x="428" y="163"/>
                  </a:lnTo>
                  <a:lnTo>
                    <a:pt x="421" y="169"/>
                  </a:lnTo>
                  <a:lnTo>
                    <a:pt x="424" y="171"/>
                  </a:lnTo>
                  <a:lnTo>
                    <a:pt x="428" y="171"/>
                  </a:lnTo>
                  <a:lnTo>
                    <a:pt x="423" y="180"/>
                  </a:lnTo>
                  <a:lnTo>
                    <a:pt x="398" y="173"/>
                  </a:lnTo>
                  <a:lnTo>
                    <a:pt x="388" y="174"/>
                  </a:lnTo>
                  <a:lnTo>
                    <a:pt x="384" y="173"/>
                  </a:lnTo>
                  <a:lnTo>
                    <a:pt x="382" y="171"/>
                  </a:lnTo>
                  <a:lnTo>
                    <a:pt x="376" y="174"/>
                  </a:lnTo>
                  <a:lnTo>
                    <a:pt x="376" y="180"/>
                  </a:lnTo>
                  <a:lnTo>
                    <a:pt x="378" y="192"/>
                  </a:lnTo>
                  <a:lnTo>
                    <a:pt x="373" y="207"/>
                  </a:lnTo>
                  <a:lnTo>
                    <a:pt x="367" y="203"/>
                  </a:lnTo>
                  <a:lnTo>
                    <a:pt x="355" y="199"/>
                  </a:lnTo>
                  <a:lnTo>
                    <a:pt x="355" y="203"/>
                  </a:lnTo>
                  <a:lnTo>
                    <a:pt x="344" y="211"/>
                  </a:lnTo>
                  <a:lnTo>
                    <a:pt x="342" y="217"/>
                  </a:lnTo>
                  <a:lnTo>
                    <a:pt x="338" y="228"/>
                  </a:lnTo>
                  <a:lnTo>
                    <a:pt x="336" y="234"/>
                  </a:lnTo>
                  <a:lnTo>
                    <a:pt x="328" y="236"/>
                  </a:lnTo>
                  <a:lnTo>
                    <a:pt x="328" y="240"/>
                  </a:lnTo>
                  <a:lnTo>
                    <a:pt x="332" y="247"/>
                  </a:lnTo>
                  <a:lnTo>
                    <a:pt x="336" y="253"/>
                  </a:lnTo>
                  <a:lnTo>
                    <a:pt x="336" y="263"/>
                  </a:lnTo>
                  <a:lnTo>
                    <a:pt x="332" y="265"/>
                  </a:lnTo>
                  <a:lnTo>
                    <a:pt x="326" y="271"/>
                  </a:lnTo>
                  <a:lnTo>
                    <a:pt x="319" y="288"/>
                  </a:lnTo>
                  <a:lnTo>
                    <a:pt x="311" y="295"/>
                  </a:lnTo>
                  <a:lnTo>
                    <a:pt x="313" y="305"/>
                  </a:lnTo>
                  <a:lnTo>
                    <a:pt x="315" y="307"/>
                  </a:lnTo>
                  <a:lnTo>
                    <a:pt x="302" y="317"/>
                  </a:lnTo>
                  <a:lnTo>
                    <a:pt x="288" y="319"/>
                  </a:lnTo>
                  <a:lnTo>
                    <a:pt x="292" y="338"/>
                  </a:lnTo>
                  <a:lnTo>
                    <a:pt x="290" y="344"/>
                  </a:lnTo>
                  <a:lnTo>
                    <a:pt x="290" y="367"/>
                  </a:lnTo>
                  <a:lnTo>
                    <a:pt x="286" y="370"/>
                  </a:lnTo>
                  <a:lnTo>
                    <a:pt x="284" y="378"/>
                  </a:lnTo>
                  <a:lnTo>
                    <a:pt x="267" y="411"/>
                  </a:lnTo>
                  <a:lnTo>
                    <a:pt x="280" y="420"/>
                  </a:lnTo>
                  <a:lnTo>
                    <a:pt x="282" y="436"/>
                  </a:lnTo>
                  <a:lnTo>
                    <a:pt x="277" y="447"/>
                  </a:lnTo>
                  <a:lnTo>
                    <a:pt x="257" y="442"/>
                  </a:lnTo>
                  <a:lnTo>
                    <a:pt x="248" y="445"/>
                  </a:lnTo>
                  <a:lnTo>
                    <a:pt x="240" y="451"/>
                  </a:lnTo>
                  <a:lnTo>
                    <a:pt x="234" y="459"/>
                  </a:lnTo>
                  <a:lnTo>
                    <a:pt x="230" y="467"/>
                  </a:lnTo>
                  <a:lnTo>
                    <a:pt x="228" y="470"/>
                  </a:lnTo>
                  <a:lnTo>
                    <a:pt x="225" y="474"/>
                  </a:lnTo>
                  <a:lnTo>
                    <a:pt x="227" y="482"/>
                  </a:lnTo>
                  <a:lnTo>
                    <a:pt x="223" y="488"/>
                  </a:lnTo>
                  <a:lnTo>
                    <a:pt x="221" y="493"/>
                  </a:lnTo>
                  <a:lnTo>
                    <a:pt x="221" y="495"/>
                  </a:lnTo>
                  <a:lnTo>
                    <a:pt x="223" y="499"/>
                  </a:lnTo>
                  <a:lnTo>
                    <a:pt x="227" y="507"/>
                  </a:lnTo>
                  <a:lnTo>
                    <a:pt x="227" y="511"/>
                  </a:lnTo>
                  <a:lnTo>
                    <a:pt x="223" y="516"/>
                  </a:lnTo>
                  <a:lnTo>
                    <a:pt x="225" y="526"/>
                  </a:lnTo>
                  <a:lnTo>
                    <a:pt x="223" y="534"/>
                  </a:lnTo>
                  <a:lnTo>
                    <a:pt x="225" y="541"/>
                  </a:lnTo>
                  <a:lnTo>
                    <a:pt x="227" y="545"/>
                  </a:lnTo>
                  <a:lnTo>
                    <a:pt x="227" y="549"/>
                  </a:lnTo>
                  <a:lnTo>
                    <a:pt x="227" y="551"/>
                  </a:lnTo>
                  <a:lnTo>
                    <a:pt x="228" y="555"/>
                  </a:lnTo>
                  <a:lnTo>
                    <a:pt x="227" y="564"/>
                  </a:lnTo>
                  <a:lnTo>
                    <a:pt x="227" y="566"/>
                  </a:lnTo>
                  <a:lnTo>
                    <a:pt x="225" y="591"/>
                  </a:lnTo>
                  <a:lnTo>
                    <a:pt x="234" y="599"/>
                  </a:lnTo>
                  <a:lnTo>
                    <a:pt x="238" y="599"/>
                  </a:lnTo>
                  <a:lnTo>
                    <a:pt x="246" y="613"/>
                  </a:lnTo>
                  <a:lnTo>
                    <a:pt x="246" y="616"/>
                  </a:lnTo>
                  <a:lnTo>
                    <a:pt x="246" y="618"/>
                  </a:lnTo>
                  <a:lnTo>
                    <a:pt x="246" y="620"/>
                  </a:lnTo>
                  <a:lnTo>
                    <a:pt x="242" y="626"/>
                  </a:lnTo>
                  <a:lnTo>
                    <a:pt x="240" y="632"/>
                  </a:lnTo>
                  <a:lnTo>
                    <a:pt x="238" y="632"/>
                  </a:lnTo>
                  <a:lnTo>
                    <a:pt x="236" y="632"/>
                  </a:lnTo>
                  <a:lnTo>
                    <a:pt x="232" y="632"/>
                  </a:lnTo>
                  <a:lnTo>
                    <a:pt x="228" y="634"/>
                  </a:lnTo>
                  <a:lnTo>
                    <a:pt x="230" y="638"/>
                  </a:lnTo>
                  <a:lnTo>
                    <a:pt x="230" y="641"/>
                  </a:lnTo>
                  <a:lnTo>
                    <a:pt x="232" y="645"/>
                  </a:lnTo>
                  <a:lnTo>
                    <a:pt x="232" y="649"/>
                  </a:lnTo>
                  <a:lnTo>
                    <a:pt x="234" y="653"/>
                  </a:lnTo>
                  <a:lnTo>
                    <a:pt x="238" y="657"/>
                  </a:lnTo>
                  <a:lnTo>
                    <a:pt x="238" y="661"/>
                  </a:lnTo>
                  <a:lnTo>
                    <a:pt x="238" y="662"/>
                  </a:lnTo>
                  <a:lnTo>
                    <a:pt x="240" y="664"/>
                  </a:lnTo>
                  <a:lnTo>
                    <a:pt x="240" y="668"/>
                  </a:lnTo>
                  <a:lnTo>
                    <a:pt x="240" y="672"/>
                  </a:lnTo>
                  <a:lnTo>
                    <a:pt x="238" y="676"/>
                  </a:lnTo>
                  <a:lnTo>
                    <a:pt x="238" y="678"/>
                  </a:lnTo>
                  <a:lnTo>
                    <a:pt x="238" y="686"/>
                  </a:lnTo>
                  <a:lnTo>
                    <a:pt x="238" y="691"/>
                  </a:lnTo>
                  <a:lnTo>
                    <a:pt x="234" y="697"/>
                  </a:lnTo>
                  <a:lnTo>
                    <a:pt x="232" y="701"/>
                  </a:lnTo>
                  <a:lnTo>
                    <a:pt x="228" y="705"/>
                  </a:lnTo>
                  <a:lnTo>
                    <a:pt x="227" y="705"/>
                  </a:lnTo>
                  <a:lnTo>
                    <a:pt x="225" y="705"/>
                  </a:lnTo>
                  <a:lnTo>
                    <a:pt x="221" y="705"/>
                  </a:lnTo>
                  <a:lnTo>
                    <a:pt x="217" y="709"/>
                  </a:lnTo>
                  <a:lnTo>
                    <a:pt x="219" y="711"/>
                  </a:lnTo>
                  <a:lnTo>
                    <a:pt x="219" y="712"/>
                  </a:lnTo>
                  <a:lnTo>
                    <a:pt x="219" y="714"/>
                  </a:lnTo>
                  <a:lnTo>
                    <a:pt x="219" y="716"/>
                  </a:lnTo>
                  <a:lnTo>
                    <a:pt x="215" y="720"/>
                  </a:lnTo>
                  <a:lnTo>
                    <a:pt x="211" y="722"/>
                  </a:lnTo>
                  <a:lnTo>
                    <a:pt x="213" y="732"/>
                  </a:lnTo>
                  <a:lnTo>
                    <a:pt x="215" y="741"/>
                  </a:lnTo>
                  <a:lnTo>
                    <a:pt x="213" y="751"/>
                  </a:lnTo>
                  <a:lnTo>
                    <a:pt x="213" y="753"/>
                  </a:lnTo>
                  <a:lnTo>
                    <a:pt x="211" y="759"/>
                  </a:lnTo>
                  <a:lnTo>
                    <a:pt x="209" y="766"/>
                  </a:lnTo>
                  <a:lnTo>
                    <a:pt x="205" y="768"/>
                  </a:lnTo>
                  <a:lnTo>
                    <a:pt x="204" y="768"/>
                  </a:lnTo>
                  <a:lnTo>
                    <a:pt x="204" y="766"/>
                  </a:lnTo>
                  <a:lnTo>
                    <a:pt x="202" y="757"/>
                  </a:lnTo>
                  <a:lnTo>
                    <a:pt x="200" y="753"/>
                  </a:lnTo>
                  <a:lnTo>
                    <a:pt x="194" y="757"/>
                  </a:lnTo>
                  <a:lnTo>
                    <a:pt x="192" y="760"/>
                  </a:lnTo>
                  <a:lnTo>
                    <a:pt x="192" y="757"/>
                  </a:lnTo>
                  <a:lnTo>
                    <a:pt x="194" y="753"/>
                  </a:lnTo>
                  <a:lnTo>
                    <a:pt x="194" y="751"/>
                  </a:lnTo>
                  <a:lnTo>
                    <a:pt x="192" y="751"/>
                  </a:lnTo>
                  <a:lnTo>
                    <a:pt x="192" y="753"/>
                  </a:lnTo>
                  <a:lnTo>
                    <a:pt x="188" y="753"/>
                  </a:lnTo>
                  <a:lnTo>
                    <a:pt x="188" y="751"/>
                  </a:lnTo>
                  <a:lnTo>
                    <a:pt x="186" y="749"/>
                  </a:lnTo>
                  <a:lnTo>
                    <a:pt x="182" y="753"/>
                  </a:lnTo>
                  <a:lnTo>
                    <a:pt x="180" y="749"/>
                  </a:lnTo>
                  <a:lnTo>
                    <a:pt x="179" y="745"/>
                  </a:lnTo>
                  <a:lnTo>
                    <a:pt x="180" y="743"/>
                  </a:lnTo>
                  <a:lnTo>
                    <a:pt x="180" y="741"/>
                  </a:lnTo>
                  <a:lnTo>
                    <a:pt x="179" y="739"/>
                  </a:lnTo>
                  <a:lnTo>
                    <a:pt x="177" y="737"/>
                  </a:lnTo>
                  <a:lnTo>
                    <a:pt x="175" y="734"/>
                  </a:lnTo>
                  <a:lnTo>
                    <a:pt x="177" y="730"/>
                  </a:lnTo>
                  <a:lnTo>
                    <a:pt x="177" y="724"/>
                  </a:lnTo>
                  <a:lnTo>
                    <a:pt x="177" y="718"/>
                  </a:lnTo>
                  <a:lnTo>
                    <a:pt x="175" y="712"/>
                  </a:lnTo>
                  <a:lnTo>
                    <a:pt x="179" y="707"/>
                  </a:lnTo>
                  <a:lnTo>
                    <a:pt x="180" y="714"/>
                  </a:lnTo>
                  <a:lnTo>
                    <a:pt x="180" y="709"/>
                  </a:lnTo>
                  <a:lnTo>
                    <a:pt x="180" y="705"/>
                  </a:lnTo>
                  <a:lnTo>
                    <a:pt x="179" y="705"/>
                  </a:lnTo>
                  <a:lnTo>
                    <a:pt x="175" y="705"/>
                  </a:lnTo>
                  <a:lnTo>
                    <a:pt x="171" y="709"/>
                  </a:lnTo>
                  <a:lnTo>
                    <a:pt x="173" y="711"/>
                  </a:lnTo>
                  <a:lnTo>
                    <a:pt x="173" y="714"/>
                  </a:lnTo>
                  <a:lnTo>
                    <a:pt x="175" y="716"/>
                  </a:lnTo>
                  <a:lnTo>
                    <a:pt x="175" y="718"/>
                  </a:lnTo>
                  <a:lnTo>
                    <a:pt x="175" y="726"/>
                  </a:lnTo>
                  <a:lnTo>
                    <a:pt x="173" y="728"/>
                  </a:lnTo>
                  <a:lnTo>
                    <a:pt x="169" y="728"/>
                  </a:lnTo>
                  <a:lnTo>
                    <a:pt x="163" y="724"/>
                  </a:lnTo>
                  <a:lnTo>
                    <a:pt x="167" y="730"/>
                  </a:lnTo>
                  <a:lnTo>
                    <a:pt x="171" y="734"/>
                  </a:lnTo>
                  <a:lnTo>
                    <a:pt x="173" y="741"/>
                  </a:lnTo>
                  <a:lnTo>
                    <a:pt x="171" y="745"/>
                  </a:lnTo>
                  <a:lnTo>
                    <a:pt x="171" y="749"/>
                  </a:lnTo>
                  <a:lnTo>
                    <a:pt x="169" y="747"/>
                  </a:lnTo>
                  <a:lnTo>
                    <a:pt x="165" y="753"/>
                  </a:lnTo>
                  <a:lnTo>
                    <a:pt x="167" y="757"/>
                  </a:lnTo>
                  <a:lnTo>
                    <a:pt x="161" y="759"/>
                  </a:lnTo>
                  <a:lnTo>
                    <a:pt x="157" y="759"/>
                  </a:lnTo>
                  <a:lnTo>
                    <a:pt x="154" y="751"/>
                  </a:lnTo>
                  <a:lnTo>
                    <a:pt x="154" y="753"/>
                  </a:lnTo>
                  <a:lnTo>
                    <a:pt x="157" y="760"/>
                  </a:lnTo>
                  <a:lnTo>
                    <a:pt x="150" y="762"/>
                  </a:lnTo>
                  <a:lnTo>
                    <a:pt x="150" y="755"/>
                  </a:lnTo>
                  <a:lnTo>
                    <a:pt x="146" y="753"/>
                  </a:lnTo>
                  <a:lnTo>
                    <a:pt x="148" y="760"/>
                  </a:lnTo>
                  <a:lnTo>
                    <a:pt x="144" y="762"/>
                  </a:lnTo>
                  <a:lnTo>
                    <a:pt x="142" y="764"/>
                  </a:lnTo>
                  <a:lnTo>
                    <a:pt x="134" y="766"/>
                  </a:lnTo>
                  <a:lnTo>
                    <a:pt x="132" y="768"/>
                  </a:lnTo>
                  <a:lnTo>
                    <a:pt x="138" y="770"/>
                  </a:lnTo>
                  <a:lnTo>
                    <a:pt x="136" y="772"/>
                  </a:lnTo>
                  <a:lnTo>
                    <a:pt x="134" y="774"/>
                  </a:lnTo>
                  <a:lnTo>
                    <a:pt x="132" y="776"/>
                  </a:lnTo>
                  <a:lnTo>
                    <a:pt x="127" y="776"/>
                  </a:lnTo>
                  <a:lnTo>
                    <a:pt x="130" y="776"/>
                  </a:lnTo>
                  <a:lnTo>
                    <a:pt x="130" y="780"/>
                  </a:lnTo>
                  <a:lnTo>
                    <a:pt x="125" y="782"/>
                  </a:lnTo>
                  <a:lnTo>
                    <a:pt x="121" y="784"/>
                  </a:lnTo>
                  <a:lnTo>
                    <a:pt x="119" y="789"/>
                  </a:lnTo>
                  <a:lnTo>
                    <a:pt x="117" y="791"/>
                  </a:lnTo>
                  <a:lnTo>
                    <a:pt x="113" y="795"/>
                  </a:lnTo>
                  <a:lnTo>
                    <a:pt x="111" y="799"/>
                  </a:lnTo>
                  <a:lnTo>
                    <a:pt x="107" y="803"/>
                  </a:lnTo>
                  <a:lnTo>
                    <a:pt x="104" y="805"/>
                  </a:lnTo>
                  <a:lnTo>
                    <a:pt x="100" y="807"/>
                  </a:lnTo>
                  <a:lnTo>
                    <a:pt x="98" y="810"/>
                  </a:lnTo>
                  <a:lnTo>
                    <a:pt x="98" y="812"/>
                  </a:lnTo>
                  <a:lnTo>
                    <a:pt x="94" y="812"/>
                  </a:lnTo>
                  <a:lnTo>
                    <a:pt x="92" y="812"/>
                  </a:lnTo>
                  <a:lnTo>
                    <a:pt x="92" y="810"/>
                  </a:lnTo>
                  <a:lnTo>
                    <a:pt x="92" y="807"/>
                  </a:lnTo>
                  <a:lnTo>
                    <a:pt x="90" y="807"/>
                  </a:lnTo>
                  <a:lnTo>
                    <a:pt x="90" y="810"/>
                  </a:lnTo>
                  <a:lnTo>
                    <a:pt x="88" y="810"/>
                  </a:lnTo>
                  <a:lnTo>
                    <a:pt x="88" y="814"/>
                  </a:lnTo>
                  <a:lnTo>
                    <a:pt x="82" y="816"/>
                  </a:lnTo>
                  <a:lnTo>
                    <a:pt x="79" y="816"/>
                  </a:lnTo>
                  <a:lnTo>
                    <a:pt x="79" y="814"/>
                  </a:lnTo>
                  <a:lnTo>
                    <a:pt x="79" y="816"/>
                  </a:lnTo>
                  <a:lnTo>
                    <a:pt x="79" y="818"/>
                  </a:lnTo>
                  <a:lnTo>
                    <a:pt x="75" y="820"/>
                  </a:lnTo>
                  <a:lnTo>
                    <a:pt x="73" y="818"/>
                  </a:lnTo>
                  <a:lnTo>
                    <a:pt x="71" y="818"/>
                  </a:lnTo>
                  <a:lnTo>
                    <a:pt x="69" y="818"/>
                  </a:lnTo>
                  <a:lnTo>
                    <a:pt x="65" y="816"/>
                  </a:lnTo>
                  <a:lnTo>
                    <a:pt x="63" y="816"/>
                  </a:lnTo>
                  <a:lnTo>
                    <a:pt x="61" y="816"/>
                  </a:lnTo>
                  <a:lnTo>
                    <a:pt x="57" y="820"/>
                  </a:lnTo>
                  <a:lnTo>
                    <a:pt x="57" y="818"/>
                  </a:lnTo>
                  <a:lnTo>
                    <a:pt x="59" y="816"/>
                  </a:lnTo>
                  <a:lnTo>
                    <a:pt x="61" y="814"/>
                  </a:lnTo>
                  <a:lnTo>
                    <a:pt x="63" y="812"/>
                  </a:lnTo>
                  <a:lnTo>
                    <a:pt x="59" y="814"/>
                  </a:lnTo>
                  <a:lnTo>
                    <a:pt x="56" y="816"/>
                  </a:lnTo>
                  <a:lnTo>
                    <a:pt x="57" y="810"/>
                  </a:lnTo>
                  <a:lnTo>
                    <a:pt x="56" y="814"/>
                  </a:lnTo>
                  <a:lnTo>
                    <a:pt x="54" y="812"/>
                  </a:lnTo>
                  <a:lnTo>
                    <a:pt x="52" y="814"/>
                  </a:lnTo>
                  <a:lnTo>
                    <a:pt x="52" y="812"/>
                  </a:lnTo>
                  <a:lnTo>
                    <a:pt x="54" y="810"/>
                  </a:lnTo>
                  <a:lnTo>
                    <a:pt x="57" y="810"/>
                  </a:lnTo>
                  <a:lnTo>
                    <a:pt x="54" y="809"/>
                  </a:lnTo>
                  <a:lnTo>
                    <a:pt x="50" y="807"/>
                  </a:lnTo>
                  <a:lnTo>
                    <a:pt x="52" y="810"/>
                  </a:lnTo>
                  <a:lnTo>
                    <a:pt x="48" y="812"/>
                  </a:lnTo>
                  <a:lnTo>
                    <a:pt x="50" y="814"/>
                  </a:lnTo>
                  <a:lnTo>
                    <a:pt x="44" y="812"/>
                  </a:lnTo>
                  <a:lnTo>
                    <a:pt x="42" y="810"/>
                  </a:lnTo>
                  <a:lnTo>
                    <a:pt x="44" y="807"/>
                  </a:lnTo>
                  <a:lnTo>
                    <a:pt x="46" y="807"/>
                  </a:lnTo>
                  <a:lnTo>
                    <a:pt x="50" y="803"/>
                  </a:lnTo>
                  <a:lnTo>
                    <a:pt x="48" y="803"/>
                  </a:lnTo>
                  <a:lnTo>
                    <a:pt x="46" y="799"/>
                  </a:lnTo>
                  <a:lnTo>
                    <a:pt x="46" y="803"/>
                  </a:lnTo>
                  <a:lnTo>
                    <a:pt x="40" y="803"/>
                  </a:lnTo>
                  <a:lnTo>
                    <a:pt x="38" y="801"/>
                  </a:lnTo>
                  <a:lnTo>
                    <a:pt x="36" y="799"/>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424" name="Freeform 212"/>
            <p:cNvSpPr>
              <a:spLocks/>
            </p:cNvSpPr>
            <p:nvPr/>
          </p:nvSpPr>
          <p:spPr bwMode="auto">
            <a:xfrm>
              <a:off x="2350" y="1231"/>
              <a:ext cx="648" cy="815"/>
            </a:xfrm>
            <a:custGeom>
              <a:avLst/>
              <a:gdLst>
                <a:gd name="T0" fmla="*/ 573 w 648"/>
                <a:gd name="T1" fmla="*/ 35 h 815"/>
                <a:gd name="T2" fmla="*/ 575 w 648"/>
                <a:gd name="T3" fmla="*/ 37 h 815"/>
                <a:gd name="T4" fmla="*/ 579 w 648"/>
                <a:gd name="T5" fmla="*/ 23 h 815"/>
                <a:gd name="T6" fmla="*/ 581 w 648"/>
                <a:gd name="T7" fmla="*/ 6 h 815"/>
                <a:gd name="T8" fmla="*/ 598 w 648"/>
                <a:gd name="T9" fmla="*/ 6 h 815"/>
                <a:gd name="T10" fmla="*/ 598 w 648"/>
                <a:gd name="T11" fmla="*/ 10 h 815"/>
                <a:gd name="T12" fmla="*/ 613 w 648"/>
                <a:gd name="T13" fmla="*/ 4 h 815"/>
                <a:gd name="T14" fmla="*/ 617 w 648"/>
                <a:gd name="T15" fmla="*/ 16 h 815"/>
                <a:gd name="T16" fmla="*/ 640 w 648"/>
                <a:gd name="T17" fmla="*/ 16 h 815"/>
                <a:gd name="T18" fmla="*/ 627 w 648"/>
                <a:gd name="T19" fmla="*/ 31 h 815"/>
                <a:gd name="T20" fmla="*/ 613 w 648"/>
                <a:gd name="T21" fmla="*/ 41 h 815"/>
                <a:gd name="T22" fmla="*/ 585 w 648"/>
                <a:gd name="T23" fmla="*/ 41 h 815"/>
                <a:gd name="T24" fmla="*/ 590 w 648"/>
                <a:gd name="T25" fmla="*/ 46 h 815"/>
                <a:gd name="T26" fmla="*/ 613 w 648"/>
                <a:gd name="T27" fmla="*/ 46 h 815"/>
                <a:gd name="T28" fmla="*/ 615 w 648"/>
                <a:gd name="T29" fmla="*/ 50 h 815"/>
                <a:gd name="T30" fmla="*/ 617 w 648"/>
                <a:gd name="T31" fmla="*/ 60 h 815"/>
                <a:gd name="T32" fmla="*/ 629 w 648"/>
                <a:gd name="T33" fmla="*/ 54 h 815"/>
                <a:gd name="T34" fmla="*/ 633 w 648"/>
                <a:gd name="T35" fmla="*/ 54 h 815"/>
                <a:gd name="T36" fmla="*/ 640 w 648"/>
                <a:gd name="T37" fmla="*/ 50 h 815"/>
                <a:gd name="T38" fmla="*/ 644 w 648"/>
                <a:gd name="T39" fmla="*/ 66 h 815"/>
                <a:gd name="T40" fmla="*/ 631 w 648"/>
                <a:gd name="T41" fmla="*/ 66 h 815"/>
                <a:gd name="T42" fmla="*/ 623 w 648"/>
                <a:gd name="T43" fmla="*/ 77 h 815"/>
                <a:gd name="T44" fmla="*/ 613 w 648"/>
                <a:gd name="T45" fmla="*/ 89 h 815"/>
                <a:gd name="T46" fmla="*/ 602 w 648"/>
                <a:gd name="T47" fmla="*/ 98 h 815"/>
                <a:gd name="T48" fmla="*/ 577 w 648"/>
                <a:gd name="T49" fmla="*/ 56 h 815"/>
                <a:gd name="T50" fmla="*/ 560 w 648"/>
                <a:gd name="T51" fmla="*/ 56 h 815"/>
                <a:gd name="T52" fmla="*/ 536 w 648"/>
                <a:gd name="T53" fmla="*/ 66 h 815"/>
                <a:gd name="T54" fmla="*/ 525 w 648"/>
                <a:gd name="T55" fmla="*/ 81 h 815"/>
                <a:gd name="T56" fmla="*/ 525 w 648"/>
                <a:gd name="T57" fmla="*/ 100 h 815"/>
                <a:gd name="T58" fmla="*/ 529 w 648"/>
                <a:gd name="T59" fmla="*/ 119 h 815"/>
                <a:gd name="T60" fmla="*/ 515 w 648"/>
                <a:gd name="T61" fmla="*/ 135 h 815"/>
                <a:gd name="T62" fmla="*/ 498 w 648"/>
                <a:gd name="T63" fmla="*/ 141 h 815"/>
                <a:gd name="T64" fmla="*/ 481 w 648"/>
                <a:gd name="T65" fmla="*/ 143 h 815"/>
                <a:gd name="T66" fmla="*/ 440 w 648"/>
                <a:gd name="T67" fmla="*/ 135 h 815"/>
                <a:gd name="T68" fmla="*/ 413 w 648"/>
                <a:gd name="T69" fmla="*/ 133 h 815"/>
                <a:gd name="T70" fmla="*/ 387 w 648"/>
                <a:gd name="T71" fmla="*/ 175 h 815"/>
                <a:gd name="T72" fmla="*/ 319 w 648"/>
                <a:gd name="T73" fmla="*/ 194 h 815"/>
                <a:gd name="T74" fmla="*/ 300 w 648"/>
                <a:gd name="T75" fmla="*/ 258 h 815"/>
                <a:gd name="T76" fmla="*/ 254 w 648"/>
                <a:gd name="T77" fmla="*/ 339 h 815"/>
                <a:gd name="T78" fmla="*/ 204 w 648"/>
                <a:gd name="T79" fmla="*/ 446 h 815"/>
                <a:gd name="T80" fmla="*/ 191 w 648"/>
                <a:gd name="T81" fmla="*/ 502 h 815"/>
                <a:gd name="T82" fmla="*/ 191 w 648"/>
                <a:gd name="T83" fmla="*/ 559 h 815"/>
                <a:gd name="T84" fmla="*/ 204 w 648"/>
                <a:gd name="T85" fmla="*/ 627 h 815"/>
                <a:gd name="T86" fmla="*/ 202 w 648"/>
                <a:gd name="T87" fmla="*/ 652 h 815"/>
                <a:gd name="T88" fmla="*/ 198 w 648"/>
                <a:gd name="T89" fmla="*/ 692 h 815"/>
                <a:gd name="T90" fmla="*/ 183 w 648"/>
                <a:gd name="T91" fmla="*/ 711 h 815"/>
                <a:gd name="T92" fmla="*/ 168 w 648"/>
                <a:gd name="T93" fmla="*/ 763 h 815"/>
                <a:gd name="T94" fmla="*/ 156 w 648"/>
                <a:gd name="T95" fmla="*/ 748 h 815"/>
                <a:gd name="T96" fmla="*/ 141 w 648"/>
                <a:gd name="T97" fmla="*/ 732 h 815"/>
                <a:gd name="T98" fmla="*/ 143 w 648"/>
                <a:gd name="T99" fmla="*/ 700 h 815"/>
                <a:gd name="T100" fmla="*/ 127 w 648"/>
                <a:gd name="T101" fmla="*/ 719 h 815"/>
                <a:gd name="T102" fmla="*/ 121 w 648"/>
                <a:gd name="T103" fmla="*/ 754 h 815"/>
                <a:gd name="T104" fmla="*/ 98 w 648"/>
                <a:gd name="T105" fmla="*/ 761 h 815"/>
                <a:gd name="T106" fmla="*/ 85 w 648"/>
                <a:gd name="T107" fmla="*/ 779 h 815"/>
                <a:gd name="T108" fmla="*/ 58 w 648"/>
                <a:gd name="T109" fmla="*/ 807 h 815"/>
                <a:gd name="T110" fmla="*/ 43 w 648"/>
                <a:gd name="T111" fmla="*/ 809 h 815"/>
                <a:gd name="T112" fmla="*/ 21 w 648"/>
                <a:gd name="T113" fmla="*/ 815 h 815"/>
                <a:gd name="T114" fmla="*/ 16 w 648"/>
                <a:gd name="T115" fmla="*/ 809 h 815"/>
                <a:gd name="T116" fmla="*/ 6 w 648"/>
                <a:gd name="T117" fmla="*/ 805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8" h="815">
                  <a:moveTo>
                    <a:pt x="573" y="25"/>
                  </a:moveTo>
                  <a:lnTo>
                    <a:pt x="571" y="27"/>
                  </a:lnTo>
                  <a:lnTo>
                    <a:pt x="569" y="29"/>
                  </a:lnTo>
                  <a:lnTo>
                    <a:pt x="571" y="29"/>
                  </a:lnTo>
                  <a:lnTo>
                    <a:pt x="573" y="27"/>
                  </a:lnTo>
                  <a:lnTo>
                    <a:pt x="573" y="25"/>
                  </a:lnTo>
                  <a:lnTo>
                    <a:pt x="575" y="25"/>
                  </a:lnTo>
                  <a:lnTo>
                    <a:pt x="577" y="23"/>
                  </a:lnTo>
                  <a:lnTo>
                    <a:pt x="575" y="31"/>
                  </a:lnTo>
                  <a:lnTo>
                    <a:pt x="573" y="35"/>
                  </a:lnTo>
                  <a:lnTo>
                    <a:pt x="573" y="37"/>
                  </a:lnTo>
                  <a:lnTo>
                    <a:pt x="575" y="43"/>
                  </a:lnTo>
                  <a:lnTo>
                    <a:pt x="577" y="45"/>
                  </a:lnTo>
                  <a:lnTo>
                    <a:pt x="575" y="48"/>
                  </a:lnTo>
                  <a:lnTo>
                    <a:pt x="573" y="50"/>
                  </a:lnTo>
                  <a:lnTo>
                    <a:pt x="575" y="50"/>
                  </a:lnTo>
                  <a:lnTo>
                    <a:pt x="577" y="46"/>
                  </a:lnTo>
                  <a:lnTo>
                    <a:pt x="577" y="43"/>
                  </a:lnTo>
                  <a:lnTo>
                    <a:pt x="575" y="39"/>
                  </a:lnTo>
                  <a:lnTo>
                    <a:pt x="575" y="37"/>
                  </a:lnTo>
                  <a:lnTo>
                    <a:pt x="575" y="33"/>
                  </a:lnTo>
                  <a:lnTo>
                    <a:pt x="575" y="31"/>
                  </a:lnTo>
                  <a:lnTo>
                    <a:pt x="577" y="29"/>
                  </a:lnTo>
                  <a:lnTo>
                    <a:pt x="577" y="27"/>
                  </a:lnTo>
                  <a:lnTo>
                    <a:pt x="577" y="25"/>
                  </a:lnTo>
                  <a:lnTo>
                    <a:pt x="579" y="25"/>
                  </a:lnTo>
                  <a:lnTo>
                    <a:pt x="581" y="27"/>
                  </a:lnTo>
                  <a:lnTo>
                    <a:pt x="581" y="25"/>
                  </a:lnTo>
                  <a:lnTo>
                    <a:pt x="581" y="23"/>
                  </a:lnTo>
                  <a:lnTo>
                    <a:pt x="579" y="23"/>
                  </a:lnTo>
                  <a:lnTo>
                    <a:pt x="577" y="21"/>
                  </a:lnTo>
                  <a:lnTo>
                    <a:pt x="577" y="20"/>
                  </a:lnTo>
                  <a:lnTo>
                    <a:pt x="579" y="18"/>
                  </a:lnTo>
                  <a:lnTo>
                    <a:pt x="579" y="14"/>
                  </a:lnTo>
                  <a:lnTo>
                    <a:pt x="581" y="14"/>
                  </a:lnTo>
                  <a:lnTo>
                    <a:pt x="581" y="12"/>
                  </a:lnTo>
                  <a:lnTo>
                    <a:pt x="579" y="12"/>
                  </a:lnTo>
                  <a:lnTo>
                    <a:pt x="579" y="10"/>
                  </a:lnTo>
                  <a:lnTo>
                    <a:pt x="581" y="8"/>
                  </a:lnTo>
                  <a:lnTo>
                    <a:pt x="581" y="6"/>
                  </a:lnTo>
                  <a:lnTo>
                    <a:pt x="583" y="4"/>
                  </a:lnTo>
                  <a:lnTo>
                    <a:pt x="585" y="2"/>
                  </a:lnTo>
                  <a:lnTo>
                    <a:pt x="586" y="0"/>
                  </a:lnTo>
                  <a:lnTo>
                    <a:pt x="588" y="0"/>
                  </a:lnTo>
                  <a:lnTo>
                    <a:pt x="590" y="2"/>
                  </a:lnTo>
                  <a:lnTo>
                    <a:pt x="592" y="0"/>
                  </a:lnTo>
                  <a:lnTo>
                    <a:pt x="594" y="2"/>
                  </a:lnTo>
                  <a:lnTo>
                    <a:pt x="594" y="4"/>
                  </a:lnTo>
                  <a:lnTo>
                    <a:pt x="598" y="4"/>
                  </a:lnTo>
                  <a:lnTo>
                    <a:pt x="598" y="6"/>
                  </a:lnTo>
                  <a:lnTo>
                    <a:pt x="596" y="6"/>
                  </a:lnTo>
                  <a:lnTo>
                    <a:pt x="594" y="6"/>
                  </a:lnTo>
                  <a:lnTo>
                    <a:pt x="596" y="8"/>
                  </a:lnTo>
                  <a:lnTo>
                    <a:pt x="598" y="6"/>
                  </a:lnTo>
                  <a:lnTo>
                    <a:pt x="596" y="8"/>
                  </a:lnTo>
                  <a:lnTo>
                    <a:pt x="598" y="8"/>
                  </a:lnTo>
                  <a:lnTo>
                    <a:pt x="596" y="10"/>
                  </a:lnTo>
                  <a:lnTo>
                    <a:pt x="596" y="12"/>
                  </a:lnTo>
                  <a:lnTo>
                    <a:pt x="598" y="12"/>
                  </a:lnTo>
                  <a:lnTo>
                    <a:pt x="598" y="10"/>
                  </a:lnTo>
                  <a:lnTo>
                    <a:pt x="604" y="8"/>
                  </a:lnTo>
                  <a:lnTo>
                    <a:pt x="604" y="6"/>
                  </a:lnTo>
                  <a:lnTo>
                    <a:pt x="608" y="4"/>
                  </a:lnTo>
                  <a:lnTo>
                    <a:pt x="608" y="6"/>
                  </a:lnTo>
                  <a:lnTo>
                    <a:pt x="608" y="10"/>
                  </a:lnTo>
                  <a:lnTo>
                    <a:pt x="608" y="12"/>
                  </a:lnTo>
                  <a:lnTo>
                    <a:pt x="609" y="10"/>
                  </a:lnTo>
                  <a:lnTo>
                    <a:pt x="611" y="8"/>
                  </a:lnTo>
                  <a:lnTo>
                    <a:pt x="611" y="6"/>
                  </a:lnTo>
                  <a:lnTo>
                    <a:pt x="613" y="4"/>
                  </a:lnTo>
                  <a:lnTo>
                    <a:pt x="617" y="6"/>
                  </a:lnTo>
                  <a:lnTo>
                    <a:pt x="615" y="8"/>
                  </a:lnTo>
                  <a:lnTo>
                    <a:pt x="617" y="8"/>
                  </a:lnTo>
                  <a:lnTo>
                    <a:pt x="619" y="8"/>
                  </a:lnTo>
                  <a:lnTo>
                    <a:pt x="621" y="8"/>
                  </a:lnTo>
                  <a:lnTo>
                    <a:pt x="621" y="10"/>
                  </a:lnTo>
                  <a:lnTo>
                    <a:pt x="619" y="12"/>
                  </a:lnTo>
                  <a:lnTo>
                    <a:pt x="617" y="14"/>
                  </a:lnTo>
                  <a:lnTo>
                    <a:pt x="615" y="14"/>
                  </a:lnTo>
                  <a:lnTo>
                    <a:pt x="617" y="16"/>
                  </a:lnTo>
                  <a:lnTo>
                    <a:pt x="623" y="12"/>
                  </a:lnTo>
                  <a:lnTo>
                    <a:pt x="627" y="12"/>
                  </a:lnTo>
                  <a:lnTo>
                    <a:pt x="629" y="10"/>
                  </a:lnTo>
                  <a:lnTo>
                    <a:pt x="629" y="12"/>
                  </a:lnTo>
                  <a:lnTo>
                    <a:pt x="633" y="14"/>
                  </a:lnTo>
                  <a:lnTo>
                    <a:pt x="633" y="16"/>
                  </a:lnTo>
                  <a:lnTo>
                    <a:pt x="634" y="16"/>
                  </a:lnTo>
                  <a:lnTo>
                    <a:pt x="638" y="14"/>
                  </a:lnTo>
                  <a:lnTo>
                    <a:pt x="638" y="16"/>
                  </a:lnTo>
                  <a:lnTo>
                    <a:pt x="640" y="16"/>
                  </a:lnTo>
                  <a:lnTo>
                    <a:pt x="642" y="18"/>
                  </a:lnTo>
                  <a:lnTo>
                    <a:pt x="642" y="20"/>
                  </a:lnTo>
                  <a:lnTo>
                    <a:pt x="640" y="23"/>
                  </a:lnTo>
                  <a:lnTo>
                    <a:pt x="638" y="25"/>
                  </a:lnTo>
                  <a:lnTo>
                    <a:pt x="636" y="25"/>
                  </a:lnTo>
                  <a:lnTo>
                    <a:pt x="634" y="25"/>
                  </a:lnTo>
                  <a:lnTo>
                    <a:pt x="633" y="27"/>
                  </a:lnTo>
                  <a:lnTo>
                    <a:pt x="631" y="27"/>
                  </a:lnTo>
                  <a:lnTo>
                    <a:pt x="629" y="29"/>
                  </a:lnTo>
                  <a:lnTo>
                    <a:pt x="627" y="31"/>
                  </a:lnTo>
                  <a:lnTo>
                    <a:pt x="625" y="33"/>
                  </a:lnTo>
                  <a:lnTo>
                    <a:pt x="627" y="33"/>
                  </a:lnTo>
                  <a:lnTo>
                    <a:pt x="627" y="35"/>
                  </a:lnTo>
                  <a:lnTo>
                    <a:pt x="625" y="37"/>
                  </a:lnTo>
                  <a:lnTo>
                    <a:pt x="623" y="37"/>
                  </a:lnTo>
                  <a:lnTo>
                    <a:pt x="623" y="39"/>
                  </a:lnTo>
                  <a:lnTo>
                    <a:pt x="623" y="41"/>
                  </a:lnTo>
                  <a:lnTo>
                    <a:pt x="621" y="39"/>
                  </a:lnTo>
                  <a:lnTo>
                    <a:pt x="617" y="41"/>
                  </a:lnTo>
                  <a:lnTo>
                    <a:pt x="613" y="41"/>
                  </a:lnTo>
                  <a:lnTo>
                    <a:pt x="608" y="41"/>
                  </a:lnTo>
                  <a:lnTo>
                    <a:pt x="606" y="43"/>
                  </a:lnTo>
                  <a:lnTo>
                    <a:pt x="604" y="41"/>
                  </a:lnTo>
                  <a:lnTo>
                    <a:pt x="600" y="43"/>
                  </a:lnTo>
                  <a:lnTo>
                    <a:pt x="598" y="43"/>
                  </a:lnTo>
                  <a:lnTo>
                    <a:pt x="594" y="43"/>
                  </a:lnTo>
                  <a:lnTo>
                    <a:pt x="592" y="41"/>
                  </a:lnTo>
                  <a:lnTo>
                    <a:pt x="588" y="41"/>
                  </a:lnTo>
                  <a:lnTo>
                    <a:pt x="586" y="41"/>
                  </a:lnTo>
                  <a:lnTo>
                    <a:pt x="585" y="41"/>
                  </a:lnTo>
                  <a:lnTo>
                    <a:pt x="588" y="41"/>
                  </a:lnTo>
                  <a:lnTo>
                    <a:pt x="590" y="41"/>
                  </a:lnTo>
                  <a:lnTo>
                    <a:pt x="588" y="43"/>
                  </a:lnTo>
                  <a:lnTo>
                    <a:pt x="588" y="45"/>
                  </a:lnTo>
                  <a:lnTo>
                    <a:pt x="586" y="45"/>
                  </a:lnTo>
                  <a:lnTo>
                    <a:pt x="588" y="45"/>
                  </a:lnTo>
                  <a:lnTo>
                    <a:pt x="590" y="45"/>
                  </a:lnTo>
                  <a:lnTo>
                    <a:pt x="592" y="45"/>
                  </a:lnTo>
                  <a:lnTo>
                    <a:pt x="590" y="45"/>
                  </a:lnTo>
                  <a:lnTo>
                    <a:pt x="590" y="46"/>
                  </a:lnTo>
                  <a:lnTo>
                    <a:pt x="596" y="45"/>
                  </a:lnTo>
                  <a:lnTo>
                    <a:pt x="598" y="46"/>
                  </a:lnTo>
                  <a:lnTo>
                    <a:pt x="598" y="45"/>
                  </a:lnTo>
                  <a:lnTo>
                    <a:pt x="600" y="45"/>
                  </a:lnTo>
                  <a:lnTo>
                    <a:pt x="600" y="46"/>
                  </a:lnTo>
                  <a:lnTo>
                    <a:pt x="600" y="48"/>
                  </a:lnTo>
                  <a:lnTo>
                    <a:pt x="604" y="46"/>
                  </a:lnTo>
                  <a:lnTo>
                    <a:pt x="608" y="46"/>
                  </a:lnTo>
                  <a:lnTo>
                    <a:pt x="609" y="46"/>
                  </a:lnTo>
                  <a:lnTo>
                    <a:pt x="613" y="46"/>
                  </a:lnTo>
                  <a:lnTo>
                    <a:pt x="613" y="48"/>
                  </a:lnTo>
                  <a:lnTo>
                    <a:pt x="611" y="50"/>
                  </a:lnTo>
                  <a:lnTo>
                    <a:pt x="609" y="50"/>
                  </a:lnTo>
                  <a:lnTo>
                    <a:pt x="609" y="52"/>
                  </a:lnTo>
                  <a:lnTo>
                    <a:pt x="608" y="54"/>
                  </a:lnTo>
                  <a:lnTo>
                    <a:pt x="609" y="54"/>
                  </a:lnTo>
                  <a:lnTo>
                    <a:pt x="611" y="52"/>
                  </a:lnTo>
                  <a:lnTo>
                    <a:pt x="611" y="50"/>
                  </a:lnTo>
                  <a:lnTo>
                    <a:pt x="613" y="50"/>
                  </a:lnTo>
                  <a:lnTo>
                    <a:pt x="615" y="50"/>
                  </a:lnTo>
                  <a:lnTo>
                    <a:pt x="617" y="52"/>
                  </a:lnTo>
                  <a:lnTo>
                    <a:pt x="617" y="54"/>
                  </a:lnTo>
                  <a:lnTo>
                    <a:pt x="617" y="56"/>
                  </a:lnTo>
                  <a:lnTo>
                    <a:pt x="615" y="58"/>
                  </a:lnTo>
                  <a:lnTo>
                    <a:pt x="613" y="60"/>
                  </a:lnTo>
                  <a:lnTo>
                    <a:pt x="613" y="64"/>
                  </a:lnTo>
                  <a:lnTo>
                    <a:pt x="613" y="66"/>
                  </a:lnTo>
                  <a:lnTo>
                    <a:pt x="613" y="64"/>
                  </a:lnTo>
                  <a:lnTo>
                    <a:pt x="615" y="62"/>
                  </a:lnTo>
                  <a:lnTo>
                    <a:pt x="617" y="60"/>
                  </a:lnTo>
                  <a:lnTo>
                    <a:pt x="619" y="60"/>
                  </a:lnTo>
                  <a:lnTo>
                    <a:pt x="623" y="58"/>
                  </a:lnTo>
                  <a:lnTo>
                    <a:pt x="625" y="56"/>
                  </a:lnTo>
                  <a:lnTo>
                    <a:pt x="625" y="58"/>
                  </a:lnTo>
                  <a:lnTo>
                    <a:pt x="623" y="60"/>
                  </a:lnTo>
                  <a:lnTo>
                    <a:pt x="625" y="60"/>
                  </a:lnTo>
                  <a:lnTo>
                    <a:pt x="627" y="60"/>
                  </a:lnTo>
                  <a:lnTo>
                    <a:pt x="627" y="58"/>
                  </a:lnTo>
                  <a:lnTo>
                    <a:pt x="627" y="56"/>
                  </a:lnTo>
                  <a:lnTo>
                    <a:pt x="629" y="54"/>
                  </a:lnTo>
                  <a:lnTo>
                    <a:pt x="627" y="54"/>
                  </a:lnTo>
                  <a:lnTo>
                    <a:pt x="627" y="52"/>
                  </a:lnTo>
                  <a:lnTo>
                    <a:pt x="625" y="50"/>
                  </a:lnTo>
                  <a:lnTo>
                    <a:pt x="627" y="50"/>
                  </a:lnTo>
                  <a:lnTo>
                    <a:pt x="631" y="48"/>
                  </a:lnTo>
                  <a:lnTo>
                    <a:pt x="631" y="50"/>
                  </a:lnTo>
                  <a:lnTo>
                    <a:pt x="629" y="52"/>
                  </a:lnTo>
                  <a:lnTo>
                    <a:pt x="633" y="50"/>
                  </a:lnTo>
                  <a:lnTo>
                    <a:pt x="633" y="52"/>
                  </a:lnTo>
                  <a:lnTo>
                    <a:pt x="633" y="54"/>
                  </a:lnTo>
                  <a:lnTo>
                    <a:pt x="634" y="56"/>
                  </a:lnTo>
                  <a:lnTo>
                    <a:pt x="634" y="58"/>
                  </a:lnTo>
                  <a:lnTo>
                    <a:pt x="634" y="60"/>
                  </a:lnTo>
                  <a:lnTo>
                    <a:pt x="634" y="58"/>
                  </a:lnTo>
                  <a:lnTo>
                    <a:pt x="634" y="56"/>
                  </a:lnTo>
                  <a:lnTo>
                    <a:pt x="634" y="54"/>
                  </a:lnTo>
                  <a:lnTo>
                    <a:pt x="634" y="52"/>
                  </a:lnTo>
                  <a:lnTo>
                    <a:pt x="636" y="50"/>
                  </a:lnTo>
                  <a:lnTo>
                    <a:pt x="638" y="50"/>
                  </a:lnTo>
                  <a:lnTo>
                    <a:pt x="640" y="50"/>
                  </a:lnTo>
                  <a:lnTo>
                    <a:pt x="640" y="52"/>
                  </a:lnTo>
                  <a:lnTo>
                    <a:pt x="642" y="52"/>
                  </a:lnTo>
                  <a:lnTo>
                    <a:pt x="642" y="50"/>
                  </a:lnTo>
                  <a:lnTo>
                    <a:pt x="644" y="54"/>
                  </a:lnTo>
                  <a:lnTo>
                    <a:pt x="646" y="56"/>
                  </a:lnTo>
                  <a:lnTo>
                    <a:pt x="646" y="58"/>
                  </a:lnTo>
                  <a:lnTo>
                    <a:pt x="648" y="60"/>
                  </a:lnTo>
                  <a:lnTo>
                    <a:pt x="648" y="62"/>
                  </a:lnTo>
                  <a:lnTo>
                    <a:pt x="648" y="64"/>
                  </a:lnTo>
                  <a:lnTo>
                    <a:pt x="644" y="66"/>
                  </a:lnTo>
                  <a:lnTo>
                    <a:pt x="642" y="66"/>
                  </a:lnTo>
                  <a:lnTo>
                    <a:pt x="640" y="66"/>
                  </a:lnTo>
                  <a:lnTo>
                    <a:pt x="638" y="66"/>
                  </a:lnTo>
                  <a:lnTo>
                    <a:pt x="636" y="64"/>
                  </a:lnTo>
                  <a:lnTo>
                    <a:pt x="634" y="64"/>
                  </a:lnTo>
                  <a:lnTo>
                    <a:pt x="633" y="62"/>
                  </a:lnTo>
                  <a:lnTo>
                    <a:pt x="631" y="62"/>
                  </a:lnTo>
                  <a:lnTo>
                    <a:pt x="627" y="62"/>
                  </a:lnTo>
                  <a:lnTo>
                    <a:pt x="629" y="66"/>
                  </a:lnTo>
                  <a:lnTo>
                    <a:pt x="631" y="66"/>
                  </a:lnTo>
                  <a:lnTo>
                    <a:pt x="631" y="68"/>
                  </a:lnTo>
                  <a:lnTo>
                    <a:pt x="631" y="70"/>
                  </a:lnTo>
                  <a:lnTo>
                    <a:pt x="629" y="70"/>
                  </a:lnTo>
                  <a:lnTo>
                    <a:pt x="629" y="71"/>
                  </a:lnTo>
                  <a:lnTo>
                    <a:pt x="629" y="73"/>
                  </a:lnTo>
                  <a:lnTo>
                    <a:pt x="629" y="75"/>
                  </a:lnTo>
                  <a:lnTo>
                    <a:pt x="627" y="75"/>
                  </a:lnTo>
                  <a:lnTo>
                    <a:pt x="627" y="77"/>
                  </a:lnTo>
                  <a:lnTo>
                    <a:pt x="625" y="77"/>
                  </a:lnTo>
                  <a:lnTo>
                    <a:pt x="623" y="77"/>
                  </a:lnTo>
                  <a:lnTo>
                    <a:pt x="621" y="79"/>
                  </a:lnTo>
                  <a:lnTo>
                    <a:pt x="621" y="81"/>
                  </a:lnTo>
                  <a:lnTo>
                    <a:pt x="619" y="81"/>
                  </a:lnTo>
                  <a:lnTo>
                    <a:pt x="619" y="83"/>
                  </a:lnTo>
                  <a:lnTo>
                    <a:pt x="617" y="83"/>
                  </a:lnTo>
                  <a:lnTo>
                    <a:pt x="615" y="83"/>
                  </a:lnTo>
                  <a:lnTo>
                    <a:pt x="613" y="85"/>
                  </a:lnTo>
                  <a:lnTo>
                    <a:pt x="611" y="87"/>
                  </a:lnTo>
                  <a:lnTo>
                    <a:pt x="611" y="89"/>
                  </a:lnTo>
                  <a:lnTo>
                    <a:pt x="613" y="89"/>
                  </a:lnTo>
                  <a:lnTo>
                    <a:pt x="613" y="91"/>
                  </a:lnTo>
                  <a:lnTo>
                    <a:pt x="613" y="93"/>
                  </a:lnTo>
                  <a:lnTo>
                    <a:pt x="611" y="96"/>
                  </a:lnTo>
                  <a:lnTo>
                    <a:pt x="611" y="98"/>
                  </a:lnTo>
                  <a:lnTo>
                    <a:pt x="611" y="100"/>
                  </a:lnTo>
                  <a:lnTo>
                    <a:pt x="609" y="102"/>
                  </a:lnTo>
                  <a:lnTo>
                    <a:pt x="608" y="102"/>
                  </a:lnTo>
                  <a:lnTo>
                    <a:pt x="606" y="102"/>
                  </a:lnTo>
                  <a:lnTo>
                    <a:pt x="604" y="100"/>
                  </a:lnTo>
                  <a:lnTo>
                    <a:pt x="602" y="98"/>
                  </a:lnTo>
                  <a:lnTo>
                    <a:pt x="602" y="96"/>
                  </a:lnTo>
                  <a:lnTo>
                    <a:pt x="602" y="94"/>
                  </a:lnTo>
                  <a:lnTo>
                    <a:pt x="602" y="93"/>
                  </a:lnTo>
                  <a:lnTo>
                    <a:pt x="611" y="75"/>
                  </a:lnTo>
                  <a:lnTo>
                    <a:pt x="604" y="64"/>
                  </a:lnTo>
                  <a:lnTo>
                    <a:pt x="585" y="62"/>
                  </a:lnTo>
                  <a:lnTo>
                    <a:pt x="583" y="60"/>
                  </a:lnTo>
                  <a:lnTo>
                    <a:pt x="583" y="58"/>
                  </a:lnTo>
                  <a:lnTo>
                    <a:pt x="579" y="58"/>
                  </a:lnTo>
                  <a:lnTo>
                    <a:pt x="577" y="56"/>
                  </a:lnTo>
                  <a:lnTo>
                    <a:pt x="575" y="56"/>
                  </a:lnTo>
                  <a:lnTo>
                    <a:pt x="573" y="54"/>
                  </a:lnTo>
                  <a:lnTo>
                    <a:pt x="573" y="50"/>
                  </a:lnTo>
                  <a:lnTo>
                    <a:pt x="573" y="48"/>
                  </a:lnTo>
                  <a:lnTo>
                    <a:pt x="571" y="48"/>
                  </a:lnTo>
                  <a:lnTo>
                    <a:pt x="567" y="50"/>
                  </a:lnTo>
                  <a:lnTo>
                    <a:pt x="565" y="50"/>
                  </a:lnTo>
                  <a:lnTo>
                    <a:pt x="563" y="52"/>
                  </a:lnTo>
                  <a:lnTo>
                    <a:pt x="561" y="54"/>
                  </a:lnTo>
                  <a:lnTo>
                    <a:pt x="560" y="56"/>
                  </a:lnTo>
                  <a:lnTo>
                    <a:pt x="558" y="56"/>
                  </a:lnTo>
                  <a:lnTo>
                    <a:pt x="558" y="58"/>
                  </a:lnTo>
                  <a:lnTo>
                    <a:pt x="558" y="60"/>
                  </a:lnTo>
                  <a:lnTo>
                    <a:pt x="550" y="62"/>
                  </a:lnTo>
                  <a:lnTo>
                    <a:pt x="546" y="62"/>
                  </a:lnTo>
                  <a:lnTo>
                    <a:pt x="544" y="62"/>
                  </a:lnTo>
                  <a:lnTo>
                    <a:pt x="542" y="62"/>
                  </a:lnTo>
                  <a:lnTo>
                    <a:pt x="540" y="62"/>
                  </a:lnTo>
                  <a:lnTo>
                    <a:pt x="536" y="64"/>
                  </a:lnTo>
                  <a:lnTo>
                    <a:pt x="536" y="66"/>
                  </a:lnTo>
                  <a:lnTo>
                    <a:pt x="536" y="68"/>
                  </a:lnTo>
                  <a:lnTo>
                    <a:pt x="536" y="70"/>
                  </a:lnTo>
                  <a:lnTo>
                    <a:pt x="535" y="71"/>
                  </a:lnTo>
                  <a:lnTo>
                    <a:pt x="533" y="73"/>
                  </a:lnTo>
                  <a:lnTo>
                    <a:pt x="533" y="75"/>
                  </a:lnTo>
                  <a:lnTo>
                    <a:pt x="531" y="75"/>
                  </a:lnTo>
                  <a:lnTo>
                    <a:pt x="531" y="77"/>
                  </a:lnTo>
                  <a:lnTo>
                    <a:pt x="529" y="79"/>
                  </a:lnTo>
                  <a:lnTo>
                    <a:pt x="527" y="79"/>
                  </a:lnTo>
                  <a:lnTo>
                    <a:pt x="525" y="81"/>
                  </a:lnTo>
                  <a:lnTo>
                    <a:pt x="527" y="83"/>
                  </a:lnTo>
                  <a:lnTo>
                    <a:pt x="529" y="85"/>
                  </a:lnTo>
                  <a:lnTo>
                    <a:pt x="529" y="87"/>
                  </a:lnTo>
                  <a:lnTo>
                    <a:pt x="527" y="89"/>
                  </a:lnTo>
                  <a:lnTo>
                    <a:pt x="527" y="91"/>
                  </a:lnTo>
                  <a:lnTo>
                    <a:pt x="527" y="93"/>
                  </a:lnTo>
                  <a:lnTo>
                    <a:pt x="525" y="94"/>
                  </a:lnTo>
                  <a:lnTo>
                    <a:pt x="527" y="96"/>
                  </a:lnTo>
                  <a:lnTo>
                    <a:pt x="527" y="98"/>
                  </a:lnTo>
                  <a:lnTo>
                    <a:pt x="525" y="100"/>
                  </a:lnTo>
                  <a:lnTo>
                    <a:pt x="525" y="102"/>
                  </a:lnTo>
                  <a:lnTo>
                    <a:pt x="525" y="104"/>
                  </a:lnTo>
                  <a:lnTo>
                    <a:pt x="525" y="106"/>
                  </a:lnTo>
                  <a:lnTo>
                    <a:pt x="525" y="108"/>
                  </a:lnTo>
                  <a:lnTo>
                    <a:pt x="527" y="110"/>
                  </a:lnTo>
                  <a:lnTo>
                    <a:pt x="527" y="112"/>
                  </a:lnTo>
                  <a:lnTo>
                    <a:pt x="527" y="114"/>
                  </a:lnTo>
                  <a:lnTo>
                    <a:pt x="529" y="116"/>
                  </a:lnTo>
                  <a:lnTo>
                    <a:pt x="529" y="118"/>
                  </a:lnTo>
                  <a:lnTo>
                    <a:pt x="529" y="119"/>
                  </a:lnTo>
                  <a:lnTo>
                    <a:pt x="527" y="121"/>
                  </a:lnTo>
                  <a:lnTo>
                    <a:pt x="527" y="123"/>
                  </a:lnTo>
                  <a:lnTo>
                    <a:pt x="525" y="125"/>
                  </a:lnTo>
                  <a:lnTo>
                    <a:pt x="525" y="127"/>
                  </a:lnTo>
                  <a:lnTo>
                    <a:pt x="523" y="127"/>
                  </a:lnTo>
                  <a:lnTo>
                    <a:pt x="521" y="127"/>
                  </a:lnTo>
                  <a:lnTo>
                    <a:pt x="519" y="129"/>
                  </a:lnTo>
                  <a:lnTo>
                    <a:pt x="517" y="131"/>
                  </a:lnTo>
                  <a:lnTo>
                    <a:pt x="517" y="133"/>
                  </a:lnTo>
                  <a:lnTo>
                    <a:pt x="515" y="135"/>
                  </a:lnTo>
                  <a:lnTo>
                    <a:pt x="515" y="137"/>
                  </a:lnTo>
                  <a:lnTo>
                    <a:pt x="515" y="139"/>
                  </a:lnTo>
                  <a:lnTo>
                    <a:pt x="515" y="143"/>
                  </a:lnTo>
                  <a:lnTo>
                    <a:pt x="513" y="144"/>
                  </a:lnTo>
                  <a:lnTo>
                    <a:pt x="511" y="148"/>
                  </a:lnTo>
                  <a:lnTo>
                    <a:pt x="510" y="146"/>
                  </a:lnTo>
                  <a:lnTo>
                    <a:pt x="508" y="144"/>
                  </a:lnTo>
                  <a:lnTo>
                    <a:pt x="504" y="143"/>
                  </a:lnTo>
                  <a:lnTo>
                    <a:pt x="502" y="143"/>
                  </a:lnTo>
                  <a:lnTo>
                    <a:pt x="498" y="141"/>
                  </a:lnTo>
                  <a:lnTo>
                    <a:pt x="496" y="141"/>
                  </a:lnTo>
                  <a:lnTo>
                    <a:pt x="492" y="141"/>
                  </a:lnTo>
                  <a:lnTo>
                    <a:pt x="490" y="139"/>
                  </a:lnTo>
                  <a:lnTo>
                    <a:pt x="488" y="139"/>
                  </a:lnTo>
                  <a:lnTo>
                    <a:pt x="487" y="137"/>
                  </a:lnTo>
                  <a:lnTo>
                    <a:pt x="485" y="135"/>
                  </a:lnTo>
                  <a:lnTo>
                    <a:pt x="483" y="137"/>
                  </a:lnTo>
                  <a:lnTo>
                    <a:pt x="481" y="139"/>
                  </a:lnTo>
                  <a:lnTo>
                    <a:pt x="481" y="141"/>
                  </a:lnTo>
                  <a:lnTo>
                    <a:pt x="481" y="143"/>
                  </a:lnTo>
                  <a:lnTo>
                    <a:pt x="475" y="144"/>
                  </a:lnTo>
                  <a:lnTo>
                    <a:pt x="473" y="146"/>
                  </a:lnTo>
                  <a:lnTo>
                    <a:pt x="467" y="150"/>
                  </a:lnTo>
                  <a:lnTo>
                    <a:pt x="463" y="146"/>
                  </a:lnTo>
                  <a:lnTo>
                    <a:pt x="458" y="148"/>
                  </a:lnTo>
                  <a:lnTo>
                    <a:pt x="452" y="146"/>
                  </a:lnTo>
                  <a:lnTo>
                    <a:pt x="448" y="148"/>
                  </a:lnTo>
                  <a:lnTo>
                    <a:pt x="446" y="141"/>
                  </a:lnTo>
                  <a:lnTo>
                    <a:pt x="442" y="137"/>
                  </a:lnTo>
                  <a:lnTo>
                    <a:pt x="440" y="135"/>
                  </a:lnTo>
                  <a:lnTo>
                    <a:pt x="435" y="127"/>
                  </a:lnTo>
                  <a:lnTo>
                    <a:pt x="425" y="118"/>
                  </a:lnTo>
                  <a:lnTo>
                    <a:pt x="417" y="118"/>
                  </a:lnTo>
                  <a:lnTo>
                    <a:pt x="413" y="119"/>
                  </a:lnTo>
                  <a:lnTo>
                    <a:pt x="410" y="121"/>
                  </a:lnTo>
                  <a:lnTo>
                    <a:pt x="410" y="123"/>
                  </a:lnTo>
                  <a:lnTo>
                    <a:pt x="410" y="125"/>
                  </a:lnTo>
                  <a:lnTo>
                    <a:pt x="412" y="127"/>
                  </a:lnTo>
                  <a:lnTo>
                    <a:pt x="413" y="129"/>
                  </a:lnTo>
                  <a:lnTo>
                    <a:pt x="413" y="133"/>
                  </a:lnTo>
                  <a:lnTo>
                    <a:pt x="404" y="129"/>
                  </a:lnTo>
                  <a:lnTo>
                    <a:pt x="398" y="133"/>
                  </a:lnTo>
                  <a:lnTo>
                    <a:pt x="387" y="135"/>
                  </a:lnTo>
                  <a:lnTo>
                    <a:pt x="394" y="141"/>
                  </a:lnTo>
                  <a:lnTo>
                    <a:pt x="394" y="148"/>
                  </a:lnTo>
                  <a:lnTo>
                    <a:pt x="392" y="158"/>
                  </a:lnTo>
                  <a:lnTo>
                    <a:pt x="385" y="164"/>
                  </a:lnTo>
                  <a:lnTo>
                    <a:pt x="388" y="166"/>
                  </a:lnTo>
                  <a:lnTo>
                    <a:pt x="392" y="166"/>
                  </a:lnTo>
                  <a:lnTo>
                    <a:pt x="387" y="175"/>
                  </a:lnTo>
                  <a:lnTo>
                    <a:pt x="362" y="168"/>
                  </a:lnTo>
                  <a:lnTo>
                    <a:pt x="352" y="169"/>
                  </a:lnTo>
                  <a:lnTo>
                    <a:pt x="348" y="168"/>
                  </a:lnTo>
                  <a:lnTo>
                    <a:pt x="346" y="166"/>
                  </a:lnTo>
                  <a:lnTo>
                    <a:pt x="340" y="169"/>
                  </a:lnTo>
                  <a:lnTo>
                    <a:pt x="340" y="175"/>
                  </a:lnTo>
                  <a:lnTo>
                    <a:pt x="342" y="187"/>
                  </a:lnTo>
                  <a:lnTo>
                    <a:pt x="337" y="202"/>
                  </a:lnTo>
                  <a:lnTo>
                    <a:pt x="331" y="198"/>
                  </a:lnTo>
                  <a:lnTo>
                    <a:pt x="319" y="194"/>
                  </a:lnTo>
                  <a:lnTo>
                    <a:pt x="319" y="198"/>
                  </a:lnTo>
                  <a:lnTo>
                    <a:pt x="308" y="206"/>
                  </a:lnTo>
                  <a:lnTo>
                    <a:pt x="306" y="212"/>
                  </a:lnTo>
                  <a:lnTo>
                    <a:pt x="302" y="223"/>
                  </a:lnTo>
                  <a:lnTo>
                    <a:pt x="300" y="229"/>
                  </a:lnTo>
                  <a:lnTo>
                    <a:pt x="292" y="231"/>
                  </a:lnTo>
                  <a:lnTo>
                    <a:pt x="292" y="235"/>
                  </a:lnTo>
                  <a:lnTo>
                    <a:pt x="296" y="242"/>
                  </a:lnTo>
                  <a:lnTo>
                    <a:pt x="300" y="248"/>
                  </a:lnTo>
                  <a:lnTo>
                    <a:pt x="300" y="258"/>
                  </a:lnTo>
                  <a:lnTo>
                    <a:pt x="296" y="260"/>
                  </a:lnTo>
                  <a:lnTo>
                    <a:pt x="290" y="266"/>
                  </a:lnTo>
                  <a:lnTo>
                    <a:pt x="283" y="283"/>
                  </a:lnTo>
                  <a:lnTo>
                    <a:pt x="275" y="290"/>
                  </a:lnTo>
                  <a:lnTo>
                    <a:pt x="277" y="300"/>
                  </a:lnTo>
                  <a:lnTo>
                    <a:pt x="279" y="302"/>
                  </a:lnTo>
                  <a:lnTo>
                    <a:pt x="266" y="312"/>
                  </a:lnTo>
                  <a:lnTo>
                    <a:pt x="252" y="314"/>
                  </a:lnTo>
                  <a:lnTo>
                    <a:pt x="256" y="333"/>
                  </a:lnTo>
                  <a:lnTo>
                    <a:pt x="254" y="339"/>
                  </a:lnTo>
                  <a:lnTo>
                    <a:pt x="254" y="362"/>
                  </a:lnTo>
                  <a:lnTo>
                    <a:pt x="250" y="365"/>
                  </a:lnTo>
                  <a:lnTo>
                    <a:pt x="248" y="373"/>
                  </a:lnTo>
                  <a:lnTo>
                    <a:pt x="231" y="406"/>
                  </a:lnTo>
                  <a:lnTo>
                    <a:pt x="244" y="415"/>
                  </a:lnTo>
                  <a:lnTo>
                    <a:pt x="246" y="431"/>
                  </a:lnTo>
                  <a:lnTo>
                    <a:pt x="241" y="442"/>
                  </a:lnTo>
                  <a:lnTo>
                    <a:pt x="221" y="437"/>
                  </a:lnTo>
                  <a:lnTo>
                    <a:pt x="212" y="440"/>
                  </a:lnTo>
                  <a:lnTo>
                    <a:pt x="204" y="446"/>
                  </a:lnTo>
                  <a:lnTo>
                    <a:pt x="198" y="454"/>
                  </a:lnTo>
                  <a:lnTo>
                    <a:pt x="194" y="462"/>
                  </a:lnTo>
                  <a:lnTo>
                    <a:pt x="192" y="465"/>
                  </a:lnTo>
                  <a:lnTo>
                    <a:pt x="189" y="469"/>
                  </a:lnTo>
                  <a:lnTo>
                    <a:pt x="191" y="477"/>
                  </a:lnTo>
                  <a:lnTo>
                    <a:pt x="187" y="483"/>
                  </a:lnTo>
                  <a:lnTo>
                    <a:pt x="185" y="488"/>
                  </a:lnTo>
                  <a:lnTo>
                    <a:pt x="185" y="490"/>
                  </a:lnTo>
                  <a:lnTo>
                    <a:pt x="187" y="494"/>
                  </a:lnTo>
                  <a:lnTo>
                    <a:pt x="191" y="502"/>
                  </a:lnTo>
                  <a:lnTo>
                    <a:pt x="191" y="506"/>
                  </a:lnTo>
                  <a:lnTo>
                    <a:pt x="187" y="511"/>
                  </a:lnTo>
                  <a:lnTo>
                    <a:pt x="189" y="521"/>
                  </a:lnTo>
                  <a:lnTo>
                    <a:pt x="187" y="529"/>
                  </a:lnTo>
                  <a:lnTo>
                    <a:pt x="189" y="536"/>
                  </a:lnTo>
                  <a:lnTo>
                    <a:pt x="191" y="540"/>
                  </a:lnTo>
                  <a:lnTo>
                    <a:pt x="191" y="544"/>
                  </a:lnTo>
                  <a:lnTo>
                    <a:pt x="191" y="546"/>
                  </a:lnTo>
                  <a:lnTo>
                    <a:pt x="192" y="550"/>
                  </a:lnTo>
                  <a:lnTo>
                    <a:pt x="191" y="559"/>
                  </a:lnTo>
                  <a:lnTo>
                    <a:pt x="191" y="561"/>
                  </a:lnTo>
                  <a:lnTo>
                    <a:pt x="189" y="586"/>
                  </a:lnTo>
                  <a:lnTo>
                    <a:pt x="198" y="594"/>
                  </a:lnTo>
                  <a:lnTo>
                    <a:pt x="202" y="594"/>
                  </a:lnTo>
                  <a:lnTo>
                    <a:pt x="210" y="608"/>
                  </a:lnTo>
                  <a:lnTo>
                    <a:pt x="210" y="611"/>
                  </a:lnTo>
                  <a:lnTo>
                    <a:pt x="210" y="613"/>
                  </a:lnTo>
                  <a:lnTo>
                    <a:pt x="210" y="615"/>
                  </a:lnTo>
                  <a:lnTo>
                    <a:pt x="206" y="621"/>
                  </a:lnTo>
                  <a:lnTo>
                    <a:pt x="204" y="627"/>
                  </a:lnTo>
                  <a:lnTo>
                    <a:pt x="202" y="627"/>
                  </a:lnTo>
                  <a:lnTo>
                    <a:pt x="200" y="627"/>
                  </a:lnTo>
                  <a:lnTo>
                    <a:pt x="196" y="627"/>
                  </a:lnTo>
                  <a:lnTo>
                    <a:pt x="192" y="629"/>
                  </a:lnTo>
                  <a:lnTo>
                    <a:pt x="194" y="633"/>
                  </a:lnTo>
                  <a:lnTo>
                    <a:pt x="194" y="636"/>
                  </a:lnTo>
                  <a:lnTo>
                    <a:pt x="196" y="640"/>
                  </a:lnTo>
                  <a:lnTo>
                    <a:pt x="196" y="644"/>
                  </a:lnTo>
                  <a:lnTo>
                    <a:pt x="198" y="648"/>
                  </a:lnTo>
                  <a:lnTo>
                    <a:pt x="202" y="652"/>
                  </a:lnTo>
                  <a:lnTo>
                    <a:pt x="202" y="656"/>
                  </a:lnTo>
                  <a:lnTo>
                    <a:pt x="202" y="657"/>
                  </a:lnTo>
                  <a:lnTo>
                    <a:pt x="204" y="659"/>
                  </a:lnTo>
                  <a:lnTo>
                    <a:pt x="204" y="663"/>
                  </a:lnTo>
                  <a:lnTo>
                    <a:pt x="204" y="667"/>
                  </a:lnTo>
                  <a:lnTo>
                    <a:pt x="202" y="671"/>
                  </a:lnTo>
                  <a:lnTo>
                    <a:pt x="202" y="673"/>
                  </a:lnTo>
                  <a:lnTo>
                    <a:pt x="202" y="681"/>
                  </a:lnTo>
                  <a:lnTo>
                    <a:pt x="202" y="686"/>
                  </a:lnTo>
                  <a:lnTo>
                    <a:pt x="198" y="692"/>
                  </a:lnTo>
                  <a:lnTo>
                    <a:pt x="196" y="696"/>
                  </a:lnTo>
                  <a:lnTo>
                    <a:pt x="192" y="700"/>
                  </a:lnTo>
                  <a:lnTo>
                    <a:pt x="191" y="700"/>
                  </a:lnTo>
                  <a:lnTo>
                    <a:pt x="189" y="700"/>
                  </a:lnTo>
                  <a:lnTo>
                    <a:pt x="185" y="700"/>
                  </a:lnTo>
                  <a:lnTo>
                    <a:pt x="181" y="704"/>
                  </a:lnTo>
                  <a:lnTo>
                    <a:pt x="183" y="706"/>
                  </a:lnTo>
                  <a:lnTo>
                    <a:pt x="183" y="707"/>
                  </a:lnTo>
                  <a:lnTo>
                    <a:pt x="183" y="709"/>
                  </a:lnTo>
                  <a:lnTo>
                    <a:pt x="183" y="711"/>
                  </a:lnTo>
                  <a:lnTo>
                    <a:pt x="179" y="715"/>
                  </a:lnTo>
                  <a:lnTo>
                    <a:pt x="175" y="717"/>
                  </a:lnTo>
                  <a:lnTo>
                    <a:pt x="177" y="727"/>
                  </a:lnTo>
                  <a:lnTo>
                    <a:pt x="179" y="736"/>
                  </a:lnTo>
                  <a:lnTo>
                    <a:pt x="177" y="746"/>
                  </a:lnTo>
                  <a:lnTo>
                    <a:pt x="177" y="748"/>
                  </a:lnTo>
                  <a:lnTo>
                    <a:pt x="175" y="754"/>
                  </a:lnTo>
                  <a:lnTo>
                    <a:pt x="173" y="761"/>
                  </a:lnTo>
                  <a:lnTo>
                    <a:pt x="169" y="763"/>
                  </a:lnTo>
                  <a:lnTo>
                    <a:pt x="168" y="763"/>
                  </a:lnTo>
                  <a:lnTo>
                    <a:pt x="168" y="761"/>
                  </a:lnTo>
                  <a:lnTo>
                    <a:pt x="166" y="752"/>
                  </a:lnTo>
                  <a:lnTo>
                    <a:pt x="164" y="748"/>
                  </a:lnTo>
                  <a:lnTo>
                    <a:pt x="158" y="752"/>
                  </a:lnTo>
                  <a:lnTo>
                    <a:pt x="156" y="755"/>
                  </a:lnTo>
                  <a:lnTo>
                    <a:pt x="156" y="752"/>
                  </a:lnTo>
                  <a:lnTo>
                    <a:pt x="158" y="748"/>
                  </a:lnTo>
                  <a:lnTo>
                    <a:pt x="158" y="746"/>
                  </a:lnTo>
                  <a:lnTo>
                    <a:pt x="156" y="746"/>
                  </a:lnTo>
                  <a:lnTo>
                    <a:pt x="156" y="748"/>
                  </a:lnTo>
                  <a:lnTo>
                    <a:pt x="152" y="748"/>
                  </a:lnTo>
                  <a:lnTo>
                    <a:pt x="152" y="746"/>
                  </a:lnTo>
                  <a:lnTo>
                    <a:pt x="150" y="744"/>
                  </a:lnTo>
                  <a:lnTo>
                    <a:pt x="146" y="748"/>
                  </a:lnTo>
                  <a:lnTo>
                    <a:pt x="144" y="744"/>
                  </a:lnTo>
                  <a:lnTo>
                    <a:pt x="143" y="740"/>
                  </a:lnTo>
                  <a:lnTo>
                    <a:pt x="144" y="738"/>
                  </a:lnTo>
                  <a:lnTo>
                    <a:pt x="144" y="736"/>
                  </a:lnTo>
                  <a:lnTo>
                    <a:pt x="143" y="734"/>
                  </a:lnTo>
                  <a:lnTo>
                    <a:pt x="141" y="732"/>
                  </a:lnTo>
                  <a:lnTo>
                    <a:pt x="139" y="729"/>
                  </a:lnTo>
                  <a:lnTo>
                    <a:pt x="141" y="725"/>
                  </a:lnTo>
                  <a:lnTo>
                    <a:pt x="141" y="719"/>
                  </a:lnTo>
                  <a:lnTo>
                    <a:pt x="141" y="713"/>
                  </a:lnTo>
                  <a:lnTo>
                    <a:pt x="139" y="707"/>
                  </a:lnTo>
                  <a:lnTo>
                    <a:pt x="143" y="702"/>
                  </a:lnTo>
                  <a:lnTo>
                    <a:pt x="144" y="709"/>
                  </a:lnTo>
                  <a:lnTo>
                    <a:pt x="144" y="704"/>
                  </a:lnTo>
                  <a:lnTo>
                    <a:pt x="144" y="700"/>
                  </a:lnTo>
                  <a:lnTo>
                    <a:pt x="143" y="700"/>
                  </a:lnTo>
                  <a:lnTo>
                    <a:pt x="139" y="700"/>
                  </a:lnTo>
                  <a:lnTo>
                    <a:pt x="135" y="704"/>
                  </a:lnTo>
                  <a:lnTo>
                    <a:pt x="137" y="706"/>
                  </a:lnTo>
                  <a:lnTo>
                    <a:pt x="137" y="709"/>
                  </a:lnTo>
                  <a:lnTo>
                    <a:pt x="139" y="711"/>
                  </a:lnTo>
                  <a:lnTo>
                    <a:pt x="139" y="713"/>
                  </a:lnTo>
                  <a:lnTo>
                    <a:pt x="139" y="721"/>
                  </a:lnTo>
                  <a:lnTo>
                    <a:pt x="137" y="723"/>
                  </a:lnTo>
                  <a:lnTo>
                    <a:pt x="133" y="723"/>
                  </a:lnTo>
                  <a:lnTo>
                    <a:pt x="127" y="719"/>
                  </a:lnTo>
                  <a:lnTo>
                    <a:pt x="131" y="725"/>
                  </a:lnTo>
                  <a:lnTo>
                    <a:pt x="135" y="729"/>
                  </a:lnTo>
                  <a:lnTo>
                    <a:pt x="137" y="736"/>
                  </a:lnTo>
                  <a:lnTo>
                    <a:pt x="135" y="740"/>
                  </a:lnTo>
                  <a:lnTo>
                    <a:pt x="135" y="744"/>
                  </a:lnTo>
                  <a:lnTo>
                    <a:pt x="133" y="742"/>
                  </a:lnTo>
                  <a:lnTo>
                    <a:pt x="129" y="748"/>
                  </a:lnTo>
                  <a:lnTo>
                    <a:pt x="131" y="752"/>
                  </a:lnTo>
                  <a:lnTo>
                    <a:pt x="125" y="754"/>
                  </a:lnTo>
                  <a:lnTo>
                    <a:pt x="121" y="754"/>
                  </a:lnTo>
                  <a:lnTo>
                    <a:pt x="118" y="746"/>
                  </a:lnTo>
                  <a:lnTo>
                    <a:pt x="118" y="748"/>
                  </a:lnTo>
                  <a:lnTo>
                    <a:pt x="121" y="755"/>
                  </a:lnTo>
                  <a:lnTo>
                    <a:pt x="114" y="757"/>
                  </a:lnTo>
                  <a:lnTo>
                    <a:pt x="114" y="750"/>
                  </a:lnTo>
                  <a:lnTo>
                    <a:pt x="110" y="748"/>
                  </a:lnTo>
                  <a:lnTo>
                    <a:pt x="112" y="755"/>
                  </a:lnTo>
                  <a:lnTo>
                    <a:pt x="108" y="757"/>
                  </a:lnTo>
                  <a:lnTo>
                    <a:pt x="106" y="759"/>
                  </a:lnTo>
                  <a:lnTo>
                    <a:pt x="98" y="761"/>
                  </a:lnTo>
                  <a:lnTo>
                    <a:pt x="96" y="763"/>
                  </a:lnTo>
                  <a:lnTo>
                    <a:pt x="102" y="765"/>
                  </a:lnTo>
                  <a:lnTo>
                    <a:pt x="100" y="767"/>
                  </a:lnTo>
                  <a:lnTo>
                    <a:pt x="98" y="769"/>
                  </a:lnTo>
                  <a:lnTo>
                    <a:pt x="96" y="771"/>
                  </a:lnTo>
                  <a:lnTo>
                    <a:pt x="91" y="771"/>
                  </a:lnTo>
                  <a:lnTo>
                    <a:pt x="94" y="771"/>
                  </a:lnTo>
                  <a:lnTo>
                    <a:pt x="94" y="775"/>
                  </a:lnTo>
                  <a:lnTo>
                    <a:pt x="89" y="777"/>
                  </a:lnTo>
                  <a:lnTo>
                    <a:pt x="85" y="779"/>
                  </a:lnTo>
                  <a:lnTo>
                    <a:pt x="83" y="784"/>
                  </a:lnTo>
                  <a:lnTo>
                    <a:pt x="81" y="786"/>
                  </a:lnTo>
                  <a:lnTo>
                    <a:pt x="77" y="790"/>
                  </a:lnTo>
                  <a:lnTo>
                    <a:pt x="75" y="794"/>
                  </a:lnTo>
                  <a:lnTo>
                    <a:pt x="71" y="798"/>
                  </a:lnTo>
                  <a:lnTo>
                    <a:pt x="68" y="800"/>
                  </a:lnTo>
                  <a:lnTo>
                    <a:pt x="64" y="802"/>
                  </a:lnTo>
                  <a:lnTo>
                    <a:pt x="62" y="805"/>
                  </a:lnTo>
                  <a:lnTo>
                    <a:pt x="62" y="807"/>
                  </a:lnTo>
                  <a:lnTo>
                    <a:pt x="58" y="807"/>
                  </a:lnTo>
                  <a:lnTo>
                    <a:pt x="56" y="807"/>
                  </a:lnTo>
                  <a:lnTo>
                    <a:pt x="56" y="805"/>
                  </a:lnTo>
                  <a:lnTo>
                    <a:pt x="56" y="802"/>
                  </a:lnTo>
                  <a:lnTo>
                    <a:pt x="54" y="802"/>
                  </a:lnTo>
                  <a:lnTo>
                    <a:pt x="54" y="805"/>
                  </a:lnTo>
                  <a:lnTo>
                    <a:pt x="52" y="805"/>
                  </a:lnTo>
                  <a:lnTo>
                    <a:pt x="52" y="809"/>
                  </a:lnTo>
                  <a:lnTo>
                    <a:pt x="46" y="811"/>
                  </a:lnTo>
                  <a:lnTo>
                    <a:pt x="43" y="811"/>
                  </a:lnTo>
                  <a:lnTo>
                    <a:pt x="43" y="809"/>
                  </a:lnTo>
                  <a:lnTo>
                    <a:pt x="43" y="811"/>
                  </a:lnTo>
                  <a:lnTo>
                    <a:pt x="43" y="813"/>
                  </a:lnTo>
                  <a:lnTo>
                    <a:pt x="39" y="815"/>
                  </a:lnTo>
                  <a:lnTo>
                    <a:pt x="37" y="813"/>
                  </a:lnTo>
                  <a:lnTo>
                    <a:pt x="35" y="813"/>
                  </a:lnTo>
                  <a:lnTo>
                    <a:pt x="33" y="813"/>
                  </a:lnTo>
                  <a:lnTo>
                    <a:pt x="29" y="811"/>
                  </a:lnTo>
                  <a:lnTo>
                    <a:pt x="27" y="811"/>
                  </a:lnTo>
                  <a:lnTo>
                    <a:pt x="25" y="811"/>
                  </a:lnTo>
                  <a:lnTo>
                    <a:pt x="21" y="815"/>
                  </a:lnTo>
                  <a:lnTo>
                    <a:pt x="21" y="813"/>
                  </a:lnTo>
                  <a:lnTo>
                    <a:pt x="23" y="811"/>
                  </a:lnTo>
                  <a:lnTo>
                    <a:pt x="25" y="809"/>
                  </a:lnTo>
                  <a:lnTo>
                    <a:pt x="27" y="807"/>
                  </a:lnTo>
                  <a:lnTo>
                    <a:pt x="23" y="809"/>
                  </a:lnTo>
                  <a:lnTo>
                    <a:pt x="20" y="811"/>
                  </a:lnTo>
                  <a:lnTo>
                    <a:pt x="21" y="805"/>
                  </a:lnTo>
                  <a:lnTo>
                    <a:pt x="20" y="809"/>
                  </a:lnTo>
                  <a:lnTo>
                    <a:pt x="18" y="807"/>
                  </a:lnTo>
                  <a:lnTo>
                    <a:pt x="16" y="809"/>
                  </a:lnTo>
                  <a:lnTo>
                    <a:pt x="16" y="807"/>
                  </a:lnTo>
                  <a:lnTo>
                    <a:pt x="18" y="805"/>
                  </a:lnTo>
                  <a:lnTo>
                    <a:pt x="21" y="805"/>
                  </a:lnTo>
                  <a:lnTo>
                    <a:pt x="18" y="804"/>
                  </a:lnTo>
                  <a:lnTo>
                    <a:pt x="14" y="802"/>
                  </a:lnTo>
                  <a:lnTo>
                    <a:pt x="16" y="805"/>
                  </a:lnTo>
                  <a:lnTo>
                    <a:pt x="12" y="807"/>
                  </a:lnTo>
                  <a:lnTo>
                    <a:pt x="14" y="809"/>
                  </a:lnTo>
                  <a:lnTo>
                    <a:pt x="8" y="807"/>
                  </a:lnTo>
                  <a:lnTo>
                    <a:pt x="6" y="805"/>
                  </a:lnTo>
                  <a:lnTo>
                    <a:pt x="8" y="802"/>
                  </a:lnTo>
                  <a:lnTo>
                    <a:pt x="10" y="802"/>
                  </a:lnTo>
                  <a:lnTo>
                    <a:pt x="14" y="798"/>
                  </a:lnTo>
                  <a:lnTo>
                    <a:pt x="12" y="798"/>
                  </a:lnTo>
                  <a:lnTo>
                    <a:pt x="10" y="794"/>
                  </a:lnTo>
                  <a:lnTo>
                    <a:pt x="10" y="798"/>
                  </a:lnTo>
                  <a:lnTo>
                    <a:pt x="4" y="798"/>
                  </a:lnTo>
                  <a:lnTo>
                    <a:pt x="2" y="796"/>
                  </a:lnTo>
                  <a:lnTo>
                    <a:pt x="0" y="79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25" name="Freeform 213"/>
            <p:cNvSpPr>
              <a:spLocks/>
            </p:cNvSpPr>
            <p:nvPr/>
          </p:nvSpPr>
          <p:spPr bwMode="auto">
            <a:xfrm>
              <a:off x="2706" y="1226"/>
              <a:ext cx="219" cy="132"/>
            </a:xfrm>
            <a:custGeom>
              <a:avLst/>
              <a:gdLst>
                <a:gd name="T0" fmla="*/ 11 w 219"/>
                <a:gd name="T1" fmla="*/ 132 h 132"/>
                <a:gd name="T2" fmla="*/ 4 w 219"/>
                <a:gd name="T3" fmla="*/ 123 h 132"/>
                <a:gd name="T4" fmla="*/ 2 w 219"/>
                <a:gd name="T5" fmla="*/ 107 h 132"/>
                <a:gd name="T6" fmla="*/ 17 w 219"/>
                <a:gd name="T7" fmla="*/ 99 h 132"/>
                <a:gd name="T8" fmla="*/ 19 w 219"/>
                <a:gd name="T9" fmla="*/ 117 h 132"/>
                <a:gd name="T10" fmla="*/ 27 w 219"/>
                <a:gd name="T11" fmla="*/ 109 h 132"/>
                <a:gd name="T12" fmla="*/ 23 w 219"/>
                <a:gd name="T13" fmla="*/ 101 h 132"/>
                <a:gd name="T14" fmla="*/ 32 w 219"/>
                <a:gd name="T15" fmla="*/ 96 h 132"/>
                <a:gd name="T16" fmla="*/ 31 w 219"/>
                <a:gd name="T17" fmla="*/ 117 h 132"/>
                <a:gd name="T18" fmla="*/ 34 w 219"/>
                <a:gd name="T19" fmla="*/ 121 h 132"/>
                <a:gd name="T20" fmla="*/ 44 w 219"/>
                <a:gd name="T21" fmla="*/ 111 h 132"/>
                <a:gd name="T22" fmla="*/ 38 w 219"/>
                <a:gd name="T23" fmla="*/ 98 h 132"/>
                <a:gd name="T24" fmla="*/ 50 w 219"/>
                <a:gd name="T25" fmla="*/ 86 h 132"/>
                <a:gd name="T26" fmla="*/ 50 w 219"/>
                <a:gd name="T27" fmla="*/ 92 h 132"/>
                <a:gd name="T28" fmla="*/ 56 w 219"/>
                <a:gd name="T29" fmla="*/ 88 h 132"/>
                <a:gd name="T30" fmla="*/ 65 w 219"/>
                <a:gd name="T31" fmla="*/ 90 h 132"/>
                <a:gd name="T32" fmla="*/ 73 w 219"/>
                <a:gd name="T33" fmla="*/ 82 h 132"/>
                <a:gd name="T34" fmla="*/ 71 w 219"/>
                <a:gd name="T35" fmla="*/ 76 h 132"/>
                <a:gd name="T36" fmla="*/ 57 w 219"/>
                <a:gd name="T37" fmla="*/ 75 h 132"/>
                <a:gd name="T38" fmla="*/ 57 w 219"/>
                <a:gd name="T39" fmla="*/ 67 h 132"/>
                <a:gd name="T40" fmla="*/ 69 w 219"/>
                <a:gd name="T41" fmla="*/ 63 h 132"/>
                <a:gd name="T42" fmla="*/ 77 w 219"/>
                <a:gd name="T43" fmla="*/ 75 h 132"/>
                <a:gd name="T44" fmla="*/ 79 w 219"/>
                <a:gd name="T45" fmla="*/ 67 h 132"/>
                <a:gd name="T46" fmla="*/ 94 w 219"/>
                <a:gd name="T47" fmla="*/ 67 h 132"/>
                <a:gd name="T48" fmla="*/ 81 w 219"/>
                <a:gd name="T49" fmla="*/ 78 h 132"/>
                <a:gd name="T50" fmla="*/ 98 w 219"/>
                <a:gd name="T51" fmla="*/ 76 h 132"/>
                <a:gd name="T52" fmla="*/ 109 w 219"/>
                <a:gd name="T53" fmla="*/ 76 h 132"/>
                <a:gd name="T54" fmla="*/ 102 w 219"/>
                <a:gd name="T55" fmla="*/ 69 h 132"/>
                <a:gd name="T56" fmla="*/ 104 w 219"/>
                <a:gd name="T57" fmla="*/ 63 h 132"/>
                <a:gd name="T58" fmla="*/ 107 w 219"/>
                <a:gd name="T59" fmla="*/ 57 h 132"/>
                <a:gd name="T60" fmla="*/ 125 w 219"/>
                <a:gd name="T61" fmla="*/ 50 h 132"/>
                <a:gd name="T62" fmla="*/ 123 w 219"/>
                <a:gd name="T63" fmla="*/ 38 h 132"/>
                <a:gd name="T64" fmla="*/ 132 w 219"/>
                <a:gd name="T65" fmla="*/ 38 h 132"/>
                <a:gd name="T66" fmla="*/ 121 w 219"/>
                <a:gd name="T67" fmla="*/ 30 h 132"/>
                <a:gd name="T68" fmla="*/ 129 w 219"/>
                <a:gd name="T69" fmla="*/ 28 h 132"/>
                <a:gd name="T70" fmla="*/ 127 w 219"/>
                <a:gd name="T71" fmla="*/ 19 h 132"/>
                <a:gd name="T72" fmla="*/ 134 w 219"/>
                <a:gd name="T73" fmla="*/ 23 h 132"/>
                <a:gd name="T74" fmla="*/ 142 w 219"/>
                <a:gd name="T75" fmla="*/ 21 h 132"/>
                <a:gd name="T76" fmla="*/ 150 w 219"/>
                <a:gd name="T77" fmla="*/ 21 h 132"/>
                <a:gd name="T78" fmla="*/ 159 w 219"/>
                <a:gd name="T79" fmla="*/ 21 h 132"/>
                <a:gd name="T80" fmla="*/ 150 w 219"/>
                <a:gd name="T81" fmla="*/ 32 h 132"/>
                <a:gd name="T82" fmla="*/ 146 w 219"/>
                <a:gd name="T83" fmla="*/ 46 h 132"/>
                <a:gd name="T84" fmla="*/ 144 w 219"/>
                <a:gd name="T85" fmla="*/ 57 h 132"/>
                <a:gd name="T86" fmla="*/ 146 w 219"/>
                <a:gd name="T87" fmla="*/ 67 h 132"/>
                <a:gd name="T88" fmla="*/ 154 w 219"/>
                <a:gd name="T89" fmla="*/ 48 h 132"/>
                <a:gd name="T90" fmla="*/ 169 w 219"/>
                <a:gd name="T91" fmla="*/ 21 h 132"/>
                <a:gd name="T92" fmla="*/ 177 w 219"/>
                <a:gd name="T93" fmla="*/ 25 h 132"/>
                <a:gd name="T94" fmla="*/ 179 w 219"/>
                <a:gd name="T95" fmla="*/ 42 h 132"/>
                <a:gd name="T96" fmla="*/ 182 w 219"/>
                <a:gd name="T97" fmla="*/ 38 h 132"/>
                <a:gd name="T98" fmla="*/ 188 w 219"/>
                <a:gd name="T99" fmla="*/ 30 h 132"/>
                <a:gd name="T100" fmla="*/ 190 w 219"/>
                <a:gd name="T101" fmla="*/ 23 h 132"/>
                <a:gd name="T102" fmla="*/ 196 w 219"/>
                <a:gd name="T103" fmla="*/ 13 h 132"/>
                <a:gd name="T104" fmla="*/ 190 w 219"/>
                <a:gd name="T105" fmla="*/ 5 h 132"/>
                <a:gd name="T106" fmla="*/ 198 w 219"/>
                <a:gd name="T107" fmla="*/ 1 h 132"/>
                <a:gd name="T108" fmla="*/ 207 w 219"/>
                <a:gd name="T109" fmla="*/ 1 h 132"/>
                <a:gd name="T110" fmla="*/ 219 w 219"/>
                <a:gd name="T111" fmla="*/ 7 h 132"/>
                <a:gd name="T112" fmla="*/ 209 w 219"/>
                <a:gd name="T113" fmla="*/ 15 h 132"/>
                <a:gd name="T114" fmla="*/ 207 w 219"/>
                <a:gd name="T115" fmla="*/ 23 h 132"/>
                <a:gd name="T116" fmla="*/ 211 w 219"/>
                <a:gd name="T117" fmla="*/ 3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9" h="132">
                  <a:moveTo>
                    <a:pt x="2" y="124"/>
                  </a:moveTo>
                  <a:lnTo>
                    <a:pt x="4" y="126"/>
                  </a:lnTo>
                  <a:lnTo>
                    <a:pt x="8" y="126"/>
                  </a:lnTo>
                  <a:lnTo>
                    <a:pt x="9" y="124"/>
                  </a:lnTo>
                  <a:lnTo>
                    <a:pt x="9" y="126"/>
                  </a:lnTo>
                  <a:lnTo>
                    <a:pt x="9" y="128"/>
                  </a:lnTo>
                  <a:lnTo>
                    <a:pt x="9" y="130"/>
                  </a:lnTo>
                  <a:lnTo>
                    <a:pt x="8" y="130"/>
                  </a:lnTo>
                  <a:lnTo>
                    <a:pt x="9" y="132"/>
                  </a:lnTo>
                  <a:lnTo>
                    <a:pt x="11" y="132"/>
                  </a:lnTo>
                  <a:lnTo>
                    <a:pt x="15" y="132"/>
                  </a:lnTo>
                  <a:lnTo>
                    <a:pt x="17" y="132"/>
                  </a:lnTo>
                  <a:lnTo>
                    <a:pt x="15" y="130"/>
                  </a:lnTo>
                  <a:lnTo>
                    <a:pt x="13" y="130"/>
                  </a:lnTo>
                  <a:lnTo>
                    <a:pt x="13" y="128"/>
                  </a:lnTo>
                  <a:lnTo>
                    <a:pt x="13" y="126"/>
                  </a:lnTo>
                  <a:lnTo>
                    <a:pt x="11" y="124"/>
                  </a:lnTo>
                  <a:lnTo>
                    <a:pt x="8" y="123"/>
                  </a:lnTo>
                  <a:lnTo>
                    <a:pt x="4" y="124"/>
                  </a:lnTo>
                  <a:lnTo>
                    <a:pt x="4" y="123"/>
                  </a:lnTo>
                  <a:lnTo>
                    <a:pt x="2" y="121"/>
                  </a:lnTo>
                  <a:lnTo>
                    <a:pt x="2" y="119"/>
                  </a:lnTo>
                  <a:lnTo>
                    <a:pt x="2" y="117"/>
                  </a:lnTo>
                  <a:lnTo>
                    <a:pt x="2" y="115"/>
                  </a:lnTo>
                  <a:lnTo>
                    <a:pt x="0" y="115"/>
                  </a:lnTo>
                  <a:lnTo>
                    <a:pt x="0" y="113"/>
                  </a:lnTo>
                  <a:lnTo>
                    <a:pt x="0" y="111"/>
                  </a:lnTo>
                  <a:lnTo>
                    <a:pt x="0" y="109"/>
                  </a:lnTo>
                  <a:lnTo>
                    <a:pt x="2" y="109"/>
                  </a:lnTo>
                  <a:lnTo>
                    <a:pt x="2" y="107"/>
                  </a:lnTo>
                  <a:lnTo>
                    <a:pt x="2" y="105"/>
                  </a:lnTo>
                  <a:lnTo>
                    <a:pt x="4" y="105"/>
                  </a:lnTo>
                  <a:lnTo>
                    <a:pt x="4" y="103"/>
                  </a:lnTo>
                  <a:lnTo>
                    <a:pt x="6" y="101"/>
                  </a:lnTo>
                  <a:lnTo>
                    <a:pt x="8" y="101"/>
                  </a:lnTo>
                  <a:lnTo>
                    <a:pt x="9" y="99"/>
                  </a:lnTo>
                  <a:lnTo>
                    <a:pt x="13" y="99"/>
                  </a:lnTo>
                  <a:lnTo>
                    <a:pt x="15" y="99"/>
                  </a:lnTo>
                  <a:lnTo>
                    <a:pt x="17" y="98"/>
                  </a:lnTo>
                  <a:lnTo>
                    <a:pt x="17" y="99"/>
                  </a:lnTo>
                  <a:lnTo>
                    <a:pt x="17" y="101"/>
                  </a:lnTo>
                  <a:lnTo>
                    <a:pt x="17" y="105"/>
                  </a:lnTo>
                  <a:lnTo>
                    <a:pt x="15" y="105"/>
                  </a:lnTo>
                  <a:lnTo>
                    <a:pt x="17" y="107"/>
                  </a:lnTo>
                  <a:lnTo>
                    <a:pt x="19" y="109"/>
                  </a:lnTo>
                  <a:lnTo>
                    <a:pt x="17" y="111"/>
                  </a:lnTo>
                  <a:lnTo>
                    <a:pt x="17" y="113"/>
                  </a:lnTo>
                  <a:lnTo>
                    <a:pt x="17" y="115"/>
                  </a:lnTo>
                  <a:lnTo>
                    <a:pt x="17" y="117"/>
                  </a:lnTo>
                  <a:lnTo>
                    <a:pt x="19" y="117"/>
                  </a:lnTo>
                  <a:lnTo>
                    <a:pt x="21" y="115"/>
                  </a:lnTo>
                  <a:lnTo>
                    <a:pt x="19" y="113"/>
                  </a:lnTo>
                  <a:lnTo>
                    <a:pt x="19" y="111"/>
                  </a:lnTo>
                  <a:lnTo>
                    <a:pt x="19" y="109"/>
                  </a:lnTo>
                  <a:lnTo>
                    <a:pt x="23" y="111"/>
                  </a:lnTo>
                  <a:lnTo>
                    <a:pt x="25" y="111"/>
                  </a:lnTo>
                  <a:lnTo>
                    <a:pt x="27" y="111"/>
                  </a:lnTo>
                  <a:lnTo>
                    <a:pt x="29" y="111"/>
                  </a:lnTo>
                  <a:lnTo>
                    <a:pt x="29" y="109"/>
                  </a:lnTo>
                  <a:lnTo>
                    <a:pt x="27" y="109"/>
                  </a:lnTo>
                  <a:lnTo>
                    <a:pt x="23" y="109"/>
                  </a:lnTo>
                  <a:lnTo>
                    <a:pt x="21" y="107"/>
                  </a:lnTo>
                  <a:lnTo>
                    <a:pt x="19" y="105"/>
                  </a:lnTo>
                  <a:lnTo>
                    <a:pt x="19" y="103"/>
                  </a:lnTo>
                  <a:lnTo>
                    <a:pt x="21" y="101"/>
                  </a:lnTo>
                  <a:lnTo>
                    <a:pt x="21" y="99"/>
                  </a:lnTo>
                  <a:lnTo>
                    <a:pt x="23" y="98"/>
                  </a:lnTo>
                  <a:lnTo>
                    <a:pt x="25" y="96"/>
                  </a:lnTo>
                  <a:lnTo>
                    <a:pt x="25" y="98"/>
                  </a:lnTo>
                  <a:lnTo>
                    <a:pt x="23" y="101"/>
                  </a:lnTo>
                  <a:lnTo>
                    <a:pt x="25" y="98"/>
                  </a:lnTo>
                  <a:lnTo>
                    <a:pt x="27" y="96"/>
                  </a:lnTo>
                  <a:lnTo>
                    <a:pt x="27" y="94"/>
                  </a:lnTo>
                  <a:lnTo>
                    <a:pt x="27" y="92"/>
                  </a:lnTo>
                  <a:lnTo>
                    <a:pt x="29" y="90"/>
                  </a:lnTo>
                  <a:lnTo>
                    <a:pt x="31" y="88"/>
                  </a:lnTo>
                  <a:lnTo>
                    <a:pt x="31" y="90"/>
                  </a:lnTo>
                  <a:lnTo>
                    <a:pt x="32" y="92"/>
                  </a:lnTo>
                  <a:lnTo>
                    <a:pt x="34" y="94"/>
                  </a:lnTo>
                  <a:lnTo>
                    <a:pt x="32" y="96"/>
                  </a:lnTo>
                  <a:lnTo>
                    <a:pt x="31" y="99"/>
                  </a:lnTo>
                  <a:lnTo>
                    <a:pt x="31" y="103"/>
                  </a:lnTo>
                  <a:lnTo>
                    <a:pt x="31" y="105"/>
                  </a:lnTo>
                  <a:lnTo>
                    <a:pt x="34" y="105"/>
                  </a:lnTo>
                  <a:lnTo>
                    <a:pt x="34" y="107"/>
                  </a:lnTo>
                  <a:lnTo>
                    <a:pt x="32" y="109"/>
                  </a:lnTo>
                  <a:lnTo>
                    <a:pt x="32" y="111"/>
                  </a:lnTo>
                  <a:lnTo>
                    <a:pt x="32" y="113"/>
                  </a:lnTo>
                  <a:lnTo>
                    <a:pt x="32" y="115"/>
                  </a:lnTo>
                  <a:lnTo>
                    <a:pt x="31" y="117"/>
                  </a:lnTo>
                  <a:lnTo>
                    <a:pt x="31" y="119"/>
                  </a:lnTo>
                  <a:lnTo>
                    <a:pt x="31" y="121"/>
                  </a:lnTo>
                  <a:lnTo>
                    <a:pt x="27" y="123"/>
                  </a:lnTo>
                  <a:lnTo>
                    <a:pt x="27" y="124"/>
                  </a:lnTo>
                  <a:lnTo>
                    <a:pt x="25" y="128"/>
                  </a:lnTo>
                  <a:lnTo>
                    <a:pt x="27" y="128"/>
                  </a:lnTo>
                  <a:lnTo>
                    <a:pt x="27" y="124"/>
                  </a:lnTo>
                  <a:lnTo>
                    <a:pt x="31" y="123"/>
                  </a:lnTo>
                  <a:lnTo>
                    <a:pt x="32" y="121"/>
                  </a:lnTo>
                  <a:lnTo>
                    <a:pt x="34" y="121"/>
                  </a:lnTo>
                  <a:lnTo>
                    <a:pt x="34" y="115"/>
                  </a:lnTo>
                  <a:lnTo>
                    <a:pt x="34" y="113"/>
                  </a:lnTo>
                  <a:lnTo>
                    <a:pt x="34" y="109"/>
                  </a:lnTo>
                  <a:lnTo>
                    <a:pt x="36" y="111"/>
                  </a:lnTo>
                  <a:lnTo>
                    <a:pt x="38" y="111"/>
                  </a:lnTo>
                  <a:lnTo>
                    <a:pt x="40" y="113"/>
                  </a:lnTo>
                  <a:lnTo>
                    <a:pt x="42" y="113"/>
                  </a:lnTo>
                  <a:lnTo>
                    <a:pt x="44" y="113"/>
                  </a:lnTo>
                  <a:lnTo>
                    <a:pt x="46" y="113"/>
                  </a:lnTo>
                  <a:lnTo>
                    <a:pt x="44" y="111"/>
                  </a:lnTo>
                  <a:lnTo>
                    <a:pt x="42" y="111"/>
                  </a:lnTo>
                  <a:lnTo>
                    <a:pt x="42" y="109"/>
                  </a:lnTo>
                  <a:lnTo>
                    <a:pt x="40" y="109"/>
                  </a:lnTo>
                  <a:lnTo>
                    <a:pt x="40" y="107"/>
                  </a:lnTo>
                  <a:lnTo>
                    <a:pt x="38" y="107"/>
                  </a:lnTo>
                  <a:lnTo>
                    <a:pt x="38" y="105"/>
                  </a:lnTo>
                  <a:lnTo>
                    <a:pt x="38" y="103"/>
                  </a:lnTo>
                  <a:lnTo>
                    <a:pt x="38" y="101"/>
                  </a:lnTo>
                  <a:lnTo>
                    <a:pt x="36" y="99"/>
                  </a:lnTo>
                  <a:lnTo>
                    <a:pt x="38" y="98"/>
                  </a:lnTo>
                  <a:lnTo>
                    <a:pt x="40" y="98"/>
                  </a:lnTo>
                  <a:lnTo>
                    <a:pt x="42" y="98"/>
                  </a:lnTo>
                  <a:lnTo>
                    <a:pt x="44" y="96"/>
                  </a:lnTo>
                  <a:lnTo>
                    <a:pt x="44" y="94"/>
                  </a:lnTo>
                  <a:lnTo>
                    <a:pt x="42" y="92"/>
                  </a:lnTo>
                  <a:lnTo>
                    <a:pt x="44" y="92"/>
                  </a:lnTo>
                  <a:lnTo>
                    <a:pt x="46" y="90"/>
                  </a:lnTo>
                  <a:lnTo>
                    <a:pt x="46" y="88"/>
                  </a:lnTo>
                  <a:lnTo>
                    <a:pt x="48" y="88"/>
                  </a:lnTo>
                  <a:lnTo>
                    <a:pt x="50" y="86"/>
                  </a:lnTo>
                  <a:lnTo>
                    <a:pt x="50" y="88"/>
                  </a:lnTo>
                  <a:lnTo>
                    <a:pt x="48" y="88"/>
                  </a:lnTo>
                  <a:lnTo>
                    <a:pt x="48" y="90"/>
                  </a:lnTo>
                  <a:lnTo>
                    <a:pt x="46" y="92"/>
                  </a:lnTo>
                  <a:lnTo>
                    <a:pt x="44" y="94"/>
                  </a:lnTo>
                  <a:lnTo>
                    <a:pt x="48" y="94"/>
                  </a:lnTo>
                  <a:lnTo>
                    <a:pt x="46" y="96"/>
                  </a:lnTo>
                  <a:lnTo>
                    <a:pt x="48" y="96"/>
                  </a:lnTo>
                  <a:lnTo>
                    <a:pt x="50" y="94"/>
                  </a:lnTo>
                  <a:lnTo>
                    <a:pt x="50" y="92"/>
                  </a:lnTo>
                  <a:lnTo>
                    <a:pt x="52" y="90"/>
                  </a:lnTo>
                  <a:lnTo>
                    <a:pt x="54" y="92"/>
                  </a:lnTo>
                  <a:lnTo>
                    <a:pt x="52" y="94"/>
                  </a:lnTo>
                  <a:lnTo>
                    <a:pt x="52" y="96"/>
                  </a:lnTo>
                  <a:lnTo>
                    <a:pt x="54" y="94"/>
                  </a:lnTo>
                  <a:lnTo>
                    <a:pt x="54" y="92"/>
                  </a:lnTo>
                  <a:lnTo>
                    <a:pt x="56" y="92"/>
                  </a:lnTo>
                  <a:lnTo>
                    <a:pt x="54" y="90"/>
                  </a:lnTo>
                  <a:lnTo>
                    <a:pt x="56" y="90"/>
                  </a:lnTo>
                  <a:lnTo>
                    <a:pt x="56" y="88"/>
                  </a:lnTo>
                  <a:lnTo>
                    <a:pt x="54" y="88"/>
                  </a:lnTo>
                  <a:lnTo>
                    <a:pt x="54" y="86"/>
                  </a:lnTo>
                  <a:lnTo>
                    <a:pt x="54" y="84"/>
                  </a:lnTo>
                  <a:lnTo>
                    <a:pt x="54" y="82"/>
                  </a:lnTo>
                  <a:lnTo>
                    <a:pt x="56" y="82"/>
                  </a:lnTo>
                  <a:lnTo>
                    <a:pt x="59" y="82"/>
                  </a:lnTo>
                  <a:lnTo>
                    <a:pt x="59" y="84"/>
                  </a:lnTo>
                  <a:lnTo>
                    <a:pt x="61" y="86"/>
                  </a:lnTo>
                  <a:lnTo>
                    <a:pt x="63" y="88"/>
                  </a:lnTo>
                  <a:lnTo>
                    <a:pt x="65" y="90"/>
                  </a:lnTo>
                  <a:lnTo>
                    <a:pt x="67" y="90"/>
                  </a:lnTo>
                  <a:lnTo>
                    <a:pt x="71" y="92"/>
                  </a:lnTo>
                  <a:lnTo>
                    <a:pt x="71" y="90"/>
                  </a:lnTo>
                  <a:lnTo>
                    <a:pt x="75" y="90"/>
                  </a:lnTo>
                  <a:lnTo>
                    <a:pt x="73" y="88"/>
                  </a:lnTo>
                  <a:lnTo>
                    <a:pt x="71" y="88"/>
                  </a:lnTo>
                  <a:lnTo>
                    <a:pt x="71" y="86"/>
                  </a:lnTo>
                  <a:lnTo>
                    <a:pt x="71" y="84"/>
                  </a:lnTo>
                  <a:lnTo>
                    <a:pt x="71" y="82"/>
                  </a:lnTo>
                  <a:lnTo>
                    <a:pt x="73" y="82"/>
                  </a:lnTo>
                  <a:lnTo>
                    <a:pt x="75" y="82"/>
                  </a:lnTo>
                  <a:lnTo>
                    <a:pt x="73" y="80"/>
                  </a:lnTo>
                  <a:lnTo>
                    <a:pt x="71" y="80"/>
                  </a:lnTo>
                  <a:lnTo>
                    <a:pt x="69" y="80"/>
                  </a:lnTo>
                  <a:lnTo>
                    <a:pt x="67" y="80"/>
                  </a:lnTo>
                  <a:lnTo>
                    <a:pt x="69" y="78"/>
                  </a:lnTo>
                  <a:lnTo>
                    <a:pt x="71" y="78"/>
                  </a:lnTo>
                  <a:lnTo>
                    <a:pt x="73" y="76"/>
                  </a:lnTo>
                  <a:lnTo>
                    <a:pt x="75" y="75"/>
                  </a:lnTo>
                  <a:lnTo>
                    <a:pt x="71" y="76"/>
                  </a:lnTo>
                  <a:lnTo>
                    <a:pt x="69" y="78"/>
                  </a:lnTo>
                  <a:lnTo>
                    <a:pt x="67" y="78"/>
                  </a:lnTo>
                  <a:lnTo>
                    <a:pt x="65" y="80"/>
                  </a:lnTo>
                  <a:lnTo>
                    <a:pt x="65" y="78"/>
                  </a:lnTo>
                  <a:lnTo>
                    <a:pt x="61" y="78"/>
                  </a:lnTo>
                  <a:lnTo>
                    <a:pt x="63" y="76"/>
                  </a:lnTo>
                  <a:lnTo>
                    <a:pt x="59" y="78"/>
                  </a:lnTo>
                  <a:lnTo>
                    <a:pt x="59" y="76"/>
                  </a:lnTo>
                  <a:lnTo>
                    <a:pt x="57" y="76"/>
                  </a:lnTo>
                  <a:lnTo>
                    <a:pt x="57" y="75"/>
                  </a:lnTo>
                  <a:lnTo>
                    <a:pt x="59" y="75"/>
                  </a:lnTo>
                  <a:lnTo>
                    <a:pt x="57" y="75"/>
                  </a:lnTo>
                  <a:lnTo>
                    <a:pt x="56" y="75"/>
                  </a:lnTo>
                  <a:lnTo>
                    <a:pt x="54" y="75"/>
                  </a:lnTo>
                  <a:lnTo>
                    <a:pt x="52" y="73"/>
                  </a:lnTo>
                  <a:lnTo>
                    <a:pt x="52" y="71"/>
                  </a:lnTo>
                  <a:lnTo>
                    <a:pt x="54" y="69"/>
                  </a:lnTo>
                  <a:lnTo>
                    <a:pt x="56" y="69"/>
                  </a:lnTo>
                  <a:lnTo>
                    <a:pt x="57" y="71"/>
                  </a:lnTo>
                  <a:lnTo>
                    <a:pt x="57" y="67"/>
                  </a:lnTo>
                  <a:lnTo>
                    <a:pt x="59" y="65"/>
                  </a:lnTo>
                  <a:lnTo>
                    <a:pt x="59" y="67"/>
                  </a:lnTo>
                  <a:lnTo>
                    <a:pt x="61" y="69"/>
                  </a:lnTo>
                  <a:lnTo>
                    <a:pt x="63" y="71"/>
                  </a:lnTo>
                  <a:lnTo>
                    <a:pt x="65" y="71"/>
                  </a:lnTo>
                  <a:lnTo>
                    <a:pt x="67" y="73"/>
                  </a:lnTo>
                  <a:lnTo>
                    <a:pt x="67" y="71"/>
                  </a:lnTo>
                  <a:lnTo>
                    <a:pt x="65" y="69"/>
                  </a:lnTo>
                  <a:lnTo>
                    <a:pt x="69" y="65"/>
                  </a:lnTo>
                  <a:lnTo>
                    <a:pt x="69" y="63"/>
                  </a:lnTo>
                  <a:lnTo>
                    <a:pt x="69" y="65"/>
                  </a:lnTo>
                  <a:lnTo>
                    <a:pt x="69" y="67"/>
                  </a:lnTo>
                  <a:lnTo>
                    <a:pt x="71" y="65"/>
                  </a:lnTo>
                  <a:lnTo>
                    <a:pt x="73" y="65"/>
                  </a:lnTo>
                  <a:lnTo>
                    <a:pt x="73" y="69"/>
                  </a:lnTo>
                  <a:lnTo>
                    <a:pt x="73" y="65"/>
                  </a:lnTo>
                  <a:lnTo>
                    <a:pt x="77" y="65"/>
                  </a:lnTo>
                  <a:lnTo>
                    <a:pt x="77" y="69"/>
                  </a:lnTo>
                  <a:lnTo>
                    <a:pt x="77" y="73"/>
                  </a:lnTo>
                  <a:lnTo>
                    <a:pt x="77" y="75"/>
                  </a:lnTo>
                  <a:lnTo>
                    <a:pt x="79" y="73"/>
                  </a:lnTo>
                  <a:lnTo>
                    <a:pt x="81" y="73"/>
                  </a:lnTo>
                  <a:lnTo>
                    <a:pt x="82" y="73"/>
                  </a:lnTo>
                  <a:lnTo>
                    <a:pt x="82" y="75"/>
                  </a:lnTo>
                  <a:lnTo>
                    <a:pt x="82" y="71"/>
                  </a:lnTo>
                  <a:lnTo>
                    <a:pt x="81" y="71"/>
                  </a:lnTo>
                  <a:lnTo>
                    <a:pt x="79" y="73"/>
                  </a:lnTo>
                  <a:lnTo>
                    <a:pt x="79" y="71"/>
                  </a:lnTo>
                  <a:lnTo>
                    <a:pt x="79" y="69"/>
                  </a:lnTo>
                  <a:lnTo>
                    <a:pt x="79" y="67"/>
                  </a:lnTo>
                  <a:lnTo>
                    <a:pt x="82" y="67"/>
                  </a:lnTo>
                  <a:lnTo>
                    <a:pt x="82" y="69"/>
                  </a:lnTo>
                  <a:lnTo>
                    <a:pt x="84" y="67"/>
                  </a:lnTo>
                  <a:lnTo>
                    <a:pt x="86" y="67"/>
                  </a:lnTo>
                  <a:lnTo>
                    <a:pt x="86" y="69"/>
                  </a:lnTo>
                  <a:lnTo>
                    <a:pt x="86" y="67"/>
                  </a:lnTo>
                  <a:lnTo>
                    <a:pt x="90" y="67"/>
                  </a:lnTo>
                  <a:lnTo>
                    <a:pt x="90" y="69"/>
                  </a:lnTo>
                  <a:lnTo>
                    <a:pt x="92" y="67"/>
                  </a:lnTo>
                  <a:lnTo>
                    <a:pt x="94" y="67"/>
                  </a:lnTo>
                  <a:lnTo>
                    <a:pt x="94" y="69"/>
                  </a:lnTo>
                  <a:lnTo>
                    <a:pt x="94" y="71"/>
                  </a:lnTo>
                  <a:lnTo>
                    <a:pt x="92" y="73"/>
                  </a:lnTo>
                  <a:lnTo>
                    <a:pt x="90" y="75"/>
                  </a:lnTo>
                  <a:lnTo>
                    <a:pt x="88" y="75"/>
                  </a:lnTo>
                  <a:lnTo>
                    <a:pt x="84" y="76"/>
                  </a:lnTo>
                  <a:lnTo>
                    <a:pt x="82" y="76"/>
                  </a:lnTo>
                  <a:lnTo>
                    <a:pt x="81" y="76"/>
                  </a:lnTo>
                  <a:lnTo>
                    <a:pt x="79" y="78"/>
                  </a:lnTo>
                  <a:lnTo>
                    <a:pt x="81" y="78"/>
                  </a:lnTo>
                  <a:lnTo>
                    <a:pt x="82" y="78"/>
                  </a:lnTo>
                  <a:lnTo>
                    <a:pt x="84" y="76"/>
                  </a:lnTo>
                  <a:lnTo>
                    <a:pt x="88" y="76"/>
                  </a:lnTo>
                  <a:lnTo>
                    <a:pt x="90" y="75"/>
                  </a:lnTo>
                  <a:lnTo>
                    <a:pt x="94" y="73"/>
                  </a:lnTo>
                  <a:lnTo>
                    <a:pt x="96" y="71"/>
                  </a:lnTo>
                  <a:lnTo>
                    <a:pt x="96" y="73"/>
                  </a:lnTo>
                  <a:lnTo>
                    <a:pt x="96" y="75"/>
                  </a:lnTo>
                  <a:lnTo>
                    <a:pt x="96" y="76"/>
                  </a:lnTo>
                  <a:lnTo>
                    <a:pt x="98" y="76"/>
                  </a:lnTo>
                  <a:lnTo>
                    <a:pt x="100" y="78"/>
                  </a:lnTo>
                  <a:lnTo>
                    <a:pt x="100" y="80"/>
                  </a:lnTo>
                  <a:lnTo>
                    <a:pt x="100" y="82"/>
                  </a:lnTo>
                  <a:lnTo>
                    <a:pt x="102" y="80"/>
                  </a:lnTo>
                  <a:lnTo>
                    <a:pt x="104" y="80"/>
                  </a:lnTo>
                  <a:lnTo>
                    <a:pt x="104" y="78"/>
                  </a:lnTo>
                  <a:lnTo>
                    <a:pt x="106" y="78"/>
                  </a:lnTo>
                  <a:lnTo>
                    <a:pt x="107" y="78"/>
                  </a:lnTo>
                  <a:lnTo>
                    <a:pt x="109" y="78"/>
                  </a:lnTo>
                  <a:lnTo>
                    <a:pt x="109" y="76"/>
                  </a:lnTo>
                  <a:lnTo>
                    <a:pt x="107" y="76"/>
                  </a:lnTo>
                  <a:lnTo>
                    <a:pt x="106" y="76"/>
                  </a:lnTo>
                  <a:lnTo>
                    <a:pt x="102" y="76"/>
                  </a:lnTo>
                  <a:lnTo>
                    <a:pt x="102" y="75"/>
                  </a:lnTo>
                  <a:lnTo>
                    <a:pt x="100" y="75"/>
                  </a:lnTo>
                  <a:lnTo>
                    <a:pt x="100" y="73"/>
                  </a:lnTo>
                  <a:lnTo>
                    <a:pt x="102" y="73"/>
                  </a:lnTo>
                  <a:lnTo>
                    <a:pt x="104" y="73"/>
                  </a:lnTo>
                  <a:lnTo>
                    <a:pt x="104" y="71"/>
                  </a:lnTo>
                  <a:lnTo>
                    <a:pt x="102" y="69"/>
                  </a:lnTo>
                  <a:lnTo>
                    <a:pt x="104" y="69"/>
                  </a:lnTo>
                  <a:lnTo>
                    <a:pt x="104" y="67"/>
                  </a:lnTo>
                  <a:lnTo>
                    <a:pt x="102" y="67"/>
                  </a:lnTo>
                  <a:lnTo>
                    <a:pt x="100" y="67"/>
                  </a:lnTo>
                  <a:lnTo>
                    <a:pt x="100" y="65"/>
                  </a:lnTo>
                  <a:lnTo>
                    <a:pt x="102" y="65"/>
                  </a:lnTo>
                  <a:lnTo>
                    <a:pt x="104" y="65"/>
                  </a:lnTo>
                  <a:lnTo>
                    <a:pt x="106" y="65"/>
                  </a:lnTo>
                  <a:lnTo>
                    <a:pt x="106" y="63"/>
                  </a:lnTo>
                  <a:lnTo>
                    <a:pt x="104" y="63"/>
                  </a:lnTo>
                  <a:lnTo>
                    <a:pt x="102" y="65"/>
                  </a:lnTo>
                  <a:lnTo>
                    <a:pt x="102" y="63"/>
                  </a:lnTo>
                  <a:lnTo>
                    <a:pt x="104" y="63"/>
                  </a:lnTo>
                  <a:lnTo>
                    <a:pt x="104" y="61"/>
                  </a:lnTo>
                  <a:lnTo>
                    <a:pt x="106" y="61"/>
                  </a:lnTo>
                  <a:lnTo>
                    <a:pt x="107" y="61"/>
                  </a:lnTo>
                  <a:lnTo>
                    <a:pt x="106" y="59"/>
                  </a:lnTo>
                  <a:lnTo>
                    <a:pt x="104" y="59"/>
                  </a:lnTo>
                  <a:lnTo>
                    <a:pt x="106" y="57"/>
                  </a:lnTo>
                  <a:lnTo>
                    <a:pt x="107" y="57"/>
                  </a:lnTo>
                  <a:lnTo>
                    <a:pt x="107" y="55"/>
                  </a:lnTo>
                  <a:lnTo>
                    <a:pt x="109" y="53"/>
                  </a:lnTo>
                  <a:lnTo>
                    <a:pt x="111" y="51"/>
                  </a:lnTo>
                  <a:lnTo>
                    <a:pt x="111" y="50"/>
                  </a:lnTo>
                  <a:lnTo>
                    <a:pt x="113" y="48"/>
                  </a:lnTo>
                  <a:lnTo>
                    <a:pt x="115" y="48"/>
                  </a:lnTo>
                  <a:lnTo>
                    <a:pt x="117" y="48"/>
                  </a:lnTo>
                  <a:lnTo>
                    <a:pt x="121" y="48"/>
                  </a:lnTo>
                  <a:lnTo>
                    <a:pt x="123" y="48"/>
                  </a:lnTo>
                  <a:lnTo>
                    <a:pt x="125" y="50"/>
                  </a:lnTo>
                  <a:lnTo>
                    <a:pt x="125" y="48"/>
                  </a:lnTo>
                  <a:lnTo>
                    <a:pt x="123" y="48"/>
                  </a:lnTo>
                  <a:lnTo>
                    <a:pt x="121" y="46"/>
                  </a:lnTo>
                  <a:lnTo>
                    <a:pt x="119" y="46"/>
                  </a:lnTo>
                  <a:lnTo>
                    <a:pt x="119" y="44"/>
                  </a:lnTo>
                  <a:lnTo>
                    <a:pt x="121" y="44"/>
                  </a:lnTo>
                  <a:lnTo>
                    <a:pt x="121" y="42"/>
                  </a:lnTo>
                  <a:lnTo>
                    <a:pt x="121" y="40"/>
                  </a:lnTo>
                  <a:lnTo>
                    <a:pt x="121" y="38"/>
                  </a:lnTo>
                  <a:lnTo>
                    <a:pt x="123" y="38"/>
                  </a:lnTo>
                  <a:lnTo>
                    <a:pt x="123" y="36"/>
                  </a:lnTo>
                  <a:lnTo>
                    <a:pt x="125" y="36"/>
                  </a:lnTo>
                  <a:lnTo>
                    <a:pt x="127" y="36"/>
                  </a:lnTo>
                  <a:lnTo>
                    <a:pt x="127" y="38"/>
                  </a:lnTo>
                  <a:lnTo>
                    <a:pt x="129" y="38"/>
                  </a:lnTo>
                  <a:lnTo>
                    <a:pt x="131" y="40"/>
                  </a:lnTo>
                  <a:lnTo>
                    <a:pt x="131" y="38"/>
                  </a:lnTo>
                  <a:lnTo>
                    <a:pt x="131" y="40"/>
                  </a:lnTo>
                  <a:lnTo>
                    <a:pt x="132" y="40"/>
                  </a:lnTo>
                  <a:lnTo>
                    <a:pt x="132" y="38"/>
                  </a:lnTo>
                  <a:lnTo>
                    <a:pt x="131" y="38"/>
                  </a:lnTo>
                  <a:lnTo>
                    <a:pt x="131" y="36"/>
                  </a:lnTo>
                  <a:lnTo>
                    <a:pt x="129" y="36"/>
                  </a:lnTo>
                  <a:lnTo>
                    <a:pt x="131" y="34"/>
                  </a:lnTo>
                  <a:lnTo>
                    <a:pt x="129" y="34"/>
                  </a:lnTo>
                  <a:lnTo>
                    <a:pt x="127" y="32"/>
                  </a:lnTo>
                  <a:lnTo>
                    <a:pt x="123" y="34"/>
                  </a:lnTo>
                  <a:lnTo>
                    <a:pt x="123" y="32"/>
                  </a:lnTo>
                  <a:lnTo>
                    <a:pt x="121" y="32"/>
                  </a:lnTo>
                  <a:lnTo>
                    <a:pt x="121" y="30"/>
                  </a:lnTo>
                  <a:lnTo>
                    <a:pt x="119" y="28"/>
                  </a:lnTo>
                  <a:lnTo>
                    <a:pt x="121" y="26"/>
                  </a:lnTo>
                  <a:lnTo>
                    <a:pt x="121" y="28"/>
                  </a:lnTo>
                  <a:lnTo>
                    <a:pt x="121" y="26"/>
                  </a:lnTo>
                  <a:lnTo>
                    <a:pt x="123" y="26"/>
                  </a:lnTo>
                  <a:lnTo>
                    <a:pt x="123" y="28"/>
                  </a:lnTo>
                  <a:lnTo>
                    <a:pt x="125" y="28"/>
                  </a:lnTo>
                  <a:lnTo>
                    <a:pt x="127" y="30"/>
                  </a:lnTo>
                  <a:lnTo>
                    <a:pt x="129" y="30"/>
                  </a:lnTo>
                  <a:lnTo>
                    <a:pt x="129" y="28"/>
                  </a:lnTo>
                  <a:lnTo>
                    <a:pt x="127" y="26"/>
                  </a:lnTo>
                  <a:lnTo>
                    <a:pt x="129" y="26"/>
                  </a:lnTo>
                  <a:lnTo>
                    <a:pt x="131" y="26"/>
                  </a:lnTo>
                  <a:lnTo>
                    <a:pt x="131" y="25"/>
                  </a:lnTo>
                  <a:lnTo>
                    <a:pt x="129" y="25"/>
                  </a:lnTo>
                  <a:lnTo>
                    <a:pt x="127" y="25"/>
                  </a:lnTo>
                  <a:lnTo>
                    <a:pt x="129" y="23"/>
                  </a:lnTo>
                  <a:lnTo>
                    <a:pt x="127" y="23"/>
                  </a:lnTo>
                  <a:lnTo>
                    <a:pt x="127" y="21"/>
                  </a:lnTo>
                  <a:lnTo>
                    <a:pt x="127" y="19"/>
                  </a:lnTo>
                  <a:lnTo>
                    <a:pt x="129" y="19"/>
                  </a:lnTo>
                  <a:lnTo>
                    <a:pt x="129" y="21"/>
                  </a:lnTo>
                  <a:lnTo>
                    <a:pt x="129" y="19"/>
                  </a:lnTo>
                  <a:lnTo>
                    <a:pt x="131" y="19"/>
                  </a:lnTo>
                  <a:lnTo>
                    <a:pt x="131" y="21"/>
                  </a:lnTo>
                  <a:lnTo>
                    <a:pt x="132" y="21"/>
                  </a:lnTo>
                  <a:lnTo>
                    <a:pt x="132" y="23"/>
                  </a:lnTo>
                  <a:lnTo>
                    <a:pt x="134" y="23"/>
                  </a:lnTo>
                  <a:lnTo>
                    <a:pt x="134" y="21"/>
                  </a:lnTo>
                  <a:lnTo>
                    <a:pt x="134" y="23"/>
                  </a:lnTo>
                  <a:lnTo>
                    <a:pt x="136" y="23"/>
                  </a:lnTo>
                  <a:lnTo>
                    <a:pt x="134" y="21"/>
                  </a:lnTo>
                  <a:lnTo>
                    <a:pt x="136" y="19"/>
                  </a:lnTo>
                  <a:lnTo>
                    <a:pt x="138" y="21"/>
                  </a:lnTo>
                  <a:lnTo>
                    <a:pt x="136" y="25"/>
                  </a:lnTo>
                  <a:lnTo>
                    <a:pt x="138" y="25"/>
                  </a:lnTo>
                  <a:lnTo>
                    <a:pt x="138" y="23"/>
                  </a:lnTo>
                  <a:lnTo>
                    <a:pt x="140" y="21"/>
                  </a:lnTo>
                  <a:lnTo>
                    <a:pt x="142" y="23"/>
                  </a:lnTo>
                  <a:lnTo>
                    <a:pt x="142" y="21"/>
                  </a:lnTo>
                  <a:lnTo>
                    <a:pt x="142" y="23"/>
                  </a:lnTo>
                  <a:lnTo>
                    <a:pt x="144" y="26"/>
                  </a:lnTo>
                  <a:lnTo>
                    <a:pt x="146" y="26"/>
                  </a:lnTo>
                  <a:lnTo>
                    <a:pt x="146" y="25"/>
                  </a:lnTo>
                  <a:lnTo>
                    <a:pt x="146" y="23"/>
                  </a:lnTo>
                  <a:lnTo>
                    <a:pt x="146" y="21"/>
                  </a:lnTo>
                  <a:lnTo>
                    <a:pt x="144" y="19"/>
                  </a:lnTo>
                  <a:lnTo>
                    <a:pt x="144" y="17"/>
                  </a:lnTo>
                  <a:lnTo>
                    <a:pt x="148" y="19"/>
                  </a:lnTo>
                  <a:lnTo>
                    <a:pt x="150" y="21"/>
                  </a:lnTo>
                  <a:lnTo>
                    <a:pt x="148" y="23"/>
                  </a:lnTo>
                  <a:lnTo>
                    <a:pt x="150" y="23"/>
                  </a:lnTo>
                  <a:lnTo>
                    <a:pt x="150" y="21"/>
                  </a:lnTo>
                  <a:lnTo>
                    <a:pt x="152" y="19"/>
                  </a:lnTo>
                  <a:lnTo>
                    <a:pt x="154" y="19"/>
                  </a:lnTo>
                  <a:lnTo>
                    <a:pt x="154" y="21"/>
                  </a:lnTo>
                  <a:lnTo>
                    <a:pt x="155" y="21"/>
                  </a:lnTo>
                  <a:lnTo>
                    <a:pt x="157" y="19"/>
                  </a:lnTo>
                  <a:lnTo>
                    <a:pt x="157" y="21"/>
                  </a:lnTo>
                  <a:lnTo>
                    <a:pt x="159" y="21"/>
                  </a:lnTo>
                  <a:lnTo>
                    <a:pt x="159" y="23"/>
                  </a:lnTo>
                  <a:lnTo>
                    <a:pt x="155" y="25"/>
                  </a:lnTo>
                  <a:lnTo>
                    <a:pt x="155" y="26"/>
                  </a:lnTo>
                  <a:lnTo>
                    <a:pt x="154" y="26"/>
                  </a:lnTo>
                  <a:lnTo>
                    <a:pt x="154" y="28"/>
                  </a:lnTo>
                  <a:lnTo>
                    <a:pt x="155" y="28"/>
                  </a:lnTo>
                  <a:lnTo>
                    <a:pt x="154" y="30"/>
                  </a:lnTo>
                  <a:lnTo>
                    <a:pt x="154" y="28"/>
                  </a:lnTo>
                  <a:lnTo>
                    <a:pt x="152" y="30"/>
                  </a:lnTo>
                  <a:lnTo>
                    <a:pt x="150" y="32"/>
                  </a:lnTo>
                  <a:lnTo>
                    <a:pt x="148" y="34"/>
                  </a:lnTo>
                  <a:lnTo>
                    <a:pt x="146" y="38"/>
                  </a:lnTo>
                  <a:lnTo>
                    <a:pt x="146" y="40"/>
                  </a:lnTo>
                  <a:lnTo>
                    <a:pt x="142" y="42"/>
                  </a:lnTo>
                  <a:lnTo>
                    <a:pt x="142" y="44"/>
                  </a:lnTo>
                  <a:lnTo>
                    <a:pt x="142" y="46"/>
                  </a:lnTo>
                  <a:lnTo>
                    <a:pt x="144" y="46"/>
                  </a:lnTo>
                  <a:lnTo>
                    <a:pt x="146" y="46"/>
                  </a:lnTo>
                  <a:lnTo>
                    <a:pt x="146" y="44"/>
                  </a:lnTo>
                  <a:lnTo>
                    <a:pt x="146" y="46"/>
                  </a:lnTo>
                  <a:lnTo>
                    <a:pt x="146" y="48"/>
                  </a:lnTo>
                  <a:lnTo>
                    <a:pt x="148" y="50"/>
                  </a:lnTo>
                  <a:lnTo>
                    <a:pt x="146" y="50"/>
                  </a:lnTo>
                  <a:lnTo>
                    <a:pt x="144" y="50"/>
                  </a:lnTo>
                  <a:lnTo>
                    <a:pt x="144" y="51"/>
                  </a:lnTo>
                  <a:lnTo>
                    <a:pt x="144" y="53"/>
                  </a:lnTo>
                  <a:lnTo>
                    <a:pt x="146" y="53"/>
                  </a:lnTo>
                  <a:lnTo>
                    <a:pt x="146" y="55"/>
                  </a:lnTo>
                  <a:lnTo>
                    <a:pt x="144" y="55"/>
                  </a:lnTo>
                  <a:lnTo>
                    <a:pt x="144" y="57"/>
                  </a:lnTo>
                  <a:lnTo>
                    <a:pt x="142" y="57"/>
                  </a:lnTo>
                  <a:lnTo>
                    <a:pt x="142" y="59"/>
                  </a:lnTo>
                  <a:lnTo>
                    <a:pt x="142" y="61"/>
                  </a:lnTo>
                  <a:lnTo>
                    <a:pt x="142" y="63"/>
                  </a:lnTo>
                  <a:lnTo>
                    <a:pt x="142" y="65"/>
                  </a:lnTo>
                  <a:lnTo>
                    <a:pt x="144" y="67"/>
                  </a:lnTo>
                  <a:lnTo>
                    <a:pt x="144" y="63"/>
                  </a:lnTo>
                  <a:lnTo>
                    <a:pt x="146" y="63"/>
                  </a:lnTo>
                  <a:lnTo>
                    <a:pt x="146" y="65"/>
                  </a:lnTo>
                  <a:lnTo>
                    <a:pt x="146" y="67"/>
                  </a:lnTo>
                  <a:lnTo>
                    <a:pt x="148" y="67"/>
                  </a:lnTo>
                  <a:lnTo>
                    <a:pt x="150" y="65"/>
                  </a:lnTo>
                  <a:lnTo>
                    <a:pt x="150" y="61"/>
                  </a:lnTo>
                  <a:lnTo>
                    <a:pt x="152" y="59"/>
                  </a:lnTo>
                  <a:lnTo>
                    <a:pt x="154" y="57"/>
                  </a:lnTo>
                  <a:lnTo>
                    <a:pt x="154" y="53"/>
                  </a:lnTo>
                  <a:lnTo>
                    <a:pt x="152" y="53"/>
                  </a:lnTo>
                  <a:lnTo>
                    <a:pt x="152" y="50"/>
                  </a:lnTo>
                  <a:lnTo>
                    <a:pt x="154" y="50"/>
                  </a:lnTo>
                  <a:lnTo>
                    <a:pt x="154" y="48"/>
                  </a:lnTo>
                  <a:lnTo>
                    <a:pt x="155" y="46"/>
                  </a:lnTo>
                  <a:lnTo>
                    <a:pt x="157" y="42"/>
                  </a:lnTo>
                  <a:lnTo>
                    <a:pt x="161" y="36"/>
                  </a:lnTo>
                  <a:lnTo>
                    <a:pt x="163" y="34"/>
                  </a:lnTo>
                  <a:lnTo>
                    <a:pt x="163" y="30"/>
                  </a:lnTo>
                  <a:lnTo>
                    <a:pt x="163" y="28"/>
                  </a:lnTo>
                  <a:lnTo>
                    <a:pt x="165" y="26"/>
                  </a:lnTo>
                  <a:lnTo>
                    <a:pt x="165" y="25"/>
                  </a:lnTo>
                  <a:lnTo>
                    <a:pt x="167" y="25"/>
                  </a:lnTo>
                  <a:lnTo>
                    <a:pt x="169" y="21"/>
                  </a:lnTo>
                  <a:lnTo>
                    <a:pt x="171" y="17"/>
                  </a:lnTo>
                  <a:lnTo>
                    <a:pt x="173" y="15"/>
                  </a:lnTo>
                  <a:lnTo>
                    <a:pt x="175" y="13"/>
                  </a:lnTo>
                  <a:lnTo>
                    <a:pt x="177" y="13"/>
                  </a:lnTo>
                  <a:lnTo>
                    <a:pt x="179" y="15"/>
                  </a:lnTo>
                  <a:lnTo>
                    <a:pt x="177" y="19"/>
                  </a:lnTo>
                  <a:lnTo>
                    <a:pt x="179" y="19"/>
                  </a:lnTo>
                  <a:lnTo>
                    <a:pt x="179" y="21"/>
                  </a:lnTo>
                  <a:lnTo>
                    <a:pt x="179" y="23"/>
                  </a:lnTo>
                  <a:lnTo>
                    <a:pt x="177" y="25"/>
                  </a:lnTo>
                  <a:lnTo>
                    <a:pt x="175" y="26"/>
                  </a:lnTo>
                  <a:lnTo>
                    <a:pt x="173" y="28"/>
                  </a:lnTo>
                  <a:lnTo>
                    <a:pt x="173" y="30"/>
                  </a:lnTo>
                  <a:lnTo>
                    <a:pt x="175" y="28"/>
                  </a:lnTo>
                  <a:lnTo>
                    <a:pt x="177" y="28"/>
                  </a:lnTo>
                  <a:lnTo>
                    <a:pt x="179" y="30"/>
                  </a:lnTo>
                  <a:lnTo>
                    <a:pt x="179" y="34"/>
                  </a:lnTo>
                  <a:lnTo>
                    <a:pt x="179" y="36"/>
                  </a:lnTo>
                  <a:lnTo>
                    <a:pt x="179" y="40"/>
                  </a:lnTo>
                  <a:lnTo>
                    <a:pt x="179" y="42"/>
                  </a:lnTo>
                  <a:lnTo>
                    <a:pt x="177" y="42"/>
                  </a:lnTo>
                  <a:lnTo>
                    <a:pt x="179" y="44"/>
                  </a:lnTo>
                  <a:lnTo>
                    <a:pt x="177" y="46"/>
                  </a:lnTo>
                  <a:lnTo>
                    <a:pt x="179" y="46"/>
                  </a:lnTo>
                  <a:lnTo>
                    <a:pt x="179" y="44"/>
                  </a:lnTo>
                  <a:lnTo>
                    <a:pt x="180" y="44"/>
                  </a:lnTo>
                  <a:lnTo>
                    <a:pt x="180" y="42"/>
                  </a:lnTo>
                  <a:lnTo>
                    <a:pt x="182" y="42"/>
                  </a:lnTo>
                  <a:lnTo>
                    <a:pt x="182" y="40"/>
                  </a:lnTo>
                  <a:lnTo>
                    <a:pt x="182" y="38"/>
                  </a:lnTo>
                  <a:lnTo>
                    <a:pt x="182" y="36"/>
                  </a:lnTo>
                  <a:lnTo>
                    <a:pt x="184" y="38"/>
                  </a:lnTo>
                  <a:lnTo>
                    <a:pt x="186" y="36"/>
                  </a:lnTo>
                  <a:lnTo>
                    <a:pt x="188" y="38"/>
                  </a:lnTo>
                  <a:lnTo>
                    <a:pt x="190" y="38"/>
                  </a:lnTo>
                  <a:lnTo>
                    <a:pt x="190" y="36"/>
                  </a:lnTo>
                  <a:lnTo>
                    <a:pt x="188" y="34"/>
                  </a:lnTo>
                  <a:lnTo>
                    <a:pt x="186" y="34"/>
                  </a:lnTo>
                  <a:lnTo>
                    <a:pt x="186" y="32"/>
                  </a:lnTo>
                  <a:lnTo>
                    <a:pt x="188" y="30"/>
                  </a:lnTo>
                  <a:lnTo>
                    <a:pt x="190" y="30"/>
                  </a:lnTo>
                  <a:lnTo>
                    <a:pt x="192" y="32"/>
                  </a:lnTo>
                  <a:lnTo>
                    <a:pt x="192" y="30"/>
                  </a:lnTo>
                  <a:lnTo>
                    <a:pt x="190" y="28"/>
                  </a:lnTo>
                  <a:lnTo>
                    <a:pt x="188" y="28"/>
                  </a:lnTo>
                  <a:lnTo>
                    <a:pt x="188" y="26"/>
                  </a:lnTo>
                  <a:lnTo>
                    <a:pt x="190" y="26"/>
                  </a:lnTo>
                  <a:lnTo>
                    <a:pt x="188" y="25"/>
                  </a:lnTo>
                  <a:lnTo>
                    <a:pt x="188" y="23"/>
                  </a:lnTo>
                  <a:lnTo>
                    <a:pt x="190" y="23"/>
                  </a:lnTo>
                  <a:lnTo>
                    <a:pt x="192" y="23"/>
                  </a:lnTo>
                  <a:lnTo>
                    <a:pt x="194" y="23"/>
                  </a:lnTo>
                  <a:lnTo>
                    <a:pt x="194" y="21"/>
                  </a:lnTo>
                  <a:lnTo>
                    <a:pt x="192" y="21"/>
                  </a:lnTo>
                  <a:lnTo>
                    <a:pt x="192" y="17"/>
                  </a:lnTo>
                  <a:lnTo>
                    <a:pt x="196" y="17"/>
                  </a:lnTo>
                  <a:lnTo>
                    <a:pt x="202" y="17"/>
                  </a:lnTo>
                  <a:lnTo>
                    <a:pt x="196" y="15"/>
                  </a:lnTo>
                  <a:lnTo>
                    <a:pt x="198" y="13"/>
                  </a:lnTo>
                  <a:lnTo>
                    <a:pt x="196" y="13"/>
                  </a:lnTo>
                  <a:lnTo>
                    <a:pt x="194" y="13"/>
                  </a:lnTo>
                  <a:lnTo>
                    <a:pt x="192" y="13"/>
                  </a:lnTo>
                  <a:lnTo>
                    <a:pt x="188" y="13"/>
                  </a:lnTo>
                  <a:lnTo>
                    <a:pt x="186" y="13"/>
                  </a:lnTo>
                  <a:lnTo>
                    <a:pt x="188" y="9"/>
                  </a:lnTo>
                  <a:lnTo>
                    <a:pt x="190" y="9"/>
                  </a:lnTo>
                  <a:lnTo>
                    <a:pt x="192" y="9"/>
                  </a:lnTo>
                  <a:lnTo>
                    <a:pt x="192" y="7"/>
                  </a:lnTo>
                  <a:lnTo>
                    <a:pt x="188" y="7"/>
                  </a:lnTo>
                  <a:lnTo>
                    <a:pt x="190" y="5"/>
                  </a:lnTo>
                  <a:lnTo>
                    <a:pt x="192" y="5"/>
                  </a:lnTo>
                  <a:lnTo>
                    <a:pt x="194" y="5"/>
                  </a:lnTo>
                  <a:lnTo>
                    <a:pt x="194" y="7"/>
                  </a:lnTo>
                  <a:lnTo>
                    <a:pt x="196" y="9"/>
                  </a:lnTo>
                  <a:lnTo>
                    <a:pt x="196" y="7"/>
                  </a:lnTo>
                  <a:lnTo>
                    <a:pt x="196" y="5"/>
                  </a:lnTo>
                  <a:lnTo>
                    <a:pt x="194" y="5"/>
                  </a:lnTo>
                  <a:lnTo>
                    <a:pt x="194" y="3"/>
                  </a:lnTo>
                  <a:lnTo>
                    <a:pt x="196" y="1"/>
                  </a:lnTo>
                  <a:lnTo>
                    <a:pt x="198" y="1"/>
                  </a:lnTo>
                  <a:lnTo>
                    <a:pt x="198" y="0"/>
                  </a:lnTo>
                  <a:lnTo>
                    <a:pt x="200" y="0"/>
                  </a:lnTo>
                  <a:lnTo>
                    <a:pt x="200" y="1"/>
                  </a:lnTo>
                  <a:lnTo>
                    <a:pt x="200" y="3"/>
                  </a:lnTo>
                  <a:lnTo>
                    <a:pt x="202" y="1"/>
                  </a:lnTo>
                  <a:lnTo>
                    <a:pt x="202" y="3"/>
                  </a:lnTo>
                  <a:lnTo>
                    <a:pt x="204" y="3"/>
                  </a:lnTo>
                  <a:lnTo>
                    <a:pt x="205" y="1"/>
                  </a:lnTo>
                  <a:lnTo>
                    <a:pt x="207" y="0"/>
                  </a:lnTo>
                  <a:lnTo>
                    <a:pt x="207" y="1"/>
                  </a:lnTo>
                  <a:lnTo>
                    <a:pt x="209" y="0"/>
                  </a:lnTo>
                  <a:lnTo>
                    <a:pt x="211" y="0"/>
                  </a:lnTo>
                  <a:lnTo>
                    <a:pt x="211" y="1"/>
                  </a:lnTo>
                  <a:lnTo>
                    <a:pt x="211" y="3"/>
                  </a:lnTo>
                  <a:lnTo>
                    <a:pt x="211" y="5"/>
                  </a:lnTo>
                  <a:lnTo>
                    <a:pt x="213" y="3"/>
                  </a:lnTo>
                  <a:lnTo>
                    <a:pt x="217" y="3"/>
                  </a:lnTo>
                  <a:lnTo>
                    <a:pt x="219" y="3"/>
                  </a:lnTo>
                  <a:lnTo>
                    <a:pt x="219" y="5"/>
                  </a:lnTo>
                  <a:lnTo>
                    <a:pt x="219" y="7"/>
                  </a:lnTo>
                  <a:lnTo>
                    <a:pt x="217" y="9"/>
                  </a:lnTo>
                  <a:lnTo>
                    <a:pt x="219" y="9"/>
                  </a:lnTo>
                  <a:lnTo>
                    <a:pt x="217" y="11"/>
                  </a:lnTo>
                  <a:lnTo>
                    <a:pt x="213" y="11"/>
                  </a:lnTo>
                  <a:lnTo>
                    <a:pt x="215" y="13"/>
                  </a:lnTo>
                  <a:lnTo>
                    <a:pt x="215" y="15"/>
                  </a:lnTo>
                  <a:lnTo>
                    <a:pt x="211" y="15"/>
                  </a:lnTo>
                  <a:lnTo>
                    <a:pt x="211" y="13"/>
                  </a:lnTo>
                  <a:lnTo>
                    <a:pt x="211" y="15"/>
                  </a:lnTo>
                  <a:lnTo>
                    <a:pt x="209" y="15"/>
                  </a:lnTo>
                  <a:lnTo>
                    <a:pt x="209" y="13"/>
                  </a:lnTo>
                  <a:lnTo>
                    <a:pt x="207" y="15"/>
                  </a:lnTo>
                  <a:lnTo>
                    <a:pt x="204" y="17"/>
                  </a:lnTo>
                  <a:lnTo>
                    <a:pt x="205" y="17"/>
                  </a:lnTo>
                  <a:lnTo>
                    <a:pt x="207" y="17"/>
                  </a:lnTo>
                  <a:lnTo>
                    <a:pt x="209" y="17"/>
                  </a:lnTo>
                  <a:lnTo>
                    <a:pt x="211" y="17"/>
                  </a:lnTo>
                  <a:lnTo>
                    <a:pt x="213" y="17"/>
                  </a:lnTo>
                  <a:lnTo>
                    <a:pt x="211" y="21"/>
                  </a:lnTo>
                  <a:lnTo>
                    <a:pt x="207" y="23"/>
                  </a:lnTo>
                  <a:lnTo>
                    <a:pt x="204" y="26"/>
                  </a:lnTo>
                  <a:lnTo>
                    <a:pt x="209" y="25"/>
                  </a:lnTo>
                  <a:lnTo>
                    <a:pt x="211" y="23"/>
                  </a:lnTo>
                  <a:lnTo>
                    <a:pt x="213" y="21"/>
                  </a:lnTo>
                  <a:lnTo>
                    <a:pt x="215" y="19"/>
                  </a:lnTo>
                  <a:lnTo>
                    <a:pt x="217" y="19"/>
                  </a:lnTo>
                  <a:lnTo>
                    <a:pt x="217" y="21"/>
                  </a:lnTo>
                  <a:lnTo>
                    <a:pt x="217" y="25"/>
                  </a:lnTo>
                  <a:lnTo>
                    <a:pt x="213" y="26"/>
                  </a:lnTo>
                  <a:lnTo>
                    <a:pt x="211" y="30"/>
                  </a:lnTo>
                  <a:lnTo>
                    <a:pt x="209" y="32"/>
                  </a:lnTo>
                  <a:lnTo>
                    <a:pt x="207" y="32"/>
                  </a:lnTo>
                  <a:lnTo>
                    <a:pt x="209" y="32"/>
                  </a:lnTo>
                  <a:lnTo>
                    <a:pt x="209" y="36"/>
                  </a:lnTo>
                  <a:lnTo>
                    <a:pt x="211" y="30"/>
                  </a:lnTo>
                  <a:lnTo>
                    <a:pt x="211" y="32"/>
                  </a:lnTo>
                  <a:lnTo>
                    <a:pt x="213" y="30"/>
                  </a:lnTo>
                  <a:lnTo>
                    <a:pt x="215" y="30"/>
                  </a:lnTo>
                  <a:lnTo>
                    <a:pt x="217" y="3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26" name="Freeform 214"/>
            <p:cNvSpPr>
              <a:spLocks/>
            </p:cNvSpPr>
            <p:nvPr/>
          </p:nvSpPr>
          <p:spPr bwMode="auto">
            <a:xfrm>
              <a:off x="2596" y="1341"/>
              <a:ext cx="112" cy="113"/>
            </a:xfrm>
            <a:custGeom>
              <a:avLst/>
              <a:gdLst>
                <a:gd name="T0" fmla="*/ 14 w 112"/>
                <a:gd name="T1" fmla="*/ 107 h 113"/>
                <a:gd name="T2" fmla="*/ 12 w 112"/>
                <a:gd name="T3" fmla="*/ 104 h 113"/>
                <a:gd name="T4" fmla="*/ 16 w 112"/>
                <a:gd name="T5" fmla="*/ 100 h 113"/>
                <a:gd name="T6" fmla="*/ 33 w 112"/>
                <a:gd name="T7" fmla="*/ 96 h 113"/>
                <a:gd name="T8" fmla="*/ 43 w 112"/>
                <a:gd name="T9" fmla="*/ 100 h 113"/>
                <a:gd name="T10" fmla="*/ 33 w 112"/>
                <a:gd name="T11" fmla="*/ 90 h 113"/>
                <a:gd name="T12" fmla="*/ 25 w 112"/>
                <a:gd name="T13" fmla="*/ 86 h 113"/>
                <a:gd name="T14" fmla="*/ 35 w 112"/>
                <a:gd name="T15" fmla="*/ 86 h 113"/>
                <a:gd name="T16" fmla="*/ 43 w 112"/>
                <a:gd name="T17" fmla="*/ 81 h 113"/>
                <a:gd name="T18" fmla="*/ 46 w 112"/>
                <a:gd name="T19" fmla="*/ 98 h 113"/>
                <a:gd name="T20" fmla="*/ 48 w 112"/>
                <a:gd name="T21" fmla="*/ 94 h 113"/>
                <a:gd name="T22" fmla="*/ 50 w 112"/>
                <a:gd name="T23" fmla="*/ 92 h 113"/>
                <a:gd name="T24" fmla="*/ 54 w 112"/>
                <a:gd name="T25" fmla="*/ 90 h 113"/>
                <a:gd name="T26" fmla="*/ 56 w 112"/>
                <a:gd name="T27" fmla="*/ 84 h 113"/>
                <a:gd name="T28" fmla="*/ 54 w 112"/>
                <a:gd name="T29" fmla="*/ 81 h 113"/>
                <a:gd name="T30" fmla="*/ 44 w 112"/>
                <a:gd name="T31" fmla="*/ 77 h 113"/>
                <a:gd name="T32" fmla="*/ 58 w 112"/>
                <a:gd name="T33" fmla="*/ 81 h 113"/>
                <a:gd name="T34" fmla="*/ 50 w 112"/>
                <a:gd name="T35" fmla="*/ 73 h 113"/>
                <a:gd name="T36" fmla="*/ 60 w 112"/>
                <a:gd name="T37" fmla="*/ 69 h 113"/>
                <a:gd name="T38" fmla="*/ 73 w 112"/>
                <a:gd name="T39" fmla="*/ 67 h 113"/>
                <a:gd name="T40" fmla="*/ 77 w 112"/>
                <a:gd name="T41" fmla="*/ 63 h 113"/>
                <a:gd name="T42" fmla="*/ 68 w 112"/>
                <a:gd name="T43" fmla="*/ 63 h 113"/>
                <a:gd name="T44" fmla="*/ 52 w 112"/>
                <a:gd name="T45" fmla="*/ 61 h 113"/>
                <a:gd name="T46" fmla="*/ 41 w 112"/>
                <a:gd name="T47" fmla="*/ 67 h 113"/>
                <a:gd name="T48" fmla="*/ 35 w 112"/>
                <a:gd name="T49" fmla="*/ 69 h 113"/>
                <a:gd name="T50" fmla="*/ 23 w 112"/>
                <a:gd name="T51" fmla="*/ 73 h 113"/>
                <a:gd name="T52" fmla="*/ 23 w 112"/>
                <a:gd name="T53" fmla="*/ 69 h 113"/>
                <a:gd name="T54" fmla="*/ 20 w 112"/>
                <a:gd name="T55" fmla="*/ 69 h 113"/>
                <a:gd name="T56" fmla="*/ 23 w 112"/>
                <a:gd name="T57" fmla="*/ 65 h 113"/>
                <a:gd name="T58" fmla="*/ 27 w 112"/>
                <a:gd name="T59" fmla="*/ 56 h 113"/>
                <a:gd name="T60" fmla="*/ 14 w 112"/>
                <a:gd name="T61" fmla="*/ 61 h 113"/>
                <a:gd name="T62" fmla="*/ 12 w 112"/>
                <a:gd name="T63" fmla="*/ 59 h 113"/>
                <a:gd name="T64" fmla="*/ 16 w 112"/>
                <a:gd name="T65" fmla="*/ 50 h 113"/>
                <a:gd name="T66" fmla="*/ 6 w 112"/>
                <a:gd name="T67" fmla="*/ 56 h 113"/>
                <a:gd name="T68" fmla="*/ 0 w 112"/>
                <a:gd name="T69" fmla="*/ 52 h 113"/>
                <a:gd name="T70" fmla="*/ 6 w 112"/>
                <a:gd name="T71" fmla="*/ 50 h 113"/>
                <a:gd name="T72" fmla="*/ 14 w 112"/>
                <a:gd name="T73" fmla="*/ 48 h 113"/>
                <a:gd name="T74" fmla="*/ 18 w 112"/>
                <a:gd name="T75" fmla="*/ 44 h 113"/>
                <a:gd name="T76" fmla="*/ 18 w 112"/>
                <a:gd name="T77" fmla="*/ 38 h 113"/>
                <a:gd name="T78" fmla="*/ 21 w 112"/>
                <a:gd name="T79" fmla="*/ 48 h 113"/>
                <a:gd name="T80" fmla="*/ 31 w 112"/>
                <a:gd name="T81" fmla="*/ 46 h 113"/>
                <a:gd name="T82" fmla="*/ 27 w 112"/>
                <a:gd name="T83" fmla="*/ 33 h 113"/>
                <a:gd name="T84" fmla="*/ 43 w 112"/>
                <a:gd name="T85" fmla="*/ 19 h 113"/>
                <a:gd name="T86" fmla="*/ 33 w 112"/>
                <a:gd name="T87" fmla="*/ 38 h 113"/>
                <a:gd name="T88" fmla="*/ 41 w 112"/>
                <a:gd name="T89" fmla="*/ 50 h 113"/>
                <a:gd name="T90" fmla="*/ 44 w 112"/>
                <a:gd name="T91" fmla="*/ 50 h 113"/>
                <a:gd name="T92" fmla="*/ 46 w 112"/>
                <a:gd name="T93" fmla="*/ 42 h 113"/>
                <a:gd name="T94" fmla="*/ 54 w 112"/>
                <a:gd name="T95" fmla="*/ 50 h 113"/>
                <a:gd name="T96" fmla="*/ 69 w 112"/>
                <a:gd name="T97" fmla="*/ 48 h 113"/>
                <a:gd name="T98" fmla="*/ 75 w 112"/>
                <a:gd name="T99" fmla="*/ 46 h 113"/>
                <a:gd name="T100" fmla="*/ 83 w 112"/>
                <a:gd name="T101" fmla="*/ 44 h 113"/>
                <a:gd name="T102" fmla="*/ 83 w 112"/>
                <a:gd name="T103" fmla="*/ 38 h 113"/>
                <a:gd name="T104" fmla="*/ 77 w 112"/>
                <a:gd name="T105" fmla="*/ 33 h 113"/>
                <a:gd name="T106" fmla="*/ 93 w 112"/>
                <a:gd name="T107" fmla="*/ 23 h 113"/>
                <a:gd name="T108" fmla="*/ 91 w 112"/>
                <a:gd name="T109" fmla="*/ 11 h 113"/>
                <a:gd name="T110" fmla="*/ 96 w 112"/>
                <a:gd name="T111" fmla="*/ 9 h 113"/>
                <a:gd name="T112" fmla="*/ 98 w 112"/>
                <a:gd name="T113" fmla="*/ 13 h 113"/>
                <a:gd name="T114" fmla="*/ 106 w 112"/>
                <a:gd name="T115" fmla="*/ 13 h 113"/>
                <a:gd name="T116" fmla="*/ 98 w 112"/>
                <a:gd name="T117" fmla="*/ 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113">
                  <a:moveTo>
                    <a:pt x="20" y="109"/>
                  </a:moveTo>
                  <a:lnTo>
                    <a:pt x="18" y="111"/>
                  </a:lnTo>
                  <a:lnTo>
                    <a:pt x="16" y="113"/>
                  </a:lnTo>
                  <a:lnTo>
                    <a:pt x="14" y="113"/>
                  </a:lnTo>
                  <a:lnTo>
                    <a:pt x="12" y="113"/>
                  </a:lnTo>
                  <a:lnTo>
                    <a:pt x="10" y="113"/>
                  </a:lnTo>
                  <a:lnTo>
                    <a:pt x="10" y="111"/>
                  </a:lnTo>
                  <a:lnTo>
                    <a:pt x="14" y="109"/>
                  </a:lnTo>
                  <a:lnTo>
                    <a:pt x="12" y="109"/>
                  </a:lnTo>
                  <a:lnTo>
                    <a:pt x="14" y="107"/>
                  </a:lnTo>
                  <a:lnTo>
                    <a:pt x="16" y="107"/>
                  </a:lnTo>
                  <a:lnTo>
                    <a:pt x="18" y="107"/>
                  </a:lnTo>
                  <a:lnTo>
                    <a:pt x="20" y="107"/>
                  </a:lnTo>
                  <a:lnTo>
                    <a:pt x="18" y="107"/>
                  </a:lnTo>
                  <a:lnTo>
                    <a:pt x="16" y="106"/>
                  </a:lnTo>
                  <a:lnTo>
                    <a:pt x="14" y="106"/>
                  </a:lnTo>
                  <a:lnTo>
                    <a:pt x="12" y="106"/>
                  </a:lnTo>
                  <a:lnTo>
                    <a:pt x="10" y="106"/>
                  </a:lnTo>
                  <a:lnTo>
                    <a:pt x="12" y="102"/>
                  </a:lnTo>
                  <a:lnTo>
                    <a:pt x="12" y="104"/>
                  </a:lnTo>
                  <a:lnTo>
                    <a:pt x="14" y="102"/>
                  </a:lnTo>
                  <a:lnTo>
                    <a:pt x="16" y="102"/>
                  </a:lnTo>
                  <a:lnTo>
                    <a:pt x="18" y="102"/>
                  </a:lnTo>
                  <a:lnTo>
                    <a:pt x="18" y="100"/>
                  </a:lnTo>
                  <a:lnTo>
                    <a:pt x="16" y="100"/>
                  </a:lnTo>
                  <a:lnTo>
                    <a:pt x="14" y="102"/>
                  </a:lnTo>
                  <a:lnTo>
                    <a:pt x="12" y="102"/>
                  </a:lnTo>
                  <a:lnTo>
                    <a:pt x="12" y="100"/>
                  </a:lnTo>
                  <a:lnTo>
                    <a:pt x="14" y="100"/>
                  </a:lnTo>
                  <a:lnTo>
                    <a:pt x="16" y="100"/>
                  </a:lnTo>
                  <a:lnTo>
                    <a:pt x="18" y="100"/>
                  </a:lnTo>
                  <a:lnTo>
                    <a:pt x="20" y="98"/>
                  </a:lnTo>
                  <a:lnTo>
                    <a:pt x="23" y="100"/>
                  </a:lnTo>
                  <a:lnTo>
                    <a:pt x="23" y="98"/>
                  </a:lnTo>
                  <a:lnTo>
                    <a:pt x="25" y="98"/>
                  </a:lnTo>
                  <a:lnTo>
                    <a:pt x="27" y="96"/>
                  </a:lnTo>
                  <a:lnTo>
                    <a:pt x="29" y="96"/>
                  </a:lnTo>
                  <a:lnTo>
                    <a:pt x="31" y="98"/>
                  </a:lnTo>
                  <a:lnTo>
                    <a:pt x="31" y="96"/>
                  </a:lnTo>
                  <a:lnTo>
                    <a:pt x="33" y="96"/>
                  </a:lnTo>
                  <a:lnTo>
                    <a:pt x="33" y="94"/>
                  </a:lnTo>
                  <a:lnTo>
                    <a:pt x="35" y="94"/>
                  </a:lnTo>
                  <a:lnTo>
                    <a:pt x="37" y="96"/>
                  </a:lnTo>
                  <a:lnTo>
                    <a:pt x="37" y="98"/>
                  </a:lnTo>
                  <a:lnTo>
                    <a:pt x="37" y="100"/>
                  </a:lnTo>
                  <a:lnTo>
                    <a:pt x="39" y="100"/>
                  </a:lnTo>
                  <a:lnTo>
                    <a:pt x="39" y="102"/>
                  </a:lnTo>
                  <a:lnTo>
                    <a:pt x="41" y="102"/>
                  </a:lnTo>
                  <a:lnTo>
                    <a:pt x="43" y="102"/>
                  </a:lnTo>
                  <a:lnTo>
                    <a:pt x="43" y="100"/>
                  </a:lnTo>
                  <a:lnTo>
                    <a:pt x="39" y="100"/>
                  </a:lnTo>
                  <a:lnTo>
                    <a:pt x="39" y="98"/>
                  </a:lnTo>
                  <a:lnTo>
                    <a:pt x="39" y="96"/>
                  </a:lnTo>
                  <a:lnTo>
                    <a:pt x="39" y="94"/>
                  </a:lnTo>
                  <a:lnTo>
                    <a:pt x="41" y="92"/>
                  </a:lnTo>
                  <a:lnTo>
                    <a:pt x="41" y="90"/>
                  </a:lnTo>
                  <a:lnTo>
                    <a:pt x="39" y="90"/>
                  </a:lnTo>
                  <a:lnTo>
                    <a:pt x="37" y="90"/>
                  </a:lnTo>
                  <a:lnTo>
                    <a:pt x="35" y="88"/>
                  </a:lnTo>
                  <a:lnTo>
                    <a:pt x="33" y="90"/>
                  </a:lnTo>
                  <a:lnTo>
                    <a:pt x="31" y="90"/>
                  </a:lnTo>
                  <a:lnTo>
                    <a:pt x="31" y="88"/>
                  </a:lnTo>
                  <a:lnTo>
                    <a:pt x="29" y="88"/>
                  </a:lnTo>
                  <a:lnTo>
                    <a:pt x="29" y="90"/>
                  </a:lnTo>
                  <a:lnTo>
                    <a:pt x="27" y="92"/>
                  </a:lnTo>
                  <a:lnTo>
                    <a:pt x="25" y="92"/>
                  </a:lnTo>
                  <a:lnTo>
                    <a:pt x="23" y="92"/>
                  </a:lnTo>
                  <a:lnTo>
                    <a:pt x="23" y="90"/>
                  </a:lnTo>
                  <a:lnTo>
                    <a:pt x="25" y="88"/>
                  </a:lnTo>
                  <a:lnTo>
                    <a:pt x="25" y="86"/>
                  </a:lnTo>
                  <a:lnTo>
                    <a:pt x="27" y="84"/>
                  </a:lnTo>
                  <a:lnTo>
                    <a:pt x="29" y="84"/>
                  </a:lnTo>
                  <a:lnTo>
                    <a:pt x="27" y="84"/>
                  </a:lnTo>
                  <a:lnTo>
                    <a:pt x="29" y="86"/>
                  </a:lnTo>
                  <a:lnTo>
                    <a:pt x="29" y="84"/>
                  </a:lnTo>
                  <a:lnTo>
                    <a:pt x="31" y="84"/>
                  </a:lnTo>
                  <a:lnTo>
                    <a:pt x="31" y="82"/>
                  </a:lnTo>
                  <a:lnTo>
                    <a:pt x="33" y="82"/>
                  </a:lnTo>
                  <a:lnTo>
                    <a:pt x="33" y="84"/>
                  </a:lnTo>
                  <a:lnTo>
                    <a:pt x="35" y="86"/>
                  </a:lnTo>
                  <a:lnTo>
                    <a:pt x="37" y="84"/>
                  </a:lnTo>
                  <a:lnTo>
                    <a:pt x="39" y="82"/>
                  </a:lnTo>
                  <a:lnTo>
                    <a:pt x="37" y="82"/>
                  </a:lnTo>
                  <a:lnTo>
                    <a:pt x="39" y="81"/>
                  </a:lnTo>
                  <a:lnTo>
                    <a:pt x="41" y="81"/>
                  </a:lnTo>
                  <a:lnTo>
                    <a:pt x="39" y="79"/>
                  </a:lnTo>
                  <a:lnTo>
                    <a:pt x="41" y="77"/>
                  </a:lnTo>
                  <a:lnTo>
                    <a:pt x="43" y="77"/>
                  </a:lnTo>
                  <a:lnTo>
                    <a:pt x="43" y="79"/>
                  </a:lnTo>
                  <a:lnTo>
                    <a:pt x="43" y="81"/>
                  </a:lnTo>
                  <a:lnTo>
                    <a:pt x="44" y="82"/>
                  </a:lnTo>
                  <a:lnTo>
                    <a:pt x="44" y="84"/>
                  </a:lnTo>
                  <a:lnTo>
                    <a:pt x="43" y="84"/>
                  </a:lnTo>
                  <a:lnTo>
                    <a:pt x="44" y="86"/>
                  </a:lnTo>
                  <a:lnTo>
                    <a:pt x="43" y="88"/>
                  </a:lnTo>
                  <a:lnTo>
                    <a:pt x="43" y="90"/>
                  </a:lnTo>
                  <a:lnTo>
                    <a:pt x="46" y="92"/>
                  </a:lnTo>
                  <a:lnTo>
                    <a:pt x="46" y="94"/>
                  </a:lnTo>
                  <a:lnTo>
                    <a:pt x="46" y="96"/>
                  </a:lnTo>
                  <a:lnTo>
                    <a:pt x="46" y="98"/>
                  </a:lnTo>
                  <a:lnTo>
                    <a:pt x="48" y="100"/>
                  </a:lnTo>
                  <a:lnTo>
                    <a:pt x="50" y="100"/>
                  </a:lnTo>
                  <a:lnTo>
                    <a:pt x="52" y="102"/>
                  </a:lnTo>
                  <a:lnTo>
                    <a:pt x="56" y="104"/>
                  </a:lnTo>
                  <a:lnTo>
                    <a:pt x="56" y="102"/>
                  </a:lnTo>
                  <a:lnTo>
                    <a:pt x="54" y="100"/>
                  </a:lnTo>
                  <a:lnTo>
                    <a:pt x="52" y="100"/>
                  </a:lnTo>
                  <a:lnTo>
                    <a:pt x="50" y="98"/>
                  </a:lnTo>
                  <a:lnTo>
                    <a:pt x="48" y="98"/>
                  </a:lnTo>
                  <a:lnTo>
                    <a:pt x="48" y="94"/>
                  </a:lnTo>
                  <a:lnTo>
                    <a:pt x="50" y="92"/>
                  </a:lnTo>
                  <a:lnTo>
                    <a:pt x="48" y="92"/>
                  </a:lnTo>
                  <a:lnTo>
                    <a:pt x="46" y="92"/>
                  </a:lnTo>
                  <a:lnTo>
                    <a:pt x="48" y="90"/>
                  </a:lnTo>
                  <a:lnTo>
                    <a:pt x="50" y="92"/>
                  </a:lnTo>
                  <a:lnTo>
                    <a:pt x="52" y="94"/>
                  </a:lnTo>
                  <a:lnTo>
                    <a:pt x="52" y="96"/>
                  </a:lnTo>
                  <a:lnTo>
                    <a:pt x="54" y="94"/>
                  </a:lnTo>
                  <a:lnTo>
                    <a:pt x="52" y="94"/>
                  </a:lnTo>
                  <a:lnTo>
                    <a:pt x="50" y="92"/>
                  </a:lnTo>
                  <a:lnTo>
                    <a:pt x="50" y="90"/>
                  </a:lnTo>
                  <a:lnTo>
                    <a:pt x="52" y="90"/>
                  </a:lnTo>
                  <a:lnTo>
                    <a:pt x="52" y="92"/>
                  </a:lnTo>
                  <a:lnTo>
                    <a:pt x="54" y="92"/>
                  </a:lnTo>
                  <a:lnTo>
                    <a:pt x="54" y="94"/>
                  </a:lnTo>
                  <a:lnTo>
                    <a:pt x="56" y="92"/>
                  </a:lnTo>
                  <a:lnTo>
                    <a:pt x="54" y="92"/>
                  </a:lnTo>
                  <a:lnTo>
                    <a:pt x="54" y="90"/>
                  </a:lnTo>
                  <a:lnTo>
                    <a:pt x="56" y="90"/>
                  </a:lnTo>
                  <a:lnTo>
                    <a:pt x="54" y="90"/>
                  </a:lnTo>
                  <a:lnTo>
                    <a:pt x="52" y="90"/>
                  </a:lnTo>
                  <a:lnTo>
                    <a:pt x="50" y="90"/>
                  </a:lnTo>
                  <a:lnTo>
                    <a:pt x="52" y="88"/>
                  </a:lnTo>
                  <a:lnTo>
                    <a:pt x="52" y="86"/>
                  </a:lnTo>
                  <a:lnTo>
                    <a:pt x="54" y="84"/>
                  </a:lnTo>
                  <a:lnTo>
                    <a:pt x="56" y="88"/>
                  </a:lnTo>
                  <a:lnTo>
                    <a:pt x="58" y="86"/>
                  </a:lnTo>
                  <a:lnTo>
                    <a:pt x="60" y="86"/>
                  </a:lnTo>
                  <a:lnTo>
                    <a:pt x="56" y="86"/>
                  </a:lnTo>
                  <a:lnTo>
                    <a:pt x="56" y="84"/>
                  </a:lnTo>
                  <a:lnTo>
                    <a:pt x="54" y="84"/>
                  </a:lnTo>
                  <a:lnTo>
                    <a:pt x="52" y="86"/>
                  </a:lnTo>
                  <a:lnTo>
                    <a:pt x="50" y="86"/>
                  </a:lnTo>
                  <a:lnTo>
                    <a:pt x="48" y="84"/>
                  </a:lnTo>
                  <a:lnTo>
                    <a:pt x="48" y="82"/>
                  </a:lnTo>
                  <a:lnTo>
                    <a:pt x="50" y="82"/>
                  </a:lnTo>
                  <a:lnTo>
                    <a:pt x="52" y="82"/>
                  </a:lnTo>
                  <a:lnTo>
                    <a:pt x="54" y="81"/>
                  </a:lnTo>
                  <a:lnTo>
                    <a:pt x="56" y="81"/>
                  </a:lnTo>
                  <a:lnTo>
                    <a:pt x="54" y="81"/>
                  </a:lnTo>
                  <a:lnTo>
                    <a:pt x="52" y="79"/>
                  </a:lnTo>
                  <a:lnTo>
                    <a:pt x="54" y="79"/>
                  </a:lnTo>
                  <a:lnTo>
                    <a:pt x="52" y="79"/>
                  </a:lnTo>
                  <a:lnTo>
                    <a:pt x="48" y="81"/>
                  </a:lnTo>
                  <a:lnTo>
                    <a:pt x="46" y="81"/>
                  </a:lnTo>
                  <a:lnTo>
                    <a:pt x="46" y="79"/>
                  </a:lnTo>
                  <a:lnTo>
                    <a:pt x="48" y="79"/>
                  </a:lnTo>
                  <a:lnTo>
                    <a:pt x="48" y="77"/>
                  </a:lnTo>
                  <a:lnTo>
                    <a:pt x="46" y="77"/>
                  </a:lnTo>
                  <a:lnTo>
                    <a:pt x="44" y="77"/>
                  </a:lnTo>
                  <a:lnTo>
                    <a:pt x="44" y="75"/>
                  </a:lnTo>
                  <a:lnTo>
                    <a:pt x="46" y="75"/>
                  </a:lnTo>
                  <a:lnTo>
                    <a:pt x="48" y="73"/>
                  </a:lnTo>
                  <a:lnTo>
                    <a:pt x="48" y="75"/>
                  </a:lnTo>
                  <a:lnTo>
                    <a:pt x="50" y="75"/>
                  </a:lnTo>
                  <a:lnTo>
                    <a:pt x="52" y="75"/>
                  </a:lnTo>
                  <a:lnTo>
                    <a:pt x="54" y="77"/>
                  </a:lnTo>
                  <a:lnTo>
                    <a:pt x="56" y="77"/>
                  </a:lnTo>
                  <a:lnTo>
                    <a:pt x="56" y="79"/>
                  </a:lnTo>
                  <a:lnTo>
                    <a:pt x="58" y="81"/>
                  </a:lnTo>
                  <a:lnTo>
                    <a:pt x="60" y="82"/>
                  </a:lnTo>
                  <a:lnTo>
                    <a:pt x="62" y="82"/>
                  </a:lnTo>
                  <a:lnTo>
                    <a:pt x="62" y="81"/>
                  </a:lnTo>
                  <a:lnTo>
                    <a:pt x="60" y="81"/>
                  </a:lnTo>
                  <a:lnTo>
                    <a:pt x="58" y="79"/>
                  </a:lnTo>
                  <a:lnTo>
                    <a:pt x="56" y="77"/>
                  </a:lnTo>
                  <a:lnTo>
                    <a:pt x="56" y="75"/>
                  </a:lnTo>
                  <a:lnTo>
                    <a:pt x="54" y="75"/>
                  </a:lnTo>
                  <a:lnTo>
                    <a:pt x="52" y="73"/>
                  </a:lnTo>
                  <a:lnTo>
                    <a:pt x="50" y="73"/>
                  </a:lnTo>
                  <a:lnTo>
                    <a:pt x="48" y="73"/>
                  </a:lnTo>
                  <a:lnTo>
                    <a:pt x="48" y="71"/>
                  </a:lnTo>
                  <a:lnTo>
                    <a:pt x="48" y="73"/>
                  </a:lnTo>
                  <a:lnTo>
                    <a:pt x="48" y="71"/>
                  </a:lnTo>
                  <a:lnTo>
                    <a:pt x="50" y="71"/>
                  </a:lnTo>
                  <a:lnTo>
                    <a:pt x="52" y="69"/>
                  </a:lnTo>
                  <a:lnTo>
                    <a:pt x="54" y="69"/>
                  </a:lnTo>
                  <a:lnTo>
                    <a:pt x="58" y="67"/>
                  </a:lnTo>
                  <a:lnTo>
                    <a:pt x="60" y="67"/>
                  </a:lnTo>
                  <a:lnTo>
                    <a:pt x="60" y="69"/>
                  </a:lnTo>
                  <a:lnTo>
                    <a:pt x="64" y="69"/>
                  </a:lnTo>
                  <a:lnTo>
                    <a:pt x="64" y="71"/>
                  </a:lnTo>
                  <a:lnTo>
                    <a:pt x="62" y="73"/>
                  </a:lnTo>
                  <a:lnTo>
                    <a:pt x="64" y="71"/>
                  </a:lnTo>
                  <a:lnTo>
                    <a:pt x="66" y="71"/>
                  </a:lnTo>
                  <a:lnTo>
                    <a:pt x="68" y="69"/>
                  </a:lnTo>
                  <a:lnTo>
                    <a:pt x="69" y="67"/>
                  </a:lnTo>
                  <a:lnTo>
                    <a:pt x="71" y="69"/>
                  </a:lnTo>
                  <a:lnTo>
                    <a:pt x="73" y="69"/>
                  </a:lnTo>
                  <a:lnTo>
                    <a:pt x="73" y="67"/>
                  </a:lnTo>
                  <a:lnTo>
                    <a:pt x="73" y="65"/>
                  </a:lnTo>
                  <a:lnTo>
                    <a:pt x="75" y="67"/>
                  </a:lnTo>
                  <a:lnTo>
                    <a:pt x="77" y="67"/>
                  </a:lnTo>
                  <a:lnTo>
                    <a:pt x="77" y="65"/>
                  </a:lnTo>
                  <a:lnTo>
                    <a:pt x="77" y="63"/>
                  </a:lnTo>
                  <a:lnTo>
                    <a:pt x="81" y="65"/>
                  </a:lnTo>
                  <a:lnTo>
                    <a:pt x="83" y="65"/>
                  </a:lnTo>
                  <a:lnTo>
                    <a:pt x="83" y="63"/>
                  </a:lnTo>
                  <a:lnTo>
                    <a:pt x="81" y="63"/>
                  </a:lnTo>
                  <a:lnTo>
                    <a:pt x="77" y="63"/>
                  </a:lnTo>
                  <a:lnTo>
                    <a:pt x="79" y="61"/>
                  </a:lnTo>
                  <a:lnTo>
                    <a:pt x="79" y="59"/>
                  </a:lnTo>
                  <a:lnTo>
                    <a:pt x="77" y="59"/>
                  </a:lnTo>
                  <a:lnTo>
                    <a:pt x="75" y="61"/>
                  </a:lnTo>
                  <a:lnTo>
                    <a:pt x="73" y="61"/>
                  </a:lnTo>
                  <a:lnTo>
                    <a:pt x="71" y="63"/>
                  </a:lnTo>
                  <a:lnTo>
                    <a:pt x="68" y="65"/>
                  </a:lnTo>
                  <a:lnTo>
                    <a:pt x="66" y="65"/>
                  </a:lnTo>
                  <a:lnTo>
                    <a:pt x="66" y="63"/>
                  </a:lnTo>
                  <a:lnTo>
                    <a:pt x="68" y="63"/>
                  </a:lnTo>
                  <a:lnTo>
                    <a:pt x="66" y="61"/>
                  </a:lnTo>
                  <a:lnTo>
                    <a:pt x="64" y="63"/>
                  </a:lnTo>
                  <a:lnTo>
                    <a:pt x="62" y="65"/>
                  </a:lnTo>
                  <a:lnTo>
                    <a:pt x="60" y="65"/>
                  </a:lnTo>
                  <a:lnTo>
                    <a:pt x="56" y="65"/>
                  </a:lnTo>
                  <a:lnTo>
                    <a:pt x="54" y="67"/>
                  </a:lnTo>
                  <a:lnTo>
                    <a:pt x="54" y="65"/>
                  </a:lnTo>
                  <a:lnTo>
                    <a:pt x="54" y="63"/>
                  </a:lnTo>
                  <a:lnTo>
                    <a:pt x="52" y="63"/>
                  </a:lnTo>
                  <a:lnTo>
                    <a:pt x="52" y="61"/>
                  </a:lnTo>
                  <a:lnTo>
                    <a:pt x="48" y="59"/>
                  </a:lnTo>
                  <a:lnTo>
                    <a:pt x="46" y="59"/>
                  </a:lnTo>
                  <a:lnTo>
                    <a:pt x="44" y="59"/>
                  </a:lnTo>
                  <a:lnTo>
                    <a:pt x="44" y="61"/>
                  </a:lnTo>
                  <a:lnTo>
                    <a:pt x="43" y="59"/>
                  </a:lnTo>
                  <a:lnTo>
                    <a:pt x="43" y="61"/>
                  </a:lnTo>
                  <a:lnTo>
                    <a:pt x="43" y="63"/>
                  </a:lnTo>
                  <a:lnTo>
                    <a:pt x="41" y="63"/>
                  </a:lnTo>
                  <a:lnTo>
                    <a:pt x="41" y="65"/>
                  </a:lnTo>
                  <a:lnTo>
                    <a:pt x="41" y="67"/>
                  </a:lnTo>
                  <a:lnTo>
                    <a:pt x="41" y="69"/>
                  </a:lnTo>
                  <a:lnTo>
                    <a:pt x="39" y="69"/>
                  </a:lnTo>
                  <a:lnTo>
                    <a:pt x="39" y="71"/>
                  </a:lnTo>
                  <a:lnTo>
                    <a:pt x="37" y="71"/>
                  </a:lnTo>
                  <a:lnTo>
                    <a:pt x="37" y="69"/>
                  </a:lnTo>
                  <a:lnTo>
                    <a:pt x="37" y="67"/>
                  </a:lnTo>
                  <a:lnTo>
                    <a:pt x="37" y="65"/>
                  </a:lnTo>
                  <a:lnTo>
                    <a:pt x="37" y="67"/>
                  </a:lnTo>
                  <a:lnTo>
                    <a:pt x="35" y="67"/>
                  </a:lnTo>
                  <a:lnTo>
                    <a:pt x="35" y="69"/>
                  </a:lnTo>
                  <a:lnTo>
                    <a:pt x="35" y="71"/>
                  </a:lnTo>
                  <a:lnTo>
                    <a:pt x="33" y="71"/>
                  </a:lnTo>
                  <a:lnTo>
                    <a:pt x="33" y="73"/>
                  </a:lnTo>
                  <a:lnTo>
                    <a:pt x="31" y="75"/>
                  </a:lnTo>
                  <a:lnTo>
                    <a:pt x="29" y="75"/>
                  </a:lnTo>
                  <a:lnTo>
                    <a:pt x="29" y="73"/>
                  </a:lnTo>
                  <a:lnTo>
                    <a:pt x="29" y="75"/>
                  </a:lnTo>
                  <a:lnTo>
                    <a:pt x="27" y="73"/>
                  </a:lnTo>
                  <a:lnTo>
                    <a:pt x="25" y="73"/>
                  </a:lnTo>
                  <a:lnTo>
                    <a:pt x="23" y="73"/>
                  </a:lnTo>
                  <a:lnTo>
                    <a:pt x="25" y="71"/>
                  </a:lnTo>
                  <a:lnTo>
                    <a:pt x="25" y="69"/>
                  </a:lnTo>
                  <a:lnTo>
                    <a:pt x="27" y="67"/>
                  </a:lnTo>
                  <a:lnTo>
                    <a:pt x="29" y="65"/>
                  </a:lnTo>
                  <a:lnTo>
                    <a:pt x="31" y="63"/>
                  </a:lnTo>
                  <a:lnTo>
                    <a:pt x="29" y="63"/>
                  </a:lnTo>
                  <a:lnTo>
                    <a:pt x="29" y="65"/>
                  </a:lnTo>
                  <a:lnTo>
                    <a:pt x="27" y="67"/>
                  </a:lnTo>
                  <a:lnTo>
                    <a:pt x="25" y="69"/>
                  </a:lnTo>
                  <a:lnTo>
                    <a:pt x="23" y="69"/>
                  </a:lnTo>
                  <a:lnTo>
                    <a:pt x="23" y="71"/>
                  </a:lnTo>
                  <a:lnTo>
                    <a:pt x="21" y="71"/>
                  </a:lnTo>
                  <a:lnTo>
                    <a:pt x="21" y="73"/>
                  </a:lnTo>
                  <a:lnTo>
                    <a:pt x="20" y="75"/>
                  </a:lnTo>
                  <a:lnTo>
                    <a:pt x="18" y="75"/>
                  </a:lnTo>
                  <a:lnTo>
                    <a:pt x="18" y="77"/>
                  </a:lnTo>
                  <a:lnTo>
                    <a:pt x="16" y="75"/>
                  </a:lnTo>
                  <a:lnTo>
                    <a:pt x="18" y="73"/>
                  </a:lnTo>
                  <a:lnTo>
                    <a:pt x="18" y="71"/>
                  </a:lnTo>
                  <a:lnTo>
                    <a:pt x="20" y="69"/>
                  </a:lnTo>
                  <a:lnTo>
                    <a:pt x="20" y="67"/>
                  </a:lnTo>
                  <a:lnTo>
                    <a:pt x="21" y="67"/>
                  </a:lnTo>
                  <a:lnTo>
                    <a:pt x="23" y="67"/>
                  </a:lnTo>
                  <a:lnTo>
                    <a:pt x="25" y="67"/>
                  </a:lnTo>
                  <a:lnTo>
                    <a:pt x="25" y="65"/>
                  </a:lnTo>
                  <a:lnTo>
                    <a:pt x="23" y="65"/>
                  </a:lnTo>
                  <a:lnTo>
                    <a:pt x="21" y="65"/>
                  </a:lnTo>
                  <a:lnTo>
                    <a:pt x="21" y="63"/>
                  </a:lnTo>
                  <a:lnTo>
                    <a:pt x="21" y="65"/>
                  </a:lnTo>
                  <a:lnTo>
                    <a:pt x="23" y="65"/>
                  </a:lnTo>
                  <a:lnTo>
                    <a:pt x="23" y="63"/>
                  </a:lnTo>
                  <a:lnTo>
                    <a:pt x="21" y="63"/>
                  </a:lnTo>
                  <a:lnTo>
                    <a:pt x="20" y="63"/>
                  </a:lnTo>
                  <a:lnTo>
                    <a:pt x="20" y="61"/>
                  </a:lnTo>
                  <a:lnTo>
                    <a:pt x="21" y="59"/>
                  </a:lnTo>
                  <a:lnTo>
                    <a:pt x="21" y="61"/>
                  </a:lnTo>
                  <a:lnTo>
                    <a:pt x="23" y="59"/>
                  </a:lnTo>
                  <a:lnTo>
                    <a:pt x="25" y="58"/>
                  </a:lnTo>
                  <a:lnTo>
                    <a:pt x="27" y="58"/>
                  </a:lnTo>
                  <a:lnTo>
                    <a:pt x="27" y="56"/>
                  </a:lnTo>
                  <a:lnTo>
                    <a:pt x="25" y="56"/>
                  </a:lnTo>
                  <a:lnTo>
                    <a:pt x="25" y="54"/>
                  </a:lnTo>
                  <a:lnTo>
                    <a:pt x="23" y="56"/>
                  </a:lnTo>
                  <a:lnTo>
                    <a:pt x="21" y="56"/>
                  </a:lnTo>
                  <a:lnTo>
                    <a:pt x="21" y="58"/>
                  </a:lnTo>
                  <a:lnTo>
                    <a:pt x="20" y="58"/>
                  </a:lnTo>
                  <a:lnTo>
                    <a:pt x="18" y="59"/>
                  </a:lnTo>
                  <a:lnTo>
                    <a:pt x="16" y="59"/>
                  </a:lnTo>
                  <a:lnTo>
                    <a:pt x="14" y="59"/>
                  </a:lnTo>
                  <a:lnTo>
                    <a:pt x="14" y="61"/>
                  </a:lnTo>
                  <a:lnTo>
                    <a:pt x="14" y="63"/>
                  </a:lnTo>
                  <a:lnTo>
                    <a:pt x="12" y="63"/>
                  </a:lnTo>
                  <a:lnTo>
                    <a:pt x="10" y="65"/>
                  </a:lnTo>
                  <a:lnTo>
                    <a:pt x="8" y="63"/>
                  </a:lnTo>
                  <a:lnTo>
                    <a:pt x="6" y="63"/>
                  </a:lnTo>
                  <a:lnTo>
                    <a:pt x="6" y="61"/>
                  </a:lnTo>
                  <a:lnTo>
                    <a:pt x="6" y="59"/>
                  </a:lnTo>
                  <a:lnTo>
                    <a:pt x="8" y="59"/>
                  </a:lnTo>
                  <a:lnTo>
                    <a:pt x="10" y="61"/>
                  </a:lnTo>
                  <a:lnTo>
                    <a:pt x="12" y="59"/>
                  </a:lnTo>
                  <a:lnTo>
                    <a:pt x="12" y="58"/>
                  </a:lnTo>
                  <a:lnTo>
                    <a:pt x="10" y="58"/>
                  </a:lnTo>
                  <a:lnTo>
                    <a:pt x="10" y="56"/>
                  </a:lnTo>
                  <a:lnTo>
                    <a:pt x="12" y="56"/>
                  </a:lnTo>
                  <a:lnTo>
                    <a:pt x="14" y="56"/>
                  </a:lnTo>
                  <a:lnTo>
                    <a:pt x="16" y="54"/>
                  </a:lnTo>
                  <a:lnTo>
                    <a:pt x="18" y="54"/>
                  </a:lnTo>
                  <a:lnTo>
                    <a:pt x="20" y="52"/>
                  </a:lnTo>
                  <a:lnTo>
                    <a:pt x="18" y="50"/>
                  </a:lnTo>
                  <a:lnTo>
                    <a:pt x="16" y="50"/>
                  </a:lnTo>
                  <a:lnTo>
                    <a:pt x="16" y="52"/>
                  </a:lnTo>
                  <a:lnTo>
                    <a:pt x="14" y="54"/>
                  </a:lnTo>
                  <a:lnTo>
                    <a:pt x="14" y="52"/>
                  </a:lnTo>
                  <a:lnTo>
                    <a:pt x="12" y="54"/>
                  </a:lnTo>
                  <a:lnTo>
                    <a:pt x="10" y="56"/>
                  </a:lnTo>
                  <a:lnTo>
                    <a:pt x="10" y="52"/>
                  </a:lnTo>
                  <a:lnTo>
                    <a:pt x="10" y="56"/>
                  </a:lnTo>
                  <a:lnTo>
                    <a:pt x="8" y="56"/>
                  </a:lnTo>
                  <a:lnTo>
                    <a:pt x="6" y="54"/>
                  </a:lnTo>
                  <a:lnTo>
                    <a:pt x="6" y="56"/>
                  </a:lnTo>
                  <a:lnTo>
                    <a:pt x="6" y="58"/>
                  </a:lnTo>
                  <a:lnTo>
                    <a:pt x="4" y="58"/>
                  </a:lnTo>
                  <a:lnTo>
                    <a:pt x="2" y="59"/>
                  </a:lnTo>
                  <a:lnTo>
                    <a:pt x="0" y="59"/>
                  </a:lnTo>
                  <a:lnTo>
                    <a:pt x="0" y="58"/>
                  </a:lnTo>
                  <a:lnTo>
                    <a:pt x="0" y="56"/>
                  </a:lnTo>
                  <a:lnTo>
                    <a:pt x="0" y="54"/>
                  </a:lnTo>
                  <a:lnTo>
                    <a:pt x="2" y="54"/>
                  </a:lnTo>
                  <a:lnTo>
                    <a:pt x="0" y="54"/>
                  </a:lnTo>
                  <a:lnTo>
                    <a:pt x="0" y="52"/>
                  </a:lnTo>
                  <a:lnTo>
                    <a:pt x="2" y="52"/>
                  </a:lnTo>
                  <a:lnTo>
                    <a:pt x="4" y="52"/>
                  </a:lnTo>
                  <a:lnTo>
                    <a:pt x="2" y="52"/>
                  </a:lnTo>
                  <a:lnTo>
                    <a:pt x="0" y="50"/>
                  </a:lnTo>
                  <a:lnTo>
                    <a:pt x="2" y="50"/>
                  </a:lnTo>
                  <a:lnTo>
                    <a:pt x="2" y="48"/>
                  </a:lnTo>
                  <a:lnTo>
                    <a:pt x="4" y="48"/>
                  </a:lnTo>
                  <a:lnTo>
                    <a:pt x="4" y="50"/>
                  </a:lnTo>
                  <a:lnTo>
                    <a:pt x="4" y="52"/>
                  </a:lnTo>
                  <a:lnTo>
                    <a:pt x="6" y="50"/>
                  </a:lnTo>
                  <a:lnTo>
                    <a:pt x="6" y="48"/>
                  </a:lnTo>
                  <a:lnTo>
                    <a:pt x="6" y="46"/>
                  </a:lnTo>
                  <a:lnTo>
                    <a:pt x="8" y="48"/>
                  </a:lnTo>
                  <a:lnTo>
                    <a:pt x="6" y="48"/>
                  </a:lnTo>
                  <a:lnTo>
                    <a:pt x="6" y="50"/>
                  </a:lnTo>
                  <a:lnTo>
                    <a:pt x="8" y="50"/>
                  </a:lnTo>
                  <a:lnTo>
                    <a:pt x="10" y="48"/>
                  </a:lnTo>
                  <a:lnTo>
                    <a:pt x="12" y="48"/>
                  </a:lnTo>
                  <a:lnTo>
                    <a:pt x="12" y="50"/>
                  </a:lnTo>
                  <a:lnTo>
                    <a:pt x="14" y="48"/>
                  </a:lnTo>
                  <a:lnTo>
                    <a:pt x="12" y="48"/>
                  </a:lnTo>
                  <a:lnTo>
                    <a:pt x="14" y="46"/>
                  </a:lnTo>
                  <a:lnTo>
                    <a:pt x="12" y="46"/>
                  </a:lnTo>
                  <a:lnTo>
                    <a:pt x="12" y="44"/>
                  </a:lnTo>
                  <a:lnTo>
                    <a:pt x="14" y="44"/>
                  </a:lnTo>
                  <a:lnTo>
                    <a:pt x="16" y="46"/>
                  </a:lnTo>
                  <a:lnTo>
                    <a:pt x="16" y="48"/>
                  </a:lnTo>
                  <a:lnTo>
                    <a:pt x="16" y="46"/>
                  </a:lnTo>
                  <a:lnTo>
                    <a:pt x="16" y="44"/>
                  </a:lnTo>
                  <a:lnTo>
                    <a:pt x="18" y="44"/>
                  </a:lnTo>
                  <a:lnTo>
                    <a:pt x="18" y="46"/>
                  </a:lnTo>
                  <a:lnTo>
                    <a:pt x="18" y="48"/>
                  </a:lnTo>
                  <a:lnTo>
                    <a:pt x="18" y="46"/>
                  </a:lnTo>
                  <a:lnTo>
                    <a:pt x="18" y="44"/>
                  </a:lnTo>
                  <a:lnTo>
                    <a:pt x="16" y="42"/>
                  </a:lnTo>
                  <a:lnTo>
                    <a:pt x="16" y="40"/>
                  </a:lnTo>
                  <a:lnTo>
                    <a:pt x="16" y="38"/>
                  </a:lnTo>
                  <a:lnTo>
                    <a:pt x="16" y="36"/>
                  </a:lnTo>
                  <a:lnTo>
                    <a:pt x="18" y="36"/>
                  </a:lnTo>
                  <a:lnTo>
                    <a:pt x="18" y="38"/>
                  </a:lnTo>
                  <a:lnTo>
                    <a:pt x="20" y="40"/>
                  </a:lnTo>
                  <a:lnTo>
                    <a:pt x="21" y="40"/>
                  </a:lnTo>
                  <a:lnTo>
                    <a:pt x="21" y="42"/>
                  </a:lnTo>
                  <a:lnTo>
                    <a:pt x="21" y="44"/>
                  </a:lnTo>
                  <a:lnTo>
                    <a:pt x="21" y="46"/>
                  </a:lnTo>
                  <a:lnTo>
                    <a:pt x="21" y="44"/>
                  </a:lnTo>
                  <a:lnTo>
                    <a:pt x="23" y="44"/>
                  </a:lnTo>
                  <a:lnTo>
                    <a:pt x="23" y="46"/>
                  </a:lnTo>
                  <a:lnTo>
                    <a:pt x="23" y="48"/>
                  </a:lnTo>
                  <a:lnTo>
                    <a:pt x="21" y="48"/>
                  </a:lnTo>
                  <a:lnTo>
                    <a:pt x="23" y="48"/>
                  </a:lnTo>
                  <a:lnTo>
                    <a:pt x="21" y="50"/>
                  </a:lnTo>
                  <a:lnTo>
                    <a:pt x="23" y="50"/>
                  </a:lnTo>
                  <a:lnTo>
                    <a:pt x="25" y="52"/>
                  </a:lnTo>
                  <a:lnTo>
                    <a:pt x="27" y="52"/>
                  </a:lnTo>
                  <a:lnTo>
                    <a:pt x="27" y="50"/>
                  </a:lnTo>
                  <a:lnTo>
                    <a:pt x="25" y="48"/>
                  </a:lnTo>
                  <a:lnTo>
                    <a:pt x="27" y="46"/>
                  </a:lnTo>
                  <a:lnTo>
                    <a:pt x="29" y="46"/>
                  </a:lnTo>
                  <a:lnTo>
                    <a:pt x="31" y="46"/>
                  </a:lnTo>
                  <a:lnTo>
                    <a:pt x="31" y="44"/>
                  </a:lnTo>
                  <a:lnTo>
                    <a:pt x="29" y="44"/>
                  </a:lnTo>
                  <a:lnTo>
                    <a:pt x="29" y="42"/>
                  </a:lnTo>
                  <a:lnTo>
                    <a:pt x="29" y="40"/>
                  </a:lnTo>
                  <a:lnTo>
                    <a:pt x="31" y="38"/>
                  </a:lnTo>
                  <a:lnTo>
                    <a:pt x="31" y="36"/>
                  </a:lnTo>
                  <a:lnTo>
                    <a:pt x="29" y="36"/>
                  </a:lnTo>
                  <a:lnTo>
                    <a:pt x="29" y="34"/>
                  </a:lnTo>
                  <a:lnTo>
                    <a:pt x="27" y="34"/>
                  </a:lnTo>
                  <a:lnTo>
                    <a:pt x="27" y="33"/>
                  </a:lnTo>
                  <a:lnTo>
                    <a:pt x="29" y="31"/>
                  </a:lnTo>
                  <a:lnTo>
                    <a:pt x="29" y="29"/>
                  </a:lnTo>
                  <a:lnTo>
                    <a:pt x="31" y="29"/>
                  </a:lnTo>
                  <a:lnTo>
                    <a:pt x="33" y="27"/>
                  </a:lnTo>
                  <a:lnTo>
                    <a:pt x="35" y="25"/>
                  </a:lnTo>
                  <a:lnTo>
                    <a:pt x="35" y="23"/>
                  </a:lnTo>
                  <a:lnTo>
                    <a:pt x="35" y="21"/>
                  </a:lnTo>
                  <a:lnTo>
                    <a:pt x="41" y="17"/>
                  </a:lnTo>
                  <a:lnTo>
                    <a:pt x="41" y="19"/>
                  </a:lnTo>
                  <a:lnTo>
                    <a:pt x="43" y="19"/>
                  </a:lnTo>
                  <a:lnTo>
                    <a:pt x="43" y="21"/>
                  </a:lnTo>
                  <a:lnTo>
                    <a:pt x="41" y="23"/>
                  </a:lnTo>
                  <a:lnTo>
                    <a:pt x="41" y="25"/>
                  </a:lnTo>
                  <a:lnTo>
                    <a:pt x="41" y="27"/>
                  </a:lnTo>
                  <a:lnTo>
                    <a:pt x="37" y="31"/>
                  </a:lnTo>
                  <a:lnTo>
                    <a:pt x="37" y="33"/>
                  </a:lnTo>
                  <a:lnTo>
                    <a:pt x="35" y="34"/>
                  </a:lnTo>
                  <a:lnTo>
                    <a:pt x="33" y="34"/>
                  </a:lnTo>
                  <a:lnTo>
                    <a:pt x="31" y="36"/>
                  </a:lnTo>
                  <a:lnTo>
                    <a:pt x="33" y="38"/>
                  </a:lnTo>
                  <a:lnTo>
                    <a:pt x="35" y="36"/>
                  </a:lnTo>
                  <a:lnTo>
                    <a:pt x="37" y="38"/>
                  </a:lnTo>
                  <a:lnTo>
                    <a:pt x="39" y="40"/>
                  </a:lnTo>
                  <a:lnTo>
                    <a:pt x="39" y="42"/>
                  </a:lnTo>
                  <a:lnTo>
                    <a:pt x="39" y="44"/>
                  </a:lnTo>
                  <a:lnTo>
                    <a:pt x="37" y="46"/>
                  </a:lnTo>
                  <a:lnTo>
                    <a:pt x="37" y="48"/>
                  </a:lnTo>
                  <a:lnTo>
                    <a:pt x="39" y="48"/>
                  </a:lnTo>
                  <a:lnTo>
                    <a:pt x="41" y="48"/>
                  </a:lnTo>
                  <a:lnTo>
                    <a:pt x="41" y="50"/>
                  </a:lnTo>
                  <a:lnTo>
                    <a:pt x="41" y="52"/>
                  </a:lnTo>
                  <a:lnTo>
                    <a:pt x="39" y="52"/>
                  </a:lnTo>
                  <a:lnTo>
                    <a:pt x="39" y="54"/>
                  </a:lnTo>
                  <a:lnTo>
                    <a:pt x="37" y="54"/>
                  </a:lnTo>
                  <a:lnTo>
                    <a:pt x="39" y="56"/>
                  </a:lnTo>
                  <a:lnTo>
                    <a:pt x="41" y="54"/>
                  </a:lnTo>
                  <a:lnTo>
                    <a:pt x="41" y="52"/>
                  </a:lnTo>
                  <a:lnTo>
                    <a:pt x="41" y="50"/>
                  </a:lnTo>
                  <a:lnTo>
                    <a:pt x="43" y="50"/>
                  </a:lnTo>
                  <a:lnTo>
                    <a:pt x="44" y="50"/>
                  </a:lnTo>
                  <a:lnTo>
                    <a:pt x="46" y="48"/>
                  </a:lnTo>
                  <a:lnTo>
                    <a:pt x="44" y="48"/>
                  </a:lnTo>
                  <a:lnTo>
                    <a:pt x="43" y="48"/>
                  </a:lnTo>
                  <a:lnTo>
                    <a:pt x="43" y="46"/>
                  </a:lnTo>
                  <a:lnTo>
                    <a:pt x="43" y="44"/>
                  </a:lnTo>
                  <a:lnTo>
                    <a:pt x="44" y="42"/>
                  </a:lnTo>
                  <a:lnTo>
                    <a:pt x="44" y="44"/>
                  </a:lnTo>
                  <a:lnTo>
                    <a:pt x="46" y="44"/>
                  </a:lnTo>
                  <a:lnTo>
                    <a:pt x="48" y="42"/>
                  </a:lnTo>
                  <a:lnTo>
                    <a:pt x="46" y="42"/>
                  </a:lnTo>
                  <a:lnTo>
                    <a:pt x="46" y="40"/>
                  </a:lnTo>
                  <a:lnTo>
                    <a:pt x="48" y="40"/>
                  </a:lnTo>
                  <a:lnTo>
                    <a:pt x="48" y="42"/>
                  </a:lnTo>
                  <a:lnTo>
                    <a:pt x="50" y="42"/>
                  </a:lnTo>
                  <a:lnTo>
                    <a:pt x="52" y="42"/>
                  </a:lnTo>
                  <a:lnTo>
                    <a:pt x="52" y="44"/>
                  </a:lnTo>
                  <a:lnTo>
                    <a:pt x="54" y="44"/>
                  </a:lnTo>
                  <a:lnTo>
                    <a:pt x="54" y="46"/>
                  </a:lnTo>
                  <a:lnTo>
                    <a:pt x="54" y="48"/>
                  </a:lnTo>
                  <a:lnTo>
                    <a:pt x="54" y="50"/>
                  </a:lnTo>
                  <a:lnTo>
                    <a:pt x="56" y="50"/>
                  </a:lnTo>
                  <a:lnTo>
                    <a:pt x="54" y="52"/>
                  </a:lnTo>
                  <a:lnTo>
                    <a:pt x="54" y="54"/>
                  </a:lnTo>
                  <a:lnTo>
                    <a:pt x="58" y="54"/>
                  </a:lnTo>
                  <a:lnTo>
                    <a:pt x="60" y="52"/>
                  </a:lnTo>
                  <a:lnTo>
                    <a:pt x="62" y="52"/>
                  </a:lnTo>
                  <a:lnTo>
                    <a:pt x="64" y="50"/>
                  </a:lnTo>
                  <a:lnTo>
                    <a:pt x="66" y="50"/>
                  </a:lnTo>
                  <a:lnTo>
                    <a:pt x="68" y="50"/>
                  </a:lnTo>
                  <a:lnTo>
                    <a:pt x="69" y="48"/>
                  </a:lnTo>
                  <a:lnTo>
                    <a:pt x="71" y="48"/>
                  </a:lnTo>
                  <a:lnTo>
                    <a:pt x="73" y="48"/>
                  </a:lnTo>
                  <a:lnTo>
                    <a:pt x="75" y="48"/>
                  </a:lnTo>
                  <a:lnTo>
                    <a:pt x="75" y="50"/>
                  </a:lnTo>
                  <a:lnTo>
                    <a:pt x="77" y="52"/>
                  </a:lnTo>
                  <a:lnTo>
                    <a:pt x="79" y="52"/>
                  </a:lnTo>
                  <a:lnTo>
                    <a:pt x="77" y="50"/>
                  </a:lnTo>
                  <a:lnTo>
                    <a:pt x="77" y="48"/>
                  </a:lnTo>
                  <a:lnTo>
                    <a:pt x="75" y="48"/>
                  </a:lnTo>
                  <a:lnTo>
                    <a:pt x="75" y="46"/>
                  </a:lnTo>
                  <a:lnTo>
                    <a:pt x="73" y="48"/>
                  </a:lnTo>
                  <a:lnTo>
                    <a:pt x="71" y="48"/>
                  </a:lnTo>
                  <a:lnTo>
                    <a:pt x="71" y="46"/>
                  </a:lnTo>
                  <a:lnTo>
                    <a:pt x="73" y="44"/>
                  </a:lnTo>
                  <a:lnTo>
                    <a:pt x="75" y="44"/>
                  </a:lnTo>
                  <a:lnTo>
                    <a:pt x="77" y="44"/>
                  </a:lnTo>
                  <a:lnTo>
                    <a:pt x="81" y="46"/>
                  </a:lnTo>
                  <a:lnTo>
                    <a:pt x="83" y="46"/>
                  </a:lnTo>
                  <a:lnTo>
                    <a:pt x="85" y="46"/>
                  </a:lnTo>
                  <a:lnTo>
                    <a:pt x="83" y="44"/>
                  </a:lnTo>
                  <a:lnTo>
                    <a:pt x="81" y="44"/>
                  </a:lnTo>
                  <a:lnTo>
                    <a:pt x="79" y="44"/>
                  </a:lnTo>
                  <a:lnTo>
                    <a:pt x="77" y="42"/>
                  </a:lnTo>
                  <a:lnTo>
                    <a:pt x="79" y="40"/>
                  </a:lnTo>
                  <a:lnTo>
                    <a:pt x="81" y="38"/>
                  </a:lnTo>
                  <a:lnTo>
                    <a:pt x="81" y="40"/>
                  </a:lnTo>
                  <a:lnTo>
                    <a:pt x="83" y="40"/>
                  </a:lnTo>
                  <a:lnTo>
                    <a:pt x="85" y="40"/>
                  </a:lnTo>
                  <a:lnTo>
                    <a:pt x="85" y="38"/>
                  </a:lnTo>
                  <a:lnTo>
                    <a:pt x="83" y="38"/>
                  </a:lnTo>
                  <a:lnTo>
                    <a:pt x="81" y="38"/>
                  </a:lnTo>
                  <a:lnTo>
                    <a:pt x="81" y="36"/>
                  </a:lnTo>
                  <a:lnTo>
                    <a:pt x="79" y="38"/>
                  </a:lnTo>
                  <a:lnTo>
                    <a:pt x="77" y="38"/>
                  </a:lnTo>
                  <a:lnTo>
                    <a:pt x="75" y="38"/>
                  </a:lnTo>
                  <a:lnTo>
                    <a:pt x="75" y="36"/>
                  </a:lnTo>
                  <a:lnTo>
                    <a:pt x="75" y="34"/>
                  </a:lnTo>
                  <a:lnTo>
                    <a:pt x="77" y="34"/>
                  </a:lnTo>
                  <a:lnTo>
                    <a:pt x="75" y="34"/>
                  </a:lnTo>
                  <a:lnTo>
                    <a:pt x="77" y="33"/>
                  </a:lnTo>
                  <a:lnTo>
                    <a:pt x="79" y="31"/>
                  </a:lnTo>
                  <a:lnTo>
                    <a:pt x="79" y="29"/>
                  </a:lnTo>
                  <a:lnTo>
                    <a:pt x="79" y="27"/>
                  </a:lnTo>
                  <a:lnTo>
                    <a:pt x="81" y="27"/>
                  </a:lnTo>
                  <a:lnTo>
                    <a:pt x="83" y="27"/>
                  </a:lnTo>
                  <a:lnTo>
                    <a:pt x="85" y="25"/>
                  </a:lnTo>
                  <a:lnTo>
                    <a:pt x="87" y="25"/>
                  </a:lnTo>
                  <a:lnTo>
                    <a:pt x="89" y="23"/>
                  </a:lnTo>
                  <a:lnTo>
                    <a:pt x="89" y="25"/>
                  </a:lnTo>
                  <a:lnTo>
                    <a:pt x="93" y="23"/>
                  </a:lnTo>
                  <a:lnTo>
                    <a:pt x="91" y="23"/>
                  </a:lnTo>
                  <a:lnTo>
                    <a:pt x="89" y="23"/>
                  </a:lnTo>
                  <a:lnTo>
                    <a:pt x="89" y="21"/>
                  </a:lnTo>
                  <a:lnTo>
                    <a:pt x="89" y="19"/>
                  </a:lnTo>
                  <a:lnTo>
                    <a:pt x="87" y="19"/>
                  </a:lnTo>
                  <a:lnTo>
                    <a:pt x="87" y="17"/>
                  </a:lnTo>
                  <a:lnTo>
                    <a:pt x="87" y="15"/>
                  </a:lnTo>
                  <a:lnTo>
                    <a:pt x="89" y="15"/>
                  </a:lnTo>
                  <a:lnTo>
                    <a:pt x="89" y="13"/>
                  </a:lnTo>
                  <a:lnTo>
                    <a:pt x="91" y="11"/>
                  </a:lnTo>
                  <a:lnTo>
                    <a:pt x="89" y="11"/>
                  </a:lnTo>
                  <a:lnTo>
                    <a:pt x="91" y="11"/>
                  </a:lnTo>
                  <a:lnTo>
                    <a:pt x="93" y="9"/>
                  </a:lnTo>
                  <a:lnTo>
                    <a:pt x="91" y="9"/>
                  </a:lnTo>
                  <a:lnTo>
                    <a:pt x="91" y="8"/>
                  </a:lnTo>
                  <a:lnTo>
                    <a:pt x="91" y="6"/>
                  </a:lnTo>
                  <a:lnTo>
                    <a:pt x="93" y="6"/>
                  </a:lnTo>
                  <a:lnTo>
                    <a:pt x="94" y="6"/>
                  </a:lnTo>
                  <a:lnTo>
                    <a:pt x="96" y="8"/>
                  </a:lnTo>
                  <a:lnTo>
                    <a:pt x="96" y="9"/>
                  </a:lnTo>
                  <a:lnTo>
                    <a:pt x="94" y="11"/>
                  </a:lnTo>
                  <a:lnTo>
                    <a:pt x="94" y="13"/>
                  </a:lnTo>
                  <a:lnTo>
                    <a:pt x="93" y="15"/>
                  </a:lnTo>
                  <a:lnTo>
                    <a:pt x="93" y="17"/>
                  </a:lnTo>
                  <a:lnTo>
                    <a:pt x="94" y="15"/>
                  </a:lnTo>
                  <a:lnTo>
                    <a:pt x="94" y="13"/>
                  </a:lnTo>
                  <a:lnTo>
                    <a:pt x="96" y="11"/>
                  </a:lnTo>
                  <a:lnTo>
                    <a:pt x="98" y="9"/>
                  </a:lnTo>
                  <a:lnTo>
                    <a:pt x="98" y="11"/>
                  </a:lnTo>
                  <a:lnTo>
                    <a:pt x="98" y="13"/>
                  </a:lnTo>
                  <a:lnTo>
                    <a:pt x="100" y="17"/>
                  </a:lnTo>
                  <a:lnTo>
                    <a:pt x="98" y="17"/>
                  </a:lnTo>
                  <a:lnTo>
                    <a:pt x="100" y="19"/>
                  </a:lnTo>
                  <a:lnTo>
                    <a:pt x="102" y="21"/>
                  </a:lnTo>
                  <a:lnTo>
                    <a:pt x="102" y="19"/>
                  </a:lnTo>
                  <a:lnTo>
                    <a:pt x="102" y="17"/>
                  </a:lnTo>
                  <a:lnTo>
                    <a:pt x="102" y="15"/>
                  </a:lnTo>
                  <a:lnTo>
                    <a:pt x="102" y="13"/>
                  </a:lnTo>
                  <a:lnTo>
                    <a:pt x="104" y="13"/>
                  </a:lnTo>
                  <a:lnTo>
                    <a:pt x="106" y="13"/>
                  </a:lnTo>
                  <a:lnTo>
                    <a:pt x="108" y="13"/>
                  </a:lnTo>
                  <a:lnTo>
                    <a:pt x="110" y="13"/>
                  </a:lnTo>
                  <a:lnTo>
                    <a:pt x="112" y="13"/>
                  </a:lnTo>
                  <a:lnTo>
                    <a:pt x="110" y="11"/>
                  </a:lnTo>
                  <a:lnTo>
                    <a:pt x="108" y="11"/>
                  </a:lnTo>
                  <a:lnTo>
                    <a:pt x="104" y="9"/>
                  </a:lnTo>
                  <a:lnTo>
                    <a:pt x="102" y="9"/>
                  </a:lnTo>
                  <a:lnTo>
                    <a:pt x="102" y="8"/>
                  </a:lnTo>
                  <a:lnTo>
                    <a:pt x="100" y="8"/>
                  </a:lnTo>
                  <a:lnTo>
                    <a:pt x="98" y="6"/>
                  </a:lnTo>
                  <a:lnTo>
                    <a:pt x="98" y="4"/>
                  </a:lnTo>
                  <a:lnTo>
                    <a:pt x="98" y="2"/>
                  </a:lnTo>
                  <a:lnTo>
                    <a:pt x="102" y="2"/>
                  </a:lnTo>
                  <a:lnTo>
                    <a:pt x="104" y="0"/>
                  </a:lnTo>
                  <a:lnTo>
                    <a:pt x="106" y="0"/>
                  </a:lnTo>
                  <a:lnTo>
                    <a:pt x="108" y="2"/>
                  </a:lnTo>
                  <a:lnTo>
                    <a:pt x="110" y="6"/>
                  </a:lnTo>
                  <a:lnTo>
                    <a:pt x="110" y="8"/>
                  </a:lnTo>
                  <a:lnTo>
                    <a:pt x="112" y="9"/>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27" name="Freeform 215"/>
            <p:cNvSpPr>
              <a:spLocks/>
            </p:cNvSpPr>
            <p:nvPr/>
          </p:nvSpPr>
          <p:spPr bwMode="auto">
            <a:xfrm>
              <a:off x="2431" y="1443"/>
              <a:ext cx="206" cy="278"/>
            </a:xfrm>
            <a:custGeom>
              <a:avLst/>
              <a:gdLst>
                <a:gd name="T0" fmla="*/ 13 w 206"/>
                <a:gd name="T1" fmla="*/ 267 h 278"/>
                <a:gd name="T2" fmla="*/ 21 w 206"/>
                <a:gd name="T3" fmla="*/ 271 h 278"/>
                <a:gd name="T4" fmla="*/ 25 w 206"/>
                <a:gd name="T5" fmla="*/ 265 h 278"/>
                <a:gd name="T6" fmla="*/ 27 w 206"/>
                <a:gd name="T7" fmla="*/ 257 h 278"/>
                <a:gd name="T8" fmla="*/ 38 w 206"/>
                <a:gd name="T9" fmla="*/ 255 h 278"/>
                <a:gd name="T10" fmla="*/ 44 w 206"/>
                <a:gd name="T11" fmla="*/ 271 h 278"/>
                <a:gd name="T12" fmla="*/ 52 w 206"/>
                <a:gd name="T13" fmla="*/ 265 h 278"/>
                <a:gd name="T14" fmla="*/ 67 w 206"/>
                <a:gd name="T15" fmla="*/ 261 h 278"/>
                <a:gd name="T16" fmla="*/ 75 w 206"/>
                <a:gd name="T17" fmla="*/ 250 h 278"/>
                <a:gd name="T18" fmla="*/ 79 w 206"/>
                <a:gd name="T19" fmla="*/ 240 h 278"/>
                <a:gd name="T20" fmla="*/ 83 w 206"/>
                <a:gd name="T21" fmla="*/ 226 h 278"/>
                <a:gd name="T22" fmla="*/ 63 w 206"/>
                <a:gd name="T23" fmla="*/ 242 h 278"/>
                <a:gd name="T24" fmla="*/ 58 w 206"/>
                <a:gd name="T25" fmla="*/ 257 h 278"/>
                <a:gd name="T26" fmla="*/ 44 w 206"/>
                <a:gd name="T27" fmla="*/ 250 h 278"/>
                <a:gd name="T28" fmla="*/ 35 w 206"/>
                <a:gd name="T29" fmla="*/ 244 h 278"/>
                <a:gd name="T30" fmla="*/ 52 w 206"/>
                <a:gd name="T31" fmla="*/ 230 h 278"/>
                <a:gd name="T32" fmla="*/ 48 w 206"/>
                <a:gd name="T33" fmla="*/ 225 h 278"/>
                <a:gd name="T34" fmla="*/ 56 w 206"/>
                <a:gd name="T35" fmla="*/ 215 h 278"/>
                <a:gd name="T36" fmla="*/ 63 w 206"/>
                <a:gd name="T37" fmla="*/ 203 h 278"/>
                <a:gd name="T38" fmla="*/ 85 w 206"/>
                <a:gd name="T39" fmla="*/ 203 h 278"/>
                <a:gd name="T40" fmla="*/ 104 w 206"/>
                <a:gd name="T41" fmla="*/ 200 h 278"/>
                <a:gd name="T42" fmla="*/ 85 w 206"/>
                <a:gd name="T43" fmla="*/ 188 h 278"/>
                <a:gd name="T44" fmla="*/ 87 w 206"/>
                <a:gd name="T45" fmla="*/ 184 h 278"/>
                <a:gd name="T46" fmla="*/ 92 w 206"/>
                <a:gd name="T47" fmla="*/ 171 h 278"/>
                <a:gd name="T48" fmla="*/ 108 w 206"/>
                <a:gd name="T49" fmla="*/ 163 h 278"/>
                <a:gd name="T50" fmla="*/ 115 w 206"/>
                <a:gd name="T51" fmla="*/ 165 h 278"/>
                <a:gd name="T52" fmla="*/ 115 w 206"/>
                <a:gd name="T53" fmla="*/ 159 h 278"/>
                <a:gd name="T54" fmla="*/ 115 w 206"/>
                <a:gd name="T55" fmla="*/ 150 h 278"/>
                <a:gd name="T56" fmla="*/ 108 w 206"/>
                <a:gd name="T57" fmla="*/ 153 h 278"/>
                <a:gd name="T58" fmla="*/ 111 w 206"/>
                <a:gd name="T59" fmla="*/ 142 h 278"/>
                <a:gd name="T60" fmla="*/ 119 w 206"/>
                <a:gd name="T61" fmla="*/ 136 h 278"/>
                <a:gd name="T62" fmla="*/ 117 w 206"/>
                <a:gd name="T63" fmla="*/ 127 h 278"/>
                <a:gd name="T64" fmla="*/ 119 w 206"/>
                <a:gd name="T65" fmla="*/ 127 h 278"/>
                <a:gd name="T66" fmla="*/ 131 w 206"/>
                <a:gd name="T67" fmla="*/ 115 h 278"/>
                <a:gd name="T68" fmla="*/ 129 w 206"/>
                <a:gd name="T69" fmla="*/ 113 h 278"/>
                <a:gd name="T70" fmla="*/ 117 w 206"/>
                <a:gd name="T71" fmla="*/ 121 h 278"/>
                <a:gd name="T72" fmla="*/ 133 w 206"/>
                <a:gd name="T73" fmla="*/ 102 h 278"/>
                <a:gd name="T74" fmla="*/ 152 w 206"/>
                <a:gd name="T75" fmla="*/ 102 h 278"/>
                <a:gd name="T76" fmla="*/ 156 w 206"/>
                <a:gd name="T77" fmla="*/ 94 h 278"/>
                <a:gd name="T78" fmla="*/ 131 w 206"/>
                <a:gd name="T79" fmla="*/ 100 h 278"/>
                <a:gd name="T80" fmla="*/ 133 w 206"/>
                <a:gd name="T81" fmla="*/ 92 h 278"/>
                <a:gd name="T82" fmla="*/ 136 w 206"/>
                <a:gd name="T83" fmla="*/ 82 h 278"/>
                <a:gd name="T84" fmla="*/ 146 w 206"/>
                <a:gd name="T85" fmla="*/ 78 h 278"/>
                <a:gd name="T86" fmla="*/ 136 w 206"/>
                <a:gd name="T87" fmla="*/ 78 h 278"/>
                <a:gd name="T88" fmla="*/ 138 w 206"/>
                <a:gd name="T89" fmla="*/ 69 h 278"/>
                <a:gd name="T90" fmla="*/ 144 w 206"/>
                <a:gd name="T91" fmla="*/ 67 h 278"/>
                <a:gd name="T92" fmla="*/ 144 w 206"/>
                <a:gd name="T93" fmla="*/ 57 h 278"/>
                <a:gd name="T94" fmla="*/ 156 w 206"/>
                <a:gd name="T95" fmla="*/ 54 h 278"/>
                <a:gd name="T96" fmla="*/ 163 w 206"/>
                <a:gd name="T97" fmla="*/ 52 h 278"/>
                <a:gd name="T98" fmla="*/ 171 w 206"/>
                <a:gd name="T99" fmla="*/ 34 h 278"/>
                <a:gd name="T100" fmla="*/ 177 w 206"/>
                <a:gd name="T101" fmla="*/ 25 h 278"/>
                <a:gd name="T102" fmla="*/ 175 w 206"/>
                <a:gd name="T103" fmla="*/ 25 h 278"/>
                <a:gd name="T104" fmla="*/ 185 w 206"/>
                <a:gd name="T105" fmla="*/ 19 h 278"/>
                <a:gd name="T106" fmla="*/ 196 w 206"/>
                <a:gd name="T107" fmla="*/ 25 h 278"/>
                <a:gd name="T108" fmla="*/ 198 w 206"/>
                <a:gd name="T109" fmla="*/ 19 h 278"/>
                <a:gd name="T110" fmla="*/ 194 w 206"/>
                <a:gd name="T111" fmla="*/ 17 h 278"/>
                <a:gd name="T112" fmla="*/ 190 w 206"/>
                <a:gd name="T113" fmla="*/ 13 h 278"/>
                <a:gd name="T114" fmla="*/ 194 w 206"/>
                <a:gd name="T115" fmla="*/ 4 h 278"/>
                <a:gd name="T116" fmla="*/ 196 w 206"/>
                <a:gd name="T117" fmla="*/ 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 h="278">
                  <a:moveTo>
                    <a:pt x="0" y="273"/>
                  </a:moveTo>
                  <a:lnTo>
                    <a:pt x="2" y="274"/>
                  </a:lnTo>
                  <a:lnTo>
                    <a:pt x="4" y="278"/>
                  </a:lnTo>
                  <a:lnTo>
                    <a:pt x="2" y="274"/>
                  </a:lnTo>
                  <a:lnTo>
                    <a:pt x="2" y="273"/>
                  </a:lnTo>
                  <a:lnTo>
                    <a:pt x="10" y="269"/>
                  </a:lnTo>
                  <a:lnTo>
                    <a:pt x="8" y="265"/>
                  </a:lnTo>
                  <a:lnTo>
                    <a:pt x="10" y="265"/>
                  </a:lnTo>
                  <a:lnTo>
                    <a:pt x="12" y="265"/>
                  </a:lnTo>
                  <a:lnTo>
                    <a:pt x="13" y="267"/>
                  </a:lnTo>
                  <a:lnTo>
                    <a:pt x="15" y="265"/>
                  </a:lnTo>
                  <a:lnTo>
                    <a:pt x="17" y="265"/>
                  </a:lnTo>
                  <a:lnTo>
                    <a:pt x="15" y="263"/>
                  </a:lnTo>
                  <a:lnTo>
                    <a:pt x="17" y="263"/>
                  </a:lnTo>
                  <a:lnTo>
                    <a:pt x="21" y="269"/>
                  </a:lnTo>
                  <a:lnTo>
                    <a:pt x="17" y="273"/>
                  </a:lnTo>
                  <a:lnTo>
                    <a:pt x="15" y="274"/>
                  </a:lnTo>
                  <a:lnTo>
                    <a:pt x="17" y="276"/>
                  </a:lnTo>
                  <a:lnTo>
                    <a:pt x="19" y="274"/>
                  </a:lnTo>
                  <a:lnTo>
                    <a:pt x="21" y="271"/>
                  </a:lnTo>
                  <a:lnTo>
                    <a:pt x="23" y="271"/>
                  </a:lnTo>
                  <a:lnTo>
                    <a:pt x="27" y="269"/>
                  </a:lnTo>
                  <a:lnTo>
                    <a:pt x="31" y="269"/>
                  </a:lnTo>
                  <a:lnTo>
                    <a:pt x="31" y="267"/>
                  </a:lnTo>
                  <a:lnTo>
                    <a:pt x="29" y="269"/>
                  </a:lnTo>
                  <a:lnTo>
                    <a:pt x="25" y="269"/>
                  </a:lnTo>
                  <a:lnTo>
                    <a:pt x="23" y="269"/>
                  </a:lnTo>
                  <a:lnTo>
                    <a:pt x="21" y="267"/>
                  </a:lnTo>
                  <a:lnTo>
                    <a:pt x="21" y="265"/>
                  </a:lnTo>
                  <a:lnTo>
                    <a:pt x="25" y="265"/>
                  </a:lnTo>
                  <a:lnTo>
                    <a:pt x="27" y="263"/>
                  </a:lnTo>
                  <a:lnTo>
                    <a:pt x="31" y="263"/>
                  </a:lnTo>
                  <a:lnTo>
                    <a:pt x="31" y="261"/>
                  </a:lnTo>
                  <a:lnTo>
                    <a:pt x="27" y="263"/>
                  </a:lnTo>
                  <a:lnTo>
                    <a:pt x="25" y="261"/>
                  </a:lnTo>
                  <a:lnTo>
                    <a:pt x="25" y="263"/>
                  </a:lnTo>
                  <a:lnTo>
                    <a:pt x="23" y="263"/>
                  </a:lnTo>
                  <a:lnTo>
                    <a:pt x="21" y="261"/>
                  </a:lnTo>
                  <a:lnTo>
                    <a:pt x="23" y="259"/>
                  </a:lnTo>
                  <a:lnTo>
                    <a:pt x="27" y="257"/>
                  </a:lnTo>
                  <a:lnTo>
                    <a:pt x="29" y="257"/>
                  </a:lnTo>
                  <a:lnTo>
                    <a:pt x="29" y="261"/>
                  </a:lnTo>
                  <a:lnTo>
                    <a:pt x="29" y="259"/>
                  </a:lnTo>
                  <a:lnTo>
                    <a:pt x="31" y="257"/>
                  </a:lnTo>
                  <a:lnTo>
                    <a:pt x="33" y="257"/>
                  </a:lnTo>
                  <a:lnTo>
                    <a:pt x="33" y="259"/>
                  </a:lnTo>
                  <a:lnTo>
                    <a:pt x="33" y="255"/>
                  </a:lnTo>
                  <a:lnTo>
                    <a:pt x="31" y="255"/>
                  </a:lnTo>
                  <a:lnTo>
                    <a:pt x="38" y="251"/>
                  </a:lnTo>
                  <a:lnTo>
                    <a:pt x="38" y="255"/>
                  </a:lnTo>
                  <a:lnTo>
                    <a:pt x="38" y="257"/>
                  </a:lnTo>
                  <a:lnTo>
                    <a:pt x="40" y="259"/>
                  </a:lnTo>
                  <a:lnTo>
                    <a:pt x="42" y="261"/>
                  </a:lnTo>
                  <a:lnTo>
                    <a:pt x="42" y="263"/>
                  </a:lnTo>
                  <a:lnTo>
                    <a:pt x="44" y="265"/>
                  </a:lnTo>
                  <a:lnTo>
                    <a:pt x="44" y="269"/>
                  </a:lnTo>
                  <a:lnTo>
                    <a:pt x="42" y="271"/>
                  </a:lnTo>
                  <a:lnTo>
                    <a:pt x="40" y="271"/>
                  </a:lnTo>
                  <a:lnTo>
                    <a:pt x="40" y="273"/>
                  </a:lnTo>
                  <a:lnTo>
                    <a:pt x="44" y="271"/>
                  </a:lnTo>
                  <a:lnTo>
                    <a:pt x="46" y="271"/>
                  </a:lnTo>
                  <a:lnTo>
                    <a:pt x="48" y="273"/>
                  </a:lnTo>
                  <a:lnTo>
                    <a:pt x="50" y="273"/>
                  </a:lnTo>
                  <a:lnTo>
                    <a:pt x="52" y="273"/>
                  </a:lnTo>
                  <a:lnTo>
                    <a:pt x="52" y="271"/>
                  </a:lnTo>
                  <a:lnTo>
                    <a:pt x="50" y="271"/>
                  </a:lnTo>
                  <a:lnTo>
                    <a:pt x="46" y="269"/>
                  </a:lnTo>
                  <a:lnTo>
                    <a:pt x="48" y="267"/>
                  </a:lnTo>
                  <a:lnTo>
                    <a:pt x="50" y="265"/>
                  </a:lnTo>
                  <a:lnTo>
                    <a:pt x="52" y="265"/>
                  </a:lnTo>
                  <a:lnTo>
                    <a:pt x="56" y="265"/>
                  </a:lnTo>
                  <a:lnTo>
                    <a:pt x="58" y="265"/>
                  </a:lnTo>
                  <a:lnTo>
                    <a:pt x="60" y="265"/>
                  </a:lnTo>
                  <a:lnTo>
                    <a:pt x="63" y="265"/>
                  </a:lnTo>
                  <a:lnTo>
                    <a:pt x="67" y="267"/>
                  </a:lnTo>
                  <a:lnTo>
                    <a:pt x="69" y="265"/>
                  </a:lnTo>
                  <a:lnTo>
                    <a:pt x="71" y="265"/>
                  </a:lnTo>
                  <a:lnTo>
                    <a:pt x="71" y="263"/>
                  </a:lnTo>
                  <a:lnTo>
                    <a:pt x="69" y="263"/>
                  </a:lnTo>
                  <a:lnTo>
                    <a:pt x="67" y="261"/>
                  </a:lnTo>
                  <a:lnTo>
                    <a:pt x="69" y="259"/>
                  </a:lnTo>
                  <a:lnTo>
                    <a:pt x="71" y="257"/>
                  </a:lnTo>
                  <a:lnTo>
                    <a:pt x="73" y="255"/>
                  </a:lnTo>
                  <a:lnTo>
                    <a:pt x="71" y="253"/>
                  </a:lnTo>
                  <a:lnTo>
                    <a:pt x="65" y="259"/>
                  </a:lnTo>
                  <a:lnTo>
                    <a:pt x="65" y="255"/>
                  </a:lnTo>
                  <a:lnTo>
                    <a:pt x="67" y="253"/>
                  </a:lnTo>
                  <a:lnTo>
                    <a:pt x="71" y="251"/>
                  </a:lnTo>
                  <a:lnTo>
                    <a:pt x="71" y="250"/>
                  </a:lnTo>
                  <a:lnTo>
                    <a:pt x="75" y="250"/>
                  </a:lnTo>
                  <a:lnTo>
                    <a:pt x="79" y="248"/>
                  </a:lnTo>
                  <a:lnTo>
                    <a:pt x="81" y="246"/>
                  </a:lnTo>
                  <a:lnTo>
                    <a:pt x="83" y="246"/>
                  </a:lnTo>
                  <a:lnTo>
                    <a:pt x="87" y="246"/>
                  </a:lnTo>
                  <a:lnTo>
                    <a:pt x="87" y="244"/>
                  </a:lnTo>
                  <a:lnTo>
                    <a:pt x="87" y="242"/>
                  </a:lnTo>
                  <a:lnTo>
                    <a:pt x="85" y="242"/>
                  </a:lnTo>
                  <a:lnTo>
                    <a:pt x="83" y="242"/>
                  </a:lnTo>
                  <a:lnTo>
                    <a:pt x="83" y="240"/>
                  </a:lnTo>
                  <a:lnTo>
                    <a:pt x="79" y="240"/>
                  </a:lnTo>
                  <a:lnTo>
                    <a:pt x="77" y="240"/>
                  </a:lnTo>
                  <a:lnTo>
                    <a:pt x="77" y="238"/>
                  </a:lnTo>
                  <a:lnTo>
                    <a:pt x="81" y="236"/>
                  </a:lnTo>
                  <a:lnTo>
                    <a:pt x="83" y="232"/>
                  </a:lnTo>
                  <a:lnTo>
                    <a:pt x="85" y="232"/>
                  </a:lnTo>
                  <a:lnTo>
                    <a:pt x="88" y="232"/>
                  </a:lnTo>
                  <a:lnTo>
                    <a:pt x="88" y="230"/>
                  </a:lnTo>
                  <a:lnTo>
                    <a:pt x="87" y="230"/>
                  </a:lnTo>
                  <a:lnTo>
                    <a:pt x="83" y="228"/>
                  </a:lnTo>
                  <a:lnTo>
                    <a:pt x="83" y="226"/>
                  </a:lnTo>
                  <a:lnTo>
                    <a:pt x="85" y="226"/>
                  </a:lnTo>
                  <a:lnTo>
                    <a:pt x="85" y="225"/>
                  </a:lnTo>
                  <a:lnTo>
                    <a:pt x="81" y="226"/>
                  </a:lnTo>
                  <a:lnTo>
                    <a:pt x="81" y="230"/>
                  </a:lnTo>
                  <a:lnTo>
                    <a:pt x="79" y="230"/>
                  </a:lnTo>
                  <a:lnTo>
                    <a:pt x="75" y="234"/>
                  </a:lnTo>
                  <a:lnTo>
                    <a:pt x="71" y="238"/>
                  </a:lnTo>
                  <a:lnTo>
                    <a:pt x="63" y="240"/>
                  </a:lnTo>
                  <a:lnTo>
                    <a:pt x="63" y="244"/>
                  </a:lnTo>
                  <a:lnTo>
                    <a:pt x="63" y="242"/>
                  </a:lnTo>
                  <a:lnTo>
                    <a:pt x="65" y="240"/>
                  </a:lnTo>
                  <a:lnTo>
                    <a:pt x="69" y="240"/>
                  </a:lnTo>
                  <a:lnTo>
                    <a:pt x="73" y="238"/>
                  </a:lnTo>
                  <a:lnTo>
                    <a:pt x="75" y="238"/>
                  </a:lnTo>
                  <a:lnTo>
                    <a:pt x="77" y="242"/>
                  </a:lnTo>
                  <a:lnTo>
                    <a:pt x="73" y="244"/>
                  </a:lnTo>
                  <a:lnTo>
                    <a:pt x="73" y="248"/>
                  </a:lnTo>
                  <a:lnTo>
                    <a:pt x="67" y="250"/>
                  </a:lnTo>
                  <a:lnTo>
                    <a:pt x="63" y="251"/>
                  </a:lnTo>
                  <a:lnTo>
                    <a:pt x="58" y="257"/>
                  </a:lnTo>
                  <a:lnTo>
                    <a:pt x="52" y="259"/>
                  </a:lnTo>
                  <a:lnTo>
                    <a:pt x="48" y="261"/>
                  </a:lnTo>
                  <a:lnTo>
                    <a:pt x="44" y="261"/>
                  </a:lnTo>
                  <a:lnTo>
                    <a:pt x="42" y="259"/>
                  </a:lnTo>
                  <a:lnTo>
                    <a:pt x="42" y="257"/>
                  </a:lnTo>
                  <a:lnTo>
                    <a:pt x="42" y="255"/>
                  </a:lnTo>
                  <a:lnTo>
                    <a:pt x="40" y="255"/>
                  </a:lnTo>
                  <a:lnTo>
                    <a:pt x="40" y="251"/>
                  </a:lnTo>
                  <a:lnTo>
                    <a:pt x="40" y="250"/>
                  </a:lnTo>
                  <a:lnTo>
                    <a:pt x="44" y="250"/>
                  </a:lnTo>
                  <a:lnTo>
                    <a:pt x="46" y="248"/>
                  </a:lnTo>
                  <a:lnTo>
                    <a:pt x="50" y="244"/>
                  </a:lnTo>
                  <a:lnTo>
                    <a:pt x="44" y="246"/>
                  </a:lnTo>
                  <a:lnTo>
                    <a:pt x="40" y="248"/>
                  </a:lnTo>
                  <a:lnTo>
                    <a:pt x="37" y="248"/>
                  </a:lnTo>
                  <a:lnTo>
                    <a:pt x="33" y="251"/>
                  </a:lnTo>
                  <a:lnTo>
                    <a:pt x="33" y="248"/>
                  </a:lnTo>
                  <a:lnTo>
                    <a:pt x="38" y="246"/>
                  </a:lnTo>
                  <a:lnTo>
                    <a:pt x="33" y="246"/>
                  </a:lnTo>
                  <a:lnTo>
                    <a:pt x="35" y="244"/>
                  </a:lnTo>
                  <a:lnTo>
                    <a:pt x="37" y="242"/>
                  </a:lnTo>
                  <a:lnTo>
                    <a:pt x="42" y="240"/>
                  </a:lnTo>
                  <a:lnTo>
                    <a:pt x="42" y="238"/>
                  </a:lnTo>
                  <a:lnTo>
                    <a:pt x="40" y="238"/>
                  </a:lnTo>
                  <a:lnTo>
                    <a:pt x="44" y="238"/>
                  </a:lnTo>
                  <a:lnTo>
                    <a:pt x="50" y="236"/>
                  </a:lnTo>
                  <a:lnTo>
                    <a:pt x="52" y="236"/>
                  </a:lnTo>
                  <a:lnTo>
                    <a:pt x="52" y="234"/>
                  </a:lnTo>
                  <a:lnTo>
                    <a:pt x="48" y="234"/>
                  </a:lnTo>
                  <a:lnTo>
                    <a:pt x="52" y="230"/>
                  </a:lnTo>
                  <a:lnTo>
                    <a:pt x="48" y="232"/>
                  </a:lnTo>
                  <a:lnTo>
                    <a:pt x="46" y="232"/>
                  </a:lnTo>
                  <a:lnTo>
                    <a:pt x="46" y="228"/>
                  </a:lnTo>
                  <a:lnTo>
                    <a:pt x="48" y="228"/>
                  </a:lnTo>
                  <a:lnTo>
                    <a:pt x="46" y="228"/>
                  </a:lnTo>
                  <a:lnTo>
                    <a:pt x="44" y="226"/>
                  </a:lnTo>
                  <a:lnTo>
                    <a:pt x="46" y="225"/>
                  </a:lnTo>
                  <a:lnTo>
                    <a:pt x="46" y="226"/>
                  </a:lnTo>
                  <a:lnTo>
                    <a:pt x="46" y="225"/>
                  </a:lnTo>
                  <a:lnTo>
                    <a:pt x="48" y="225"/>
                  </a:lnTo>
                  <a:lnTo>
                    <a:pt x="50" y="226"/>
                  </a:lnTo>
                  <a:lnTo>
                    <a:pt x="54" y="225"/>
                  </a:lnTo>
                  <a:lnTo>
                    <a:pt x="52" y="225"/>
                  </a:lnTo>
                  <a:lnTo>
                    <a:pt x="50" y="223"/>
                  </a:lnTo>
                  <a:lnTo>
                    <a:pt x="52" y="221"/>
                  </a:lnTo>
                  <a:lnTo>
                    <a:pt x="52" y="219"/>
                  </a:lnTo>
                  <a:lnTo>
                    <a:pt x="56" y="219"/>
                  </a:lnTo>
                  <a:lnTo>
                    <a:pt x="58" y="219"/>
                  </a:lnTo>
                  <a:lnTo>
                    <a:pt x="54" y="217"/>
                  </a:lnTo>
                  <a:lnTo>
                    <a:pt x="56" y="215"/>
                  </a:lnTo>
                  <a:lnTo>
                    <a:pt x="58" y="215"/>
                  </a:lnTo>
                  <a:lnTo>
                    <a:pt x="56" y="213"/>
                  </a:lnTo>
                  <a:lnTo>
                    <a:pt x="58" y="213"/>
                  </a:lnTo>
                  <a:lnTo>
                    <a:pt x="62" y="213"/>
                  </a:lnTo>
                  <a:lnTo>
                    <a:pt x="62" y="211"/>
                  </a:lnTo>
                  <a:lnTo>
                    <a:pt x="60" y="211"/>
                  </a:lnTo>
                  <a:lnTo>
                    <a:pt x="60" y="209"/>
                  </a:lnTo>
                  <a:lnTo>
                    <a:pt x="62" y="207"/>
                  </a:lnTo>
                  <a:lnTo>
                    <a:pt x="63" y="205"/>
                  </a:lnTo>
                  <a:lnTo>
                    <a:pt x="63" y="203"/>
                  </a:lnTo>
                  <a:lnTo>
                    <a:pt x="67" y="201"/>
                  </a:lnTo>
                  <a:lnTo>
                    <a:pt x="69" y="200"/>
                  </a:lnTo>
                  <a:lnTo>
                    <a:pt x="73" y="200"/>
                  </a:lnTo>
                  <a:lnTo>
                    <a:pt x="75" y="198"/>
                  </a:lnTo>
                  <a:lnTo>
                    <a:pt x="73" y="196"/>
                  </a:lnTo>
                  <a:lnTo>
                    <a:pt x="75" y="194"/>
                  </a:lnTo>
                  <a:lnTo>
                    <a:pt x="77" y="196"/>
                  </a:lnTo>
                  <a:lnTo>
                    <a:pt x="77" y="200"/>
                  </a:lnTo>
                  <a:lnTo>
                    <a:pt x="81" y="203"/>
                  </a:lnTo>
                  <a:lnTo>
                    <a:pt x="85" y="203"/>
                  </a:lnTo>
                  <a:lnTo>
                    <a:pt x="83" y="207"/>
                  </a:lnTo>
                  <a:lnTo>
                    <a:pt x="81" y="209"/>
                  </a:lnTo>
                  <a:lnTo>
                    <a:pt x="83" y="211"/>
                  </a:lnTo>
                  <a:lnTo>
                    <a:pt x="87" y="203"/>
                  </a:lnTo>
                  <a:lnTo>
                    <a:pt x="88" y="203"/>
                  </a:lnTo>
                  <a:lnTo>
                    <a:pt x="90" y="201"/>
                  </a:lnTo>
                  <a:lnTo>
                    <a:pt x="96" y="203"/>
                  </a:lnTo>
                  <a:lnTo>
                    <a:pt x="100" y="203"/>
                  </a:lnTo>
                  <a:lnTo>
                    <a:pt x="102" y="201"/>
                  </a:lnTo>
                  <a:lnTo>
                    <a:pt x="104" y="200"/>
                  </a:lnTo>
                  <a:lnTo>
                    <a:pt x="100" y="201"/>
                  </a:lnTo>
                  <a:lnTo>
                    <a:pt x="100" y="203"/>
                  </a:lnTo>
                  <a:lnTo>
                    <a:pt x="92" y="200"/>
                  </a:lnTo>
                  <a:lnTo>
                    <a:pt x="87" y="203"/>
                  </a:lnTo>
                  <a:lnTo>
                    <a:pt x="83" y="200"/>
                  </a:lnTo>
                  <a:lnTo>
                    <a:pt x="79" y="196"/>
                  </a:lnTo>
                  <a:lnTo>
                    <a:pt x="77" y="192"/>
                  </a:lnTo>
                  <a:lnTo>
                    <a:pt x="77" y="190"/>
                  </a:lnTo>
                  <a:lnTo>
                    <a:pt x="81" y="188"/>
                  </a:lnTo>
                  <a:lnTo>
                    <a:pt x="85" y="188"/>
                  </a:lnTo>
                  <a:lnTo>
                    <a:pt x="87" y="190"/>
                  </a:lnTo>
                  <a:lnTo>
                    <a:pt x="87" y="188"/>
                  </a:lnTo>
                  <a:lnTo>
                    <a:pt x="90" y="184"/>
                  </a:lnTo>
                  <a:lnTo>
                    <a:pt x="96" y="182"/>
                  </a:lnTo>
                  <a:lnTo>
                    <a:pt x="98" y="182"/>
                  </a:lnTo>
                  <a:lnTo>
                    <a:pt x="98" y="180"/>
                  </a:lnTo>
                  <a:lnTo>
                    <a:pt x="94" y="182"/>
                  </a:lnTo>
                  <a:lnTo>
                    <a:pt x="90" y="180"/>
                  </a:lnTo>
                  <a:lnTo>
                    <a:pt x="88" y="180"/>
                  </a:lnTo>
                  <a:lnTo>
                    <a:pt x="87" y="184"/>
                  </a:lnTo>
                  <a:lnTo>
                    <a:pt x="81" y="186"/>
                  </a:lnTo>
                  <a:lnTo>
                    <a:pt x="81" y="184"/>
                  </a:lnTo>
                  <a:lnTo>
                    <a:pt x="87" y="180"/>
                  </a:lnTo>
                  <a:lnTo>
                    <a:pt x="83" y="180"/>
                  </a:lnTo>
                  <a:lnTo>
                    <a:pt x="83" y="178"/>
                  </a:lnTo>
                  <a:lnTo>
                    <a:pt x="85" y="175"/>
                  </a:lnTo>
                  <a:lnTo>
                    <a:pt x="88" y="173"/>
                  </a:lnTo>
                  <a:lnTo>
                    <a:pt x="92" y="171"/>
                  </a:lnTo>
                  <a:lnTo>
                    <a:pt x="96" y="171"/>
                  </a:lnTo>
                  <a:lnTo>
                    <a:pt x="92" y="171"/>
                  </a:lnTo>
                  <a:lnTo>
                    <a:pt x="94" y="169"/>
                  </a:lnTo>
                  <a:lnTo>
                    <a:pt x="96" y="169"/>
                  </a:lnTo>
                  <a:lnTo>
                    <a:pt x="98" y="169"/>
                  </a:lnTo>
                  <a:lnTo>
                    <a:pt x="96" y="167"/>
                  </a:lnTo>
                  <a:lnTo>
                    <a:pt x="100" y="163"/>
                  </a:lnTo>
                  <a:lnTo>
                    <a:pt x="102" y="161"/>
                  </a:lnTo>
                  <a:lnTo>
                    <a:pt x="104" y="161"/>
                  </a:lnTo>
                  <a:lnTo>
                    <a:pt x="104" y="165"/>
                  </a:lnTo>
                  <a:lnTo>
                    <a:pt x="106" y="163"/>
                  </a:lnTo>
                  <a:lnTo>
                    <a:pt x="108" y="163"/>
                  </a:lnTo>
                  <a:lnTo>
                    <a:pt x="108" y="161"/>
                  </a:lnTo>
                  <a:lnTo>
                    <a:pt x="108" y="159"/>
                  </a:lnTo>
                  <a:lnTo>
                    <a:pt x="110" y="157"/>
                  </a:lnTo>
                  <a:lnTo>
                    <a:pt x="111" y="161"/>
                  </a:lnTo>
                  <a:lnTo>
                    <a:pt x="111" y="163"/>
                  </a:lnTo>
                  <a:lnTo>
                    <a:pt x="113" y="163"/>
                  </a:lnTo>
                  <a:lnTo>
                    <a:pt x="113" y="165"/>
                  </a:lnTo>
                  <a:lnTo>
                    <a:pt x="110" y="167"/>
                  </a:lnTo>
                  <a:lnTo>
                    <a:pt x="111" y="167"/>
                  </a:lnTo>
                  <a:lnTo>
                    <a:pt x="115" y="165"/>
                  </a:lnTo>
                  <a:lnTo>
                    <a:pt x="121" y="161"/>
                  </a:lnTo>
                  <a:lnTo>
                    <a:pt x="127" y="157"/>
                  </a:lnTo>
                  <a:lnTo>
                    <a:pt x="127" y="153"/>
                  </a:lnTo>
                  <a:lnTo>
                    <a:pt x="131" y="152"/>
                  </a:lnTo>
                  <a:lnTo>
                    <a:pt x="129" y="152"/>
                  </a:lnTo>
                  <a:lnTo>
                    <a:pt x="125" y="155"/>
                  </a:lnTo>
                  <a:lnTo>
                    <a:pt x="121" y="159"/>
                  </a:lnTo>
                  <a:lnTo>
                    <a:pt x="117" y="163"/>
                  </a:lnTo>
                  <a:lnTo>
                    <a:pt x="113" y="161"/>
                  </a:lnTo>
                  <a:lnTo>
                    <a:pt x="115" y="159"/>
                  </a:lnTo>
                  <a:lnTo>
                    <a:pt x="117" y="159"/>
                  </a:lnTo>
                  <a:lnTo>
                    <a:pt x="115" y="157"/>
                  </a:lnTo>
                  <a:lnTo>
                    <a:pt x="113" y="157"/>
                  </a:lnTo>
                  <a:lnTo>
                    <a:pt x="115" y="155"/>
                  </a:lnTo>
                  <a:lnTo>
                    <a:pt x="117" y="155"/>
                  </a:lnTo>
                  <a:lnTo>
                    <a:pt x="115" y="155"/>
                  </a:lnTo>
                  <a:lnTo>
                    <a:pt x="111" y="157"/>
                  </a:lnTo>
                  <a:lnTo>
                    <a:pt x="113" y="153"/>
                  </a:lnTo>
                  <a:lnTo>
                    <a:pt x="115" y="152"/>
                  </a:lnTo>
                  <a:lnTo>
                    <a:pt x="115" y="150"/>
                  </a:lnTo>
                  <a:lnTo>
                    <a:pt x="119" y="150"/>
                  </a:lnTo>
                  <a:lnTo>
                    <a:pt x="117" y="148"/>
                  </a:lnTo>
                  <a:lnTo>
                    <a:pt x="115" y="150"/>
                  </a:lnTo>
                  <a:lnTo>
                    <a:pt x="113" y="152"/>
                  </a:lnTo>
                  <a:lnTo>
                    <a:pt x="110" y="152"/>
                  </a:lnTo>
                  <a:lnTo>
                    <a:pt x="110" y="153"/>
                  </a:lnTo>
                  <a:lnTo>
                    <a:pt x="111" y="153"/>
                  </a:lnTo>
                  <a:lnTo>
                    <a:pt x="110" y="155"/>
                  </a:lnTo>
                  <a:lnTo>
                    <a:pt x="106" y="157"/>
                  </a:lnTo>
                  <a:lnTo>
                    <a:pt x="108" y="153"/>
                  </a:lnTo>
                  <a:lnTo>
                    <a:pt x="108" y="152"/>
                  </a:lnTo>
                  <a:lnTo>
                    <a:pt x="106" y="152"/>
                  </a:lnTo>
                  <a:lnTo>
                    <a:pt x="108" y="148"/>
                  </a:lnTo>
                  <a:lnTo>
                    <a:pt x="110" y="150"/>
                  </a:lnTo>
                  <a:lnTo>
                    <a:pt x="110" y="148"/>
                  </a:lnTo>
                  <a:lnTo>
                    <a:pt x="108" y="148"/>
                  </a:lnTo>
                  <a:lnTo>
                    <a:pt x="110" y="146"/>
                  </a:lnTo>
                  <a:lnTo>
                    <a:pt x="113" y="144"/>
                  </a:lnTo>
                  <a:lnTo>
                    <a:pt x="113" y="142"/>
                  </a:lnTo>
                  <a:lnTo>
                    <a:pt x="111" y="142"/>
                  </a:lnTo>
                  <a:lnTo>
                    <a:pt x="110" y="144"/>
                  </a:lnTo>
                  <a:lnTo>
                    <a:pt x="110" y="142"/>
                  </a:lnTo>
                  <a:lnTo>
                    <a:pt x="111" y="136"/>
                  </a:lnTo>
                  <a:lnTo>
                    <a:pt x="113" y="140"/>
                  </a:lnTo>
                  <a:lnTo>
                    <a:pt x="115" y="142"/>
                  </a:lnTo>
                  <a:lnTo>
                    <a:pt x="115" y="146"/>
                  </a:lnTo>
                  <a:lnTo>
                    <a:pt x="119" y="144"/>
                  </a:lnTo>
                  <a:lnTo>
                    <a:pt x="121" y="144"/>
                  </a:lnTo>
                  <a:lnTo>
                    <a:pt x="119" y="140"/>
                  </a:lnTo>
                  <a:lnTo>
                    <a:pt x="119" y="136"/>
                  </a:lnTo>
                  <a:lnTo>
                    <a:pt x="119" y="140"/>
                  </a:lnTo>
                  <a:lnTo>
                    <a:pt x="117" y="140"/>
                  </a:lnTo>
                  <a:lnTo>
                    <a:pt x="117" y="138"/>
                  </a:lnTo>
                  <a:lnTo>
                    <a:pt x="117" y="136"/>
                  </a:lnTo>
                  <a:lnTo>
                    <a:pt x="115" y="140"/>
                  </a:lnTo>
                  <a:lnTo>
                    <a:pt x="113" y="136"/>
                  </a:lnTo>
                  <a:lnTo>
                    <a:pt x="115" y="136"/>
                  </a:lnTo>
                  <a:lnTo>
                    <a:pt x="113" y="136"/>
                  </a:lnTo>
                  <a:lnTo>
                    <a:pt x="113" y="132"/>
                  </a:lnTo>
                  <a:lnTo>
                    <a:pt x="117" y="127"/>
                  </a:lnTo>
                  <a:lnTo>
                    <a:pt x="119" y="128"/>
                  </a:lnTo>
                  <a:lnTo>
                    <a:pt x="121" y="130"/>
                  </a:lnTo>
                  <a:lnTo>
                    <a:pt x="121" y="132"/>
                  </a:lnTo>
                  <a:lnTo>
                    <a:pt x="125" y="134"/>
                  </a:lnTo>
                  <a:lnTo>
                    <a:pt x="127" y="134"/>
                  </a:lnTo>
                  <a:lnTo>
                    <a:pt x="125" y="132"/>
                  </a:lnTo>
                  <a:lnTo>
                    <a:pt x="121" y="132"/>
                  </a:lnTo>
                  <a:lnTo>
                    <a:pt x="121" y="130"/>
                  </a:lnTo>
                  <a:lnTo>
                    <a:pt x="121" y="128"/>
                  </a:lnTo>
                  <a:lnTo>
                    <a:pt x="119" y="127"/>
                  </a:lnTo>
                  <a:lnTo>
                    <a:pt x="119" y="123"/>
                  </a:lnTo>
                  <a:lnTo>
                    <a:pt x="121" y="123"/>
                  </a:lnTo>
                  <a:lnTo>
                    <a:pt x="123" y="125"/>
                  </a:lnTo>
                  <a:lnTo>
                    <a:pt x="123" y="123"/>
                  </a:lnTo>
                  <a:lnTo>
                    <a:pt x="123" y="121"/>
                  </a:lnTo>
                  <a:lnTo>
                    <a:pt x="121" y="123"/>
                  </a:lnTo>
                  <a:lnTo>
                    <a:pt x="121" y="119"/>
                  </a:lnTo>
                  <a:lnTo>
                    <a:pt x="121" y="117"/>
                  </a:lnTo>
                  <a:lnTo>
                    <a:pt x="127" y="113"/>
                  </a:lnTo>
                  <a:lnTo>
                    <a:pt x="131" y="115"/>
                  </a:lnTo>
                  <a:lnTo>
                    <a:pt x="133" y="117"/>
                  </a:lnTo>
                  <a:lnTo>
                    <a:pt x="135" y="119"/>
                  </a:lnTo>
                  <a:lnTo>
                    <a:pt x="136" y="123"/>
                  </a:lnTo>
                  <a:lnTo>
                    <a:pt x="136" y="125"/>
                  </a:lnTo>
                  <a:lnTo>
                    <a:pt x="138" y="125"/>
                  </a:lnTo>
                  <a:lnTo>
                    <a:pt x="136" y="121"/>
                  </a:lnTo>
                  <a:lnTo>
                    <a:pt x="135" y="117"/>
                  </a:lnTo>
                  <a:lnTo>
                    <a:pt x="135" y="115"/>
                  </a:lnTo>
                  <a:lnTo>
                    <a:pt x="133" y="115"/>
                  </a:lnTo>
                  <a:lnTo>
                    <a:pt x="129" y="113"/>
                  </a:lnTo>
                  <a:lnTo>
                    <a:pt x="129" y="109"/>
                  </a:lnTo>
                  <a:lnTo>
                    <a:pt x="131" y="107"/>
                  </a:lnTo>
                  <a:lnTo>
                    <a:pt x="127" y="107"/>
                  </a:lnTo>
                  <a:lnTo>
                    <a:pt x="123" y="109"/>
                  </a:lnTo>
                  <a:lnTo>
                    <a:pt x="121" y="113"/>
                  </a:lnTo>
                  <a:lnTo>
                    <a:pt x="129" y="109"/>
                  </a:lnTo>
                  <a:lnTo>
                    <a:pt x="129" y="111"/>
                  </a:lnTo>
                  <a:lnTo>
                    <a:pt x="123" y="113"/>
                  </a:lnTo>
                  <a:lnTo>
                    <a:pt x="117" y="117"/>
                  </a:lnTo>
                  <a:lnTo>
                    <a:pt x="117" y="121"/>
                  </a:lnTo>
                  <a:lnTo>
                    <a:pt x="115" y="119"/>
                  </a:lnTo>
                  <a:lnTo>
                    <a:pt x="117" y="117"/>
                  </a:lnTo>
                  <a:lnTo>
                    <a:pt x="115" y="119"/>
                  </a:lnTo>
                  <a:lnTo>
                    <a:pt x="115" y="117"/>
                  </a:lnTo>
                  <a:lnTo>
                    <a:pt x="115" y="115"/>
                  </a:lnTo>
                  <a:lnTo>
                    <a:pt x="117" y="113"/>
                  </a:lnTo>
                  <a:lnTo>
                    <a:pt x="119" y="109"/>
                  </a:lnTo>
                  <a:lnTo>
                    <a:pt x="121" y="105"/>
                  </a:lnTo>
                  <a:lnTo>
                    <a:pt x="125" y="103"/>
                  </a:lnTo>
                  <a:lnTo>
                    <a:pt x="133" y="102"/>
                  </a:lnTo>
                  <a:lnTo>
                    <a:pt x="136" y="100"/>
                  </a:lnTo>
                  <a:lnTo>
                    <a:pt x="138" y="98"/>
                  </a:lnTo>
                  <a:lnTo>
                    <a:pt x="140" y="98"/>
                  </a:lnTo>
                  <a:lnTo>
                    <a:pt x="146" y="98"/>
                  </a:lnTo>
                  <a:lnTo>
                    <a:pt x="144" y="100"/>
                  </a:lnTo>
                  <a:lnTo>
                    <a:pt x="146" y="100"/>
                  </a:lnTo>
                  <a:lnTo>
                    <a:pt x="146" y="103"/>
                  </a:lnTo>
                  <a:lnTo>
                    <a:pt x="148" y="102"/>
                  </a:lnTo>
                  <a:lnTo>
                    <a:pt x="150" y="102"/>
                  </a:lnTo>
                  <a:lnTo>
                    <a:pt x="152" y="102"/>
                  </a:lnTo>
                  <a:lnTo>
                    <a:pt x="154" y="102"/>
                  </a:lnTo>
                  <a:lnTo>
                    <a:pt x="152" y="100"/>
                  </a:lnTo>
                  <a:lnTo>
                    <a:pt x="150" y="100"/>
                  </a:lnTo>
                  <a:lnTo>
                    <a:pt x="146" y="98"/>
                  </a:lnTo>
                  <a:lnTo>
                    <a:pt x="152" y="96"/>
                  </a:lnTo>
                  <a:lnTo>
                    <a:pt x="152" y="98"/>
                  </a:lnTo>
                  <a:lnTo>
                    <a:pt x="156" y="96"/>
                  </a:lnTo>
                  <a:lnTo>
                    <a:pt x="161" y="92"/>
                  </a:lnTo>
                  <a:lnTo>
                    <a:pt x="160" y="92"/>
                  </a:lnTo>
                  <a:lnTo>
                    <a:pt x="156" y="94"/>
                  </a:lnTo>
                  <a:lnTo>
                    <a:pt x="152" y="94"/>
                  </a:lnTo>
                  <a:lnTo>
                    <a:pt x="148" y="96"/>
                  </a:lnTo>
                  <a:lnTo>
                    <a:pt x="146" y="96"/>
                  </a:lnTo>
                  <a:lnTo>
                    <a:pt x="146" y="94"/>
                  </a:lnTo>
                  <a:lnTo>
                    <a:pt x="144" y="96"/>
                  </a:lnTo>
                  <a:lnTo>
                    <a:pt x="140" y="98"/>
                  </a:lnTo>
                  <a:lnTo>
                    <a:pt x="140" y="96"/>
                  </a:lnTo>
                  <a:lnTo>
                    <a:pt x="135" y="100"/>
                  </a:lnTo>
                  <a:lnTo>
                    <a:pt x="131" y="102"/>
                  </a:lnTo>
                  <a:lnTo>
                    <a:pt x="131" y="100"/>
                  </a:lnTo>
                  <a:lnTo>
                    <a:pt x="136" y="96"/>
                  </a:lnTo>
                  <a:lnTo>
                    <a:pt x="140" y="92"/>
                  </a:lnTo>
                  <a:lnTo>
                    <a:pt x="146" y="94"/>
                  </a:lnTo>
                  <a:lnTo>
                    <a:pt x="142" y="92"/>
                  </a:lnTo>
                  <a:lnTo>
                    <a:pt x="144" y="90"/>
                  </a:lnTo>
                  <a:lnTo>
                    <a:pt x="138" y="92"/>
                  </a:lnTo>
                  <a:lnTo>
                    <a:pt x="135" y="92"/>
                  </a:lnTo>
                  <a:lnTo>
                    <a:pt x="135" y="94"/>
                  </a:lnTo>
                  <a:lnTo>
                    <a:pt x="135" y="92"/>
                  </a:lnTo>
                  <a:lnTo>
                    <a:pt x="133" y="92"/>
                  </a:lnTo>
                  <a:lnTo>
                    <a:pt x="131" y="90"/>
                  </a:lnTo>
                  <a:lnTo>
                    <a:pt x="135" y="88"/>
                  </a:lnTo>
                  <a:lnTo>
                    <a:pt x="136" y="86"/>
                  </a:lnTo>
                  <a:lnTo>
                    <a:pt x="135" y="84"/>
                  </a:lnTo>
                  <a:lnTo>
                    <a:pt x="135" y="82"/>
                  </a:lnTo>
                  <a:lnTo>
                    <a:pt x="131" y="82"/>
                  </a:lnTo>
                  <a:lnTo>
                    <a:pt x="131" y="80"/>
                  </a:lnTo>
                  <a:lnTo>
                    <a:pt x="135" y="78"/>
                  </a:lnTo>
                  <a:lnTo>
                    <a:pt x="136" y="78"/>
                  </a:lnTo>
                  <a:lnTo>
                    <a:pt x="136" y="82"/>
                  </a:lnTo>
                  <a:lnTo>
                    <a:pt x="138" y="84"/>
                  </a:lnTo>
                  <a:lnTo>
                    <a:pt x="142" y="82"/>
                  </a:lnTo>
                  <a:lnTo>
                    <a:pt x="138" y="82"/>
                  </a:lnTo>
                  <a:lnTo>
                    <a:pt x="138" y="80"/>
                  </a:lnTo>
                  <a:lnTo>
                    <a:pt x="140" y="78"/>
                  </a:lnTo>
                  <a:lnTo>
                    <a:pt x="144" y="78"/>
                  </a:lnTo>
                  <a:lnTo>
                    <a:pt x="146" y="78"/>
                  </a:lnTo>
                  <a:lnTo>
                    <a:pt x="148" y="80"/>
                  </a:lnTo>
                  <a:lnTo>
                    <a:pt x="148" y="78"/>
                  </a:lnTo>
                  <a:lnTo>
                    <a:pt x="146" y="78"/>
                  </a:lnTo>
                  <a:lnTo>
                    <a:pt x="144" y="77"/>
                  </a:lnTo>
                  <a:lnTo>
                    <a:pt x="146" y="77"/>
                  </a:lnTo>
                  <a:lnTo>
                    <a:pt x="148" y="75"/>
                  </a:lnTo>
                  <a:lnTo>
                    <a:pt x="150" y="75"/>
                  </a:lnTo>
                  <a:lnTo>
                    <a:pt x="148" y="75"/>
                  </a:lnTo>
                  <a:lnTo>
                    <a:pt x="146" y="75"/>
                  </a:lnTo>
                  <a:lnTo>
                    <a:pt x="144" y="77"/>
                  </a:lnTo>
                  <a:lnTo>
                    <a:pt x="142" y="77"/>
                  </a:lnTo>
                  <a:lnTo>
                    <a:pt x="138" y="78"/>
                  </a:lnTo>
                  <a:lnTo>
                    <a:pt x="136" y="78"/>
                  </a:lnTo>
                  <a:lnTo>
                    <a:pt x="136" y="75"/>
                  </a:lnTo>
                  <a:lnTo>
                    <a:pt x="140" y="73"/>
                  </a:lnTo>
                  <a:lnTo>
                    <a:pt x="136" y="73"/>
                  </a:lnTo>
                  <a:lnTo>
                    <a:pt x="136" y="71"/>
                  </a:lnTo>
                  <a:lnTo>
                    <a:pt x="138" y="71"/>
                  </a:lnTo>
                  <a:lnTo>
                    <a:pt x="140" y="71"/>
                  </a:lnTo>
                  <a:lnTo>
                    <a:pt x="144" y="73"/>
                  </a:lnTo>
                  <a:lnTo>
                    <a:pt x="144" y="71"/>
                  </a:lnTo>
                  <a:lnTo>
                    <a:pt x="142" y="69"/>
                  </a:lnTo>
                  <a:lnTo>
                    <a:pt x="138" y="69"/>
                  </a:lnTo>
                  <a:lnTo>
                    <a:pt x="136" y="69"/>
                  </a:lnTo>
                  <a:lnTo>
                    <a:pt x="140" y="67"/>
                  </a:lnTo>
                  <a:lnTo>
                    <a:pt x="142" y="69"/>
                  </a:lnTo>
                  <a:lnTo>
                    <a:pt x="146" y="69"/>
                  </a:lnTo>
                  <a:lnTo>
                    <a:pt x="148" y="69"/>
                  </a:lnTo>
                  <a:lnTo>
                    <a:pt x="150" y="69"/>
                  </a:lnTo>
                  <a:lnTo>
                    <a:pt x="154" y="67"/>
                  </a:lnTo>
                  <a:lnTo>
                    <a:pt x="150" y="67"/>
                  </a:lnTo>
                  <a:lnTo>
                    <a:pt x="148" y="69"/>
                  </a:lnTo>
                  <a:lnTo>
                    <a:pt x="144" y="67"/>
                  </a:lnTo>
                  <a:lnTo>
                    <a:pt x="144" y="65"/>
                  </a:lnTo>
                  <a:lnTo>
                    <a:pt x="144" y="63"/>
                  </a:lnTo>
                  <a:lnTo>
                    <a:pt x="150" y="63"/>
                  </a:lnTo>
                  <a:lnTo>
                    <a:pt x="152" y="63"/>
                  </a:lnTo>
                  <a:lnTo>
                    <a:pt x="158" y="63"/>
                  </a:lnTo>
                  <a:lnTo>
                    <a:pt x="152" y="63"/>
                  </a:lnTo>
                  <a:lnTo>
                    <a:pt x="150" y="61"/>
                  </a:lnTo>
                  <a:lnTo>
                    <a:pt x="148" y="59"/>
                  </a:lnTo>
                  <a:lnTo>
                    <a:pt x="146" y="57"/>
                  </a:lnTo>
                  <a:lnTo>
                    <a:pt x="144" y="57"/>
                  </a:lnTo>
                  <a:lnTo>
                    <a:pt x="144" y="55"/>
                  </a:lnTo>
                  <a:lnTo>
                    <a:pt x="146" y="55"/>
                  </a:lnTo>
                  <a:lnTo>
                    <a:pt x="150" y="55"/>
                  </a:lnTo>
                  <a:lnTo>
                    <a:pt x="152" y="54"/>
                  </a:lnTo>
                  <a:lnTo>
                    <a:pt x="150" y="54"/>
                  </a:lnTo>
                  <a:lnTo>
                    <a:pt x="152" y="54"/>
                  </a:lnTo>
                  <a:lnTo>
                    <a:pt x="154" y="54"/>
                  </a:lnTo>
                  <a:lnTo>
                    <a:pt x="154" y="52"/>
                  </a:lnTo>
                  <a:lnTo>
                    <a:pt x="156" y="52"/>
                  </a:lnTo>
                  <a:lnTo>
                    <a:pt x="156" y="54"/>
                  </a:lnTo>
                  <a:lnTo>
                    <a:pt x="154" y="54"/>
                  </a:lnTo>
                  <a:lnTo>
                    <a:pt x="156" y="54"/>
                  </a:lnTo>
                  <a:lnTo>
                    <a:pt x="158" y="54"/>
                  </a:lnTo>
                  <a:lnTo>
                    <a:pt x="158" y="52"/>
                  </a:lnTo>
                  <a:lnTo>
                    <a:pt x="158" y="50"/>
                  </a:lnTo>
                  <a:lnTo>
                    <a:pt x="158" y="48"/>
                  </a:lnTo>
                  <a:lnTo>
                    <a:pt x="160" y="50"/>
                  </a:lnTo>
                  <a:lnTo>
                    <a:pt x="160" y="52"/>
                  </a:lnTo>
                  <a:lnTo>
                    <a:pt x="161" y="52"/>
                  </a:lnTo>
                  <a:lnTo>
                    <a:pt x="163" y="52"/>
                  </a:lnTo>
                  <a:lnTo>
                    <a:pt x="163" y="50"/>
                  </a:lnTo>
                  <a:lnTo>
                    <a:pt x="163" y="48"/>
                  </a:lnTo>
                  <a:lnTo>
                    <a:pt x="165" y="44"/>
                  </a:lnTo>
                  <a:lnTo>
                    <a:pt x="165" y="42"/>
                  </a:lnTo>
                  <a:lnTo>
                    <a:pt x="167" y="40"/>
                  </a:lnTo>
                  <a:lnTo>
                    <a:pt x="173" y="40"/>
                  </a:lnTo>
                  <a:lnTo>
                    <a:pt x="173" y="36"/>
                  </a:lnTo>
                  <a:lnTo>
                    <a:pt x="175" y="36"/>
                  </a:lnTo>
                  <a:lnTo>
                    <a:pt x="175" y="34"/>
                  </a:lnTo>
                  <a:lnTo>
                    <a:pt x="171" y="34"/>
                  </a:lnTo>
                  <a:lnTo>
                    <a:pt x="169" y="36"/>
                  </a:lnTo>
                  <a:lnTo>
                    <a:pt x="165" y="36"/>
                  </a:lnTo>
                  <a:lnTo>
                    <a:pt x="165" y="34"/>
                  </a:lnTo>
                  <a:lnTo>
                    <a:pt x="167" y="32"/>
                  </a:lnTo>
                  <a:lnTo>
                    <a:pt x="169" y="32"/>
                  </a:lnTo>
                  <a:lnTo>
                    <a:pt x="171" y="30"/>
                  </a:lnTo>
                  <a:lnTo>
                    <a:pt x="173" y="27"/>
                  </a:lnTo>
                  <a:lnTo>
                    <a:pt x="173" y="25"/>
                  </a:lnTo>
                  <a:lnTo>
                    <a:pt x="175" y="25"/>
                  </a:lnTo>
                  <a:lnTo>
                    <a:pt x="177" y="25"/>
                  </a:lnTo>
                  <a:lnTo>
                    <a:pt x="179" y="27"/>
                  </a:lnTo>
                  <a:lnTo>
                    <a:pt x="177" y="27"/>
                  </a:lnTo>
                  <a:lnTo>
                    <a:pt x="179" y="29"/>
                  </a:lnTo>
                  <a:lnTo>
                    <a:pt x="179" y="27"/>
                  </a:lnTo>
                  <a:lnTo>
                    <a:pt x="181" y="25"/>
                  </a:lnTo>
                  <a:lnTo>
                    <a:pt x="183" y="25"/>
                  </a:lnTo>
                  <a:lnTo>
                    <a:pt x="183" y="23"/>
                  </a:lnTo>
                  <a:lnTo>
                    <a:pt x="181" y="23"/>
                  </a:lnTo>
                  <a:lnTo>
                    <a:pt x="179" y="23"/>
                  </a:lnTo>
                  <a:lnTo>
                    <a:pt x="175" y="25"/>
                  </a:lnTo>
                  <a:lnTo>
                    <a:pt x="173" y="23"/>
                  </a:lnTo>
                  <a:lnTo>
                    <a:pt x="175" y="21"/>
                  </a:lnTo>
                  <a:lnTo>
                    <a:pt x="179" y="17"/>
                  </a:lnTo>
                  <a:lnTo>
                    <a:pt x="183" y="15"/>
                  </a:lnTo>
                  <a:lnTo>
                    <a:pt x="185" y="15"/>
                  </a:lnTo>
                  <a:lnTo>
                    <a:pt x="185" y="17"/>
                  </a:lnTo>
                  <a:lnTo>
                    <a:pt x="183" y="19"/>
                  </a:lnTo>
                  <a:lnTo>
                    <a:pt x="181" y="21"/>
                  </a:lnTo>
                  <a:lnTo>
                    <a:pt x="183" y="19"/>
                  </a:lnTo>
                  <a:lnTo>
                    <a:pt x="185" y="19"/>
                  </a:lnTo>
                  <a:lnTo>
                    <a:pt x="186" y="19"/>
                  </a:lnTo>
                  <a:lnTo>
                    <a:pt x="188" y="19"/>
                  </a:lnTo>
                  <a:lnTo>
                    <a:pt x="186" y="21"/>
                  </a:lnTo>
                  <a:lnTo>
                    <a:pt x="185" y="23"/>
                  </a:lnTo>
                  <a:lnTo>
                    <a:pt x="188" y="21"/>
                  </a:lnTo>
                  <a:lnTo>
                    <a:pt x="190" y="19"/>
                  </a:lnTo>
                  <a:lnTo>
                    <a:pt x="192" y="21"/>
                  </a:lnTo>
                  <a:lnTo>
                    <a:pt x="194" y="21"/>
                  </a:lnTo>
                  <a:lnTo>
                    <a:pt x="194" y="23"/>
                  </a:lnTo>
                  <a:lnTo>
                    <a:pt x="196" y="25"/>
                  </a:lnTo>
                  <a:lnTo>
                    <a:pt x="196" y="27"/>
                  </a:lnTo>
                  <a:lnTo>
                    <a:pt x="196" y="29"/>
                  </a:lnTo>
                  <a:lnTo>
                    <a:pt x="198" y="30"/>
                  </a:lnTo>
                  <a:lnTo>
                    <a:pt x="198" y="32"/>
                  </a:lnTo>
                  <a:lnTo>
                    <a:pt x="200" y="30"/>
                  </a:lnTo>
                  <a:lnTo>
                    <a:pt x="200" y="27"/>
                  </a:lnTo>
                  <a:lnTo>
                    <a:pt x="198" y="25"/>
                  </a:lnTo>
                  <a:lnTo>
                    <a:pt x="198" y="23"/>
                  </a:lnTo>
                  <a:lnTo>
                    <a:pt x="198" y="21"/>
                  </a:lnTo>
                  <a:lnTo>
                    <a:pt x="198" y="19"/>
                  </a:lnTo>
                  <a:lnTo>
                    <a:pt x="198" y="17"/>
                  </a:lnTo>
                  <a:lnTo>
                    <a:pt x="202" y="15"/>
                  </a:lnTo>
                  <a:lnTo>
                    <a:pt x="204" y="15"/>
                  </a:lnTo>
                  <a:lnTo>
                    <a:pt x="206" y="13"/>
                  </a:lnTo>
                  <a:lnTo>
                    <a:pt x="204" y="15"/>
                  </a:lnTo>
                  <a:lnTo>
                    <a:pt x="202" y="15"/>
                  </a:lnTo>
                  <a:lnTo>
                    <a:pt x="198" y="17"/>
                  </a:lnTo>
                  <a:lnTo>
                    <a:pt x="196" y="19"/>
                  </a:lnTo>
                  <a:lnTo>
                    <a:pt x="194" y="19"/>
                  </a:lnTo>
                  <a:lnTo>
                    <a:pt x="194" y="17"/>
                  </a:lnTo>
                  <a:lnTo>
                    <a:pt x="192" y="17"/>
                  </a:lnTo>
                  <a:lnTo>
                    <a:pt x="190" y="19"/>
                  </a:lnTo>
                  <a:lnTo>
                    <a:pt x="188" y="17"/>
                  </a:lnTo>
                  <a:lnTo>
                    <a:pt x="188" y="15"/>
                  </a:lnTo>
                  <a:lnTo>
                    <a:pt x="188" y="13"/>
                  </a:lnTo>
                  <a:lnTo>
                    <a:pt x="190" y="15"/>
                  </a:lnTo>
                  <a:lnTo>
                    <a:pt x="194" y="15"/>
                  </a:lnTo>
                  <a:lnTo>
                    <a:pt x="194" y="13"/>
                  </a:lnTo>
                  <a:lnTo>
                    <a:pt x="192" y="13"/>
                  </a:lnTo>
                  <a:lnTo>
                    <a:pt x="190" y="13"/>
                  </a:lnTo>
                  <a:lnTo>
                    <a:pt x="188" y="11"/>
                  </a:lnTo>
                  <a:lnTo>
                    <a:pt x="186" y="13"/>
                  </a:lnTo>
                  <a:lnTo>
                    <a:pt x="186" y="11"/>
                  </a:lnTo>
                  <a:lnTo>
                    <a:pt x="190" y="7"/>
                  </a:lnTo>
                  <a:lnTo>
                    <a:pt x="192" y="7"/>
                  </a:lnTo>
                  <a:lnTo>
                    <a:pt x="194" y="9"/>
                  </a:lnTo>
                  <a:lnTo>
                    <a:pt x="196" y="7"/>
                  </a:lnTo>
                  <a:lnTo>
                    <a:pt x="194" y="7"/>
                  </a:lnTo>
                  <a:lnTo>
                    <a:pt x="192" y="5"/>
                  </a:lnTo>
                  <a:lnTo>
                    <a:pt x="194" y="4"/>
                  </a:lnTo>
                  <a:lnTo>
                    <a:pt x="196" y="4"/>
                  </a:lnTo>
                  <a:lnTo>
                    <a:pt x="198" y="5"/>
                  </a:lnTo>
                  <a:lnTo>
                    <a:pt x="200" y="5"/>
                  </a:lnTo>
                  <a:lnTo>
                    <a:pt x="202" y="7"/>
                  </a:lnTo>
                  <a:lnTo>
                    <a:pt x="204" y="7"/>
                  </a:lnTo>
                  <a:lnTo>
                    <a:pt x="202" y="5"/>
                  </a:lnTo>
                  <a:lnTo>
                    <a:pt x="200" y="5"/>
                  </a:lnTo>
                  <a:lnTo>
                    <a:pt x="198" y="4"/>
                  </a:lnTo>
                  <a:lnTo>
                    <a:pt x="198" y="2"/>
                  </a:lnTo>
                  <a:lnTo>
                    <a:pt x="196" y="2"/>
                  </a:lnTo>
                  <a:lnTo>
                    <a:pt x="194" y="2"/>
                  </a:lnTo>
                  <a:lnTo>
                    <a:pt x="192" y="2"/>
                  </a:lnTo>
                  <a:lnTo>
                    <a:pt x="192" y="0"/>
                  </a:lnTo>
                  <a:lnTo>
                    <a:pt x="190" y="0"/>
                  </a:lnTo>
                  <a:lnTo>
                    <a:pt x="190" y="2"/>
                  </a:lnTo>
                  <a:lnTo>
                    <a:pt x="188" y="4"/>
                  </a:lnTo>
                  <a:lnTo>
                    <a:pt x="186" y="5"/>
                  </a:lnTo>
                  <a:lnTo>
                    <a:pt x="186" y="7"/>
                  </a:lnTo>
                  <a:lnTo>
                    <a:pt x="185" y="7"/>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28" name="Freeform 216"/>
            <p:cNvSpPr>
              <a:spLocks/>
            </p:cNvSpPr>
            <p:nvPr/>
          </p:nvSpPr>
          <p:spPr bwMode="auto">
            <a:xfrm>
              <a:off x="2314" y="1716"/>
              <a:ext cx="123" cy="274"/>
            </a:xfrm>
            <a:custGeom>
              <a:avLst/>
              <a:gdLst>
                <a:gd name="T0" fmla="*/ 29 w 123"/>
                <a:gd name="T1" fmla="*/ 263 h 274"/>
                <a:gd name="T2" fmla="*/ 32 w 123"/>
                <a:gd name="T3" fmla="*/ 246 h 274"/>
                <a:gd name="T4" fmla="*/ 34 w 123"/>
                <a:gd name="T5" fmla="*/ 234 h 274"/>
                <a:gd name="T6" fmla="*/ 17 w 123"/>
                <a:gd name="T7" fmla="*/ 238 h 274"/>
                <a:gd name="T8" fmla="*/ 7 w 123"/>
                <a:gd name="T9" fmla="*/ 246 h 274"/>
                <a:gd name="T10" fmla="*/ 13 w 123"/>
                <a:gd name="T11" fmla="*/ 222 h 274"/>
                <a:gd name="T12" fmla="*/ 23 w 123"/>
                <a:gd name="T13" fmla="*/ 224 h 274"/>
                <a:gd name="T14" fmla="*/ 29 w 123"/>
                <a:gd name="T15" fmla="*/ 217 h 274"/>
                <a:gd name="T16" fmla="*/ 29 w 123"/>
                <a:gd name="T17" fmla="*/ 205 h 274"/>
                <a:gd name="T18" fmla="*/ 40 w 123"/>
                <a:gd name="T19" fmla="*/ 194 h 274"/>
                <a:gd name="T20" fmla="*/ 50 w 123"/>
                <a:gd name="T21" fmla="*/ 178 h 274"/>
                <a:gd name="T22" fmla="*/ 54 w 123"/>
                <a:gd name="T23" fmla="*/ 186 h 274"/>
                <a:gd name="T24" fmla="*/ 59 w 123"/>
                <a:gd name="T25" fmla="*/ 172 h 274"/>
                <a:gd name="T26" fmla="*/ 38 w 123"/>
                <a:gd name="T27" fmla="*/ 178 h 274"/>
                <a:gd name="T28" fmla="*/ 29 w 123"/>
                <a:gd name="T29" fmla="*/ 196 h 274"/>
                <a:gd name="T30" fmla="*/ 13 w 123"/>
                <a:gd name="T31" fmla="*/ 201 h 274"/>
                <a:gd name="T32" fmla="*/ 25 w 123"/>
                <a:gd name="T33" fmla="*/ 194 h 274"/>
                <a:gd name="T34" fmla="*/ 21 w 123"/>
                <a:gd name="T35" fmla="*/ 186 h 274"/>
                <a:gd name="T36" fmla="*/ 17 w 123"/>
                <a:gd name="T37" fmla="*/ 188 h 274"/>
                <a:gd name="T38" fmla="*/ 7 w 123"/>
                <a:gd name="T39" fmla="*/ 184 h 274"/>
                <a:gd name="T40" fmla="*/ 0 w 123"/>
                <a:gd name="T41" fmla="*/ 178 h 274"/>
                <a:gd name="T42" fmla="*/ 11 w 123"/>
                <a:gd name="T43" fmla="*/ 171 h 274"/>
                <a:gd name="T44" fmla="*/ 19 w 123"/>
                <a:gd name="T45" fmla="*/ 161 h 274"/>
                <a:gd name="T46" fmla="*/ 4 w 123"/>
                <a:gd name="T47" fmla="*/ 153 h 274"/>
                <a:gd name="T48" fmla="*/ 11 w 123"/>
                <a:gd name="T49" fmla="*/ 159 h 274"/>
                <a:gd name="T50" fmla="*/ 2 w 123"/>
                <a:gd name="T51" fmla="*/ 151 h 274"/>
                <a:gd name="T52" fmla="*/ 7 w 123"/>
                <a:gd name="T53" fmla="*/ 146 h 274"/>
                <a:gd name="T54" fmla="*/ 15 w 123"/>
                <a:gd name="T55" fmla="*/ 134 h 274"/>
                <a:gd name="T56" fmla="*/ 46 w 123"/>
                <a:gd name="T57" fmla="*/ 134 h 274"/>
                <a:gd name="T58" fmla="*/ 75 w 123"/>
                <a:gd name="T59" fmla="*/ 132 h 274"/>
                <a:gd name="T60" fmla="*/ 52 w 123"/>
                <a:gd name="T61" fmla="*/ 130 h 274"/>
                <a:gd name="T62" fmla="*/ 27 w 123"/>
                <a:gd name="T63" fmla="*/ 128 h 274"/>
                <a:gd name="T64" fmla="*/ 11 w 123"/>
                <a:gd name="T65" fmla="*/ 124 h 274"/>
                <a:gd name="T66" fmla="*/ 13 w 123"/>
                <a:gd name="T67" fmla="*/ 117 h 274"/>
                <a:gd name="T68" fmla="*/ 9 w 123"/>
                <a:gd name="T69" fmla="*/ 109 h 274"/>
                <a:gd name="T70" fmla="*/ 32 w 123"/>
                <a:gd name="T71" fmla="*/ 109 h 274"/>
                <a:gd name="T72" fmla="*/ 13 w 123"/>
                <a:gd name="T73" fmla="*/ 103 h 274"/>
                <a:gd name="T74" fmla="*/ 9 w 123"/>
                <a:gd name="T75" fmla="*/ 96 h 274"/>
                <a:gd name="T76" fmla="*/ 11 w 123"/>
                <a:gd name="T77" fmla="*/ 88 h 274"/>
                <a:gd name="T78" fmla="*/ 38 w 123"/>
                <a:gd name="T79" fmla="*/ 86 h 274"/>
                <a:gd name="T80" fmla="*/ 36 w 123"/>
                <a:gd name="T81" fmla="*/ 82 h 274"/>
                <a:gd name="T82" fmla="*/ 13 w 123"/>
                <a:gd name="T83" fmla="*/ 78 h 274"/>
                <a:gd name="T84" fmla="*/ 17 w 123"/>
                <a:gd name="T85" fmla="*/ 76 h 274"/>
                <a:gd name="T86" fmla="*/ 15 w 123"/>
                <a:gd name="T87" fmla="*/ 61 h 274"/>
                <a:gd name="T88" fmla="*/ 23 w 123"/>
                <a:gd name="T89" fmla="*/ 65 h 274"/>
                <a:gd name="T90" fmla="*/ 38 w 123"/>
                <a:gd name="T91" fmla="*/ 63 h 274"/>
                <a:gd name="T92" fmla="*/ 44 w 123"/>
                <a:gd name="T93" fmla="*/ 71 h 274"/>
                <a:gd name="T94" fmla="*/ 54 w 123"/>
                <a:gd name="T95" fmla="*/ 57 h 274"/>
                <a:gd name="T96" fmla="*/ 59 w 123"/>
                <a:gd name="T97" fmla="*/ 55 h 274"/>
                <a:gd name="T98" fmla="*/ 52 w 123"/>
                <a:gd name="T99" fmla="*/ 48 h 274"/>
                <a:gd name="T100" fmla="*/ 56 w 123"/>
                <a:gd name="T101" fmla="*/ 40 h 274"/>
                <a:gd name="T102" fmla="*/ 75 w 123"/>
                <a:gd name="T103" fmla="*/ 44 h 274"/>
                <a:gd name="T104" fmla="*/ 96 w 123"/>
                <a:gd name="T105" fmla="*/ 42 h 274"/>
                <a:gd name="T106" fmla="*/ 73 w 123"/>
                <a:gd name="T107" fmla="*/ 28 h 274"/>
                <a:gd name="T108" fmla="*/ 88 w 123"/>
                <a:gd name="T109" fmla="*/ 21 h 274"/>
                <a:gd name="T110" fmla="*/ 84 w 123"/>
                <a:gd name="T111" fmla="*/ 13 h 274"/>
                <a:gd name="T112" fmla="*/ 98 w 123"/>
                <a:gd name="T113" fmla="*/ 17 h 274"/>
                <a:gd name="T114" fmla="*/ 117 w 123"/>
                <a:gd name="T115" fmla="*/ 26 h 274"/>
                <a:gd name="T116" fmla="*/ 119 w 123"/>
                <a:gd name="T117" fmla="*/ 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3" h="274">
                  <a:moveTo>
                    <a:pt x="23" y="267"/>
                  </a:moveTo>
                  <a:lnTo>
                    <a:pt x="25" y="269"/>
                  </a:lnTo>
                  <a:lnTo>
                    <a:pt x="25" y="270"/>
                  </a:lnTo>
                  <a:lnTo>
                    <a:pt x="31" y="274"/>
                  </a:lnTo>
                  <a:lnTo>
                    <a:pt x="29" y="270"/>
                  </a:lnTo>
                  <a:lnTo>
                    <a:pt x="48" y="263"/>
                  </a:lnTo>
                  <a:lnTo>
                    <a:pt x="34" y="265"/>
                  </a:lnTo>
                  <a:lnTo>
                    <a:pt x="29" y="269"/>
                  </a:lnTo>
                  <a:lnTo>
                    <a:pt x="27" y="267"/>
                  </a:lnTo>
                  <a:lnTo>
                    <a:pt x="29" y="263"/>
                  </a:lnTo>
                  <a:lnTo>
                    <a:pt x="27" y="263"/>
                  </a:lnTo>
                  <a:lnTo>
                    <a:pt x="25" y="263"/>
                  </a:lnTo>
                  <a:lnTo>
                    <a:pt x="23" y="261"/>
                  </a:lnTo>
                  <a:lnTo>
                    <a:pt x="25" y="257"/>
                  </a:lnTo>
                  <a:lnTo>
                    <a:pt x="34" y="255"/>
                  </a:lnTo>
                  <a:lnTo>
                    <a:pt x="29" y="255"/>
                  </a:lnTo>
                  <a:lnTo>
                    <a:pt x="32" y="251"/>
                  </a:lnTo>
                  <a:lnTo>
                    <a:pt x="44" y="246"/>
                  </a:lnTo>
                  <a:lnTo>
                    <a:pt x="32" y="249"/>
                  </a:lnTo>
                  <a:lnTo>
                    <a:pt x="32" y="246"/>
                  </a:lnTo>
                  <a:lnTo>
                    <a:pt x="36" y="246"/>
                  </a:lnTo>
                  <a:lnTo>
                    <a:pt x="29" y="244"/>
                  </a:lnTo>
                  <a:lnTo>
                    <a:pt x="31" y="240"/>
                  </a:lnTo>
                  <a:lnTo>
                    <a:pt x="32" y="238"/>
                  </a:lnTo>
                  <a:lnTo>
                    <a:pt x="36" y="234"/>
                  </a:lnTo>
                  <a:lnTo>
                    <a:pt x="46" y="230"/>
                  </a:lnTo>
                  <a:lnTo>
                    <a:pt x="44" y="230"/>
                  </a:lnTo>
                  <a:lnTo>
                    <a:pt x="38" y="232"/>
                  </a:lnTo>
                  <a:lnTo>
                    <a:pt x="42" y="224"/>
                  </a:lnTo>
                  <a:lnTo>
                    <a:pt x="34" y="234"/>
                  </a:lnTo>
                  <a:lnTo>
                    <a:pt x="31" y="240"/>
                  </a:lnTo>
                  <a:lnTo>
                    <a:pt x="27" y="242"/>
                  </a:lnTo>
                  <a:lnTo>
                    <a:pt x="27" y="236"/>
                  </a:lnTo>
                  <a:lnTo>
                    <a:pt x="34" y="234"/>
                  </a:lnTo>
                  <a:lnTo>
                    <a:pt x="32" y="234"/>
                  </a:lnTo>
                  <a:lnTo>
                    <a:pt x="25" y="234"/>
                  </a:lnTo>
                  <a:lnTo>
                    <a:pt x="25" y="230"/>
                  </a:lnTo>
                  <a:lnTo>
                    <a:pt x="23" y="232"/>
                  </a:lnTo>
                  <a:lnTo>
                    <a:pt x="23" y="234"/>
                  </a:lnTo>
                  <a:lnTo>
                    <a:pt x="17" y="238"/>
                  </a:lnTo>
                  <a:lnTo>
                    <a:pt x="23" y="236"/>
                  </a:lnTo>
                  <a:lnTo>
                    <a:pt x="25" y="242"/>
                  </a:lnTo>
                  <a:lnTo>
                    <a:pt x="19" y="244"/>
                  </a:lnTo>
                  <a:lnTo>
                    <a:pt x="17" y="247"/>
                  </a:lnTo>
                  <a:lnTo>
                    <a:pt x="17" y="244"/>
                  </a:lnTo>
                  <a:lnTo>
                    <a:pt x="17" y="232"/>
                  </a:lnTo>
                  <a:lnTo>
                    <a:pt x="11" y="236"/>
                  </a:lnTo>
                  <a:lnTo>
                    <a:pt x="15" y="236"/>
                  </a:lnTo>
                  <a:lnTo>
                    <a:pt x="15" y="246"/>
                  </a:lnTo>
                  <a:lnTo>
                    <a:pt x="7" y="246"/>
                  </a:lnTo>
                  <a:lnTo>
                    <a:pt x="6" y="253"/>
                  </a:lnTo>
                  <a:lnTo>
                    <a:pt x="2" y="253"/>
                  </a:lnTo>
                  <a:lnTo>
                    <a:pt x="4" y="238"/>
                  </a:lnTo>
                  <a:lnTo>
                    <a:pt x="4" y="232"/>
                  </a:lnTo>
                  <a:lnTo>
                    <a:pt x="4" y="230"/>
                  </a:lnTo>
                  <a:lnTo>
                    <a:pt x="7" y="226"/>
                  </a:lnTo>
                  <a:lnTo>
                    <a:pt x="7" y="224"/>
                  </a:lnTo>
                  <a:lnTo>
                    <a:pt x="11" y="222"/>
                  </a:lnTo>
                  <a:lnTo>
                    <a:pt x="11" y="226"/>
                  </a:lnTo>
                  <a:lnTo>
                    <a:pt x="13" y="222"/>
                  </a:lnTo>
                  <a:lnTo>
                    <a:pt x="11" y="221"/>
                  </a:lnTo>
                  <a:lnTo>
                    <a:pt x="13" y="219"/>
                  </a:lnTo>
                  <a:lnTo>
                    <a:pt x="15" y="219"/>
                  </a:lnTo>
                  <a:lnTo>
                    <a:pt x="15" y="228"/>
                  </a:lnTo>
                  <a:lnTo>
                    <a:pt x="13" y="230"/>
                  </a:lnTo>
                  <a:lnTo>
                    <a:pt x="11" y="232"/>
                  </a:lnTo>
                  <a:lnTo>
                    <a:pt x="11" y="234"/>
                  </a:lnTo>
                  <a:lnTo>
                    <a:pt x="15" y="230"/>
                  </a:lnTo>
                  <a:lnTo>
                    <a:pt x="17" y="222"/>
                  </a:lnTo>
                  <a:lnTo>
                    <a:pt x="23" y="224"/>
                  </a:lnTo>
                  <a:lnTo>
                    <a:pt x="23" y="226"/>
                  </a:lnTo>
                  <a:lnTo>
                    <a:pt x="25" y="224"/>
                  </a:lnTo>
                  <a:lnTo>
                    <a:pt x="29" y="222"/>
                  </a:lnTo>
                  <a:lnTo>
                    <a:pt x="27" y="222"/>
                  </a:lnTo>
                  <a:lnTo>
                    <a:pt x="23" y="222"/>
                  </a:lnTo>
                  <a:lnTo>
                    <a:pt x="23" y="221"/>
                  </a:lnTo>
                  <a:lnTo>
                    <a:pt x="29" y="219"/>
                  </a:lnTo>
                  <a:lnTo>
                    <a:pt x="32" y="219"/>
                  </a:lnTo>
                  <a:lnTo>
                    <a:pt x="40" y="213"/>
                  </a:lnTo>
                  <a:lnTo>
                    <a:pt x="29" y="217"/>
                  </a:lnTo>
                  <a:lnTo>
                    <a:pt x="31" y="211"/>
                  </a:lnTo>
                  <a:lnTo>
                    <a:pt x="27" y="215"/>
                  </a:lnTo>
                  <a:lnTo>
                    <a:pt x="25" y="213"/>
                  </a:lnTo>
                  <a:lnTo>
                    <a:pt x="23" y="211"/>
                  </a:lnTo>
                  <a:lnTo>
                    <a:pt x="21" y="213"/>
                  </a:lnTo>
                  <a:lnTo>
                    <a:pt x="21" y="209"/>
                  </a:lnTo>
                  <a:lnTo>
                    <a:pt x="23" y="209"/>
                  </a:lnTo>
                  <a:lnTo>
                    <a:pt x="25" y="207"/>
                  </a:lnTo>
                  <a:lnTo>
                    <a:pt x="27" y="205"/>
                  </a:lnTo>
                  <a:lnTo>
                    <a:pt x="29" y="205"/>
                  </a:lnTo>
                  <a:lnTo>
                    <a:pt x="31" y="205"/>
                  </a:lnTo>
                  <a:lnTo>
                    <a:pt x="32" y="203"/>
                  </a:lnTo>
                  <a:lnTo>
                    <a:pt x="31" y="201"/>
                  </a:lnTo>
                  <a:lnTo>
                    <a:pt x="32" y="199"/>
                  </a:lnTo>
                  <a:lnTo>
                    <a:pt x="34" y="196"/>
                  </a:lnTo>
                  <a:lnTo>
                    <a:pt x="42" y="196"/>
                  </a:lnTo>
                  <a:lnTo>
                    <a:pt x="40" y="194"/>
                  </a:lnTo>
                  <a:lnTo>
                    <a:pt x="42" y="192"/>
                  </a:lnTo>
                  <a:lnTo>
                    <a:pt x="40" y="192"/>
                  </a:lnTo>
                  <a:lnTo>
                    <a:pt x="40" y="194"/>
                  </a:lnTo>
                  <a:lnTo>
                    <a:pt x="36" y="196"/>
                  </a:lnTo>
                  <a:lnTo>
                    <a:pt x="38" y="194"/>
                  </a:lnTo>
                  <a:lnTo>
                    <a:pt x="34" y="190"/>
                  </a:lnTo>
                  <a:lnTo>
                    <a:pt x="36" y="188"/>
                  </a:lnTo>
                  <a:lnTo>
                    <a:pt x="36" y="190"/>
                  </a:lnTo>
                  <a:lnTo>
                    <a:pt x="40" y="184"/>
                  </a:lnTo>
                  <a:lnTo>
                    <a:pt x="44" y="182"/>
                  </a:lnTo>
                  <a:lnTo>
                    <a:pt x="44" y="180"/>
                  </a:lnTo>
                  <a:lnTo>
                    <a:pt x="46" y="178"/>
                  </a:lnTo>
                  <a:lnTo>
                    <a:pt x="50" y="178"/>
                  </a:lnTo>
                  <a:lnTo>
                    <a:pt x="52" y="176"/>
                  </a:lnTo>
                  <a:lnTo>
                    <a:pt x="54" y="176"/>
                  </a:lnTo>
                  <a:lnTo>
                    <a:pt x="52" y="182"/>
                  </a:lnTo>
                  <a:lnTo>
                    <a:pt x="52" y="184"/>
                  </a:lnTo>
                  <a:lnTo>
                    <a:pt x="50" y="186"/>
                  </a:lnTo>
                  <a:lnTo>
                    <a:pt x="50" y="188"/>
                  </a:lnTo>
                  <a:lnTo>
                    <a:pt x="48" y="196"/>
                  </a:lnTo>
                  <a:lnTo>
                    <a:pt x="50" y="197"/>
                  </a:lnTo>
                  <a:lnTo>
                    <a:pt x="52" y="190"/>
                  </a:lnTo>
                  <a:lnTo>
                    <a:pt x="54" y="186"/>
                  </a:lnTo>
                  <a:lnTo>
                    <a:pt x="56" y="180"/>
                  </a:lnTo>
                  <a:lnTo>
                    <a:pt x="57" y="176"/>
                  </a:lnTo>
                  <a:lnTo>
                    <a:pt x="59" y="174"/>
                  </a:lnTo>
                  <a:lnTo>
                    <a:pt x="63" y="174"/>
                  </a:lnTo>
                  <a:lnTo>
                    <a:pt x="65" y="174"/>
                  </a:lnTo>
                  <a:lnTo>
                    <a:pt x="67" y="176"/>
                  </a:lnTo>
                  <a:lnTo>
                    <a:pt x="67" y="172"/>
                  </a:lnTo>
                  <a:lnTo>
                    <a:pt x="65" y="172"/>
                  </a:lnTo>
                  <a:lnTo>
                    <a:pt x="63" y="172"/>
                  </a:lnTo>
                  <a:lnTo>
                    <a:pt x="59" y="172"/>
                  </a:lnTo>
                  <a:lnTo>
                    <a:pt x="57" y="174"/>
                  </a:lnTo>
                  <a:lnTo>
                    <a:pt x="56" y="176"/>
                  </a:lnTo>
                  <a:lnTo>
                    <a:pt x="54" y="174"/>
                  </a:lnTo>
                  <a:lnTo>
                    <a:pt x="56" y="171"/>
                  </a:lnTo>
                  <a:lnTo>
                    <a:pt x="52" y="174"/>
                  </a:lnTo>
                  <a:lnTo>
                    <a:pt x="50" y="174"/>
                  </a:lnTo>
                  <a:lnTo>
                    <a:pt x="44" y="176"/>
                  </a:lnTo>
                  <a:lnTo>
                    <a:pt x="42" y="178"/>
                  </a:lnTo>
                  <a:lnTo>
                    <a:pt x="40" y="178"/>
                  </a:lnTo>
                  <a:lnTo>
                    <a:pt x="38" y="178"/>
                  </a:lnTo>
                  <a:lnTo>
                    <a:pt x="38" y="180"/>
                  </a:lnTo>
                  <a:lnTo>
                    <a:pt x="40" y="180"/>
                  </a:lnTo>
                  <a:lnTo>
                    <a:pt x="40" y="182"/>
                  </a:lnTo>
                  <a:lnTo>
                    <a:pt x="38" y="182"/>
                  </a:lnTo>
                  <a:lnTo>
                    <a:pt x="38" y="184"/>
                  </a:lnTo>
                  <a:lnTo>
                    <a:pt x="36" y="186"/>
                  </a:lnTo>
                  <a:lnTo>
                    <a:pt x="32" y="184"/>
                  </a:lnTo>
                  <a:lnTo>
                    <a:pt x="32" y="188"/>
                  </a:lnTo>
                  <a:lnTo>
                    <a:pt x="31" y="192"/>
                  </a:lnTo>
                  <a:lnTo>
                    <a:pt x="29" y="196"/>
                  </a:lnTo>
                  <a:lnTo>
                    <a:pt x="29" y="197"/>
                  </a:lnTo>
                  <a:lnTo>
                    <a:pt x="27" y="201"/>
                  </a:lnTo>
                  <a:lnTo>
                    <a:pt x="23" y="203"/>
                  </a:lnTo>
                  <a:lnTo>
                    <a:pt x="23" y="201"/>
                  </a:lnTo>
                  <a:lnTo>
                    <a:pt x="19" y="203"/>
                  </a:lnTo>
                  <a:lnTo>
                    <a:pt x="21" y="207"/>
                  </a:lnTo>
                  <a:lnTo>
                    <a:pt x="19" y="207"/>
                  </a:lnTo>
                  <a:lnTo>
                    <a:pt x="17" y="207"/>
                  </a:lnTo>
                  <a:lnTo>
                    <a:pt x="15" y="205"/>
                  </a:lnTo>
                  <a:lnTo>
                    <a:pt x="13" y="201"/>
                  </a:lnTo>
                  <a:lnTo>
                    <a:pt x="13" y="199"/>
                  </a:lnTo>
                  <a:lnTo>
                    <a:pt x="15" y="201"/>
                  </a:lnTo>
                  <a:lnTo>
                    <a:pt x="15" y="197"/>
                  </a:lnTo>
                  <a:lnTo>
                    <a:pt x="19" y="197"/>
                  </a:lnTo>
                  <a:lnTo>
                    <a:pt x="23" y="197"/>
                  </a:lnTo>
                  <a:lnTo>
                    <a:pt x="25" y="197"/>
                  </a:lnTo>
                  <a:lnTo>
                    <a:pt x="27" y="196"/>
                  </a:lnTo>
                  <a:lnTo>
                    <a:pt x="25" y="196"/>
                  </a:lnTo>
                  <a:lnTo>
                    <a:pt x="23" y="194"/>
                  </a:lnTo>
                  <a:lnTo>
                    <a:pt x="25" y="194"/>
                  </a:lnTo>
                  <a:lnTo>
                    <a:pt x="23" y="190"/>
                  </a:lnTo>
                  <a:lnTo>
                    <a:pt x="21" y="192"/>
                  </a:lnTo>
                  <a:lnTo>
                    <a:pt x="19" y="192"/>
                  </a:lnTo>
                  <a:lnTo>
                    <a:pt x="19" y="190"/>
                  </a:lnTo>
                  <a:lnTo>
                    <a:pt x="19" y="188"/>
                  </a:lnTo>
                  <a:lnTo>
                    <a:pt x="21" y="188"/>
                  </a:lnTo>
                  <a:lnTo>
                    <a:pt x="23" y="186"/>
                  </a:lnTo>
                  <a:lnTo>
                    <a:pt x="25" y="186"/>
                  </a:lnTo>
                  <a:lnTo>
                    <a:pt x="23" y="186"/>
                  </a:lnTo>
                  <a:lnTo>
                    <a:pt x="21" y="186"/>
                  </a:lnTo>
                  <a:lnTo>
                    <a:pt x="23" y="180"/>
                  </a:lnTo>
                  <a:lnTo>
                    <a:pt x="23" y="178"/>
                  </a:lnTo>
                  <a:lnTo>
                    <a:pt x="27" y="178"/>
                  </a:lnTo>
                  <a:lnTo>
                    <a:pt x="27" y="176"/>
                  </a:lnTo>
                  <a:lnTo>
                    <a:pt x="25" y="176"/>
                  </a:lnTo>
                  <a:lnTo>
                    <a:pt x="23" y="176"/>
                  </a:lnTo>
                  <a:lnTo>
                    <a:pt x="21" y="180"/>
                  </a:lnTo>
                  <a:lnTo>
                    <a:pt x="19" y="182"/>
                  </a:lnTo>
                  <a:lnTo>
                    <a:pt x="19" y="184"/>
                  </a:lnTo>
                  <a:lnTo>
                    <a:pt x="17" y="188"/>
                  </a:lnTo>
                  <a:lnTo>
                    <a:pt x="15" y="190"/>
                  </a:lnTo>
                  <a:lnTo>
                    <a:pt x="13" y="190"/>
                  </a:lnTo>
                  <a:lnTo>
                    <a:pt x="9" y="190"/>
                  </a:lnTo>
                  <a:lnTo>
                    <a:pt x="7" y="188"/>
                  </a:lnTo>
                  <a:lnTo>
                    <a:pt x="9" y="186"/>
                  </a:lnTo>
                  <a:lnTo>
                    <a:pt x="11" y="184"/>
                  </a:lnTo>
                  <a:lnTo>
                    <a:pt x="11" y="182"/>
                  </a:lnTo>
                  <a:lnTo>
                    <a:pt x="9" y="184"/>
                  </a:lnTo>
                  <a:lnTo>
                    <a:pt x="7" y="182"/>
                  </a:lnTo>
                  <a:lnTo>
                    <a:pt x="7" y="184"/>
                  </a:lnTo>
                  <a:lnTo>
                    <a:pt x="6" y="184"/>
                  </a:lnTo>
                  <a:lnTo>
                    <a:pt x="6" y="186"/>
                  </a:lnTo>
                  <a:lnTo>
                    <a:pt x="4" y="186"/>
                  </a:lnTo>
                  <a:lnTo>
                    <a:pt x="2" y="186"/>
                  </a:lnTo>
                  <a:lnTo>
                    <a:pt x="2" y="184"/>
                  </a:lnTo>
                  <a:lnTo>
                    <a:pt x="0" y="180"/>
                  </a:lnTo>
                  <a:lnTo>
                    <a:pt x="4" y="180"/>
                  </a:lnTo>
                  <a:lnTo>
                    <a:pt x="4" y="178"/>
                  </a:lnTo>
                  <a:lnTo>
                    <a:pt x="2" y="178"/>
                  </a:lnTo>
                  <a:lnTo>
                    <a:pt x="0" y="178"/>
                  </a:lnTo>
                  <a:lnTo>
                    <a:pt x="2" y="176"/>
                  </a:lnTo>
                  <a:lnTo>
                    <a:pt x="2" y="172"/>
                  </a:lnTo>
                  <a:lnTo>
                    <a:pt x="4" y="174"/>
                  </a:lnTo>
                  <a:lnTo>
                    <a:pt x="6" y="174"/>
                  </a:lnTo>
                  <a:lnTo>
                    <a:pt x="7" y="174"/>
                  </a:lnTo>
                  <a:lnTo>
                    <a:pt x="9" y="174"/>
                  </a:lnTo>
                  <a:lnTo>
                    <a:pt x="11" y="174"/>
                  </a:lnTo>
                  <a:lnTo>
                    <a:pt x="13" y="172"/>
                  </a:lnTo>
                  <a:lnTo>
                    <a:pt x="11" y="172"/>
                  </a:lnTo>
                  <a:lnTo>
                    <a:pt x="11" y="171"/>
                  </a:lnTo>
                  <a:lnTo>
                    <a:pt x="11" y="169"/>
                  </a:lnTo>
                  <a:lnTo>
                    <a:pt x="13" y="167"/>
                  </a:lnTo>
                  <a:lnTo>
                    <a:pt x="15" y="167"/>
                  </a:lnTo>
                  <a:lnTo>
                    <a:pt x="13" y="167"/>
                  </a:lnTo>
                  <a:lnTo>
                    <a:pt x="13" y="165"/>
                  </a:lnTo>
                  <a:lnTo>
                    <a:pt x="15" y="165"/>
                  </a:lnTo>
                  <a:lnTo>
                    <a:pt x="17" y="165"/>
                  </a:lnTo>
                  <a:lnTo>
                    <a:pt x="19" y="163"/>
                  </a:lnTo>
                  <a:lnTo>
                    <a:pt x="21" y="161"/>
                  </a:lnTo>
                  <a:lnTo>
                    <a:pt x="19" y="161"/>
                  </a:lnTo>
                  <a:lnTo>
                    <a:pt x="17" y="161"/>
                  </a:lnTo>
                  <a:lnTo>
                    <a:pt x="15" y="163"/>
                  </a:lnTo>
                  <a:lnTo>
                    <a:pt x="13" y="165"/>
                  </a:lnTo>
                  <a:lnTo>
                    <a:pt x="11" y="165"/>
                  </a:lnTo>
                  <a:lnTo>
                    <a:pt x="9" y="163"/>
                  </a:lnTo>
                  <a:lnTo>
                    <a:pt x="7" y="161"/>
                  </a:lnTo>
                  <a:lnTo>
                    <a:pt x="4" y="157"/>
                  </a:lnTo>
                  <a:lnTo>
                    <a:pt x="2" y="155"/>
                  </a:lnTo>
                  <a:lnTo>
                    <a:pt x="2" y="153"/>
                  </a:lnTo>
                  <a:lnTo>
                    <a:pt x="4" y="153"/>
                  </a:lnTo>
                  <a:lnTo>
                    <a:pt x="6" y="155"/>
                  </a:lnTo>
                  <a:lnTo>
                    <a:pt x="6" y="157"/>
                  </a:lnTo>
                  <a:lnTo>
                    <a:pt x="7" y="157"/>
                  </a:lnTo>
                  <a:lnTo>
                    <a:pt x="7" y="159"/>
                  </a:lnTo>
                  <a:lnTo>
                    <a:pt x="7" y="157"/>
                  </a:lnTo>
                  <a:lnTo>
                    <a:pt x="9" y="157"/>
                  </a:lnTo>
                  <a:lnTo>
                    <a:pt x="9" y="159"/>
                  </a:lnTo>
                  <a:lnTo>
                    <a:pt x="11" y="159"/>
                  </a:lnTo>
                  <a:lnTo>
                    <a:pt x="11" y="161"/>
                  </a:lnTo>
                  <a:lnTo>
                    <a:pt x="11" y="159"/>
                  </a:lnTo>
                  <a:lnTo>
                    <a:pt x="9" y="157"/>
                  </a:lnTo>
                  <a:lnTo>
                    <a:pt x="9" y="155"/>
                  </a:lnTo>
                  <a:lnTo>
                    <a:pt x="7" y="155"/>
                  </a:lnTo>
                  <a:lnTo>
                    <a:pt x="9" y="155"/>
                  </a:lnTo>
                  <a:lnTo>
                    <a:pt x="9" y="153"/>
                  </a:lnTo>
                  <a:lnTo>
                    <a:pt x="7" y="153"/>
                  </a:lnTo>
                  <a:lnTo>
                    <a:pt x="6" y="151"/>
                  </a:lnTo>
                  <a:lnTo>
                    <a:pt x="4" y="151"/>
                  </a:lnTo>
                  <a:lnTo>
                    <a:pt x="4" y="153"/>
                  </a:lnTo>
                  <a:lnTo>
                    <a:pt x="2" y="151"/>
                  </a:lnTo>
                  <a:lnTo>
                    <a:pt x="0" y="149"/>
                  </a:lnTo>
                  <a:lnTo>
                    <a:pt x="4" y="149"/>
                  </a:lnTo>
                  <a:lnTo>
                    <a:pt x="6" y="149"/>
                  </a:lnTo>
                  <a:lnTo>
                    <a:pt x="9" y="149"/>
                  </a:lnTo>
                  <a:lnTo>
                    <a:pt x="11" y="151"/>
                  </a:lnTo>
                  <a:lnTo>
                    <a:pt x="13" y="151"/>
                  </a:lnTo>
                  <a:lnTo>
                    <a:pt x="13" y="149"/>
                  </a:lnTo>
                  <a:lnTo>
                    <a:pt x="11" y="148"/>
                  </a:lnTo>
                  <a:lnTo>
                    <a:pt x="7" y="148"/>
                  </a:lnTo>
                  <a:lnTo>
                    <a:pt x="7" y="146"/>
                  </a:lnTo>
                  <a:lnTo>
                    <a:pt x="9" y="144"/>
                  </a:lnTo>
                  <a:lnTo>
                    <a:pt x="9" y="142"/>
                  </a:lnTo>
                  <a:lnTo>
                    <a:pt x="11" y="138"/>
                  </a:lnTo>
                  <a:lnTo>
                    <a:pt x="9" y="138"/>
                  </a:lnTo>
                  <a:lnTo>
                    <a:pt x="7" y="138"/>
                  </a:lnTo>
                  <a:lnTo>
                    <a:pt x="6" y="136"/>
                  </a:lnTo>
                  <a:lnTo>
                    <a:pt x="7" y="134"/>
                  </a:lnTo>
                  <a:lnTo>
                    <a:pt x="9" y="132"/>
                  </a:lnTo>
                  <a:lnTo>
                    <a:pt x="13" y="132"/>
                  </a:lnTo>
                  <a:lnTo>
                    <a:pt x="15" y="134"/>
                  </a:lnTo>
                  <a:lnTo>
                    <a:pt x="19" y="136"/>
                  </a:lnTo>
                  <a:lnTo>
                    <a:pt x="21" y="134"/>
                  </a:lnTo>
                  <a:lnTo>
                    <a:pt x="25" y="132"/>
                  </a:lnTo>
                  <a:lnTo>
                    <a:pt x="31" y="132"/>
                  </a:lnTo>
                  <a:lnTo>
                    <a:pt x="32" y="130"/>
                  </a:lnTo>
                  <a:lnTo>
                    <a:pt x="36" y="130"/>
                  </a:lnTo>
                  <a:lnTo>
                    <a:pt x="38" y="132"/>
                  </a:lnTo>
                  <a:lnTo>
                    <a:pt x="42" y="132"/>
                  </a:lnTo>
                  <a:lnTo>
                    <a:pt x="44" y="132"/>
                  </a:lnTo>
                  <a:lnTo>
                    <a:pt x="46" y="134"/>
                  </a:lnTo>
                  <a:lnTo>
                    <a:pt x="46" y="136"/>
                  </a:lnTo>
                  <a:lnTo>
                    <a:pt x="50" y="134"/>
                  </a:lnTo>
                  <a:lnTo>
                    <a:pt x="54" y="136"/>
                  </a:lnTo>
                  <a:lnTo>
                    <a:pt x="56" y="130"/>
                  </a:lnTo>
                  <a:lnTo>
                    <a:pt x="63" y="132"/>
                  </a:lnTo>
                  <a:lnTo>
                    <a:pt x="63" y="136"/>
                  </a:lnTo>
                  <a:lnTo>
                    <a:pt x="67" y="136"/>
                  </a:lnTo>
                  <a:lnTo>
                    <a:pt x="69" y="134"/>
                  </a:lnTo>
                  <a:lnTo>
                    <a:pt x="71" y="134"/>
                  </a:lnTo>
                  <a:lnTo>
                    <a:pt x="75" y="132"/>
                  </a:lnTo>
                  <a:lnTo>
                    <a:pt x="73" y="132"/>
                  </a:lnTo>
                  <a:lnTo>
                    <a:pt x="69" y="132"/>
                  </a:lnTo>
                  <a:lnTo>
                    <a:pt x="65" y="134"/>
                  </a:lnTo>
                  <a:lnTo>
                    <a:pt x="65" y="132"/>
                  </a:lnTo>
                  <a:lnTo>
                    <a:pt x="67" y="130"/>
                  </a:lnTo>
                  <a:lnTo>
                    <a:pt x="67" y="128"/>
                  </a:lnTo>
                  <a:lnTo>
                    <a:pt x="63" y="130"/>
                  </a:lnTo>
                  <a:lnTo>
                    <a:pt x="57" y="128"/>
                  </a:lnTo>
                  <a:lnTo>
                    <a:pt x="54" y="126"/>
                  </a:lnTo>
                  <a:lnTo>
                    <a:pt x="52" y="130"/>
                  </a:lnTo>
                  <a:lnTo>
                    <a:pt x="50" y="132"/>
                  </a:lnTo>
                  <a:lnTo>
                    <a:pt x="48" y="132"/>
                  </a:lnTo>
                  <a:lnTo>
                    <a:pt x="44" y="130"/>
                  </a:lnTo>
                  <a:lnTo>
                    <a:pt x="44" y="128"/>
                  </a:lnTo>
                  <a:lnTo>
                    <a:pt x="42" y="128"/>
                  </a:lnTo>
                  <a:lnTo>
                    <a:pt x="40" y="130"/>
                  </a:lnTo>
                  <a:lnTo>
                    <a:pt x="36" y="128"/>
                  </a:lnTo>
                  <a:lnTo>
                    <a:pt x="34" y="128"/>
                  </a:lnTo>
                  <a:lnTo>
                    <a:pt x="31" y="128"/>
                  </a:lnTo>
                  <a:lnTo>
                    <a:pt x="27" y="128"/>
                  </a:lnTo>
                  <a:lnTo>
                    <a:pt x="23" y="130"/>
                  </a:lnTo>
                  <a:lnTo>
                    <a:pt x="19" y="132"/>
                  </a:lnTo>
                  <a:lnTo>
                    <a:pt x="17" y="132"/>
                  </a:lnTo>
                  <a:lnTo>
                    <a:pt x="17" y="130"/>
                  </a:lnTo>
                  <a:lnTo>
                    <a:pt x="13" y="130"/>
                  </a:lnTo>
                  <a:lnTo>
                    <a:pt x="15" y="128"/>
                  </a:lnTo>
                  <a:lnTo>
                    <a:pt x="11" y="126"/>
                  </a:lnTo>
                  <a:lnTo>
                    <a:pt x="9" y="126"/>
                  </a:lnTo>
                  <a:lnTo>
                    <a:pt x="9" y="124"/>
                  </a:lnTo>
                  <a:lnTo>
                    <a:pt x="11" y="124"/>
                  </a:lnTo>
                  <a:lnTo>
                    <a:pt x="13" y="126"/>
                  </a:lnTo>
                  <a:lnTo>
                    <a:pt x="15" y="126"/>
                  </a:lnTo>
                  <a:lnTo>
                    <a:pt x="11" y="123"/>
                  </a:lnTo>
                  <a:lnTo>
                    <a:pt x="7" y="123"/>
                  </a:lnTo>
                  <a:lnTo>
                    <a:pt x="9" y="123"/>
                  </a:lnTo>
                  <a:lnTo>
                    <a:pt x="9" y="121"/>
                  </a:lnTo>
                  <a:lnTo>
                    <a:pt x="7" y="121"/>
                  </a:lnTo>
                  <a:lnTo>
                    <a:pt x="7" y="119"/>
                  </a:lnTo>
                  <a:lnTo>
                    <a:pt x="11" y="119"/>
                  </a:lnTo>
                  <a:lnTo>
                    <a:pt x="13" y="117"/>
                  </a:lnTo>
                  <a:lnTo>
                    <a:pt x="17" y="117"/>
                  </a:lnTo>
                  <a:lnTo>
                    <a:pt x="15" y="115"/>
                  </a:lnTo>
                  <a:lnTo>
                    <a:pt x="9" y="115"/>
                  </a:lnTo>
                  <a:lnTo>
                    <a:pt x="7" y="113"/>
                  </a:lnTo>
                  <a:lnTo>
                    <a:pt x="9" y="113"/>
                  </a:lnTo>
                  <a:lnTo>
                    <a:pt x="11" y="109"/>
                  </a:lnTo>
                  <a:lnTo>
                    <a:pt x="9" y="111"/>
                  </a:lnTo>
                  <a:lnTo>
                    <a:pt x="7" y="111"/>
                  </a:lnTo>
                  <a:lnTo>
                    <a:pt x="7" y="109"/>
                  </a:lnTo>
                  <a:lnTo>
                    <a:pt x="9" y="109"/>
                  </a:lnTo>
                  <a:lnTo>
                    <a:pt x="11" y="107"/>
                  </a:lnTo>
                  <a:lnTo>
                    <a:pt x="13" y="109"/>
                  </a:lnTo>
                  <a:lnTo>
                    <a:pt x="17" y="107"/>
                  </a:lnTo>
                  <a:lnTo>
                    <a:pt x="19" y="109"/>
                  </a:lnTo>
                  <a:lnTo>
                    <a:pt x="23" y="111"/>
                  </a:lnTo>
                  <a:lnTo>
                    <a:pt x="25" y="109"/>
                  </a:lnTo>
                  <a:lnTo>
                    <a:pt x="27" y="109"/>
                  </a:lnTo>
                  <a:lnTo>
                    <a:pt x="29" y="107"/>
                  </a:lnTo>
                  <a:lnTo>
                    <a:pt x="31" y="107"/>
                  </a:lnTo>
                  <a:lnTo>
                    <a:pt x="32" y="109"/>
                  </a:lnTo>
                  <a:lnTo>
                    <a:pt x="32" y="107"/>
                  </a:lnTo>
                  <a:lnTo>
                    <a:pt x="31" y="107"/>
                  </a:lnTo>
                  <a:lnTo>
                    <a:pt x="29" y="107"/>
                  </a:lnTo>
                  <a:lnTo>
                    <a:pt x="25" y="109"/>
                  </a:lnTo>
                  <a:lnTo>
                    <a:pt x="23" y="109"/>
                  </a:lnTo>
                  <a:lnTo>
                    <a:pt x="21" y="107"/>
                  </a:lnTo>
                  <a:lnTo>
                    <a:pt x="19" y="107"/>
                  </a:lnTo>
                  <a:lnTo>
                    <a:pt x="17" y="105"/>
                  </a:lnTo>
                  <a:lnTo>
                    <a:pt x="13" y="105"/>
                  </a:lnTo>
                  <a:lnTo>
                    <a:pt x="13" y="103"/>
                  </a:lnTo>
                  <a:lnTo>
                    <a:pt x="15" y="101"/>
                  </a:lnTo>
                  <a:lnTo>
                    <a:pt x="17" y="103"/>
                  </a:lnTo>
                  <a:lnTo>
                    <a:pt x="19" y="103"/>
                  </a:lnTo>
                  <a:lnTo>
                    <a:pt x="17" y="101"/>
                  </a:lnTo>
                  <a:lnTo>
                    <a:pt x="15" y="101"/>
                  </a:lnTo>
                  <a:lnTo>
                    <a:pt x="15" y="99"/>
                  </a:lnTo>
                  <a:lnTo>
                    <a:pt x="15" y="98"/>
                  </a:lnTo>
                  <a:lnTo>
                    <a:pt x="15" y="96"/>
                  </a:lnTo>
                  <a:lnTo>
                    <a:pt x="13" y="96"/>
                  </a:lnTo>
                  <a:lnTo>
                    <a:pt x="9" y="96"/>
                  </a:lnTo>
                  <a:lnTo>
                    <a:pt x="9" y="94"/>
                  </a:lnTo>
                  <a:lnTo>
                    <a:pt x="9" y="90"/>
                  </a:lnTo>
                  <a:lnTo>
                    <a:pt x="9" y="88"/>
                  </a:lnTo>
                  <a:lnTo>
                    <a:pt x="11" y="88"/>
                  </a:lnTo>
                  <a:lnTo>
                    <a:pt x="13" y="90"/>
                  </a:lnTo>
                  <a:lnTo>
                    <a:pt x="13" y="92"/>
                  </a:lnTo>
                  <a:lnTo>
                    <a:pt x="15" y="90"/>
                  </a:lnTo>
                  <a:lnTo>
                    <a:pt x="15" y="88"/>
                  </a:lnTo>
                  <a:lnTo>
                    <a:pt x="19" y="86"/>
                  </a:lnTo>
                  <a:lnTo>
                    <a:pt x="11" y="88"/>
                  </a:lnTo>
                  <a:lnTo>
                    <a:pt x="13" y="86"/>
                  </a:lnTo>
                  <a:lnTo>
                    <a:pt x="19" y="84"/>
                  </a:lnTo>
                  <a:lnTo>
                    <a:pt x="21" y="82"/>
                  </a:lnTo>
                  <a:lnTo>
                    <a:pt x="19" y="82"/>
                  </a:lnTo>
                  <a:lnTo>
                    <a:pt x="23" y="78"/>
                  </a:lnTo>
                  <a:lnTo>
                    <a:pt x="31" y="82"/>
                  </a:lnTo>
                  <a:lnTo>
                    <a:pt x="31" y="86"/>
                  </a:lnTo>
                  <a:lnTo>
                    <a:pt x="36" y="84"/>
                  </a:lnTo>
                  <a:lnTo>
                    <a:pt x="38" y="84"/>
                  </a:lnTo>
                  <a:lnTo>
                    <a:pt x="38" y="86"/>
                  </a:lnTo>
                  <a:lnTo>
                    <a:pt x="38" y="88"/>
                  </a:lnTo>
                  <a:lnTo>
                    <a:pt x="36" y="90"/>
                  </a:lnTo>
                  <a:lnTo>
                    <a:pt x="36" y="92"/>
                  </a:lnTo>
                  <a:lnTo>
                    <a:pt x="38" y="90"/>
                  </a:lnTo>
                  <a:lnTo>
                    <a:pt x="38" y="88"/>
                  </a:lnTo>
                  <a:lnTo>
                    <a:pt x="40" y="86"/>
                  </a:lnTo>
                  <a:lnTo>
                    <a:pt x="42" y="84"/>
                  </a:lnTo>
                  <a:lnTo>
                    <a:pt x="42" y="82"/>
                  </a:lnTo>
                  <a:lnTo>
                    <a:pt x="38" y="82"/>
                  </a:lnTo>
                  <a:lnTo>
                    <a:pt x="36" y="82"/>
                  </a:lnTo>
                  <a:lnTo>
                    <a:pt x="32" y="82"/>
                  </a:lnTo>
                  <a:lnTo>
                    <a:pt x="36" y="82"/>
                  </a:lnTo>
                  <a:lnTo>
                    <a:pt x="40" y="82"/>
                  </a:lnTo>
                  <a:lnTo>
                    <a:pt x="38" y="80"/>
                  </a:lnTo>
                  <a:lnTo>
                    <a:pt x="34" y="80"/>
                  </a:lnTo>
                  <a:lnTo>
                    <a:pt x="31" y="80"/>
                  </a:lnTo>
                  <a:lnTo>
                    <a:pt x="27" y="78"/>
                  </a:lnTo>
                  <a:lnTo>
                    <a:pt x="23" y="76"/>
                  </a:lnTo>
                  <a:lnTo>
                    <a:pt x="19" y="78"/>
                  </a:lnTo>
                  <a:lnTo>
                    <a:pt x="13" y="78"/>
                  </a:lnTo>
                  <a:lnTo>
                    <a:pt x="11" y="76"/>
                  </a:lnTo>
                  <a:lnTo>
                    <a:pt x="11" y="74"/>
                  </a:lnTo>
                  <a:lnTo>
                    <a:pt x="13" y="74"/>
                  </a:lnTo>
                  <a:lnTo>
                    <a:pt x="11" y="73"/>
                  </a:lnTo>
                  <a:lnTo>
                    <a:pt x="9" y="73"/>
                  </a:lnTo>
                  <a:lnTo>
                    <a:pt x="9" y="71"/>
                  </a:lnTo>
                  <a:lnTo>
                    <a:pt x="11" y="71"/>
                  </a:lnTo>
                  <a:lnTo>
                    <a:pt x="13" y="73"/>
                  </a:lnTo>
                  <a:lnTo>
                    <a:pt x="15" y="71"/>
                  </a:lnTo>
                  <a:lnTo>
                    <a:pt x="17" y="76"/>
                  </a:lnTo>
                  <a:lnTo>
                    <a:pt x="19" y="74"/>
                  </a:lnTo>
                  <a:lnTo>
                    <a:pt x="21" y="73"/>
                  </a:lnTo>
                  <a:lnTo>
                    <a:pt x="23" y="73"/>
                  </a:lnTo>
                  <a:lnTo>
                    <a:pt x="21" y="71"/>
                  </a:lnTo>
                  <a:lnTo>
                    <a:pt x="21" y="69"/>
                  </a:lnTo>
                  <a:lnTo>
                    <a:pt x="17" y="67"/>
                  </a:lnTo>
                  <a:lnTo>
                    <a:pt x="15" y="67"/>
                  </a:lnTo>
                  <a:lnTo>
                    <a:pt x="15" y="65"/>
                  </a:lnTo>
                  <a:lnTo>
                    <a:pt x="15" y="63"/>
                  </a:lnTo>
                  <a:lnTo>
                    <a:pt x="15" y="61"/>
                  </a:lnTo>
                  <a:lnTo>
                    <a:pt x="17" y="61"/>
                  </a:lnTo>
                  <a:lnTo>
                    <a:pt x="21" y="63"/>
                  </a:lnTo>
                  <a:lnTo>
                    <a:pt x="21" y="67"/>
                  </a:lnTo>
                  <a:lnTo>
                    <a:pt x="27" y="73"/>
                  </a:lnTo>
                  <a:lnTo>
                    <a:pt x="27" y="69"/>
                  </a:lnTo>
                  <a:lnTo>
                    <a:pt x="29" y="71"/>
                  </a:lnTo>
                  <a:lnTo>
                    <a:pt x="29" y="69"/>
                  </a:lnTo>
                  <a:lnTo>
                    <a:pt x="27" y="67"/>
                  </a:lnTo>
                  <a:lnTo>
                    <a:pt x="25" y="67"/>
                  </a:lnTo>
                  <a:lnTo>
                    <a:pt x="23" y="65"/>
                  </a:lnTo>
                  <a:lnTo>
                    <a:pt x="25" y="63"/>
                  </a:lnTo>
                  <a:lnTo>
                    <a:pt x="27" y="61"/>
                  </a:lnTo>
                  <a:lnTo>
                    <a:pt x="29" y="65"/>
                  </a:lnTo>
                  <a:lnTo>
                    <a:pt x="31" y="65"/>
                  </a:lnTo>
                  <a:lnTo>
                    <a:pt x="31" y="67"/>
                  </a:lnTo>
                  <a:lnTo>
                    <a:pt x="31" y="69"/>
                  </a:lnTo>
                  <a:lnTo>
                    <a:pt x="32" y="69"/>
                  </a:lnTo>
                  <a:lnTo>
                    <a:pt x="32" y="65"/>
                  </a:lnTo>
                  <a:lnTo>
                    <a:pt x="36" y="63"/>
                  </a:lnTo>
                  <a:lnTo>
                    <a:pt x="38" y="63"/>
                  </a:lnTo>
                  <a:lnTo>
                    <a:pt x="40" y="67"/>
                  </a:lnTo>
                  <a:lnTo>
                    <a:pt x="38" y="69"/>
                  </a:lnTo>
                  <a:lnTo>
                    <a:pt x="36" y="73"/>
                  </a:lnTo>
                  <a:lnTo>
                    <a:pt x="34" y="74"/>
                  </a:lnTo>
                  <a:lnTo>
                    <a:pt x="38" y="73"/>
                  </a:lnTo>
                  <a:lnTo>
                    <a:pt x="40" y="69"/>
                  </a:lnTo>
                  <a:lnTo>
                    <a:pt x="40" y="67"/>
                  </a:lnTo>
                  <a:lnTo>
                    <a:pt x="42" y="69"/>
                  </a:lnTo>
                  <a:lnTo>
                    <a:pt x="42" y="71"/>
                  </a:lnTo>
                  <a:lnTo>
                    <a:pt x="44" y="71"/>
                  </a:lnTo>
                  <a:lnTo>
                    <a:pt x="50" y="71"/>
                  </a:lnTo>
                  <a:lnTo>
                    <a:pt x="46" y="69"/>
                  </a:lnTo>
                  <a:lnTo>
                    <a:pt x="44" y="67"/>
                  </a:lnTo>
                  <a:lnTo>
                    <a:pt x="38" y="61"/>
                  </a:lnTo>
                  <a:lnTo>
                    <a:pt x="40" y="61"/>
                  </a:lnTo>
                  <a:lnTo>
                    <a:pt x="40" y="59"/>
                  </a:lnTo>
                  <a:lnTo>
                    <a:pt x="46" y="55"/>
                  </a:lnTo>
                  <a:lnTo>
                    <a:pt x="52" y="53"/>
                  </a:lnTo>
                  <a:lnTo>
                    <a:pt x="54" y="55"/>
                  </a:lnTo>
                  <a:lnTo>
                    <a:pt x="54" y="57"/>
                  </a:lnTo>
                  <a:lnTo>
                    <a:pt x="56" y="61"/>
                  </a:lnTo>
                  <a:lnTo>
                    <a:pt x="56" y="65"/>
                  </a:lnTo>
                  <a:lnTo>
                    <a:pt x="57" y="67"/>
                  </a:lnTo>
                  <a:lnTo>
                    <a:pt x="59" y="67"/>
                  </a:lnTo>
                  <a:lnTo>
                    <a:pt x="57" y="61"/>
                  </a:lnTo>
                  <a:lnTo>
                    <a:pt x="56" y="57"/>
                  </a:lnTo>
                  <a:lnTo>
                    <a:pt x="54" y="53"/>
                  </a:lnTo>
                  <a:lnTo>
                    <a:pt x="56" y="51"/>
                  </a:lnTo>
                  <a:lnTo>
                    <a:pt x="57" y="51"/>
                  </a:lnTo>
                  <a:lnTo>
                    <a:pt x="59" y="55"/>
                  </a:lnTo>
                  <a:lnTo>
                    <a:pt x="61" y="55"/>
                  </a:lnTo>
                  <a:lnTo>
                    <a:pt x="59" y="51"/>
                  </a:lnTo>
                  <a:lnTo>
                    <a:pt x="57" y="50"/>
                  </a:lnTo>
                  <a:lnTo>
                    <a:pt x="54" y="50"/>
                  </a:lnTo>
                  <a:lnTo>
                    <a:pt x="48" y="50"/>
                  </a:lnTo>
                  <a:lnTo>
                    <a:pt x="46" y="51"/>
                  </a:lnTo>
                  <a:lnTo>
                    <a:pt x="44" y="50"/>
                  </a:lnTo>
                  <a:lnTo>
                    <a:pt x="46" y="48"/>
                  </a:lnTo>
                  <a:lnTo>
                    <a:pt x="50" y="48"/>
                  </a:lnTo>
                  <a:lnTo>
                    <a:pt x="52" y="48"/>
                  </a:lnTo>
                  <a:lnTo>
                    <a:pt x="48" y="46"/>
                  </a:lnTo>
                  <a:lnTo>
                    <a:pt x="46" y="46"/>
                  </a:lnTo>
                  <a:lnTo>
                    <a:pt x="52" y="44"/>
                  </a:lnTo>
                  <a:lnTo>
                    <a:pt x="56" y="44"/>
                  </a:lnTo>
                  <a:lnTo>
                    <a:pt x="59" y="44"/>
                  </a:lnTo>
                  <a:lnTo>
                    <a:pt x="59" y="42"/>
                  </a:lnTo>
                  <a:lnTo>
                    <a:pt x="52" y="42"/>
                  </a:lnTo>
                  <a:lnTo>
                    <a:pt x="50" y="40"/>
                  </a:lnTo>
                  <a:lnTo>
                    <a:pt x="56" y="38"/>
                  </a:lnTo>
                  <a:lnTo>
                    <a:pt x="56" y="40"/>
                  </a:lnTo>
                  <a:lnTo>
                    <a:pt x="57" y="38"/>
                  </a:lnTo>
                  <a:lnTo>
                    <a:pt x="59" y="38"/>
                  </a:lnTo>
                  <a:lnTo>
                    <a:pt x="61" y="40"/>
                  </a:lnTo>
                  <a:lnTo>
                    <a:pt x="61" y="38"/>
                  </a:lnTo>
                  <a:lnTo>
                    <a:pt x="67" y="36"/>
                  </a:lnTo>
                  <a:lnTo>
                    <a:pt x="67" y="38"/>
                  </a:lnTo>
                  <a:lnTo>
                    <a:pt x="71" y="40"/>
                  </a:lnTo>
                  <a:lnTo>
                    <a:pt x="71" y="38"/>
                  </a:lnTo>
                  <a:lnTo>
                    <a:pt x="75" y="38"/>
                  </a:lnTo>
                  <a:lnTo>
                    <a:pt x="75" y="44"/>
                  </a:lnTo>
                  <a:lnTo>
                    <a:pt x="77" y="44"/>
                  </a:lnTo>
                  <a:lnTo>
                    <a:pt x="77" y="40"/>
                  </a:lnTo>
                  <a:lnTo>
                    <a:pt x="82" y="40"/>
                  </a:lnTo>
                  <a:lnTo>
                    <a:pt x="84" y="42"/>
                  </a:lnTo>
                  <a:lnTo>
                    <a:pt x="84" y="44"/>
                  </a:lnTo>
                  <a:lnTo>
                    <a:pt x="86" y="44"/>
                  </a:lnTo>
                  <a:lnTo>
                    <a:pt x="88" y="48"/>
                  </a:lnTo>
                  <a:lnTo>
                    <a:pt x="90" y="48"/>
                  </a:lnTo>
                  <a:lnTo>
                    <a:pt x="92" y="44"/>
                  </a:lnTo>
                  <a:lnTo>
                    <a:pt x="96" y="42"/>
                  </a:lnTo>
                  <a:lnTo>
                    <a:pt x="92" y="42"/>
                  </a:lnTo>
                  <a:lnTo>
                    <a:pt x="88" y="42"/>
                  </a:lnTo>
                  <a:lnTo>
                    <a:pt x="88" y="40"/>
                  </a:lnTo>
                  <a:lnTo>
                    <a:pt x="88" y="38"/>
                  </a:lnTo>
                  <a:lnTo>
                    <a:pt x="86" y="34"/>
                  </a:lnTo>
                  <a:lnTo>
                    <a:pt x="86" y="32"/>
                  </a:lnTo>
                  <a:lnTo>
                    <a:pt x="84" y="32"/>
                  </a:lnTo>
                  <a:lnTo>
                    <a:pt x="77" y="32"/>
                  </a:lnTo>
                  <a:lnTo>
                    <a:pt x="73" y="32"/>
                  </a:lnTo>
                  <a:lnTo>
                    <a:pt x="73" y="28"/>
                  </a:lnTo>
                  <a:lnTo>
                    <a:pt x="75" y="26"/>
                  </a:lnTo>
                  <a:lnTo>
                    <a:pt x="81" y="26"/>
                  </a:lnTo>
                  <a:lnTo>
                    <a:pt x="79" y="25"/>
                  </a:lnTo>
                  <a:lnTo>
                    <a:pt x="73" y="25"/>
                  </a:lnTo>
                  <a:lnTo>
                    <a:pt x="73" y="23"/>
                  </a:lnTo>
                  <a:lnTo>
                    <a:pt x="71" y="21"/>
                  </a:lnTo>
                  <a:lnTo>
                    <a:pt x="77" y="17"/>
                  </a:lnTo>
                  <a:lnTo>
                    <a:pt x="82" y="15"/>
                  </a:lnTo>
                  <a:lnTo>
                    <a:pt x="86" y="19"/>
                  </a:lnTo>
                  <a:lnTo>
                    <a:pt x="88" y="21"/>
                  </a:lnTo>
                  <a:lnTo>
                    <a:pt x="92" y="19"/>
                  </a:lnTo>
                  <a:lnTo>
                    <a:pt x="96" y="19"/>
                  </a:lnTo>
                  <a:lnTo>
                    <a:pt x="96" y="17"/>
                  </a:lnTo>
                  <a:lnTo>
                    <a:pt x="94" y="17"/>
                  </a:lnTo>
                  <a:lnTo>
                    <a:pt x="90" y="19"/>
                  </a:lnTo>
                  <a:lnTo>
                    <a:pt x="86" y="17"/>
                  </a:lnTo>
                  <a:lnTo>
                    <a:pt x="86" y="15"/>
                  </a:lnTo>
                  <a:lnTo>
                    <a:pt x="88" y="15"/>
                  </a:lnTo>
                  <a:lnTo>
                    <a:pt x="84" y="15"/>
                  </a:lnTo>
                  <a:lnTo>
                    <a:pt x="84" y="13"/>
                  </a:lnTo>
                  <a:lnTo>
                    <a:pt x="90" y="13"/>
                  </a:lnTo>
                  <a:lnTo>
                    <a:pt x="90" y="15"/>
                  </a:lnTo>
                  <a:lnTo>
                    <a:pt x="92" y="11"/>
                  </a:lnTo>
                  <a:lnTo>
                    <a:pt x="94" y="9"/>
                  </a:lnTo>
                  <a:lnTo>
                    <a:pt x="94" y="13"/>
                  </a:lnTo>
                  <a:lnTo>
                    <a:pt x="96" y="11"/>
                  </a:lnTo>
                  <a:lnTo>
                    <a:pt x="100" y="9"/>
                  </a:lnTo>
                  <a:lnTo>
                    <a:pt x="100" y="13"/>
                  </a:lnTo>
                  <a:lnTo>
                    <a:pt x="98" y="15"/>
                  </a:lnTo>
                  <a:lnTo>
                    <a:pt x="98" y="17"/>
                  </a:lnTo>
                  <a:lnTo>
                    <a:pt x="104" y="13"/>
                  </a:lnTo>
                  <a:lnTo>
                    <a:pt x="102" y="11"/>
                  </a:lnTo>
                  <a:lnTo>
                    <a:pt x="106" y="9"/>
                  </a:lnTo>
                  <a:lnTo>
                    <a:pt x="106" y="11"/>
                  </a:lnTo>
                  <a:lnTo>
                    <a:pt x="107" y="13"/>
                  </a:lnTo>
                  <a:lnTo>
                    <a:pt x="109" y="17"/>
                  </a:lnTo>
                  <a:lnTo>
                    <a:pt x="111" y="19"/>
                  </a:lnTo>
                  <a:lnTo>
                    <a:pt x="111" y="21"/>
                  </a:lnTo>
                  <a:lnTo>
                    <a:pt x="111" y="23"/>
                  </a:lnTo>
                  <a:lnTo>
                    <a:pt x="117" y="26"/>
                  </a:lnTo>
                  <a:lnTo>
                    <a:pt x="121" y="25"/>
                  </a:lnTo>
                  <a:lnTo>
                    <a:pt x="117" y="23"/>
                  </a:lnTo>
                  <a:lnTo>
                    <a:pt x="115" y="21"/>
                  </a:lnTo>
                  <a:lnTo>
                    <a:pt x="113" y="17"/>
                  </a:lnTo>
                  <a:lnTo>
                    <a:pt x="109" y="13"/>
                  </a:lnTo>
                  <a:lnTo>
                    <a:pt x="107" y="13"/>
                  </a:lnTo>
                  <a:lnTo>
                    <a:pt x="107" y="9"/>
                  </a:lnTo>
                  <a:lnTo>
                    <a:pt x="111" y="9"/>
                  </a:lnTo>
                  <a:lnTo>
                    <a:pt x="115" y="9"/>
                  </a:lnTo>
                  <a:lnTo>
                    <a:pt x="119" y="9"/>
                  </a:lnTo>
                  <a:lnTo>
                    <a:pt x="121" y="11"/>
                  </a:lnTo>
                  <a:lnTo>
                    <a:pt x="123" y="11"/>
                  </a:lnTo>
                  <a:lnTo>
                    <a:pt x="123" y="5"/>
                  </a:lnTo>
                  <a:lnTo>
                    <a:pt x="117" y="7"/>
                  </a:lnTo>
                  <a:lnTo>
                    <a:pt x="115" y="7"/>
                  </a:lnTo>
                  <a:lnTo>
                    <a:pt x="111" y="3"/>
                  </a:lnTo>
                  <a:lnTo>
                    <a:pt x="111" y="1"/>
                  </a:lnTo>
                  <a:lnTo>
                    <a:pt x="113" y="1"/>
                  </a:lnTo>
                  <a:lnTo>
                    <a:pt x="117"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29" name="Freeform 217"/>
            <p:cNvSpPr>
              <a:spLocks/>
            </p:cNvSpPr>
            <p:nvPr/>
          </p:nvSpPr>
          <p:spPr bwMode="auto">
            <a:xfrm>
              <a:off x="2323" y="1979"/>
              <a:ext cx="27" cy="46"/>
            </a:xfrm>
            <a:custGeom>
              <a:avLst/>
              <a:gdLst>
                <a:gd name="T0" fmla="*/ 27 w 27"/>
                <a:gd name="T1" fmla="*/ 46 h 46"/>
                <a:gd name="T2" fmla="*/ 25 w 27"/>
                <a:gd name="T3" fmla="*/ 46 h 46"/>
                <a:gd name="T4" fmla="*/ 25 w 27"/>
                <a:gd name="T5" fmla="*/ 44 h 46"/>
                <a:gd name="T6" fmla="*/ 22 w 27"/>
                <a:gd name="T7" fmla="*/ 42 h 46"/>
                <a:gd name="T8" fmla="*/ 18 w 27"/>
                <a:gd name="T9" fmla="*/ 40 h 46"/>
                <a:gd name="T10" fmla="*/ 16 w 27"/>
                <a:gd name="T11" fmla="*/ 34 h 46"/>
                <a:gd name="T12" fmla="*/ 12 w 27"/>
                <a:gd name="T13" fmla="*/ 34 h 46"/>
                <a:gd name="T14" fmla="*/ 10 w 27"/>
                <a:gd name="T15" fmla="*/ 32 h 46"/>
                <a:gd name="T16" fmla="*/ 4 w 27"/>
                <a:gd name="T17" fmla="*/ 27 h 46"/>
                <a:gd name="T18" fmla="*/ 2 w 27"/>
                <a:gd name="T19" fmla="*/ 23 h 46"/>
                <a:gd name="T20" fmla="*/ 2 w 27"/>
                <a:gd name="T21" fmla="*/ 21 h 46"/>
                <a:gd name="T22" fmla="*/ 0 w 27"/>
                <a:gd name="T23" fmla="*/ 15 h 46"/>
                <a:gd name="T24" fmla="*/ 2 w 27"/>
                <a:gd name="T25" fmla="*/ 11 h 46"/>
                <a:gd name="T26" fmla="*/ 4 w 27"/>
                <a:gd name="T27" fmla="*/ 6 h 46"/>
                <a:gd name="T28" fmla="*/ 4 w 27"/>
                <a:gd name="T29" fmla="*/ 2 h 46"/>
                <a:gd name="T30" fmla="*/ 4 w 27"/>
                <a:gd name="T31" fmla="*/ 0 h 46"/>
                <a:gd name="T32" fmla="*/ 10 w 27"/>
                <a:gd name="T33" fmla="*/ 2 h 46"/>
                <a:gd name="T34" fmla="*/ 10 w 27"/>
                <a:gd name="T35" fmla="*/ 6 h 46"/>
                <a:gd name="T36" fmla="*/ 12 w 27"/>
                <a:gd name="T37" fmla="*/ 6 h 46"/>
                <a:gd name="T38" fmla="*/ 14 w 27"/>
                <a:gd name="T3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46">
                  <a:moveTo>
                    <a:pt x="27" y="46"/>
                  </a:moveTo>
                  <a:lnTo>
                    <a:pt x="25" y="46"/>
                  </a:lnTo>
                  <a:lnTo>
                    <a:pt x="25" y="44"/>
                  </a:lnTo>
                  <a:lnTo>
                    <a:pt x="22" y="42"/>
                  </a:lnTo>
                  <a:lnTo>
                    <a:pt x="18" y="40"/>
                  </a:lnTo>
                  <a:lnTo>
                    <a:pt x="16" y="34"/>
                  </a:lnTo>
                  <a:lnTo>
                    <a:pt x="12" y="34"/>
                  </a:lnTo>
                  <a:lnTo>
                    <a:pt x="10" y="32"/>
                  </a:lnTo>
                  <a:lnTo>
                    <a:pt x="4" y="27"/>
                  </a:lnTo>
                  <a:lnTo>
                    <a:pt x="2" y="23"/>
                  </a:lnTo>
                  <a:lnTo>
                    <a:pt x="2" y="21"/>
                  </a:lnTo>
                  <a:lnTo>
                    <a:pt x="0" y="15"/>
                  </a:lnTo>
                  <a:lnTo>
                    <a:pt x="2" y="11"/>
                  </a:lnTo>
                  <a:lnTo>
                    <a:pt x="4" y="6"/>
                  </a:lnTo>
                  <a:lnTo>
                    <a:pt x="4" y="2"/>
                  </a:lnTo>
                  <a:lnTo>
                    <a:pt x="4" y="0"/>
                  </a:lnTo>
                  <a:lnTo>
                    <a:pt x="10" y="2"/>
                  </a:lnTo>
                  <a:lnTo>
                    <a:pt x="10" y="6"/>
                  </a:lnTo>
                  <a:lnTo>
                    <a:pt x="12" y="6"/>
                  </a:lnTo>
                  <a:lnTo>
                    <a:pt x="14"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0" name="Freeform 218"/>
            <p:cNvSpPr>
              <a:spLocks/>
            </p:cNvSpPr>
            <p:nvPr/>
          </p:nvSpPr>
          <p:spPr bwMode="auto">
            <a:xfrm>
              <a:off x="2654" y="1341"/>
              <a:ext cx="31" cy="33"/>
            </a:xfrm>
            <a:custGeom>
              <a:avLst/>
              <a:gdLst>
                <a:gd name="T0" fmla="*/ 0 w 31"/>
                <a:gd name="T1" fmla="*/ 29 h 33"/>
                <a:gd name="T2" fmla="*/ 4 w 31"/>
                <a:gd name="T3" fmla="*/ 27 h 33"/>
                <a:gd name="T4" fmla="*/ 6 w 31"/>
                <a:gd name="T5" fmla="*/ 25 h 33"/>
                <a:gd name="T6" fmla="*/ 8 w 31"/>
                <a:gd name="T7" fmla="*/ 25 h 33"/>
                <a:gd name="T8" fmla="*/ 8 w 31"/>
                <a:gd name="T9" fmla="*/ 23 h 33"/>
                <a:gd name="T10" fmla="*/ 4 w 31"/>
                <a:gd name="T11" fmla="*/ 23 h 33"/>
                <a:gd name="T12" fmla="*/ 6 w 31"/>
                <a:gd name="T13" fmla="*/ 21 h 33"/>
                <a:gd name="T14" fmla="*/ 10 w 31"/>
                <a:gd name="T15" fmla="*/ 19 h 33"/>
                <a:gd name="T16" fmla="*/ 10 w 31"/>
                <a:gd name="T17" fmla="*/ 17 h 33"/>
                <a:gd name="T18" fmla="*/ 6 w 31"/>
                <a:gd name="T19" fmla="*/ 19 h 33"/>
                <a:gd name="T20" fmla="*/ 6 w 31"/>
                <a:gd name="T21" fmla="*/ 15 h 33"/>
                <a:gd name="T22" fmla="*/ 8 w 31"/>
                <a:gd name="T23" fmla="*/ 15 h 33"/>
                <a:gd name="T24" fmla="*/ 6 w 31"/>
                <a:gd name="T25" fmla="*/ 13 h 33"/>
                <a:gd name="T26" fmla="*/ 2 w 31"/>
                <a:gd name="T27" fmla="*/ 13 h 33"/>
                <a:gd name="T28" fmla="*/ 6 w 31"/>
                <a:gd name="T29" fmla="*/ 13 h 33"/>
                <a:gd name="T30" fmla="*/ 8 w 31"/>
                <a:gd name="T31" fmla="*/ 11 h 33"/>
                <a:gd name="T32" fmla="*/ 11 w 31"/>
                <a:gd name="T33" fmla="*/ 11 h 33"/>
                <a:gd name="T34" fmla="*/ 11 w 31"/>
                <a:gd name="T35" fmla="*/ 9 h 33"/>
                <a:gd name="T36" fmla="*/ 11 w 31"/>
                <a:gd name="T37" fmla="*/ 6 h 33"/>
                <a:gd name="T38" fmla="*/ 13 w 31"/>
                <a:gd name="T39" fmla="*/ 8 h 33"/>
                <a:gd name="T40" fmla="*/ 11 w 31"/>
                <a:gd name="T41" fmla="*/ 6 h 33"/>
                <a:gd name="T42" fmla="*/ 13 w 31"/>
                <a:gd name="T43" fmla="*/ 4 h 33"/>
                <a:gd name="T44" fmla="*/ 15 w 31"/>
                <a:gd name="T45" fmla="*/ 6 h 33"/>
                <a:gd name="T46" fmla="*/ 19 w 31"/>
                <a:gd name="T47" fmla="*/ 8 h 33"/>
                <a:gd name="T48" fmla="*/ 17 w 31"/>
                <a:gd name="T49" fmla="*/ 4 h 33"/>
                <a:gd name="T50" fmla="*/ 17 w 31"/>
                <a:gd name="T51" fmla="*/ 0 h 33"/>
                <a:gd name="T52" fmla="*/ 19 w 31"/>
                <a:gd name="T53" fmla="*/ 4 h 33"/>
                <a:gd name="T54" fmla="*/ 21 w 31"/>
                <a:gd name="T55" fmla="*/ 2 h 33"/>
                <a:gd name="T56" fmla="*/ 19 w 31"/>
                <a:gd name="T57" fmla="*/ 0 h 33"/>
                <a:gd name="T58" fmla="*/ 23 w 31"/>
                <a:gd name="T59" fmla="*/ 2 h 33"/>
                <a:gd name="T60" fmla="*/ 25 w 31"/>
                <a:gd name="T61" fmla="*/ 0 h 33"/>
                <a:gd name="T62" fmla="*/ 27 w 31"/>
                <a:gd name="T63" fmla="*/ 4 h 33"/>
                <a:gd name="T64" fmla="*/ 25 w 31"/>
                <a:gd name="T65" fmla="*/ 6 h 33"/>
                <a:gd name="T66" fmla="*/ 27 w 31"/>
                <a:gd name="T67" fmla="*/ 6 h 33"/>
                <a:gd name="T68" fmla="*/ 29 w 31"/>
                <a:gd name="T69" fmla="*/ 6 h 33"/>
                <a:gd name="T70" fmla="*/ 31 w 31"/>
                <a:gd name="T71" fmla="*/ 6 h 33"/>
                <a:gd name="T72" fmla="*/ 29 w 31"/>
                <a:gd name="T73" fmla="*/ 8 h 33"/>
                <a:gd name="T74" fmla="*/ 29 w 31"/>
                <a:gd name="T75" fmla="*/ 9 h 33"/>
                <a:gd name="T76" fmla="*/ 31 w 31"/>
                <a:gd name="T77" fmla="*/ 8 h 33"/>
                <a:gd name="T78" fmla="*/ 31 w 31"/>
                <a:gd name="T79" fmla="*/ 11 h 33"/>
                <a:gd name="T80" fmla="*/ 27 w 31"/>
                <a:gd name="T81" fmla="*/ 13 h 33"/>
                <a:gd name="T82" fmla="*/ 27 w 31"/>
                <a:gd name="T83" fmla="*/ 17 h 33"/>
                <a:gd name="T84" fmla="*/ 27 w 31"/>
                <a:gd name="T85" fmla="*/ 21 h 33"/>
                <a:gd name="T86" fmla="*/ 27 w 31"/>
                <a:gd name="T87" fmla="*/ 23 h 33"/>
                <a:gd name="T88" fmla="*/ 23 w 31"/>
                <a:gd name="T89" fmla="*/ 23 h 33"/>
                <a:gd name="T90" fmla="*/ 19 w 31"/>
                <a:gd name="T91" fmla="*/ 25 h 33"/>
                <a:gd name="T92" fmla="*/ 17 w 31"/>
                <a:gd name="T93" fmla="*/ 23 h 33"/>
                <a:gd name="T94" fmla="*/ 15 w 31"/>
                <a:gd name="T95" fmla="*/ 23 h 33"/>
                <a:gd name="T96" fmla="*/ 13 w 31"/>
                <a:gd name="T97" fmla="*/ 27 h 33"/>
                <a:gd name="T98" fmla="*/ 10 w 31"/>
                <a:gd name="T99" fmla="*/ 29 h 33"/>
                <a:gd name="T100" fmla="*/ 11 w 31"/>
                <a:gd name="T101" fmla="*/ 31 h 33"/>
                <a:gd name="T102" fmla="*/ 10 w 31"/>
                <a:gd name="T103" fmla="*/ 33 h 33"/>
                <a:gd name="T104" fmla="*/ 8 w 31"/>
                <a:gd name="T105" fmla="*/ 31 h 33"/>
                <a:gd name="T106" fmla="*/ 10 w 31"/>
                <a:gd name="T107" fmla="*/ 29 h 33"/>
                <a:gd name="T108" fmla="*/ 6 w 31"/>
                <a:gd name="T109" fmla="*/ 29 h 33"/>
                <a:gd name="T110" fmla="*/ 2 w 31"/>
                <a:gd name="T11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 h="33">
                  <a:moveTo>
                    <a:pt x="0" y="31"/>
                  </a:moveTo>
                  <a:lnTo>
                    <a:pt x="0" y="29"/>
                  </a:lnTo>
                  <a:lnTo>
                    <a:pt x="2" y="27"/>
                  </a:lnTo>
                  <a:lnTo>
                    <a:pt x="4" y="27"/>
                  </a:lnTo>
                  <a:lnTo>
                    <a:pt x="6" y="27"/>
                  </a:lnTo>
                  <a:lnTo>
                    <a:pt x="6" y="25"/>
                  </a:lnTo>
                  <a:lnTo>
                    <a:pt x="8" y="27"/>
                  </a:lnTo>
                  <a:lnTo>
                    <a:pt x="8" y="25"/>
                  </a:lnTo>
                  <a:lnTo>
                    <a:pt x="10" y="23"/>
                  </a:lnTo>
                  <a:lnTo>
                    <a:pt x="8" y="23"/>
                  </a:lnTo>
                  <a:lnTo>
                    <a:pt x="6" y="23"/>
                  </a:lnTo>
                  <a:lnTo>
                    <a:pt x="4" y="23"/>
                  </a:lnTo>
                  <a:lnTo>
                    <a:pt x="4" y="21"/>
                  </a:lnTo>
                  <a:lnTo>
                    <a:pt x="6" y="21"/>
                  </a:lnTo>
                  <a:lnTo>
                    <a:pt x="8" y="21"/>
                  </a:lnTo>
                  <a:lnTo>
                    <a:pt x="10" y="19"/>
                  </a:lnTo>
                  <a:lnTo>
                    <a:pt x="8" y="19"/>
                  </a:lnTo>
                  <a:lnTo>
                    <a:pt x="10" y="17"/>
                  </a:lnTo>
                  <a:lnTo>
                    <a:pt x="8" y="19"/>
                  </a:lnTo>
                  <a:lnTo>
                    <a:pt x="6" y="19"/>
                  </a:lnTo>
                  <a:lnTo>
                    <a:pt x="4" y="17"/>
                  </a:lnTo>
                  <a:lnTo>
                    <a:pt x="6" y="15"/>
                  </a:lnTo>
                  <a:lnTo>
                    <a:pt x="8" y="17"/>
                  </a:lnTo>
                  <a:lnTo>
                    <a:pt x="8" y="15"/>
                  </a:lnTo>
                  <a:lnTo>
                    <a:pt x="8" y="13"/>
                  </a:lnTo>
                  <a:lnTo>
                    <a:pt x="6" y="13"/>
                  </a:lnTo>
                  <a:lnTo>
                    <a:pt x="4" y="15"/>
                  </a:lnTo>
                  <a:lnTo>
                    <a:pt x="2" y="13"/>
                  </a:lnTo>
                  <a:lnTo>
                    <a:pt x="4" y="13"/>
                  </a:lnTo>
                  <a:lnTo>
                    <a:pt x="6" y="13"/>
                  </a:lnTo>
                  <a:lnTo>
                    <a:pt x="6" y="11"/>
                  </a:lnTo>
                  <a:lnTo>
                    <a:pt x="8" y="11"/>
                  </a:lnTo>
                  <a:lnTo>
                    <a:pt x="10" y="11"/>
                  </a:lnTo>
                  <a:lnTo>
                    <a:pt x="11" y="11"/>
                  </a:lnTo>
                  <a:lnTo>
                    <a:pt x="13" y="9"/>
                  </a:lnTo>
                  <a:lnTo>
                    <a:pt x="11" y="9"/>
                  </a:lnTo>
                  <a:lnTo>
                    <a:pt x="10" y="8"/>
                  </a:lnTo>
                  <a:lnTo>
                    <a:pt x="11" y="6"/>
                  </a:lnTo>
                  <a:lnTo>
                    <a:pt x="11" y="8"/>
                  </a:lnTo>
                  <a:lnTo>
                    <a:pt x="13" y="8"/>
                  </a:lnTo>
                  <a:lnTo>
                    <a:pt x="13" y="6"/>
                  </a:lnTo>
                  <a:lnTo>
                    <a:pt x="11" y="6"/>
                  </a:lnTo>
                  <a:lnTo>
                    <a:pt x="11" y="4"/>
                  </a:lnTo>
                  <a:lnTo>
                    <a:pt x="13" y="4"/>
                  </a:lnTo>
                  <a:lnTo>
                    <a:pt x="15" y="4"/>
                  </a:lnTo>
                  <a:lnTo>
                    <a:pt x="15" y="6"/>
                  </a:lnTo>
                  <a:lnTo>
                    <a:pt x="17" y="6"/>
                  </a:lnTo>
                  <a:lnTo>
                    <a:pt x="19" y="8"/>
                  </a:lnTo>
                  <a:lnTo>
                    <a:pt x="21" y="6"/>
                  </a:lnTo>
                  <a:lnTo>
                    <a:pt x="17" y="4"/>
                  </a:lnTo>
                  <a:lnTo>
                    <a:pt x="15" y="2"/>
                  </a:lnTo>
                  <a:lnTo>
                    <a:pt x="17" y="0"/>
                  </a:lnTo>
                  <a:lnTo>
                    <a:pt x="19" y="2"/>
                  </a:lnTo>
                  <a:lnTo>
                    <a:pt x="19" y="4"/>
                  </a:lnTo>
                  <a:lnTo>
                    <a:pt x="21" y="4"/>
                  </a:lnTo>
                  <a:lnTo>
                    <a:pt x="21" y="2"/>
                  </a:lnTo>
                  <a:lnTo>
                    <a:pt x="19" y="2"/>
                  </a:lnTo>
                  <a:lnTo>
                    <a:pt x="19" y="0"/>
                  </a:lnTo>
                  <a:lnTo>
                    <a:pt x="21" y="0"/>
                  </a:lnTo>
                  <a:lnTo>
                    <a:pt x="23" y="2"/>
                  </a:lnTo>
                  <a:lnTo>
                    <a:pt x="23" y="0"/>
                  </a:lnTo>
                  <a:lnTo>
                    <a:pt x="25" y="0"/>
                  </a:lnTo>
                  <a:lnTo>
                    <a:pt x="25" y="2"/>
                  </a:lnTo>
                  <a:lnTo>
                    <a:pt x="27" y="4"/>
                  </a:lnTo>
                  <a:lnTo>
                    <a:pt x="25" y="4"/>
                  </a:lnTo>
                  <a:lnTo>
                    <a:pt x="25" y="6"/>
                  </a:lnTo>
                  <a:lnTo>
                    <a:pt x="25" y="8"/>
                  </a:lnTo>
                  <a:lnTo>
                    <a:pt x="27" y="6"/>
                  </a:lnTo>
                  <a:lnTo>
                    <a:pt x="27" y="4"/>
                  </a:lnTo>
                  <a:lnTo>
                    <a:pt x="29" y="6"/>
                  </a:lnTo>
                  <a:lnTo>
                    <a:pt x="31" y="4"/>
                  </a:lnTo>
                  <a:lnTo>
                    <a:pt x="31" y="6"/>
                  </a:lnTo>
                  <a:lnTo>
                    <a:pt x="29" y="6"/>
                  </a:lnTo>
                  <a:lnTo>
                    <a:pt x="29" y="8"/>
                  </a:lnTo>
                  <a:lnTo>
                    <a:pt x="27" y="9"/>
                  </a:lnTo>
                  <a:lnTo>
                    <a:pt x="29" y="9"/>
                  </a:lnTo>
                  <a:lnTo>
                    <a:pt x="29" y="8"/>
                  </a:lnTo>
                  <a:lnTo>
                    <a:pt x="31" y="8"/>
                  </a:lnTo>
                  <a:lnTo>
                    <a:pt x="31" y="9"/>
                  </a:lnTo>
                  <a:lnTo>
                    <a:pt x="31" y="11"/>
                  </a:lnTo>
                  <a:lnTo>
                    <a:pt x="29" y="13"/>
                  </a:lnTo>
                  <a:lnTo>
                    <a:pt x="27" y="13"/>
                  </a:lnTo>
                  <a:lnTo>
                    <a:pt x="27" y="15"/>
                  </a:lnTo>
                  <a:lnTo>
                    <a:pt x="27" y="17"/>
                  </a:lnTo>
                  <a:lnTo>
                    <a:pt x="27" y="19"/>
                  </a:lnTo>
                  <a:lnTo>
                    <a:pt x="27" y="21"/>
                  </a:lnTo>
                  <a:lnTo>
                    <a:pt x="29" y="21"/>
                  </a:lnTo>
                  <a:lnTo>
                    <a:pt x="27" y="23"/>
                  </a:lnTo>
                  <a:lnTo>
                    <a:pt x="25" y="23"/>
                  </a:lnTo>
                  <a:lnTo>
                    <a:pt x="23" y="23"/>
                  </a:lnTo>
                  <a:lnTo>
                    <a:pt x="21" y="25"/>
                  </a:lnTo>
                  <a:lnTo>
                    <a:pt x="19" y="25"/>
                  </a:lnTo>
                  <a:lnTo>
                    <a:pt x="17" y="25"/>
                  </a:lnTo>
                  <a:lnTo>
                    <a:pt x="17" y="23"/>
                  </a:lnTo>
                  <a:lnTo>
                    <a:pt x="17" y="21"/>
                  </a:lnTo>
                  <a:lnTo>
                    <a:pt x="15" y="23"/>
                  </a:lnTo>
                  <a:lnTo>
                    <a:pt x="15" y="25"/>
                  </a:lnTo>
                  <a:lnTo>
                    <a:pt x="13" y="27"/>
                  </a:lnTo>
                  <a:lnTo>
                    <a:pt x="11" y="29"/>
                  </a:lnTo>
                  <a:lnTo>
                    <a:pt x="10" y="29"/>
                  </a:lnTo>
                  <a:lnTo>
                    <a:pt x="10" y="31"/>
                  </a:lnTo>
                  <a:lnTo>
                    <a:pt x="11" y="31"/>
                  </a:lnTo>
                  <a:lnTo>
                    <a:pt x="11" y="33"/>
                  </a:lnTo>
                  <a:lnTo>
                    <a:pt x="10" y="33"/>
                  </a:lnTo>
                  <a:lnTo>
                    <a:pt x="8" y="33"/>
                  </a:lnTo>
                  <a:lnTo>
                    <a:pt x="8" y="31"/>
                  </a:lnTo>
                  <a:lnTo>
                    <a:pt x="10" y="31"/>
                  </a:lnTo>
                  <a:lnTo>
                    <a:pt x="10" y="29"/>
                  </a:lnTo>
                  <a:lnTo>
                    <a:pt x="8" y="31"/>
                  </a:lnTo>
                  <a:lnTo>
                    <a:pt x="6" y="29"/>
                  </a:lnTo>
                  <a:lnTo>
                    <a:pt x="4" y="31"/>
                  </a:lnTo>
                  <a:lnTo>
                    <a:pt x="2" y="31"/>
                  </a:lnTo>
                  <a:lnTo>
                    <a:pt x="0" y="3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1" name="Freeform 219"/>
            <p:cNvSpPr>
              <a:spLocks/>
            </p:cNvSpPr>
            <p:nvPr/>
          </p:nvSpPr>
          <p:spPr bwMode="auto">
            <a:xfrm>
              <a:off x="2554" y="1408"/>
              <a:ext cx="62" cy="37"/>
            </a:xfrm>
            <a:custGeom>
              <a:avLst/>
              <a:gdLst>
                <a:gd name="T0" fmla="*/ 2 w 62"/>
                <a:gd name="T1" fmla="*/ 37 h 37"/>
                <a:gd name="T2" fmla="*/ 6 w 62"/>
                <a:gd name="T3" fmla="*/ 35 h 37"/>
                <a:gd name="T4" fmla="*/ 10 w 62"/>
                <a:gd name="T5" fmla="*/ 29 h 37"/>
                <a:gd name="T6" fmla="*/ 12 w 62"/>
                <a:gd name="T7" fmla="*/ 25 h 37"/>
                <a:gd name="T8" fmla="*/ 15 w 62"/>
                <a:gd name="T9" fmla="*/ 25 h 37"/>
                <a:gd name="T10" fmla="*/ 19 w 62"/>
                <a:gd name="T11" fmla="*/ 19 h 37"/>
                <a:gd name="T12" fmla="*/ 19 w 62"/>
                <a:gd name="T13" fmla="*/ 23 h 37"/>
                <a:gd name="T14" fmla="*/ 23 w 62"/>
                <a:gd name="T15" fmla="*/ 19 h 37"/>
                <a:gd name="T16" fmla="*/ 23 w 62"/>
                <a:gd name="T17" fmla="*/ 23 h 37"/>
                <a:gd name="T18" fmla="*/ 25 w 62"/>
                <a:gd name="T19" fmla="*/ 19 h 37"/>
                <a:gd name="T20" fmla="*/ 27 w 62"/>
                <a:gd name="T21" fmla="*/ 19 h 37"/>
                <a:gd name="T22" fmla="*/ 27 w 62"/>
                <a:gd name="T23" fmla="*/ 17 h 37"/>
                <a:gd name="T24" fmla="*/ 29 w 62"/>
                <a:gd name="T25" fmla="*/ 15 h 37"/>
                <a:gd name="T26" fmla="*/ 31 w 62"/>
                <a:gd name="T27" fmla="*/ 15 h 37"/>
                <a:gd name="T28" fmla="*/ 35 w 62"/>
                <a:gd name="T29" fmla="*/ 14 h 37"/>
                <a:gd name="T30" fmla="*/ 37 w 62"/>
                <a:gd name="T31" fmla="*/ 15 h 37"/>
                <a:gd name="T32" fmla="*/ 38 w 62"/>
                <a:gd name="T33" fmla="*/ 15 h 37"/>
                <a:gd name="T34" fmla="*/ 44 w 62"/>
                <a:gd name="T35" fmla="*/ 15 h 37"/>
                <a:gd name="T36" fmla="*/ 48 w 62"/>
                <a:gd name="T37" fmla="*/ 12 h 37"/>
                <a:gd name="T38" fmla="*/ 50 w 62"/>
                <a:gd name="T39" fmla="*/ 8 h 37"/>
                <a:gd name="T40" fmla="*/ 50 w 62"/>
                <a:gd name="T41" fmla="*/ 8 h 37"/>
                <a:gd name="T42" fmla="*/ 50 w 62"/>
                <a:gd name="T43" fmla="*/ 12 h 37"/>
                <a:gd name="T44" fmla="*/ 54 w 62"/>
                <a:gd name="T45" fmla="*/ 10 h 37"/>
                <a:gd name="T46" fmla="*/ 58 w 62"/>
                <a:gd name="T47" fmla="*/ 6 h 37"/>
                <a:gd name="T48" fmla="*/ 60 w 62"/>
                <a:gd name="T49" fmla="*/ 2 h 37"/>
                <a:gd name="T50" fmla="*/ 60 w 62"/>
                <a:gd name="T51" fmla="*/ 0 h 37"/>
                <a:gd name="T52" fmla="*/ 56 w 62"/>
                <a:gd name="T53" fmla="*/ 0 h 37"/>
                <a:gd name="T54" fmla="*/ 52 w 62"/>
                <a:gd name="T55" fmla="*/ 2 h 37"/>
                <a:gd name="T56" fmla="*/ 50 w 62"/>
                <a:gd name="T57" fmla="*/ 4 h 37"/>
                <a:gd name="T58" fmla="*/ 46 w 62"/>
                <a:gd name="T59" fmla="*/ 2 h 37"/>
                <a:gd name="T60" fmla="*/ 46 w 62"/>
                <a:gd name="T61" fmla="*/ 6 h 37"/>
                <a:gd name="T62" fmla="*/ 42 w 62"/>
                <a:gd name="T63" fmla="*/ 4 h 37"/>
                <a:gd name="T64" fmla="*/ 44 w 62"/>
                <a:gd name="T65" fmla="*/ 6 h 37"/>
                <a:gd name="T66" fmla="*/ 42 w 62"/>
                <a:gd name="T67" fmla="*/ 8 h 37"/>
                <a:gd name="T68" fmla="*/ 40 w 62"/>
                <a:gd name="T69" fmla="*/ 10 h 37"/>
                <a:gd name="T70" fmla="*/ 38 w 62"/>
                <a:gd name="T71" fmla="*/ 10 h 37"/>
                <a:gd name="T72" fmla="*/ 35 w 62"/>
                <a:gd name="T73" fmla="*/ 8 h 37"/>
                <a:gd name="T74" fmla="*/ 33 w 62"/>
                <a:gd name="T75" fmla="*/ 10 h 37"/>
                <a:gd name="T76" fmla="*/ 33 w 62"/>
                <a:gd name="T77" fmla="*/ 12 h 37"/>
                <a:gd name="T78" fmla="*/ 33 w 62"/>
                <a:gd name="T79" fmla="*/ 10 h 37"/>
                <a:gd name="T80" fmla="*/ 31 w 62"/>
                <a:gd name="T81" fmla="*/ 8 h 37"/>
                <a:gd name="T82" fmla="*/ 29 w 62"/>
                <a:gd name="T83" fmla="*/ 10 h 37"/>
                <a:gd name="T84" fmla="*/ 25 w 62"/>
                <a:gd name="T85" fmla="*/ 12 h 37"/>
                <a:gd name="T86" fmla="*/ 21 w 62"/>
                <a:gd name="T87" fmla="*/ 12 h 37"/>
                <a:gd name="T88" fmla="*/ 21 w 62"/>
                <a:gd name="T89" fmla="*/ 14 h 37"/>
                <a:gd name="T90" fmla="*/ 17 w 62"/>
                <a:gd name="T91" fmla="*/ 15 h 37"/>
                <a:gd name="T92" fmla="*/ 17 w 62"/>
                <a:gd name="T93" fmla="*/ 17 h 37"/>
                <a:gd name="T94" fmla="*/ 13 w 62"/>
                <a:gd name="T95" fmla="*/ 17 h 37"/>
                <a:gd name="T96" fmla="*/ 13 w 62"/>
                <a:gd name="T97" fmla="*/ 21 h 37"/>
                <a:gd name="T98" fmla="*/ 10 w 62"/>
                <a:gd name="T99" fmla="*/ 23 h 37"/>
                <a:gd name="T100" fmla="*/ 8 w 62"/>
                <a:gd name="T101" fmla="*/ 21 h 37"/>
                <a:gd name="T102" fmla="*/ 6 w 62"/>
                <a:gd name="T103" fmla="*/ 25 h 37"/>
                <a:gd name="T104" fmla="*/ 4 w 62"/>
                <a:gd name="T105" fmla="*/ 29 h 37"/>
                <a:gd name="T106" fmla="*/ 2 w 62"/>
                <a:gd name="T107" fmla="*/ 33 h 37"/>
                <a:gd name="T108" fmla="*/ 0 w 62"/>
                <a:gd name="T10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 h="37">
                  <a:moveTo>
                    <a:pt x="0" y="37"/>
                  </a:moveTo>
                  <a:lnTo>
                    <a:pt x="2" y="37"/>
                  </a:lnTo>
                  <a:lnTo>
                    <a:pt x="4" y="37"/>
                  </a:lnTo>
                  <a:lnTo>
                    <a:pt x="6" y="35"/>
                  </a:lnTo>
                  <a:lnTo>
                    <a:pt x="8" y="33"/>
                  </a:lnTo>
                  <a:lnTo>
                    <a:pt x="10" y="29"/>
                  </a:lnTo>
                  <a:lnTo>
                    <a:pt x="12" y="27"/>
                  </a:lnTo>
                  <a:lnTo>
                    <a:pt x="12" y="25"/>
                  </a:lnTo>
                  <a:lnTo>
                    <a:pt x="12" y="27"/>
                  </a:lnTo>
                  <a:lnTo>
                    <a:pt x="15" y="25"/>
                  </a:lnTo>
                  <a:lnTo>
                    <a:pt x="17" y="19"/>
                  </a:lnTo>
                  <a:lnTo>
                    <a:pt x="19" y="19"/>
                  </a:lnTo>
                  <a:lnTo>
                    <a:pt x="19" y="21"/>
                  </a:lnTo>
                  <a:lnTo>
                    <a:pt x="19" y="23"/>
                  </a:lnTo>
                  <a:lnTo>
                    <a:pt x="21" y="21"/>
                  </a:lnTo>
                  <a:lnTo>
                    <a:pt x="23" y="19"/>
                  </a:lnTo>
                  <a:lnTo>
                    <a:pt x="23" y="21"/>
                  </a:lnTo>
                  <a:lnTo>
                    <a:pt x="23" y="23"/>
                  </a:lnTo>
                  <a:lnTo>
                    <a:pt x="25" y="21"/>
                  </a:lnTo>
                  <a:lnTo>
                    <a:pt x="25" y="19"/>
                  </a:lnTo>
                  <a:lnTo>
                    <a:pt x="25" y="21"/>
                  </a:lnTo>
                  <a:lnTo>
                    <a:pt x="27" y="19"/>
                  </a:lnTo>
                  <a:lnTo>
                    <a:pt x="29" y="19"/>
                  </a:lnTo>
                  <a:lnTo>
                    <a:pt x="27" y="17"/>
                  </a:lnTo>
                  <a:lnTo>
                    <a:pt x="29" y="17"/>
                  </a:lnTo>
                  <a:lnTo>
                    <a:pt x="29" y="15"/>
                  </a:lnTo>
                  <a:lnTo>
                    <a:pt x="29" y="17"/>
                  </a:lnTo>
                  <a:lnTo>
                    <a:pt x="31" y="15"/>
                  </a:lnTo>
                  <a:lnTo>
                    <a:pt x="33" y="15"/>
                  </a:lnTo>
                  <a:lnTo>
                    <a:pt x="35" y="14"/>
                  </a:lnTo>
                  <a:lnTo>
                    <a:pt x="37" y="14"/>
                  </a:lnTo>
                  <a:lnTo>
                    <a:pt x="37" y="15"/>
                  </a:lnTo>
                  <a:lnTo>
                    <a:pt x="37" y="17"/>
                  </a:lnTo>
                  <a:lnTo>
                    <a:pt x="38" y="15"/>
                  </a:lnTo>
                  <a:lnTo>
                    <a:pt x="42" y="15"/>
                  </a:lnTo>
                  <a:lnTo>
                    <a:pt x="44" y="15"/>
                  </a:lnTo>
                  <a:lnTo>
                    <a:pt x="46" y="12"/>
                  </a:lnTo>
                  <a:lnTo>
                    <a:pt x="48" y="12"/>
                  </a:lnTo>
                  <a:lnTo>
                    <a:pt x="50" y="10"/>
                  </a:lnTo>
                  <a:lnTo>
                    <a:pt x="50" y="8"/>
                  </a:lnTo>
                  <a:lnTo>
                    <a:pt x="50" y="6"/>
                  </a:lnTo>
                  <a:lnTo>
                    <a:pt x="50" y="8"/>
                  </a:lnTo>
                  <a:lnTo>
                    <a:pt x="50" y="10"/>
                  </a:lnTo>
                  <a:lnTo>
                    <a:pt x="50" y="12"/>
                  </a:lnTo>
                  <a:lnTo>
                    <a:pt x="52" y="12"/>
                  </a:lnTo>
                  <a:lnTo>
                    <a:pt x="54" y="10"/>
                  </a:lnTo>
                  <a:lnTo>
                    <a:pt x="56" y="8"/>
                  </a:lnTo>
                  <a:lnTo>
                    <a:pt x="58" y="6"/>
                  </a:lnTo>
                  <a:lnTo>
                    <a:pt x="58" y="4"/>
                  </a:lnTo>
                  <a:lnTo>
                    <a:pt x="60" y="2"/>
                  </a:lnTo>
                  <a:lnTo>
                    <a:pt x="62" y="0"/>
                  </a:lnTo>
                  <a:lnTo>
                    <a:pt x="60" y="0"/>
                  </a:lnTo>
                  <a:lnTo>
                    <a:pt x="58" y="0"/>
                  </a:lnTo>
                  <a:lnTo>
                    <a:pt x="56" y="0"/>
                  </a:lnTo>
                  <a:lnTo>
                    <a:pt x="54" y="2"/>
                  </a:lnTo>
                  <a:lnTo>
                    <a:pt x="52" y="2"/>
                  </a:lnTo>
                  <a:lnTo>
                    <a:pt x="50" y="2"/>
                  </a:lnTo>
                  <a:lnTo>
                    <a:pt x="50" y="4"/>
                  </a:lnTo>
                  <a:lnTo>
                    <a:pt x="48" y="2"/>
                  </a:lnTo>
                  <a:lnTo>
                    <a:pt x="46" y="2"/>
                  </a:lnTo>
                  <a:lnTo>
                    <a:pt x="46" y="4"/>
                  </a:lnTo>
                  <a:lnTo>
                    <a:pt x="46" y="6"/>
                  </a:lnTo>
                  <a:lnTo>
                    <a:pt x="44" y="4"/>
                  </a:lnTo>
                  <a:lnTo>
                    <a:pt x="42" y="4"/>
                  </a:lnTo>
                  <a:lnTo>
                    <a:pt x="42" y="6"/>
                  </a:lnTo>
                  <a:lnTo>
                    <a:pt x="44" y="6"/>
                  </a:lnTo>
                  <a:lnTo>
                    <a:pt x="42" y="6"/>
                  </a:lnTo>
                  <a:lnTo>
                    <a:pt x="42" y="8"/>
                  </a:lnTo>
                  <a:lnTo>
                    <a:pt x="40" y="8"/>
                  </a:lnTo>
                  <a:lnTo>
                    <a:pt x="40" y="10"/>
                  </a:lnTo>
                  <a:lnTo>
                    <a:pt x="38" y="12"/>
                  </a:lnTo>
                  <a:lnTo>
                    <a:pt x="38" y="10"/>
                  </a:lnTo>
                  <a:lnTo>
                    <a:pt x="37" y="8"/>
                  </a:lnTo>
                  <a:lnTo>
                    <a:pt x="35" y="8"/>
                  </a:lnTo>
                  <a:lnTo>
                    <a:pt x="33" y="8"/>
                  </a:lnTo>
                  <a:lnTo>
                    <a:pt x="33" y="10"/>
                  </a:lnTo>
                  <a:lnTo>
                    <a:pt x="35" y="10"/>
                  </a:lnTo>
                  <a:lnTo>
                    <a:pt x="33" y="12"/>
                  </a:lnTo>
                  <a:lnTo>
                    <a:pt x="31" y="12"/>
                  </a:lnTo>
                  <a:lnTo>
                    <a:pt x="33" y="10"/>
                  </a:lnTo>
                  <a:lnTo>
                    <a:pt x="33" y="8"/>
                  </a:lnTo>
                  <a:lnTo>
                    <a:pt x="31" y="8"/>
                  </a:lnTo>
                  <a:lnTo>
                    <a:pt x="29" y="8"/>
                  </a:lnTo>
                  <a:lnTo>
                    <a:pt x="29" y="10"/>
                  </a:lnTo>
                  <a:lnTo>
                    <a:pt x="27" y="12"/>
                  </a:lnTo>
                  <a:lnTo>
                    <a:pt x="25" y="12"/>
                  </a:lnTo>
                  <a:lnTo>
                    <a:pt x="23" y="10"/>
                  </a:lnTo>
                  <a:lnTo>
                    <a:pt x="21" y="12"/>
                  </a:lnTo>
                  <a:lnTo>
                    <a:pt x="19" y="14"/>
                  </a:lnTo>
                  <a:lnTo>
                    <a:pt x="21" y="14"/>
                  </a:lnTo>
                  <a:lnTo>
                    <a:pt x="19" y="14"/>
                  </a:lnTo>
                  <a:lnTo>
                    <a:pt x="17" y="15"/>
                  </a:lnTo>
                  <a:lnTo>
                    <a:pt x="19" y="15"/>
                  </a:lnTo>
                  <a:lnTo>
                    <a:pt x="17" y="17"/>
                  </a:lnTo>
                  <a:lnTo>
                    <a:pt x="15" y="17"/>
                  </a:lnTo>
                  <a:lnTo>
                    <a:pt x="13" y="17"/>
                  </a:lnTo>
                  <a:lnTo>
                    <a:pt x="13" y="19"/>
                  </a:lnTo>
                  <a:lnTo>
                    <a:pt x="13" y="21"/>
                  </a:lnTo>
                  <a:lnTo>
                    <a:pt x="12" y="21"/>
                  </a:lnTo>
                  <a:lnTo>
                    <a:pt x="10" y="23"/>
                  </a:lnTo>
                  <a:lnTo>
                    <a:pt x="10" y="21"/>
                  </a:lnTo>
                  <a:lnTo>
                    <a:pt x="8" y="21"/>
                  </a:lnTo>
                  <a:lnTo>
                    <a:pt x="8" y="23"/>
                  </a:lnTo>
                  <a:lnTo>
                    <a:pt x="6" y="25"/>
                  </a:lnTo>
                  <a:lnTo>
                    <a:pt x="6" y="29"/>
                  </a:lnTo>
                  <a:lnTo>
                    <a:pt x="4" y="29"/>
                  </a:lnTo>
                  <a:lnTo>
                    <a:pt x="4" y="31"/>
                  </a:lnTo>
                  <a:lnTo>
                    <a:pt x="2" y="33"/>
                  </a:lnTo>
                  <a:lnTo>
                    <a:pt x="2" y="35"/>
                  </a:lnTo>
                  <a:lnTo>
                    <a:pt x="0" y="37"/>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2" name="Freeform 220"/>
            <p:cNvSpPr>
              <a:spLocks/>
            </p:cNvSpPr>
            <p:nvPr/>
          </p:nvSpPr>
          <p:spPr bwMode="auto">
            <a:xfrm>
              <a:off x="2773" y="1256"/>
              <a:ext cx="37" cy="25"/>
            </a:xfrm>
            <a:custGeom>
              <a:avLst/>
              <a:gdLst>
                <a:gd name="T0" fmla="*/ 2 w 37"/>
                <a:gd name="T1" fmla="*/ 20 h 25"/>
                <a:gd name="T2" fmla="*/ 6 w 37"/>
                <a:gd name="T3" fmla="*/ 18 h 25"/>
                <a:gd name="T4" fmla="*/ 8 w 37"/>
                <a:gd name="T5" fmla="*/ 20 h 25"/>
                <a:gd name="T6" fmla="*/ 8 w 37"/>
                <a:gd name="T7" fmla="*/ 20 h 25"/>
                <a:gd name="T8" fmla="*/ 4 w 37"/>
                <a:gd name="T9" fmla="*/ 23 h 25"/>
                <a:gd name="T10" fmla="*/ 8 w 37"/>
                <a:gd name="T11" fmla="*/ 23 h 25"/>
                <a:gd name="T12" fmla="*/ 12 w 37"/>
                <a:gd name="T13" fmla="*/ 21 h 25"/>
                <a:gd name="T14" fmla="*/ 14 w 37"/>
                <a:gd name="T15" fmla="*/ 23 h 25"/>
                <a:gd name="T16" fmla="*/ 15 w 37"/>
                <a:gd name="T17" fmla="*/ 21 h 25"/>
                <a:gd name="T18" fmla="*/ 17 w 37"/>
                <a:gd name="T19" fmla="*/ 20 h 25"/>
                <a:gd name="T20" fmla="*/ 19 w 37"/>
                <a:gd name="T21" fmla="*/ 21 h 25"/>
                <a:gd name="T22" fmla="*/ 19 w 37"/>
                <a:gd name="T23" fmla="*/ 21 h 25"/>
                <a:gd name="T24" fmla="*/ 23 w 37"/>
                <a:gd name="T25" fmla="*/ 20 h 25"/>
                <a:gd name="T26" fmla="*/ 25 w 37"/>
                <a:gd name="T27" fmla="*/ 18 h 25"/>
                <a:gd name="T28" fmla="*/ 27 w 37"/>
                <a:gd name="T29" fmla="*/ 18 h 25"/>
                <a:gd name="T30" fmla="*/ 29 w 37"/>
                <a:gd name="T31" fmla="*/ 14 h 25"/>
                <a:gd name="T32" fmla="*/ 29 w 37"/>
                <a:gd name="T33" fmla="*/ 10 h 25"/>
                <a:gd name="T34" fmla="*/ 31 w 37"/>
                <a:gd name="T35" fmla="*/ 10 h 25"/>
                <a:gd name="T36" fmla="*/ 33 w 37"/>
                <a:gd name="T37" fmla="*/ 8 h 25"/>
                <a:gd name="T38" fmla="*/ 37 w 37"/>
                <a:gd name="T39" fmla="*/ 4 h 25"/>
                <a:gd name="T40" fmla="*/ 31 w 37"/>
                <a:gd name="T41" fmla="*/ 0 h 25"/>
                <a:gd name="T42" fmla="*/ 31 w 37"/>
                <a:gd name="T43" fmla="*/ 4 h 25"/>
                <a:gd name="T44" fmla="*/ 29 w 37"/>
                <a:gd name="T45" fmla="*/ 4 h 25"/>
                <a:gd name="T46" fmla="*/ 27 w 37"/>
                <a:gd name="T47" fmla="*/ 2 h 25"/>
                <a:gd name="T48" fmla="*/ 29 w 37"/>
                <a:gd name="T49" fmla="*/ 4 h 25"/>
                <a:gd name="T50" fmla="*/ 25 w 37"/>
                <a:gd name="T51" fmla="*/ 4 h 25"/>
                <a:gd name="T52" fmla="*/ 27 w 37"/>
                <a:gd name="T53" fmla="*/ 8 h 25"/>
                <a:gd name="T54" fmla="*/ 23 w 37"/>
                <a:gd name="T55" fmla="*/ 12 h 25"/>
                <a:gd name="T56" fmla="*/ 21 w 37"/>
                <a:gd name="T57" fmla="*/ 10 h 25"/>
                <a:gd name="T58" fmla="*/ 19 w 37"/>
                <a:gd name="T59" fmla="*/ 8 h 25"/>
                <a:gd name="T60" fmla="*/ 17 w 37"/>
                <a:gd name="T61" fmla="*/ 8 h 25"/>
                <a:gd name="T62" fmla="*/ 19 w 37"/>
                <a:gd name="T63" fmla="*/ 12 h 25"/>
                <a:gd name="T64" fmla="*/ 17 w 37"/>
                <a:gd name="T65" fmla="*/ 16 h 25"/>
                <a:gd name="T66" fmla="*/ 15 w 37"/>
                <a:gd name="T67" fmla="*/ 16 h 25"/>
                <a:gd name="T68" fmla="*/ 15 w 37"/>
                <a:gd name="T69" fmla="*/ 14 h 25"/>
                <a:gd name="T70" fmla="*/ 14 w 37"/>
                <a:gd name="T71" fmla="*/ 10 h 25"/>
                <a:gd name="T72" fmla="*/ 10 w 37"/>
                <a:gd name="T73" fmla="*/ 12 h 25"/>
                <a:gd name="T74" fmla="*/ 10 w 37"/>
                <a:gd name="T75" fmla="*/ 16 h 25"/>
                <a:gd name="T76" fmla="*/ 6 w 37"/>
                <a:gd name="T77" fmla="*/ 14 h 25"/>
                <a:gd name="T78" fmla="*/ 4 w 37"/>
                <a:gd name="T79" fmla="*/ 16 h 25"/>
                <a:gd name="T80" fmla="*/ 0 w 37"/>
                <a:gd name="T81"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 h="25">
                  <a:moveTo>
                    <a:pt x="0" y="18"/>
                  </a:moveTo>
                  <a:lnTo>
                    <a:pt x="2" y="20"/>
                  </a:lnTo>
                  <a:lnTo>
                    <a:pt x="4" y="20"/>
                  </a:lnTo>
                  <a:lnTo>
                    <a:pt x="6" y="18"/>
                  </a:lnTo>
                  <a:lnTo>
                    <a:pt x="8" y="18"/>
                  </a:lnTo>
                  <a:lnTo>
                    <a:pt x="8" y="20"/>
                  </a:lnTo>
                  <a:lnTo>
                    <a:pt x="6" y="20"/>
                  </a:lnTo>
                  <a:lnTo>
                    <a:pt x="8" y="20"/>
                  </a:lnTo>
                  <a:lnTo>
                    <a:pt x="6" y="21"/>
                  </a:lnTo>
                  <a:lnTo>
                    <a:pt x="4" y="23"/>
                  </a:lnTo>
                  <a:lnTo>
                    <a:pt x="6" y="25"/>
                  </a:lnTo>
                  <a:lnTo>
                    <a:pt x="8" y="23"/>
                  </a:lnTo>
                  <a:lnTo>
                    <a:pt x="10" y="23"/>
                  </a:lnTo>
                  <a:lnTo>
                    <a:pt x="12" y="21"/>
                  </a:lnTo>
                  <a:lnTo>
                    <a:pt x="12" y="23"/>
                  </a:lnTo>
                  <a:lnTo>
                    <a:pt x="14" y="23"/>
                  </a:lnTo>
                  <a:lnTo>
                    <a:pt x="14" y="21"/>
                  </a:lnTo>
                  <a:lnTo>
                    <a:pt x="15" y="21"/>
                  </a:lnTo>
                  <a:lnTo>
                    <a:pt x="17" y="21"/>
                  </a:lnTo>
                  <a:lnTo>
                    <a:pt x="17" y="20"/>
                  </a:lnTo>
                  <a:lnTo>
                    <a:pt x="17" y="21"/>
                  </a:lnTo>
                  <a:lnTo>
                    <a:pt x="19" y="21"/>
                  </a:lnTo>
                  <a:lnTo>
                    <a:pt x="19" y="20"/>
                  </a:lnTo>
                  <a:lnTo>
                    <a:pt x="19" y="21"/>
                  </a:lnTo>
                  <a:lnTo>
                    <a:pt x="21" y="21"/>
                  </a:lnTo>
                  <a:lnTo>
                    <a:pt x="23" y="20"/>
                  </a:lnTo>
                  <a:lnTo>
                    <a:pt x="23" y="18"/>
                  </a:lnTo>
                  <a:lnTo>
                    <a:pt x="25" y="18"/>
                  </a:lnTo>
                  <a:lnTo>
                    <a:pt x="25" y="16"/>
                  </a:lnTo>
                  <a:lnTo>
                    <a:pt x="27" y="18"/>
                  </a:lnTo>
                  <a:lnTo>
                    <a:pt x="27" y="16"/>
                  </a:lnTo>
                  <a:lnTo>
                    <a:pt x="29" y="14"/>
                  </a:lnTo>
                  <a:lnTo>
                    <a:pt x="29" y="12"/>
                  </a:lnTo>
                  <a:lnTo>
                    <a:pt x="29" y="10"/>
                  </a:lnTo>
                  <a:lnTo>
                    <a:pt x="29" y="12"/>
                  </a:lnTo>
                  <a:lnTo>
                    <a:pt x="31" y="10"/>
                  </a:lnTo>
                  <a:lnTo>
                    <a:pt x="31" y="8"/>
                  </a:lnTo>
                  <a:lnTo>
                    <a:pt x="33" y="8"/>
                  </a:lnTo>
                  <a:lnTo>
                    <a:pt x="35" y="4"/>
                  </a:lnTo>
                  <a:lnTo>
                    <a:pt x="37" y="4"/>
                  </a:lnTo>
                  <a:lnTo>
                    <a:pt x="35" y="2"/>
                  </a:lnTo>
                  <a:lnTo>
                    <a:pt x="31" y="0"/>
                  </a:lnTo>
                  <a:lnTo>
                    <a:pt x="31" y="2"/>
                  </a:lnTo>
                  <a:lnTo>
                    <a:pt x="31" y="4"/>
                  </a:lnTo>
                  <a:lnTo>
                    <a:pt x="31" y="6"/>
                  </a:lnTo>
                  <a:lnTo>
                    <a:pt x="29" y="4"/>
                  </a:lnTo>
                  <a:lnTo>
                    <a:pt x="29" y="2"/>
                  </a:lnTo>
                  <a:lnTo>
                    <a:pt x="27" y="2"/>
                  </a:lnTo>
                  <a:lnTo>
                    <a:pt x="27" y="4"/>
                  </a:lnTo>
                  <a:lnTo>
                    <a:pt x="29" y="4"/>
                  </a:lnTo>
                  <a:lnTo>
                    <a:pt x="27" y="4"/>
                  </a:lnTo>
                  <a:lnTo>
                    <a:pt x="25" y="4"/>
                  </a:lnTo>
                  <a:lnTo>
                    <a:pt x="25" y="6"/>
                  </a:lnTo>
                  <a:lnTo>
                    <a:pt x="27" y="8"/>
                  </a:lnTo>
                  <a:lnTo>
                    <a:pt x="25" y="12"/>
                  </a:lnTo>
                  <a:lnTo>
                    <a:pt x="23" y="12"/>
                  </a:lnTo>
                  <a:lnTo>
                    <a:pt x="23" y="10"/>
                  </a:lnTo>
                  <a:lnTo>
                    <a:pt x="21" y="10"/>
                  </a:lnTo>
                  <a:lnTo>
                    <a:pt x="21" y="8"/>
                  </a:lnTo>
                  <a:lnTo>
                    <a:pt x="19" y="8"/>
                  </a:lnTo>
                  <a:lnTo>
                    <a:pt x="19" y="6"/>
                  </a:lnTo>
                  <a:lnTo>
                    <a:pt x="17" y="8"/>
                  </a:lnTo>
                  <a:lnTo>
                    <a:pt x="17" y="10"/>
                  </a:lnTo>
                  <a:lnTo>
                    <a:pt x="19" y="12"/>
                  </a:lnTo>
                  <a:lnTo>
                    <a:pt x="19" y="14"/>
                  </a:lnTo>
                  <a:lnTo>
                    <a:pt x="17" y="16"/>
                  </a:lnTo>
                  <a:lnTo>
                    <a:pt x="17" y="14"/>
                  </a:lnTo>
                  <a:lnTo>
                    <a:pt x="15" y="16"/>
                  </a:lnTo>
                  <a:lnTo>
                    <a:pt x="14" y="14"/>
                  </a:lnTo>
                  <a:lnTo>
                    <a:pt x="15" y="14"/>
                  </a:lnTo>
                  <a:lnTo>
                    <a:pt x="15" y="12"/>
                  </a:lnTo>
                  <a:lnTo>
                    <a:pt x="14" y="10"/>
                  </a:lnTo>
                  <a:lnTo>
                    <a:pt x="12" y="14"/>
                  </a:lnTo>
                  <a:lnTo>
                    <a:pt x="10" y="12"/>
                  </a:lnTo>
                  <a:lnTo>
                    <a:pt x="10" y="14"/>
                  </a:lnTo>
                  <a:lnTo>
                    <a:pt x="10" y="16"/>
                  </a:lnTo>
                  <a:lnTo>
                    <a:pt x="8" y="14"/>
                  </a:lnTo>
                  <a:lnTo>
                    <a:pt x="6" y="14"/>
                  </a:lnTo>
                  <a:lnTo>
                    <a:pt x="6" y="16"/>
                  </a:lnTo>
                  <a:lnTo>
                    <a:pt x="4" y="16"/>
                  </a:lnTo>
                  <a:lnTo>
                    <a:pt x="2" y="16"/>
                  </a:lnTo>
                  <a:lnTo>
                    <a:pt x="0" y="16"/>
                  </a:lnTo>
                  <a:lnTo>
                    <a:pt x="0" y="1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3" name="Freeform 221"/>
            <p:cNvSpPr>
              <a:spLocks/>
            </p:cNvSpPr>
            <p:nvPr/>
          </p:nvSpPr>
          <p:spPr bwMode="auto">
            <a:xfrm>
              <a:off x="2683" y="1324"/>
              <a:ext cx="25" cy="21"/>
            </a:xfrm>
            <a:custGeom>
              <a:avLst/>
              <a:gdLst>
                <a:gd name="T0" fmla="*/ 0 w 25"/>
                <a:gd name="T1" fmla="*/ 19 h 21"/>
                <a:gd name="T2" fmla="*/ 0 w 25"/>
                <a:gd name="T3" fmla="*/ 17 h 21"/>
                <a:gd name="T4" fmla="*/ 2 w 25"/>
                <a:gd name="T5" fmla="*/ 15 h 21"/>
                <a:gd name="T6" fmla="*/ 4 w 25"/>
                <a:gd name="T7" fmla="*/ 15 h 21"/>
                <a:gd name="T8" fmla="*/ 6 w 25"/>
                <a:gd name="T9" fmla="*/ 13 h 21"/>
                <a:gd name="T10" fmla="*/ 6 w 25"/>
                <a:gd name="T11" fmla="*/ 11 h 21"/>
                <a:gd name="T12" fmla="*/ 4 w 25"/>
                <a:gd name="T13" fmla="*/ 11 h 21"/>
                <a:gd name="T14" fmla="*/ 4 w 25"/>
                <a:gd name="T15" fmla="*/ 9 h 21"/>
                <a:gd name="T16" fmla="*/ 6 w 25"/>
                <a:gd name="T17" fmla="*/ 9 h 21"/>
                <a:gd name="T18" fmla="*/ 7 w 25"/>
                <a:gd name="T19" fmla="*/ 9 h 21"/>
                <a:gd name="T20" fmla="*/ 9 w 25"/>
                <a:gd name="T21" fmla="*/ 9 h 21"/>
                <a:gd name="T22" fmla="*/ 11 w 25"/>
                <a:gd name="T23" fmla="*/ 9 h 21"/>
                <a:gd name="T24" fmla="*/ 13 w 25"/>
                <a:gd name="T25" fmla="*/ 9 h 21"/>
                <a:gd name="T26" fmla="*/ 15 w 25"/>
                <a:gd name="T27" fmla="*/ 9 h 21"/>
                <a:gd name="T28" fmla="*/ 13 w 25"/>
                <a:gd name="T29" fmla="*/ 9 h 21"/>
                <a:gd name="T30" fmla="*/ 11 w 25"/>
                <a:gd name="T31" fmla="*/ 9 h 21"/>
                <a:gd name="T32" fmla="*/ 9 w 25"/>
                <a:gd name="T33" fmla="*/ 9 h 21"/>
                <a:gd name="T34" fmla="*/ 7 w 25"/>
                <a:gd name="T35" fmla="*/ 9 h 21"/>
                <a:gd name="T36" fmla="*/ 7 w 25"/>
                <a:gd name="T37" fmla="*/ 7 h 21"/>
                <a:gd name="T38" fmla="*/ 7 w 25"/>
                <a:gd name="T39" fmla="*/ 5 h 21"/>
                <a:gd name="T40" fmla="*/ 7 w 25"/>
                <a:gd name="T41" fmla="*/ 3 h 21"/>
                <a:gd name="T42" fmla="*/ 9 w 25"/>
                <a:gd name="T43" fmla="*/ 5 h 21"/>
                <a:gd name="T44" fmla="*/ 9 w 25"/>
                <a:gd name="T45" fmla="*/ 7 h 21"/>
                <a:gd name="T46" fmla="*/ 11 w 25"/>
                <a:gd name="T47" fmla="*/ 3 h 21"/>
                <a:gd name="T48" fmla="*/ 13 w 25"/>
                <a:gd name="T49" fmla="*/ 3 h 21"/>
                <a:gd name="T50" fmla="*/ 13 w 25"/>
                <a:gd name="T51" fmla="*/ 5 h 21"/>
                <a:gd name="T52" fmla="*/ 13 w 25"/>
                <a:gd name="T53" fmla="*/ 7 h 21"/>
                <a:gd name="T54" fmla="*/ 15 w 25"/>
                <a:gd name="T55" fmla="*/ 7 h 21"/>
                <a:gd name="T56" fmla="*/ 17 w 25"/>
                <a:gd name="T57" fmla="*/ 5 h 21"/>
                <a:gd name="T58" fmla="*/ 17 w 25"/>
                <a:gd name="T59" fmla="*/ 3 h 21"/>
                <a:gd name="T60" fmla="*/ 15 w 25"/>
                <a:gd name="T61" fmla="*/ 1 h 21"/>
                <a:gd name="T62" fmla="*/ 15 w 25"/>
                <a:gd name="T63" fmla="*/ 0 h 21"/>
                <a:gd name="T64" fmla="*/ 17 w 25"/>
                <a:gd name="T65" fmla="*/ 0 h 21"/>
                <a:gd name="T66" fmla="*/ 19 w 25"/>
                <a:gd name="T67" fmla="*/ 0 h 21"/>
                <a:gd name="T68" fmla="*/ 19 w 25"/>
                <a:gd name="T69" fmla="*/ 1 h 21"/>
                <a:gd name="T70" fmla="*/ 21 w 25"/>
                <a:gd name="T71" fmla="*/ 1 h 21"/>
                <a:gd name="T72" fmla="*/ 23 w 25"/>
                <a:gd name="T73" fmla="*/ 3 h 21"/>
                <a:gd name="T74" fmla="*/ 25 w 25"/>
                <a:gd name="T75" fmla="*/ 5 h 21"/>
                <a:gd name="T76" fmla="*/ 23 w 25"/>
                <a:gd name="T77" fmla="*/ 7 h 21"/>
                <a:gd name="T78" fmla="*/ 21 w 25"/>
                <a:gd name="T79" fmla="*/ 9 h 21"/>
                <a:gd name="T80" fmla="*/ 19 w 25"/>
                <a:gd name="T81" fmla="*/ 9 h 21"/>
                <a:gd name="T82" fmla="*/ 17 w 25"/>
                <a:gd name="T83" fmla="*/ 11 h 21"/>
                <a:gd name="T84" fmla="*/ 17 w 25"/>
                <a:gd name="T85" fmla="*/ 13 h 21"/>
                <a:gd name="T86" fmla="*/ 19 w 25"/>
                <a:gd name="T87" fmla="*/ 13 h 21"/>
                <a:gd name="T88" fmla="*/ 19 w 25"/>
                <a:gd name="T89" fmla="*/ 15 h 21"/>
                <a:gd name="T90" fmla="*/ 17 w 25"/>
                <a:gd name="T91" fmla="*/ 17 h 21"/>
                <a:gd name="T92" fmla="*/ 15 w 25"/>
                <a:gd name="T93" fmla="*/ 17 h 21"/>
                <a:gd name="T94" fmla="*/ 13 w 25"/>
                <a:gd name="T95" fmla="*/ 17 h 21"/>
                <a:gd name="T96" fmla="*/ 11 w 25"/>
                <a:gd name="T97" fmla="*/ 19 h 21"/>
                <a:gd name="T98" fmla="*/ 9 w 25"/>
                <a:gd name="T99" fmla="*/ 19 h 21"/>
                <a:gd name="T100" fmla="*/ 6 w 25"/>
                <a:gd name="T101" fmla="*/ 21 h 21"/>
                <a:gd name="T102" fmla="*/ 4 w 25"/>
                <a:gd name="T103" fmla="*/ 21 h 21"/>
                <a:gd name="T104" fmla="*/ 2 w 25"/>
                <a:gd name="T105" fmla="*/ 19 h 21"/>
                <a:gd name="T106" fmla="*/ 0 w 25"/>
                <a:gd name="T10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 h="21">
                  <a:moveTo>
                    <a:pt x="0" y="19"/>
                  </a:moveTo>
                  <a:lnTo>
                    <a:pt x="0" y="17"/>
                  </a:lnTo>
                  <a:lnTo>
                    <a:pt x="2" y="15"/>
                  </a:lnTo>
                  <a:lnTo>
                    <a:pt x="4" y="15"/>
                  </a:lnTo>
                  <a:lnTo>
                    <a:pt x="6" y="13"/>
                  </a:lnTo>
                  <a:lnTo>
                    <a:pt x="6" y="11"/>
                  </a:lnTo>
                  <a:lnTo>
                    <a:pt x="4" y="11"/>
                  </a:lnTo>
                  <a:lnTo>
                    <a:pt x="4" y="9"/>
                  </a:lnTo>
                  <a:lnTo>
                    <a:pt x="6" y="9"/>
                  </a:lnTo>
                  <a:lnTo>
                    <a:pt x="7" y="9"/>
                  </a:lnTo>
                  <a:lnTo>
                    <a:pt x="9" y="9"/>
                  </a:lnTo>
                  <a:lnTo>
                    <a:pt x="11" y="9"/>
                  </a:lnTo>
                  <a:lnTo>
                    <a:pt x="13" y="9"/>
                  </a:lnTo>
                  <a:lnTo>
                    <a:pt x="15" y="9"/>
                  </a:lnTo>
                  <a:lnTo>
                    <a:pt x="13" y="9"/>
                  </a:lnTo>
                  <a:lnTo>
                    <a:pt x="11" y="9"/>
                  </a:lnTo>
                  <a:lnTo>
                    <a:pt x="9" y="9"/>
                  </a:lnTo>
                  <a:lnTo>
                    <a:pt x="7" y="9"/>
                  </a:lnTo>
                  <a:lnTo>
                    <a:pt x="7" y="7"/>
                  </a:lnTo>
                  <a:lnTo>
                    <a:pt x="7" y="5"/>
                  </a:lnTo>
                  <a:lnTo>
                    <a:pt x="7" y="3"/>
                  </a:lnTo>
                  <a:lnTo>
                    <a:pt x="9" y="5"/>
                  </a:lnTo>
                  <a:lnTo>
                    <a:pt x="9" y="7"/>
                  </a:lnTo>
                  <a:lnTo>
                    <a:pt x="11" y="3"/>
                  </a:lnTo>
                  <a:lnTo>
                    <a:pt x="13" y="3"/>
                  </a:lnTo>
                  <a:lnTo>
                    <a:pt x="13" y="5"/>
                  </a:lnTo>
                  <a:lnTo>
                    <a:pt x="13" y="7"/>
                  </a:lnTo>
                  <a:lnTo>
                    <a:pt x="15" y="7"/>
                  </a:lnTo>
                  <a:lnTo>
                    <a:pt x="17" y="5"/>
                  </a:lnTo>
                  <a:lnTo>
                    <a:pt x="17" y="3"/>
                  </a:lnTo>
                  <a:lnTo>
                    <a:pt x="15" y="1"/>
                  </a:lnTo>
                  <a:lnTo>
                    <a:pt x="15" y="0"/>
                  </a:lnTo>
                  <a:lnTo>
                    <a:pt x="17" y="0"/>
                  </a:lnTo>
                  <a:lnTo>
                    <a:pt x="19" y="0"/>
                  </a:lnTo>
                  <a:lnTo>
                    <a:pt x="19" y="1"/>
                  </a:lnTo>
                  <a:lnTo>
                    <a:pt x="21" y="1"/>
                  </a:lnTo>
                  <a:lnTo>
                    <a:pt x="23" y="3"/>
                  </a:lnTo>
                  <a:lnTo>
                    <a:pt x="25" y="5"/>
                  </a:lnTo>
                  <a:lnTo>
                    <a:pt x="23" y="7"/>
                  </a:lnTo>
                  <a:lnTo>
                    <a:pt x="21" y="9"/>
                  </a:lnTo>
                  <a:lnTo>
                    <a:pt x="19" y="9"/>
                  </a:lnTo>
                  <a:lnTo>
                    <a:pt x="17" y="11"/>
                  </a:lnTo>
                  <a:lnTo>
                    <a:pt x="17" y="13"/>
                  </a:lnTo>
                  <a:lnTo>
                    <a:pt x="19" y="13"/>
                  </a:lnTo>
                  <a:lnTo>
                    <a:pt x="19" y="15"/>
                  </a:lnTo>
                  <a:lnTo>
                    <a:pt x="17" y="17"/>
                  </a:lnTo>
                  <a:lnTo>
                    <a:pt x="15" y="17"/>
                  </a:lnTo>
                  <a:lnTo>
                    <a:pt x="13" y="17"/>
                  </a:lnTo>
                  <a:lnTo>
                    <a:pt x="11" y="19"/>
                  </a:lnTo>
                  <a:lnTo>
                    <a:pt x="9" y="19"/>
                  </a:lnTo>
                  <a:lnTo>
                    <a:pt x="6" y="21"/>
                  </a:lnTo>
                  <a:lnTo>
                    <a:pt x="4" y="21"/>
                  </a:lnTo>
                  <a:lnTo>
                    <a:pt x="2" y="19"/>
                  </a:lnTo>
                  <a:lnTo>
                    <a:pt x="0" y="1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4" name="Freeform 222"/>
            <p:cNvSpPr>
              <a:spLocks/>
            </p:cNvSpPr>
            <p:nvPr/>
          </p:nvSpPr>
          <p:spPr bwMode="auto">
            <a:xfrm>
              <a:off x="2698" y="1310"/>
              <a:ext cx="23" cy="17"/>
            </a:xfrm>
            <a:custGeom>
              <a:avLst/>
              <a:gdLst>
                <a:gd name="T0" fmla="*/ 0 w 23"/>
                <a:gd name="T1" fmla="*/ 10 h 17"/>
                <a:gd name="T2" fmla="*/ 0 w 23"/>
                <a:gd name="T3" fmla="*/ 8 h 17"/>
                <a:gd name="T4" fmla="*/ 2 w 23"/>
                <a:gd name="T5" fmla="*/ 10 h 17"/>
                <a:gd name="T6" fmla="*/ 4 w 23"/>
                <a:gd name="T7" fmla="*/ 10 h 17"/>
                <a:gd name="T8" fmla="*/ 4 w 23"/>
                <a:gd name="T9" fmla="*/ 8 h 17"/>
                <a:gd name="T10" fmla="*/ 4 w 23"/>
                <a:gd name="T11" fmla="*/ 6 h 17"/>
                <a:gd name="T12" fmla="*/ 2 w 23"/>
                <a:gd name="T13" fmla="*/ 6 h 17"/>
                <a:gd name="T14" fmla="*/ 4 w 23"/>
                <a:gd name="T15" fmla="*/ 4 h 17"/>
                <a:gd name="T16" fmla="*/ 6 w 23"/>
                <a:gd name="T17" fmla="*/ 4 h 17"/>
                <a:gd name="T18" fmla="*/ 8 w 23"/>
                <a:gd name="T19" fmla="*/ 4 h 17"/>
                <a:gd name="T20" fmla="*/ 8 w 23"/>
                <a:gd name="T21" fmla="*/ 2 h 17"/>
                <a:gd name="T22" fmla="*/ 10 w 23"/>
                <a:gd name="T23" fmla="*/ 0 h 17"/>
                <a:gd name="T24" fmla="*/ 12 w 23"/>
                <a:gd name="T25" fmla="*/ 0 h 17"/>
                <a:gd name="T26" fmla="*/ 14 w 23"/>
                <a:gd name="T27" fmla="*/ 0 h 17"/>
                <a:gd name="T28" fmla="*/ 14 w 23"/>
                <a:gd name="T29" fmla="*/ 2 h 17"/>
                <a:gd name="T30" fmla="*/ 16 w 23"/>
                <a:gd name="T31" fmla="*/ 4 h 17"/>
                <a:gd name="T32" fmla="*/ 16 w 23"/>
                <a:gd name="T33" fmla="*/ 6 h 17"/>
                <a:gd name="T34" fmla="*/ 17 w 23"/>
                <a:gd name="T35" fmla="*/ 2 h 17"/>
                <a:gd name="T36" fmla="*/ 19 w 23"/>
                <a:gd name="T37" fmla="*/ 2 h 17"/>
                <a:gd name="T38" fmla="*/ 19 w 23"/>
                <a:gd name="T39" fmla="*/ 4 h 17"/>
                <a:gd name="T40" fmla="*/ 19 w 23"/>
                <a:gd name="T41" fmla="*/ 6 h 17"/>
                <a:gd name="T42" fmla="*/ 21 w 23"/>
                <a:gd name="T43" fmla="*/ 4 h 17"/>
                <a:gd name="T44" fmla="*/ 23 w 23"/>
                <a:gd name="T45" fmla="*/ 4 h 17"/>
                <a:gd name="T46" fmla="*/ 21 w 23"/>
                <a:gd name="T47" fmla="*/ 6 h 17"/>
                <a:gd name="T48" fmla="*/ 19 w 23"/>
                <a:gd name="T49" fmla="*/ 6 h 17"/>
                <a:gd name="T50" fmla="*/ 19 w 23"/>
                <a:gd name="T51" fmla="*/ 8 h 17"/>
                <a:gd name="T52" fmla="*/ 19 w 23"/>
                <a:gd name="T53" fmla="*/ 10 h 17"/>
                <a:gd name="T54" fmla="*/ 17 w 23"/>
                <a:gd name="T55" fmla="*/ 12 h 17"/>
                <a:gd name="T56" fmla="*/ 16 w 23"/>
                <a:gd name="T57" fmla="*/ 14 h 17"/>
                <a:gd name="T58" fmla="*/ 16 w 23"/>
                <a:gd name="T59" fmla="*/ 15 h 17"/>
                <a:gd name="T60" fmla="*/ 12 w 23"/>
                <a:gd name="T61" fmla="*/ 17 h 17"/>
                <a:gd name="T62" fmla="*/ 10 w 23"/>
                <a:gd name="T63" fmla="*/ 17 h 17"/>
                <a:gd name="T64" fmla="*/ 10 w 23"/>
                <a:gd name="T65" fmla="*/ 15 h 17"/>
                <a:gd name="T66" fmla="*/ 8 w 23"/>
                <a:gd name="T67" fmla="*/ 14 h 17"/>
                <a:gd name="T68" fmla="*/ 6 w 23"/>
                <a:gd name="T69" fmla="*/ 14 h 17"/>
                <a:gd name="T70" fmla="*/ 4 w 23"/>
                <a:gd name="T71" fmla="*/ 14 h 17"/>
                <a:gd name="T72" fmla="*/ 4 w 23"/>
                <a:gd name="T73" fmla="*/ 12 h 17"/>
                <a:gd name="T74" fmla="*/ 2 w 23"/>
                <a:gd name="T75" fmla="*/ 12 h 17"/>
                <a:gd name="T76" fmla="*/ 0 w 23"/>
                <a:gd name="T77"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17">
                  <a:moveTo>
                    <a:pt x="0" y="10"/>
                  </a:moveTo>
                  <a:lnTo>
                    <a:pt x="0" y="8"/>
                  </a:lnTo>
                  <a:lnTo>
                    <a:pt x="2" y="10"/>
                  </a:lnTo>
                  <a:lnTo>
                    <a:pt x="4" y="10"/>
                  </a:lnTo>
                  <a:lnTo>
                    <a:pt x="4" y="8"/>
                  </a:lnTo>
                  <a:lnTo>
                    <a:pt x="4" y="6"/>
                  </a:lnTo>
                  <a:lnTo>
                    <a:pt x="2" y="6"/>
                  </a:lnTo>
                  <a:lnTo>
                    <a:pt x="4" y="4"/>
                  </a:lnTo>
                  <a:lnTo>
                    <a:pt x="6" y="4"/>
                  </a:lnTo>
                  <a:lnTo>
                    <a:pt x="8" y="4"/>
                  </a:lnTo>
                  <a:lnTo>
                    <a:pt x="8" y="2"/>
                  </a:lnTo>
                  <a:lnTo>
                    <a:pt x="10" y="0"/>
                  </a:lnTo>
                  <a:lnTo>
                    <a:pt x="12" y="0"/>
                  </a:lnTo>
                  <a:lnTo>
                    <a:pt x="14" y="0"/>
                  </a:lnTo>
                  <a:lnTo>
                    <a:pt x="14" y="2"/>
                  </a:lnTo>
                  <a:lnTo>
                    <a:pt x="16" y="4"/>
                  </a:lnTo>
                  <a:lnTo>
                    <a:pt x="16" y="6"/>
                  </a:lnTo>
                  <a:lnTo>
                    <a:pt x="17" y="2"/>
                  </a:lnTo>
                  <a:lnTo>
                    <a:pt x="19" y="2"/>
                  </a:lnTo>
                  <a:lnTo>
                    <a:pt x="19" y="4"/>
                  </a:lnTo>
                  <a:lnTo>
                    <a:pt x="19" y="6"/>
                  </a:lnTo>
                  <a:lnTo>
                    <a:pt x="21" y="4"/>
                  </a:lnTo>
                  <a:lnTo>
                    <a:pt x="23" y="4"/>
                  </a:lnTo>
                  <a:lnTo>
                    <a:pt x="21" y="6"/>
                  </a:lnTo>
                  <a:lnTo>
                    <a:pt x="19" y="6"/>
                  </a:lnTo>
                  <a:lnTo>
                    <a:pt x="19" y="8"/>
                  </a:lnTo>
                  <a:lnTo>
                    <a:pt x="19" y="10"/>
                  </a:lnTo>
                  <a:lnTo>
                    <a:pt x="17" y="12"/>
                  </a:lnTo>
                  <a:lnTo>
                    <a:pt x="16" y="14"/>
                  </a:lnTo>
                  <a:lnTo>
                    <a:pt x="16" y="15"/>
                  </a:lnTo>
                  <a:lnTo>
                    <a:pt x="12" y="17"/>
                  </a:lnTo>
                  <a:lnTo>
                    <a:pt x="10" y="17"/>
                  </a:lnTo>
                  <a:lnTo>
                    <a:pt x="10" y="15"/>
                  </a:lnTo>
                  <a:lnTo>
                    <a:pt x="8" y="14"/>
                  </a:lnTo>
                  <a:lnTo>
                    <a:pt x="6" y="14"/>
                  </a:lnTo>
                  <a:lnTo>
                    <a:pt x="4" y="14"/>
                  </a:lnTo>
                  <a:lnTo>
                    <a:pt x="4" y="12"/>
                  </a:lnTo>
                  <a:lnTo>
                    <a:pt x="2" y="12"/>
                  </a:lnTo>
                  <a:lnTo>
                    <a:pt x="0" y="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5" name="Freeform 223"/>
            <p:cNvSpPr>
              <a:spLocks/>
            </p:cNvSpPr>
            <p:nvPr/>
          </p:nvSpPr>
          <p:spPr bwMode="auto">
            <a:xfrm>
              <a:off x="2796" y="1268"/>
              <a:ext cx="17" cy="21"/>
            </a:xfrm>
            <a:custGeom>
              <a:avLst/>
              <a:gdLst>
                <a:gd name="T0" fmla="*/ 0 w 17"/>
                <a:gd name="T1" fmla="*/ 13 h 21"/>
                <a:gd name="T2" fmla="*/ 2 w 17"/>
                <a:gd name="T3" fmla="*/ 15 h 21"/>
                <a:gd name="T4" fmla="*/ 0 w 17"/>
                <a:gd name="T5" fmla="*/ 15 h 21"/>
                <a:gd name="T6" fmla="*/ 2 w 17"/>
                <a:gd name="T7" fmla="*/ 17 h 21"/>
                <a:gd name="T8" fmla="*/ 4 w 17"/>
                <a:gd name="T9" fmla="*/ 17 h 21"/>
                <a:gd name="T10" fmla="*/ 6 w 17"/>
                <a:gd name="T11" fmla="*/ 15 h 21"/>
                <a:gd name="T12" fmla="*/ 6 w 17"/>
                <a:gd name="T13" fmla="*/ 17 h 21"/>
                <a:gd name="T14" fmla="*/ 6 w 17"/>
                <a:gd name="T15" fmla="*/ 19 h 21"/>
                <a:gd name="T16" fmla="*/ 6 w 17"/>
                <a:gd name="T17" fmla="*/ 21 h 21"/>
                <a:gd name="T18" fmla="*/ 8 w 17"/>
                <a:gd name="T19" fmla="*/ 21 h 21"/>
                <a:gd name="T20" fmla="*/ 10 w 17"/>
                <a:gd name="T21" fmla="*/ 19 h 21"/>
                <a:gd name="T22" fmla="*/ 12 w 17"/>
                <a:gd name="T23" fmla="*/ 19 h 21"/>
                <a:gd name="T24" fmla="*/ 12 w 17"/>
                <a:gd name="T25" fmla="*/ 17 h 21"/>
                <a:gd name="T26" fmla="*/ 14 w 17"/>
                <a:gd name="T27" fmla="*/ 15 h 21"/>
                <a:gd name="T28" fmla="*/ 16 w 17"/>
                <a:gd name="T29" fmla="*/ 13 h 21"/>
                <a:gd name="T30" fmla="*/ 17 w 17"/>
                <a:gd name="T31" fmla="*/ 11 h 21"/>
                <a:gd name="T32" fmla="*/ 17 w 17"/>
                <a:gd name="T33" fmla="*/ 8 h 21"/>
                <a:gd name="T34" fmla="*/ 16 w 17"/>
                <a:gd name="T35" fmla="*/ 6 h 21"/>
                <a:gd name="T36" fmla="*/ 16 w 17"/>
                <a:gd name="T37" fmla="*/ 4 h 21"/>
                <a:gd name="T38" fmla="*/ 16 w 17"/>
                <a:gd name="T39" fmla="*/ 0 h 21"/>
                <a:gd name="T40" fmla="*/ 14 w 17"/>
                <a:gd name="T41" fmla="*/ 2 h 21"/>
                <a:gd name="T42" fmla="*/ 14 w 17"/>
                <a:gd name="T43" fmla="*/ 0 h 21"/>
                <a:gd name="T44" fmla="*/ 12 w 17"/>
                <a:gd name="T45" fmla="*/ 2 h 21"/>
                <a:gd name="T46" fmla="*/ 14 w 17"/>
                <a:gd name="T47" fmla="*/ 4 h 21"/>
                <a:gd name="T48" fmla="*/ 12 w 17"/>
                <a:gd name="T49" fmla="*/ 4 h 21"/>
                <a:gd name="T50" fmla="*/ 12 w 17"/>
                <a:gd name="T51" fmla="*/ 8 h 21"/>
                <a:gd name="T52" fmla="*/ 10 w 17"/>
                <a:gd name="T53" fmla="*/ 6 h 21"/>
                <a:gd name="T54" fmla="*/ 8 w 17"/>
                <a:gd name="T55" fmla="*/ 6 h 21"/>
                <a:gd name="T56" fmla="*/ 10 w 17"/>
                <a:gd name="T57" fmla="*/ 8 h 21"/>
                <a:gd name="T58" fmla="*/ 10 w 17"/>
                <a:gd name="T59" fmla="*/ 9 h 21"/>
                <a:gd name="T60" fmla="*/ 8 w 17"/>
                <a:gd name="T61" fmla="*/ 8 h 21"/>
                <a:gd name="T62" fmla="*/ 8 w 17"/>
                <a:gd name="T63" fmla="*/ 6 h 21"/>
                <a:gd name="T64" fmla="*/ 6 w 17"/>
                <a:gd name="T65" fmla="*/ 6 h 21"/>
                <a:gd name="T66" fmla="*/ 6 w 17"/>
                <a:gd name="T67" fmla="*/ 8 h 21"/>
                <a:gd name="T68" fmla="*/ 6 w 17"/>
                <a:gd name="T69" fmla="*/ 9 h 21"/>
                <a:gd name="T70" fmla="*/ 4 w 17"/>
                <a:gd name="T71" fmla="*/ 8 h 21"/>
                <a:gd name="T72" fmla="*/ 2 w 17"/>
                <a:gd name="T73" fmla="*/ 9 h 21"/>
                <a:gd name="T74" fmla="*/ 2 w 17"/>
                <a:gd name="T75" fmla="*/ 11 h 21"/>
                <a:gd name="T76" fmla="*/ 0 w 17"/>
                <a:gd name="T77" fmla="*/ 11 h 21"/>
                <a:gd name="T78" fmla="*/ 0 w 17"/>
                <a:gd name="T79"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 h="21">
                  <a:moveTo>
                    <a:pt x="0" y="13"/>
                  </a:moveTo>
                  <a:lnTo>
                    <a:pt x="2" y="15"/>
                  </a:lnTo>
                  <a:lnTo>
                    <a:pt x="0" y="15"/>
                  </a:lnTo>
                  <a:lnTo>
                    <a:pt x="2" y="17"/>
                  </a:lnTo>
                  <a:lnTo>
                    <a:pt x="4" y="17"/>
                  </a:lnTo>
                  <a:lnTo>
                    <a:pt x="6" y="15"/>
                  </a:lnTo>
                  <a:lnTo>
                    <a:pt x="6" y="17"/>
                  </a:lnTo>
                  <a:lnTo>
                    <a:pt x="6" y="19"/>
                  </a:lnTo>
                  <a:lnTo>
                    <a:pt x="6" y="21"/>
                  </a:lnTo>
                  <a:lnTo>
                    <a:pt x="8" y="21"/>
                  </a:lnTo>
                  <a:lnTo>
                    <a:pt x="10" y="19"/>
                  </a:lnTo>
                  <a:lnTo>
                    <a:pt x="12" y="19"/>
                  </a:lnTo>
                  <a:lnTo>
                    <a:pt x="12" y="17"/>
                  </a:lnTo>
                  <a:lnTo>
                    <a:pt x="14" y="15"/>
                  </a:lnTo>
                  <a:lnTo>
                    <a:pt x="16" y="13"/>
                  </a:lnTo>
                  <a:lnTo>
                    <a:pt x="17" y="11"/>
                  </a:lnTo>
                  <a:lnTo>
                    <a:pt x="17" y="8"/>
                  </a:lnTo>
                  <a:lnTo>
                    <a:pt x="16" y="6"/>
                  </a:lnTo>
                  <a:lnTo>
                    <a:pt x="16" y="4"/>
                  </a:lnTo>
                  <a:lnTo>
                    <a:pt x="16" y="0"/>
                  </a:lnTo>
                  <a:lnTo>
                    <a:pt x="14" y="2"/>
                  </a:lnTo>
                  <a:lnTo>
                    <a:pt x="14" y="0"/>
                  </a:lnTo>
                  <a:lnTo>
                    <a:pt x="12" y="2"/>
                  </a:lnTo>
                  <a:lnTo>
                    <a:pt x="14" y="4"/>
                  </a:lnTo>
                  <a:lnTo>
                    <a:pt x="12" y="4"/>
                  </a:lnTo>
                  <a:lnTo>
                    <a:pt x="12" y="8"/>
                  </a:lnTo>
                  <a:lnTo>
                    <a:pt x="10" y="6"/>
                  </a:lnTo>
                  <a:lnTo>
                    <a:pt x="8" y="6"/>
                  </a:lnTo>
                  <a:lnTo>
                    <a:pt x="10" y="8"/>
                  </a:lnTo>
                  <a:lnTo>
                    <a:pt x="10" y="9"/>
                  </a:lnTo>
                  <a:lnTo>
                    <a:pt x="8" y="8"/>
                  </a:lnTo>
                  <a:lnTo>
                    <a:pt x="8" y="6"/>
                  </a:lnTo>
                  <a:lnTo>
                    <a:pt x="6" y="6"/>
                  </a:lnTo>
                  <a:lnTo>
                    <a:pt x="6" y="8"/>
                  </a:lnTo>
                  <a:lnTo>
                    <a:pt x="6" y="9"/>
                  </a:lnTo>
                  <a:lnTo>
                    <a:pt x="4" y="8"/>
                  </a:lnTo>
                  <a:lnTo>
                    <a:pt x="2" y="9"/>
                  </a:lnTo>
                  <a:lnTo>
                    <a:pt x="2" y="11"/>
                  </a:lnTo>
                  <a:lnTo>
                    <a:pt x="0" y="11"/>
                  </a:lnTo>
                  <a:lnTo>
                    <a:pt x="0" y="1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6" name="Freeform 224"/>
            <p:cNvSpPr>
              <a:spLocks/>
            </p:cNvSpPr>
            <p:nvPr/>
          </p:nvSpPr>
          <p:spPr bwMode="auto">
            <a:xfrm>
              <a:off x="2848" y="1231"/>
              <a:ext cx="23" cy="14"/>
            </a:xfrm>
            <a:custGeom>
              <a:avLst/>
              <a:gdLst>
                <a:gd name="T0" fmla="*/ 0 w 23"/>
                <a:gd name="T1" fmla="*/ 8 h 14"/>
                <a:gd name="T2" fmla="*/ 0 w 23"/>
                <a:gd name="T3" fmla="*/ 10 h 14"/>
                <a:gd name="T4" fmla="*/ 4 w 23"/>
                <a:gd name="T5" fmla="*/ 8 h 14"/>
                <a:gd name="T6" fmla="*/ 6 w 23"/>
                <a:gd name="T7" fmla="*/ 8 h 14"/>
                <a:gd name="T8" fmla="*/ 4 w 23"/>
                <a:gd name="T9" fmla="*/ 12 h 14"/>
                <a:gd name="T10" fmla="*/ 6 w 23"/>
                <a:gd name="T11" fmla="*/ 14 h 14"/>
                <a:gd name="T12" fmla="*/ 10 w 23"/>
                <a:gd name="T13" fmla="*/ 14 h 14"/>
                <a:gd name="T14" fmla="*/ 12 w 23"/>
                <a:gd name="T15" fmla="*/ 12 h 14"/>
                <a:gd name="T16" fmla="*/ 12 w 23"/>
                <a:gd name="T17" fmla="*/ 10 h 14"/>
                <a:gd name="T18" fmla="*/ 13 w 23"/>
                <a:gd name="T19" fmla="*/ 10 h 14"/>
                <a:gd name="T20" fmla="*/ 15 w 23"/>
                <a:gd name="T21" fmla="*/ 10 h 14"/>
                <a:gd name="T22" fmla="*/ 17 w 23"/>
                <a:gd name="T23" fmla="*/ 8 h 14"/>
                <a:gd name="T24" fmla="*/ 17 w 23"/>
                <a:gd name="T25" fmla="*/ 10 h 14"/>
                <a:gd name="T26" fmla="*/ 23 w 23"/>
                <a:gd name="T27" fmla="*/ 6 h 14"/>
                <a:gd name="T28" fmla="*/ 23 w 23"/>
                <a:gd name="T29" fmla="*/ 4 h 14"/>
                <a:gd name="T30" fmla="*/ 19 w 23"/>
                <a:gd name="T31" fmla="*/ 6 h 14"/>
                <a:gd name="T32" fmla="*/ 19 w 23"/>
                <a:gd name="T33" fmla="*/ 8 h 14"/>
                <a:gd name="T34" fmla="*/ 15 w 23"/>
                <a:gd name="T35" fmla="*/ 8 h 14"/>
                <a:gd name="T36" fmla="*/ 17 w 23"/>
                <a:gd name="T37" fmla="*/ 8 h 14"/>
                <a:gd name="T38" fmla="*/ 15 w 23"/>
                <a:gd name="T39" fmla="*/ 6 h 14"/>
                <a:gd name="T40" fmla="*/ 13 w 23"/>
                <a:gd name="T41" fmla="*/ 6 h 14"/>
                <a:gd name="T42" fmla="*/ 13 w 23"/>
                <a:gd name="T43" fmla="*/ 4 h 14"/>
                <a:gd name="T44" fmla="*/ 17 w 23"/>
                <a:gd name="T45" fmla="*/ 2 h 14"/>
                <a:gd name="T46" fmla="*/ 15 w 23"/>
                <a:gd name="T47" fmla="*/ 0 h 14"/>
                <a:gd name="T48" fmla="*/ 15 w 23"/>
                <a:gd name="T49" fmla="*/ 2 h 14"/>
                <a:gd name="T50" fmla="*/ 13 w 23"/>
                <a:gd name="T51" fmla="*/ 2 h 14"/>
                <a:gd name="T52" fmla="*/ 12 w 23"/>
                <a:gd name="T53" fmla="*/ 2 h 14"/>
                <a:gd name="T54" fmla="*/ 12 w 23"/>
                <a:gd name="T55" fmla="*/ 0 h 14"/>
                <a:gd name="T56" fmla="*/ 10 w 23"/>
                <a:gd name="T57" fmla="*/ 0 h 14"/>
                <a:gd name="T58" fmla="*/ 8 w 23"/>
                <a:gd name="T59" fmla="*/ 0 h 14"/>
                <a:gd name="T60" fmla="*/ 6 w 23"/>
                <a:gd name="T61" fmla="*/ 2 h 14"/>
                <a:gd name="T62" fmla="*/ 6 w 23"/>
                <a:gd name="T63" fmla="*/ 0 h 14"/>
                <a:gd name="T64" fmla="*/ 6 w 23"/>
                <a:gd name="T65" fmla="*/ 2 h 14"/>
                <a:gd name="T66" fmla="*/ 8 w 23"/>
                <a:gd name="T67" fmla="*/ 4 h 14"/>
                <a:gd name="T68" fmla="*/ 10 w 23"/>
                <a:gd name="T69" fmla="*/ 4 h 14"/>
                <a:gd name="T70" fmla="*/ 12 w 23"/>
                <a:gd name="T71" fmla="*/ 4 h 14"/>
                <a:gd name="T72" fmla="*/ 10 w 23"/>
                <a:gd name="T73" fmla="*/ 6 h 14"/>
                <a:gd name="T74" fmla="*/ 8 w 23"/>
                <a:gd name="T75" fmla="*/ 4 h 14"/>
                <a:gd name="T76" fmla="*/ 6 w 23"/>
                <a:gd name="T77" fmla="*/ 4 h 14"/>
                <a:gd name="T78" fmla="*/ 4 w 23"/>
                <a:gd name="T79" fmla="*/ 4 h 14"/>
                <a:gd name="T80" fmla="*/ 4 w 23"/>
                <a:gd name="T81" fmla="*/ 6 h 14"/>
                <a:gd name="T82" fmla="*/ 0 w 23"/>
                <a:gd name="T83" fmla="*/ 6 h 14"/>
                <a:gd name="T84" fmla="*/ 0 w 23"/>
                <a:gd name="T85"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 h="14">
                  <a:moveTo>
                    <a:pt x="0" y="8"/>
                  </a:moveTo>
                  <a:lnTo>
                    <a:pt x="0" y="10"/>
                  </a:lnTo>
                  <a:lnTo>
                    <a:pt x="4" y="8"/>
                  </a:lnTo>
                  <a:lnTo>
                    <a:pt x="6" y="8"/>
                  </a:lnTo>
                  <a:lnTo>
                    <a:pt x="4" y="12"/>
                  </a:lnTo>
                  <a:lnTo>
                    <a:pt x="6" y="14"/>
                  </a:lnTo>
                  <a:lnTo>
                    <a:pt x="10" y="14"/>
                  </a:lnTo>
                  <a:lnTo>
                    <a:pt x="12" y="12"/>
                  </a:lnTo>
                  <a:lnTo>
                    <a:pt x="12" y="10"/>
                  </a:lnTo>
                  <a:lnTo>
                    <a:pt x="13" y="10"/>
                  </a:lnTo>
                  <a:lnTo>
                    <a:pt x="15" y="10"/>
                  </a:lnTo>
                  <a:lnTo>
                    <a:pt x="17" y="8"/>
                  </a:lnTo>
                  <a:lnTo>
                    <a:pt x="17" y="10"/>
                  </a:lnTo>
                  <a:lnTo>
                    <a:pt x="23" y="6"/>
                  </a:lnTo>
                  <a:lnTo>
                    <a:pt x="23" y="4"/>
                  </a:lnTo>
                  <a:lnTo>
                    <a:pt x="19" y="6"/>
                  </a:lnTo>
                  <a:lnTo>
                    <a:pt x="19" y="8"/>
                  </a:lnTo>
                  <a:lnTo>
                    <a:pt x="15" y="8"/>
                  </a:lnTo>
                  <a:lnTo>
                    <a:pt x="17" y="8"/>
                  </a:lnTo>
                  <a:lnTo>
                    <a:pt x="15" y="6"/>
                  </a:lnTo>
                  <a:lnTo>
                    <a:pt x="13" y="6"/>
                  </a:lnTo>
                  <a:lnTo>
                    <a:pt x="13" y="4"/>
                  </a:lnTo>
                  <a:lnTo>
                    <a:pt x="17" y="2"/>
                  </a:lnTo>
                  <a:lnTo>
                    <a:pt x="15" y="0"/>
                  </a:lnTo>
                  <a:lnTo>
                    <a:pt x="15" y="2"/>
                  </a:lnTo>
                  <a:lnTo>
                    <a:pt x="13" y="2"/>
                  </a:lnTo>
                  <a:lnTo>
                    <a:pt x="12" y="2"/>
                  </a:lnTo>
                  <a:lnTo>
                    <a:pt x="12" y="0"/>
                  </a:lnTo>
                  <a:lnTo>
                    <a:pt x="10" y="0"/>
                  </a:lnTo>
                  <a:lnTo>
                    <a:pt x="8" y="0"/>
                  </a:lnTo>
                  <a:lnTo>
                    <a:pt x="6" y="2"/>
                  </a:lnTo>
                  <a:lnTo>
                    <a:pt x="6" y="0"/>
                  </a:lnTo>
                  <a:lnTo>
                    <a:pt x="6" y="2"/>
                  </a:lnTo>
                  <a:lnTo>
                    <a:pt x="8" y="4"/>
                  </a:lnTo>
                  <a:lnTo>
                    <a:pt x="10" y="4"/>
                  </a:lnTo>
                  <a:lnTo>
                    <a:pt x="12" y="4"/>
                  </a:lnTo>
                  <a:lnTo>
                    <a:pt x="10" y="6"/>
                  </a:lnTo>
                  <a:lnTo>
                    <a:pt x="8" y="4"/>
                  </a:lnTo>
                  <a:lnTo>
                    <a:pt x="6" y="4"/>
                  </a:lnTo>
                  <a:lnTo>
                    <a:pt x="4" y="4"/>
                  </a:lnTo>
                  <a:lnTo>
                    <a:pt x="4" y="6"/>
                  </a:lnTo>
                  <a:lnTo>
                    <a:pt x="0" y="6"/>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7" name="Freeform 225"/>
            <p:cNvSpPr>
              <a:spLocks/>
            </p:cNvSpPr>
            <p:nvPr/>
          </p:nvSpPr>
          <p:spPr bwMode="auto">
            <a:xfrm>
              <a:off x="2427" y="1694"/>
              <a:ext cx="25" cy="14"/>
            </a:xfrm>
            <a:custGeom>
              <a:avLst/>
              <a:gdLst>
                <a:gd name="T0" fmla="*/ 0 w 25"/>
                <a:gd name="T1" fmla="*/ 10 h 14"/>
                <a:gd name="T2" fmla="*/ 4 w 25"/>
                <a:gd name="T3" fmla="*/ 12 h 14"/>
                <a:gd name="T4" fmla="*/ 4 w 25"/>
                <a:gd name="T5" fmla="*/ 14 h 14"/>
                <a:gd name="T6" fmla="*/ 6 w 25"/>
                <a:gd name="T7" fmla="*/ 14 h 14"/>
                <a:gd name="T8" fmla="*/ 10 w 25"/>
                <a:gd name="T9" fmla="*/ 10 h 14"/>
                <a:gd name="T10" fmla="*/ 14 w 25"/>
                <a:gd name="T11" fmla="*/ 10 h 14"/>
                <a:gd name="T12" fmla="*/ 16 w 25"/>
                <a:gd name="T13" fmla="*/ 10 h 14"/>
                <a:gd name="T14" fmla="*/ 23 w 25"/>
                <a:gd name="T15" fmla="*/ 8 h 14"/>
                <a:gd name="T16" fmla="*/ 25 w 25"/>
                <a:gd name="T17" fmla="*/ 6 h 14"/>
                <a:gd name="T18" fmla="*/ 25 w 25"/>
                <a:gd name="T19" fmla="*/ 4 h 14"/>
                <a:gd name="T20" fmla="*/ 23 w 25"/>
                <a:gd name="T21" fmla="*/ 4 h 14"/>
                <a:gd name="T22" fmla="*/ 21 w 25"/>
                <a:gd name="T23" fmla="*/ 4 h 14"/>
                <a:gd name="T24" fmla="*/ 19 w 25"/>
                <a:gd name="T25" fmla="*/ 2 h 14"/>
                <a:gd name="T26" fmla="*/ 19 w 25"/>
                <a:gd name="T27" fmla="*/ 0 h 14"/>
                <a:gd name="T28" fmla="*/ 17 w 25"/>
                <a:gd name="T29" fmla="*/ 0 h 14"/>
                <a:gd name="T30" fmla="*/ 19 w 25"/>
                <a:gd name="T31" fmla="*/ 2 h 14"/>
                <a:gd name="T32" fmla="*/ 17 w 25"/>
                <a:gd name="T33" fmla="*/ 2 h 14"/>
                <a:gd name="T34" fmla="*/ 17 w 25"/>
                <a:gd name="T35" fmla="*/ 0 h 14"/>
                <a:gd name="T36" fmla="*/ 8 w 25"/>
                <a:gd name="T37" fmla="*/ 2 h 14"/>
                <a:gd name="T38" fmla="*/ 6 w 25"/>
                <a:gd name="T39" fmla="*/ 4 h 14"/>
                <a:gd name="T40" fmla="*/ 10 w 25"/>
                <a:gd name="T41" fmla="*/ 6 h 14"/>
                <a:gd name="T42" fmla="*/ 4 w 25"/>
                <a:gd name="T43" fmla="*/ 6 h 14"/>
                <a:gd name="T44" fmla="*/ 4 w 25"/>
                <a:gd name="T45" fmla="*/ 8 h 14"/>
                <a:gd name="T46" fmla="*/ 0 w 25"/>
                <a:gd name="T4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14">
                  <a:moveTo>
                    <a:pt x="0" y="10"/>
                  </a:moveTo>
                  <a:lnTo>
                    <a:pt x="4" y="12"/>
                  </a:lnTo>
                  <a:lnTo>
                    <a:pt x="4" y="14"/>
                  </a:lnTo>
                  <a:lnTo>
                    <a:pt x="6" y="14"/>
                  </a:lnTo>
                  <a:lnTo>
                    <a:pt x="10" y="10"/>
                  </a:lnTo>
                  <a:lnTo>
                    <a:pt x="14" y="10"/>
                  </a:lnTo>
                  <a:lnTo>
                    <a:pt x="16" y="10"/>
                  </a:lnTo>
                  <a:lnTo>
                    <a:pt x="23" y="8"/>
                  </a:lnTo>
                  <a:lnTo>
                    <a:pt x="25" y="6"/>
                  </a:lnTo>
                  <a:lnTo>
                    <a:pt x="25" y="4"/>
                  </a:lnTo>
                  <a:lnTo>
                    <a:pt x="23" y="4"/>
                  </a:lnTo>
                  <a:lnTo>
                    <a:pt x="21" y="4"/>
                  </a:lnTo>
                  <a:lnTo>
                    <a:pt x="19" y="2"/>
                  </a:lnTo>
                  <a:lnTo>
                    <a:pt x="19" y="0"/>
                  </a:lnTo>
                  <a:lnTo>
                    <a:pt x="17" y="0"/>
                  </a:lnTo>
                  <a:lnTo>
                    <a:pt x="19" y="2"/>
                  </a:lnTo>
                  <a:lnTo>
                    <a:pt x="17" y="2"/>
                  </a:lnTo>
                  <a:lnTo>
                    <a:pt x="17" y="0"/>
                  </a:lnTo>
                  <a:lnTo>
                    <a:pt x="8" y="2"/>
                  </a:lnTo>
                  <a:lnTo>
                    <a:pt x="6" y="4"/>
                  </a:lnTo>
                  <a:lnTo>
                    <a:pt x="10" y="6"/>
                  </a:lnTo>
                  <a:lnTo>
                    <a:pt x="4" y="6"/>
                  </a:lnTo>
                  <a:lnTo>
                    <a:pt x="4" y="8"/>
                  </a:lnTo>
                  <a:lnTo>
                    <a:pt x="0" y="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8" name="Freeform 226"/>
            <p:cNvSpPr>
              <a:spLocks/>
            </p:cNvSpPr>
            <p:nvPr/>
          </p:nvSpPr>
          <p:spPr bwMode="auto">
            <a:xfrm>
              <a:off x="2812" y="1262"/>
              <a:ext cx="13" cy="12"/>
            </a:xfrm>
            <a:custGeom>
              <a:avLst/>
              <a:gdLst>
                <a:gd name="T0" fmla="*/ 1 w 13"/>
                <a:gd name="T1" fmla="*/ 8 h 12"/>
                <a:gd name="T2" fmla="*/ 3 w 13"/>
                <a:gd name="T3" fmla="*/ 12 h 12"/>
                <a:gd name="T4" fmla="*/ 7 w 13"/>
                <a:gd name="T5" fmla="*/ 12 h 12"/>
                <a:gd name="T6" fmla="*/ 9 w 13"/>
                <a:gd name="T7" fmla="*/ 12 h 12"/>
                <a:gd name="T8" fmla="*/ 11 w 13"/>
                <a:gd name="T9" fmla="*/ 10 h 12"/>
                <a:gd name="T10" fmla="*/ 11 w 13"/>
                <a:gd name="T11" fmla="*/ 8 h 12"/>
                <a:gd name="T12" fmla="*/ 13 w 13"/>
                <a:gd name="T13" fmla="*/ 6 h 12"/>
                <a:gd name="T14" fmla="*/ 13 w 13"/>
                <a:gd name="T15" fmla="*/ 4 h 12"/>
                <a:gd name="T16" fmla="*/ 11 w 13"/>
                <a:gd name="T17" fmla="*/ 4 h 12"/>
                <a:gd name="T18" fmla="*/ 11 w 13"/>
                <a:gd name="T19" fmla="*/ 2 h 12"/>
                <a:gd name="T20" fmla="*/ 9 w 13"/>
                <a:gd name="T21" fmla="*/ 2 h 12"/>
                <a:gd name="T22" fmla="*/ 5 w 13"/>
                <a:gd name="T23" fmla="*/ 0 h 12"/>
                <a:gd name="T24" fmla="*/ 5 w 13"/>
                <a:gd name="T25" fmla="*/ 2 h 12"/>
                <a:gd name="T26" fmla="*/ 3 w 13"/>
                <a:gd name="T27" fmla="*/ 2 h 12"/>
                <a:gd name="T28" fmla="*/ 5 w 13"/>
                <a:gd name="T29" fmla="*/ 0 h 12"/>
                <a:gd name="T30" fmla="*/ 1 w 13"/>
                <a:gd name="T31" fmla="*/ 0 h 12"/>
                <a:gd name="T32" fmla="*/ 0 w 13"/>
                <a:gd name="T33" fmla="*/ 0 h 12"/>
                <a:gd name="T34" fmla="*/ 0 w 13"/>
                <a:gd name="T35" fmla="*/ 2 h 12"/>
                <a:gd name="T36" fmla="*/ 1 w 13"/>
                <a:gd name="T37" fmla="*/ 4 h 12"/>
                <a:gd name="T38" fmla="*/ 1 w 13"/>
                <a:gd name="T39" fmla="*/ 6 h 12"/>
                <a:gd name="T40" fmla="*/ 1 w 13"/>
                <a:gd name="T4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2">
                  <a:moveTo>
                    <a:pt x="1" y="8"/>
                  </a:moveTo>
                  <a:lnTo>
                    <a:pt x="3" y="12"/>
                  </a:lnTo>
                  <a:lnTo>
                    <a:pt x="7" y="12"/>
                  </a:lnTo>
                  <a:lnTo>
                    <a:pt x="9" y="12"/>
                  </a:lnTo>
                  <a:lnTo>
                    <a:pt x="11" y="10"/>
                  </a:lnTo>
                  <a:lnTo>
                    <a:pt x="11" y="8"/>
                  </a:lnTo>
                  <a:lnTo>
                    <a:pt x="13" y="6"/>
                  </a:lnTo>
                  <a:lnTo>
                    <a:pt x="13" y="4"/>
                  </a:lnTo>
                  <a:lnTo>
                    <a:pt x="11" y="4"/>
                  </a:lnTo>
                  <a:lnTo>
                    <a:pt x="11" y="2"/>
                  </a:lnTo>
                  <a:lnTo>
                    <a:pt x="9" y="2"/>
                  </a:lnTo>
                  <a:lnTo>
                    <a:pt x="5" y="0"/>
                  </a:lnTo>
                  <a:lnTo>
                    <a:pt x="5" y="2"/>
                  </a:lnTo>
                  <a:lnTo>
                    <a:pt x="3" y="2"/>
                  </a:lnTo>
                  <a:lnTo>
                    <a:pt x="5" y="0"/>
                  </a:lnTo>
                  <a:lnTo>
                    <a:pt x="1" y="0"/>
                  </a:lnTo>
                  <a:lnTo>
                    <a:pt x="0" y="0"/>
                  </a:lnTo>
                  <a:lnTo>
                    <a:pt x="0" y="2"/>
                  </a:lnTo>
                  <a:lnTo>
                    <a:pt x="1" y="4"/>
                  </a:lnTo>
                  <a:lnTo>
                    <a:pt x="1" y="6"/>
                  </a:lnTo>
                  <a:lnTo>
                    <a:pt x="1"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39" name="Freeform 227"/>
            <p:cNvSpPr>
              <a:spLocks/>
            </p:cNvSpPr>
            <p:nvPr/>
          </p:nvSpPr>
          <p:spPr bwMode="auto">
            <a:xfrm>
              <a:off x="2738" y="1299"/>
              <a:ext cx="10" cy="11"/>
            </a:xfrm>
            <a:custGeom>
              <a:avLst/>
              <a:gdLst>
                <a:gd name="T0" fmla="*/ 0 w 10"/>
                <a:gd name="T1" fmla="*/ 5 h 11"/>
                <a:gd name="T2" fmla="*/ 0 w 10"/>
                <a:gd name="T3" fmla="*/ 3 h 11"/>
                <a:gd name="T4" fmla="*/ 2 w 10"/>
                <a:gd name="T5" fmla="*/ 2 h 11"/>
                <a:gd name="T6" fmla="*/ 6 w 10"/>
                <a:gd name="T7" fmla="*/ 0 h 11"/>
                <a:gd name="T8" fmla="*/ 8 w 10"/>
                <a:gd name="T9" fmla="*/ 0 h 11"/>
                <a:gd name="T10" fmla="*/ 10 w 10"/>
                <a:gd name="T11" fmla="*/ 0 h 11"/>
                <a:gd name="T12" fmla="*/ 10 w 10"/>
                <a:gd name="T13" fmla="*/ 2 h 11"/>
                <a:gd name="T14" fmla="*/ 10 w 10"/>
                <a:gd name="T15" fmla="*/ 3 h 11"/>
                <a:gd name="T16" fmla="*/ 10 w 10"/>
                <a:gd name="T17" fmla="*/ 5 h 11"/>
                <a:gd name="T18" fmla="*/ 10 w 10"/>
                <a:gd name="T19" fmla="*/ 9 h 11"/>
                <a:gd name="T20" fmla="*/ 8 w 10"/>
                <a:gd name="T21" fmla="*/ 9 h 11"/>
                <a:gd name="T22" fmla="*/ 6 w 10"/>
                <a:gd name="T23" fmla="*/ 11 h 11"/>
                <a:gd name="T24" fmla="*/ 4 w 10"/>
                <a:gd name="T25" fmla="*/ 9 h 11"/>
                <a:gd name="T26" fmla="*/ 6 w 10"/>
                <a:gd name="T27" fmla="*/ 7 h 11"/>
                <a:gd name="T28" fmla="*/ 4 w 10"/>
                <a:gd name="T29" fmla="*/ 7 h 11"/>
                <a:gd name="T30" fmla="*/ 4 w 10"/>
                <a:gd name="T31" fmla="*/ 9 h 11"/>
                <a:gd name="T32" fmla="*/ 2 w 10"/>
                <a:gd name="T33" fmla="*/ 11 h 11"/>
                <a:gd name="T34" fmla="*/ 2 w 10"/>
                <a:gd name="T35" fmla="*/ 9 h 11"/>
                <a:gd name="T36" fmla="*/ 0 w 10"/>
                <a:gd name="T37" fmla="*/ 7 h 11"/>
                <a:gd name="T38" fmla="*/ 0 w 10"/>
                <a:gd name="T39"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0" y="5"/>
                  </a:moveTo>
                  <a:lnTo>
                    <a:pt x="0" y="3"/>
                  </a:lnTo>
                  <a:lnTo>
                    <a:pt x="2" y="2"/>
                  </a:lnTo>
                  <a:lnTo>
                    <a:pt x="6" y="0"/>
                  </a:lnTo>
                  <a:lnTo>
                    <a:pt x="8" y="0"/>
                  </a:lnTo>
                  <a:lnTo>
                    <a:pt x="10" y="0"/>
                  </a:lnTo>
                  <a:lnTo>
                    <a:pt x="10" y="2"/>
                  </a:lnTo>
                  <a:lnTo>
                    <a:pt x="10" y="3"/>
                  </a:lnTo>
                  <a:lnTo>
                    <a:pt x="10" y="5"/>
                  </a:lnTo>
                  <a:lnTo>
                    <a:pt x="10" y="9"/>
                  </a:lnTo>
                  <a:lnTo>
                    <a:pt x="8" y="9"/>
                  </a:lnTo>
                  <a:lnTo>
                    <a:pt x="6" y="11"/>
                  </a:lnTo>
                  <a:lnTo>
                    <a:pt x="4" y="9"/>
                  </a:lnTo>
                  <a:lnTo>
                    <a:pt x="6" y="7"/>
                  </a:lnTo>
                  <a:lnTo>
                    <a:pt x="4" y="7"/>
                  </a:lnTo>
                  <a:lnTo>
                    <a:pt x="4" y="9"/>
                  </a:lnTo>
                  <a:lnTo>
                    <a:pt x="2" y="11"/>
                  </a:lnTo>
                  <a:lnTo>
                    <a:pt x="2" y="9"/>
                  </a:lnTo>
                  <a:lnTo>
                    <a:pt x="0" y="7"/>
                  </a:lnTo>
                  <a:lnTo>
                    <a:pt x="0" y="5"/>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0" name="Freeform 228"/>
            <p:cNvSpPr>
              <a:spLocks/>
            </p:cNvSpPr>
            <p:nvPr/>
          </p:nvSpPr>
          <p:spPr bwMode="auto">
            <a:xfrm>
              <a:off x="2785" y="1283"/>
              <a:ext cx="17" cy="8"/>
            </a:xfrm>
            <a:custGeom>
              <a:avLst/>
              <a:gdLst>
                <a:gd name="T0" fmla="*/ 0 w 17"/>
                <a:gd name="T1" fmla="*/ 6 h 8"/>
                <a:gd name="T2" fmla="*/ 2 w 17"/>
                <a:gd name="T3" fmla="*/ 8 h 8"/>
                <a:gd name="T4" fmla="*/ 3 w 17"/>
                <a:gd name="T5" fmla="*/ 8 h 8"/>
                <a:gd name="T6" fmla="*/ 5 w 17"/>
                <a:gd name="T7" fmla="*/ 8 h 8"/>
                <a:gd name="T8" fmla="*/ 7 w 17"/>
                <a:gd name="T9" fmla="*/ 8 h 8"/>
                <a:gd name="T10" fmla="*/ 9 w 17"/>
                <a:gd name="T11" fmla="*/ 8 h 8"/>
                <a:gd name="T12" fmla="*/ 11 w 17"/>
                <a:gd name="T13" fmla="*/ 8 h 8"/>
                <a:gd name="T14" fmla="*/ 15 w 17"/>
                <a:gd name="T15" fmla="*/ 8 h 8"/>
                <a:gd name="T16" fmla="*/ 17 w 17"/>
                <a:gd name="T17" fmla="*/ 8 h 8"/>
                <a:gd name="T18" fmla="*/ 15 w 17"/>
                <a:gd name="T19" fmla="*/ 6 h 8"/>
                <a:gd name="T20" fmla="*/ 13 w 17"/>
                <a:gd name="T21" fmla="*/ 6 h 8"/>
                <a:gd name="T22" fmla="*/ 13 w 17"/>
                <a:gd name="T23" fmla="*/ 4 h 8"/>
                <a:gd name="T24" fmla="*/ 11 w 17"/>
                <a:gd name="T25" fmla="*/ 4 h 8"/>
                <a:gd name="T26" fmla="*/ 9 w 17"/>
                <a:gd name="T27" fmla="*/ 4 h 8"/>
                <a:gd name="T28" fmla="*/ 9 w 17"/>
                <a:gd name="T29" fmla="*/ 2 h 8"/>
                <a:gd name="T30" fmla="*/ 9 w 17"/>
                <a:gd name="T31" fmla="*/ 0 h 8"/>
                <a:gd name="T32" fmla="*/ 9 w 17"/>
                <a:gd name="T33" fmla="*/ 4 h 8"/>
                <a:gd name="T34" fmla="*/ 7 w 17"/>
                <a:gd name="T35" fmla="*/ 4 h 8"/>
                <a:gd name="T36" fmla="*/ 7 w 17"/>
                <a:gd name="T37" fmla="*/ 2 h 8"/>
                <a:gd name="T38" fmla="*/ 7 w 17"/>
                <a:gd name="T39" fmla="*/ 4 h 8"/>
                <a:gd name="T40" fmla="*/ 5 w 17"/>
                <a:gd name="T41" fmla="*/ 2 h 8"/>
                <a:gd name="T42" fmla="*/ 5 w 17"/>
                <a:gd name="T43" fmla="*/ 4 h 8"/>
                <a:gd name="T44" fmla="*/ 3 w 17"/>
                <a:gd name="T45" fmla="*/ 2 h 8"/>
                <a:gd name="T46" fmla="*/ 3 w 17"/>
                <a:gd name="T47" fmla="*/ 4 h 8"/>
                <a:gd name="T48" fmla="*/ 3 w 17"/>
                <a:gd name="T49" fmla="*/ 2 h 8"/>
                <a:gd name="T50" fmla="*/ 2 w 17"/>
                <a:gd name="T51" fmla="*/ 2 h 8"/>
                <a:gd name="T52" fmla="*/ 3 w 17"/>
                <a:gd name="T53" fmla="*/ 4 h 8"/>
                <a:gd name="T54" fmla="*/ 3 w 17"/>
                <a:gd name="T55" fmla="*/ 6 h 8"/>
                <a:gd name="T56" fmla="*/ 2 w 17"/>
                <a:gd name="T57" fmla="*/ 4 h 8"/>
                <a:gd name="T58" fmla="*/ 0 w 17"/>
                <a:gd name="T59" fmla="*/ 4 h 8"/>
                <a:gd name="T60" fmla="*/ 0 w 17"/>
                <a:gd name="T6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8">
                  <a:moveTo>
                    <a:pt x="0" y="6"/>
                  </a:moveTo>
                  <a:lnTo>
                    <a:pt x="2" y="8"/>
                  </a:lnTo>
                  <a:lnTo>
                    <a:pt x="3" y="8"/>
                  </a:lnTo>
                  <a:lnTo>
                    <a:pt x="5" y="8"/>
                  </a:lnTo>
                  <a:lnTo>
                    <a:pt x="7" y="8"/>
                  </a:lnTo>
                  <a:lnTo>
                    <a:pt x="9" y="8"/>
                  </a:lnTo>
                  <a:lnTo>
                    <a:pt x="11" y="8"/>
                  </a:lnTo>
                  <a:lnTo>
                    <a:pt x="15" y="8"/>
                  </a:lnTo>
                  <a:lnTo>
                    <a:pt x="17" y="8"/>
                  </a:lnTo>
                  <a:lnTo>
                    <a:pt x="15" y="6"/>
                  </a:lnTo>
                  <a:lnTo>
                    <a:pt x="13" y="6"/>
                  </a:lnTo>
                  <a:lnTo>
                    <a:pt x="13" y="4"/>
                  </a:lnTo>
                  <a:lnTo>
                    <a:pt x="11" y="4"/>
                  </a:lnTo>
                  <a:lnTo>
                    <a:pt x="9" y="4"/>
                  </a:lnTo>
                  <a:lnTo>
                    <a:pt x="9" y="2"/>
                  </a:lnTo>
                  <a:lnTo>
                    <a:pt x="9" y="0"/>
                  </a:lnTo>
                  <a:lnTo>
                    <a:pt x="9" y="4"/>
                  </a:lnTo>
                  <a:lnTo>
                    <a:pt x="7" y="4"/>
                  </a:lnTo>
                  <a:lnTo>
                    <a:pt x="7" y="2"/>
                  </a:lnTo>
                  <a:lnTo>
                    <a:pt x="7" y="4"/>
                  </a:lnTo>
                  <a:lnTo>
                    <a:pt x="5" y="2"/>
                  </a:lnTo>
                  <a:lnTo>
                    <a:pt x="5" y="4"/>
                  </a:lnTo>
                  <a:lnTo>
                    <a:pt x="3" y="2"/>
                  </a:lnTo>
                  <a:lnTo>
                    <a:pt x="3" y="4"/>
                  </a:lnTo>
                  <a:lnTo>
                    <a:pt x="3" y="2"/>
                  </a:lnTo>
                  <a:lnTo>
                    <a:pt x="2" y="2"/>
                  </a:lnTo>
                  <a:lnTo>
                    <a:pt x="3" y="4"/>
                  </a:lnTo>
                  <a:lnTo>
                    <a:pt x="3" y="6"/>
                  </a:lnTo>
                  <a:lnTo>
                    <a:pt x="2" y="4"/>
                  </a:lnTo>
                  <a:lnTo>
                    <a:pt x="0" y="4"/>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1" name="Freeform 229"/>
            <p:cNvSpPr>
              <a:spLocks/>
            </p:cNvSpPr>
            <p:nvPr/>
          </p:nvSpPr>
          <p:spPr bwMode="auto">
            <a:xfrm>
              <a:off x="2717" y="1299"/>
              <a:ext cx="16" cy="11"/>
            </a:xfrm>
            <a:custGeom>
              <a:avLst/>
              <a:gdLst>
                <a:gd name="T0" fmla="*/ 0 w 16"/>
                <a:gd name="T1" fmla="*/ 2 h 11"/>
                <a:gd name="T2" fmla="*/ 0 w 16"/>
                <a:gd name="T3" fmla="*/ 0 h 11"/>
                <a:gd name="T4" fmla="*/ 2 w 16"/>
                <a:gd name="T5" fmla="*/ 0 h 11"/>
                <a:gd name="T6" fmla="*/ 2 w 16"/>
                <a:gd name="T7" fmla="*/ 2 h 11"/>
                <a:gd name="T8" fmla="*/ 4 w 16"/>
                <a:gd name="T9" fmla="*/ 2 h 11"/>
                <a:gd name="T10" fmla="*/ 4 w 16"/>
                <a:gd name="T11" fmla="*/ 3 h 11"/>
                <a:gd name="T12" fmla="*/ 6 w 16"/>
                <a:gd name="T13" fmla="*/ 5 h 11"/>
                <a:gd name="T14" fmla="*/ 8 w 16"/>
                <a:gd name="T15" fmla="*/ 3 h 11"/>
                <a:gd name="T16" fmla="*/ 10 w 16"/>
                <a:gd name="T17" fmla="*/ 3 h 11"/>
                <a:gd name="T18" fmla="*/ 10 w 16"/>
                <a:gd name="T19" fmla="*/ 5 h 11"/>
                <a:gd name="T20" fmla="*/ 10 w 16"/>
                <a:gd name="T21" fmla="*/ 7 h 11"/>
                <a:gd name="T22" fmla="*/ 12 w 16"/>
                <a:gd name="T23" fmla="*/ 7 h 11"/>
                <a:gd name="T24" fmla="*/ 16 w 16"/>
                <a:gd name="T25" fmla="*/ 7 h 11"/>
                <a:gd name="T26" fmla="*/ 16 w 16"/>
                <a:gd name="T27" fmla="*/ 9 h 11"/>
                <a:gd name="T28" fmla="*/ 12 w 16"/>
                <a:gd name="T29" fmla="*/ 9 h 11"/>
                <a:gd name="T30" fmla="*/ 10 w 16"/>
                <a:gd name="T31" fmla="*/ 11 h 11"/>
                <a:gd name="T32" fmla="*/ 8 w 16"/>
                <a:gd name="T33" fmla="*/ 11 h 11"/>
                <a:gd name="T34" fmla="*/ 6 w 16"/>
                <a:gd name="T35" fmla="*/ 11 h 11"/>
                <a:gd name="T36" fmla="*/ 4 w 16"/>
                <a:gd name="T37" fmla="*/ 11 h 11"/>
                <a:gd name="T38" fmla="*/ 6 w 16"/>
                <a:gd name="T39" fmla="*/ 9 h 11"/>
                <a:gd name="T40" fmla="*/ 4 w 16"/>
                <a:gd name="T41" fmla="*/ 7 h 11"/>
                <a:gd name="T42" fmla="*/ 2 w 16"/>
                <a:gd name="T43" fmla="*/ 3 h 11"/>
                <a:gd name="T44" fmla="*/ 0 w 16"/>
                <a:gd name="T4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11">
                  <a:moveTo>
                    <a:pt x="0" y="2"/>
                  </a:moveTo>
                  <a:lnTo>
                    <a:pt x="0" y="0"/>
                  </a:lnTo>
                  <a:lnTo>
                    <a:pt x="2" y="0"/>
                  </a:lnTo>
                  <a:lnTo>
                    <a:pt x="2" y="2"/>
                  </a:lnTo>
                  <a:lnTo>
                    <a:pt x="4" y="2"/>
                  </a:lnTo>
                  <a:lnTo>
                    <a:pt x="4" y="3"/>
                  </a:lnTo>
                  <a:lnTo>
                    <a:pt x="6" y="5"/>
                  </a:lnTo>
                  <a:lnTo>
                    <a:pt x="8" y="3"/>
                  </a:lnTo>
                  <a:lnTo>
                    <a:pt x="10" y="3"/>
                  </a:lnTo>
                  <a:lnTo>
                    <a:pt x="10" y="5"/>
                  </a:lnTo>
                  <a:lnTo>
                    <a:pt x="10" y="7"/>
                  </a:lnTo>
                  <a:lnTo>
                    <a:pt x="12" y="7"/>
                  </a:lnTo>
                  <a:lnTo>
                    <a:pt x="16" y="7"/>
                  </a:lnTo>
                  <a:lnTo>
                    <a:pt x="16" y="9"/>
                  </a:lnTo>
                  <a:lnTo>
                    <a:pt x="12" y="9"/>
                  </a:lnTo>
                  <a:lnTo>
                    <a:pt x="10" y="11"/>
                  </a:lnTo>
                  <a:lnTo>
                    <a:pt x="8" y="11"/>
                  </a:lnTo>
                  <a:lnTo>
                    <a:pt x="6" y="11"/>
                  </a:lnTo>
                  <a:lnTo>
                    <a:pt x="4" y="11"/>
                  </a:lnTo>
                  <a:lnTo>
                    <a:pt x="6" y="9"/>
                  </a:lnTo>
                  <a:lnTo>
                    <a:pt x="4" y="7"/>
                  </a:lnTo>
                  <a:lnTo>
                    <a:pt x="2" y="3"/>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2" name="Freeform 230"/>
            <p:cNvSpPr>
              <a:spLocks/>
            </p:cNvSpPr>
            <p:nvPr/>
          </p:nvSpPr>
          <p:spPr bwMode="auto">
            <a:xfrm>
              <a:off x="2664" y="1379"/>
              <a:ext cx="9" cy="8"/>
            </a:xfrm>
            <a:custGeom>
              <a:avLst/>
              <a:gdLst>
                <a:gd name="T0" fmla="*/ 0 w 9"/>
                <a:gd name="T1" fmla="*/ 0 h 8"/>
                <a:gd name="T2" fmla="*/ 1 w 9"/>
                <a:gd name="T3" fmla="*/ 0 h 8"/>
                <a:gd name="T4" fmla="*/ 3 w 9"/>
                <a:gd name="T5" fmla="*/ 0 h 8"/>
                <a:gd name="T6" fmla="*/ 5 w 9"/>
                <a:gd name="T7" fmla="*/ 0 h 8"/>
                <a:gd name="T8" fmla="*/ 7 w 9"/>
                <a:gd name="T9" fmla="*/ 0 h 8"/>
                <a:gd name="T10" fmla="*/ 7 w 9"/>
                <a:gd name="T11" fmla="*/ 2 h 8"/>
                <a:gd name="T12" fmla="*/ 9 w 9"/>
                <a:gd name="T13" fmla="*/ 2 h 8"/>
                <a:gd name="T14" fmla="*/ 7 w 9"/>
                <a:gd name="T15" fmla="*/ 4 h 8"/>
                <a:gd name="T16" fmla="*/ 5 w 9"/>
                <a:gd name="T17" fmla="*/ 6 h 8"/>
                <a:gd name="T18" fmla="*/ 3 w 9"/>
                <a:gd name="T19" fmla="*/ 8 h 8"/>
                <a:gd name="T20" fmla="*/ 1 w 9"/>
                <a:gd name="T21" fmla="*/ 6 h 8"/>
                <a:gd name="T22" fmla="*/ 1 w 9"/>
                <a:gd name="T23" fmla="*/ 4 h 8"/>
                <a:gd name="T24" fmla="*/ 0 w 9"/>
                <a:gd name="T25" fmla="*/ 2 h 8"/>
                <a:gd name="T26" fmla="*/ 0 w 9"/>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8">
                  <a:moveTo>
                    <a:pt x="0" y="0"/>
                  </a:moveTo>
                  <a:lnTo>
                    <a:pt x="1" y="0"/>
                  </a:lnTo>
                  <a:lnTo>
                    <a:pt x="3" y="0"/>
                  </a:lnTo>
                  <a:lnTo>
                    <a:pt x="5" y="0"/>
                  </a:lnTo>
                  <a:lnTo>
                    <a:pt x="7" y="0"/>
                  </a:lnTo>
                  <a:lnTo>
                    <a:pt x="7" y="2"/>
                  </a:lnTo>
                  <a:lnTo>
                    <a:pt x="9" y="2"/>
                  </a:lnTo>
                  <a:lnTo>
                    <a:pt x="7" y="4"/>
                  </a:lnTo>
                  <a:lnTo>
                    <a:pt x="5" y="6"/>
                  </a:lnTo>
                  <a:lnTo>
                    <a:pt x="3" y="8"/>
                  </a:lnTo>
                  <a:lnTo>
                    <a:pt x="1" y="6"/>
                  </a:lnTo>
                  <a:lnTo>
                    <a:pt x="1" y="4"/>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3" name="Freeform 231"/>
            <p:cNvSpPr>
              <a:spLocks/>
            </p:cNvSpPr>
            <p:nvPr/>
          </p:nvSpPr>
          <p:spPr bwMode="auto">
            <a:xfrm>
              <a:off x="2412" y="1704"/>
              <a:ext cx="11" cy="8"/>
            </a:xfrm>
            <a:custGeom>
              <a:avLst/>
              <a:gdLst>
                <a:gd name="T0" fmla="*/ 0 w 11"/>
                <a:gd name="T1" fmla="*/ 6 h 8"/>
                <a:gd name="T2" fmla="*/ 0 w 11"/>
                <a:gd name="T3" fmla="*/ 4 h 8"/>
                <a:gd name="T4" fmla="*/ 2 w 11"/>
                <a:gd name="T5" fmla="*/ 2 h 8"/>
                <a:gd name="T6" fmla="*/ 4 w 11"/>
                <a:gd name="T7" fmla="*/ 2 h 8"/>
                <a:gd name="T8" fmla="*/ 6 w 11"/>
                <a:gd name="T9" fmla="*/ 0 h 8"/>
                <a:gd name="T10" fmla="*/ 9 w 11"/>
                <a:gd name="T11" fmla="*/ 0 h 8"/>
                <a:gd name="T12" fmla="*/ 9 w 11"/>
                <a:gd name="T13" fmla="*/ 2 h 8"/>
                <a:gd name="T14" fmla="*/ 11 w 11"/>
                <a:gd name="T15" fmla="*/ 4 h 8"/>
                <a:gd name="T16" fmla="*/ 11 w 11"/>
                <a:gd name="T17" fmla="*/ 6 h 8"/>
                <a:gd name="T18" fmla="*/ 9 w 11"/>
                <a:gd name="T19" fmla="*/ 8 h 8"/>
                <a:gd name="T20" fmla="*/ 8 w 11"/>
                <a:gd name="T21" fmla="*/ 8 h 8"/>
                <a:gd name="T22" fmla="*/ 4 w 11"/>
                <a:gd name="T23" fmla="*/ 8 h 8"/>
                <a:gd name="T24" fmla="*/ 2 w 11"/>
                <a:gd name="T25" fmla="*/ 6 h 8"/>
                <a:gd name="T26" fmla="*/ 0 w 11"/>
                <a:gd name="T2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8">
                  <a:moveTo>
                    <a:pt x="0" y="6"/>
                  </a:moveTo>
                  <a:lnTo>
                    <a:pt x="0" y="4"/>
                  </a:lnTo>
                  <a:lnTo>
                    <a:pt x="2" y="2"/>
                  </a:lnTo>
                  <a:lnTo>
                    <a:pt x="4" y="2"/>
                  </a:lnTo>
                  <a:lnTo>
                    <a:pt x="6" y="0"/>
                  </a:lnTo>
                  <a:lnTo>
                    <a:pt x="9" y="0"/>
                  </a:lnTo>
                  <a:lnTo>
                    <a:pt x="9" y="2"/>
                  </a:lnTo>
                  <a:lnTo>
                    <a:pt x="11" y="4"/>
                  </a:lnTo>
                  <a:lnTo>
                    <a:pt x="11" y="6"/>
                  </a:lnTo>
                  <a:lnTo>
                    <a:pt x="9" y="8"/>
                  </a:lnTo>
                  <a:lnTo>
                    <a:pt x="8" y="8"/>
                  </a:lnTo>
                  <a:lnTo>
                    <a:pt x="4" y="8"/>
                  </a:lnTo>
                  <a:lnTo>
                    <a:pt x="2" y="6"/>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4" name="Freeform 232"/>
            <p:cNvSpPr>
              <a:spLocks/>
            </p:cNvSpPr>
            <p:nvPr/>
          </p:nvSpPr>
          <p:spPr bwMode="auto">
            <a:xfrm>
              <a:off x="2717" y="1314"/>
              <a:ext cx="10" cy="10"/>
            </a:xfrm>
            <a:custGeom>
              <a:avLst/>
              <a:gdLst>
                <a:gd name="T0" fmla="*/ 0 w 10"/>
                <a:gd name="T1" fmla="*/ 8 h 10"/>
                <a:gd name="T2" fmla="*/ 0 w 10"/>
                <a:gd name="T3" fmla="*/ 6 h 10"/>
                <a:gd name="T4" fmla="*/ 2 w 10"/>
                <a:gd name="T5" fmla="*/ 4 h 10"/>
                <a:gd name="T6" fmla="*/ 6 w 10"/>
                <a:gd name="T7" fmla="*/ 2 h 10"/>
                <a:gd name="T8" fmla="*/ 6 w 10"/>
                <a:gd name="T9" fmla="*/ 0 h 10"/>
                <a:gd name="T10" fmla="*/ 8 w 10"/>
                <a:gd name="T11" fmla="*/ 0 h 10"/>
                <a:gd name="T12" fmla="*/ 10 w 10"/>
                <a:gd name="T13" fmla="*/ 2 h 10"/>
                <a:gd name="T14" fmla="*/ 8 w 10"/>
                <a:gd name="T15" fmla="*/ 2 h 10"/>
                <a:gd name="T16" fmla="*/ 8 w 10"/>
                <a:gd name="T17" fmla="*/ 4 h 10"/>
                <a:gd name="T18" fmla="*/ 6 w 10"/>
                <a:gd name="T19" fmla="*/ 8 h 10"/>
                <a:gd name="T20" fmla="*/ 4 w 10"/>
                <a:gd name="T21" fmla="*/ 8 h 10"/>
                <a:gd name="T22" fmla="*/ 0 w 10"/>
                <a:gd name="T23" fmla="*/ 10 h 10"/>
                <a:gd name="T24" fmla="*/ 0 w 10"/>
                <a:gd name="T2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0" y="8"/>
                  </a:moveTo>
                  <a:lnTo>
                    <a:pt x="0" y="6"/>
                  </a:lnTo>
                  <a:lnTo>
                    <a:pt x="2" y="4"/>
                  </a:lnTo>
                  <a:lnTo>
                    <a:pt x="6" y="2"/>
                  </a:lnTo>
                  <a:lnTo>
                    <a:pt x="6" y="0"/>
                  </a:lnTo>
                  <a:lnTo>
                    <a:pt x="8" y="0"/>
                  </a:lnTo>
                  <a:lnTo>
                    <a:pt x="10" y="2"/>
                  </a:lnTo>
                  <a:lnTo>
                    <a:pt x="8" y="2"/>
                  </a:lnTo>
                  <a:lnTo>
                    <a:pt x="8" y="4"/>
                  </a:lnTo>
                  <a:lnTo>
                    <a:pt x="6" y="8"/>
                  </a:lnTo>
                  <a:lnTo>
                    <a:pt x="4" y="8"/>
                  </a:lnTo>
                  <a:lnTo>
                    <a:pt x="0" y="10"/>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5" name="Freeform 233"/>
            <p:cNvSpPr>
              <a:spLocks/>
            </p:cNvSpPr>
            <p:nvPr/>
          </p:nvSpPr>
          <p:spPr bwMode="auto">
            <a:xfrm>
              <a:off x="2967" y="1279"/>
              <a:ext cx="8" cy="10"/>
            </a:xfrm>
            <a:custGeom>
              <a:avLst/>
              <a:gdLst>
                <a:gd name="T0" fmla="*/ 0 w 8"/>
                <a:gd name="T1" fmla="*/ 10 h 10"/>
                <a:gd name="T2" fmla="*/ 2 w 8"/>
                <a:gd name="T3" fmla="*/ 10 h 10"/>
                <a:gd name="T4" fmla="*/ 2 w 8"/>
                <a:gd name="T5" fmla="*/ 8 h 10"/>
                <a:gd name="T6" fmla="*/ 2 w 8"/>
                <a:gd name="T7" fmla="*/ 10 h 10"/>
                <a:gd name="T8" fmla="*/ 4 w 8"/>
                <a:gd name="T9" fmla="*/ 8 h 10"/>
                <a:gd name="T10" fmla="*/ 6 w 8"/>
                <a:gd name="T11" fmla="*/ 6 h 10"/>
                <a:gd name="T12" fmla="*/ 8 w 8"/>
                <a:gd name="T13" fmla="*/ 6 h 10"/>
                <a:gd name="T14" fmla="*/ 8 w 8"/>
                <a:gd name="T15" fmla="*/ 4 h 10"/>
                <a:gd name="T16" fmla="*/ 6 w 8"/>
                <a:gd name="T17" fmla="*/ 6 h 10"/>
                <a:gd name="T18" fmla="*/ 6 w 8"/>
                <a:gd name="T19" fmla="*/ 4 h 10"/>
                <a:gd name="T20" fmla="*/ 6 w 8"/>
                <a:gd name="T21" fmla="*/ 2 h 10"/>
                <a:gd name="T22" fmla="*/ 4 w 8"/>
                <a:gd name="T23" fmla="*/ 2 h 10"/>
                <a:gd name="T24" fmla="*/ 0 w 8"/>
                <a:gd name="T25" fmla="*/ 0 h 10"/>
                <a:gd name="T26" fmla="*/ 0 w 8"/>
                <a:gd name="T27" fmla="*/ 2 h 10"/>
                <a:gd name="T28" fmla="*/ 2 w 8"/>
                <a:gd name="T29" fmla="*/ 4 h 10"/>
                <a:gd name="T30" fmla="*/ 2 w 8"/>
                <a:gd name="T31" fmla="*/ 6 h 10"/>
                <a:gd name="T32" fmla="*/ 2 w 8"/>
                <a:gd name="T33" fmla="*/ 8 h 10"/>
                <a:gd name="T34" fmla="*/ 0 w 8"/>
                <a:gd name="T35" fmla="*/ 8 h 10"/>
                <a:gd name="T36" fmla="*/ 0 w 8"/>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0" y="10"/>
                  </a:moveTo>
                  <a:lnTo>
                    <a:pt x="2" y="10"/>
                  </a:lnTo>
                  <a:lnTo>
                    <a:pt x="2" y="8"/>
                  </a:lnTo>
                  <a:lnTo>
                    <a:pt x="2" y="10"/>
                  </a:lnTo>
                  <a:lnTo>
                    <a:pt x="4" y="8"/>
                  </a:lnTo>
                  <a:lnTo>
                    <a:pt x="6" y="6"/>
                  </a:lnTo>
                  <a:lnTo>
                    <a:pt x="8" y="6"/>
                  </a:lnTo>
                  <a:lnTo>
                    <a:pt x="8" y="4"/>
                  </a:lnTo>
                  <a:lnTo>
                    <a:pt x="6" y="6"/>
                  </a:lnTo>
                  <a:lnTo>
                    <a:pt x="6" y="4"/>
                  </a:lnTo>
                  <a:lnTo>
                    <a:pt x="6" y="2"/>
                  </a:lnTo>
                  <a:lnTo>
                    <a:pt x="4" y="2"/>
                  </a:lnTo>
                  <a:lnTo>
                    <a:pt x="0" y="0"/>
                  </a:lnTo>
                  <a:lnTo>
                    <a:pt x="0" y="2"/>
                  </a:lnTo>
                  <a:lnTo>
                    <a:pt x="2" y="4"/>
                  </a:lnTo>
                  <a:lnTo>
                    <a:pt x="2" y="6"/>
                  </a:lnTo>
                  <a:lnTo>
                    <a:pt x="2" y="8"/>
                  </a:lnTo>
                  <a:lnTo>
                    <a:pt x="0" y="8"/>
                  </a:lnTo>
                  <a:lnTo>
                    <a:pt x="0" y="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6" name="Freeform 234"/>
            <p:cNvSpPr>
              <a:spLocks/>
            </p:cNvSpPr>
            <p:nvPr/>
          </p:nvSpPr>
          <p:spPr bwMode="auto">
            <a:xfrm>
              <a:off x="2656" y="1383"/>
              <a:ext cx="9" cy="8"/>
            </a:xfrm>
            <a:custGeom>
              <a:avLst/>
              <a:gdLst>
                <a:gd name="T0" fmla="*/ 0 w 9"/>
                <a:gd name="T1" fmla="*/ 8 h 8"/>
                <a:gd name="T2" fmla="*/ 2 w 9"/>
                <a:gd name="T3" fmla="*/ 6 h 8"/>
                <a:gd name="T4" fmla="*/ 2 w 9"/>
                <a:gd name="T5" fmla="*/ 4 h 8"/>
                <a:gd name="T6" fmla="*/ 4 w 9"/>
                <a:gd name="T7" fmla="*/ 4 h 8"/>
                <a:gd name="T8" fmla="*/ 4 w 9"/>
                <a:gd name="T9" fmla="*/ 2 h 8"/>
                <a:gd name="T10" fmla="*/ 4 w 9"/>
                <a:gd name="T11" fmla="*/ 0 h 8"/>
                <a:gd name="T12" fmla="*/ 6 w 9"/>
                <a:gd name="T13" fmla="*/ 0 h 8"/>
                <a:gd name="T14" fmla="*/ 8 w 9"/>
                <a:gd name="T15" fmla="*/ 2 h 8"/>
                <a:gd name="T16" fmla="*/ 9 w 9"/>
                <a:gd name="T17" fmla="*/ 4 h 8"/>
                <a:gd name="T18" fmla="*/ 9 w 9"/>
                <a:gd name="T19" fmla="*/ 6 h 8"/>
                <a:gd name="T20" fmla="*/ 8 w 9"/>
                <a:gd name="T21" fmla="*/ 6 h 8"/>
                <a:gd name="T22" fmla="*/ 6 w 9"/>
                <a:gd name="T23" fmla="*/ 6 h 8"/>
                <a:gd name="T24" fmla="*/ 4 w 9"/>
                <a:gd name="T25" fmla="*/ 6 h 8"/>
                <a:gd name="T26" fmla="*/ 4 w 9"/>
                <a:gd name="T27" fmla="*/ 8 h 8"/>
                <a:gd name="T28" fmla="*/ 2 w 9"/>
                <a:gd name="T29" fmla="*/ 8 h 8"/>
                <a:gd name="T30" fmla="*/ 0 w 9"/>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8">
                  <a:moveTo>
                    <a:pt x="0" y="8"/>
                  </a:moveTo>
                  <a:lnTo>
                    <a:pt x="2" y="6"/>
                  </a:lnTo>
                  <a:lnTo>
                    <a:pt x="2" y="4"/>
                  </a:lnTo>
                  <a:lnTo>
                    <a:pt x="4" y="4"/>
                  </a:lnTo>
                  <a:lnTo>
                    <a:pt x="4" y="2"/>
                  </a:lnTo>
                  <a:lnTo>
                    <a:pt x="4" y="0"/>
                  </a:lnTo>
                  <a:lnTo>
                    <a:pt x="6" y="0"/>
                  </a:lnTo>
                  <a:lnTo>
                    <a:pt x="8" y="2"/>
                  </a:lnTo>
                  <a:lnTo>
                    <a:pt x="9" y="4"/>
                  </a:lnTo>
                  <a:lnTo>
                    <a:pt x="9" y="6"/>
                  </a:lnTo>
                  <a:lnTo>
                    <a:pt x="8" y="6"/>
                  </a:lnTo>
                  <a:lnTo>
                    <a:pt x="6" y="6"/>
                  </a:lnTo>
                  <a:lnTo>
                    <a:pt x="4" y="6"/>
                  </a:lnTo>
                  <a:lnTo>
                    <a:pt x="4" y="8"/>
                  </a:lnTo>
                  <a:lnTo>
                    <a:pt x="2" y="8"/>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7" name="Freeform 235"/>
            <p:cNvSpPr>
              <a:spLocks/>
            </p:cNvSpPr>
            <p:nvPr/>
          </p:nvSpPr>
          <p:spPr bwMode="auto">
            <a:xfrm>
              <a:off x="2815" y="1245"/>
              <a:ext cx="10" cy="6"/>
            </a:xfrm>
            <a:custGeom>
              <a:avLst/>
              <a:gdLst>
                <a:gd name="T0" fmla="*/ 0 w 10"/>
                <a:gd name="T1" fmla="*/ 2 h 6"/>
                <a:gd name="T2" fmla="*/ 2 w 10"/>
                <a:gd name="T3" fmla="*/ 2 h 6"/>
                <a:gd name="T4" fmla="*/ 2 w 10"/>
                <a:gd name="T5" fmla="*/ 0 h 6"/>
                <a:gd name="T6" fmla="*/ 4 w 10"/>
                <a:gd name="T7" fmla="*/ 0 h 6"/>
                <a:gd name="T8" fmla="*/ 6 w 10"/>
                <a:gd name="T9" fmla="*/ 0 h 6"/>
                <a:gd name="T10" fmla="*/ 4 w 10"/>
                <a:gd name="T11" fmla="*/ 0 h 6"/>
                <a:gd name="T12" fmla="*/ 4 w 10"/>
                <a:gd name="T13" fmla="*/ 2 h 6"/>
                <a:gd name="T14" fmla="*/ 6 w 10"/>
                <a:gd name="T15" fmla="*/ 2 h 6"/>
                <a:gd name="T16" fmla="*/ 8 w 10"/>
                <a:gd name="T17" fmla="*/ 0 h 6"/>
                <a:gd name="T18" fmla="*/ 8 w 10"/>
                <a:gd name="T19" fmla="*/ 2 h 6"/>
                <a:gd name="T20" fmla="*/ 6 w 10"/>
                <a:gd name="T21" fmla="*/ 2 h 6"/>
                <a:gd name="T22" fmla="*/ 4 w 10"/>
                <a:gd name="T23" fmla="*/ 4 h 6"/>
                <a:gd name="T24" fmla="*/ 6 w 10"/>
                <a:gd name="T25" fmla="*/ 4 h 6"/>
                <a:gd name="T26" fmla="*/ 8 w 10"/>
                <a:gd name="T27" fmla="*/ 2 h 6"/>
                <a:gd name="T28" fmla="*/ 10 w 10"/>
                <a:gd name="T29" fmla="*/ 4 h 6"/>
                <a:gd name="T30" fmla="*/ 8 w 10"/>
                <a:gd name="T31" fmla="*/ 4 h 6"/>
                <a:gd name="T32" fmla="*/ 10 w 10"/>
                <a:gd name="T33" fmla="*/ 4 h 6"/>
                <a:gd name="T34" fmla="*/ 8 w 10"/>
                <a:gd name="T35" fmla="*/ 6 h 6"/>
                <a:gd name="T36" fmla="*/ 6 w 10"/>
                <a:gd name="T37" fmla="*/ 6 h 6"/>
                <a:gd name="T38" fmla="*/ 4 w 10"/>
                <a:gd name="T39" fmla="*/ 6 h 6"/>
                <a:gd name="T40" fmla="*/ 2 w 10"/>
                <a:gd name="T41" fmla="*/ 6 h 6"/>
                <a:gd name="T42" fmla="*/ 4 w 10"/>
                <a:gd name="T43" fmla="*/ 6 h 6"/>
                <a:gd name="T44" fmla="*/ 2 w 10"/>
                <a:gd name="T45" fmla="*/ 6 h 6"/>
                <a:gd name="T46" fmla="*/ 2 w 10"/>
                <a:gd name="T47" fmla="*/ 4 h 6"/>
                <a:gd name="T48" fmla="*/ 4 w 10"/>
                <a:gd name="T49" fmla="*/ 4 h 6"/>
                <a:gd name="T50" fmla="*/ 4 w 10"/>
                <a:gd name="T51" fmla="*/ 2 h 6"/>
                <a:gd name="T52" fmla="*/ 2 w 10"/>
                <a:gd name="T53" fmla="*/ 4 h 6"/>
                <a:gd name="T54" fmla="*/ 0 w 10"/>
                <a:gd name="T5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6">
                  <a:moveTo>
                    <a:pt x="0" y="2"/>
                  </a:moveTo>
                  <a:lnTo>
                    <a:pt x="2" y="2"/>
                  </a:lnTo>
                  <a:lnTo>
                    <a:pt x="2" y="0"/>
                  </a:lnTo>
                  <a:lnTo>
                    <a:pt x="4" y="0"/>
                  </a:lnTo>
                  <a:lnTo>
                    <a:pt x="6" y="0"/>
                  </a:lnTo>
                  <a:lnTo>
                    <a:pt x="4" y="0"/>
                  </a:lnTo>
                  <a:lnTo>
                    <a:pt x="4" y="2"/>
                  </a:lnTo>
                  <a:lnTo>
                    <a:pt x="6" y="2"/>
                  </a:lnTo>
                  <a:lnTo>
                    <a:pt x="8" y="0"/>
                  </a:lnTo>
                  <a:lnTo>
                    <a:pt x="8" y="2"/>
                  </a:lnTo>
                  <a:lnTo>
                    <a:pt x="6" y="2"/>
                  </a:lnTo>
                  <a:lnTo>
                    <a:pt x="4" y="4"/>
                  </a:lnTo>
                  <a:lnTo>
                    <a:pt x="6" y="4"/>
                  </a:lnTo>
                  <a:lnTo>
                    <a:pt x="8" y="2"/>
                  </a:lnTo>
                  <a:lnTo>
                    <a:pt x="10" y="4"/>
                  </a:lnTo>
                  <a:lnTo>
                    <a:pt x="8" y="4"/>
                  </a:lnTo>
                  <a:lnTo>
                    <a:pt x="10" y="4"/>
                  </a:lnTo>
                  <a:lnTo>
                    <a:pt x="8" y="6"/>
                  </a:lnTo>
                  <a:lnTo>
                    <a:pt x="6" y="6"/>
                  </a:lnTo>
                  <a:lnTo>
                    <a:pt x="4" y="6"/>
                  </a:lnTo>
                  <a:lnTo>
                    <a:pt x="2" y="6"/>
                  </a:lnTo>
                  <a:lnTo>
                    <a:pt x="4" y="6"/>
                  </a:lnTo>
                  <a:lnTo>
                    <a:pt x="2" y="6"/>
                  </a:lnTo>
                  <a:lnTo>
                    <a:pt x="2" y="4"/>
                  </a:lnTo>
                  <a:lnTo>
                    <a:pt x="4" y="4"/>
                  </a:lnTo>
                  <a:lnTo>
                    <a:pt x="4" y="2"/>
                  </a:lnTo>
                  <a:lnTo>
                    <a:pt x="2"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8" name="Freeform 236"/>
            <p:cNvSpPr>
              <a:spLocks/>
            </p:cNvSpPr>
            <p:nvPr/>
          </p:nvSpPr>
          <p:spPr bwMode="auto">
            <a:xfrm>
              <a:off x="2429" y="1685"/>
              <a:ext cx="14" cy="8"/>
            </a:xfrm>
            <a:custGeom>
              <a:avLst/>
              <a:gdLst>
                <a:gd name="T0" fmla="*/ 0 w 14"/>
                <a:gd name="T1" fmla="*/ 8 h 8"/>
                <a:gd name="T2" fmla="*/ 6 w 14"/>
                <a:gd name="T3" fmla="*/ 6 h 8"/>
                <a:gd name="T4" fmla="*/ 12 w 14"/>
                <a:gd name="T5" fmla="*/ 6 h 8"/>
                <a:gd name="T6" fmla="*/ 14 w 14"/>
                <a:gd name="T7" fmla="*/ 6 h 8"/>
                <a:gd name="T8" fmla="*/ 14 w 14"/>
                <a:gd name="T9" fmla="*/ 0 h 8"/>
                <a:gd name="T10" fmla="*/ 8 w 14"/>
                <a:gd name="T11" fmla="*/ 4 h 8"/>
                <a:gd name="T12" fmla="*/ 8 w 14"/>
                <a:gd name="T13" fmla="*/ 6 h 8"/>
                <a:gd name="T14" fmla="*/ 2 w 14"/>
                <a:gd name="T15" fmla="*/ 6 h 8"/>
                <a:gd name="T16" fmla="*/ 0 w 1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8">
                  <a:moveTo>
                    <a:pt x="0" y="8"/>
                  </a:moveTo>
                  <a:lnTo>
                    <a:pt x="6" y="6"/>
                  </a:lnTo>
                  <a:lnTo>
                    <a:pt x="12" y="6"/>
                  </a:lnTo>
                  <a:lnTo>
                    <a:pt x="14" y="6"/>
                  </a:lnTo>
                  <a:lnTo>
                    <a:pt x="14" y="0"/>
                  </a:lnTo>
                  <a:lnTo>
                    <a:pt x="8" y="4"/>
                  </a:lnTo>
                  <a:lnTo>
                    <a:pt x="8" y="6"/>
                  </a:lnTo>
                  <a:lnTo>
                    <a:pt x="2" y="6"/>
                  </a:lnTo>
                  <a:lnTo>
                    <a:pt x="0" y="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49" name="Freeform 237"/>
            <p:cNvSpPr>
              <a:spLocks/>
            </p:cNvSpPr>
            <p:nvPr/>
          </p:nvSpPr>
          <p:spPr bwMode="auto">
            <a:xfrm>
              <a:off x="2746" y="1310"/>
              <a:ext cx="10" cy="6"/>
            </a:xfrm>
            <a:custGeom>
              <a:avLst/>
              <a:gdLst>
                <a:gd name="T0" fmla="*/ 0 w 10"/>
                <a:gd name="T1" fmla="*/ 0 h 6"/>
                <a:gd name="T2" fmla="*/ 2 w 10"/>
                <a:gd name="T3" fmla="*/ 2 h 6"/>
                <a:gd name="T4" fmla="*/ 2 w 10"/>
                <a:gd name="T5" fmla="*/ 4 h 6"/>
                <a:gd name="T6" fmla="*/ 4 w 10"/>
                <a:gd name="T7" fmla="*/ 6 h 6"/>
                <a:gd name="T8" fmla="*/ 6 w 10"/>
                <a:gd name="T9" fmla="*/ 4 h 6"/>
                <a:gd name="T10" fmla="*/ 8 w 10"/>
                <a:gd name="T11" fmla="*/ 4 h 6"/>
                <a:gd name="T12" fmla="*/ 10 w 10"/>
                <a:gd name="T13" fmla="*/ 2 h 6"/>
                <a:gd name="T14" fmla="*/ 10 w 10"/>
                <a:gd name="T15" fmla="*/ 0 h 6"/>
                <a:gd name="T16" fmla="*/ 8 w 10"/>
                <a:gd name="T17" fmla="*/ 0 h 6"/>
                <a:gd name="T18" fmla="*/ 6 w 10"/>
                <a:gd name="T19" fmla="*/ 2 h 6"/>
                <a:gd name="T20" fmla="*/ 4 w 10"/>
                <a:gd name="T21" fmla="*/ 0 h 6"/>
                <a:gd name="T22" fmla="*/ 2 w 10"/>
                <a:gd name="T23" fmla="*/ 0 h 6"/>
                <a:gd name="T24" fmla="*/ 0 w 10"/>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0" y="0"/>
                  </a:moveTo>
                  <a:lnTo>
                    <a:pt x="2" y="2"/>
                  </a:lnTo>
                  <a:lnTo>
                    <a:pt x="2" y="4"/>
                  </a:lnTo>
                  <a:lnTo>
                    <a:pt x="4" y="6"/>
                  </a:lnTo>
                  <a:lnTo>
                    <a:pt x="6" y="4"/>
                  </a:lnTo>
                  <a:lnTo>
                    <a:pt x="8" y="4"/>
                  </a:lnTo>
                  <a:lnTo>
                    <a:pt x="10" y="2"/>
                  </a:lnTo>
                  <a:lnTo>
                    <a:pt x="10" y="0"/>
                  </a:lnTo>
                  <a:lnTo>
                    <a:pt x="8" y="0"/>
                  </a:lnTo>
                  <a:lnTo>
                    <a:pt x="6" y="2"/>
                  </a:lnTo>
                  <a:lnTo>
                    <a:pt x="4" y="0"/>
                  </a:ln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50" name="Freeform 238"/>
            <p:cNvSpPr>
              <a:spLocks/>
            </p:cNvSpPr>
            <p:nvPr/>
          </p:nvSpPr>
          <p:spPr bwMode="auto">
            <a:xfrm>
              <a:off x="2833" y="1237"/>
              <a:ext cx="5" cy="6"/>
            </a:xfrm>
            <a:custGeom>
              <a:avLst/>
              <a:gdLst>
                <a:gd name="T0" fmla="*/ 0 w 5"/>
                <a:gd name="T1" fmla="*/ 4 h 6"/>
                <a:gd name="T2" fmla="*/ 0 w 5"/>
                <a:gd name="T3" fmla="*/ 2 h 6"/>
                <a:gd name="T4" fmla="*/ 2 w 5"/>
                <a:gd name="T5" fmla="*/ 2 h 6"/>
                <a:gd name="T6" fmla="*/ 2 w 5"/>
                <a:gd name="T7" fmla="*/ 4 h 6"/>
                <a:gd name="T8" fmla="*/ 4 w 5"/>
                <a:gd name="T9" fmla="*/ 4 h 6"/>
                <a:gd name="T10" fmla="*/ 2 w 5"/>
                <a:gd name="T11" fmla="*/ 2 h 6"/>
                <a:gd name="T12" fmla="*/ 4 w 5"/>
                <a:gd name="T13" fmla="*/ 2 h 6"/>
                <a:gd name="T14" fmla="*/ 2 w 5"/>
                <a:gd name="T15" fmla="*/ 2 h 6"/>
                <a:gd name="T16" fmla="*/ 2 w 5"/>
                <a:gd name="T17" fmla="*/ 0 h 6"/>
                <a:gd name="T18" fmla="*/ 4 w 5"/>
                <a:gd name="T19" fmla="*/ 0 h 6"/>
                <a:gd name="T20" fmla="*/ 4 w 5"/>
                <a:gd name="T21" fmla="*/ 2 h 6"/>
                <a:gd name="T22" fmla="*/ 5 w 5"/>
                <a:gd name="T23" fmla="*/ 2 h 6"/>
                <a:gd name="T24" fmla="*/ 4 w 5"/>
                <a:gd name="T25" fmla="*/ 2 h 6"/>
                <a:gd name="T26" fmla="*/ 5 w 5"/>
                <a:gd name="T27" fmla="*/ 2 h 6"/>
                <a:gd name="T28" fmla="*/ 4 w 5"/>
                <a:gd name="T29" fmla="*/ 2 h 6"/>
                <a:gd name="T30" fmla="*/ 4 w 5"/>
                <a:gd name="T31" fmla="*/ 4 h 6"/>
                <a:gd name="T32" fmla="*/ 4 w 5"/>
                <a:gd name="T33" fmla="*/ 6 h 6"/>
                <a:gd name="T34" fmla="*/ 2 w 5"/>
                <a:gd name="T35" fmla="*/ 6 h 6"/>
                <a:gd name="T36" fmla="*/ 2 w 5"/>
                <a:gd name="T37" fmla="*/ 4 h 6"/>
                <a:gd name="T38" fmla="*/ 0 w 5"/>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6">
                  <a:moveTo>
                    <a:pt x="0" y="4"/>
                  </a:moveTo>
                  <a:lnTo>
                    <a:pt x="0" y="2"/>
                  </a:lnTo>
                  <a:lnTo>
                    <a:pt x="2" y="2"/>
                  </a:lnTo>
                  <a:lnTo>
                    <a:pt x="2" y="4"/>
                  </a:lnTo>
                  <a:lnTo>
                    <a:pt x="4" y="4"/>
                  </a:lnTo>
                  <a:lnTo>
                    <a:pt x="2" y="2"/>
                  </a:lnTo>
                  <a:lnTo>
                    <a:pt x="4" y="2"/>
                  </a:lnTo>
                  <a:lnTo>
                    <a:pt x="2" y="2"/>
                  </a:lnTo>
                  <a:lnTo>
                    <a:pt x="2" y="0"/>
                  </a:lnTo>
                  <a:lnTo>
                    <a:pt x="4" y="0"/>
                  </a:lnTo>
                  <a:lnTo>
                    <a:pt x="4" y="2"/>
                  </a:lnTo>
                  <a:lnTo>
                    <a:pt x="5" y="2"/>
                  </a:lnTo>
                  <a:lnTo>
                    <a:pt x="4" y="2"/>
                  </a:lnTo>
                  <a:lnTo>
                    <a:pt x="5" y="2"/>
                  </a:lnTo>
                  <a:lnTo>
                    <a:pt x="4" y="2"/>
                  </a:lnTo>
                  <a:lnTo>
                    <a:pt x="4" y="4"/>
                  </a:lnTo>
                  <a:lnTo>
                    <a:pt x="4" y="6"/>
                  </a:lnTo>
                  <a:lnTo>
                    <a:pt x="2" y="6"/>
                  </a:lnTo>
                  <a:lnTo>
                    <a:pt x="2" y="4"/>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51" name="Freeform 239"/>
            <p:cNvSpPr>
              <a:spLocks/>
            </p:cNvSpPr>
            <p:nvPr/>
          </p:nvSpPr>
          <p:spPr bwMode="auto">
            <a:xfrm>
              <a:off x="2817" y="1241"/>
              <a:ext cx="4" cy="4"/>
            </a:xfrm>
            <a:custGeom>
              <a:avLst/>
              <a:gdLst>
                <a:gd name="T0" fmla="*/ 0 w 4"/>
                <a:gd name="T1" fmla="*/ 2 h 4"/>
                <a:gd name="T2" fmla="*/ 2 w 4"/>
                <a:gd name="T3" fmla="*/ 4 h 4"/>
                <a:gd name="T4" fmla="*/ 2 w 4"/>
                <a:gd name="T5" fmla="*/ 2 h 4"/>
                <a:gd name="T6" fmla="*/ 2 w 4"/>
                <a:gd name="T7" fmla="*/ 0 h 4"/>
                <a:gd name="T8" fmla="*/ 2 w 4"/>
                <a:gd name="T9" fmla="*/ 2 h 4"/>
                <a:gd name="T10" fmla="*/ 4 w 4"/>
                <a:gd name="T11" fmla="*/ 0 h 4"/>
                <a:gd name="T12" fmla="*/ 4 w 4"/>
                <a:gd name="T13" fmla="*/ 2 h 4"/>
                <a:gd name="T14" fmla="*/ 4 w 4"/>
                <a:gd name="T15" fmla="*/ 4 h 4"/>
                <a:gd name="T16" fmla="*/ 2 w 4"/>
                <a:gd name="T17" fmla="*/ 4 h 4"/>
                <a:gd name="T18" fmla="*/ 0 w 4"/>
                <a:gd name="T19" fmla="*/ 4 h 4"/>
                <a:gd name="T20" fmla="*/ 0 w 4"/>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0" y="2"/>
                  </a:moveTo>
                  <a:lnTo>
                    <a:pt x="2" y="4"/>
                  </a:lnTo>
                  <a:lnTo>
                    <a:pt x="2" y="2"/>
                  </a:lnTo>
                  <a:lnTo>
                    <a:pt x="2" y="0"/>
                  </a:lnTo>
                  <a:lnTo>
                    <a:pt x="2" y="2"/>
                  </a:lnTo>
                  <a:lnTo>
                    <a:pt x="4" y="0"/>
                  </a:lnTo>
                  <a:lnTo>
                    <a:pt x="4" y="2"/>
                  </a:lnTo>
                  <a:lnTo>
                    <a:pt x="4" y="4"/>
                  </a:lnTo>
                  <a:lnTo>
                    <a:pt x="2" y="4"/>
                  </a:lnTo>
                  <a:lnTo>
                    <a:pt x="0"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52" name="Freeform 240"/>
            <p:cNvSpPr>
              <a:spLocks/>
            </p:cNvSpPr>
            <p:nvPr/>
          </p:nvSpPr>
          <p:spPr bwMode="auto">
            <a:xfrm>
              <a:off x="2831" y="1243"/>
              <a:ext cx="4" cy="2"/>
            </a:xfrm>
            <a:custGeom>
              <a:avLst/>
              <a:gdLst>
                <a:gd name="T0" fmla="*/ 0 w 4"/>
                <a:gd name="T1" fmla="*/ 2 h 2"/>
                <a:gd name="T2" fmla="*/ 2 w 4"/>
                <a:gd name="T3" fmla="*/ 2 h 2"/>
                <a:gd name="T4" fmla="*/ 4 w 4"/>
                <a:gd name="T5" fmla="*/ 2 h 2"/>
                <a:gd name="T6" fmla="*/ 2 w 4"/>
                <a:gd name="T7" fmla="*/ 2 h 2"/>
                <a:gd name="T8" fmla="*/ 2 w 4"/>
                <a:gd name="T9" fmla="*/ 0 h 2"/>
                <a:gd name="T10" fmla="*/ 0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0" y="2"/>
                  </a:moveTo>
                  <a:lnTo>
                    <a:pt x="2" y="2"/>
                  </a:lnTo>
                  <a:lnTo>
                    <a:pt x="4" y="2"/>
                  </a:lnTo>
                  <a:lnTo>
                    <a:pt x="2" y="2"/>
                  </a:lnTo>
                  <a:lnTo>
                    <a:pt x="2"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53" name="Freeform 241"/>
            <p:cNvSpPr>
              <a:spLocks/>
            </p:cNvSpPr>
            <p:nvPr/>
          </p:nvSpPr>
          <p:spPr bwMode="auto">
            <a:xfrm>
              <a:off x="2825" y="1252"/>
              <a:ext cx="2" cy="2"/>
            </a:xfrm>
            <a:custGeom>
              <a:avLst/>
              <a:gdLst>
                <a:gd name="T0" fmla="*/ 0 w 2"/>
                <a:gd name="T1" fmla="*/ 2 h 2"/>
                <a:gd name="T2" fmla="*/ 2 w 2"/>
                <a:gd name="T3" fmla="*/ 0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54" name="Freeform 242"/>
            <p:cNvSpPr>
              <a:spLocks/>
            </p:cNvSpPr>
            <p:nvPr/>
          </p:nvSpPr>
          <p:spPr bwMode="auto">
            <a:xfrm>
              <a:off x="2506" y="1364"/>
              <a:ext cx="359" cy="857"/>
            </a:xfrm>
            <a:custGeom>
              <a:avLst/>
              <a:gdLst>
                <a:gd name="T0" fmla="*/ 190 w 359"/>
                <a:gd name="T1" fmla="*/ 450 h 857"/>
                <a:gd name="T2" fmla="*/ 190 w 359"/>
                <a:gd name="T3" fmla="*/ 475 h 857"/>
                <a:gd name="T4" fmla="*/ 194 w 359"/>
                <a:gd name="T5" fmla="*/ 503 h 857"/>
                <a:gd name="T6" fmla="*/ 208 w 359"/>
                <a:gd name="T7" fmla="*/ 519 h 857"/>
                <a:gd name="T8" fmla="*/ 227 w 359"/>
                <a:gd name="T9" fmla="*/ 530 h 857"/>
                <a:gd name="T10" fmla="*/ 244 w 359"/>
                <a:gd name="T11" fmla="*/ 544 h 857"/>
                <a:gd name="T12" fmla="*/ 242 w 359"/>
                <a:gd name="T13" fmla="*/ 573 h 857"/>
                <a:gd name="T14" fmla="*/ 242 w 359"/>
                <a:gd name="T15" fmla="*/ 590 h 857"/>
                <a:gd name="T16" fmla="*/ 234 w 359"/>
                <a:gd name="T17" fmla="*/ 605 h 857"/>
                <a:gd name="T18" fmla="*/ 221 w 359"/>
                <a:gd name="T19" fmla="*/ 628 h 857"/>
                <a:gd name="T20" fmla="*/ 209 w 359"/>
                <a:gd name="T21" fmla="*/ 615 h 857"/>
                <a:gd name="T22" fmla="*/ 188 w 359"/>
                <a:gd name="T23" fmla="*/ 644 h 857"/>
                <a:gd name="T24" fmla="*/ 188 w 359"/>
                <a:gd name="T25" fmla="*/ 669 h 857"/>
                <a:gd name="T26" fmla="*/ 184 w 359"/>
                <a:gd name="T27" fmla="*/ 697 h 857"/>
                <a:gd name="T28" fmla="*/ 183 w 359"/>
                <a:gd name="T29" fmla="*/ 742 h 857"/>
                <a:gd name="T30" fmla="*/ 167 w 359"/>
                <a:gd name="T31" fmla="*/ 797 h 857"/>
                <a:gd name="T32" fmla="*/ 133 w 359"/>
                <a:gd name="T33" fmla="*/ 803 h 857"/>
                <a:gd name="T34" fmla="*/ 110 w 359"/>
                <a:gd name="T35" fmla="*/ 815 h 857"/>
                <a:gd name="T36" fmla="*/ 83 w 359"/>
                <a:gd name="T37" fmla="*/ 853 h 857"/>
                <a:gd name="T38" fmla="*/ 65 w 359"/>
                <a:gd name="T39" fmla="*/ 834 h 857"/>
                <a:gd name="T40" fmla="*/ 52 w 359"/>
                <a:gd name="T41" fmla="*/ 799 h 857"/>
                <a:gd name="T42" fmla="*/ 54 w 359"/>
                <a:gd name="T43" fmla="*/ 770 h 857"/>
                <a:gd name="T44" fmla="*/ 31 w 359"/>
                <a:gd name="T45" fmla="*/ 732 h 857"/>
                <a:gd name="T46" fmla="*/ 25 w 359"/>
                <a:gd name="T47" fmla="*/ 711 h 857"/>
                <a:gd name="T48" fmla="*/ 23 w 359"/>
                <a:gd name="T49" fmla="*/ 676 h 857"/>
                <a:gd name="T50" fmla="*/ 10 w 359"/>
                <a:gd name="T51" fmla="*/ 661 h 857"/>
                <a:gd name="T52" fmla="*/ 12 w 359"/>
                <a:gd name="T53" fmla="*/ 628 h 857"/>
                <a:gd name="T54" fmla="*/ 40 w 359"/>
                <a:gd name="T55" fmla="*/ 563 h 857"/>
                <a:gd name="T56" fmla="*/ 46 w 359"/>
                <a:gd name="T57" fmla="*/ 494 h 857"/>
                <a:gd name="T58" fmla="*/ 35 w 359"/>
                <a:gd name="T59" fmla="*/ 373 h 857"/>
                <a:gd name="T60" fmla="*/ 98 w 359"/>
                <a:gd name="T61" fmla="*/ 229 h 857"/>
                <a:gd name="T62" fmla="*/ 163 w 359"/>
                <a:gd name="T63" fmla="*/ 65 h 857"/>
                <a:gd name="T64" fmla="*/ 248 w 359"/>
                <a:gd name="T65" fmla="*/ 0 h 857"/>
                <a:gd name="T66" fmla="*/ 294 w 359"/>
                <a:gd name="T67" fmla="*/ 29 h 857"/>
                <a:gd name="T68" fmla="*/ 329 w 359"/>
                <a:gd name="T69" fmla="*/ 73 h 857"/>
                <a:gd name="T70" fmla="*/ 334 w 359"/>
                <a:gd name="T71" fmla="*/ 102 h 857"/>
                <a:gd name="T72" fmla="*/ 352 w 359"/>
                <a:gd name="T73" fmla="*/ 159 h 857"/>
                <a:gd name="T74" fmla="*/ 342 w 359"/>
                <a:gd name="T75" fmla="*/ 179 h 857"/>
                <a:gd name="T76" fmla="*/ 321 w 359"/>
                <a:gd name="T77" fmla="*/ 186 h 857"/>
                <a:gd name="T78" fmla="*/ 309 w 359"/>
                <a:gd name="T79" fmla="*/ 192 h 857"/>
                <a:gd name="T80" fmla="*/ 304 w 359"/>
                <a:gd name="T81" fmla="*/ 206 h 857"/>
                <a:gd name="T82" fmla="*/ 298 w 359"/>
                <a:gd name="T83" fmla="*/ 223 h 857"/>
                <a:gd name="T84" fmla="*/ 282 w 359"/>
                <a:gd name="T85" fmla="*/ 248 h 857"/>
                <a:gd name="T86" fmla="*/ 296 w 359"/>
                <a:gd name="T87" fmla="*/ 261 h 857"/>
                <a:gd name="T88" fmla="*/ 292 w 359"/>
                <a:gd name="T89" fmla="*/ 280 h 857"/>
                <a:gd name="T90" fmla="*/ 279 w 359"/>
                <a:gd name="T91" fmla="*/ 307 h 857"/>
                <a:gd name="T92" fmla="*/ 244 w 359"/>
                <a:gd name="T93" fmla="*/ 329 h 857"/>
                <a:gd name="T94" fmla="*/ 236 w 359"/>
                <a:gd name="T95" fmla="*/ 346 h 857"/>
                <a:gd name="T96" fmla="*/ 225 w 359"/>
                <a:gd name="T97" fmla="*/ 353 h 857"/>
                <a:gd name="T98" fmla="*/ 221 w 359"/>
                <a:gd name="T99" fmla="*/ 365 h 857"/>
                <a:gd name="T100" fmla="*/ 202 w 359"/>
                <a:gd name="T101" fmla="*/ 398 h 857"/>
                <a:gd name="T102" fmla="*/ 190 w 359"/>
                <a:gd name="T103" fmla="*/ 411 h 857"/>
                <a:gd name="T104" fmla="*/ 46 w 359"/>
                <a:gd name="T105" fmla="*/ 634 h 857"/>
                <a:gd name="T106" fmla="*/ 58 w 359"/>
                <a:gd name="T107" fmla="*/ 653 h 857"/>
                <a:gd name="T108" fmla="*/ 88 w 359"/>
                <a:gd name="T109" fmla="*/ 634 h 857"/>
                <a:gd name="T110" fmla="*/ 92 w 359"/>
                <a:gd name="T111" fmla="*/ 603 h 857"/>
                <a:gd name="T112" fmla="*/ 75 w 359"/>
                <a:gd name="T113" fmla="*/ 601 h 857"/>
                <a:gd name="T114" fmla="*/ 65 w 359"/>
                <a:gd name="T115" fmla="*/ 613 h 857"/>
                <a:gd name="T116" fmla="*/ 54 w 359"/>
                <a:gd name="T117" fmla="*/ 621 h 857"/>
                <a:gd name="T118" fmla="*/ 121 w 359"/>
                <a:gd name="T119" fmla="*/ 647 h 857"/>
                <a:gd name="T120" fmla="*/ 100 w 359"/>
                <a:gd name="T121" fmla="*/ 682 h 857"/>
                <a:gd name="T122" fmla="*/ 154 w 359"/>
                <a:gd name="T123" fmla="*/ 60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9" h="857">
                  <a:moveTo>
                    <a:pt x="194" y="421"/>
                  </a:moveTo>
                  <a:lnTo>
                    <a:pt x="192" y="428"/>
                  </a:lnTo>
                  <a:lnTo>
                    <a:pt x="192" y="430"/>
                  </a:lnTo>
                  <a:lnTo>
                    <a:pt x="192" y="432"/>
                  </a:lnTo>
                  <a:lnTo>
                    <a:pt x="190" y="432"/>
                  </a:lnTo>
                  <a:lnTo>
                    <a:pt x="190" y="436"/>
                  </a:lnTo>
                  <a:lnTo>
                    <a:pt x="190" y="438"/>
                  </a:lnTo>
                  <a:lnTo>
                    <a:pt x="190" y="440"/>
                  </a:lnTo>
                  <a:lnTo>
                    <a:pt x="190" y="442"/>
                  </a:lnTo>
                  <a:lnTo>
                    <a:pt x="192" y="442"/>
                  </a:lnTo>
                  <a:lnTo>
                    <a:pt x="192" y="444"/>
                  </a:lnTo>
                  <a:lnTo>
                    <a:pt x="192" y="448"/>
                  </a:lnTo>
                  <a:lnTo>
                    <a:pt x="194" y="448"/>
                  </a:lnTo>
                  <a:lnTo>
                    <a:pt x="196" y="448"/>
                  </a:lnTo>
                  <a:lnTo>
                    <a:pt x="196" y="450"/>
                  </a:lnTo>
                  <a:lnTo>
                    <a:pt x="196" y="451"/>
                  </a:lnTo>
                  <a:lnTo>
                    <a:pt x="194" y="453"/>
                  </a:lnTo>
                  <a:lnTo>
                    <a:pt x="192" y="451"/>
                  </a:lnTo>
                  <a:lnTo>
                    <a:pt x="192" y="450"/>
                  </a:lnTo>
                  <a:lnTo>
                    <a:pt x="190" y="450"/>
                  </a:lnTo>
                  <a:lnTo>
                    <a:pt x="188" y="451"/>
                  </a:lnTo>
                  <a:lnTo>
                    <a:pt x="188" y="453"/>
                  </a:lnTo>
                  <a:lnTo>
                    <a:pt x="188" y="455"/>
                  </a:lnTo>
                  <a:lnTo>
                    <a:pt x="186" y="455"/>
                  </a:lnTo>
                  <a:lnTo>
                    <a:pt x="186" y="457"/>
                  </a:lnTo>
                  <a:lnTo>
                    <a:pt x="188" y="459"/>
                  </a:lnTo>
                  <a:lnTo>
                    <a:pt x="186" y="459"/>
                  </a:lnTo>
                  <a:lnTo>
                    <a:pt x="186" y="461"/>
                  </a:lnTo>
                  <a:lnTo>
                    <a:pt x="186" y="463"/>
                  </a:lnTo>
                  <a:lnTo>
                    <a:pt x="186" y="465"/>
                  </a:lnTo>
                  <a:lnTo>
                    <a:pt x="188" y="465"/>
                  </a:lnTo>
                  <a:lnTo>
                    <a:pt x="188" y="467"/>
                  </a:lnTo>
                  <a:lnTo>
                    <a:pt x="186" y="467"/>
                  </a:lnTo>
                  <a:lnTo>
                    <a:pt x="184" y="467"/>
                  </a:lnTo>
                  <a:lnTo>
                    <a:pt x="184" y="469"/>
                  </a:lnTo>
                  <a:lnTo>
                    <a:pt x="186" y="469"/>
                  </a:lnTo>
                  <a:lnTo>
                    <a:pt x="186" y="471"/>
                  </a:lnTo>
                  <a:lnTo>
                    <a:pt x="186" y="473"/>
                  </a:lnTo>
                  <a:lnTo>
                    <a:pt x="188" y="473"/>
                  </a:lnTo>
                  <a:lnTo>
                    <a:pt x="190" y="475"/>
                  </a:lnTo>
                  <a:lnTo>
                    <a:pt x="188" y="476"/>
                  </a:lnTo>
                  <a:lnTo>
                    <a:pt x="188" y="478"/>
                  </a:lnTo>
                  <a:lnTo>
                    <a:pt x="188" y="480"/>
                  </a:lnTo>
                  <a:lnTo>
                    <a:pt x="188" y="482"/>
                  </a:lnTo>
                  <a:lnTo>
                    <a:pt x="188" y="484"/>
                  </a:lnTo>
                  <a:lnTo>
                    <a:pt x="188" y="486"/>
                  </a:lnTo>
                  <a:lnTo>
                    <a:pt x="188" y="490"/>
                  </a:lnTo>
                  <a:lnTo>
                    <a:pt x="188" y="492"/>
                  </a:lnTo>
                  <a:lnTo>
                    <a:pt x="190" y="492"/>
                  </a:lnTo>
                  <a:lnTo>
                    <a:pt x="190" y="494"/>
                  </a:lnTo>
                  <a:lnTo>
                    <a:pt x="188" y="494"/>
                  </a:lnTo>
                  <a:lnTo>
                    <a:pt x="188" y="496"/>
                  </a:lnTo>
                  <a:lnTo>
                    <a:pt x="190" y="498"/>
                  </a:lnTo>
                  <a:lnTo>
                    <a:pt x="190" y="500"/>
                  </a:lnTo>
                  <a:lnTo>
                    <a:pt x="192" y="500"/>
                  </a:lnTo>
                  <a:lnTo>
                    <a:pt x="192" y="501"/>
                  </a:lnTo>
                  <a:lnTo>
                    <a:pt x="194" y="501"/>
                  </a:lnTo>
                  <a:lnTo>
                    <a:pt x="192" y="503"/>
                  </a:lnTo>
                  <a:lnTo>
                    <a:pt x="192" y="505"/>
                  </a:lnTo>
                  <a:lnTo>
                    <a:pt x="194" y="503"/>
                  </a:lnTo>
                  <a:lnTo>
                    <a:pt x="194" y="505"/>
                  </a:lnTo>
                  <a:lnTo>
                    <a:pt x="194" y="507"/>
                  </a:lnTo>
                  <a:lnTo>
                    <a:pt x="196" y="507"/>
                  </a:lnTo>
                  <a:lnTo>
                    <a:pt x="194" y="509"/>
                  </a:lnTo>
                  <a:lnTo>
                    <a:pt x="192" y="511"/>
                  </a:lnTo>
                  <a:lnTo>
                    <a:pt x="190" y="513"/>
                  </a:lnTo>
                  <a:lnTo>
                    <a:pt x="194" y="513"/>
                  </a:lnTo>
                  <a:lnTo>
                    <a:pt x="196" y="513"/>
                  </a:lnTo>
                  <a:lnTo>
                    <a:pt x="196" y="515"/>
                  </a:lnTo>
                  <a:lnTo>
                    <a:pt x="200" y="513"/>
                  </a:lnTo>
                  <a:lnTo>
                    <a:pt x="202" y="513"/>
                  </a:lnTo>
                  <a:lnTo>
                    <a:pt x="204" y="513"/>
                  </a:lnTo>
                  <a:lnTo>
                    <a:pt x="204" y="515"/>
                  </a:lnTo>
                  <a:lnTo>
                    <a:pt x="204" y="517"/>
                  </a:lnTo>
                  <a:lnTo>
                    <a:pt x="204" y="519"/>
                  </a:lnTo>
                  <a:lnTo>
                    <a:pt x="204" y="521"/>
                  </a:lnTo>
                  <a:lnTo>
                    <a:pt x="206" y="523"/>
                  </a:lnTo>
                  <a:lnTo>
                    <a:pt x="208" y="523"/>
                  </a:lnTo>
                  <a:lnTo>
                    <a:pt x="208" y="521"/>
                  </a:lnTo>
                  <a:lnTo>
                    <a:pt x="208" y="519"/>
                  </a:lnTo>
                  <a:lnTo>
                    <a:pt x="209" y="519"/>
                  </a:lnTo>
                  <a:lnTo>
                    <a:pt x="209" y="517"/>
                  </a:lnTo>
                  <a:lnTo>
                    <a:pt x="211" y="517"/>
                  </a:lnTo>
                  <a:lnTo>
                    <a:pt x="213" y="517"/>
                  </a:lnTo>
                  <a:lnTo>
                    <a:pt x="213" y="515"/>
                  </a:lnTo>
                  <a:lnTo>
                    <a:pt x="215" y="515"/>
                  </a:lnTo>
                  <a:lnTo>
                    <a:pt x="217" y="517"/>
                  </a:lnTo>
                  <a:lnTo>
                    <a:pt x="217" y="519"/>
                  </a:lnTo>
                  <a:lnTo>
                    <a:pt x="217" y="521"/>
                  </a:lnTo>
                  <a:lnTo>
                    <a:pt x="215" y="521"/>
                  </a:lnTo>
                  <a:lnTo>
                    <a:pt x="217" y="523"/>
                  </a:lnTo>
                  <a:lnTo>
                    <a:pt x="217" y="521"/>
                  </a:lnTo>
                  <a:lnTo>
                    <a:pt x="219" y="523"/>
                  </a:lnTo>
                  <a:lnTo>
                    <a:pt x="219" y="524"/>
                  </a:lnTo>
                  <a:lnTo>
                    <a:pt x="221" y="526"/>
                  </a:lnTo>
                  <a:lnTo>
                    <a:pt x="223" y="526"/>
                  </a:lnTo>
                  <a:lnTo>
                    <a:pt x="225" y="528"/>
                  </a:lnTo>
                  <a:lnTo>
                    <a:pt x="225" y="530"/>
                  </a:lnTo>
                  <a:lnTo>
                    <a:pt x="225" y="532"/>
                  </a:lnTo>
                  <a:lnTo>
                    <a:pt x="227" y="530"/>
                  </a:lnTo>
                  <a:lnTo>
                    <a:pt x="229" y="530"/>
                  </a:lnTo>
                  <a:lnTo>
                    <a:pt x="231" y="530"/>
                  </a:lnTo>
                  <a:lnTo>
                    <a:pt x="232" y="532"/>
                  </a:lnTo>
                  <a:lnTo>
                    <a:pt x="232" y="534"/>
                  </a:lnTo>
                  <a:lnTo>
                    <a:pt x="234" y="534"/>
                  </a:lnTo>
                  <a:lnTo>
                    <a:pt x="236" y="534"/>
                  </a:lnTo>
                  <a:lnTo>
                    <a:pt x="236" y="536"/>
                  </a:lnTo>
                  <a:lnTo>
                    <a:pt x="236" y="538"/>
                  </a:lnTo>
                  <a:lnTo>
                    <a:pt x="234" y="538"/>
                  </a:lnTo>
                  <a:lnTo>
                    <a:pt x="232" y="538"/>
                  </a:lnTo>
                  <a:lnTo>
                    <a:pt x="231" y="536"/>
                  </a:lnTo>
                  <a:lnTo>
                    <a:pt x="231" y="538"/>
                  </a:lnTo>
                  <a:lnTo>
                    <a:pt x="232" y="540"/>
                  </a:lnTo>
                  <a:lnTo>
                    <a:pt x="234" y="542"/>
                  </a:lnTo>
                  <a:lnTo>
                    <a:pt x="236" y="542"/>
                  </a:lnTo>
                  <a:lnTo>
                    <a:pt x="238" y="542"/>
                  </a:lnTo>
                  <a:lnTo>
                    <a:pt x="238" y="544"/>
                  </a:lnTo>
                  <a:lnTo>
                    <a:pt x="240" y="544"/>
                  </a:lnTo>
                  <a:lnTo>
                    <a:pt x="242" y="544"/>
                  </a:lnTo>
                  <a:lnTo>
                    <a:pt x="244" y="544"/>
                  </a:lnTo>
                  <a:lnTo>
                    <a:pt x="244" y="546"/>
                  </a:lnTo>
                  <a:lnTo>
                    <a:pt x="244" y="548"/>
                  </a:lnTo>
                  <a:lnTo>
                    <a:pt x="246" y="549"/>
                  </a:lnTo>
                  <a:lnTo>
                    <a:pt x="246" y="553"/>
                  </a:lnTo>
                  <a:lnTo>
                    <a:pt x="248" y="553"/>
                  </a:lnTo>
                  <a:lnTo>
                    <a:pt x="248" y="555"/>
                  </a:lnTo>
                  <a:lnTo>
                    <a:pt x="250" y="555"/>
                  </a:lnTo>
                  <a:lnTo>
                    <a:pt x="252" y="557"/>
                  </a:lnTo>
                  <a:lnTo>
                    <a:pt x="254" y="557"/>
                  </a:lnTo>
                  <a:lnTo>
                    <a:pt x="254" y="559"/>
                  </a:lnTo>
                  <a:lnTo>
                    <a:pt x="254" y="561"/>
                  </a:lnTo>
                  <a:lnTo>
                    <a:pt x="252" y="563"/>
                  </a:lnTo>
                  <a:lnTo>
                    <a:pt x="252" y="565"/>
                  </a:lnTo>
                  <a:lnTo>
                    <a:pt x="254" y="565"/>
                  </a:lnTo>
                  <a:lnTo>
                    <a:pt x="254" y="567"/>
                  </a:lnTo>
                  <a:lnTo>
                    <a:pt x="252" y="567"/>
                  </a:lnTo>
                  <a:lnTo>
                    <a:pt x="250" y="569"/>
                  </a:lnTo>
                  <a:lnTo>
                    <a:pt x="246" y="571"/>
                  </a:lnTo>
                  <a:lnTo>
                    <a:pt x="244" y="571"/>
                  </a:lnTo>
                  <a:lnTo>
                    <a:pt x="242" y="573"/>
                  </a:lnTo>
                  <a:lnTo>
                    <a:pt x="244" y="574"/>
                  </a:lnTo>
                  <a:lnTo>
                    <a:pt x="242" y="576"/>
                  </a:lnTo>
                  <a:lnTo>
                    <a:pt x="240" y="578"/>
                  </a:lnTo>
                  <a:lnTo>
                    <a:pt x="238" y="580"/>
                  </a:lnTo>
                  <a:lnTo>
                    <a:pt x="236" y="582"/>
                  </a:lnTo>
                  <a:lnTo>
                    <a:pt x="234" y="584"/>
                  </a:lnTo>
                  <a:lnTo>
                    <a:pt x="232" y="586"/>
                  </a:lnTo>
                  <a:lnTo>
                    <a:pt x="231" y="586"/>
                  </a:lnTo>
                  <a:lnTo>
                    <a:pt x="231" y="584"/>
                  </a:lnTo>
                  <a:lnTo>
                    <a:pt x="231" y="586"/>
                  </a:lnTo>
                  <a:lnTo>
                    <a:pt x="231" y="588"/>
                  </a:lnTo>
                  <a:lnTo>
                    <a:pt x="231" y="590"/>
                  </a:lnTo>
                  <a:lnTo>
                    <a:pt x="232" y="590"/>
                  </a:lnTo>
                  <a:lnTo>
                    <a:pt x="234" y="590"/>
                  </a:lnTo>
                  <a:lnTo>
                    <a:pt x="234" y="588"/>
                  </a:lnTo>
                  <a:lnTo>
                    <a:pt x="236" y="588"/>
                  </a:lnTo>
                  <a:lnTo>
                    <a:pt x="238" y="588"/>
                  </a:lnTo>
                  <a:lnTo>
                    <a:pt x="238" y="590"/>
                  </a:lnTo>
                  <a:lnTo>
                    <a:pt x="240" y="590"/>
                  </a:lnTo>
                  <a:lnTo>
                    <a:pt x="242" y="590"/>
                  </a:lnTo>
                  <a:lnTo>
                    <a:pt x="244" y="590"/>
                  </a:lnTo>
                  <a:lnTo>
                    <a:pt x="244" y="592"/>
                  </a:lnTo>
                  <a:lnTo>
                    <a:pt x="244" y="594"/>
                  </a:lnTo>
                  <a:lnTo>
                    <a:pt x="242" y="596"/>
                  </a:lnTo>
                  <a:lnTo>
                    <a:pt x="244" y="596"/>
                  </a:lnTo>
                  <a:lnTo>
                    <a:pt x="246" y="594"/>
                  </a:lnTo>
                  <a:lnTo>
                    <a:pt x="248" y="596"/>
                  </a:lnTo>
                  <a:lnTo>
                    <a:pt x="246" y="596"/>
                  </a:lnTo>
                  <a:lnTo>
                    <a:pt x="244" y="598"/>
                  </a:lnTo>
                  <a:lnTo>
                    <a:pt x="242" y="598"/>
                  </a:lnTo>
                  <a:lnTo>
                    <a:pt x="240" y="599"/>
                  </a:lnTo>
                  <a:lnTo>
                    <a:pt x="238" y="599"/>
                  </a:lnTo>
                  <a:lnTo>
                    <a:pt x="236" y="599"/>
                  </a:lnTo>
                  <a:lnTo>
                    <a:pt x="234" y="598"/>
                  </a:lnTo>
                  <a:lnTo>
                    <a:pt x="232" y="598"/>
                  </a:lnTo>
                  <a:lnTo>
                    <a:pt x="232" y="599"/>
                  </a:lnTo>
                  <a:lnTo>
                    <a:pt x="234" y="599"/>
                  </a:lnTo>
                  <a:lnTo>
                    <a:pt x="236" y="601"/>
                  </a:lnTo>
                  <a:lnTo>
                    <a:pt x="236" y="603"/>
                  </a:lnTo>
                  <a:lnTo>
                    <a:pt x="234" y="605"/>
                  </a:lnTo>
                  <a:lnTo>
                    <a:pt x="232" y="607"/>
                  </a:lnTo>
                  <a:lnTo>
                    <a:pt x="231" y="607"/>
                  </a:lnTo>
                  <a:lnTo>
                    <a:pt x="232" y="607"/>
                  </a:lnTo>
                  <a:lnTo>
                    <a:pt x="234" y="607"/>
                  </a:lnTo>
                  <a:lnTo>
                    <a:pt x="232" y="609"/>
                  </a:lnTo>
                  <a:lnTo>
                    <a:pt x="231" y="609"/>
                  </a:lnTo>
                  <a:lnTo>
                    <a:pt x="229" y="611"/>
                  </a:lnTo>
                  <a:lnTo>
                    <a:pt x="229" y="609"/>
                  </a:lnTo>
                  <a:lnTo>
                    <a:pt x="229" y="607"/>
                  </a:lnTo>
                  <a:lnTo>
                    <a:pt x="229" y="609"/>
                  </a:lnTo>
                  <a:lnTo>
                    <a:pt x="227" y="611"/>
                  </a:lnTo>
                  <a:lnTo>
                    <a:pt x="225" y="613"/>
                  </a:lnTo>
                  <a:lnTo>
                    <a:pt x="223" y="613"/>
                  </a:lnTo>
                  <a:lnTo>
                    <a:pt x="223" y="615"/>
                  </a:lnTo>
                  <a:lnTo>
                    <a:pt x="221" y="617"/>
                  </a:lnTo>
                  <a:lnTo>
                    <a:pt x="223" y="619"/>
                  </a:lnTo>
                  <a:lnTo>
                    <a:pt x="221" y="622"/>
                  </a:lnTo>
                  <a:lnTo>
                    <a:pt x="221" y="624"/>
                  </a:lnTo>
                  <a:lnTo>
                    <a:pt x="221" y="626"/>
                  </a:lnTo>
                  <a:lnTo>
                    <a:pt x="221" y="628"/>
                  </a:lnTo>
                  <a:lnTo>
                    <a:pt x="219" y="628"/>
                  </a:lnTo>
                  <a:lnTo>
                    <a:pt x="217" y="626"/>
                  </a:lnTo>
                  <a:lnTo>
                    <a:pt x="217" y="624"/>
                  </a:lnTo>
                  <a:lnTo>
                    <a:pt x="217" y="622"/>
                  </a:lnTo>
                  <a:lnTo>
                    <a:pt x="215" y="621"/>
                  </a:lnTo>
                  <a:lnTo>
                    <a:pt x="213" y="619"/>
                  </a:lnTo>
                  <a:lnTo>
                    <a:pt x="213" y="617"/>
                  </a:lnTo>
                  <a:lnTo>
                    <a:pt x="213" y="613"/>
                  </a:lnTo>
                  <a:lnTo>
                    <a:pt x="213" y="611"/>
                  </a:lnTo>
                  <a:lnTo>
                    <a:pt x="215" y="609"/>
                  </a:lnTo>
                  <a:lnTo>
                    <a:pt x="213" y="609"/>
                  </a:lnTo>
                  <a:lnTo>
                    <a:pt x="213" y="611"/>
                  </a:lnTo>
                  <a:lnTo>
                    <a:pt x="211" y="613"/>
                  </a:lnTo>
                  <a:lnTo>
                    <a:pt x="211" y="611"/>
                  </a:lnTo>
                  <a:lnTo>
                    <a:pt x="211" y="609"/>
                  </a:lnTo>
                  <a:lnTo>
                    <a:pt x="211" y="607"/>
                  </a:lnTo>
                  <a:lnTo>
                    <a:pt x="211" y="609"/>
                  </a:lnTo>
                  <a:lnTo>
                    <a:pt x="209" y="611"/>
                  </a:lnTo>
                  <a:lnTo>
                    <a:pt x="209" y="613"/>
                  </a:lnTo>
                  <a:lnTo>
                    <a:pt x="209" y="615"/>
                  </a:lnTo>
                  <a:lnTo>
                    <a:pt x="209" y="619"/>
                  </a:lnTo>
                  <a:lnTo>
                    <a:pt x="209" y="621"/>
                  </a:lnTo>
                  <a:lnTo>
                    <a:pt x="209" y="622"/>
                  </a:lnTo>
                  <a:lnTo>
                    <a:pt x="209" y="624"/>
                  </a:lnTo>
                  <a:lnTo>
                    <a:pt x="209" y="626"/>
                  </a:lnTo>
                  <a:lnTo>
                    <a:pt x="206" y="628"/>
                  </a:lnTo>
                  <a:lnTo>
                    <a:pt x="206" y="630"/>
                  </a:lnTo>
                  <a:lnTo>
                    <a:pt x="204" y="630"/>
                  </a:lnTo>
                  <a:lnTo>
                    <a:pt x="204" y="632"/>
                  </a:lnTo>
                  <a:lnTo>
                    <a:pt x="204" y="634"/>
                  </a:lnTo>
                  <a:lnTo>
                    <a:pt x="202" y="632"/>
                  </a:lnTo>
                  <a:lnTo>
                    <a:pt x="202" y="634"/>
                  </a:lnTo>
                  <a:lnTo>
                    <a:pt x="200" y="636"/>
                  </a:lnTo>
                  <a:lnTo>
                    <a:pt x="196" y="638"/>
                  </a:lnTo>
                  <a:lnTo>
                    <a:pt x="194" y="636"/>
                  </a:lnTo>
                  <a:lnTo>
                    <a:pt x="194" y="638"/>
                  </a:lnTo>
                  <a:lnTo>
                    <a:pt x="192" y="640"/>
                  </a:lnTo>
                  <a:lnTo>
                    <a:pt x="192" y="642"/>
                  </a:lnTo>
                  <a:lnTo>
                    <a:pt x="190" y="642"/>
                  </a:lnTo>
                  <a:lnTo>
                    <a:pt x="188" y="644"/>
                  </a:lnTo>
                  <a:lnTo>
                    <a:pt x="186" y="644"/>
                  </a:lnTo>
                  <a:lnTo>
                    <a:pt x="184" y="644"/>
                  </a:lnTo>
                  <a:lnTo>
                    <a:pt x="183" y="644"/>
                  </a:lnTo>
                  <a:lnTo>
                    <a:pt x="184" y="644"/>
                  </a:lnTo>
                  <a:lnTo>
                    <a:pt x="184" y="646"/>
                  </a:lnTo>
                  <a:lnTo>
                    <a:pt x="186" y="647"/>
                  </a:lnTo>
                  <a:lnTo>
                    <a:pt x="188" y="649"/>
                  </a:lnTo>
                  <a:lnTo>
                    <a:pt x="188" y="651"/>
                  </a:lnTo>
                  <a:lnTo>
                    <a:pt x="184" y="653"/>
                  </a:lnTo>
                  <a:lnTo>
                    <a:pt x="173" y="651"/>
                  </a:lnTo>
                  <a:lnTo>
                    <a:pt x="179" y="655"/>
                  </a:lnTo>
                  <a:lnTo>
                    <a:pt x="186" y="659"/>
                  </a:lnTo>
                  <a:lnTo>
                    <a:pt x="181" y="661"/>
                  </a:lnTo>
                  <a:lnTo>
                    <a:pt x="188" y="661"/>
                  </a:lnTo>
                  <a:lnTo>
                    <a:pt x="188" y="665"/>
                  </a:lnTo>
                  <a:lnTo>
                    <a:pt x="186" y="663"/>
                  </a:lnTo>
                  <a:lnTo>
                    <a:pt x="183" y="665"/>
                  </a:lnTo>
                  <a:lnTo>
                    <a:pt x="188" y="667"/>
                  </a:lnTo>
                  <a:lnTo>
                    <a:pt x="186" y="669"/>
                  </a:lnTo>
                  <a:lnTo>
                    <a:pt x="188" y="669"/>
                  </a:lnTo>
                  <a:lnTo>
                    <a:pt x="186" y="671"/>
                  </a:lnTo>
                  <a:lnTo>
                    <a:pt x="188" y="672"/>
                  </a:lnTo>
                  <a:lnTo>
                    <a:pt x="186" y="672"/>
                  </a:lnTo>
                  <a:lnTo>
                    <a:pt x="181" y="671"/>
                  </a:lnTo>
                  <a:lnTo>
                    <a:pt x="184" y="676"/>
                  </a:lnTo>
                  <a:lnTo>
                    <a:pt x="188" y="678"/>
                  </a:lnTo>
                  <a:lnTo>
                    <a:pt x="184" y="678"/>
                  </a:lnTo>
                  <a:lnTo>
                    <a:pt x="186" y="680"/>
                  </a:lnTo>
                  <a:lnTo>
                    <a:pt x="184" y="680"/>
                  </a:lnTo>
                  <a:lnTo>
                    <a:pt x="181" y="678"/>
                  </a:lnTo>
                  <a:lnTo>
                    <a:pt x="181" y="682"/>
                  </a:lnTo>
                  <a:lnTo>
                    <a:pt x="186" y="684"/>
                  </a:lnTo>
                  <a:lnTo>
                    <a:pt x="186" y="690"/>
                  </a:lnTo>
                  <a:lnTo>
                    <a:pt x="177" y="682"/>
                  </a:lnTo>
                  <a:lnTo>
                    <a:pt x="181" y="690"/>
                  </a:lnTo>
                  <a:lnTo>
                    <a:pt x="179" y="688"/>
                  </a:lnTo>
                  <a:lnTo>
                    <a:pt x="184" y="696"/>
                  </a:lnTo>
                  <a:lnTo>
                    <a:pt x="177" y="690"/>
                  </a:lnTo>
                  <a:lnTo>
                    <a:pt x="177" y="692"/>
                  </a:lnTo>
                  <a:lnTo>
                    <a:pt x="184" y="697"/>
                  </a:lnTo>
                  <a:lnTo>
                    <a:pt x="186" y="699"/>
                  </a:lnTo>
                  <a:lnTo>
                    <a:pt x="184" y="703"/>
                  </a:lnTo>
                  <a:lnTo>
                    <a:pt x="183" y="705"/>
                  </a:lnTo>
                  <a:lnTo>
                    <a:pt x="184" y="707"/>
                  </a:lnTo>
                  <a:lnTo>
                    <a:pt x="183" y="709"/>
                  </a:lnTo>
                  <a:lnTo>
                    <a:pt x="181" y="707"/>
                  </a:lnTo>
                  <a:lnTo>
                    <a:pt x="181" y="709"/>
                  </a:lnTo>
                  <a:lnTo>
                    <a:pt x="181" y="711"/>
                  </a:lnTo>
                  <a:lnTo>
                    <a:pt x="184" y="711"/>
                  </a:lnTo>
                  <a:lnTo>
                    <a:pt x="186" y="715"/>
                  </a:lnTo>
                  <a:lnTo>
                    <a:pt x="186" y="719"/>
                  </a:lnTo>
                  <a:lnTo>
                    <a:pt x="183" y="722"/>
                  </a:lnTo>
                  <a:lnTo>
                    <a:pt x="183" y="726"/>
                  </a:lnTo>
                  <a:lnTo>
                    <a:pt x="179" y="728"/>
                  </a:lnTo>
                  <a:lnTo>
                    <a:pt x="179" y="730"/>
                  </a:lnTo>
                  <a:lnTo>
                    <a:pt x="181" y="732"/>
                  </a:lnTo>
                  <a:lnTo>
                    <a:pt x="179" y="734"/>
                  </a:lnTo>
                  <a:lnTo>
                    <a:pt x="179" y="736"/>
                  </a:lnTo>
                  <a:lnTo>
                    <a:pt x="183" y="740"/>
                  </a:lnTo>
                  <a:lnTo>
                    <a:pt x="183" y="742"/>
                  </a:lnTo>
                  <a:lnTo>
                    <a:pt x="183" y="744"/>
                  </a:lnTo>
                  <a:lnTo>
                    <a:pt x="181" y="745"/>
                  </a:lnTo>
                  <a:lnTo>
                    <a:pt x="179" y="747"/>
                  </a:lnTo>
                  <a:lnTo>
                    <a:pt x="181" y="749"/>
                  </a:lnTo>
                  <a:lnTo>
                    <a:pt x="179" y="751"/>
                  </a:lnTo>
                  <a:lnTo>
                    <a:pt x="179" y="759"/>
                  </a:lnTo>
                  <a:lnTo>
                    <a:pt x="181" y="759"/>
                  </a:lnTo>
                  <a:lnTo>
                    <a:pt x="181" y="761"/>
                  </a:lnTo>
                  <a:lnTo>
                    <a:pt x="179" y="761"/>
                  </a:lnTo>
                  <a:lnTo>
                    <a:pt x="177" y="765"/>
                  </a:lnTo>
                  <a:lnTo>
                    <a:pt x="179" y="769"/>
                  </a:lnTo>
                  <a:lnTo>
                    <a:pt x="175" y="769"/>
                  </a:lnTo>
                  <a:lnTo>
                    <a:pt x="173" y="770"/>
                  </a:lnTo>
                  <a:lnTo>
                    <a:pt x="173" y="776"/>
                  </a:lnTo>
                  <a:lnTo>
                    <a:pt x="171" y="780"/>
                  </a:lnTo>
                  <a:lnTo>
                    <a:pt x="169" y="784"/>
                  </a:lnTo>
                  <a:lnTo>
                    <a:pt x="169" y="788"/>
                  </a:lnTo>
                  <a:lnTo>
                    <a:pt x="167" y="794"/>
                  </a:lnTo>
                  <a:lnTo>
                    <a:pt x="167" y="795"/>
                  </a:lnTo>
                  <a:lnTo>
                    <a:pt x="167" y="797"/>
                  </a:lnTo>
                  <a:lnTo>
                    <a:pt x="161" y="805"/>
                  </a:lnTo>
                  <a:lnTo>
                    <a:pt x="159" y="805"/>
                  </a:lnTo>
                  <a:lnTo>
                    <a:pt x="159" y="801"/>
                  </a:lnTo>
                  <a:lnTo>
                    <a:pt x="158" y="801"/>
                  </a:lnTo>
                  <a:lnTo>
                    <a:pt x="156" y="799"/>
                  </a:lnTo>
                  <a:lnTo>
                    <a:pt x="152" y="799"/>
                  </a:lnTo>
                  <a:lnTo>
                    <a:pt x="152" y="797"/>
                  </a:lnTo>
                  <a:lnTo>
                    <a:pt x="150" y="799"/>
                  </a:lnTo>
                  <a:lnTo>
                    <a:pt x="148" y="799"/>
                  </a:lnTo>
                  <a:lnTo>
                    <a:pt x="148" y="801"/>
                  </a:lnTo>
                  <a:lnTo>
                    <a:pt x="148" y="799"/>
                  </a:lnTo>
                  <a:lnTo>
                    <a:pt x="146" y="801"/>
                  </a:lnTo>
                  <a:lnTo>
                    <a:pt x="144" y="803"/>
                  </a:lnTo>
                  <a:lnTo>
                    <a:pt x="142" y="803"/>
                  </a:lnTo>
                  <a:lnTo>
                    <a:pt x="142" y="801"/>
                  </a:lnTo>
                  <a:lnTo>
                    <a:pt x="138" y="801"/>
                  </a:lnTo>
                  <a:lnTo>
                    <a:pt x="134" y="803"/>
                  </a:lnTo>
                  <a:lnTo>
                    <a:pt x="134" y="799"/>
                  </a:lnTo>
                  <a:lnTo>
                    <a:pt x="133" y="799"/>
                  </a:lnTo>
                  <a:lnTo>
                    <a:pt x="133" y="803"/>
                  </a:lnTo>
                  <a:lnTo>
                    <a:pt x="129" y="801"/>
                  </a:lnTo>
                  <a:lnTo>
                    <a:pt x="127" y="803"/>
                  </a:lnTo>
                  <a:lnTo>
                    <a:pt x="127" y="801"/>
                  </a:lnTo>
                  <a:lnTo>
                    <a:pt x="123" y="803"/>
                  </a:lnTo>
                  <a:lnTo>
                    <a:pt x="121" y="801"/>
                  </a:lnTo>
                  <a:lnTo>
                    <a:pt x="121" y="803"/>
                  </a:lnTo>
                  <a:lnTo>
                    <a:pt x="123" y="805"/>
                  </a:lnTo>
                  <a:lnTo>
                    <a:pt x="123" y="809"/>
                  </a:lnTo>
                  <a:lnTo>
                    <a:pt x="125" y="809"/>
                  </a:lnTo>
                  <a:lnTo>
                    <a:pt x="123" y="813"/>
                  </a:lnTo>
                  <a:lnTo>
                    <a:pt x="121" y="813"/>
                  </a:lnTo>
                  <a:lnTo>
                    <a:pt x="119" y="813"/>
                  </a:lnTo>
                  <a:lnTo>
                    <a:pt x="119" y="811"/>
                  </a:lnTo>
                  <a:lnTo>
                    <a:pt x="117" y="809"/>
                  </a:lnTo>
                  <a:lnTo>
                    <a:pt x="117" y="811"/>
                  </a:lnTo>
                  <a:lnTo>
                    <a:pt x="117" y="809"/>
                  </a:lnTo>
                  <a:lnTo>
                    <a:pt x="113" y="811"/>
                  </a:lnTo>
                  <a:lnTo>
                    <a:pt x="113" y="813"/>
                  </a:lnTo>
                  <a:lnTo>
                    <a:pt x="111" y="815"/>
                  </a:lnTo>
                  <a:lnTo>
                    <a:pt x="110" y="815"/>
                  </a:lnTo>
                  <a:lnTo>
                    <a:pt x="110" y="818"/>
                  </a:lnTo>
                  <a:lnTo>
                    <a:pt x="106" y="822"/>
                  </a:lnTo>
                  <a:lnTo>
                    <a:pt x="106" y="826"/>
                  </a:lnTo>
                  <a:lnTo>
                    <a:pt x="106" y="832"/>
                  </a:lnTo>
                  <a:lnTo>
                    <a:pt x="108" y="834"/>
                  </a:lnTo>
                  <a:lnTo>
                    <a:pt x="108" y="838"/>
                  </a:lnTo>
                  <a:lnTo>
                    <a:pt x="111" y="842"/>
                  </a:lnTo>
                  <a:lnTo>
                    <a:pt x="111" y="843"/>
                  </a:lnTo>
                  <a:lnTo>
                    <a:pt x="110" y="847"/>
                  </a:lnTo>
                  <a:lnTo>
                    <a:pt x="108" y="849"/>
                  </a:lnTo>
                  <a:lnTo>
                    <a:pt x="106" y="851"/>
                  </a:lnTo>
                  <a:lnTo>
                    <a:pt x="106" y="853"/>
                  </a:lnTo>
                  <a:lnTo>
                    <a:pt x="102" y="853"/>
                  </a:lnTo>
                  <a:lnTo>
                    <a:pt x="100" y="853"/>
                  </a:lnTo>
                  <a:lnTo>
                    <a:pt x="96" y="849"/>
                  </a:lnTo>
                  <a:lnTo>
                    <a:pt x="92" y="851"/>
                  </a:lnTo>
                  <a:lnTo>
                    <a:pt x="88" y="851"/>
                  </a:lnTo>
                  <a:lnTo>
                    <a:pt x="86" y="851"/>
                  </a:lnTo>
                  <a:lnTo>
                    <a:pt x="85" y="853"/>
                  </a:lnTo>
                  <a:lnTo>
                    <a:pt x="83" y="853"/>
                  </a:lnTo>
                  <a:lnTo>
                    <a:pt x="81" y="853"/>
                  </a:lnTo>
                  <a:lnTo>
                    <a:pt x="75" y="857"/>
                  </a:lnTo>
                  <a:lnTo>
                    <a:pt x="69" y="855"/>
                  </a:lnTo>
                  <a:lnTo>
                    <a:pt x="67" y="853"/>
                  </a:lnTo>
                  <a:lnTo>
                    <a:pt x="65" y="855"/>
                  </a:lnTo>
                  <a:lnTo>
                    <a:pt x="61" y="853"/>
                  </a:lnTo>
                  <a:lnTo>
                    <a:pt x="60" y="853"/>
                  </a:lnTo>
                  <a:lnTo>
                    <a:pt x="58" y="855"/>
                  </a:lnTo>
                  <a:lnTo>
                    <a:pt x="56" y="853"/>
                  </a:lnTo>
                  <a:lnTo>
                    <a:pt x="58" y="851"/>
                  </a:lnTo>
                  <a:lnTo>
                    <a:pt x="60" y="851"/>
                  </a:lnTo>
                  <a:lnTo>
                    <a:pt x="61" y="851"/>
                  </a:lnTo>
                  <a:lnTo>
                    <a:pt x="61" y="849"/>
                  </a:lnTo>
                  <a:lnTo>
                    <a:pt x="61" y="845"/>
                  </a:lnTo>
                  <a:lnTo>
                    <a:pt x="60" y="845"/>
                  </a:lnTo>
                  <a:lnTo>
                    <a:pt x="60" y="843"/>
                  </a:lnTo>
                  <a:lnTo>
                    <a:pt x="60" y="842"/>
                  </a:lnTo>
                  <a:lnTo>
                    <a:pt x="61" y="840"/>
                  </a:lnTo>
                  <a:lnTo>
                    <a:pt x="65" y="836"/>
                  </a:lnTo>
                  <a:lnTo>
                    <a:pt x="65" y="834"/>
                  </a:lnTo>
                  <a:lnTo>
                    <a:pt x="63" y="832"/>
                  </a:lnTo>
                  <a:lnTo>
                    <a:pt x="61" y="832"/>
                  </a:lnTo>
                  <a:lnTo>
                    <a:pt x="61" y="830"/>
                  </a:lnTo>
                  <a:lnTo>
                    <a:pt x="60" y="830"/>
                  </a:lnTo>
                  <a:lnTo>
                    <a:pt x="61" y="826"/>
                  </a:lnTo>
                  <a:lnTo>
                    <a:pt x="60" y="824"/>
                  </a:lnTo>
                  <a:lnTo>
                    <a:pt x="58" y="822"/>
                  </a:lnTo>
                  <a:lnTo>
                    <a:pt x="58" y="824"/>
                  </a:lnTo>
                  <a:lnTo>
                    <a:pt x="56" y="820"/>
                  </a:lnTo>
                  <a:lnTo>
                    <a:pt x="56" y="818"/>
                  </a:lnTo>
                  <a:lnTo>
                    <a:pt x="54" y="815"/>
                  </a:lnTo>
                  <a:lnTo>
                    <a:pt x="52" y="809"/>
                  </a:lnTo>
                  <a:lnTo>
                    <a:pt x="50" y="807"/>
                  </a:lnTo>
                  <a:lnTo>
                    <a:pt x="48" y="803"/>
                  </a:lnTo>
                  <a:lnTo>
                    <a:pt x="46" y="797"/>
                  </a:lnTo>
                  <a:lnTo>
                    <a:pt x="46" y="795"/>
                  </a:lnTo>
                  <a:lnTo>
                    <a:pt x="44" y="795"/>
                  </a:lnTo>
                  <a:lnTo>
                    <a:pt x="48" y="795"/>
                  </a:lnTo>
                  <a:lnTo>
                    <a:pt x="52" y="797"/>
                  </a:lnTo>
                  <a:lnTo>
                    <a:pt x="52" y="799"/>
                  </a:lnTo>
                  <a:lnTo>
                    <a:pt x="54" y="799"/>
                  </a:lnTo>
                  <a:lnTo>
                    <a:pt x="56" y="799"/>
                  </a:lnTo>
                  <a:lnTo>
                    <a:pt x="56" y="797"/>
                  </a:lnTo>
                  <a:lnTo>
                    <a:pt x="58" y="795"/>
                  </a:lnTo>
                  <a:lnTo>
                    <a:pt x="56" y="794"/>
                  </a:lnTo>
                  <a:lnTo>
                    <a:pt x="54" y="790"/>
                  </a:lnTo>
                  <a:lnTo>
                    <a:pt x="52" y="790"/>
                  </a:lnTo>
                  <a:lnTo>
                    <a:pt x="50" y="788"/>
                  </a:lnTo>
                  <a:lnTo>
                    <a:pt x="50" y="786"/>
                  </a:lnTo>
                  <a:lnTo>
                    <a:pt x="50" y="784"/>
                  </a:lnTo>
                  <a:lnTo>
                    <a:pt x="54" y="784"/>
                  </a:lnTo>
                  <a:lnTo>
                    <a:pt x="58" y="786"/>
                  </a:lnTo>
                  <a:lnTo>
                    <a:pt x="60" y="784"/>
                  </a:lnTo>
                  <a:lnTo>
                    <a:pt x="60" y="782"/>
                  </a:lnTo>
                  <a:lnTo>
                    <a:pt x="60" y="776"/>
                  </a:lnTo>
                  <a:lnTo>
                    <a:pt x="58" y="772"/>
                  </a:lnTo>
                  <a:lnTo>
                    <a:pt x="58" y="770"/>
                  </a:lnTo>
                  <a:lnTo>
                    <a:pt x="56" y="772"/>
                  </a:lnTo>
                  <a:lnTo>
                    <a:pt x="54" y="772"/>
                  </a:lnTo>
                  <a:lnTo>
                    <a:pt x="54" y="770"/>
                  </a:lnTo>
                  <a:lnTo>
                    <a:pt x="52" y="770"/>
                  </a:lnTo>
                  <a:lnTo>
                    <a:pt x="52" y="769"/>
                  </a:lnTo>
                  <a:lnTo>
                    <a:pt x="50" y="767"/>
                  </a:lnTo>
                  <a:lnTo>
                    <a:pt x="50" y="765"/>
                  </a:lnTo>
                  <a:lnTo>
                    <a:pt x="48" y="763"/>
                  </a:lnTo>
                  <a:lnTo>
                    <a:pt x="50" y="761"/>
                  </a:lnTo>
                  <a:lnTo>
                    <a:pt x="48" y="759"/>
                  </a:lnTo>
                  <a:lnTo>
                    <a:pt x="46" y="759"/>
                  </a:lnTo>
                  <a:lnTo>
                    <a:pt x="44" y="757"/>
                  </a:lnTo>
                  <a:lnTo>
                    <a:pt x="42" y="755"/>
                  </a:lnTo>
                  <a:lnTo>
                    <a:pt x="40" y="755"/>
                  </a:lnTo>
                  <a:lnTo>
                    <a:pt x="40" y="751"/>
                  </a:lnTo>
                  <a:lnTo>
                    <a:pt x="40" y="749"/>
                  </a:lnTo>
                  <a:lnTo>
                    <a:pt x="38" y="745"/>
                  </a:lnTo>
                  <a:lnTo>
                    <a:pt x="36" y="744"/>
                  </a:lnTo>
                  <a:lnTo>
                    <a:pt x="35" y="742"/>
                  </a:lnTo>
                  <a:lnTo>
                    <a:pt x="36" y="742"/>
                  </a:lnTo>
                  <a:lnTo>
                    <a:pt x="35" y="736"/>
                  </a:lnTo>
                  <a:lnTo>
                    <a:pt x="31" y="734"/>
                  </a:lnTo>
                  <a:lnTo>
                    <a:pt x="31" y="732"/>
                  </a:lnTo>
                  <a:lnTo>
                    <a:pt x="33" y="732"/>
                  </a:lnTo>
                  <a:lnTo>
                    <a:pt x="33" y="728"/>
                  </a:lnTo>
                  <a:lnTo>
                    <a:pt x="31" y="728"/>
                  </a:lnTo>
                  <a:lnTo>
                    <a:pt x="33" y="726"/>
                  </a:lnTo>
                  <a:lnTo>
                    <a:pt x="33" y="724"/>
                  </a:lnTo>
                  <a:lnTo>
                    <a:pt x="31" y="724"/>
                  </a:lnTo>
                  <a:lnTo>
                    <a:pt x="31" y="722"/>
                  </a:lnTo>
                  <a:lnTo>
                    <a:pt x="31" y="720"/>
                  </a:lnTo>
                  <a:lnTo>
                    <a:pt x="29" y="722"/>
                  </a:lnTo>
                  <a:lnTo>
                    <a:pt x="29" y="724"/>
                  </a:lnTo>
                  <a:lnTo>
                    <a:pt x="29" y="726"/>
                  </a:lnTo>
                  <a:lnTo>
                    <a:pt x="27" y="726"/>
                  </a:lnTo>
                  <a:lnTo>
                    <a:pt x="27" y="724"/>
                  </a:lnTo>
                  <a:lnTo>
                    <a:pt x="25" y="724"/>
                  </a:lnTo>
                  <a:lnTo>
                    <a:pt x="25" y="720"/>
                  </a:lnTo>
                  <a:lnTo>
                    <a:pt x="27" y="715"/>
                  </a:lnTo>
                  <a:lnTo>
                    <a:pt x="27" y="713"/>
                  </a:lnTo>
                  <a:lnTo>
                    <a:pt x="27" y="709"/>
                  </a:lnTo>
                  <a:lnTo>
                    <a:pt x="25" y="709"/>
                  </a:lnTo>
                  <a:lnTo>
                    <a:pt x="25" y="711"/>
                  </a:lnTo>
                  <a:lnTo>
                    <a:pt x="25" y="709"/>
                  </a:lnTo>
                  <a:lnTo>
                    <a:pt x="23" y="707"/>
                  </a:lnTo>
                  <a:lnTo>
                    <a:pt x="23" y="705"/>
                  </a:lnTo>
                  <a:lnTo>
                    <a:pt x="27" y="703"/>
                  </a:lnTo>
                  <a:lnTo>
                    <a:pt x="23" y="705"/>
                  </a:lnTo>
                  <a:lnTo>
                    <a:pt x="21" y="703"/>
                  </a:lnTo>
                  <a:lnTo>
                    <a:pt x="19" y="705"/>
                  </a:lnTo>
                  <a:lnTo>
                    <a:pt x="19" y="701"/>
                  </a:lnTo>
                  <a:lnTo>
                    <a:pt x="23" y="699"/>
                  </a:lnTo>
                  <a:lnTo>
                    <a:pt x="23" y="697"/>
                  </a:lnTo>
                  <a:lnTo>
                    <a:pt x="19" y="699"/>
                  </a:lnTo>
                  <a:lnTo>
                    <a:pt x="19" y="696"/>
                  </a:lnTo>
                  <a:lnTo>
                    <a:pt x="19" y="694"/>
                  </a:lnTo>
                  <a:lnTo>
                    <a:pt x="19" y="692"/>
                  </a:lnTo>
                  <a:lnTo>
                    <a:pt x="21" y="692"/>
                  </a:lnTo>
                  <a:lnTo>
                    <a:pt x="21" y="690"/>
                  </a:lnTo>
                  <a:lnTo>
                    <a:pt x="19" y="690"/>
                  </a:lnTo>
                  <a:lnTo>
                    <a:pt x="23" y="686"/>
                  </a:lnTo>
                  <a:lnTo>
                    <a:pt x="23" y="680"/>
                  </a:lnTo>
                  <a:lnTo>
                    <a:pt x="23" y="676"/>
                  </a:lnTo>
                  <a:lnTo>
                    <a:pt x="25" y="674"/>
                  </a:lnTo>
                  <a:lnTo>
                    <a:pt x="25" y="671"/>
                  </a:lnTo>
                  <a:lnTo>
                    <a:pt x="23" y="669"/>
                  </a:lnTo>
                  <a:lnTo>
                    <a:pt x="23" y="667"/>
                  </a:lnTo>
                  <a:lnTo>
                    <a:pt x="23" y="665"/>
                  </a:lnTo>
                  <a:lnTo>
                    <a:pt x="27" y="665"/>
                  </a:lnTo>
                  <a:lnTo>
                    <a:pt x="23" y="665"/>
                  </a:lnTo>
                  <a:lnTo>
                    <a:pt x="19" y="665"/>
                  </a:lnTo>
                  <a:lnTo>
                    <a:pt x="17" y="669"/>
                  </a:lnTo>
                  <a:lnTo>
                    <a:pt x="13" y="671"/>
                  </a:lnTo>
                  <a:lnTo>
                    <a:pt x="15" y="665"/>
                  </a:lnTo>
                  <a:lnTo>
                    <a:pt x="17" y="659"/>
                  </a:lnTo>
                  <a:lnTo>
                    <a:pt x="15" y="659"/>
                  </a:lnTo>
                  <a:lnTo>
                    <a:pt x="15" y="655"/>
                  </a:lnTo>
                  <a:lnTo>
                    <a:pt x="13" y="665"/>
                  </a:lnTo>
                  <a:lnTo>
                    <a:pt x="12" y="667"/>
                  </a:lnTo>
                  <a:lnTo>
                    <a:pt x="10" y="667"/>
                  </a:lnTo>
                  <a:lnTo>
                    <a:pt x="10" y="661"/>
                  </a:lnTo>
                  <a:lnTo>
                    <a:pt x="8" y="665"/>
                  </a:lnTo>
                  <a:lnTo>
                    <a:pt x="10" y="661"/>
                  </a:lnTo>
                  <a:lnTo>
                    <a:pt x="8" y="663"/>
                  </a:lnTo>
                  <a:lnTo>
                    <a:pt x="4" y="663"/>
                  </a:lnTo>
                  <a:lnTo>
                    <a:pt x="4" y="657"/>
                  </a:lnTo>
                  <a:lnTo>
                    <a:pt x="8" y="655"/>
                  </a:lnTo>
                  <a:lnTo>
                    <a:pt x="6" y="655"/>
                  </a:lnTo>
                  <a:lnTo>
                    <a:pt x="4" y="653"/>
                  </a:lnTo>
                  <a:lnTo>
                    <a:pt x="4" y="651"/>
                  </a:lnTo>
                  <a:lnTo>
                    <a:pt x="6" y="649"/>
                  </a:lnTo>
                  <a:lnTo>
                    <a:pt x="4" y="644"/>
                  </a:lnTo>
                  <a:lnTo>
                    <a:pt x="4" y="642"/>
                  </a:lnTo>
                  <a:lnTo>
                    <a:pt x="2" y="640"/>
                  </a:lnTo>
                  <a:lnTo>
                    <a:pt x="2" y="636"/>
                  </a:lnTo>
                  <a:lnTo>
                    <a:pt x="2" y="630"/>
                  </a:lnTo>
                  <a:lnTo>
                    <a:pt x="2" y="626"/>
                  </a:lnTo>
                  <a:lnTo>
                    <a:pt x="0" y="626"/>
                  </a:lnTo>
                  <a:lnTo>
                    <a:pt x="0" y="622"/>
                  </a:lnTo>
                  <a:lnTo>
                    <a:pt x="2" y="619"/>
                  </a:lnTo>
                  <a:lnTo>
                    <a:pt x="8" y="615"/>
                  </a:lnTo>
                  <a:lnTo>
                    <a:pt x="10" y="619"/>
                  </a:lnTo>
                  <a:lnTo>
                    <a:pt x="12" y="628"/>
                  </a:lnTo>
                  <a:lnTo>
                    <a:pt x="12" y="630"/>
                  </a:lnTo>
                  <a:lnTo>
                    <a:pt x="13" y="630"/>
                  </a:lnTo>
                  <a:lnTo>
                    <a:pt x="17" y="628"/>
                  </a:lnTo>
                  <a:lnTo>
                    <a:pt x="19" y="621"/>
                  </a:lnTo>
                  <a:lnTo>
                    <a:pt x="21" y="615"/>
                  </a:lnTo>
                  <a:lnTo>
                    <a:pt x="21" y="613"/>
                  </a:lnTo>
                  <a:lnTo>
                    <a:pt x="23" y="603"/>
                  </a:lnTo>
                  <a:lnTo>
                    <a:pt x="21" y="594"/>
                  </a:lnTo>
                  <a:lnTo>
                    <a:pt x="19" y="584"/>
                  </a:lnTo>
                  <a:lnTo>
                    <a:pt x="23" y="582"/>
                  </a:lnTo>
                  <a:lnTo>
                    <a:pt x="27" y="578"/>
                  </a:lnTo>
                  <a:lnTo>
                    <a:pt x="27" y="576"/>
                  </a:lnTo>
                  <a:lnTo>
                    <a:pt x="27" y="574"/>
                  </a:lnTo>
                  <a:lnTo>
                    <a:pt x="27" y="573"/>
                  </a:lnTo>
                  <a:lnTo>
                    <a:pt x="25" y="571"/>
                  </a:lnTo>
                  <a:lnTo>
                    <a:pt x="29" y="567"/>
                  </a:lnTo>
                  <a:lnTo>
                    <a:pt x="33" y="567"/>
                  </a:lnTo>
                  <a:lnTo>
                    <a:pt x="35" y="567"/>
                  </a:lnTo>
                  <a:lnTo>
                    <a:pt x="36" y="567"/>
                  </a:lnTo>
                  <a:lnTo>
                    <a:pt x="40" y="563"/>
                  </a:lnTo>
                  <a:lnTo>
                    <a:pt x="42" y="559"/>
                  </a:lnTo>
                  <a:lnTo>
                    <a:pt x="46" y="553"/>
                  </a:lnTo>
                  <a:lnTo>
                    <a:pt x="46" y="548"/>
                  </a:lnTo>
                  <a:lnTo>
                    <a:pt x="46" y="540"/>
                  </a:lnTo>
                  <a:lnTo>
                    <a:pt x="46" y="538"/>
                  </a:lnTo>
                  <a:lnTo>
                    <a:pt x="48" y="534"/>
                  </a:lnTo>
                  <a:lnTo>
                    <a:pt x="48" y="530"/>
                  </a:lnTo>
                  <a:lnTo>
                    <a:pt x="48" y="526"/>
                  </a:lnTo>
                  <a:lnTo>
                    <a:pt x="46" y="524"/>
                  </a:lnTo>
                  <a:lnTo>
                    <a:pt x="46" y="523"/>
                  </a:lnTo>
                  <a:lnTo>
                    <a:pt x="46" y="519"/>
                  </a:lnTo>
                  <a:lnTo>
                    <a:pt x="42" y="515"/>
                  </a:lnTo>
                  <a:lnTo>
                    <a:pt x="40" y="511"/>
                  </a:lnTo>
                  <a:lnTo>
                    <a:pt x="40" y="507"/>
                  </a:lnTo>
                  <a:lnTo>
                    <a:pt x="38" y="503"/>
                  </a:lnTo>
                  <a:lnTo>
                    <a:pt x="38" y="500"/>
                  </a:lnTo>
                  <a:lnTo>
                    <a:pt x="36" y="496"/>
                  </a:lnTo>
                  <a:lnTo>
                    <a:pt x="40" y="494"/>
                  </a:lnTo>
                  <a:lnTo>
                    <a:pt x="44" y="494"/>
                  </a:lnTo>
                  <a:lnTo>
                    <a:pt x="46" y="494"/>
                  </a:lnTo>
                  <a:lnTo>
                    <a:pt x="48" y="494"/>
                  </a:lnTo>
                  <a:lnTo>
                    <a:pt x="50" y="488"/>
                  </a:lnTo>
                  <a:lnTo>
                    <a:pt x="54" y="482"/>
                  </a:lnTo>
                  <a:lnTo>
                    <a:pt x="54" y="480"/>
                  </a:lnTo>
                  <a:lnTo>
                    <a:pt x="54" y="478"/>
                  </a:lnTo>
                  <a:lnTo>
                    <a:pt x="54" y="475"/>
                  </a:lnTo>
                  <a:lnTo>
                    <a:pt x="46" y="461"/>
                  </a:lnTo>
                  <a:lnTo>
                    <a:pt x="42" y="461"/>
                  </a:lnTo>
                  <a:lnTo>
                    <a:pt x="33" y="453"/>
                  </a:lnTo>
                  <a:lnTo>
                    <a:pt x="35" y="428"/>
                  </a:lnTo>
                  <a:lnTo>
                    <a:pt x="35" y="426"/>
                  </a:lnTo>
                  <a:lnTo>
                    <a:pt x="36" y="417"/>
                  </a:lnTo>
                  <a:lnTo>
                    <a:pt x="35" y="413"/>
                  </a:lnTo>
                  <a:lnTo>
                    <a:pt x="35" y="411"/>
                  </a:lnTo>
                  <a:lnTo>
                    <a:pt x="35" y="407"/>
                  </a:lnTo>
                  <a:lnTo>
                    <a:pt x="33" y="403"/>
                  </a:lnTo>
                  <a:lnTo>
                    <a:pt x="31" y="396"/>
                  </a:lnTo>
                  <a:lnTo>
                    <a:pt x="33" y="388"/>
                  </a:lnTo>
                  <a:lnTo>
                    <a:pt x="31" y="378"/>
                  </a:lnTo>
                  <a:lnTo>
                    <a:pt x="35" y="373"/>
                  </a:lnTo>
                  <a:lnTo>
                    <a:pt x="35" y="369"/>
                  </a:lnTo>
                  <a:lnTo>
                    <a:pt x="31" y="361"/>
                  </a:lnTo>
                  <a:lnTo>
                    <a:pt x="29" y="357"/>
                  </a:lnTo>
                  <a:lnTo>
                    <a:pt x="29" y="355"/>
                  </a:lnTo>
                  <a:lnTo>
                    <a:pt x="31" y="350"/>
                  </a:lnTo>
                  <a:lnTo>
                    <a:pt x="35" y="344"/>
                  </a:lnTo>
                  <a:lnTo>
                    <a:pt x="33" y="336"/>
                  </a:lnTo>
                  <a:lnTo>
                    <a:pt x="36" y="332"/>
                  </a:lnTo>
                  <a:lnTo>
                    <a:pt x="38" y="329"/>
                  </a:lnTo>
                  <a:lnTo>
                    <a:pt x="42" y="321"/>
                  </a:lnTo>
                  <a:lnTo>
                    <a:pt x="48" y="313"/>
                  </a:lnTo>
                  <a:lnTo>
                    <a:pt x="56" y="307"/>
                  </a:lnTo>
                  <a:lnTo>
                    <a:pt x="65" y="304"/>
                  </a:lnTo>
                  <a:lnTo>
                    <a:pt x="85" y="309"/>
                  </a:lnTo>
                  <a:lnTo>
                    <a:pt x="90" y="298"/>
                  </a:lnTo>
                  <a:lnTo>
                    <a:pt x="88" y="282"/>
                  </a:lnTo>
                  <a:lnTo>
                    <a:pt x="75" y="273"/>
                  </a:lnTo>
                  <a:lnTo>
                    <a:pt x="92" y="240"/>
                  </a:lnTo>
                  <a:lnTo>
                    <a:pt x="94" y="232"/>
                  </a:lnTo>
                  <a:lnTo>
                    <a:pt x="98" y="229"/>
                  </a:lnTo>
                  <a:lnTo>
                    <a:pt x="98" y="206"/>
                  </a:lnTo>
                  <a:lnTo>
                    <a:pt x="100" y="200"/>
                  </a:lnTo>
                  <a:lnTo>
                    <a:pt x="96" y="181"/>
                  </a:lnTo>
                  <a:lnTo>
                    <a:pt x="110" y="179"/>
                  </a:lnTo>
                  <a:lnTo>
                    <a:pt x="123" y="169"/>
                  </a:lnTo>
                  <a:lnTo>
                    <a:pt x="121" y="167"/>
                  </a:lnTo>
                  <a:lnTo>
                    <a:pt x="119" y="157"/>
                  </a:lnTo>
                  <a:lnTo>
                    <a:pt x="127" y="150"/>
                  </a:lnTo>
                  <a:lnTo>
                    <a:pt x="134" y="133"/>
                  </a:lnTo>
                  <a:lnTo>
                    <a:pt x="140" y="127"/>
                  </a:lnTo>
                  <a:lnTo>
                    <a:pt x="144" y="125"/>
                  </a:lnTo>
                  <a:lnTo>
                    <a:pt x="144" y="115"/>
                  </a:lnTo>
                  <a:lnTo>
                    <a:pt x="140" y="109"/>
                  </a:lnTo>
                  <a:lnTo>
                    <a:pt x="136" y="102"/>
                  </a:lnTo>
                  <a:lnTo>
                    <a:pt x="136" y="98"/>
                  </a:lnTo>
                  <a:lnTo>
                    <a:pt x="144" y="96"/>
                  </a:lnTo>
                  <a:lnTo>
                    <a:pt x="146" y="90"/>
                  </a:lnTo>
                  <a:lnTo>
                    <a:pt x="150" y="79"/>
                  </a:lnTo>
                  <a:lnTo>
                    <a:pt x="152" y="73"/>
                  </a:lnTo>
                  <a:lnTo>
                    <a:pt x="163" y="65"/>
                  </a:lnTo>
                  <a:lnTo>
                    <a:pt x="163" y="61"/>
                  </a:lnTo>
                  <a:lnTo>
                    <a:pt x="175" y="65"/>
                  </a:lnTo>
                  <a:lnTo>
                    <a:pt x="181" y="69"/>
                  </a:lnTo>
                  <a:lnTo>
                    <a:pt x="186" y="54"/>
                  </a:lnTo>
                  <a:lnTo>
                    <a:pt x="184" y="42"/>
                  </a:lnTo>
                  <a:lnTo>
                    <a:pt x="184" y="36"/>
                  </a:lnTo>
                  <a:lnTo>
                    <a:pt x="190" y="33"/>
                  </a:lnTo>
                  <a:lnTo>
                    <a:pt x="192" y="35"/>
                  </a:lnTo>
                  <a:lnTo>
                    <a:pt x="196" y="36"/>
                  </a:lnTo>
                  <a:lnTo>
                    <a:pt x="206" y="35"/>
                  </a:lnTo>
                  <a:lnTo>
                    <a:pt x="231" y="42"/>
                  </a:lnTo>
                  <a:lnTo>
                    <a:pt x="236" y="33"/>
                  </a:lnTo>
                  <a:lnTo>
                    <a:pt x="232" y="33"/>
                  </a:lnTo>
                  <a:lnTo>
                    <a:pt x="229" y="31"/>
                  </a:lnTo>
                  <a:lnTo>
                    <a:pt x="236" y="25"/>
                  </a:lnTo>
                  <a:lnTo>
                    <a:pt x="238" y="15"/>
                  </a:lnTo>
                  <a:lnTo>
                    <a:pt x="238" y="8"/>
                  </a:lnTo>
                  <a:lnTo>
                    <a:pt x="231" y="2"/>
                  </a:lnTo>
                  <a:lnTo>
                    <a:pt x="242" y="0"/>
                  </a:lnTo>
                  <a:lnTo>
                    <a:pt x="248" y="0"/>
                  </a:lnTo>
                  <a:lnTo>
                    <a:pt x="252" y="4"/>
                  </a:lnTo>
                  <a:lnTo>
                    <a:pt x="252" y="8"/>
                  </a:lnTo>
                  <a:lnTo>
                    <a:pt x="256" y="10"/>
                  </a:lnTo>
                  <a:lnTo>
                    <a:pt x="261" y="13"/>
                  </a:lnTo>
                  <a:lnTo>
                    <a:pt x="263" y="15"/>
                  </a:lnTo>
                  <a:lnTo>
                    <a:pt x="265" y="15"/>
                  </a:lnTo>
                  <a:lnTo>
                    <a:pt x="265" y="17"/>
                  </a:lnTo>
                  <a:lnTo>
                    <a:pt x="267" y="19"/>
                  </a:lnTo>
                  <a:lnTo>
                    <a:pt x="269" y="21"/>
                  </a:lnTo>
                  <a:lnTo>
                    <a:pt x="273" y="21"/>
                  </a:lnTo>
                  <a:lnTo>
                    <a:pt x="273" y="23"/>
                  </a:lnTo>
                  <a:lnTo>
                    <a:pt x="273" y="25"/>
                  </a:lnTo>
                  <a:lnTo>
                    <a:pt x="275" y="25"/>
                  </a:lnTo>
                  <a:lnTo>
                    <a:pt x="279" y="25"/>
                  </a:lnTo>
                  <a:lnTo>
                    <a:pt x="281" y="25"/>
                  </a:lnTo>
                  <a:lnTo>
                    <a:pt x="281" y="27"/>
                  </a:lnTo>
                  <a:lnTo>
                    <a:pt x="284" y="29"/>
                  </a:lnTo>
                  <a:lnTo>
                    <a:pt x="286" y="31"/>
                  </a:lnTo>
                  <a:lnTo>
                    <a:pt x="290" y="29"/>
                  </a:lnTo>
                  <a:lnTo>
                    <a:pt x="294" y="29"/>
                  </a:lnTo>
                  <a:lnTo>
                    <a:pt x="298" y="31"/>
                  </a:lnTo>
                  <a:lnTo>
                    <a:pt x="302" y="31"/>
                  </a:lnTo>
                  <a:lnTo>
                    <a:pt x="304" y="33"/>
                  </a:lnTo>
                  <a:lnTo>
                    <a:pt x="309" y="35"/>
                  </a:lnTo>
                  <a:lnTo>
                    <a:pt x="313" y="38"/>
                  </a:lnTo>
                  <a:lnTo>
                    <a:pt x="315" y="40"/>
                  </a:lnTo>
                  <a:lnTo>
                    <a:pt x="315" y="44"/>
                  </a:lnTo>
                  <a:lnTo>
                    <a:pt x="319" y="44"/>
                  </a:lnTo>
                  <a:lnTo>
                    <a:pt x="321" y="48"/>
                  </a:lnTo>
                  <a:lnTo>
                    <a:pt x="321" y="50"/>
                  </a:lnTo>
                  <a:lnTo>
                    <a:pt x="325" y="52"/>
                  </a:lnTo>
                  <a:lnTo>
                    <a:pt x="327" y="52"/>
                  </a:lnTo>
                  <a:lnTo>
                    <a:pt x="329" y="54"/>
                  </a:lnTo>
                  <a:lnTo>
                    <a:pt x="329" y="56"/>
                  </a:lnTo>
                  <a:lnTo>
                    <a:pt x="327" y="58"/>
                  </a:lnTo>
                  <a:lnTo>
                    <a:pt x="325" y="61"/>
                  </a:lnTo>
                  <a:lnTo>
                    <a:pt x="327" y="67"/>
                  </a:lnTo>
                  <a:lnTo>
                    <a:pt x="327" y="69"/>
                  </a:lnTo>
                  <a:lnTo>
                    <a:pt x="327" y="71"/>
                  </a:lnTo>
                  <a:lnTo>
                    <a:pt x="329" y="73"/>
                  </a:lnTo>
                  <a:lnTo>
                    <a:pt x="329" y="75"/>
                  </a:lnTo>
                  <a:lnTo>
                    <a:pt x="329" y="77"/>
                  </a:lnTo>
                  <a:lnTo>
                    <a:pt x="327" y="77"/>
                  </a:lnTo>
                  <a:lnTo>
                    <a:pt x="327" y="79"/>
                  </a:lnTo>
                  <a:lnTo>
                    <a:pt x="327" y="81"/>
                  </a:lnTo>
                  <a:lnTo>
                    <a:pt x="327" y="83"/>
                  </a:lnTo>
                  <a:lnTo>
                    <a:pt x="329" y="83"/>
                  </a:lnTo>
                  <a:lnTo>
                    <a:pt x="331" y="83"/>
                  </a:lnTo>
                  <a:lnTo>
                    <a:pt x="334" y="83"/>
                  </a:lnTo>
                  <a:lnTo>
                    <a:pt x="336" y="84"/>
                  </a:lnTo>
                  <a:lnTo>
                    <a:pt x="336" y="86"/>
                  </a:lnTo>
                  <a:lnTo>
                    <a:pt x="336" y="88"/>
                  </a:lnTo>
                  <a:lnTo>
                    <a:pt x="336" y="90"/>
                  </a:lnTo>
                  <a:lnTo>
                    <a:pt x="336" y="92"/>
                  </a:lnTo>
                  <a:lnTo>
                    <a:pt x="334" y="94"/>
                  </a:lnTo>
                  <a:lnTo>
                    <a:pt x="332" y="94"/>
                  </a:lnTo>
                  <a:lnTo>
                    <a:pt x="332" y="96"/>
                  </a:lnTo>
                  <a:lnTo>
                    <a:pt x="334" y="98"/>
                  </a:lnTo>
                  <a:lnTo>
                    <a:pt x="334" y="100"/>
                  </a:lnTo>
                  <a:lnTo>
                    <a:pt x="334" y="102"/>
                  </a:lnTo>
                  <a:lnTo>
                    <a:pt x="336" y="104"/>
                  </a:lnTo>
                  <a:lnTo>
                    <a:pt x="340" y="108"/>
                  </a:lnTo>
                  <a:lnTo>
                    <a:pt x="344" y="111"/>
                  </a:lnTo>
                  <a:lnTo>
                    <a:pt x="346" y="115"/>
                  </a:lnTo>
                  <a:lnTo>
                    <a:pt x="348" y="117"/>
                  </a:lnTo>
                  <a:lnTo>
                    <a:pt x="348" y="119"/>
                  </a:lnTo>
                  <a:lnTo>
                    <a:pt x="346" y="119"/>
                  </a:lnTo>
                  <a:lnTo>
                    <a:pt x="346" y="123"/>
                  </a:lnTo>
                  <a:lnTo>
                    <a:pt x="346" y="127"/>
                  </a:lnTo>
                  <a:lnTo>
                    <a:pt x="346" y="131"/>
                  </a:lnTo>
                  <a:lnTo>
                    <a:pt x="346" y="133"/>
                  </a:lnTo>
                  <a:lnTo>
                    <a:pt x="346" y="134"/>
                  </a:lnTo>
                  <a:lnTo>
                    <a:pt x="344" y="138"/>
                  </a:lnTo>
                  <a:lnTo>
                    <a:pt x="342" y="140"/>
                  </a:lnTo>
                  <a:lnTo>
                    <a:pt x="342" y="144"/>
                  </a:lnTo>
                  <a:lnTo>
                    <a:pt x="342" y="148"/>
                  </a:lnTo>
                  <a:lnTo>
                    <a:pt x="344" y="152"/>
                  </a:lnTo>
                  <a:lnTo>
                    <a:pt x="346" y="156"/>
                  </a:lnTo>
                  <a:lnTo>
                    <a:pt x="350" y="157"/>
                  </a:lnTo>
                  <a:lnTo>
                    <a:pt x="352" y="159"/>
                  </a:lnTo>
                  <a:lnTo>
                    <a:pt x="354" y="163"/>
                  </a:lnTo>
                  <a:lnTo>
                    <a:pt x="355" y="165"/>
                  </a:lnTo>
                  <a:lnTo>
                    <a:pt x="357" y="169"/>
                  </a:lnTo>
                  <a:lnTo>
                    <a:pt x="359" y="171"/>
                  </a:lnTo>
                  <a:lnTo>
                    <a:pt x="359" y="173"/>
                  </a:lnTo>
                  <a:lnTo>
                    <a:pt x="357" y="177"/>
                  </a:lnTo>
                  <a:lnTo>
                    <a:pt x="357" y="179"/>
                  </a:lnTo>
                  <a:lnTo>
                    <a:pt x="355" y="179"/>
                  </a:lnTo>
                  <a:lnTo>
                    <a:pt x="355" y="181"/>
                  </a:lnTo>
                  <a:lnTo>
                    <a:pt x="354" y="181"/>
                  </a:lnTo>
                  <a:lnTo>
                    <a:pt x="352" y="179"/>
                  </a:lnTo>
                  <a:lnTo>
                    <a:pt x="352" y="181"/>
                  </a:lnTo>
                  <a:lnTo>
                    <a:pt x="350" y="181"/>
                  </a:lnTo>
                  <a:lnTo>
                    <a:pt x="350" y="179"/>
                  </a:lnTo>
                  <a:lnTo>
                    <a:pt x="348" y="179"/>
                  </a:lnTo>
                  <a:lnTo>
                    <a:pt x="346" y="179"/>
                  </a:lnTo>
                  <a:lnTo>
                    <a:pt x="346" y="181"/>
                  </a:lnTo>
                  <a:lnTo>
                    <a:pt x="344" y="181"/>
                  </a:lnTo>
                  <a:lnTo>
                    <a:pt x="342" y="181"/>
                  </a:lnTo>
                  <a:lnTo>
                    <a:pt x="342" y="179"/>
                  </a:lnTo>
                  <a:lnTo>
                    <a:pt x="340" y="181"/>
                  </a:lnTo>
                  <a:lnTo>
                    <a:pt x="340" y="182"/>
                  </a:lnTo>
                  <a:lnTo>
                    <a:pt x="338" y="181"/>
                  </a:lnTo>
                  <a:lnTo>
                    <a:pt x="336" y="182"/>
                  </a:lnTo>
                  <a:lnTo>
                    <a:pt x="336" y="181"/>
                  </a:lnTo>
                  <a:lnTo>
                    <a:pt x="332" y="181"/>
                  </a:lnTo>
                  <a:lnTo>
                    <a:pt x="334" y="182"/>
                  </a:lnTo>
                  <a:lnTo>
                    <a:pt x="332" y="184"/>
                  </a:lnTo>
                  <a:lnTo>
                    <a:pt x="332" y="186"/>
                  </a:lnTo>
                  <a:lnTo>
                    <a:pt x="331" y="186"/>
                  </a:lnTo>
                  <a:lnTo>
                    <a:pt x="329" y="184"/>
                  </a:lnTo>
                  <a:lnTo>
                    <a:pt x="327" y="182"/>
                  </a:lnTo>
                  <a:lnTo>
                    <a:pt x="325" y="182"/>
                  </a:lnTo>
                  <a:lnTo>
                    <a:pt x="323" y="181"/>
                  </a:lnTo>
                  <a:lnTo>
                    <a:pt x="321" y="179"/>
                  </a:lnTo>
                  <a:lnTo>
                    <a:pt x="319" y="179"/>
                  </a:lnTo>
                  <a:lnTo>
                    <a:pt x="319" y="181"/>
                  </a:lnTo>
                  <a:lnTo>
                    <a:pt x="321" y="182"/>
                  </a:lnTo>
                  <a:lnTo>
                    <a:pt x="321" y="184"/>
                  </a:lnTo>
                  <a:lnTo>
                    <a:pt x="321" y="186"/>
                  </a:lnTo>
                  <a:lnTo>
                    <a:pt x="319" y="186"/>
                  </a:lnTo>
                  <a:lnTo>
                    <a:pt x="319" y="184"/>
                  </a:lnTo>
                  <a:lnTo>
                    <a:pt x="317" y="184"/>
                  </a:lnTo>
                  <a:lnTo>
                    <a:pt x="315" y="184"/>
                  </a:lnTo>
                  <a:lnTo>
                    <a:pt x="315" y="182"/>
                  </a:lnTo>
                  <a:lnTo>
                    <a:pt x="313" y="182"/>
                  </a:lnTo>
                  <a:lnTo>
                    <a:pt x="313" y="181"/>
                  </a:lnTo>
                  <a:lnTo>
                    <a:pt x="311" y="181"/>
                  </a:lnTo>
                  <a:lnTo>
                    <a:pt x="309" y="182"/>
                  </a:lnTo>
                  <a:lnTo>
                    <a:pt x="311" y="184"/>
                  </a:lnTo>
                  <a:lnTo>
                    <a:pt x="309" y="186"/>
                  </a:lnTo>
                  <a:lnTo>
                    <a:pt x="311" y="188"/>
                  </a:lnTo>
                  <a:lnTo>
                    <a:pt x="309" y="190"/>
                  </a:lnTo>
                  <a:lnTo>
                    <a:pt x="311" y="190"/>
                  </a:lnTo>
                  <a:lnTo>
                    <a:pt x="311" y="192"/>
                  </a:lnTo>
                  <a:lnTo>
                    <a:pt x="309" y="190"/>
                  </a:lnTo>
                  <a:lnTo>
                    <a:pt x="309" y="192"/>
                  </a:lnTo>
                  <a:lnTo>
                    <a:pt x="309" y="196"/>
                  </a:lnTo>
                  <a:lnTo>
                    <a:pt x="309" y="194"/>
                  </a:lnTo>
                  <a:lnTo>
                    <a:pt x="309" y="192"/>
                  </a:lnTo>
                  <a:lnTo>
                    <a:pt x="311" y="194"/>
                  </a:lnTo>
                  <a:lnTo>
                    <a:pt x="313" y="194"/>
                  </a:lnTo>
                  <a:lnTo>
                    <a:pt x="313" y="196"/>
                  </a:lnTo>
                  <a:lnTo>
                    <a:pt x="313" y="198"/>
                  </a:lnTo>
                  <a:lnTo>
                    <a:pt x="313" y="200"/>
                  </a:lnTo>
                  <a:lnTo>
                    <a:pt x="311" y="202"/>
                  </a:lnTo>
                  <a:lnTo>
                    <a:pt x="313" y="202"/>
                  </a:lnTo>
                  <a:lnTo>
                    <a:pt x="313" y="204"/>
                  </a:lnTo>
                  <a:lnTo>
                    <a:pt x="311" y="202"/>
                  </a:lnTo>
                  <a:lnTo>
                    <a:pt x="311" y="204"/>
                  </a:lnTo>
                  <a:lnTo>
                    <a:pt x="309" y="204"/>
                  </a:lnTo>
                  <a:lnTo>
                    <a:pt x="307" y="202"/>
                  </a:lnTo>
                  <a:lnTo>
                    <a:pt x="306" y="204"/>
                  </a:lnTo>
                  <a:lnTo>
                    <a:pt x="306" y="202"/>
                  </a:lnTo>
                  <a:lnTo>
                    <a:pt x="304" y="202"/>
                  </a:lnTo>
                  <a:lnTo>
                    <a:pt x="300" y="202"/>
                  </a:lnTo>
                  <a:lnTo>
                    <a:pt x="300" y="204"/>
                  </a:lnTo>
                  <a:lnTo>
                    <a:pt x="302" y="206"/>
                  </a:lnTo>
                  <a:lnTo>
                    <a:pt x="302" y="204"/>
                  </a:lnTo>
                  <a:lnTo>
                    <a:pt x="304" y="206"/>
                  </a:lnTo>
                  <a:lnTo>
                    <a:pt x="304" y="209"/>
                  </a:lnTo>
                  <a:lnTo>
                    <a:pt x="304" y="207"/>
                  </a:lnTo>
                  <a:lnTo>
                    <a:pt x="302" y="207"/>
                  </a:lnTo>
                  <a:lnTo>
                    <a:pt x="302" y="209"/>
                  </a:lnTo>
                  <a:lnTo>
                    <a:pt x="300" y="209"/>
                  </a:lnTo>
                  <a:lnTo>
                    <a:pt x="298" y="211"/>
                  </a:lnTo>
                  <a:lnTo>
                    <a:pt x="296" y="209"/>
                  </a:lnTo>
                  <a:lnTo>
                    <a:pt x="294" y="211"/>
                  </a:lnTo>
                  <a:lnTo>
                    <a:pt x="292" y="211"/>
                  </a:lnTo>
                  <a:lnTo>
                    <a:pt x="294" y="211"/>
                  </a:lnTo>
                  <a:lnTo>
                    <a:pt x="296" y="213"/>
                  </a:lnTo>
                  <a:lnTo>
                    <a:pt x="294" y="215"/>
                  </a:lnTo>
                  <a:lnTo>
                    <a:pt x="292" y="213"/>
                  </a:lnTo>
                  <a:lnTo>
                    <a:pt x="292" y="215"/>
                  </a:lnTo>
                  <a:lnTo>
                    <a:pt x="294" y="215"/>
                  </a:lnTo>
                  <a:lnTo>
                    <a:pt x="296" y="215"/>
                  </a:lnTo>
                  <a:lnTo>
                    <a:pt x="296" y="217"/>
                  </a:lnTo>
                  <a:lnTo>
                    <a:pt x="296" y="219"/>
                  </a:lnTo>
                  <a:lnTo>
                    <a:pt x="298" y="221"/>
                  </a:lnTo>
                  <a:lnTo>
                    <a:pt x="298" y="223"/>
                  </a:lnTo>
                  <a:lnTo>
                    <a:pt x="294" y="221"/>
                  </a:lnTo>
                  <a:lnTo>
                    <a:pt x="292" y="221"/>
                  </a:lnTo>
                  <a:lnTo>
                    <a:pt x="294" y="223"/>
                  </a:lnTo>
                  <a:lnTo>
                    <a:pt x="294" y="227"/>
                  </a:lnTo>
                  <a:lnTo>
                    <a:pt x="292" y="227"/>
                  </a:lnTo>
                  <a:lnTo>
                    <a:pt x="294" y="229"/>
                  </a:lnTo>
                  <a:lnTo>
                    <a:pt x="294" y="231"/>
                  </a:lnTo>
                  <a:lnTo>
                    <a:pt x="292" y="232"/>
                  </a:lnTo>
                  <a:lnTo>
                    <a:pt x="292" y="234"/>
                  </a:lnTo>
                  <a:lnTo>
                    <a:pt x="292" y="236"/>
                  </a:lnTo>
                  <a:lnTo>
                    <a:pt x="290" y="236"/>
                  </a:lnTo>
                  <a:lnTo>
                    <a:pt x="290" y="238"/>
                  </a:lnTo>
                  <a:lnTo>
                    <a:pt x="288" y="240"/>
                  </a:lnTo>
                  <a:lnTo>
                    <a:pt x="286" y="240"/>
                  </a:lnTo>
                  <a:lnTo>
                    <a:pt x="286" y="242"/>
                  </a:lnTo>
                  <a:lnTo>
                    <a:pt x="286" y="244"/>
                  </a:lnTo>
                  <a:lnTo>
                    <a:pt x="286" y="246"/>
                  </a:lnTo>
                  <a:lnTo>
                    <a:pt x="284" y="246"/>
                  </a:lnTo>
                  <a:lnTo>
                    <a:pt x="284" y="248"/>
                  </a:lnTo>
                  <a:lnTo>
                    <a:pt x="282" y="248"/>
                  </a:lnTo>
                  <a:lnTo>
                    <a:pt x="282" y="246"/>
                  </a:lnTo>
                  <a:lnTo>
                    <a:pt x="281" y="248"/>
                  </a:lnTo>
                  <a:lnTo>
                    <a:pt x="282" y="248"/>
                  </a:lnTo>
                  <a:lnTo>
                    <a:pt x="284" y="250"/>
                  </a:lnTo>
                  <a:lnTo>
                    <a:pt x="284" y="252"/>
                  </a:lnTo>
                  <a:lnTo>
                    <a:pt x="288" y="252"/>
                  </a:lnTo>
                  <a:lnTo>
                    <a:pt x="290" y="252"/>
                  </a:lnTo>
                  <a:lnTo>
                    <a:pt x="288" y="254"/>
                  </a:lnTo>
                  <a:lnTo>
                    <a:pt x="290" y="255"/>
                  </a:lnTo>
                  <a:lnTo>
                    <a:pt x="290" y="257"/>
                  </a:lnTo>
                  <a:lnTo>
                    <a:pt x="288" y="255"/>
                  </a:lnTo>
                  <a:lnTo>
                    <a:pt x="286" y="257"/>
                  </a:lnTo>
                  <a:lnTo>
                    <a:pt x="288" y="257"/>
                  </a:lnTo>
                  <a:lnTo>
                    <a:pt x="288" y="259"/>
                  </a:lnTo>
                  <a:lnTo>
                    <a:pt x="290" y="259"/>
                  </a:lnTo>
                  <a:lnTo>
                    <a:pt x="290" y="261"/>
                  </a:lnTo>
                  <a:lnTo>
                    <a:pt x="292" y="261"/>
                  </a:lnTo>
                  <a:lnTo>
                    <a:pt x="294" y="263"/>
                  </a:lnTo>
                  <a:lnTo>
                    <a:pt x="294" y="261"/>
                  </a:lnTo>
                  <a:lnTo>
                    <a:pt x="296" y="261"/>
                  </a:lnTo>
                  <a:lnTo>
                    <a:pt x="296" y="263"/>
                  </a:lnTo>
                  <a:lnTo>
                    <a:pt x="298" y="263"/>
                  </a:lnTo>
                  <a:lnTo>
                    <a:pt x="298" y="265"/>
                  </a:lnTo>
                  <a:lnTo>
                    <a:pt x="296" y="265"/>
                  </a:lnTo>
                  <a:lnTo>
                    <a:pt x="294" y="265"/>
                  </a:lnTo>
                  <a:lnTo>
                    <a:pt x="294" y="267"/>
                  </a:lnTo>
                  <a:lnTo>
                    <a:pt x="296" y="267"/>
                  </a:lnTo>
                  <a:lnTo>
                    <a:pt x="296" y="269"/>
                  </a:lnTo>
                  <a:lnTo>
                    <a:pt x="298" y="269"/>
                  </a:lnTo>
                  <a:lnTo>
                    <a:pt x="298" y="267"/>
                  </a:lnTo>
                  <a:lnTo>
                    <a:pt x="300" y="269"/>
                  </a:lnTo>
                  <a:lnTo>
                    <a:pt x="300" y="271"/>
                  </a:lnTo>
                  <a:lnTo>
                    <a:pt x="298" y="271"/>
                  </a:lnTo>
                  <a:lnTo>
                    <a:pt x="298" y="273"/>
                  </a:lnTo>
                  <a:lnTo>
                    <a:pt x="296" y="275"/>
                  </a:lnTo>
                  <a:lnTo>
                    <a:pt x="296" y="277"/>
                  </a:lnTo>
                  <a:lnTo>
                    <a:pt x="294" y="277"/>
                  </a:lnTo>
                  <a:lnTo>
                    <a:pt x="294" y="279"/>
                  </a:lnTo>
                  <a:lnTo>
                    <a:pt x="292" y="279"/>
                  </a:lnTo>
                  <a:lnTo>
                    <a:pt x="292" y="280"/>
                  </a:lnTo>
                  <a:lnTo>
                    <a:pt x="290" y="279"/>
                  </a:lnTo>
                  <a:lnTo>
                    <a:pt x="290" y="280"/>
                  </a:lnTo>
                  <a:lnTo>
                    <a:pt x="288" y="282"/>
                  </a:lnTo>
                  <a:lnTo>
                    <a:pt x="288" y="284"/>
                  </a:lnTo>
                  <a:lnTo>
                    <a:pt x="286" y="284"/>
                  </a:lnTo>
                  <a:lnTo>
                    <a:pt x="286" y="286"/>
                  </a:lnTo>
                  <a:lnTo>
                    <a:pt x="286" y="288"/>
                  </a:lnTo>
                  <a:lnTo>
                    <a:pt x="284" y="288"/>
                  </a:lnTo>
                  <a:lnTo>
                    <a:pt x="284" y="290"/>
                  </a:lnTo>
                  <a:lnTo>
                    <a:pt x="284" y="292"/>
                  </a:lnTo>
                  <a:lnTo>
                    <a:pt x="284" y="294"/>
                  </a:lnTo>
                  <a:lnTo>
                    <a:pt x="282" y="296"/>
                  </a:lnTo>
                  <a:lnTo>
                    <a:pt x="284" y="298"/>
                  </a:lnTo>
                  <a:lnTo>
                    <a:pt x="282" y="300"/>
                  </a:lnTo>
                  <a:lnTo>
                    <a:pt x="282" y="302"/>
                  </a:lnTo>
                  <a:lnTo>
                    <a:pt x="281" y="302"/>
                  </a:lnTo>
                  <a:lnTo>
                    <a:pt x="281" y="304"/>
                  </a:lnTo>
                  <a:lnTo>
                    <a:pt x="281" y="305"/>
                  </a:lnTo>
                  <a:lnTo>
                    <a:pt x="279" y="305"/>
                  </a:lnTo>
                  <a:lnTo>
                    <a:pt x="279" y="307"/>
                  </a:lnTo>
                  <a:lnTo>
                    <a:pt x="277" y="307"/>
                  </a:lnTo>
                  <a:lnTo>
                    <a:pt x="279" y="309"/>
                  </a:lnTo>
                  <a:lnTo>
                    <a:pt x="277" y="311"/>
                  </a:lnTo>
                  <a:lnTo>
                    <a:pt x="275" y="311"/>
                  </a:lnTo>
                  <a:lnTo>
                    <a:pt x="275" y="315"/>
                  </a:lnTo>
                  <a:lnTo>
                    <a:pt x="271" y="319"/>
                  </a:lnTo>
                  <a:lnTo>
                    <a:pt x="267" y="321"/>
                  </a:lnTo>
                  <a:lnTo>
                    <a:pt x="263" y="321"/>
                  </a:lnTo>
                  <a:lnTo>
                    <a:pt x="261" y="321"/>
                  </a:lnTo>
                  <a:lnTo>
                    <a:pt x="259" y="321"/>
                  </a:lnTo>
                  <a:lnTo>
                    <a:pt x="259" y="323"/>
                  </a:lnTo>
                  <a:lnTo>
                    <a:pt x="257" y="323"/>
                  </a:lnTo>
                  <a:lnTo>
                    <a:pt x="256" y="329"/>
                  </a:lnTo>
                  <a:lnTo>
                    <a:pt x="254" y="330"/>
                  </a:lnTo>
                  <a:lnTo>
                    <a:pt x="254" y="332"/>
                  </a:lnTo>
                  <a:lnTo>
                    <a:pt x="252" y="336"/>
                  </a:lnTo>
                  <a:lnTo>
                    <a:pt x="250" y="332"/>
                  </a:lnTo>
                  <a:lnTo>
                    <a:pt x="248" y="330"/>
                  </a:lnTo>
                  <a:lnTo>
                    <a:pt x="246" y="329"/>
                  </a:lnTo>
                  <a:lnTo>
                    <a:pt x="244" y="329"/>
                  </a:lnTo>
                  <a:lnTo>
                    <a:pt x="244" y="330"/>
                  </a:lnTo>
                  <a:lnTo>
                    <a:pt x="244" y="332"/>
                  </a:lnTo>
                  <a:lnTo>
                    <a:pt x="246" y="332"/>
                  </a:lnTo>
                  <a:lnTo>
                    <a:pt x="246" y="334"/>
                  </a:lnTo>
                  <a:lnTo>
                    <a:pt x="248" y="336"/>
                  </a:lnTo>
                  <a:lnTo>
                    <a:pt x="246" y="336"/>
                  </a:lnTo>
                  <a:lnTo>
                    <a:pt x="248" y="338"/>
                  </a:lnTo>
                  <a:lnTo>
                    <a:pt x="246" y="336"/>
                  </a:lnTo>
                  <a:lnTo>
                    <a:pt x="244" y="336"/>
                  </a:lnTo>
                  <a:lnTo>
                    <a:pt x="244" y="334"/>
                  </a:lnTo>
                  <a:lnTo>
                    <a:pt x="242" y="332"/>
                  </a:lnTo>
                  <a:lnTo>
                    <a:pt x="242" y="336"/>
                  </a:lnTo>
                  <a:lnTo>
                    <a:pt x="240" y="334"/>
                  </a:lnTo>
                  <a:lnTo>
                    <a:pt x="240" y="336"/>
                  </a:lnTo>
                  <a:lnTo>
                    <a:pt x="240" y="338"/>
                  </a:lnTo>
                  <a:lnTo>
                    <a:pt x="240" y="340"/>
                  </a:lnTo>
                  <a:lnTo>
                    <a:pt x="240" y="342"/>
                  </a:lnTo>
                  <a:lnTo>
                    <a:pt x="238" y="344"/>
                  </a:lnTo>
                  <a:lnTo>
                    <a:pt x="236" y="344"/>
                  </a:lnTo>
                  <a:lnTo>
                    <a:pt x="236" y="346"/>
                  </a:lnTo>
                  <a:lnTo>
                    <a:pt x="236" y="348"/>
                  </a:lnTo>
                  <a:lnTo>
                    <a:pt x="234" y="348"/>
                  </a:lnTo>
                  <a:lnTo>
                    <a:pt x="234" y="346"/>
                  </a:lnTo>
                  <a:lnTo>
                    <a:pt x="232" y="346"/>
                  </a:lnTo>
                  <a:lnTo>
                    <a:pt x="231" y="348"/>
                  </a:lnTo>
                  <a:lnTo>
                    <a:pt x="232" y="350"/>
                  </a:lnTo>
                  <a:lnTo>
                    <a:pt x="234" y="350"/>
                  </a:lnTo>
                  <a:lnTo>
                    <a:pt x="236" y="350"/>
                  </a:lnTo>
                  <a:lnTo>
                    <a:pt x="234" y="350"/>
                  </a:lnTo>
                  <a:lnTo>
                    <a:pt x="234" y="352"/>
                  </a:lnTo>
                  <a:lnTo>
                    <a:pt x="232" y="352"/>
                  </a:lnTo>
                  <a:lnTo>
                    <a:pt x="231" y="352"/>
                  </a:lnTo>
                  <a:lnTo>
                    <a:pt x="229" y="352"/>
                  </a:lnTo>
                  <a:lnTo>
                    <a:pt x="227" y="352"/>
                  </a:lnTo>
                  <a:lnTo>
                    <a:pt x="225" y="353"/>
                  </a:lnTo>
                  <a:lnTo>
                    <a:pt x="225" y="352"/>
                  </a:lnTo>
                  <a:lnTo>
                    <a:pt x="227" y="350"/>
                  </a:lnTo>
                  <a:lnTo>
                    <a:pt x="223" y="350"/>
                  </a:lnTo>
                  <a:lnTo>
                    <a:pt x="225" y="352"/>
                  </a:lnTo>
                  <a:lnTo>
                    <a:pt x="225" y="353"/>
                  </a:lnTo>
                  <a:lnTo>
                    <a:pt x="225" y="355"/>
                  </a:lnTo>
                  <a:lnTo>
                    <a:pt x="223" y="353"/>
                  </a:lnTo>
                  <a:lnTo>
                    <a:pt x="221" y="353"/>
                  </a:lnTo>
                  <a:lnTo>
                    <a:pt x="221" y="357"/>
                  </a:lnTo>
                  <a:lnTo>
                    <a:pt x="219" y="355"/>
                  </a:lnTo>
                  <a:lnTo>
                    <a:pt x="219" y="357"/>
                  </a:lnTo>
                  <a:lnTo>
                    <a:pt x="219" y="361"/>
                  </a:lnTo>
                  <a:lnTo>
                    <a:pt x="217" y="363"/>
                  </a:lnTo>
                  <a:lnTo>
                    <a:pt x="217" y="361"/>
                  </a:lnTo>
                  <a:lnTo>
                    <a:pt x="215" y="361"/>
                  </a:lnTo>
                  <a:lnTo>
                    <a:pt x="217" y="363"/>
                  </a:lnTo>
                  <a:lnTo>
                    <a:pt x="215" y="363"/>
                  </a:lnTo>
                  <a:lnTo>
                    <a:pt x="213" y="361"/>
                  </a:lnTo>
                  <a:lnTo>
                    <a:pt x="213" y="363"/>
                  </a:lnTo>
                  <a:lnTo>
                    <a:pt x="213" y="365"/>
                  </a:lnTo>
                  <a:lnTo>
                    <a:pt x="213" y="367"/>
                  </a:lnTo>
                  <a:lnTo>
                    <a:pt x="217" y="365"/>
                  </a:lnTo>
                  <a:lnTo>
                    <a:pt x="219" y="363"/>
                  </a:lnTo>
                  <a:lnTo>
                    <a:pt x="219" y="365"/>
                  </a:lnTo>
                  <a:lnTo>
                    <a:pt x="221" y="365"/>
                  </a:lnTo>
                  <a:lnTo>
                    <a:pt x="221" y="367"/>
                  </a:lnTo>
                  <a:lnTo>
                    <a:pt x="219" y="369"/>
                  </a:lnTo>
                  <a:lnTo>
                    <a:pt x="219" y="371"/>
                  </a:lnTo>
                  <a:lnTo>
                    <a:pt x="219" y="373"/>
                  </a:lnTo>
                  <a:lnTo>
                    <a:pt x="217" y="375"/>
                  </a:lnTo>
                  <a:lnTo>
                    <a:pt x="215" y="375"/>
                  </a:lnTo>
                  <a:lnTo>
                    <a:pt x="215" y="377"/>
                  </a:lnTo>
                  <a:lnTo>
                    <a:pt x="213" y="377"/>
                  </a:lnTo>
                  <a:lnTo>
                    <a:pt x="213" y="378"/>
                  </a:lnTo>
                  <a:lnTo>
                    <a:pt x="213" y="380"/>
                  </a:lnTo>
                  <a:lnTo>
                    <a:pt x="211" y="382"/>
                  </a:lnTo>
                  <a:lnTo>
                    <a:pt x="211" y="384"/>
                  </a:lnTo>
                  <a:lnTo>
                    <a:pt x="209" y="388"/>
                  </a:lnTo>
                  <a:lnTo>
                    <a:pt x="209" y="390"/>
                  </a:lnTo>
                  <a:lnTo>
                    <a:pt x="208" y="390"/>
                  </a:lnTo>
                  <a:lnTo>
                    <a:pt x="208" y="392"/>
                  </a:lnTo>
                  <a:lnTo>
                    <a:pt x="206" y="394"/>
                  </a:lnTo>
                  <a:lnTo>
                    <a:pt x="204" y="396"/>
                  </a:lnTo>
                  <a:lnTo>
                    <a:pt x="204" y="398"/>
                  </a:lnTo>
                  <a:lnTo>
                    <a:pt x="202" y="398"/>
                  </a:lnTo>
                  <a:lnTo>
                    <a:pt x="200" y="398"/>
                  </a:lnTo>
                  <a:lnTo>
                    <a:pt x="198" y="400"/>
                  </a:lnTo>
                  <a:lnTo>
                    <a:pt x="198" y="402"/>
                  </a:lnTo>
                  <a:lnTo>
                    <a:pt x="196" y="402"/>
                  </a:lnTo>
                  <a:lnTo>
                    <a:pt x="194" y="402"/>
                  </a:lnTo>
                  <a:lnTo>
                    <a:pt x="192" y="400"/>
                  </a:lnTo>
                  <a:lnTo>
                    <a:pt x="192" y="398"/>
                  </a:lnTo>
                  <a:lnTo>
                    <a:pt x="190" y="396"/>
                  </a:lnTo>
                  <a:lnTo>
                    <a:pt x="188" y="396"/>
                  </a:lnTo>
                  <a:lnTo>
                    <a:pt x="190" y="398"/>
                  </a:lnTo>
                  <a:lnTo>
                    <a:pt x="188" y="400"/>
                  </a:lnTo>
                  <a:lnTo>
                    <a:pt x="190" y="400"/>
                  </a:lnTo>
                  <a:lnTo>
                    <a:pt x="192" y="402"/>
                  </a:lnTo>
                  <a:lnTo>
                    <a:pt x="192" y="403"/>
                  </a:lnTo>
                  <a:lnTo>
                    <a:pt x="194" y="405"/>
                  </a:lnTo>
                  <a:lnTo>
                    <a:pt x="194" y="407"/>
                  </a:lnTo>
                  <a:lnTo>
                    <a:pt x="192" y="407"/>
                  </a:lnTo>
                  <a:lnTo>
                    <a:pt x="190" y="407"/>
                  </a:lnTo>
                  <a:lnTo>
                    <a:pt x="188" y="407"/>
                  </a:lnTo>
                  <a:lnTo>
                    <a:pt x="190" y="411"/>
                  </a:lnTo>
                  <a:lnTo>
                    <a:pt x="190" y="409"/>
                  </a:lnTo>
                  <a:lnTo>
                    <a:pt x="192" y="411"/>
                  </a:lnTo>
                  <a:lnTo>
                    <a:pt x="192" y="413"/>
                  </a:lnTo>
                  <a:lnTo>
                    <a:pt x="194" y="413"/>
                  </a:lnTo>
                  <a:lnTo>
                    <a:pt x="196" y="413"/>
                  </a:lnTo>
                  <a:lnTo>
                    <a:pt x="198" y="415"/>
                  </a:lnTo>
                  <a:lnTo>
                    <a:pt x="196" y="417"/>
                  </a:lnTo>
                  <a:lnTo>
                    <a:pt x="194" y="417"/>
                  </a:lnTo>
                  <a:lnTo>
                    <a:pt x="196" y="415"/>
                  </a:lnTo>
                  <a:lnTo>
                    <a:pt x="194" y="415"/>
                  </a:lnTo>
                  <a:lnTo>
                    <a:pt x="194" y="417"/>
                  </a:lnTo>
                  <a:lnTo>
                    <a:pt x="194" y="419"/>
                  </a:lnTo>
                  <a:lnTo>
                    <a:pt x="194" y="421"/>
                  </a:lnTo>
                  <a:lnTo>
                    <a:pt x="54" y="621"/>
                  </a:lnTo>
                  <a:lnTo>
                    <a:pt x="52" y="622"/>
                  </a:lnTo>
                  <a:lnTo>
                    <a:pt x="50" y="626"/>
                  </a:lnTo>
                  <a:lnTo>
                    <a:pt x="50" y="630"/>
                  </a:lnTo>
                  <a:lnTo>
                    <a:pt x="50" y="632"/>
                  </a:lnTo>
                  <a:lnTo>
                    <a:pt x="48" y="634"/>
                  </a:lnTo>
                  <a:lnTo>
                    <a:pt x="46" y="634"/>
                  </a:lnTo>
                  <a:lnTo>
                    <a:pt x="44" y="640"/>
                  </a:lnTo>
                  <a:lnTo>
                    <a:pt x="48" y="646"/>
                  </a:lnTo>
                  <a:lnTo>
                    <a:pt x="50" y="646"/>
                  </a:lnTo>
                  <a:lnTo>
                    <a:pt x="48" y="647"/>
                  </a:lnTo>
                  <a:lnTo>
                    <a:pt x="46" y="651"/>
                  </a:lnTo>
                  <a:lnTo>
                    <a:pt x="44" y="655"/>
                  </a:lnTo>
                  <a:lnTo>
                    <a:pt x="40" y="657"/>
                  </a:lnTo>
                  <a:lnTo>
                    <a:pt x="40" y="659"/>
                  </a:lnTo>
                  <a:lnTo>
                    <a:pt x="38" y="661"/>
                  </a:lnTo>
                  <a:lnTo>
                    <a:pt x="40" y="663"/>
                  </a:lnTo>
                  <a:lnTo>
                    <a:pt x="44" y="661"/>
                  </a:lnTo>
                  <a:lnTo>
                    <a:pt x="46" y="659"/>
                  </a:lnTo>
                  <a:lnTo>
                    <a:pt x="48" y="655"/>
                  </a:lnTo>
                  <a:lnTo>
                    <a:pt x="48" y="659"/>
                  </a:lnTo>
                  <a:lnTo>
                    <a:pt x="46" y="663"/>
                  </a:lnTo>
                  <a:lnTo>
                    <a:pt x="50" y="663"/>
                  </a:lnTo>
                  <a:lnTo>
                    <a:pt x="52" y="659"/>
                  </a:lnTo>
                  <a:lnTo>
                    <a:pt x="50" y="657"/>
                  </a:lnTo>
                  <a:lnTo>
                    <a:pt x="54" y="655"/>
                  </a:lnTo>
                  <a:lnTo>
                    <a:pt x="58" y="653"/>
                  </a:lnTo>
                  <a:lnTo>
                    <a:pt x="60" y="651"/>
                  </a:lnTo>
                  <a:lnTo>
                    <a:pt x="60" y="649"/>
                  </a:lnTo>
                  <a:lnTo>
                    <a:pt x="61" y="647"/>
                  </a:lnTo>
                  <a:lnTo>
                    <a:pt x="65" y="647"/>
                  </a:lnTo>
                  <a:lnTo>
                    <a:pt x="67" y="647"/>
                  </a:lnTo>
                  <a:lnTo>
                    <a:pt x="65" y="651"/>
                  </a:lnTo>
                  <a:lnTo>
                    <a:pt x="69" y="655"/>
                  </a:lnTo>
                  <a:lnTo>
                    <a:pt x="73" y="649"/>
                  </a:lnTo>
                  <a:lnTo>
                    <a:pt x="73" y="646"/>
                  </a:lnTo>
                  <a:lnTo>
                    <a:pt x="77" y="646"/>
                  </a:lnTo>
                  <a:lnTo>
                    <a:pt x="77" y="644"/>
                  </a:lnTo>
                  <a:lnTo>
                    <a:pt x="79" y="644"/>
                  </a:lnTo>
                  <a:lnTo>
                    <a:pt x="83" y="642"/>
                  </a:lnTo>
                  <a:lnTo>
                    <a:pt x="83" y="638"/>
                  </a:lnTo>
                  <a:lnTo>
                    <a:pt x="85" y="638"/>
                  </a:lnTo>
                  <a:lnTo>
                    <a:pt x="83" y="642"/>
                  </a:lnTo>
                  <a:lnTo>
                    <a:pt x="85" y="642"/>
                  </a:lnTo>
                  <a:lnTo>
                    <a:pt x="88" y="638"/>
                  </a:lnTo>
                  <a:lnTo>
                    <a:pt x="90" y="636"/>
                  </a:lnTo>
                  <a:lnTo>
                    <a:pt x="88" y="634"/>
                  </a:lnTo>
                  <a:lnTo>
                    <a:pt x="90" y="634"/>
                  </a:lnTo>
                  <a:lnTo>
                    <a:pt x="92" y="634"/>
                  </a:lnTo>
                  <a:lnTo>
                    <a:pt x="92" y="632"/>
                  </a:lnTo>
                  <a:lnTo>
                    <a:pt x="94" y="628"/>
                  </a:lnTo>
                  <a:lnTo>
                    <a:pt x="94" y="624"/>
                  </a:lnTo>
                  <a:lnTo>
                    <a:pt x="92" y="622"/>
                  </a:lnTo>
                  <a:lnTo>
                    <a:pt x="94" y="621"/>
                  </a:lnTo>
                  <a:lnTo>
                    <a:pt x="96" y="619"/>
                  </a:lnTo>
                  <a:lnTo>
                    <a:pt x="96" y="615"/>
                  </a:lnTo>
                  <a:lnTo>
                    <a:pt x="96" y="613"/>
                  </a:lnTo>
                  <a:lnTo>
                    <a:pt x="94" y="617"/>
                  </a:lnTo>
                  <a:lnTo>
                    <a:pt x="92" y="619"/>
                  </a:lnTo>
                  <a:lnTo>
                    <a:pt x="92" y="615"/>
                  </a:lnTo>
                  <a:lnTo>
                    <a:pt x="92" y="613"/>
                  </a:lnTo>
                  <a:lnTo>
                    <a:pt x="94" y="609"/>
                  </a:lnTo>
                  <a:lnTo>
                    <a:pt x="96" y="607"/>
                  </a:lnTo>
                  <a:lnTo>
                    <a:pt x="94" y="603"/>
                  </a:lnTo>
                  <a:lnTo>
                    <a:pt x="96" y="599"/>
                  </a:lnTo>
                  <a:lnTo>
                    <a:pt x="94" y="603"/>
                  </a:lnTo>
                  <a:lnTo>
                    <a:pt x="92" y="603"/>
                  </a:lnTo>
                  <a:lnTo>
                    <a:pt x="92" y="599"/>
                  </a:lnTo>
                  <a:lnTo>
                    <a:pt x="90" y="603"/>
                  </a:lnTo>
                  <a:lnTo>
                    <a:pt x="88" y="601"/>
                  </a:lnTo>
                  <a:lnTo>
                    <a:pt x="88" y="599"/>
                  </a:lnTo>
                  <a:lnTo>
                    <a:pt x="86" y="599"/>
                  </a:lnTo>
                  <a:lnTo>
                    <a:pt x="86" y="601"/>
                  </a:lnTo>
                  <a:lnTo>
                    <a:pt x="85" y="601"/>
                  </a:lnTo>
                  <a:lnTo>
                    <a:pt x="85" y="599"/>
                  </a:lnTo>
                  <a:lnTo>
                    <a:pt x="86" y="599"/>
                  </a:lnTo>
                  <a:lnTo>
                    <a:pt x="86" y="598"/>
                  </a:lnTo>
                  <a:lnTo>
                    <a:pt x="85" y="598"/>
                  </a:lnTo>
                  <a:lnTo>
                    <a:pt x="83" y="598"/>
                  </a:lnTo>
                  <a:lnTo>
                    <a:pt x="79" y="598"/>
                  </a:lnTo>
                  <a:lnTo>
                    <a:pt x="79" y="599"/>
                  </a:lnTo>
                  <a:lnTo>
                    <a:pt x="81" y="601"/>
                  </a:lnTo>
                  <a:lnTo>
                    <a:pt x="79" y="603"/>
                  </a:lnTo>
                  <a:lnTo>
                    <a:pt x="77" y="607"/>
                  </a:lnTo>
                  <a:lnTo>
                    <a:pt x="77" y="605"/>
                  </a:lnTo>
                  <a:lnTo>
                    <a:pt x="77" y="603"/>
                  </a:lnTo>
                  <a:lnTo>
                    <a:pt x="75" y="601"/>
                  </a:lnTo>
                  <a:lnTo>
                    <a:pt x="75" y="599"/>
                  </a:lnTo>
                  <a:lnTo>
                    <a:pt x="73" y="598"/>
                  </a:lnTo>
                  <a:lnTo>
                    <a:pt x="73" y="599"/>
                  </a:lnTo>
                  <a:lnTo>
                    <a:pt x="69" y="601"/>
                  </a:lnTo>
                  <a:lnTo>
                    <a:pt x="71" y="603"/>
                  </a:lnTo>
                  <a:lnTo>
                    <a:pt x="69" y="605"/>
                  </a:lnTo>
                  <a:lnTo>
                    <a:pt x="69" y="603"/>
                  </a:lnTo>
                  <a:lnTo>
                    <a:pt x="67" y="605"/>
                  </a:lnTo>
                  <a:lnTo>
                    <a:pt x="67" y="603"/>
                  </a:lnTo>
                  <a:lnTo>
                    <a:pt x="67" y="601"/>
                  </a:lnTo>
                  <a:lnTo>
                    <a:pt x="63" y="601"/>
                  </a:lnTo>
                  <a:lnTo>
                    <a:pt x="65" y="603"/>
                  </a:lnTo>
                  <a:lnTo>
                    <a:pt x="65" y="605"/>
                  </a:lnTo>
                  <a:lnTo>
                    <a:pt x="65" y="607"/>
                  </a:lnTo>
                  <a:lnTo>
                    <a:pt x="63" y="605"/>
                  </a:lnTo>
                  <a:lnTo>
                    <a:pt x="63" y="607"/>
                  </a:lnTo>
                  <a:lnTo>
                    <a:pt x="65" y="607"/>
                  </a:lnTo>
                  <a:lnTo>
                    <a:pt x="65" y="609"/>
                  </a:lnTo>
                  <a:lnTo>
                    <a:pt x="65" y="611"/>
                  </a:lnTo>
                  <a:lnTo>
                    <a:pt x="65" y="613"/>
                  </a:lnTo>
                  <a:lnTo>
                    <a:pt x="67" y="617"/>
                  </a:lnTo>
                  <a:lnTo>
                    <a:pt x="69" y="621"/>
                  </a:lnTo>
                  <a:lnTo>
                    <a:pt x="69" y="624"/>
                  </a:lnTo>
                  <a:lnTo>
                    <a:pt x="69" y="626"/>
                  </a:lnTo>
                  <a:lnTo>
                    <a:pt x="69" y="628"/>
                  </a:lnTo>
                  <a:lnTo>
                    <a:pt x="69" y="630"/>
                  </a:lnTo>
                  <a:lnTo>
                    <a:pt x="67" y="630"/>
                  </a:lnTo>
                  <a:lnTo>
                    <a:pt x="67" y="628"/>
                  </a:lnTo>
                  <a:lnTo>
                    <a:pt x="65" y="630"/>
                  </a:lnTo>
                  <a:lnTo>
                    <a:pt x="63" y="626"/>
                  </a:lnTo>
                  <a:lnTo>
                    <a:pt x="63" y="624"/>
                  </a:lnTo>
                  <a:lnTo>
                    <a:pt x="65" y="622"/>
                  </a:lnTo>
                  <a:lnTo>
                    <a:pt x="63" y="622"/>
                  </a:lnTo>
                  <a:lnTo>
                    <a:pt x="61" y="621"/>
                  </a:lnTo>
                  <a:lnTo>
                    <a:pt x="58" y="621"/>
                  </a:lnTo>
                  <a:lnTo>
                    <a:pt x="58" y="617"/>
                  </a:lnTo>
                  <a:lnTo>
                    <a:pt x="56" y="617"/>
                  </a:lnTo>
                  <a:lnTo>
                    <a:pt x="54" y="619"/>
                  </a:lnTo>
                  <a:lnTo>
                    <a:pt x="56" y="621"/>
                  </a:lnTo>
                  <a:lnTo>
                    <a:pt x="54" y="621"/>
                  </a:lnTo>
                  <a:lnTo>
                    <a:pt x="194" y="421"/>
                  </a:lnTo>
                  <a:lnTo>
                    <a:pt x="98" y="694"/>
                  </a:lnTo>
                  <a:lnTo>
                    <a:pt x="100" y="696"/>
                  </a:lnTo>
                  <a:lnTo>
                    <a:pt x="100" y="697"/>
                  </a:lnTo>
                  <a:lnTo>
                    <a:pt x="102" y="697"/>
                  </a:lnTo>
                  <a:lnTo>
                    <a:pt x="104" y="692"/>
                  </a:lnTo>
                  <a:lnTo>
                    <a:pt x="106" y="686"/>
                  </a:lnTo>
                  <a:lnTo>
                    <a:pt x="108" y="682"/>
                  </a:lnTo>
                  <a:lnTo>
                    <a:pt x="111" y="678"/>
                  </a:lnTo>
                  <a:lnTo>
                    <a:pt x="111" y="676"/>
                  </a:lnTo>
                  <a:lnTo>
                    <a:pt x="113" y="671"/>
                  </a:lnTo>
                  <a:lnTo>
                    <a:pt x="115" y="667"/>
                  </a:lnTo>
                  <a:lnTo>
                    <a:pt x="115" y="661"/>
                  </a:lnTo>
                  <a:lnTo>
                    <a:pt x="119" y="657"/>
                  </a:lnTo>
                  <a:lnTo>
                    <a:pt x="121" y="653"/>
                  </a:lnTo>
                  <a:lnTo>
                    <a:pt x="123" y="655"/>
                  </a:lnTo>
                  <a:lnTo>
                    <a:pt x="125" y="653"/>
                  </a:lnTo>
                  <a:lnTo>
                    <a:pt x="127" y="651"/>
                  </a:lnTo>
                  <a:lnTo>
                    <a:pt x="125" y="647"/>
                  </a:lnTo>
                  <a:lnTo>
                    <a:pt x="121" y="647"/>
                  </a:lnTo>
                  <a:lnTo>
                    <a:pt x="123" y="644"/>
                  </a:lnTo>
                  <a:lnTo>
                    <a:pt x="123" y="640"/>
                  </a:lnTo>
                  <a:lnTo>
                    <a:pt x="125" y="636"/>
                  </a:lnTo>
                  <a:lnTo>
                    <a:pt x="125" y="634"/>
                  </a:lnTo>
                  <a:lnTo>
                    <a:pt x="123" y="632"/>
                  </a:lnTo>
                  <a:lnTo>
                    <a:pt x="119" y="636"/>
                  </a:lnTo>
                  <a:lnTo>
                    <a:pt x="117" y="640"/>
                  </a:lnTo>
                  <a:lnTo>
                    <a:pt x="113" y="644"/>
                  </a:lnTo>
                  <a:lnTo>
                    <a:pt x="111" y="646"/>
                  </a:lnTo>
                  <a:lnTo>
                    <a:pt x="111" y="647"/>
                  </a:lnTo>
                  <a:lnTo>
                    <a:pt x="111" y="649"/>
                  </a:lnTo>
                  <a:lnTo>
                    <a:pt x="111" y="651"/>
                  </a:lnTo>
                  <a:lnTo>
                    <a:pt x="110" y="653"/>
                  </a:lnTo>
                  <a:lnTo>
                    <a:pt x="110" y="655"/>
                  </a:lnTo>
                  <a:lnTo>
                    <a:pt x="108" y="657"/>
                  </a:lnTo>
                  <a:lnTo>
                    <a:pt x="106" y="663"/>
                  </a:lnTo>
                  <a:lnTo>
                    <a:pt x="104" y="667"/>
                  </a:lnTo>
                  <a:lnTo>
                    <a:pt x="102" y="672"/>
                  </a:lnTo>
                  <a:lnTo>
                    <a:pt x="102" y="676"/>
                  </a:lnTo>
                  <a:lnTo>
                    <a:pt x="100" y="682"/>
                  </a:lnTo>
                  <a:lnTo>
                    <a:pt x="100" y="686"/>
                  </a:lnTo>
                  <a:lnTo>
                    <a:pt x="98" y="690"/>
                  </a:lnTo>
                  <a:lnTo>
                    <a:pt x="98" y="694"/>
                  </a:lnTo>
                  <a:lnTo>
                    <a:pt x="194" y="421"/>
                  </a:lnTo>
                  <a:lnTo>
                    <a:pt x="144" y="599"/>
                  </a:lnTo>
                  <a:lnTo>
                    <a:pt x="140" y="601"/>
                  </a:lnTo>
                  <a:lnTo>
                    <a:pt x="136" y="601"/>
                  </a:lnTo>
                  <a:lnTo>
                    <a:pt x="133" y="601"/>
                  </a:lnTo>
                  <a:lnTo>
                    <a:pt x="133" y="603"/>
                  </a:lnTo>
                  <a:lnTo>
                    <a:pt x="136" y="603"/>
                  </a:lnTo>
                  <a:lnTo>
                    <a:pt x="142" y="603"/>
                  </a:lnTo>
                  <a:lnTo>
                    <a:pt x="142" y="601"/>
                  </a:lnTo>
                  <a:lnTo>
                    <a:pt x="144" y="603"/>
                  </a:lnTo>
                  <a:lnTo>
                    <a:pt x="142" y="605"/>
                  </a:lnTo>
                  <a:lnTo>
                    <a:pt x="144" y="605"/>
                  </a:lnTo>
                  <a:lnTo>
                    <a:pt x="146" y="605"/>
                  </a:lnTo>
                  <a:lnTo>
                    <a:pt x="144" y="609"/>
                  </a:lnTo>
                  <a:lnTo>
                    <a:pt x="152" y="611"/>
                  </a:lnTo>
                  <a:lnTo>
                    <a:pt x="156" y="609"/>
                  </a:lnTo>
                  <a:lnTo>
                    <a:pt x="154" y="607"/>
                  </a:lnTo>
                  <a:lnTo>
                    <a:pt x="158" y="605"/>
                  </a:lnTo>
                  <a:lnTo>
                    <a:pt x="161" y="603"/>
                  </a:lnTo>
                  <a:lnTo>
                    <a:pt x="165" y="603"/>
                  </a:lnTo>
                  <a:lnTo>
                    <a:pt x="169" y="601"/>
                  </a:lnTo>
                  <a:lnTo>
                    <a:pt x="171" y="599"/>
                  </a:lnTo>
                  <a:lnTo>
                    <a:pt x="169" y="598"/>
                  </a:lnTo>
                  <a:lnTo>
                    <a:pt x="159" y="603"/>
                  </a:lnTo>
                  <a:lnTo>
                    <a:pt x="156" y="601"/>
                  </a:lnTo>
                  <a:lnTo>
                    <a:pt x="154" y="601"/>
                  </a:lnTo>
                  <a:lnTo>
                    <a:pt x="152" y="601"/>
                  </a:lnTo>
                  <a:lnTo>
                    <a:pt x="154" y="599"/>
                  </a:lnTo>
                  <a:lnTo>
                    <a:pt x="152" y="599"/>
                  </a:lnTo>
                  <a:lnTo>
                    <a:pt x="152" y="601"/>
                  </a:lnTo>
                  <a:lnTo>
                    <a:pt x="150" y="601"/>
                  </a:lnTo>
                  <a:lnTo>
                    <a:pt x="150" y="599"/>
                  </a:lnTo>
                  <a:lnTo>
                    <a:pt x="146" y="601"/>
                  </a:lnTo>
                  <a:lnTo>
                    <a:pt x="144" y="599"/>
                  </a:lnTo>
                  <a:lnTo>
                    <a:pt x="194" y="421"/>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455" name="Freeform 243"/>
            <p:cNvSpPr>
              <a:spLocks/>
            </p:cNvSpPr>
            <p:nvPr/>
          </p:nvSpPr>
          <p:spPr bwMode="auto">
            <a:xfrm>
              <a:off x="2506" y="1364"/>
              <a:ext cx="359" cy="857"/>
            </a:xfrm>
            <a:custGeom>
              <a:avLst/>
              <a:gdLst>
                <a:gd name="T0" fmla="*/ 194 w 359"/>
                <a:gd name="T1" fmla="*/ 453 h 857"/>
                <a:gd name="T2" fmla="*/ 184 w 359"/>
                <a:gd name="T3" fmla="*/ 467 h 857"/>
                <a:gd name="T4" fmla="*/ 188 w 359"/>
                <a:gd name="T5" fmla="*/ 494 h 857"/>
                <a:gd name="T6" fmla="*/ 196 w 359"/>
                <a:gd name="T7" fmla="*/ 513 h 857"/>
                <a:gd name="T8" fmla="*/ 213 w 359"/>
                <a:gd name="T9" fmla="*/ 515 h 857"/>
                <a:gd name="T10" fmla="*/ 231 w 359"/>
                <a:gd name="T11" fmla="*/ 530 h 857"/>
                <a:gd name="T12" fmla="*/ 242 w 359"/>
                <a:gd name="T13" fmla="*/ 544 h 857"/>
                <a:gd name="T14" fmla="*/ 252 w 359"/>
                <a:gd name="T15" fmla="*/ 567 h 857"/>
                <a:gd name="T16" fmla="*/ 232 w 359"/>
                <a:gd name="T17" fmla="*/ 590 h 857"/>
                <a:gd name="T18" fmla="*/ 242 w 359"/>
                <a:gd name="T19" fmla="*/ 598 h 857"/>
                <a:gd name="T20" fmla="*/ 229 w 359"/>
                <a:gd name="T21" fmla="*/ 611 h 857"/>
                <a:gd name="T22" fmla="*/ 217 w 359"/>
                <a:gd name="T23" fmla="*/ 622 h 857"/>
                <a:gd name="T24" fmla="*/ 209 w 359"/>
                <a:gd name="T25" fmla="*/ 619 h 857"/>
                <a:gd name="T26" fmla="*/ 192 w 359"/>
                <a:gd name="T27" fmla="*/ 642 h 857"/>
                <a:gd name="T28" fmla="*/ 188 w 359"/>
                <a:gd name="T29" fmla="*/ 665 h 857"/>
                <a:gd name="T30" fmla="*/ 186 w 359"/>
                <a:gd name="T31" fmla="*/ 684 h 857"/>
                <a:gd name="T32" fmla="*/ 184 w 359"/>
                <a:gd name="T33" fmla="*/ 711 h 857"/>
                <a:gd name="T34" fmla="*/ 179 w 359"/>
                <a:gd name="T35" fmla="*/ 759 h 857"/>
                <a:gd name="T36" fmla="*/ 159 w 359"/>
                <a:gd name="T37" fmla="*/ 801 h 857"/>
                <a:gd name="T38" fmla="*/ 133 w 359"/>
                <a:gd name="T39" fmla="*/ 803 h 857"/>
                <a:gd name="T40" fmla="*/ 113 w 359"/>
                <a:gd name="T41" fmla="*/ 811 h 857"/>
                <a:gd name="T42" fmla="*/ 100 w 359"/>
                <a:gd name="T43" fmla="*/ 853 h 857"/>
                <a:gd name="T44" fmla="*/ 60 w 359"/>
                <a:gd name="T45" fmla="*/ 851 h 857"/>
                <a:gd name="T46" fmla="*/ 58 w 359"/>
                <a:gd name="T47" fmla="*/ 824 h 857"/>
                <a:gd name="T48" fmla="*/ 56 w 359"/>
                <a:gd name="T49" fmla="*/ 794 h 857"/>
                <a:gd name="T50" fmla="*/ 52 w 359"/>
                <a:gd name="T51" fmla="*/ 769 h 857"/>
                <a:gd name="T52" fmla="*/ 31 w 359"/>
                <a:gd name="T53" fmla="*/ 734 h 857"/>
                <a:gd name="T54" fmla="*/ 27 w 359"/>
                <a:gd name="T55" fmla="*/ 715 h 857"/>
                <a:gd name="T56" fmla="*/ 19 w 359"/>
                <a:gd name="T57" fmla="*/ 694 h 857"/>
                <a:gd name="T58" fmla="*/ 13 w 359"/>
                <a:gd name="T59" fmla="*/ 671 h 857"/>
                <a:gd name="T60" fmla="*/ 4 w 359"/>
                <a:gd name="T61" fmla="*/ 651 h 857"/>
                <a:gd name="T62" fmla="*/ 19 w 359"/>
                <a:gd name="T63" fmla="*/ 621 h 857"/>
                <a:gd name="T64" fmla="*/ 42 w 359"/>
                <a:gd name="T65" fmla="*/ 559 h 857"/>
                <a:gd name="T66" fmla="*/ 40 w 359"/>
                <a:gd name="T67" fmla="*/ 494 h 857"/>
                <a:gd name="T68" fmla="*/ 35 w 359"/>
                <a:gd name="T69" fmla="*/ 407 h 857"/>
                <a:gd name="T70" fmla="*/ 56 w 359"/>
                <a:gd name="T71" fmla="*/ 307 h 857"/>
                <a:gd name="T72" fmla="*/ 134 w 359"/>
                <a:gd name="T73" fmla="*/ 133 h 857"/>
                <a:gd name="T74" fmla="*/ 184 w 359"/>
                <a:gd name="T75" fmla="*/ 36 h 857"/>
                <a:gd name="T76" fmla="*/ 256 w 359"/>
                <a:gd name="T77" fmla="*/ 10 h 857"/>
                <a:gd name="T78" fmla="*/ 294 w 359"/>
                <a:gd name="T79" fmla="*/ 29 h 857"/>
                <a:gd name="T80" fmla="*/ 327 w 359"/>
                <a:gd name="T81" fmla="*/ 67 h 857"/>
                <a:gd name="T82" fmla="*/ 336 w 359"/>
                <a:gd name="T83" fmla="*/ 92 h 857"/>
                <a:gd name="T84" fmla="*/ 346 w 359"/>
                <a:gd name="T85" fmla="*/ 133 h 857"/>
                <a:gd name="T86" fmla="*/ 355 w 359"/>
                <a:gd name="T87" fmla="*/ 179 h 857"/>
                <a:gd name="T88" fmla="*/ 336 w 359"/>
                <a:gd name="T89" fmla="*/ 181 h 857"/>
                <a:gd name="T90" fmla="*/ 319 w 359"/>
                <a:gd name="T91" fmla="*/ 184 h 857"/>
                <a:gd name="T92" fmla="*/ 309 w 359"/>
                <a:gd name="T93" fmla="*/ 194 h 857"/>
                <a:gd name="T94" fmla="*/ 300 w 359"/>
                <a:gd name="T95" fmla="*/ 202 h 857"/>
                <a:gd name="T96" fmla="*/ 292 w 359"/>
                <a:gd name="T97" fmla="*/ 213 h 857"/>
                <a:gd name="T98" fmla="*/ 292 w 359"/>
                <a:gd name="T99" fmla="*/ 236 h 857"/>
                <a:gd name="T100" fmla="*/ 290 w 359"/>
                <a:gd name="T101" fmla="*/ 252 h 857"/>
                <a:gd name="T102" fmla="*/ 296 w 359"/>
                <a:gd name="T103" fmla="*/ 265 h 857"/>
                <a:gd name="T104" fmla="*/ 290 w 359"/>
                <a:gd name="T105" fmla="*/ 279 h 857"/>
                <a:gd name="T106" fmla="*/ 281 w 359"/>
                <a:gd name="T107" fmla="*/ 305 h 857"/>
                <a:gd name="T108" fmla="*/ 254 w 359"/>
                <a:gd name="T109" fmla="*/ 332 h 857"/>
                <a:gd name="T110" fmla="*/ 242 w 359"/>
                <a:gd name="T111" fmla="*/ 336 h 857"/>
                <a:gd name="T112" fmla="*/ 234 w 359"/>
                <a:gd name="T113" fmla="*/ 350 h 857"/>
                <a:gd name="T114" fmla="*/ 219 w 359"/>
                <a:gd name="T115" fmla="*/ 357 h 857"/>
                <a:gd name="T116" fmla="*/ 219 w 359"/>
                <a:gd name="T117" fmla="*/ 371 h 857"/>
                <a:gd name="T118" fmla="*/ 202 w 359"/>
                <a:gd name="T119" fmla="*/ 398 h 857"/>
                <a:gd name="T120" fmla="*/ 192 w 359"/>
                <a:gd name="T121" fmla="*/ 40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9" h="857">
                  <a:moveTo>
                    <a:pt x="194" y="421"/>
                  </a:moveTo>
                  <a:lnTo>
                    <a:pt x="192" y="428"/>
                  </a:lnTo>
                  <a:lnTo>
                    <a:pt x="192" y="430"/>
                  </a:lnTo>
                  <a:lnTo>
                    <a:pt x="192" y="432"/>
                  </a:lnTo>
                  <a:lnTo>
                    <a:pt x="190" y="432"/>
                  </a:lnTo>
                  <a:lnTo>
                    <a:pt x="190" y="436"/>
                  </a:lnTo>
                  <a:lnTo>
                    <a:pt x="190" y="438"/>
                  </a:lnTo>
                  <a:lnTo>
                    <a:pt x="190" y="440"/>
                  </a:lnTo>
                  <a:lnTo>
                    <a:pt x="190" y="442"/>
                  </a:lnTo>
                  <a:lnTo>
                    <a:pt x="192" y="442"/>
                  </a:lnTo>
                  <a:lnTo>
                    <a:pt x="192" y="444"/>
                  </a:lnTo>
                  <a:lnTo>
                    <a:pt x="192" y="448"/>
                  </a:lnTo>
                  <a:lnTo>
                    <a:pt x="194" y="448"/>
                  </a:lnTo>
                  <a:lnTo>
                    <a:pt x="196" y="448"/>
                  </a:lnTo>
                  <a:lnTo>
                    <a:pt x="196" y="450"/>
                  </a:lnTo>
                  <a:lnTo>
                    <a:pt x="196" y="451"/>
                  </a:lnTo>
                  <a:lnTo>
                    <a:pt x="194" y="453"/>
                  </a:lnTo>
                  <a:lnTo>
                    <a:pt x="192" y="451"/>
                  </a:lnTo>
                  <a:lnTo>
                    <a:pt x="192" y="450"/>
                  </a:lnTo>
                  <a:lnTo>
                    <a:pt x="190" y="450"/>
                  </a:lnTo>
                  <a:lnTo>
                    <a:pt x="188" y="451"/>
                  </a:lnTo>
                  <a:lnTo>
                    <a:pt x="188" y="453"/>
                  </a:lnTo>
                  <a:lnTo>
                    <a:pt x="188" y="455"/>
                  </a:lnTo>
                  <a:lnTo>
                    <a:pt x="186" y="455"/>
                  </a:lnTo>
                  <a:lnTo>
                    <a:pt x="186" y="457"/>
                  </a:lnTo>
                  <a:lnTo>
                    <a:pt x="188" y="459"/>
                  </a:lnTo>
                  <a:lnTo>
                    <a:pt x="186" y="459"/>
                  </a:lnTo>
                  <a:lnTo>
                    <a:pt x="186" y="461"/>
                  </a:lnTo>
                  <a:lnTo>
                    <a:pt x="186" y="463"/>
                  </a:lnTo>
                  <a:lnTo>
                    <a:pt x="186" y="465"/>
                  </a:lnTo>
                  <a:lnTo>
                    <a:pt x="188" y="465"/>
                  </a:lnTo>
                  <a:lnTo>
                    <a:pt x="188" y="467"/>
                  </a:lnTo>
                  <a:lnTo>
                    <a:pt x="186" y="467"/>
                  </a:lnTo>
                  <a:lnTo>
                    <a:pt x="184" y="467"/>
                  </a:lnTo>
                  <a:lnTo>
                    <a:pt x="184" y="469"/>
                  </a:lnTo>
                  <a:lnTo>
                    <a:pt x="186" y="469"/>
                  </a:lnTo>
                  <a:lnTo>
                    <a:pt x="186" y="471"/>
                  </a:lnTo>
                  <a:lnTo>
                    <a:pt x="186" y="473"/>
                  </a:lnTo>
                  <a:lnTo>
                    <a:pt x="188" y="473"/>
                  </a:lnTo>
                  <a:lnTo>
                    <a:pt x="190" y="475"/>
                  </a:lnTo>
                  <a:lnTo>
                    <a:pt x="188" y="476"/>
                  </a:lnTo>
                  <a:lnTo>
                    <a:pt x="188" y="478"/>
                  </a:lnTo>
                  <a:lnTo>
                    <a:pt x="188" y="480"/>
                  </a:lnTo>
                  <a:lnTo>
                    <a:pt x="188" y="482"/>
                  </a:lnTo>
                  <a:lnTo>
                    <a:pt x="188" y="484"/>
                  </a:lnTo>
                  <a:lnTo>
                    <a:pt x="188" y="486"/>
                  </a:lnTo>
                  <a:lnTo>
                    <a:pt x="188" y="490"/>
                  </a:lnTo>
                  <a:lnTo>
                    <a:pt x="188" y="492"/>
                  </a:lnTo>
                  <a:lnTo>
                    <a:pt x="190" y="492"/>
                  </a:lnTo>
                  <a:lnTo>
                    <a:pt x="190" y="494"/>
                  </a:lnTo>
                  <a:lnTo>
                    <a:pt x="188" y="494"/>
                  </a:lnTo>
                  <a:lnTo>
                    <a:pt x="188" y="496"/>
                  </a:lnTo>
                  <a:lnTo>
                    <a:pt x="190" y="498"/>
                  </a:lnTo>
                  <a:lnTo>
                    <a:pt x="190" y="500"/>
                  </a:lnTo>
                  <a:lnTo>
                    <a:pt x="192" y="500"/>
                  </a:lnTo>
                  <a:lnTo>
                    <a:pt x="192" y="501"/>
                  </a:lnTo>
                  <a:lnTo>
                    <a:pt x="194" y="501"/>
                  </a:lnTo>
                  <a:lnTo>
                    <a:pt x="192" y="503"/>
                  </a:lnTo>
                  <a:lnTo>
                    <a:pt x="192" y="505"/>
                  </a:lnTo>
                  <a:lnTo>
                    <a:pt x="194" y="503"/>
                  </a:lnTo>
                  <a:lnTo>
                    <a:pt x="194" y="505"/>
                  </a:lnTo>
                  <a:lnTo>
                    <a:pt x="194" y="507"/>
                  </a:lnTo>
                  <a:lnTo>
                    <a:pt x="196" y="507"/>
                  </a:lnTo>
                  <a:lnTo>
                    <a:pt x="194" y="509"/>
                  </a:lnTo>
                  <a:lnTo>
                    <a:pt x="192" y="511"/>
                  </a:lnTo>
                  <a:lnTo>
                    <a:pt x="190" y="513"/>
                  </a:lnTo>
                  <a:lnTo>
                    <a:pt x="194" y="513"/>
                  </a:lnTo>
                  <a:lnTo>
                    <a:pt x="196" y="513"/>
                  </a:lnTo>
                  <a:lnTo>
                    <a:pt x="196" y="515"/>
                  </a:lnTo>
                  <a:lnTo>
                    <a:pt x="200" y="513"/>
                  </a:lnTo>
                  <a:lnTo>
                    <a:pt x="202" y="513"/>
                  </a:lnTo>
                  <a:lnTo>
                    <a:pt x="204" y="513"/>
                  </a:lnTo>
                  <a:lnTo>
                    <a:pt x="204" y="515"/>
                  </a:lnTo>
                  <a:lnTo>
                    <a:pt x="204" y="517"/>
                  </a:lnTo>
                  <a:lnTo>
                    <a:pt x="204" y="519"/>
                  </a:lnTo>
                  <a:lnTo>
                    <a:pt x="204" y="521"/>
                  </a:lnTo>
                  <a:lnTo>
                    <a:pt x="206" y="523"/>
                  </a:lnTo>
                  <a:lnTo>
                    <a:pt x="208" y="523"/>
                  </a:lnTo>
                  <a:lnTo>
                    <a:pt x="208" y="521"/>
                  </a:lnTo>
                  <a:lnTo>
                    <a:pt x="208" y="519"/>
                  </a:lnTo>
                  <a:lnTo>
                    <a:pt x="209" y="519"/>
                  </a:lnTo>
                  <a:lnTo>
                    <a:pt x="209" y="517"/>
                  </a:lnTo>
                  <a:lnTo>
                    <a:pt x="211" y="517"/>
                  </a:lnTo>
                  <a:lnTo>
                    <a:pt x="213" y="517"/>
                  </a:lnTo>
                  <a:lnTo>
                    <a:pt x="213" y="515"/>
                  </a:lnTo>
                  <a:lnTo>
                    <a:pt x="215" y="515"/>
                  </a:lnTo>
                  <a:lnTo>
                    <a:pt x="217" y="517"/>
                  </a:lnTo>
                  <a:lnTo>
                    <a:pt x="217" y="519"/>
                  </a:lnTo>
                  <a:lnTo>
                    <a:pt x="217" y="521"/>
                  </a:lnTo>
                  <a:lnTo>
                    <a:pt x="215" y="521"/>
                  </a:lnTo>
                  <a:lnTo>
                    <a:pt x="217" y="523"/>
                  </a:lnTo>
                  <a:lnTo>
                    <a:pt x="217" y="521"/>
                  </a:lnTo>
                  <a:lnTo>
                    <a:pt x="219" y="523"/>
                  </a:lnTo>
                  <a:lnTo>
                    <a:pt x="219" y="524"/>
                  </a:lnTo>
                  <a:lnTo>
                    <a:pt x="221" y="526"/>
                  </a:lnTo>
                  <a:lnTo>
                    <a:pt x="223" y="526"/>
                  </a:lnTo>
                  <a:lnTo>
                    <a:pt x="225" y="528"/>
                  </a:lnTo>
                  <a:lnTo>
                    <a:pt x="225" y="530"/>
                  </a:lnTo>
                  <a:lnTo>
                    <a:pt x="225" y="532"/>
                  </a:lnTo>
                  <a:lnTo>
                    <a:pt x="227" y="530"/>
                  </a:lnTo>
                  <a:lnTo>
                    <a:pt x="229" y="530"/>
                  </a:lnTo>
                  <a:lnTo>
                    <a:pt x="231" y="530"/>
                  </a:lnTo>
                  <a:lnTo>
                    <a:pt x="232" y="532"/>
                  </a:lnTo>
                  <a:lnTo>
                    <a:pt x="232" y="534"/>
                  </a:lnTo>
                  <a:lnTo>
                    <a:pt x="234" y="534"/>
                  </a:lnTo>
                  <a:lnTo>
                    <a:pt x="236" y="534"/>
                  </a:lnTo>
                  <a:lnTo>
                    <a:pt x="236" y="536"/>
                  </a:lnTo>
                  <a:lnTo>
                    <a:pt x="236" y="538"/>
                  </a:lnTo>
                  <a:lnTo>
                    <a:pt x="234" y="538"/>
                  </a:lnTo>
                  <a:lnTo>
                    <a:pt x="232" y="538"/>
                  </a:lnTo>
                  <a:lnTo>
                    <a:pt x="231" y="536"/>
                  </a:lnTo>
                  <a:lnTo>
                    <a:pt x="231" y="538"/>
                  </a:lnTo>
                  <a:lnTo>
                    <a:pt x="232" y="540"/>
                  </a:lnTo>
                  <a:lnTo>
                    <a:pt x="234" y="542"/>
                  </a:lnTo>
                  <a:lnTo>
                    <a:pt x="236" y="542"/>
                  </a:lnTo>
                  <a:lnTo>
                    <a:pt x="238" y="542"/>
                  </a:lnTo>
                  <a:lnTo>
                    <a:pt x="238" y="544"/>
                  </a:lnTo>
                  <a:lnTo>
                    <a:pt x="240" y="544"/>
                  </a:lnTo>
                  <a:lnTo>
                    <a:pt x="242" y="544"/>
                  </a:lnTo>
                  <a:lnTo>
                    <a:pt x="244" y="544"/>
                  </a:lnTo>
                  <a:lnTo>
                    <a:pt x="244" y="546"/>
                  </a:lnTo>
                  <a:lnTo>
                    <a:pt x="244" y="548"/>
                  </a:lnTo>
                  <a:lnTo>
                    <a:pt x="246" y="549"/>
                  </a:lnTo>
                  <a:lnTo>
                    <a:pt x="246" y="553"/>
                  </a:lnTo>
                  <a:lnTo>
                    <a:pt x="248" y="553"/>
                  </a:lnTo>
                  <a:lnTo>
                    <a:pt x="248" y="555"/>
                  </a:lnTo>
                  <a:lnTo>
                    <a:pt x="250" y="555"/>
                  </a:lnTo>
                  <a:lnTo>
                    <a:pt x="252" y="557"/>
                  </a:lnTo>
                  <a:lnTo>
                    <a:pt x="254" y="557"/>
                  </a:lnTo>
                  <a:lnTo>
                    <a:pt x="254" y="559"/>
                  </a:lnTo>
                  <a:lnTo>
                    <a:pt x="254" y="561"/>
                  </a:lnTo>
                  <a:lnTo>
                    <a:pt x="252" y="563"/>
                  </a:lnTo>
                  <a:lnTo>
                    <a:pt x="252" y="565"/>
                  </a:lnTo>
                  <a:lnTo>
                    <a:pt x="254" y="565"/>
                  </a:lnTo>
                  <a:lnTo>
                    <a:pt x="254" y="567"/>
                  </a:lnTo>
                  <a:lnTo>
                    <a:pt x="252" y="567"/>
                  </a:lnTo>
                  <a:lnTo>
                    <a:pt x="250" y="569"/>
                  </a:lnTo>
                  <a:lnTo>
                    <a:pt x="246" y="571"/>
                  </a:lnTo>
                  <a:lnTo>
                    <a:pt x="244" y="571"/>
                  </a:lnTo>
                  <a:lnTo>
                    <a:pt x="242" y="573"/>
                  </a:lnTo>
                  <a:lnTo>
                    <a:pt x="244" y="574"/>
                  </a:lnTo>
                  <a:lnTo>
                    <a:pt x="242" y="576"/>
                  </a:lnTo>
                  <a:lnTo>
                    <a:pt x="240" y="578"/>
                  </a:lnTo>
                  <a:lnTo>
                    <a:pt x="238" y="580"/>
                  </a:lnTo>
                  <a:lnTo>
                    <a:pt x="236" y="582"/>
                  </a:lnTo>
                  <a:lnTo>
                    <a:pt x="234" y="584"/>
                  </a:lnTo>
                  <a:lnTo>
                    <a:pt x="232" y="586"/>
                  </a:lnTo>
                  <a:lnTo>
                    <a:pt x="231" y="586"/>
                  </a:lnTo>
                  <a:lnTo>
                    <a:pt x="231" y="584"/>
                  </a:lnTo>
                  <a:lnTo>
                    <a:pt x="231" y="586"/>
                  </a:lnTo>
                  <a:lnTo>
                    <a:pt x="231" y="588"/>
                  </a:lnTo>
                  <a:lnTo>
                    <a:pt x="231" y="590"/>
                  </a:lnTo>
                  <a:lnTo>
                    <a:pt x="232" y="590"/>
                  </a:lnTo>
                  <a:lnTo>
                    <a:pt x="234" y="590"/>
                  </a:lnTo>
                  <a:lnTo>
                    <a:pt x="234" y="588"/>
                  </a:lnTo>
                  <a:lnTo>
                    <a:pt x="236" y="588"/>
                  </a:lnTo>
                  <a:lnTo>
                    <a:pt x="238" y="588"/>
                  </a:lnTo>
                  <a:lnTo>
                    <a:pt x="238" y="590"/>
                  </a:lnTo>
                  <a:lnTo>
                    <a:pt x="240" y="590"/>
                  </a:lnTo>
                  <a:lnTo>
                    <a:pt x="242" y="590"/>
                  </a:lnTo>
                  <a:lnTo>
                    <a:pt x="244" y="590"/>
                  </a:lnTo>
                  <a:lnTo>
                    <a:pt x="244" y="592"/>
                  </a:lnTo>
                  <a:lnTo>
                    <a:pt x="244" y="594"/>
                  </a:lnTo>
                  <a:lnTo>
                    <a:pt x="242" y="596"/>
                  </a:lnTo>
                  <a:lnTo>
                    <a:pt x="244" y="596"/>
                  </a:lnTo>
                  <a:lnTo>
                    <a:pt x="246" y="594"/>
                  </a:lnTo>
                  <a:lnTo>
                    <a:pt x="248" y="596"/>
                  </a:lnTo>
                  <a:lnTo>
                    <a:pt x="246" y="596"/>
                  </a:lnTo>
                  <a:lnTo>
                    <a:pt x="244" y="598"/>
                  </a:lnTo>
                  <a:lnTo>
                    <a:pt x="242" y="598"/>
                  </a:lnTo>
                  <a:lnTo>
                    <a:pt x="240" y="599"/>
                  </a:lnTo>
                  <a:lnTo>
                    <a:pt x="238" y="599"/>
                  </a:lnTo>
                  <a:lnTo>
                    <a:pt x="236" y="599"/>
                  </a:lnTo>
                  <a:lnTo>
                    <a:pt x="234" y="598"/>
                  </a:lnTo>
                  <a:lnTo>
                    <a:pt x="232" y="598"/>
                  </a:lnTo>
                  <a:lnTo>
                    <a:pt x="232" y="599"/>
                  </a:lnTo>
                  <a:lnTo>
                    <a:pt x="234" y="599"/>
                  </a:lnTo>
                  <a:lnTo>
                    <a:pt x="236" y="601"/>
                  </a:lnTo>
                  <a:lnTo>
                    <a:pt x="236" y="603"/>
                  </a:lnTo>
                  <a:lnTo>
                    <a:pt x="234" y="605"/>
                  </a:lnTo>
                  <a:lnTo>
                    <a:pt x="232" y="607"/>
                  </a:lnTo>
                  <a:lnTo>
                    <a:pt x="231" y="607"/>
                  </a:lnTo>
                  <a:lnTo>
                    <a:pt x="232" y="607"/>
                  </a:lnTo>
                  <a:lnTo>
                    <a:pt x="234" y="607"/>
                  </a:lnTo>
                  <a:lnTo>
                    <a:pt x="232" y="609"/>
                  </a:lnTo>
                  <a:lnTo>
                    <a:pt x="231" y="609"/>
                  </a:lnTo>
                  <a:lnTo>
                    <a:pt x="229" y="611"/>
                  </a:lnTo>
                  <a:lnTo>
                    <a:pt x="229" y="609"/>
                  </a:lnTo>
                  <a:lnTo>
                    <a:pt x="229" y="607"/>
                  </a:lnTo>
                  <a:lnTo>
                    <a:pt x="229" y="609"/>
                  </a:lnTo>
                  <a:lnTo>
                    <a:pt x="227" y="611"/>
                  </a:lnTo>
                  <a:lnTo>
                    <a:pt x="225" y="613"/>
                  </a:lnTo>
                  <a:lnTo>
                    <a:pt x="223" y="613"/>
                  </a:lnTo>
                  <a:lnTo>
                    <a:pt x="223" y="615"/>
                  </a:lnTo>
                  <a:lnTo>
                    <a:pt x="221" y="617"/>
                  </a:lnTo>
                  <a:lnTo>
                    <a:pt x="223" y="619"/>
                  </a:lnTo>
                  <a:lnTo>
                    <a:pt x="221" y="622"/>
                  </a:lnTo>
                  <a:lnTo>
                    <a:pt x="221" y="624"/>
                  </a:lnTo>
                  <a:lnTo>
                    <a:pt x="221" y="626"/>
                  </a:lnTo>
                  <a:lnTo>
                    <a:pt x="221" y="628"/>
                  </a:lnTo>
                  <a:lnTo>
                    <a:pt x="219" y="628"/>
                  </a:lnTo>
                  <a:lnTo>
                    <a:pt x="217" y="626"/>
                  </a:lnTo>
                  <a:lnTo>
                    <a:pt x="217" y="624"/>
                  </a:lnTo>
                  <a:lnTo>
                    <a:pt x="217" y="622"/>
                  </a:lnTo>
                  <a:lnTo>
                    <a:pt x="215" y="621"/>
                  </a:lnTo>
                  <a:lnTo>
                    <a:pt x="213" y="619"/>
                  </a:lnTo>
                  <a:lnTo>
                    <a:pt x="213" y="617"/>
                  </a:lnTo>
                  <a:lnTo>
                    <a:pt x="213" y="613"/>
                  </a:lnTo>
                  <a:lnTo>
                    <a:pt x="213" y="611"/>
                  </a:lnTo>
                  <a:lnTo>
                    <a:pt x="215" y="609"/>
                  </a:lnTo>
                  <a:lnTo>
                    <a:pt x="213" y="609"/>
                  </a:lnTo>
                  <a:lnTo>
                    <a:pt x="213" y="611"/>
                  </a:lnTo>
                  <a:lnTo>
                    <a:pt x="211" y="613"/>
                  </a:lnTo>
                  <a:lnTo>
                    <a:pt x="211" y="611"/>
                  </a:lnTo>
                  <a:lnTo>
                    <a:pt x="211" y="609"/>
                  </a:lnTo>
                  <a:lnTo>
                    <a:pt x="211" y="607"/>
                  </a:lnTo>
                  <a:lnTo>
                    <a:pt x="211" y="609"/>
                  </a:lnTo>
                  <a:lnTo>
                    <a:pt x="209" y="611"/>
                  </a:lnTo>
                  <a:lnTo>
                    <a:pt x="209" y="613"/>
                  </a:lnTo>
                  <a:lnTo>
                    <a:pt x="209" y="615"/>
                  </a:lnTo>
                  <a:lnTo>
                    <a:pt x="209" y="619"/>
                  </a:lnTo>
                  <a:lnTo>
                    <a:pt x="209" y="621"/>
                  </a:lnTo>
                  <a:lnTo>
                    <a:pt x="209" y="622"/>
                  </a:lnTo>
                  <a:lnTo>
                    <a:pt x="209" y="624"/>
                  </a:lnTo>
                  <a:lnTo>
                    <a:pt x="209" y="626"/>
                  </a:lnTo>
                  <a:lnTo>
                    <a:pt x="206" y="628"/>
                  </a:lnTo>
                  <a:lnTo>
                    <a:pt x="206" y="630"/>
                  </a:lnTo>
                  <a:lnTo>
                    <a:pt x="204" y="630"/>
                  </a:lnTo>
                  <a:lnTo>
                    <a:pt x="204" y="632"/>
                  </a:lnTo>
                  <a:lnTo>
                    <a:pt x="204" y="634"/>
                  </a:lnTo>
                  <a:lnTo>
                    <a:pt x="202" y="632"/>
                  </a:lnTo>
                  <a:lnTo>
                    <a:pt x="202" y="634"/>
                  </a:lnTo>
                  <a:lnTo>
                    <a:pt x="200" y="636"/>
                  </a:lnTo>
                  <a:lnTo>
                    <a:pt x="196" y="638"/>
                  </a:lnTo>
                  <a:lnTo>
                    <a:pt x="194" y="636"/>
                  </a:lnTo>
                  <a:lnTo>
                    <a:pt x="194" y="638"/>
                  </a:lnTo>
                  <a:lnTo>
                    <a:pt x="192" y="640"/>
                  </a:lnTo>
                  <a:lnTo>
                    <a:pt x="192" y="642"/>
                  </a:lnTo>
                  <a:lnTo>
                    <a:pt x="190" y="642"/>
                  </a:lnTo>
                  <a:lnTo>
                    <a:pt x="188" y="644"/>
                  </a:lnTo>
                  <a:lnTo>
                    <a:pt x="186" y="644"/>
                  </a:lnTo>
                  <a:lnTo>
                    <a:pt x="184" y="644"/>
                  </a:lnTo>
                  <a:lnTo>
                    <a:pt x="183" y="644"/>
                  </a:lnTo>
                  <a:lnTo>
                    <a:pt x="184" y="644"/>
                  </a:lnTo>
                  <a:lnTo>
                    <a:pt x="184" y="646"/>
                  </a:lnTo>
                  <a:lnTo>
                    <a:pt x="186" y="647"/>
                  </a:lnTo>
                  <a:lnTo>
                    <a:pt x="188" y="649"/>
                  </a:lnTo>
                  <a:lnTo>
                    <a:pt x="188" y="651"/>
                  </a:lnTo>
                  <a:lnTo>
                    <a:pt x="184" y="653"/>
                  </a:lnTo>
                  <a:lnTo>
                    <a:pt x="173" y="651"/>
                  </a:lnTo>
                  <a:lnTo>
                    <a:pt x="179" y="655"/>
                  </a:lnTo>
                  <a:lnTo>
                    <a:pt x="186" y="659"/>
                  </a:lnTo>
                  <a:lnTo>
                    <a:pt x="181" y="661"/>
                  </a:lnTo>
                  <a:lnTo>
                    <a:pt x="188" y="661"/>
                  </a:lnTo>
                  <a:lnTo>
                    <a:pt x="188" y="665"/>
                  </a:lnTo>
                  <a:lnTo>
                    <a:pt x="186" y="663"/>
                  </a:lnTo>
                  <a:lnTo>
                    <a:pt x="183" y="665"/>
                  </a:lnTo>
                  <a:lnTo>
                    <a:pt x="188" y="667"/>
                  </a:lnTo>
                  <a:lnTo>
                    <a:pt x="186" y="669"/>
                  </a:lnTo>
                  <a:lnTo>
                    <a:pt x="188" y="669"/>
                  </a:lnTo>
                  <a:lnTo>
                    <a:pt x="186" y="671"/>
                  </a:lnTo>
                  <a:lnTo>
                    <a:pt x="188" y="672"/>
                  </a:lnTo>
                  <a:lnTo>
                    <a:pt x="186" y="672"/>
                  </a:lnTo>
                  <a:lnTo>
                    <a:pt x="181" y="671"/>
                  </a:lnTo>
                  <a:lnTo>
                    <a:pt x="184" y="676"/>
                  </a:lnTo>
                  <a:lnTo>
                    <a:pt x="188" y="678"/>
                  </a:lnTo>
                  <a:lnTo>
                    <a:pt x="184" y="678"/>
                  </a:lnTo>
                  <a:lnTo>
                    <a:pt x="186" y="680"/>
                  </a:lnTo>
                  <a:lnTo>
                    <a:pt x="184" y="680"/>
                  </a:lnTo>
                  <a:lnTo>
                    <a:pt x="181" y="678"/>
                  </a:lnTo>
                  <a:lnTo>
                    <a:pt x="181" y="682"/>
                  </a:lnTo>
                  <a:lnTo>
                    <a:pt x="186" y="684"/>
                  </a:lnTo>
                  <a:lnTo>
                    <a:pt x="186" y="690"/>
                  </a:lnTo>
                  <a:lnTo>
                    <a:pt x="177" y="682"/>
                  </a:lnTo>
                  <a:lnTo>
                    <a:pt x="181" y="690"/>
                  </a:lnTo>
                  <a:lnTo>
                    <a:pt x="179" y="688"/>
                  </a:lnTo>
                  <a:lnTo>
                    <a:pt x="184" y="696"/>
                  </a:lnTo>
                  <a:lnTo>
                    <a:pt x="177" y="690"/>
                  </a:lnTo>
                  <a:lnTo>
                    <a:pt x="177" y="692"/>
                  </a:lnTo>
                  <a:lnTo>
                    <a:pt x="184" y="697"/>
                  </a:lnTo>
                  <a:lnTo>
                    <a:pt x="186" y="699"/>
                  </a:lnTo>
                  <a:lnTo>
                    <a:pt x="184" y="703"/>
                  </a:lnTo>
                  <a:lnTo>
                    <a:pt x="183" y="705"/>
                  </a:lnTo>
                  <a:lnTo>
                    <a:pt x="184" y="707"/>
                  </a:lnTo>
                  <a:lnTo>
                    <a:pt x="183" y="709"/>
                  </a:lnTo>
                  <a:lnTo>
                    <a:pt x="181" y="707"/>
                  </a:lnTo>
                  <a:lnTo>
                    <a:pt x="181" y="709"/>
                  </a:lnTo>
                  <a:lnTo>
                    <a:pt x="181" y="711"/>
                  </a:lnTo>
                  <a:lnTo>
                    <a:pt x="184" y="711"/>
                  </a:lnTo>
                  <a:lnTo>
                    <a:pt x="186" y="715"/>
                  </a:lnTo>
                  <a:lnTo>
                    <a:pt x="186" y="719"/>
                  </a:lnTo>
                  <a:lnTo>
                    <a:pt x="183" y="722"/>
                  </a:lnTo>
                  <a:lnTo>
                    <a:pt x="183" y="726"/>
                  </a:lnTo>
                  <a:lnTo>
                    <a:pt x="179" y="728"/>
                  </a:lnTo>
                  <a:lnTo>
                    <a:pt x="179" y="730"/>
                  </a:lnTo>
                  <a:lnTo>
                    <a:pt x="181" y="732"/>
                  </a:lnTo>
                  <a:lnTo>
                    <a:pt x="179" y="734"/>
                  </a:lnTo>
                  <a:lnTo>
                    <a:pt x="179" y="736"/>
                  </a:lnTo>
                  <a:lnTo>
                    <a:pt x="183" y="740"/>
                  </a:lnTo>
                  <a:lnTo>
                    <a:pt x="183" y="742"/>
                  </a:lnTo>
                  <a:lnTo>
                    <a:pt x="183" y="744"/>
                  </a:lnTo>
                  <a:lnTo>
                    <a:pt x="181" y="745"/>
                  </a:lnTo>
                  <a:lnTo>
                    <a:pt x="179" y="747"/>
                  </a:lnTo>
                  <a:lnTo>
                    <a:pt x="181" y="749"/>
                  </a:lnTo>
                  <a:lnTo>
                    <a:pt x="179" y="751"/>
                  </a:lnTo>
                  <a:lnTo>
                    <a:pt x="179" y="759"/>
                  </a:lnTo>
                  <a:lnTo>
                    <a:pt x="181" y="759"/>
                  </a:lnTo>
                  <a:lnTo>
                    <a:pt x="181" y="761"/>
                  </a:lnTo>
                  <a:lnTo>
                    <a:pt x="179" y="761"/>
                  </a:lnTo>
                  <a:lnTo>
                    <a:pt x="177" y="765"/>
                  </a:lnTo>
                  <a:lnTo>
                    <a:pt x="179" y="769"/>
                  </a:lnTo>
                  <a:lnTo>
                    <a:pt x="175" y="769"/>
                  </a:lnTo>
                  <a:lnTo>
                    <a:pt x="173" y="770"/>
                  </a:lnTo>
                  <a:lnTo>
                    <a:pt x="173" y="776"/>
                  </a:lnTo>
                  <a:lnTo>
                    <a:pt x="171" y="780"/>
                  </a:lnTo>
                  <a:lnTo>
                    <a:pt x="169" y="784"/>
                  </a:lnTo>
                  <a:lnTo>
                    <a:pt x="169" y="788"/>
                  </a:lnTo>
                  <a:lnTo>
                    <a:pt x="167" y="794"/>
                  </a:lnTo>
                  <a:lnTo>
                    <a:pt x="167" y="795"/>
                  </a:lnTo>
                  <a:lnTo>
                    <a:pt x="167" y="797"/>
                  </a:lnTo>
                  <a:lnTo>
                    <a:pt x="161" y="805"/>
                  </a:lnTo>
                  <a:lnTo>
                    <a:pt x="159" y="805"/>
                  </a:lnTo>
                  <a:lnTo>
                    <a:pt x="159" y="801"/>
                  </a:lnTo>
                  <a:lnTo>
                    <a:pt x="158" y="801"/>
                  </a:lnTo>
                  <a:lnTo>
                    <a:pt x="156" y="799"/>
                  </a:lnTo>
                  <a:lnTo>
                    <a:pt x="152" y="799"/>
                  </a:lnTo>
                  <a:lnTo>
                    <a:pt x="152" y="797"/>
                  </a:lnTo>
                  <a:lnTo>
                    <a:pt x="150" y="799"/>
                  </a:lnTo>
                  <a:lnTo>
                    <a:pt x="148" y="799"/>
                  </a:lnTo>
                  <a:lnTo>
                    <a:pt x="148" y="801"/>
                  </a:lnTo>
                  <a:lnTo>
                    <a:pt x="148" y="799"/>
                  </a:lnTo>
                  <a:lnTo>
                    <a:pt x="146" y="801"/>
                  </a:lnTo>
                  <a:lnTo>
                    <a:pt x="144" y="803"/>
                  </a:lnTo>
                  <a:lnTo>
                    <a:pt x="142" y="803"/>
                  </a:lnTo>
                  <a:lnTo>
                    <a:pt x="142" y="801"/>
                  </a:lnTo>
                  <a:lnTo>
                    <a:pt x="138" y="801"/>
                  </a:lnTo>
                  <a:lnTo>
                    <a:pt x="134" y="803"/>
                  </a:lnTo>
                  <a:lnTo>
                    <a:pt x="134" y="799"/>
                  </a:lnTo>
                  <a:lnTo>
                    <a:pt x="133" y="799"/>
                  </a:lnTo>
                  <a:lnTo>
                    <a:pt x="133" y="803"/>
                  </a:lnTo>
                  <a:lnTo>
                    <a:pt x="129" y="801"/>
                  </a:lnTo>
                  <a:lnTo>
                    <a:pt x="127" y="803"/>
                  </a:lnTo>
                  <a:lnTo>
                    <a:pt x="127" y="801"/>
                  </a:lnTo>
                  <a:lnTo>
                    <a:pt x="123" y="803"/>
                  </a:lnTo>
                  <a:lnTo>
                    <a:pt x="121" y="801"/>
                  </a:lnTo>
                  <a:lnTo>
                    <a:pt x="121" y="803"/>
                  </a:lnTo>
                  <a:lnTo>
                    <a:pt x="123" y="805"/>
                  </a:lnTo>
                  <a:lnTo>
                    <a:pt x="123" y="809"/>
                  </a:lnTo>
                  <a:lnTo>
                    <a:pt x="125" y="809"/>
                  </a:lnTo>
                  <a:lnTo>
                    <a:pt x="123" y="813"/>
                  </a:lnTo>
                  <a:lnTo>
                    <a:pt x="121" y="813"/>
                  </a:lnTo>
                  <a:lnTo>
                    <a:pt x="119" y="813"/>
                  </a:lnTo>
                  <a:lnTo>
                    <a:pt x="119" y="811"/>
                  </a:lnTo>
                  <a:lnTo>
                    <a:pt x="117" y="809"/>
                  </a:lnTo>
                  <a:lnTo>
                    <a:pt x="117" y="811"/>
                  </a:lnTo>
                  <a:lnTo>
                    <a:pt x="117" y="809"/>
                  </a:lnTo>
                  <a:lnTo>
                    <a:pt x="113" y="811"/>
                  </a:lnTo>
                  <a:lnTo>
                    <a:pt x="113" y="813"/>
                  </a:lnTo>
                  <a:lnTo>
                    <a:pt x="111" y="815"/>
                  </a:lnTo>
                  <a:lnTo>
                    <a:pt x="110" y="815"/>
                  </a:lnTo>
                  <a:lnTo>
                    <a:pt x="110" y="818"/>
                  </a:lnTo>
                  <a:lnTo>
                    <a:pt x="106" y="822"/>
                  </a:lnTo>
                  <a:lnTo>
                    <a:pt x="106" y="826"/>
                  </a:lnTo>
                  <a:lnTo>
                    <a:pt x="106" y="832"/>
                  </a:lnTo>
                  <a:lnTo>
                    <a:pt x="108" y="834"/>
                  </a:lnTo>
                  <a:lnTo>
                    <a:pt x="108" y="838"/>
                  </a:lnTo>
                  <a:lnTo>
                    <a:pt x="111" y="842"/>
                  </a:lnTo>
                  <a:lnTo>
                    <a:pt x="111" y="843"/>
                  </a:lnTo>
                  <a:lnTo>
                    <a:pt x="110" y="847"/>
                  </a:lnTo>
                  <a:lnTo>
                    <a:pt x="108" y="849"/>
                  </a:lnTo>
                  <a:lnTo>
                    <a:pt x="106" y="851"/>
                  </a:lnTo>
                  <a:lnTo>
                    <a:pt x="106" y="853"/>
                  </a:lnTo>
                  <a:lnTo>
                    <a:pt x="102" y="853"/>
                  </a:lnTo>
                  <a:lnTo>
                    <a:pt x="100" y="853"/>
                  </a:lnTo>
                  <a:lnTo>
                    <a:pt x="96" y="849"/>
                  </a:lnTo>
                  <a:lnTo>
                    <a:pt x="92" y="851"/>
                  </a:lnTo>
                  <a:lnTo>
                    <a:pt x="88" y="851"/>
                  </a:lnTo>
                  <a:lnTo>
                    <a:pt x="86" y="851"/>
                  </a:lnTo>
                  <a:lnTo>
                    <a:pt x="85" y="853"/>
                  </a:lnTo>
                  <a:lnTo>
                    <a:pt x="83" y="853"/>
                  </a:lnTo>
                  <a:lnTo>
                    <a:pt x="81" y="853"/>
                  </a:lnTo>
                  <a:lnTo>
                    <a:pt x="75" y="857"/>
                  </a:lnTo>
                  <a:lnTo>
                    <a:pt x="69" y="855"/>
                  </a:lnTo>
                  <a:lnTo>
                    <a:pt x="67" y="853"/>
                  </a:lnTo>
                  <a:lnTo>
                    <a:pt x="65" y="855"/>
                  </a:lnTo>
                  <a:lnTo>
                    <a:pt x="61" y="853"/>
                  </a:lnTo>
                  <a:lnTo>
                    <a:pt x="60" y="853"/>
                  </a:lnTo>
                  <a:lnTo>
                    <a:pt x="58" y="855"/>
                  </a:lnTo>
                  <a:lnTo>
                    <a:pt x="56" y="853"/>
                  </a:lnTo>
                  <a:lnTo>
                    <a:pt x="58" y="851"/>
                  </a:lnTo>
                  <a:lnTo>
                    <a:pt x="60" y="851"/>
                  </a:lnTo>
                  <a:lnTo>
                    <a:pt x="61" y="851"/>
                  </a:lnTo>
                  <a:lnTo>
                    <a:pt x="61" y="849"/>
                  </a:lnTo>
                  <a:lnTo>
                    <a:pt x="61" y="845"/>
                  </a:lnTo>
                  <a:lnTo>
                    <a:pt x="60" y="845"/>
                  </a:lnTo>
                  <a:lnTo>
                    <a:pt x="60" y="843"/>
                  </a:lnTo>
                  <a:lnTo>
                    <a:pt x="60" y="842"/>
                  </a:lnTo>
                  <a:lnTo>
                    <a:pt x="61" y="840"/>
                  </a:lnTo>
                  <a:lnTo>
                    <a:pt x="65" y="836"/>
                  </a:lnTo>
                  <a:lnTo>
                    <a:pt x="65" y="834"/>
                  </a:lnTo>
                  <a:lnTo>
                    <a:pt x="63" y="832"/>
                  </a:lnTo>
                  <a:lnTo>
                    <a:pt x="61" y="832"/>
                  </a:lnTo>
                  <a:lnTo>
                    <a:pt x="61" y="830"/>
                  </a:lnTo>
                  <a:lnTo>
                    <a:pt x="60" y="830"/>
                  </a:lnTo>
                  <a:lnTo>
                    <a:pt x="61" y="826"/>
                  </a:lnTo>
                  <a:lnTo>
                    <a:pt x="60" y="824"/>
                  </a:lnTo>
                  <a:lnTo>
                    <a:pt x="58" y="822"/>
                  </a:lnTo>
                  <a:lnTo>
                    <a:pt x="58" y="824"/>
                  </a:lnTo>
                  <a:lnTo>
                    <a:pt x="56" y="820"/>
                  </a:lnTo>
                  <a:lnTo>
                    <a:pt x="56" y="818"/>
                  </a:lnTo>
                  <a:lnTo>
                    <a:pt x="54" y="815"/>
                  </a:lnTo>
                  <a:lnTo>
                    <a:pt x="52" y="809"/>
                  </a:lnTo>
                  <a:lnTo>
                    <a:pt x="50" y="807"/>
                  </a:lnTo>
                  <a:lnTo>
                    <a:pt x="48" y="803"/>
                  </a:lnTo>
                  <a:lnTo>
                    <a:pt x="46" y="797"/>
                  </a:lnTo>
                  <a:lnTo>
                    <a:pt x="46" y="795"/>
                  </a:lnTo>
                  <a:lnTo>
                    <a:pt x="44" y="795"/>
                  </a:lnTo>
                  <a:lnTo>
                    <a:pt x="48" y="795"/>
                  </a:lnTo>
                  <a:lnTo>
                    <a:pt x="52" y="797"/>
                  </a:lnTo>
                  <a:lnTo>
                    <a:pt x="52" y="799"/>
                  </a:lnTo>
                  <a:lnTo>
                    <a:pt x="54" y="799"/>
                  </a:lnTo>
                  <a:lnTo>
                    <a:pt x="56" y="799"/>
                  </a:lnTo>
                  <a:lnTo>
                    <a:pt x="56" y="797"/>
                  </a:lnTo>
                  <a:lnTo>
                    <a:pt x="58" y="795"/>
                  </a:lnTo>
                  <a:lnTo>
                    <a:pt x="56" y="794"/>
                  </a:lnTo>
                  <a:lnTo>
                    <a:pt x="54" y="790"/>
                  </a:lnTo>
                  <a:lnTo>
                    <a:pt x="52" y="790"/>
                  </a:lnTo>
                  <a:lnTo>
                    <a:pt x="50" y="788"/>
                  </a:lnTo>
                  <a:lnTo>
                    <a:pt x="50" y="786"/>
                  </a:lnTo>
                  <a:lnTo>
                    <a:pt x="50" y="784"/>
                  </a:lnTo>
                  <a:lnTo>
                    <a:pt x="54" y="784"/>
                  </a:lnTo>
                  <a:lnTo>
                    <a:pt x="58" y="786"/>
                  </a:lnTo>
                  <a:lnTo>
                    <a:pt x="60" y="784"/>
                  </a:lnTo>
                  <a:lnTo>
                    <a:pt x="60" y="782"/>
                  </a:lnTo>
                  <a:lnTo>
                    <a:pt x="60" y="776"/>
                  </a:lnTo>
                  <a:lnTo>
                    <a:pt x="58" y="772"/>
                  </a:lnTo>
                  <a:lnTo>
                    <a:pt x="58" y="770"/>
                  </a:lnTo>
                  <a:lnTo>
                    <a:pt x="56" y="772"/>
                  </a:lnTo>
                  <a:lnTo>
                    <a:pt x="54" y="772"/>
                  </a:lnTo>
                  <a:lnTo>
                    <a:pt x="54" y="770"/>
                  </a:lnTo>
                  <a:lnTo>
                    <a:pt x="52" y="770"/>
                  </a:lnTo>
                  <a:lnTo>
                    <a:pt x="52" y="769"/>
                  </a:lnTo>
                  <a:lnTo>
                    <a:pt x="50" y="767"/>
                  </a:lnTo>
                  <a:lnTo>
                    <a:pt x="50" y="765"/>
                  </a:lnTo>
                  <a:lnTo>
                    <a:pt x="48" y="763"/>
                  </a:lnTo>
                  <a:lnTo>
                    <a:pt x="50" y="761"/>
                  </a:lnTo>
                  <a:lnTo>
                    <a:pt x="48" y="759"/>
                  </a:lnTo>
                  <a:lnTo>
                    <a:pt x="46" y="759"/>
                  </a:lnTo>
                  <a:lnTo>
                    <a:pt x="44" y="757"/>
                  </a:lnTo>
                  <a:lnTo>
                    <a:pt x="42" y="755"/>
                  </a:lnTo>
                  <a:lnTo>
                    <a:pt x="40" y="755"/>
                  </a:lnTo>
                  <a:lnTo>
                    <a:pt x="40" y="751"/>
                  </a:lnTo>
                  <a:lnTo>
                    <a:pt x="40" y="749"/>
                  </a:lnTo>
                  <a:lnTo>
                    <a:pt x="38" y="745"/>
                  </a:lnTo>
                  <a:lnTo>
                    <a:pt x="36" y="744"/>
                  </a:lnTo>
                  <a:lnTo>
                    <a:pt x="35" y="742"/>
                  </a:lnTo>
                  <a:lnTo>
                    <a:pt x="36" y="742"/>
                  </a:lnTo>
                  <a:lnTo>
                    <a:pt x="35" y="736"/>
                  </a:lnTo>
                  <a:lnTo>
                    <a:pt x="31" y="734"/>
                  </a:lnTo>
                  <a:lnTo>
                    <a:pt x="31" y="732"/>
                  </a:lnTo>
                  <a:lnTo>
                    <a:pt x="33" y="732"/>
                  </a:lnTo>
                  <a:lnTo>
                    <a:pt x="33" y="728"/>
                  </a:lnTo>
                  <a:lnTo>
                    <a:pt x="31" y="728"/>
                  </a:lnTo>
                  <a:lnTo>
                    <a:pt x="33" y="726"/>
                  </a:lnTo>
                  <a:lnTo>
                    <a:pt x="33" y="724"/>
                  </a:lnTo>
                  <a:lnTo>
                    <a:pt x="31" y="724"/>
                  </a:lnTo>
                  <a:lnTo>
                    <a:pt x="31" y="722"/>
                  </a:lnTo>
                  <a:lnTo>
                    <a:pt x="31" y="720"/>
                  </a:lnTo>
                  <a:lnTo>
                    <a:pt x="29" y="722"/>
                  </a:lnTo>
                  <a:lnTo>
                    <a:pt x="29" y="724"/>
                  </a:lnTo>
                  <a:lnTo>
                    <a:pt x="29" y="726"/>
                  </a:lnTo>
                  <a:lnTo>
                    <a:pt x="27" y="726"/>
                  </a:lnTo>
                  <a:lnTo>
                    <a:pt x="27" y="724"/>
                  </a:lnTo>
                  <a:lnTo>
                    <a:pt x="25" y="724"/>
                  </a:lnTo>
                  <a:lnTo>
                    <a:pt x="25" y="720"/>
                  </a:lnTo>
                  <a:lnTo>
                    <a:pt x="27" y="715"/>
                  </a:lnTo>
                  <a:lnTo>
                    <a:pt x="27" y="713"/>
                  </a:lnTo>
                  <a:lnTo>
                    <a:pt x="27" y="709"/>
                  </a:lnTo>
                  <a:lnTo>
                    <a:pt x="25" y="709"/>
                  </a:lnTo>
                  <a:lnTo>
                    <a:pt x="25" y="711"/>
                  </a:lnTo>
                  <a:lnTo>
                    <a:pt x="25" y="709"/>
                  </a:lnTo>
                  <a:lnTo>
                    <a:pt x="23" y="707"/>
                  </a:lnTo>
                  <a:lnTo>
                    <a:pt x="23" y="705"/>
                  </a:lnTo>
                  <a:lnTo>
                    <a:pt x="27" y="703"/>
                  </a:lnTo>
                  <a:lnTo>
                    <a:pt x="23" y="705"/>
                  </a:lnTo>
                  <a:lnTo>
                    <a:pt x="21" y="703"/>
                  </a:lnTo>
                  <a:lnTo>
                    <a:pt x="19" y="705"/>
                  </a:lnTo>
                  <a:lnTo>
                    <a:pt x="19" y="701"/>
                  </a:lnTo>
                  <a:lnTo>
                    <a:pt x="23" y="699"/>
                  </a:lnTo>
                  <a:lnTo>
                    <a:pt x="23" y="697"/>
                  </a:lnTo>
                  <a:lnTo>
                    <a:pt x="19" y="699"/>
                  </a:lnTo>
                  <a:lnTo>
                    <a:pt x="19" y="696"/>
                  </a:lnTo>
                  <a:lnTo>
                    <a:pt x="19" y="694"/>
                  </a:lnTo>
                  <a:lnTo>
                    <a:pt x="19" y="692"/>
                  </a:lnTo>
                  <a:lnTo>
                    <a:pt x="21" y="692"/>
                  </a:lnTo>
                  <a:lnTo>
                    <a:pt x="21" y="690"/>
                  </a:lnTo>
                  <a:lnTo>
                    <a:pt x="19" y="690"/>
                  </a:lnTo>
                  <a:lnTo>
                    <a:pt x="23" y="686"/>
                  </a:lnTo>
                  <a:lnTo>
                    <a:pt x="23" y="680"/>
                  </a:lnTo>
                  <a:lnTo>
                    <a:pt x="23" y="676"/>
                  </a:lnTo>
                  <a:lnTo>
                    <a:pt x="25" y="674"/>
                  </a:lnTo>
                  <a:lnTo>
                    <a:pt x="25" y="671"/>
                  </a:lnTo>
                  <a:lnTo>
                    <a:pt x="23" y="669"/>
                  </a:lnTo>
                  <a:lnTo>
                    <a:pt x="23" y="667"/>
                  </a:lnTo>
                  <a:lnTo>
                    <a:pt x="23" y="665"/>
                  </a:lnTo>
                  <a:lnTo>
                    <a:pt x="27" y="665"/>
                  </a:lnTo>
                  <a:lnTo>
                    <a:pt x="23" y="665"/>
                  </a:lnTo>
                  <a:lnTo>
                    <a:pt x="19" y="665"/>
                  </a:lnTo>
                  <a:lnTo>
                    <a:pt x="17" y="669"/>
                  </a:lnTo>
                  <a:lnTo>
                    <a:pt x="13" y="671"/>
                  </a:lnTo>
                  <a:lnTo>
                    <a:pt x="15" y="665"/>
                  </a:lnTo>
                  <a:lnTo>
                    <a:pt x="17" y="659"/>
                  </a:lnTo>
                  <a:lnTo>
                    <a:pt x="15" y="659"/>
                  </a:lnTo>
                  <a:lnTo>
                    <a:pt x="15" y="655"/>
                  </a:lnTo>
                  <a:lnTo>
                    <a:pt x="13" y="665"/>
                  </a:lnTo>
                  <a:lnTo>
                    <a:pt x="12" y="667"/>
                  </a:lnTo>
                  <a:lnTo>
                    <a:pt x="10" y="667"/>
                  </a:lnTo>
                  <a:lnTo>
                    <a:pt x="10" y="661"/>
                  </a:lnTo>
                  <a:lnTo>
                    <a:pt x="8" y="665"/>
                  </a:lnTo>
                  <a:lnTo>
                    <a:pt x="10" y="661"/>
                  </a:lnTo>
                  <a:lnTo>
                    <a:pt x="8" y="663"/>
                  </a:lnTo>
                  <a:lnTo>
                    <a:pt x="4" y="663"/>
                  </a:lnTo>
                  <a:lnTo>
                    <a:pt x="4" y="657"/>
                  </a:lnTo>
                  <a:lnTo>
                    <a:pt x="8" y="655"/>
                  </a:lnTo>
                  <a:lnTo>
                    <a:pt x="6" y="655"/>
                  </a:lnTo>
                  <a:lnTo>
                    <a:pt x="4" y="653"/>
                  </a:lnTo>
                  <a:lnTo>
                    <a:pt x="4" y="651"/>
                  </a:lnTo>
                  <a:lnTo>
                    <a:pt x="6" y="649"/>
                  </a:lnTo>
                  <a:lnTo>
                    <a:pt x="4" y="644"/>
                  </a:lnTo>
                  <a:lnTo>
                    <a:pt x="4" y="642"/>
                  </a:lnTo>
                  <a:lnTo>
                    <a:pt x="2" y="640"/>
                  </a:lnTo>
                  <a:lnTo>
                    <a:pt x="2" y="636"/>
                  </a:lnTo>
                  <a:lnTo>
                    <a:pt x="2" y="630"/>
                  </a:lnTo>
                  <a:lnTo>
                    <a:pt x="2" y="626"/>
                  </a:lnTo>
                  <a:lnTo>
                    <a:pt x="0" y="626"/>
                  </a:lnTo>
                  <a:lnTo>
                    <a:pt x="0" y="622"/>
                  </a:lnTo>
                  <a:lnTo>
                    <a:pt x="2" y="619"/>
                  </a:lnTo>
                  <a:lnTo>
                    <a:pt x="8" y="615"/>
                  </a:lnTo>
                  <a:lnTo>
                    <a:pt x="10" y="619"/>
                  </a:lnTo>
                  <a:lnTo>
                    <a:pt x="12" y="628"/>
                  </a:lnTo>
                  <a:lnTo>
                    <a:pt x="12" y="630"/>
                  </a:lnTo>
                  <a:lnTo>
                    <a:pt x="13" y="630"/>
                  </a:lnTo>
                  <a:lnTo>
                    <a:pt x="17" y="628"/>
                  </a:lnTo>
                  <a:lnTo>
                    <a:pt x="19" y="621"/>
                  </a:lnTo>
                  <a:lnTo>
                    <a:pt x="21" y="615"/>
                  </a:lnTo>
                  <a:lnTo>
                    <a:pt x="21" y="613"/>
                  </a:lnTo>
                  <a:lnTo>
                    <a:pt x="23" y="603"/>
                  </a:lnTo>
                  <a:lnTo>
                    <a:pt x="21" y="594"/>
                  </a:lnTo>
                  <a:lnTo>
                    <a:pt x="19" y="584"/>
                  </a:lnTo>
                  <a:lnTo>
                    <a:pt x="23" y="582"/>
                  </a:lnTo>
                  <a:lnTo>
                    <a:pt x="27" y="578"/>
                  </a:lnTo>
                  <a:lnTo>
                    <a:pt x="27" y="576"/>
                  </a:lnTo>
                  <a:lnTo>
                    <a:pt x="27" y="574"/>
                  </a:lnTo>
                  <a:lnTo>
                    <a:pt x="27" y="573"/>
                  </a:lnTo>
                  <a:lnTo>
                    <a:pt x="25" y="571"/>
                  </a:lnTo>
                  <a:lnTo>
                    <a:pt x="29" y="567"/>
                  </a:lnTo>
                  <a:lnTo>
                    <a:pt x="33" y="567"/>
                  </a:lnTo>
                  <a:lnTo>
                    <a:pt x="35" y="567"/>
                  </a:lnTo>
                  <a:lnTo>
                    <a:pt x="36" y="567"/>
                  </a:lnTo>
                  <a:lnTo>
                    <a:pt x="40" y="563"/>
                  </a:lnTo>
                  <a:lnTo>
                    <a:pt x="42" y="559"/>
                  </a:lnTo>
                  <a:lnTo>
                    <a:pt x="46" y="553"/>
                  </a:lnTo>
                  <a:lnTo>
                    <a:pt x="46" y="548"/>
                  </a:lnTo>
                  <a:lnTo>
                    <a:pt x="46" y="540"/>
                  </a:lnTo>
                  <a:lnTo>
                    <a:pt x="46" y="538"/>
                  </a:lnTo>
                  <a:lnTo>
                    <a:pt x="48" y="534"/>
                  </a:lnTo>
                  <a:lnTo>
                    <a:pt x="48" y="530"/>
                  </a:lnTo>
                  <a:lnTo>
                    <a:pt x="48" y="526"/>
                  </a:lnTo>
                  <a:lnTo>
                    <a:pt x="46" y="524"/>
                  </a:lnTo>
                  <a:lnTo>
                    <a:pt x="46" y="523"/>
                  </a:lnTo>
                  <a:lnTo>
                    <a:pt x="46" y="519"/>
                  </a:lnTo>
                  <a:lnTo>
                    <a:pt x="42" y="515"/>
                  </a:lnTo>
                  <a:lnTo>
                    <a:pt x="40" y="511"/>
                  </a:lnTo>
                  <a:lnTo>
                    <a:pt x="40" y="507"/>
                  </a:lnTo>
                  <a:lnTo>
                    <a:pt x="38" y="503"/>
                  </a:lnTo>
                  <a:lnTo>
                    <a:pt x="38" y="500"/>
                  </a:lnTo>
                  <a:lnTo>
                    <a:pt x="36" y="496"/>
                  </a:lnTo>
                  <a:lnTo>
                    <a:pt x="40" y="494"/>
                  </a:lnTo>
                  <a:lnTo>
                    <a:pt x="44" y="494"/>
                  </a:lnTo>
                  <a:lnTo>
                    <a:pt x="46" y="494"/>
                  </a:lnTo>
                  <a:lnTo>
                    <a:pt x="48" y="494"/>
                  </a:lnTo>
                  <a:lnTo>
                    <a:pt x="50" y="488"/>
                  </a:lnTo>
                  <a:lnTo>
                    <a:pt x="54" y="482"/>
                  </a:lnTo>
                  <a:lnTo>
                    <a:pt x="54" y="480"/>
                  </a:lnTo>
                  <a:lnTo>
                    <a:pt x="54" y="478"/>
                  </a:lnTo>
                  <a:lnTo>
                    <a:pt x="54" y="475"/>
                  </a:lnTo>
                  <a:lnTo>
                    <a:pt x="46" y="461"/>
                  </a:lnTo>
                  <a:lnTo>
                    <a:pt x="42" y="461"/>
                  </a:lnTo>
                  <a:lnTo>
                    <a:pt x="33" y="453"/>
                  </a:lnTo>
                  <a:lnTo>
                    <a:pt x="35" y="428"/>
                  </a:lnTo>
                  <a:lnTo>
                    <a:pt x="35" y="426"/>
                  </a:lnTo>
                  <a:lnTo>
                    <a:pt x="36" y="417"/>
                  </a:lnTo>
                  <a:lnTo>
                    <a:pt x="35" y="413"/>
                  </a:lnTo>
                  <a:lnTo>
                    <a:pt x="35" y="411"/>
                  </a:lnTo>
                  <a:lnTo>
                    <a:pt x="35" y="407"/>
                  </a:lnTo>
                  <a:lnTo>
                    <a:pt x="33" y="403"/>
                  </a:lnTo>
                  <a:lnTo>
                    <a:pt x="31" y="396"/>
                  </a:lnTo>
                  <a:lnTo>
                    <a:pt x="33" y="388"/>
                  </a:lnTo>
                  <a:lnTo>
                    <a:pt x="31" y="378"/>
                  </a:lnTo>
                  <a:lnTo>
                    <a:pt x="35" y="373"/>
                  </a:lnTo>
                  <a:lnTo>
                    <a:pt x="35" y="369"/>
                  </a:lnTo>
                  <a:lnTo>
                    <a:pt x="31" y="361"/>
                  </a:lnTo>
                  <a:lnTo>
                    <a:pt x="29" y="357"/>
                  </a:lnTo>
                  <a:lnTo>
                    <a:pt x="29" y="355"/>
                  </a:lnTo>
                  <a:lnTo>
                    <a:pt x="31" y="350"/>
                  </a:lnTo>
                  <a:lnTo>
                    <a:pt x="35" y="344"/>
                  </a:lnTo>
                  <a:lnTo>
                    <a:pt x="33" y="336"/>
                  </a:lnTo>
                  <a:lnTo>
                    <a:pt x="36" y="332"/>
                  </a:lnTo>
                  <a:lnTo>
                    <a:pt x="38" y="329"/>
                  </a:lnTo>
                  <a:lnTo>
                    <a:pt x="42" y="321"/>
                  </a:lnTo>
                  <a:lnTo>
                    <a:pt x="48" y="313"/>
                  </a:lnTo>
                  <a:lnTo>
                    <a:pt x="56" y="307"/>
                  </a:lnTo>
                  <a:lnTo>
                    <a:pt x="65" y="304"/>
                  </a:lnTo>
                  <a:lnTo>
                    <a:pt x="85" y="309"/>
                  </a:lnTo>
                  <a:lnTo>
                    <a:pt x="90" y="298"/>
                  </a:lnTo>
                  <a:lnTo>
                    <a:pt x="88" y="282"/>
                  </a:lnTo>
                  <a:lnTo>
                    <a:pt x="75" y="273"/>
                  </a:lnTo>
                  <a:lnTo>
                    <a:pt x="92" y="240"/>
                  </a:lnTo>
                  <a:lnTo>
                    <a:pt x="94" y="232"/>
                  </a:lnTo>
                  <a:lnTo>
                    <a:pt x="98" y="229"/>
                  </a:lnTo>
                  <a:lnTo>
                    <a:pt x="98" y="206"/>
                  </a:lnTo>
                  <a:lnTo>
                    <a:pt x="100" y="200"/>
                  </a:lnTo>
                  <a:lnTo>
                    <a:pt x="96" y="181"/>
                  </a:lnTo>
                  <a:lnTo>
                    <a:pt x="110" y="179"/>
                  </a:lnTo>
                  <a:lnTo>
                    <a:pt x="123" y="169"/>
                  </a:lnTo>
                  <a:lnTo>
                    <a:pt x="121" y="167"/>
                  </a:lnTo>
                  <a:lnTo>
                    <a:pt x="119" y="157"/>
                  </a:lnTo>
                  <a:lnTo>
                    <a:pt x="127" y="150"/>
                  </a:lnTo>
                  <a:lnTo>
                    <a:pt x="134" y="133"/>
                  </a:lnTo>
                  <a:lnTo>
                    <a:pt x="140" y="127"/>
                  </a:lnTo>
                  <a:lnTo>
                    <a:pt x="144" y="125"/>
                  </a:lnTo>
                  <a:lnTo>
                    <a:pt x="144" y="115"/>
                  </a:lnTo>
                  <a:lnTo>
                    <a:pt x="140" y="109"/>
                  </a:lnTo>
                  <a:lnTo>
                    <a:pt x="136" y="102"/>
                  </a:lnTo>
                  <a:lnTo>
                    <a:pt x="136" y="98"/>
                  </a:lnTo>
                  <a:lnTo>
                    <a:pt x="144" y="96"/>
                  </a:lnTo>
                  <a:lnTo>
                    <a:pt x="146" y="90"/>
                  </a:lnTo>
                  <a:lnTo>
                    <a:pt x="150" y="79"/>
                  </a:lnTo>
                  <a:lnTo>
                    <a:pt x="152" y="73"/>
                  </a:lnTo>
                  <a:lnTo>
                    <a:pt x="163" y="65"/>
                  </a:lnTo>
                  <a:lnTo>
                    <a:pt x="163" y="61"/>
                  </a:lnTo>
                  <a:lnTo>
                    <a:pt x="175" y="65"/>
                  </a:lnTo>
                  <a:lnTo>
                    <a:pt x="181" y="69"/>
                  </a:lnTo>
                  <a:lnTo>
                    <a:pt x="186" y="54"/>
                  </a:lnTo>
                  <a:lnTo>
                    <a:pt x="184" y="42"/>
                  </a:lnTo>
                  <a:lnTo>
                    <a:pt x="184" y="36"/>
                  </a:lnTo>
                  <a:lnTo>
                    <a:pt x="190" y="33"/>
                  </a:lnTo>
                  <a:lnTo>
                    <a:pt x="192" y="35"/>
                  </a:lnTo>
                  <a:lnTo>
                    <a:pt x="196" y="36"/>
                  </a:lnTo>
                  <a:lnTo>
                    <a:pt x="206" y="35"/>
                  </a:lnTo>
                  <a:lnTo>
                    <a:pt x="231" y="42"/>
                  </a:lnTo>
                  <a:lnTo>
                    <a:pt x="236" y="33"/>
                  </a:lnTo>
                  <a:lnTo>
                    <a:pt x="232" y="33"/>
                  </a:lnTo>
                  <a:lnTo>
                    <a:pt x="229" y="31"/>
                  </a:lnTo>
                  <a:lnTo>
                    <a:pt x="236" y="25"/>
                  </a:lnTo>
                  <a:lnTo>
                    <a:pt x="238" y="15"/>
                  </a:lnTo>
                  <a:lnTo>
                    <a:pt x="238" y="8"/>
                  </a:lnTo>
                  <a:lnTo>
                    <a:pt x="231" y="2"/>
                  </a:lnTo>
                  <a:lnTo>
                    <a:pt x="242" y="0"/>
                  </a:lnTo>
                  <a:lnTo>
                    <a:pt x="248" y="0"/>
                  </a:lnTo>
                  <a:lnTo>
                    <a:pt x="252" y="4"/>
                  </a:lnTo>
                  <a:lnTo>
                    <a:pt x="252" y="8"/>
                  </a:lnTo>
                  <a:lnTo>
                    <a:pt x="256" y="10"/>
                  </a:lnTo>
                  <a:lnTo>
                    <a:pt x="261" y="13"/>
                  </a:lnTo>
                  <a:lnTo>
                    <a:pt x="263" y="15"/>
                  </a:lnTo>
                  <a:lnTo>
                    <a:pt x="265" y="15"/>
                  </a:lnTo>
                  <a:lnTo>
                    <a:pt x="265" y="17"/>
                  </a:lnTo>
                  <a:lnTo>
                    <a:pt x="267" y="19"/>
                  </a:lnTo>
                  <a:lnTo>
                    <a:pt x="269" y="21"/>
                  </a:lnTo>
                  <a:lnTo>
                    <a:pt x="273" y="21"/>
                  </a:lnTo>
                  <a:lnTo>
                    <a:pt x="273" y="23"/>
                  </a:lnTo>
                  <a:lnTo>
                    <a:pt x="273" y="25"/>
                  </a:lnTo>
                  <a:lnTo>
                    <a:pt x="275" y="25"/>
                  </a:lnTo>
                  <a:lnTo>
                    <a:pt x="279" y="25"/>
                  </a:lnTo>
                  <a:lnTo>
                    <a:pt x="281" y="25"/>
                  </a:lnTo>
                  <a:lnTo>
                    <a:pt x="281" y="27"/>
                  </a:lnTo>
                  <a:lnTo>
                    <a:pt x="284" y="29"/>
                  </a:lnTo>
                  <a:lnTo>
                    <a:pt x="286" y="31"/>
                  </a:lnTo>
                  <a:lnTo>
                    <a:pt x="290" y="29"/>
                  </a:lnTo>
                  <a:lnTo>
                    <a:pt x="294" y="29"/>
                  </a:lnTo>
                  <a:lnTo>
                    <a:pt x="298" y="31"/>
                  </a:lnTo>
                  <a:lnTo>
                    <a:pt x="302" y="31"/>
                  </a:lnTo>
                  <a:lnTo>
                    <a:pt x="304" y="33"/>
                  </a:lnTo>
                  <a:lnTo>
                    <a:pt x="309" y="35"/>
                  </a:lnTo>
                  <a:lnTo>
                    <a:pt x="313" y="38"/>
                  </a:lnTo>
                  <a:lnTo>
                    <a:pt x="315" y="40"/>
                  </a:lnTo>
                  <a:lnTo>
                    <a:pt x="315" y="44"/>
                  </a:lnTo>
                  <a:lnTo>
                    <a:pt x="319" y="44"/>
                  </a:lnTo>
                  <a:lnTo>
                    <a:pt x="321" y="48"/>
                  </a:lnTo>
                  <a:lnTo>
                    <a:pt x="321" y="50"/>
                  </a:lnTo>
                  <a:lnTo>
                    <a:pt x="325" y="52"/>
                  </a:lnTo>
                  <a:lnTo>
                    <a:pt x="327" y="52"/>
                  </a:lnTo>
                  <a:lnTo>
                    <a:pt x="329" y="54"/>
                  </a:lnTo>
                  <a:lnTo>
                    <a:pt x="329" y="56"/>
                  </a:lnTo>
                  <a:lnTo>
                    <a:pt x="327" y="58"/>
                  </a:lnTo>
                  <a:lnTo>
                    <a:pt x="325" y="61"/>
                  </a:lnTo>
                  <a:lnTo>
                    <a:pt x="327" y="67"/>
                  </a:lnTo>
                  <a:lnTo>
                    <a:pt x="327" y="69"/>
                  </a:lnTo>
                  <a:lnTo>
                    <a:pt x="327" y="71"/>
                  </a:lnTo>
                  <a:lnTo>
                    <a:pt x="329" y="73"/>
                  </a:lnTo>
                  <a:lnTo>
                    <a:pt x="329" y="75"/>
                  </a:lnTo>
                  <a:lnTo>
                    <a:pt x="329" y="77"/>
                  </a:lnTo>
                  <a:lnTo>
                    <a:pt x="327" y="77"/>
                  </a:lnTo>
                  <a:lnTo>
                    <a:pt x="327" y="79"/>
                  </a:lnTo>
                  <a:lnTo>
                    <a:pt x="327" y="81"/>
                  </a:lnTo>
                  <a:lnTo>
                    <a:pt x="327" y="83"/>
                  </a:lnTo>
                  <a:lnTo>
                    <a:pt x="329" y="83"/>
                  </a:lnTo>
                  <a:lnTo>
                    <a:pt x="331" y="83"/>
                  </a:lnTo>
                  <a:lnTo>
                    <a:pt x="334" y="83"/>
                  </a:lnTo>
                  <a:lnTo>
                    <a:pt x="336" y="84"/>
                  </a:lnTo>
                  <a:lnTo>
                    <a:pt x="336" y="86"/>
                  </a:lnTo>
                  <a:lnTo>
                    <a:pt x="336" y="88"/>
                  </a:lnTo>
                  <a:lnTo>
                    <a:pt x="336" y="90"/>
                  </a:lnTo>
                  <a:lnTo>
                    <a:pt x="336" y="92"/>
                  </a:lnTo>
                  <a:lnTo>
                    <a:pt x="334" y="94"/>
                  </a:lnTo>
                  <a:lnTo>
                    <a:pt x="332" y="94"/>
                  </a:lnTo>
                  <a:lnTo>
                    <a:pt x="332" y="96"/>
                  </a:lnTo>
                  <a:lnTo>
                    <a:pt x="334" y="98"/>
                  </a:lnTo>
                  <a:lnTo>
                    <a:pt x="334" y="100"/>
                  </a:lnTo>
                  <a:lnTo>
                    <a:pt x="334" y="102"/>
                  </a:lnTo>
                  <a:lnTo>
                    <a:pt x="336" y="104"/>
                  </a:lnTo>
                  <a:lnTo>
                    <a:pt x="340" y="108"/>
                  </a:lnTo>
                  <a:lnTo>
                    <a:pt x="344" y="111"/>
                  </a:lnTo>
                  <a:lnTo>
                    <a:pt x="346" y="115"/>
                  </a:lnTo>
                  <a:lnTo>
                    <a:pt x="348" y="117"/>
                  </a:lnTo>
                  <a:lnTo>
                    <a:pt x="348" y="119"/>
                  </a:lnTo>
                  <a:lnTo>
                    <a:pt x="346" y="119"/>
                  </a:lnTo>
                  <a:lnTo>
                    <a:pt x="346" y="123"/>
                  </a:lnTo>
                  <a:lnTo>
                    <a:pt x="346" y="127"/>
                  </a:lnTo>
                  <a:lnTo>
                    <a:pt x="346" y="131"/>
                  </a:lnTo>
                  <a:lnTo>
                    <a:pt x="346" y="133"/>
                  </a:lnTo>
                  <a:lnTo>
                    <a:pt x="346" y="134"/>
                  </a:lnTo>
                  <a:lnTo>
                    <a:pt x="344" y="138"/>
                  </a:lnTo>
                  <a:lnTo>
                    <a:pt x="342" y="140"/>
                  </a:lnTo>
                  <a:lnTo>
                    <a:pt x="342" y="144"/>
                  </a:lnTo>
                  <a:lnTo>
                    <a:pt x="342" y="148"/>
                  </a:lnTo>
                  <a:lnTo>
                    <a:pt x="344" y="152"/>
                  </a:lnTo>
                  <a:lnTo>
                    <a:pt x="346" y="156"/>
                  </a:lnTo>
                  <a:lnTo>
                    <a:pt x="350" y="157"/>
                  </a:lnTo>
                  <a:lnTo>
                    <a:pt x="352" y="159"/>
                  </a:lnTo>
                  <a:lnTo>
                    <a:pt x="354" y="163"/>
                  </a:lnTo>
                  <a:lnTo>
                    <a:pt x="355" y="165"/>
                  </a:lnTo>
                  <a:lnTo>
                    <a:pt x="357" y="169"/>
                  </a:lnTo>
                  <a:lnTo>
                    <a:pt x="359" y="171"/>
                  </a:lnTo>
                  <a:lnTo>
                    <a:pt x="359" y="173"/>
                  </a:lnTo>
                  <a:lnTo>
                    <a:pt x="357" y="177"/>
                  </a:lnTo>
                  <a:lnTo>
                    <a:pt x="357" y="179"/>
                  </a:lnTo>
                  <a:lnTo>
                    <a:pt x="355" y="179"/>
                  </a:lnTo>
                  <a:lnTo>
                    <a:pt x="355" y="181"/>
                  </a:lnTo>
                  <a:lnTo>
                    <a:pt x="354" y="181"/>
                  </a:lnTo>
                  <a:lnTo>
                    <a:pt x="352" y="179"/>
                  </a:lnTo>
                  <a:lnTo>
                    <a:pt x="352" y="181"/>
                  </a:lnTo>
                  <a:lnTo>
                    <a:pt x="350" y="181"/>
                  </a:lnTo>
                  <a:lnTo>
                    <a:pt x="350" y="179"/>
                  </a:lnTo>
                  <a:lnTo>
                    <a:pt x="348" y="179"/>
                  </a:lnTo>
                  <a:lnTo>
                    <a:pt x="346" y="179"/>
                  </a:lnTo>
                  <a:lnTo>
                    <a:pt x="346" y="181"/>
                  </a:lnTo>
                  <a:lnTo>
                    <a:pt x="344" y="181"/>
                  </a:lnTo>
                  <a:lnTo>
                    <a:pt x="342" y="181"/>
                  </a:lnTo>
                  <a:lnTo>
                    <a:pt x="342" y="179"/>
                  </a:lnTo>
                  <a:lnTo>
                    <a:pt x="340" y="181"/>
                  </a:lnTo>
                  <a:lnTo>
                    <a:pt x="340" y="182"/>
                  </a:lnTo>
                  <a:lnTo>
                    <a:pt x="338" y="181"/>
                  </a:lnTo>
                  <a:lnTo>
                    <a:pt x="336" y="182"/>
                  </a:lnTo>
                  <a:lnTo>
                    <a:pt x="336" y="181"/>
                  </a:lnTo>
                  <a:lnTo>
                    <a:pt x="332" y="181"/>
                  </a:lnTo>
                  <a:lnTo>
                    <a:pt x="334" y="182"/>
                  </a:lnTo>
                  <a:lnTo>
                    <a:pt x="332" y="184"/>
                  </a:lnTo>
                  <a:lnTo>
                    <a:pt x="332" y="186"/>
                  </a:lnTo>
                  <a:lnTo>
                    <a:pt x="331" y="186"/>
                  </a:lnTo>
                  <a:lnTo>
                    <a:pt x="329" y="184"/>
                  </a:lnTo>
                  <a:lnTo>
                    <a:pt x="327" y="182"/>
                  </a:lnTo>
                  <a:lnTo>
                    <a:pt x="325" y="182"/>
                  </a:lnTo>
                  <a:lnTo>
                    <a:pt x="323" y="181"/>
                  </a:lnTo>
                  <a:lnTo>
                    <a:pt x="321" y="179"/>
                  </a:lnTo>
                  <a:lnTo>
                    <a:pt x="319" y="179"/>
                  </a:lnTo>
                  <a:lnTo>
                    <a:pt x="319" y="181"/>
                  </a:lnTo>
                  <a:lnTo>
                    <a:pt x="321" y="182"/>
                  </a:lnTo>
                  <a:lnTo>
                    <a:pt x="321" y="184"/>
                  </a:lnTo>
                  <a:lnTo>
                    <a:pt x="321" y="186"/>
                  </a:lnTo>
                  <a:lnTo>
                    <a:pt x="319" y="186"/>
                  </a:lnTo>
                  <a:lnTo>
                    <a:pt x="319" y="184"/>
                  </a:lnTo>
                  <a:lnTo>
                    <a:pt x="317" y="184"/>
                  </a:lnTo>
                  <a:lnTo>
                    <a:pt x="315" y="184"/>
                  </a:lnTo>
                  <a:lnTo>
                    <a:pt x="315" y="182"/>
                  </a:lnTo>
                  <a:lnTo>
                    <a:pt x="313" y="182"/>
                  </a:lnTo>
                  <a:lnTo>
                    <a:pt x="313" y="181"/>
                  </a:lnTo>
                  <a:lnTo>
                    <a:pt x="311" y="181"/>
                  </a:lnTo>
                  <a:lnTo>
                    <a:pt x="309" y="182"/>
                  </a:lnTo>
                  <a:lnTo>
                    <a:pt x="311" y="184"/>
                  </a:lnTo>
                  <a:lnTo>
                    <a:pt x="309" y="186"/>
                  </a:lnTo>
                  <a:lnTo>
                    <a:pt x="311" y="188"/>
                  </a:lnTo>
                  <a:lnTo>
                    <a:pt x="309" y="190"/>
                  </a:lnTo>
                  <a:lnTo>
                    <a:pt x="311" y="190"/>
                  </a:lnTo>
                  <a:lnTo>
                    <a:pt x="311" y="192"/>
                  </a:lnTo>
                  <a:lnTo>
                    <a:pt x="309" y="190"/>
                  </a:lnTo>
                  <a:lnTo>
                    <a:pt x="309" y="192"/>
                  </a:lnTo>
                  <a:lnTo>
                    <a:pt x="309" y="196"/>
                  </a:lnTo>
                  <a:lnTo>
                    <a:pt x="309" y="194"/>
                  </a:lnTo>
                  <a:lnTo>
                    <a:pt x="309" y="192"/>
                  </a:lnTo>
                  <a:lnTo>
                    <a:pt x="311" y="194"/>
                  </a:lnTo>
                  <a:lnTo>
                    <a:pt x="313" y="194"/>
                  </a:lnTo>
                  <a:lnTo>
                    <a:pt x="313" y="196"/>
                  </a:lnTo>
                  <a:lnTo>
                    <a:pt x="313" y="198"/>
                  </a:lnTo>
                  <a:lnTo>
                    <a:pt x="313" y="200"/>
                  </a:lnTo>
                  <a:lnTo>
                    <a:pt x="311" y="202"/>
                  </a:lnTo>
                  <a:lnTo>
                    <a:pt x="313" y="202"/>
                  </a:lnTo>
                  <a:lnTo>
                    <a:pt x="313" y="204"/>
                  </a:lnTo>
                  <a:lnTo>
                    <a:pt x="311" y="202"/>
                  </a:lnTo>
                  <a:lnTo>
                    <a:pt x="311" y="204"/>
                  </a:lnTo>
                  <a:lnTo>
                    <a:pt x="309" y="204"/>
                  </a:lnTo>
                  <a:lnTo>
                    <a:pt x="307" y="202"/>
                  </a:lnTo>
                  <a:lnTo>
                    <a:pt x="306" y="204"/>
                  </a:lnTo>
                  <a:lnTo>
                    <a:pt x="306" y="202"/>
                  </a:lnTo>
                  <a:lnTo>
                    <a:pt x="304" y="202"/>
                  </a:lnTo>
                  <a:lnTo>
                    <a:pt x="300" y="202"/>
                  </a:lnTo>
                  <a:lnTo>
                    <a:pt x="300" y="204"/>
                  </a:lnTo>
                  <a:lnTo>
                    <a:pt x="302" y="206"/>
                  </a:lnTo>
                  <a:lnTo>
                    <a:pt x="302" y="204"/>
                  </a:lnTo>
                  <a:lnTo>
                    <a:pt x="304" y="206"/>
                  </a:lnTo>
                  <a:lnTo>
                    <a:pt x="304" y="209"/>
                  </a:lnTo>
                  <a:lnTo>
                    <a:pt x="304" y="207"/>
                  </a:lnTo>
                  <a:lnTo>
                    <a:pt x="302" y="207"/>
                  </a:lnTo>
                  <a:lnTo>
                    <a:pt x="302" y="209"/>
                  </a:lnTo>
                  <a:lnTo>
                    <a:pt x="300" y="209"/>
                  </a:lnTo>
                  <a:lnTo>
                    <a:pt x="298" y="211"/>
                  </a:lnTo>
                  <a:lnTo>
                    <a:pt x="296" y="209"/>
                  </a:lnTo>
                  <a:lnTo>
                    <a:pt x="294" y="211"/>
                  </a:lnTo>
                  <a:lnTo>
                    <a:pt x="292" y="211"/>
                  </a:lnTo>
                  <a:lnTo>
                    <a:pt x="294" y="211"/>
                  </a:lnTo>
                  <a:lnTo>
                    <a:pt x="296" y="213"/>
                  </a:lnTo>
                  <a:lnTo>
                    <a:pt x="294" y="215"/>
                  </a:lnTo>
                  <a:lnTo>
                    <a:pt x="292" y="213"/>
                  </a:lnTo>
                  <a:lnTo>
                    <a:pt x="292" y="215"/>
                  </a:lnTo>
                  <a:lnTo>
                    <a:pt x="294" y="215"/>
                  </a:lnTo>
                  <a:lnTo>
                    <a:pt x="296" y="215"/>
                  </a:lnTo>
                  <a:lnTo>
                    <a:pt x="296" y="217"/>
                  </a:lnTo>
                  <a:lnTo>
                    <a:pt x="296" y="219"/>
                  </a:lnTo>
                  <a:lnTo>
                    <a:pt x="298" y="221"/>
                  </a:lnTo>
                  <a:lnTo>
                    <a:pt x="298" y="223"/>
                  </a:lnTo>
                  <a:lnTo>
                    <a:pt x="294" y="221"/>
                  </a:lnTo>
                  <a:lnTo>
                    <a:pt x="292" y="221"/>
                  </a:lnTo>
                  <a:lnTo>
                    <a:pt x="294" y="223"/>
                  </a:lnTo>
                  <a:lnTo>
                    <a:pt x="294" y="227"/>
                  </a:lnTo>
                  <a:lnTo>
                    <a:pt x="292" y="227"/>
                  </a:lnTo>
                  <a:lnTo>
                    <a:pt x="294" y="229"/>
                  </a:lnTo>
                  <a:lnTo>
                    <a:pt x="294" y="231"/>
                  </a:lnTo>
                  <a:lnTo>
                    <a:pt x="292" y="232"/>
                  </a:lnTo>
                  <a:lnTo>
                    <a:pt x="292" y="234"/>
                  </a:lnTo>
                  <a:lnTo>
                    <a:pt x="292" y="236"/>
                  </a:lnTo>
                  <a:lnTo>
                    <a:pt x="290" y="236"/>
                  </a:lnTo>
                  <a:lnTo>
                    <a:pt x="290" y="238"/>
                  </a:lnTo>
                  <a:lnTo>
                    <a:pt x="288" y="240"/>
                  </a:lnTo>
                  <a:lnTo>
                    <a:pt x="286" y="240"/>
                  </a:lnTo>
                  <a:lnTo>
                    <a:pt x="286" y="242"/>
                  </a:lnTo>
                  <a:lnTo>
                    <a:pt x="286" y="244"/>
                  </a:lnTo>
                  <a:lnTo>
                    <a:pt x="286" y="246"/>
                  </a:lnTo>
                  <a:lnTo>
                    <a:pt x="284" y="246"/>
                  </a:lnTo>
                  <a:lnTo>
                    <a:pt x="284" y="248"/>
                  </a:lnTo>
                  <a:lnTo>
                    <a:pt x="282" y="248"/>
                  </a:lnTo>
                  <a:lnTo>
                    <a:pt x="282" y="246"/>
                  </a:lnTo>
                  <a:lnTo>
                    <a:pt x="281" y="248"/>
                  </a:lnTo>
                  <a:lnTo>
                    <a:pt x="282" y="248"/>
                  </a:lnTo>
                  <a:lnTo>
                    <a:pt x="284" y="250"/>
                  </a:lnTo>
                  <a:lnTo>
                    <a:pt x="284" y="252"/>
                  </a:lnTo>
                  <a:lnTo>
                    <a:pt x="288" y="252"/>
                  </a:lnTo>
                  <a:lnTo>
                    <a:pt x="290" y="252"/>
                  </a:lnTo>
                  <a:lnTo>
                    <a:pt x="288" y="254"/>
                  </a:lnTo>
                  <a:lnTo>
                    <a:pt x="290" y="255"/>
                  </a:lnTo>
                  <a:lnTo>
                    <a:pt x="290" y="257"/>
                  </a:lnTo>
                  <a:lnTo>
                    <a:pt x="288" y="255"/>
                  </a:lnTo>
                  <a:lnTo>
                    <a:pt x="286" y="257"/>
                  </a:lnTo>
                  <a:lnTo>
                    <a:pt x="288" y="257"/>
                  </a:lnTo>
                  <a:lnTo>
                    <a:pt x="288" y="259"/>
                  </a:lnTo>
                  <a:lnTo>
                    <a:pt x="290" y="259"/>
                  </a:lnTo>
                  <a:lnTo>
                    <a:pt x="290" y="261"/>
                  </a:lnTo>
                  <a:lnTo>
                    <a:pt x="292" y="261"/>
                  </a:lnTo>
                  <a:lnTo>
                    <a:pt x="294" y="263"/>
                  </a:lnTo>
                  <a:lnTo>
                    <a:pt x="294" y="261"/>
                  </a:lnTo>
                  <a:lnTo>
                    <a:pt x="296" y="261"/>
                  </a:lnTo>
                  <a:lnTo>
                    <a:pt x="296" y="263"/>
                  </a:lnTo>
                  <a:lnTo>
                    <a:pt x="298" y="263"/>
                  </a:lnTo>
                  <a:lnTo>
                    <a:pt x="298" y="265"/>
                  </a:lnTo>
                  <a:lnTo>
                    <a:pt x="296" y="265"/>
                  </a:lnTo>
                  <a:lnTo>
                    <a:pt x="294" y="265"/>
                  </a:lnTo>
                  <a:lnTo>
                    <a:pt x="294" y="267"/>
                  </a:lnTo>
                  <a:lnTo>
                    <a:pt x="296" y="267"/>
                  </a:lnTo>
                  <a:lnTo>
                    <a:pt x="296" y="269"/>
                  </a:lnTo>
                  <a:lnTo>
                    <a:pt x="298" y="269"/>
                  </a:lnTo>
                  <a:lnTo>
                    <a:pt x="298" y="267"/>
                  </a:lnTo>
                  <a:lnTo>
                    <a:pt x="300" y="269"/>
                  </a:lnTo>
                  <a:lnTo>
                    <a:pt x="300" y="271"/>
                  </a:lnTo>
                  <a:lnTo>
                    <a:pt x="298" y="271"/>
                  </a:lnTo>
                  <a:lnTo>
                    <a:pt x="298" y="273"/>
                  </a:lnTo>
                  <a:lnTo>
                    <a:pt x="296" y="275"/>
                  </a:lnTo>
                  <a:lnTo>
                    <a:pt x="296" y="277"/>
                  </a:lnTo>
                  <a:lnTo>
                    <a:pt x="294" y="277"/>
                  </a:lnTo>
                  <a:lnTo>
                    <a:pt x="294" y="279"/>
                  </a:lnTo>
                  <a:lnTo>
                    <a:pt x="292" y="279"/>
                  </a:lnTo>
                  <a:lnTo>
                    <a:pt x="292" y="280"/>
                  </a:lnTo>
                  <a:lnTo>
                    <a:pt x="290" y="279"/>
                  </a:lnTo>
                  <a:lnTo>
                    <a:pt x="290" y="280"/>
                  </a:lnTo>
                  <a:lnTo>
                    <a:pt x="288" y="282"/>
                  </a:lnTo>
                  <a:lnTo>
                    <a:pt x="288" y="284"/>
                  </a:lnTo>
                  <a:lnTo>
                    <a:pt x="286" y="284"/>
                  </a:lnTo>
                  <a:lnTo>
                    <a:pt x="286" y="286"/>
                  </a:lnTo>
                  <a:lnTo>
                    <a:pt x="286" y="288"/>
                  </a:lnTo>
                  <a:lnTo>
                    <a:pt x="284" y="288"/>
                  </a:lnTo>
                  <a:lnTo>
                    <a:pt x="284" y="290"/>
                  </a:lnTo>
                  <a:lnTo>
                    <a:pt x="284" y="292"/>
                  </a:lnTo>
                  <a:lnTo>
                    <a:pt x="284" y="294"/>
                  </a:lnTo>
                  <a:lnTo>
                    <a:pt x="282" y="296"/>
                  </a:lnTo>
                  <a:lnTo>
                    <a:pt x="284" y="298"/>
                  </a:lnTo>
                  <a:lnTo>
                    <a:pt x="282" y="300"/>
                  </a:lnTo>
                  <a:lnTo>
                    <a:pt x="282" y="302"/>
                  </a:lnTo>
                  <a:lnTo>
                    <a:pt x="281" y="302"/>
                  </a:lnTo>
                  <a:lnTo>
                    <a:pt x="281" y="304"/>
                  </a:lnTo>
                  <a:lnTo>
                    <a:pt x="281" y="305"/>
                  </a:lnTo>
                  <a:lnTo>
                    <a:pt x="279" y="305"/>
                  </a:lnTo>
                  <a:lnTo>
                    <a:pt x="279" y="307"/>
                  </a:lnTo>
                  <a:lnTo>
                    <a:pt x="277" y="307"/>
                  </a:lnTo>
                  <a:lnTo>
                    <a:pt x="279" y="309"/>
                  </a:lnTo>
                  <a:lnTo>
                    <a:pt x="277" y="311"/>
                  </a:lnTo>
                  <a:lnTo>
                    <a:pt x="275" y="311"/>
                  </a:lnTo>
                  <a:lnTo>
                    <a:pt x="275" y="315"/>
                  </a:lnTo>
                  <a:lnTo>
                    <a:pt x="271" y="319"/>
                  </a:lnTo>
                  <a:lnTo>
                    <a:pt x="267" y="321"/>
                  </a:lnTo>
                  <a:lnTo>
                    <a:pt x="263" y="321"/>
                  </a:lnTo>
                  <a:lnTo>
                    <a:pt x="261" y="321"/>
                  </a:lnTo>
                  <a:lnTo>
                    <a:pt x="259" y="321"/>
                  </a:lnTo>
                  <a:lnTo>
                    <a:pt x="259" y="323"/>
                  </a:lnTo>
                  <a:lnTo>
                    <a:pt x="257" y="323"/>
                  </a:lnTo>
                  <a:lnTo>
                    <a:pt x="256" y="329"/>
                  </a:lnTo>
                  <a:lnTo>
                    <a:pt x="254" y="330"/>
                  </a:lnTo>
                  <a:lnTo>
                    <a:pt x="254" y="332"/>
                  </a:lnTo>
                  <a:lnTo>
                    <a:pt x="252" y="336"/>
                  </a:lnTo>
                  <a:lnTo>
                    <a:pt x="250" y="332"/>
                  </a:lnTo>
                  <a:lnTo>
                    <a:pt x="248" y="330"/>
                  </a:lnTo>
                  <a:lnTo>
                    <a:pt x="246" y="329"/>
                  </a:lnTo>
                  <a:lnTo>
                    <a:pt x="244" y="329"/>
                  </a:lnTo>
                  <a:lnTo>
                    <a:pt x="244" y="330"/>
                  </a:lnTo>
                  <a:lnTo>
                    <a:pt x="244" y="332"/>
                  </a:lnTo>
                  <a:lnTo>
                    <a:pt x="246" y="332"/>
                  </a:lnTo>
                  <a:lnTo>
                    <a:pt x="246" y="334"/>
                  </a:lnTo>
                  <a:lnTo>
                    <a:pt x="248" y="336"/>
                  </a:lnTo>
                  <a:lnTo>
                    <a:pt x="246" y="336"/>
                  </a:lnTo>
                  <a:lnTo>
                    <a:pt x="248" y="338"/>
                  </a:lnTo>
                  <a:lnTo>
                    <a:pt x="246" y="336"/>
                  </a:lnTo>
                  <a:lnTo>
                    <a:pt x="244" y="336"/>
                  </a:lnTo>
                  <a:lnTo>
                    <a:pt x="244" y="334"/>
                  </a:lnTo>
                  <a:lnTo>
                    <a:pt x="242" y="332"/>
                  </a:lnTo>
                  <a:lnTo>
                    <a:pt x="242" y="336"/>
                  </a:lnTo>
                  <a:lnTo>
                    <a:pt x="240" y="334"/>
                  </a:lnTo>
                  <a:lnTo>
                    <a:pt x="240" y="336"/>
                  </a:lnTo>
                  <a:lnTo>
                    <a:pt x="240" y="338"/>
                  </a:lnTo>
                  <a:lnTo>
                    <a:pt x="240" y="340"/>
                  </a:lnTo>
                  <a:lnTo>
                    <a:pt x="240" y="342"/>
                  </a:lnTo>
                  <a:lnTo>
                    <a:pt x="238" y="344"/>
                  </a:lnTo>
                  <a:lnTo>
                    <a:pt x="236" y="344"/>
                  </a:lnTo>
                  <a:lnTo>
                    <a:pt x="236" y="346"/>
                  </a:lnTo>
                  <a:lnTo>
                    <a:pt x="236" y="348"/>
                  </a:lnTo>
                  <a:lnTo>
                    <a:pt x="234" y="348"/>
                  </a:lnTo>
                  <a:lnTo>
                    <a:pt x="234" y="346"/>
                  </a:lnTo>
                  <a:lnTo>
                    <a:pt x="232" y="346"/>
                  </a:lnTo>
                  <a:lnTo>
                    <a:pt x="231" y="348"/>
                  </a:lnTo>
                  <a:lnTo>
                    <a:pt x="232" y="350"/>
                  </a:lnTo>
                  <a:lnTo>
                    <a:pt x="234" y="350"/>
                  </a:lnTo>
                  <a:lnTo>
                    <a:pt x="236" y="350"/>
                  </a:lnTo>
                  <a:lnTo>
                    <a:pt x="234" y="350"/>
                  </a:lnTo>
                  <a:lnTo>
                    <a:pt x="234" y="352"/>
                  </a:lnTo>
                  <a:lnTo>
                    <a:pt x="232" y="352"/>
                  </a:lnTo>
                  <a:lnTo>
                    <a:pt x="231" y="352"/>
                  </a:lnTo>
                  <a:lnTo>
                    <a:pt x="229" y="352"/>
                  </a:lnTo>
                  <a:lnTo>
                    <a:pt x="227" y="352"/>
                  </a:lnTo>
                  <a:lnTo>
                    <a:pt x="225" y="353"/>
                  </a:lnTo>
                  <a:lnTo>
                    <a:pt x="225" y="352"/>
                  </a:lnTo>
                  <a:lnTo>
                    <a:pt x="227" y="350"/>
                  </a:lnTo>
                  <a:lnTo>
                    <a:pt x="223" y="350"/>
                  </a:lnTo>
                  <a:lnTo>
                    <a:pt x="225" y="352"/>
                  </a:lnTo>
                  <a:lnTo>
                    <a:pt x="225" y="353"/>
                  </a:lnTo>
                  <a:lnTo>
                    <a:pt x="225" y="355"/>
                  </a:lnTo>
                  <a:lnTo>
                    <a:pt x="223" y="353"/>
                  </a:lnTo>
                  <a:lnTo>
                    <a:pt x="221" y="353"/>
                  </a:lnTo>
                  <a:lnTo>
                    <a:pt x="221" y="357"/>
                  </a:lnTo>
                  <a:lnTo>
                    <a:pt x="219" y="355"/>
                  </a:lnTo>
                  <a:lnTo>
                    <a:pt x="219" y="357"/>
                  </a:lnTo>
                  <a:lnTo>
                    <a:pt x="219" y="361"/>
                  </a:lnTo>
                  <a:lnTo>
                    <a:pt x="217" y="363"/>
                  </a:lnTo>
                  <a:lnTo>
                    <a:pt x="217" y="361"/>
                  </a:lnTo>
                  <a:lnTo>
                    <a:pt x="215" y="361"/>
                  </a:lnTo>
                  <a:lnTo>
                    <a:pt x="217" y="363"/>
                  </a:lnTo>
                  <a:lnTo>
                    <a:pt x="215" y="363"/>
                  </a:lnTo>
                  <a:lnTo>
                    <a:pt x="213" y="361"/>
                  </a:lnTo>
                  <a:lnTo>
                    <a:pt x="213" y="363"/>
                  </a:lnTo>
                  <a:lnTo>
                    <a:pt x="213" y="365"/>
                  </a:lnTo>
                  <a:lnTo>
                    <a:pt x="213" y="367"/>
                  </a:lnTo>
                  <a:lnTo>
                    <a:pt x="217" y="365"/>
                  </a:lnTo>
                  <a:lnTo>
                    <a:pt x="219" y="363"/>
                  </a:lnTo>
                  <a:lnTo>
                    <a:pt x="219" y="365"/>
                  </a:lnTo>
                  <a:lnTo>
                    <a:pt x="221" y="365"/>
                  </a:lnTo>
                  <a:lnTo>
                    <a:pt x="221" y="367"/>
                  </a:lnTo>
                  <a:lnTo>
                    <a:pt x="219" y="369"/>
                  </a:lnTo>
                  <a:lnTo>
                    <a:pt x="219" y="371"/>
                  </a:lnTo>
                  <a:lnTo>
                    <a:pt x="219" y="373"/>
                  </a:lnTo>
                  <a:lnTo>
                    <a:pt x="217" y="375"/>
                  </a:lnTo>
                  <a:lnTo>
                    <a:pt x="215" y="375"/>
                  </a:lnTo>
                  <a:lnTo>
                    <a:pt x="215" y="377"/>
                  </a:lnTo>
                  <a:lnTo>
                    <a:pt x="213" y="377"/>
                  </a:lnTo>
                  <a:lnTo>
                    <a:pt x="213" y="378"/>
                  </a:lnTo>
                  <a:lnTo>
                    <a:pt x="213" y="380"/>
                  </a:lnTo>
                  <a:lnTo>
                    <a:pt x="211" y="382"/>
                  </a:lnTo>
                  <a:lnTo>
                    <a:pt x="211" y="384"/>
                  </a:lnTo>
                  <a:lnTo>
                    <a:pt x="209" y="388"/>
                  </a:lnTo>
                  <a:lnTo>
                    <a:pt x="209" y="390"/>
                  </a:lnTo>
                  <a:lnTo>
                    <a:pt x="208" y="390"/>
                  </a:lnTo>
                  <a:lnTo>
                    <a:pt x="208" y="392"/>
                  </a:lnTo>
                  <a:lnTo>
                    <a:pt x="206" y="394"/>
                  </a:lnTo>
                  <a:lnTo>
                    <a:pt x="204" y="396"/>
                  </a:lnTo>
                  <a:lnTo>
                    <a:pt x="204" y="398"/>
                  </a:lnTo>
                  <a:lnTo>
                    <a:pt x="202" y="398"/>
                  </a:lnTo>
                  <a:lnTo>
                    <a:pt x="200" y="398"/>
                  </a:lnTo>
                  <a:lnTo>
                    <a:pt x="198" y="400"/>
                  </a:lnTo>
                  <a:lnTo>
                    <a:pt x="198" y="402"/>
                  </a:lnTo>
                  <a:lnTo>
                    <a:pt x="196" y="402"/>
                  </a:lnTo>
                  <a:lnTo>
                    <a:pt x="194" y="402"/>
                  </a:lnTo>
                  <a:lnTo>
                    <a:pt x="192" y="400"/>
                  </a:lnTo>
                  <a:lnTo>
                    <a:pt x="192" y="398"/>
                  </a:lnTo>
                  <a:lnTo>
                    <a:pt x="190" y="396"/>
                  </a:lnTo>
                  <a:lnTo>
                    <a:pt x="188" y="396"/>
                  </a:lnTo>
                  <a:lnTo>
                    <a:pt x="190" y="398"/>
                  </a:lnTo>
                  <a:lnTo>
                    <a:pt x="188" y="400"/>
                  </a:lnTo>
                  <a:lnTo>
                    <a:pt x="190" y="400"/>
                  </a:lnTo>
                  <a:lnTo>
                    <a:pt x="192" y="402"/>
                  </a:lnTo>
                  <a:lnTo>
                    <a:pt x="192" y="403"/>
                  </a:lnTo>
                  <a:lnTo>
                    <a:pt x="194" y="405"/>
                  </a:lnTo>
                  <a:lnTo>
                    <a:pt x="194" y="407"/>
                  </a:lnTo>
                  <a:lnTo>
                    <a:pt x="192" y="407"/>
                  </a:lnTo>
                  <a:lnTo>
                    <a:pt x="190" y="407"/>
                  </a:lnTo>
                  <a:lnTo>
                    <a:pt x="188" y="407"/>
                  </a:lnTo>
                  <a:lnTo>
                    <a:pt x="190" y="411"/>
                  </a:lnTo>
                  <a:lnTo>
                    <a:pt x="190" y="409"/>
                  </a:lnTo>
                  <a:lnTo>
                    <a:pt x="192" y="411"/>
                  </a:lnTo>
                  <a:lnTo>
                    <a:pt x="192" y="413"/>
                  </a:lnTo>
                  <a:lnTo>
                    <a:pt x="194" y="413"/>
                  </a:lnTo>
                  <a:lnTo>
                    <a:pt x="196" y="413"/>
                  </a:lnTo>
                  <a:lnTo>
                    <a:pt x="198" y="415"/>
                  </a:lnTo>
                  <a:lnTo>
                    <a:pt x="196" y="417"/>
                  </a:lnTo>
                  <a:lnTo>
                    <a:pt x="194" y="417"/>
                  </a:lnTo>
                  <a:lnTo>
                    <a:pt x="196" y="415"/>
                  </a:lnTo>
                  <a:lnTo>
                    <a:pt x="194" y="415"/>
                  </a:lnTo>
                  <a:lnTo>
                    <a:pt x="194" y="417"/>
                  </a:lnTo>
                  <a:lnTo>
                    <a:pt x="194" y="419"/>
                  </a:lnTo>
                  <a:lnTo>
                    <a:pt x="194" y="421"/>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456" name="Freeform 244"/>
            <p:cNvSpPr>
              <a:spLocks/>
            </p:cNvSpPr>
            <p:nvPr/>
          </p:nvSpPr>
          <p:spPr bwMode="auto">
            <a:xfrm>
              <a:off x="2506" y="1364"/>
              <a:ext cx="359" cy="744"/>
            </a:xfrm>
            <a:custGeom>
              <a:avLst/>
              <a:gdLst>
                <a:gd name="T0" fmla="*/ 33 w 359"/>
                <a:gd name="T1" fmla="*/ 726 h 744"/>
                <a:gd name="T2" fmla="*/ 25 w 359"/>
                <a:gd name="T3" fmla="*/ 724 h 744"/>
                <a:gd name="T4" fmla="*/ 27 w 359"/>
                <a:gd name="T5" fmla="*/ 703 h 744"/>
                <a:gd name="T6" fmla="*/ 19 w 359"/>
                <a:gd name="T7" fmla="*/ 692 h 744"/>
                <a:gd name="T8" fmla="*/ 23 w 359"/>
                <a:gd name="T9" fmla="*/ 667 h 744"/>
                <a:gd name="T10" fmla="*/ 15 w 359"/>
                <a:gd name="T11" fmla="*/ 655 h 744"/>
                <a:gd name="T12" fmla="*/ 8 w 359"/>
                <a:gd name="T13" fmla="*/ 655 h 744"/>
                <a:gd name="T14" fmla="*/ 2 w 359"/>
                <a:gd name="T15" fmla="*/ 626 h 744"/>
                <a:gd name="T16" fmla="*/ 19 w 359"/>
                <a:gd name="T17" fmla="*/ 621 h 744"/>
                <a:gd name="T18" fmla="*/ 27 w 359"/>
                <a:gd name="T19" fmla="*/ 573 h 744"/>
                <a:gd name="T20" fmla="*/ 46 w 359"/>
                <a:gd name="T21" fmla="*/ 540 h 744"/>
                <a:gd name="T22" fmla="*/ 40 w 359"/>
                <a:gd name="T23" fmla="*/ 507 h 744"/>
                <a:gd name="T24" fmla="*/ 54 w 359"/>
                <a:gd name="T25" fmla="*/ 480 h 744"/>
                <a:gd name="T26" fmla="*/ 35 w 359"/>
                <a:gd name="T27" fmla="*/ 411 h 744"/>
                <a:gd name="T28" fmla="*/ 29 w 359"/>
                <a:gd name="T29" fmla="*/ 355 h 744"/>
                <a:gd name="T30" fmla="*/ 85 w 359"/>
                <a:gd name="T31" fmla="*/ 309 h 744"/>
                <a:gd name="T32" fmla="*/ 110 w 359"/>
                <a:gd name="T33" fmla="*/ 179 h 744"/>
                <a:gd name="T34" fmla="*/ 136 w 359"/>
                <a:gd name="T35" fmla="*/ 102 h 744"/>
                <a:gd name="T36" fmla="*/ 186 w 359"/>
                <a:gd name="T37" fmla="*/ 54 h 744"/>
                <a:gd name="T38" fmla="*/ 229 w 359"/>
                <a:gd name="T39" fmla="*/ 31 h 744"/>
                <a:gd name="T40" fmla="*/ 261 w 359"/>
                <a:gd name="T41" fmla="*/ 13 h 744"/>
                <a:gd name="T42" fmla="*/ 279 w 359"/>
                <a:gd name="T43" fmla="*/ 25 h 744"/>
                <a:gd name="T44" fmla="*/ 309 w 359"/>
                <a:gd name="T45" fmla="*/ 35 h 744"/>
                <a:gd name="T46" fmla="*/ 329 w 359"/>
                <a:gd name="T47" fmla="*/ 56 h 744"/>
                <a:gd name="T48" fmla="*/ 327 w 359"/>
                <a:gd name="T49" fmla="*/ 79 h 744"/>
                <a:gd name="T50" fmla="*/ 336 w 359"/>
                <a:gd name="T51" fmla="*/ 92 h 744"/>
                <a:gd name="T52" fmla="*/ 346 w 359"/>
                <a:gd name="T53" fmla="*/ 115 h 744"/>
                <a:gd name="T54" fmla="*/ 342 w 359"/>
                <a:gd name="T55" fmla="*/ 140 h 744"/>
                <a:gd name="T56" fmla="*/ 359 w 359"/>
                <a:gd name="T57" fmla="*/ 171 h 744"/>
                <a:gd name="T58" fmla="*/ 350 w 359"/>
                <a:gd name="T59" fmla="*/ 179 h 744"/>
                <a:gd name="T60" fmla="*/ 336 w 359"/>
                <a:gd name="T61" fmla="*/ 182 h 744"/>
                <a:gd name="T62" fmla="*/ 323 w 359"/>
                <a:gd name="T63" fmla="*/ 181 h 744"/>
                <a:gd name="T64" fmla="*/ 315 w 359"/>
                <a:gd name="T65" fmla="*/ 184 h 744"/>
                <a:gd name="T66" fmla="*/ 311 w 359"/>
                <a:gd name="T67" fmla="*/ 190 h 744"/>
                <a:gd name="T68" fmla="*/ 313 w 359"/>
                <a:gd name="T69" fmla="*/ 198 h 744"/>
                <a:gd name="T70" fmla="*/ 306 w 359"/>
                <a:gd name="T71" fmla="*/ 202 h 744"/>
                <a:gd name="T72" fmla="*/ 302 w 359"/>
                <a:gd name="T73" fmla="*/ 209 h 744"/>
                <a:gd name="T74" fmla="*/ 292 w 359"/>
                <a:gd name="T75" fmla="*/ 215 h 744"/>
                <a:gd name="T76" fmla="*/ 294 w 359"/>
                <a:gd name="T77" fmla="*/ 227 h 744"/>
                <a:gd name="T78" fmla="*/ 286 w 359"/>
                <a:gd name="T79" fmla="*/ 240 h 744"/>
                <a:gd name="T80" fmla="*/ 284 w 359"/>
                <a:gd name="T81" fmla="*/ 250 h 744"/>
                <a:gd name="T82" fmla="*/ 288 w 359"/>
                <a:gd name="T83" fmla="*/ 259 h 744"/>
                <a:gd name="T84" fmla="*/ 296 w 359"/>
                <a:gd name="T85" fmla="*/ 265 h 744"/>
                <a:gd name="T86" fmla="*/ 298 w 359"/>
                <a:gd name="T87" fmla="*/ 273 h 744"/>
                <a:gd name="T88" fmla="*/ 288 w 359"/>
                <a:gd name="T89" fmla="*/ 284 h 744"/>
                <a:gd name="T90" fmla="*/ 282 w 359"/>
                <a:gd name="T91" fmla="*/ 300 h 744"/>
                <a:gd name="T92" fmla="*/ 275 w 359"/>
                <a:gd name="T93" fmla="*/ 311 h 744"/>
                <a:gd name="T94" fmla="*/ 254 w 359"/>
                <a:gd name="T95" fmla="*/ 330 h 744"/>
                <a:gd name="T96" fmla="*/ 246 w 359"/>
                <a:gd name="T97" fmla="*/ 334 h 744"/>
                <a:gd name="T98" fmla="*/ 240 w 359"/>
                <a:gd name="T99" fmla="*/ 336 h 744"/>
                <a:gd name="T100" fmla="*/ 232 w 359"/>
                <a:gd name="T101" fmla="*/ 346 h 744"/>
                <a:gd name="T102" fmla="*/ 227 w 359"/>
                <a:gd name="T103" fmla="*/ 352 h 744"/>
                <a:gd name="T104" fmla="*/ 221 w 359"/>
                <a:gd name="T105" fmla="*/ 357 h 744"/>
                <a:gd name="T106" fmla="*/ 213 w 359"/>
                <a:gd name="T107" fmla="*/ 363 h 744"/>
                <a:gd name="T108" fmla="*/ 219 w 359"/>
                <a:gd name="T109" fmla="*/ 373 h 744"/>
                <a:gd name="T110" fmla="*/ 209 w 359"/>
                <a:gd name="T111" fmla="*/ 390 h 744"/>
                <a:gd name="T112" fmla="*/ 196 w 359"/>
                <a:gd name="T113" fmla="*/ 402 h 744"/>
                <a:gd name="T114" fmla="*/ 192 w 359"/>
                <a:gd name="T115" fmla="*/ 403 h 744"/>
                <a:gd name="T116" fmla="*/ 194 w 359"/>
                <a:gd name="T117" fmla="*/ 413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9" h="744">
                  <a:moveTo>
                    <a:pt x="36" y="744"/>
                  </a:moveTo>
                  <a:lnTo>
                    <a:pt x="35" y="742"/>
                  </a:lnTo>
                  <a:lnTo>
                    <a:pt x="36" y="742"/>
                  </a:lnTo>
                  <a:lnTo>
                    <a:pt x="35" y="736"/>
                  </a:lnTo>
                  <a:lnTo>
                    <a:pt x="31" y="734"/>
                  </a:lnTo>
                  <a:lnTo>
                    <a:pt x="31" y="732"/>
                  </a:lnTo>
                  <a:lnTo>
                    <a:pt x="33" y="732"/>
                  </a:lnTo>
                  <a:lnTo>
                    <a:pt x="33" y="728"/>
                  </a:lnTo>
                  <a:lnTo>
                    <a:pt x="31" y="728"/>
                  </a:lnTo>
                  <a:lnTo>
                    <a:pt x="33" y="726"/>
                  </a:lnTo>
                  <a:lnTo>
                    <a:pt x="33" y="724"/>
                  </a:lnTo>
                  <a:lnTo>
                    <a:pt x="31" y="724"/>
                  </a:lnTo>
                  <a:lnTo>
                    <a:pt x="31" y="722"/>
                  </a:lnTo>
                  <a:lnTo>
                    <a:pt x="31" y="720"/>
                  </a:lnTo>
                  <a:lnTo>
                    <a:pt x="29" y="722"/>
                  </a:lnTo>
                  <a:lnTo>
                    <a:pt x="29" y="724"/>
                  </a:lnTo>
                  <a:lnTo>
                    <a:pt x="29" y="726"/>
                  </a:lnTo>
                  <a:lnTo>
                    <a:pt x="27" y="726"/>
                  </a:lnTo>
                  <a:lnTo>
                    <a:pt x="27" y="724"/>
                  </a:lnTo>
                  <a:lnTo>
                    <a:pt x="25" y="724"/>
                  </a:lnTo>
                  <a:lnTo>
                    <a:pt x="25" y="720"/>
                  </a:lnTo>
                  <a:lnTo>
                    <a:pt x="27" y="715"/>
                  </a:lnTo>
                  <a:lnTo>
                    <a:pt x="27" y="713"/>
                  </a:lnTo>
                  <a:lnTo>
                    <a:pt x="27" y="709"/>
                  </a:lnTo>
                  <a:lnTo>
                    <a:pt x="25" y="709"/>
                  </a:lnTo>
                  <a:lnTo>
                    <a:pt x="25" y="711"/>
                  </a:lnTo>
                  <a:lnTo>
                    <a:pt x="25" y="709"/>
                  </a:lnTo>
                  <a:lnTo>
                    <a:pt x="23" y="707"/>
                  </a:lnTo>
                  <a:lnTo>
                    <a:pt x="23" y="705"/>
                  </a:lnTo>
                  <a:lnTo>
                    <a:pt x="27" y="703"/>
                  </a:lnTo>
                  <a:lnTo>
                    <a:pt x="23" y="705"/>
                  </a:lnTo>
                  <a:lnTo>
                    <a:pt x="21" y="703"/>
                  </a:lnTo>
                  <a:lnTo>
                    <a:pt x="19" y="705"/>
                  </a:lnTo>
                  <a:lnTo>
                    <a:pt x="19" y="701"/>
                  </a:lnTo>
                  <a:lnTo>
                    <a:pt x="23" y="699"/>
                  </a:lnTo>
                  <a:lnTo>
                    <a:pt x="23" y="697"/>
                  </a:lnTo>
                  <a:lnTo>
                    <a:pt x="19" y="699"/>
                  </a:lnTo>
                  <a:lnTo>
                    <a:pt x="19" y="696"/>
                  </a:lnTo>
                  <a:lnTo>
                    <a:pt x="19" y="694"/>
                  </a:lnTo>
                  <a:lnTo>
                    <a:pt x="19" y="692"/>
                  </a:lnTo>
                  <a:lnTo>
                    <a:pt x="21" y="692"/>
                  </a:lnTo>
                  <a:lnTo>
                    <a:pt x="21" y="690"/>
                  </a:lnTo>
                  <a:lnTo>
                    <a:pt x="19" y="690"/>
                  </a:lnTo>
                  <a:lnTo>
                    <a:pt x="23" y="686"/>
                  </a:lnTo>
                  <a:lnTo>
                    <a:pt x="23" y="680"/>
                  </a:lnTo>
                  <a:lnTo>
                    <a:pt x="23" y="676"/>
                  </a:lnTo>
                  <a:lnTo>
                    <a:pt x="25" y="674"/>
                  </a:lnTo>
                  <a:lnTo>
                    <a:pt x="25" y="671"/>
                  </a:lnTo>
                  <a:lnTo>
                    <a:pt x="23" y="669"/>
                  </a:lnTo>
                  <a:lnTo>
                    <a:pt x="23" y="667"/>
                  </a:lnTo>
                  <a:lnTo>
                    <a:pt x="23" y="665"/>
                  </a:lnTo>
                  <a:lnTo>
                    <a:pt x="27" y="665"/>
                  </a:lnTo>
                  <a:lnTo>
                    <a:pt x="23" y="665"/>
                  </a:lnTo>
                  <a:lnTo>
                    <a:pt x="19" y="665"/>
                  </a:lnTo>
                  <a:lnTo>
                    <a:pt x="17" y="669"/>
                  </a:lnTo>
                  <a:lnTo>
                    <a:pt x="13" y="671"/>
                  </a:lnTo>
                  <a:lnTo>
                    <a:pt x="15" y="665"/>
                  </a:lnTo>
                  <a:lnTo>
                    <a:pt x="17" y="659"/>
                  </a:lnTo>
                  <a:lnTo>
                    <a:pt x="15" y="659"/>
                  </a:lnTo>
                  <a:lnTo>
                    <a:pt x="15" y="655"/>
                  </a:lnTo>
                  <a:lnTo>
                    <a:pt x="13" y="665"/>
                  </a:lnTo>
                  <a:lnTo>
                    <a:pt x="12" y="667"/>
                  </a:lnTo>
                  <a:lnTo>
                    <a:pt x="10" y="667"/>
                  </a:lnTo>
                  <a:lnTo>
                    <a:pt x="10" y="661"/>
                  </a:lnTo>
                  <a:lnTo>
                    <a:pt x="8" y="665"/>
                  </a:lnTo>
                  <a:lnTo>
                    <a:pt x="10" y="661"/>
                  </a:lnTo>
                  <a:lnTo>
                    <a:pt x="8" y="663"/>
                  </a:lnTo>
                  <a:lnTo>
                    <a:pt x="4" y="663"/>
                  </a:lnTo>
                  <a:lnTo>
                    <a:pt x="4" y="657"/>
                  </a:lnTo>
                  <a:lnTo>
                    <a:pt x="8" y="655"/>
                  </a:lnTo>
                  <a:lnTo>
                    <a:pt x="6" y="655"/>
                  </a:lnTo>
                  <a:lnTo>
                    <a:pt x="4" y="653"/>
                  </a:lnTo>
                  <a:lnTo>
                    <a:pt x="4" y="651"/>
                  </a:lnTo>
                  <a:lnTo>
                    <a:pt x="6" y="649"/>
                  </a:lnTo>
                  <a:lnTo>
                    <a:pt x="4" y="644"/>
                  </a:lnTo>
                  <a:lnTo>
                    <a:pt x="4" y="642"/>
                  </a:lnTo>
                  <a:lnTo>
                    <a:pt x="2" y="640"/>
                  </a:lnTo>
                  <a:lnTo>
                    <a:pt x="2" y="636"/>
                  </a:lnTo>
                  <a:lnTo>
                    <a:pt x="2" y="630"/>
                  </a:lnTo>
                  <a:lnTo>
                    <a:pt x="2" y="626"/>
                  </a:lnTo>
                  <a:lnTo>
                    <a:pt x="0" y="626"/>
                  </a:lnTo>
                  <a:lnTo>
                    <a:pt x="0" y="622"/>
                  </a:lnTo>
                  <a:lnTo>
                    <a:pt x="2" y="619"/>
                  </a:lnTo>
                  <a:lnTo>
                    <a:pt x="8" y="615"/>
                  </a:lnTo>
                  <a:lnTo>
                    <a:pt x="10" y="619"/>
                  </a:lnTo>
                  <a:lnTo>
                    <a:pt x="12" y="628"/>
                  </a:lnTo>
                  <a:lnTo>
                    <a:pt x="12" y="630"/>
                  </a:lnTo>
                  <a:lnTo>
                    <a:pt x="13" y="630"/>
                  </a:lnTo>
                  <a:lnTo>
                    <a:pt x="17" y="628"/>
                  </a:lnTo>
                  <a:lnTo>
                    <a:pt x="19" y="621"/>
                  </a:lnTo>
                  <a:lnTo>
                    <a:pt x="21" y="615"/>
                  </a:lnTo>
                  <a:lnTo>
                    <a:pt x="21" y="613"/>
                  </a:lnTo>
                  <a:lnTo>
                    <a:pt x="23" y="603"/>
                  </a:lnTo>
                  <a:lnTo>
                    <a:pt x="21" y="594"/>
                  </a:lnTo>
                  <a:lnTo>
                    <a:pt x="19" y="584"/>
                  </a:lnTo>
                  <a:lnTo>
                    <a:pt x="23" y="582"/>
                  </a:lnTo>
                  <a:lnTo>
                    <a:pt x="27" y="578"/>
                  </a:lnTo>
                  <a:lnTo>
                    <a:pt x="27" y="576"/>
                  </a:lnTo>
                  <a:lnTo>
                    <a:pt x="27" y="574"/>
                  </a:lnTo>
                  <a:lnTo>
                    <a:pt x="27" y="573"/>
                  </a:lnTo>
                  <a:lnTo>
                    <a:pt x="25" y="571"/>
                  </a:lnTo>
                  <a:lnTo>
                    <a:pt x="29" y="567"/>
                  </a:lnTo>
                  <a:lnTo>
                    <a:pt x="33" y="567"/>
                  </a:lnTo>
                  <a:lnTo>
                    <a:pt x="35" y="567"/>
                  </a:lnTo>
                  <a:lnTo>
                    <a:pt x="36" y="567"/>
                  </a:lnTo>
                  <a:lnTo>
                    <a:pt x="40" y="563"/>
                  </a:lnTo>
                  <a:lnTo>
                    <a:pt x="42" y="559"/>
                  </a:lnTo>
                  <a:lnTo>
                    <a:pt x="46" y="553"/>
                  </a:lnTo>
                  <a:lnTo>
                    <a:pt x="46" y="548"/>
                  </a:lnTo>
                  <a:lnTo>
                    <a:pt x="46" y="540"/>
                  </a:lnTo>
                  <a:lnTo>
                    <a:pt x="46" y="538"/>
                  </a:lnTo>
                  <a:lnTo>
                    <a:pt x="48" y="534"/>
                  </a:lnTo>
                  <a:lnTo>
                    <a:pt x="48" y="530"/>
                  </a:lnTo>
                  <a:lnTo>
                    <a:pt x="48" y="526"/>
                  </a:lnTo>
                  <a:lnTo>
                    <a:pt x="46" y="524"/>
                  </a:lnTo>
                  <a:lnTo>
                    <a:pt x="46" y="523"/>
                  </a:lnTo>
                  <a:lnTo>
                    <a:pt x="46" y="519"/>
                  </a:lnTo>
                  <a:lnTo>
                    <a:pt x="42" y="515"/>
                  </a:lnTo>
                  <a:lnTo>
                    <a:pt x="40" y="511"/>
                  </a:lnTo>
                  <a:lnTo>
                    <a:pt x="40" y="507"/>
                  </a:lnTo>
                  <a:lnTo>
                    <a:pt x="38" y="503"/>
                  </a:lnTo>
                  <a:lnTo>
                    <a:pt x="38" y="500"/>
                  </a:lnTo>
                  <a:lnTo>
                    <a:pt x="36" y="496"/>
                  </a:lnTo>
                  <a:lnTo>
                    <a:pt x="40" y="494"/>
                  </a:lnTo>
                  <a:lnTo>
                    <a:pt x="44" y="494"/>
                  </a:lnTo>
                  <a:lnTo>
                    <a:pt x="46" y="494"/>
                  </a:lnTo>
                  <a:lnTo>
                    <a:pt x="48" y="494"/>
                  </a:lnTo>
                  <a:lnTo>
                    <a:pt x="50" y="488"/>
                  </a:lnTo>
                  <a:lnTo>
                    <a:pt x="54" y="482"/>
                  </a:lnTo>
                  <a:lnTo>
                    <a:pt x="54" y="480"/>
                  </a:lnTo>
                  <a:lnTo>
                    <a:pt x="54" y="478"/>
                  </a:lnTo>
                  <a:lnTo>
                    <a:pt x="54" y="475"/>
                  </a:lnTo>
                  <a:lnTo>
                    <a:pt x="46" y="461"/>
                  </a:lnTo>
                  <a:lnTo>
                    <a:pt x="42" y="461"/>
                  </a:lnTo>
                  <a:lnTo>
                    <a:pt x="33" y="453"/>
                  </a:lnTo>
                  <a:lnTo>
                    <a:pt x="35" y="428"/>
                  </a:lnTo>
                  <a:lnTo>
                    <a:pt x="35" y="426"/>
                  </a:lnTo>
                  <a:lnTo>
                    <a:pt x="36" y="417"/>
                  </a:lnTo>
                  <a:lnTo>
                    <a:pt x="35" y="413"/>
                  </a:lnTo>
                  <a:lnTo>
                    <a:pt x="35" y="411"/>
                  </a:lnTo>
                  <a:lnTo>
                    <a:pt x="35" y="407"/>
                  </a:lnTo>
                  <a:lnTo>
                    <a:pt x="33" y="403"/>
                  </a:lnTo>
                  <a:lnTo>
                    <a:pt x="31" y="396"/>
                  </a:lnTo>
                  <a:lnTo>
                    <a:pt x="33" y="388"/>
                  </a:lnTo>
                  <a:lnTo>
                    <a:pt x="31" y="378"/>
                  </a:lnTo>
                  <a:lnTo>
                    <a:pt x="35" y="373"/>
                  </a:lnTo>
                  <a:lnTo>
                    <a:pt x="35" y="369"/>
                  </a:lnTo>
                  <a:lnTo>
                    <a:pt x="31" y="361"/>
                  </a:lnTo>
                  <a:lnTo>
                    <a:pt x="29" y="357"/>
                  </a:lnTo>
                  <a:lnTo>
                    <a:pt x="29" y="355"/>
                  </a:lnTo>
                  <a:lnTo>
                    <a:pt x="31" y="350"/>
                  </a:lnTo>
                  <a:lnTo>
                    <a:pt x="35" y="344"/>
                  </a:lnTo>
                  <a:lnTo>
                    <a:pt x="33" y="336"/>
                  </a:lnTo>
                  <a:lnTo>
                    <a:pt x="36" y="332"/>
                  </a:lnTo>
                  <a:lnTo>
                    <a:pt x="38" y="329"/>
                  </a:lnTo>
                  <a:lnTo>
                    <a:pt x="42" y="321"/>
                  </a:lnTo>
                  <a:lnTo>
                    <a:pt x="48" y="313"/>
                  </a:lnTo>
                  <a:lnTo>
                    <a:pt x="56" y="307"/>
                  </a:lnTo>
                  <a:lnTo>
                    <a:pt x="65" y="304"/>
                  </a:lnTo>
                  <a:lnTo>
                    <a:pt x="85" y="309"/>
                  </a:lnTo>
                  <a:lnTo>
                    <a:pt x="90" y="298"/>
                  </a:lnTo>
                  <a:lnTo>
                    <a:pt x="88" y="282"/>
                  </a:lnTo>
                  <a:lnTo>
                    <a:pt x="75" y="273"/>
                  </a:lnTo>
                  <a:lnTo>
                    <a:pt x="92" y="240"/>
                  </a:lnTo>
                  <a:lnTo>
                    <a:pt x="94" y="232"/>
                  </a:lnTo>
                  <a:lnTo>
                    <a:pt x="98" y="229"/>
                  </a:lnTo>
                  <a:lnTo>
                    <a:pt x="98" y="206"/>
                  </a:lnTo>
                  <a:lnTo>
                    <a:pt x="100" y="200"/>
                  </a:lnTo>
                  <a:lnTo>
                    <a:pt x="96" y="181"/>
                  </a:lnTo>
                  <a:lnTo>
                    <a:pt x="110" y="179"/>
                  </a:lnTo>
                  <a:lnTo>
                    <a:pt x="123" y="169"/>
                  </a:lnTo>
                  <a:lnTo>
                    <a:pt x="121" y="167"/>
                  </a:lnTo>
                  <a:lnTo>
                    <a:pt x="119" y="157"/>
                  </a:lnTo>
                  <a:lnTo>
                    <a:pt x="127" y="150"/>
                  </a:lnTo>
                  <a:lnTo>
                    <a:pt x="134" y="133"/>
                  </a:lnTo>
                  <a:lnTo>
                    <a:pt x="140" y="127"/>
                  </a:lnTo>
                  <a:lnTo>
                    <a:pt x="144" y="125"/>
                  </a:lnTo>
                  <a:lnTo>
                    <a:pt x="144" y="115"/>
                  </a:lnTo>
                  <a:lnTo>
                    <a:pt x="140" y="109"/>
                  </a:lnTo>
                  <a:lnTo>
                    <a:pt x="136" y="102"/>
                  </a:lnTo>
                  <a:lnTo>
                    <a:pt x="136" y="98"/>
                  </a:lnTo>
                  <a:lnTo>
                    <a:pt x="144" y="96"/>
                  </a:lnTo>
                  <a:lnTo>
                    <a:pt x="146" y="90"/>
                  </a:lnTo>
                  <a:lnTo>
                    <a:pt x="150" y="79"/>
                  </a:lnTo>
                  <a:lnTo>
                    <a:pt x="152" y="73"/>
                  </a:lnTo>
                  <a:lnTo>
                    <a:pt x="163" y="65"/>
                  </a:lnTo>
                  <a:lnTo>
                    <a:pt x="163" y="61"/>
                  </a:lnTo>
                  <a:lnTo>
                    <a:pt x="175" y="65"/>
                  </a:lnTo>
                  <a:lnTo>
                    <a:pt x="181" y="69"/>
                  </a:lnTo>
                  <a:lnTo>
                    <a:pt x="186" y="54"/>
                  </a:lnTo>
                  <a:lnTo>
                    <a:pt x="184" y="42"/>
                  </a:lnTo>
                  <a:lnTo>
                    <a:pt x="184" y="36"/>
                  </a:lnTo>
                  <a:lnTo>
                    <a:pt x="190" y="33"/>
                  </a:lnTo>
                  <a:lnTo>
                    <a:pt x="192" y="35"/>
                  </a:lnTo>
                  <a:lnTo>
                    <a:pt x="196" y="36"/>
                  </a:lnTo>
                  <a:lnTo>
                    <a:pt x="206" y="35"/>
                  </a:lnTo>
                  <a:lnTo>
                    <a:pt x="231" y="42"/>
                  </a:lnTo>
                  <a:lnTo>
                    <a:pt x="236" y="33"/>
                  </a:lnTo>
                  <a:lnTo>
                    <a:pt x="232" y="33"/>
                  </a:lnTo>
                  <a:lnTo>
                    <a:pt x="229" y="31"/>
                  </a:lnTo>
                  <a:lnTo>
                    <a:pt x="236" y="25"/>
                  </a:lnTo>
                  <a:lnTo>
                    <a:pt x="238" y="15"/>
                  </a:lnTo>
                  <a:lnTo>
                    <a:pt x="238" y="8"/>
                  </a:lnTo>
                  <a:lnTo>
                    <a:pt x="231" y="2"/>
                  </a:lnTo>
                  <a:lnTo>
                    <a:pt x="242" y="0"/>
                  </a:lnTo>
                  <a:lnTo>
                    <a:pt x="248" y="0"/>
                  </a:lnTo>
                  <a:lnTo>
                    <a:pt x="252" y="4"/>
                  </a:lnTo>
                  <a:lnTo>
                    <a:pt x="252" y="8"/>
                  </a:lnTo>
                  <a:lnTo>
                    <a:pt x="256" y="10"/>
                  </a:lnTo>
                  <a:lnTo>
                    <a:pt x="261" y="13"/>
                  </a:lnTo>
                  <a:lnTo>
                    <a:pt x="263" y="15"/>
                  </a:lnTo>
                  <a:lnTo>
                    <a:pt x="265" y="15"/>
                  </a:lnTo>
                  <a:lnTo>
                    <a:pt x="265" y="17"/>
                  </a:lnTo>
                  <a:lnTo>
                    <a:pt x="267" y="19"/>
                  </a:lnTo>
                  <a:lnTo>
                    <a:pt x="269" y="21"/>
                  </a:lnTo>
                  <a:lnTo>
                    <a:pt x="273" y="21"/>
                  </a:lnTo>
                  <a:lnTo>
                    <a:pt x="273" y="23"/>
                  </a:lnTo>
                  <a:lnTo>
                    <a:pt x="273" y="25"/>
                  </a:lnTo>
                  <a:lnTo>
                    <a:pt x="275" y="25"/>
                  </a:lnTo>
                  <a:lnTo>
                    <a:pt x="279" y="25"/>
                  </a:lnTo>
                  <a:lnTo>
                    <a:pt x="281" y="25"/>
                  </a:lnTo>
                  <a:lnTo>
                    <a:pt x="281" y="27"/>
                  </a:lnTo>
                  <a:lnTo>
                    <a:pt x="284" y="29"/>
                  </a:lnTo>
                  <a:lnTo>
                    <a:pt x="286" y="31"/>
                  </a:lnTo>
                  <a:lnTo>
                    <a:pt x="290" y="29"/>
                  </a:lnTo>
                  <a:lnTo>
                    <a:pt x="294" y="29"/>
                  </a:lnTo>
                  <a:lnTo>
                    <a:pt x="298" y="31"/>
                  </a:lnTo>
                  <a:lnTo>
                    <a:pt x="302" y="31"/>
                  </a:lnTo>
                  <a:lnTo>
                    <a:pt x="304" y="33"/>
                  </a:lnTo>
                  <a:lnTo>
                    <a:pt x="309" y="35"/>
                  </a:lnTo>
                  <a:lnTo>
                    <a:pt x="313" y="38"/>
                  </a:lnTo>
                  <a:lnTo>
                    <a:pt x="315" y="40"/>
                  </a:lnTo>
                  <a:lnTo>
                    <a:pt x="315" y="44"/>
                  </a:lnTo>
                  <a:lnTo>
                    <a:pt x="319" y="44"/>
                  </a:lnTo>
                  <a:lnTo>
                    <a:pt x="321" y="48"/>
                  </a:lnTo>
                  <a:lnTo>
                    <a:pt x="321" y="50"/>
                  </a:lnTo>
                  <a:lnTo>
                    <a:pt x="325" y="52"/>
                  </a:lnTo>
                  <a:lnTo>
                    <a:pt x="327" y="52"/>
                  </a:lnTo>
                  <a:lnTo>
                    <a:pt x="329" y="54"/>
                  </a:lnTo>
                  <a:lnTo>
                    <a:pt x="329" y="56"/>
                  </a:lnTo>
                  <a:lnTo>
                    <a:pt x="327" y="58"/>
                  </a:lnTo>
                  <a:lnTo>
                    <a:pt x="325" y="61"/>
                  </a:lnTo>
                  <a:lnTo>
                    <a:pt x="327" y="67"/>
                  </a:lnTo>
                  <a:lnTo>
                    <a:pt x="327" y="69"/>
                  </a:lnTo>
                  <a:lnTo>
                    <a:pt x="327" y="71"/>
                  </a:lnTo>
                  <a:lnTo>
                    <a:pt x="329" y="73"/>
                  </a:lnTo>
                  <a:lnTo>
                    <a:pt x="329" y="75"/>
                  </a:lnTo>
                  <a:lnTo>
                    <a:pt x="329" y="77"/>
                  </a:lnTo>
                  <a:lnTo>
                    <a:pt x="327" y="77"/>
                  </a:lnTo>
                  <a:lnTo>
                    <a:pt x="327" y="79"/>
                  </a:lnTo>
                  <a:lnTo>
                    <a:pt x="327" y="81"/>
                  </a:lnTo>
                  <a:lnTo>
                    <a:pt x="327" y="83"/>
                  </a:lnTo>
                  <a:lnTo>
                    <a:pt x="329" y="83"/>
                  </a:lnTo>
                  <a:lnTo>
                    <a:pt x="331" y="83"/>
                  </a:lnTo>
                  <a:lnTo>
                    <a:pt x="334" y="83"/>
                  </a:lnTo>
                  <a:lnTo>
                    <a:pt x="336" y="84"/>
                  </a:lnTo>
                  <a:lnTo>
                    <a:pt x="336" y="86"/>
                  </a:lnTo>
                  <a:lnTo>
                    <a:pt x="336" y="88"/>
                  </a:lnTo>
                  <a:lnTo>
                    <a:pt x="336" y="90"/>
                  </a:lnTo>
                  <a:lnTo>
                    <a:pt x="336" y="92"/>
                  </a:lnTo>
                  <a:lnTo>
                    <a:pt x="334" y="94"/>
                  </a:lnTo>
                  <a:lnTo>
                    <a:pt x="332" y="94"/>
                  </a:lnTo>
                  <a:lnTo>
                    <a:pt x="332" y="96"/>
                  </a:lnTo>
                  <a:lnTo>
                    <a:pt x="334" y="98"/>
                  </a:lnTo>
                  <a:lnTo>
                    <a:pt x="334" y="100"/>
                  </a:lnTo>
                  <a:lnTo>
                    <a:pt x="334" y="102"/>
                  </a:lnTo>
                  <a:lnTo>
                    <a:pt x="336" y="104"/>
                  </a:lnTo>
                  <a:lnTo>
                    <a:pt x="340" y="108"/>
                  </a:lnTo>
                  <a:lnTo>
                    <a:pt x="344" y="111"/>
                  </a:lnTo>
                  <a:lnTo>
                    <a:pt x="346" y="115"/>
                  </a:lnTo>
                  <a:lnTo>
                    <a:pt x="348" y="117"/>
                  </a:lnTo>
                  <a:lnTo>
                    <a:pt x="348" y="119"/>
                  </a:lnTo>
                  <a:lnTo>
                    <a:pt x="346" y="119"/>
                  </a:lnTo>
                  <a:lnTo>
                    <a:pt x="346" y="123"/>
                  </a:lnTo>
                  <a:lnTo>
                    <a:pt x="346" y="127"/>
                  </a:lnTo>
                  <a:lnTo>
                    <a:pt x="346" y="131"/>
                  </a:lnTo>
                  <a:lnTo>
                    <a:pt x="346" y="133"/>
                  </a:lnTo>
                  <a:lnTo>
                    <a:pt x="346" y="134"/>
                  </a:lnTo>
                  <a:lnTo>
                    <a:pt x="344" y="138"/>
                  </a:lnTo>
                  <a:lnTo>
                    <a:pt x="342" y="140"/>
                  </a:lnTo>
                  <a:lnTo>
                    <a:pt x="342" y="144"/>
                  </a:lnTo>
                  <a:lnTo>
                    <a:pt x="342" y="148"/>
                  </a:lnTo>
                  <a:lnTo>
                    <a:pt x="344" y="152"/>
                  </a:lnTo>
                  <a:lnTo>
                    <a:pt x="346" y="156"/>
                  </a:lnTo>
                  <a:lnTo>
                    <a:pt x="350" y="157"/>
                  </a:lnTo>
                  <a:lnTo>
                    <a:pt x="352" y="159"/>
                  </a:lnTo>
                  <a:lnTo>
                    <a:pt x="354" y="163"/>
                  </a:lnTo>
                  <a:lnTo>
                    <a:pt x="355" y="165"/>
                  </a:lnTo>
                  <a:lnTo>
                    <a:pt x="357" y="169"/>
                  </a:lnTo>
                  <a:lnTo>
                    <a:pt x="359" y="171"/>
                  </a:lnTo>
                  <a:lnTo>
                    <a:pt x="359" y="173"/>
                  </a:lnTo>
                  <a:lnTo>
                    <a:pt x="357" y="177"/>
                  </a:lnTo>
                  <a:lnTo>
                    <a:pt x="357" y="179"/>
                  </a:lnTo>
                  <a:lnTo>
                    <a:pt x="355" y="179"/>
                  </a:lnTo>
                  <a:lnTo>
                    <a:pt x="355" y="181"/>
                  </a:lnTo>
                  <a:lnTo>
                    <a:pt x="354" y="181"/>
                  </a:lnTo>
                  <a:lnTo>
                    <a:pt x="352" y="179"/>
                  </a:lnTo>
                  <a:lnTo>
                    <a:pt x="352" y="181"/>
                  </a:lnTo>
                  <a:lnTo>
                    <a:pt x="350" y="181"/>
                  </a:lnTo>
                  <a:lnTo>
                    <a:pt x="350" y="179"/>
                  </a:lnTo>
                  <a:lnTo>
                    <a:pt x="348" y="179"/>
                  </a:lnTo>
                  <a:lnTo>
                    <a:pt x="346" y="179"/>
                  </a:lnTo>
                  <a:lnTo>
                    <a:pt x="346" y="181"/>
                  </a:lnTo>
                  <a:lnTo>
                    <a:pt x="344" y="181"/>
                  </a:lnTo>
                  <a:lnTo>
                    <a:pt x="342" y="181"/>
                  </a:lnTo>
                  <a:lnTo>
                    <a:pt x="342" y="179"/>
                  </a:lnTo>
                  <a:lnTo>
                    <a:pt x="340" y="181"/>
                  </a:lnTo>
                  <a:lnTo>
                    <a:pt x="340" y="182"/>
                  </a:lnTo>
                  <a:lnTo>
                    <a:pt x="338" y="181"/>
                  </a:lnTo>
                  <a:lnTo>
                    <a:pt x="336" y="182"/>
                  </a:lnTo>
                  <a:lnTo>
                    <a:pt x="336" y="181"/>
                  </a:lnTo>
                  <a:lnTo>
                    <a:pt x="332" y="181"/>
                  </a:lnTo>
                  <a:lnTo>
                    <a:pt x="334" y="182"/>
                  </a:lnTo>
                  <a:lnTo>
                    <a:pt x="332" y="184"/>
                  </a:lnTo>
                  <a:lnTo>
                    <a:pt x="332" y="186"/>
                  </a:lnTo>
                  <a:lnTo>
                    <a:pt x="331" y="186"/>
                  </a:lnTo>
                  <a:lnTo>
                    <a:pt x="329" y="184"/>
                  </a:lnTo>
                  <a:lnTo>
                    <a:pt x="327" y="182"/>
                  </a:lnTo>
                  <a:lnTo>
                    <a:pt x="325" y="182"/>
                  </a:lnTo>
                  <a:lnTo>
                    <a:pt x="323" y="181"/>
                  </a:lnTo>
                  <a:lnTo>
                    <a:pt x="321" y="179"/>
                  </a:lnTo>
                  <a:lnTo>
                    <a:pt x="319" y="179"/>
                  </a:lnTo>
                  <a:lnTo>
                    <a:pt x="319" y="181"/>
                  </a:lnTo>
                  <a:lnTo>
                    <a:pt x="321" y="182"/>
                  </a:lnTo>
                  <a:lnTo>
                    <a:pt x="321" y="184"/>
                  </a:lnTo>
                  <a:lnTo>
                    <a:pt x="321" y="186"/>
                  </a:lnTo>
                  <a:lnTo>
                    <a:pt x="319" y="186"/>
                  </a:lnTo>
                  <a:lnTo>
                    <a:pt x="319" y="184"/>
                  </a:lnTo>
                  <a:lnTo>
                    <a:pt x="317" y="184"/>
                  </a:lnTo>
                  <a:lnTo>
                    <a:pt x="315" y="184"/>
                  </a:lnTo>
                  <a:lnTo>
                    <a:pt x="315" y="182"/>
                  </a:lnTo>
                  <a:lnTo>
                    <a:pt x="313" y="182"/>
                  </a:lnTo>
                  <a:lnTo>
                    <a:pt x="313" y="181"/>
                  </a:lnTo>
                  <a:lnTo>
                    <a:pt x="311" y="181"/>
                  </a:lnTo>
                  <a:lnTo>
                    <a:pt x="309" y="182"/>
                  </a:lnTo>
                  <a:lnTo>
                    <a:pt x="311" y="184"/>
                  </a:lnTo>
                  <a:lnTo>
                    <a:pt x="309" y="186"/>
                  </a:lnTo>
                  <a:lnTo>
                    <a:pt x="311" y="188"/>
                  </a:lnTo>
                  <a:lnTo>
                    <a:pt x="309" y="190"/>
                  </a:lnTo>
                  <a:lnTo>
                    <a:pt x="311" y="190"/>
                  </a:lnTo>
                  <a:lnTo>
                    <a:pt x="311" y="192"/>
                  </a:lnTo>
                  <a:lnTo>
                    <a:pt x="309" y="190"/>
                  </a:lnTo>
                  <a:lnTo>
                    <a:pt x="309" y="192"/>
                  </a:lnTo>
                  <a:lnTo>
                    <a:pt x="309" y="196"/>
                  </a:lnTo>
                  <a:lnTo>
                    <a:pt x="309" y="194"/>
                  </a:lnTo>
                  <a:lnTo>
                    <a:pt x="309" y="192"/>
                  </a:lnTo>
                  <a:lnTo>
                    <a:pt x="311" y="194"/>
                  </a:lnTo>
                  <a:lnTo>
                    <a:pt x="313" y="194"/>
                  </a:lnTo>
                  <a:lnTo>
                    <a:pt x="313" y="196"/>
                  </a:lnTo>
                  <a:lnTo>
                    <a:pt x="313" y="198"/>
                  </a:lnTo>
                  <a:lnTo>
                    <a:pt x="313" y="200"/>
                  </a:lnTo>
                  <a:lnTo>
                    <a:pt x="311" y="202"/>
                  </a:lnTo>
                  <a:lnTo>
                    <a:pt x="313" y="202"/>
                  </a:lnTo>
                  <a:lnTo>
                    <a:pt x="313" y="204"/>
                  </a:lnTo>
                  <a:lnTo>
                    <a:pt x="311" y="202"/>
                  </a:lnTo>
                  <a:lnTo>
                    <a:pt x="311" y="204"/>
                  </a:lnTo>
                  <a:lnTo>
                    <a:pt x="309" y="204"/>
                  </a:lnTo>
                  <a:lnTo>
                    <a:pt x="307" y="202"/>
                  </a:lnTo>
                  <a:lnTo>
                    <a:pt x="306" y="204"/>
                  </a:lnTo>
                  <a:lnTo>
                    <a:pt x="306" y="202"/>
                  </a:lnTo>
                  <a:lnTo>
                    <a:pt x="304" y="202"/>
                  </a:lnTo>
                  <a:lnTo>
                    <a:pt x="300" y="202"/>
                  </a:lnTo>
                  <a:lnTo>
                    <a:pt x="300" y="204"/>
                  </a:lnTo>
                  <a:lnTo>
                    <a:pt x="302" y="206"/>
                  </a:lnTo>
                  <a:lnTo>
                    <a:pt x="302" y="204"/>
                  </a:lnTo>
                  <a:lnTo>
                    <a:pt x="304" y="206"/>
                  </a:lnTo>
                  <a:lnTo>
                    <a:pt x="304" y="209"/>
                  </a:lnTo>
                  <a:lnTo>
                    <a:pt x="304" y="207"/>
                  </a:lnTo>
                  <a:lnTo>
                    <a:pt x="302" y="207"/>
                  </a:lnTo>
                  <a:lnTo>
                    <a:pt x="302" y="209"/>
                  </a:lnTo>
                  <a:lnTo>
                    <a:pt x="300" y="209"/>
                  </a:lnTo>
                  <a:lnTo>
                    <a:pt x="298" y="211"/>
                  </a:lnTo>
                  <a:lnTo>
                    <a:pt x="296" y="209"/>
                  </a:lnTo>
                  <a:lnTo>
                    <a:pt x="294" y="211"/>
                  </a:lnTo>
                  <a:lnTo>
                    <a:pt x="292" y="211"/>
                  </a:lnTo>
                  <a:lnTo>
                    <a:pt x="294" y="211"/>
                  </a:lnTo>
                  <a:lnTo>
                    <a:pt x="296" y="213"/>
                  </a:lnTo>
                  <a:lnTo>
                    <a:pt x="294" y="215"/>
                  </a:lnTo>
                  <a:lnTo>
                    <a:pt x="292" y="213"/>
                  </a:lnTo>
                  <a:lnTo>
                    <a:pt x="292" y="215"/>
                  </a:lnTo>
                  <a:lnTo>
                    <a:pt x="294" y="215"/>
                  </a:lnTo>
                  <a:lnTo>
                    <a:pt x="296" y="215"/>
                  </a:lnTo>
                  <a:lnTo>
                    <a:pt x="296" y="217"/>
                  </a:lnTo>
                  <a:lnTo>
                    <a:pt x="296" y="219"/>
                  </a:lnTo>
                  <a:lnTo>
                    <a:pt x="298" y="221"/>
                  </a:lnTo>
                  <a:lnTo>
                    <a:pt x="298" y="223"/>
                  </a:lnTo>
                  <a:lnTo>
                    <a:pt x="294" y="221"/>
                  </a:lnTo>
                  <a:lnTo>
                    <a:pt x="292" y="221"/>
                  </a:lnTo>
                  <a:lnTo>
                    <a:pt x="294" y="223"/>
                  </a:lnTo>
                  <a:lnTo>
                    <a:pt x="294" y="227"/>
                  </a:lnTo>
                  <a:lnTo>
                    <a:pt x="292" y="227"/>
                  </a:lnTo>
                  <a:lnTo>
                    <a:pt x="294" y="229"/>
                  </a:lnTo>
                  <a:lnTo>
                    <a:pt x="294" y="231"/>
                  </a:lnTo>
                  <a:lnTo>
                    <a:pt x="292" y="232"/>
                  </a:lnTo>
                  <a:lnTo>
                    <a:pt x="292" y="234"/>
                  </a:lnTo>
                  <a:lnTo>
                    <a:pt x="292" y="236"/>
                  </a:lnTo>
                  <a:lnTo>
                    <a:pt x="290" y="236"/>
                  </a:lnTo>
                  <a:lnTo>
                    <a:pt x="290" y="238"/>
                  </a:lnTo>
                  <a:lnTo>
                    <a:pt x="288" y="240"/>
                  </a:lnTo>
                  <a:lnTo>
                    <a:pt x="286" y="240"/>
                  </a:lnTo>
                  <a:lnTo>
                    <a:pt x="286" y="242"/>
                  </a:lnTo>
                  <a:lnTo>
                    <a:pt x="286" y="244"/>
                  </a:lnTo>
                  <a:lnTo>
                    <a:pt x="286" y="246"/>
                  </a:lnTo>
                  <a:lnTo>
                    <a:pt x="284" y="246"/>
                  </a:lnTo>
                  <a:lnTo>
                    <a:pt x="284" y="248"/>
                  </a:lnTo>
                  <a:lnTo>
                    <a:pt x="282" y="248"/>
                  </a:lnTo>
                  <a:lnTo>
                    <a:pt x="282" y="246"/>
                  </a:lnTo>
                  <a:lnTo>
                    <a:pt x="281" y="248"/>
                  </a:lnTo>
                  <a:lnTo>
                    <a:pt x="282" y="248"/>
                  </a:lnTo>
                  <a:lnTo>
                    <a:pt x="284" y="250"/>
                  </a:lnTo>
                  <a:lnTo>
                    <a:pt x="284" y="252"/>
                  </a:lnTo>
                  <a:lnTo>
                    <a:pt x="288" y="252"/>
                  </a:lnTo>
                  <a:lnTo>
                    <a:pt x="290" y="252"/>
                  </a:lnTo>
                  <a:lnTo>
                    <a:pt x="288" y="254"/>
                  </a:lnTo>
                  <a:lnTo>
                    <a:pt x="290" y="255"/>
                  </a:lnTo>
                  <a:lnTo>
                    <a:pt x="290" y="257"/>
                  </a:lnTo>
                  <a:lnTo>
                    <a:pt x="288" y="255"/>
                  </a:lnTo>
                  <a:lnTo>
                    <a:pt x="286" y="257"/>
                  </a:lnTo>
                  <a:lnTo>
                    <a:pt x="288" y="257"/>
                  </a:lnTo>
                  <a:lnTo>
                    <a:pt x="288" y="259"/>
                  </a:lnTo>
                  <a:lnTo>
                    <a:pt x="290" y="259"/>
                  </a:lnTo>
                  <a:lnTo>
                    <a:pt x="290" y="261"/>
                  </a:lnTo>
                  <a:lnTo>
                    <a:pt x="292" y="261"/>
                  </a:lnTo>
                  <a:lnTo>
                    <a:pt x="294" y="263"/>
                  </a:lnTo>
                  <a:lnTo>
                    <a:pt x="294" y="261"/>
                  </a:lnTo>
                  <a:lnTo>
                    <a:pt x="296" y="261"/>
                  </a:lnTo>
                  <a:lnTo>
                    <a:pt x="296" y="263"/>
                  </a:lnTo>
                  <a:lnTo>
                    <a:pt x="298" y="263"/>
                  </a:lnTo>
                  <a:lnTo>
                    <a:pt x="298" y="265"/>
                  </a:lnTo>
                  <a:lnTo>
                    <a:pt x="296" y="265"/>
                  </a:lnTo>
                  <a:lnTo>
                    <a:pt x="294" y="265"/>
                  </a:lnTo>
                  <a:lnTo>
                    <a:pt x="294" y="267"/>
                  </a:lnTo>
                  <a:lnTo>
                    <a:pt x="296" y="267"/>
                  </a:lnTo>
                  <a:lnTo>
                    <a:pt x="296" y="269"/>
                  </a:lnTo>
                  <a:lnTo>
                    <a:pt x="298" y="269"/>
                  </a:lnTo>
                  <a:lnTo>
                    <a:pt x="298" y="267"/>
                  </a:lnTo>
                  <a:lnTo>
                    <a:pt x="300" y="269"/>
                  </a:lnTo>
                  <a:lnTo>
                    <a:pt x="300" y="271"/>
                  </a:lnTo>
                  <a:lnTo>
                    <a:pt x="298" y="271"/>
                  </a:lnTo>
                  <a:lnTo>
                    <a:pt x="298" y="273"/>
                  </a:lnTo>
                  <a:lnTo>
                    <a:pt x="296" y="275"/>
                  </a:lnTo>
                  <a:lnTo>
                    <a:pt x="296" y="277"/>
                  </a:lnTo>
                  <a:lnTo>
                    <a:pt x="294" y="277"/>
                  </a:lnTo>
                  <a:lnTo>
                    <a:pt x="294" y="279"/>
                  </a:lnTo>
                  <a:lnTo>
                    <a:pt x="292" y="279"/>
                  </a:lnTo>
                  <a:lnTo>
                    <a:pt x="292" y="280"/>
                  </a:lnTo>
                  <a:lnTo>
                    <a:pt x="290" y="279"/>
                  </a:lnTo>
                  <a:lnTo>
                    <a:pt x="290" y="280"/>
                  </a:lnTo>
                  <a:lnTo>
                    <a:pt x="288" y="282"/>
                  </a:lnTo>
                  <a:lnTo>
                    <a:pt x="288" y="284"/>
                  </a:lnTo>
                  <a:lnTo>
                    <a:pt x="286" y="284"/>
                  </a:lnTo>
                  <a:lnTo>
                    <a:pt x="286" y="286"/>
                  </a:lnTo>
                  <a:lnTo>
                    <a:pt x="286" y="288"/>
                  </a:lnTo>
                  <a:lnTo>
                    <a:pt x="284" y="288"/>
                  </a:lnTo>
                  <a:lnTo>
                    <a:pt x="284" y="290"/>
                  </a:lnTo>
                  <a:lnTo>
                    <a:pt x="284" y="292"/>
                  </a:lnTo>
                  <a:lnTo>
                    <a:pt x="284" y="294"/>
                  </a:lnTo>
                  <a:lnTo>
                    <a:pt x="282" y="296"/>
                  </a:lnTo>
                  <a:lnTo>
                    <a:pt x="284" y="298"/>
                  </a:lnTo>
                  <a:lnTo>
                    <a:pt x="282" y="300"/>
                  </a:lnTo>
                  <a:lnTo>
                    <a:pt x="282" y="302"/>
                  </a:lnTo>
                  <a:lnTo>
                    <a:pt x="281" y="302"/>
                  </a:lnTo>
                  <a:lnTo>
                    <a:pt x="281" y="304"/>
                  </a:lnTo>
                  <a:lnTo>
                    <a:pt x="281" y="305"/>
                  </a:lnTo>
                  <a:lnTo>
                    <a:pt x="279" y="305"/>
                  </a:lnTo>
                  <a:lnTo>
                    <a:pt x="279" y="307"/>
                  </a:lnTo>
                  <a:lnTo>
                    <a:pt x="277" y="307"/>
                  </a:lnTo>
                  <a:lnTo>
                    <a:pt x="279" y="309"/>
                  </a:lnTo>
                  <a:lnTo>
                    <a:pt x="277" y="311"/>
                  </a:lnTo>
                  <a:lnTo>
                    <a:pt x="275" y="311"/>
                  </a:lnTo>
                  <a:lnTo>
                    <a:pt x="275" y="315"/>
                  </a:lnTo>
                  <a:lnTo>
                    <a:pt x="271" y="319"/>
                  </a:lnTo>
                  <a:lnTo>
                    <a:pt x="267" y="321"/>
                  </a:lnTo>
                  <a:lnTo>
                    <a:pt x="263" y="321"/>
                  </a:lnTo>
                  <a:lnTo>
                    <a:pt x="261" y="321"/>
                  </a:lnTo>
                  <a:lnTo>
                    <a:pt x="259" y="321"/>
                  </a:lnTo>
                  <a:lnTo>
                    <a:pt x="259" y="323"/>
                  </a:lnTo>
                  <a:lnTo>
                    <a:pt x="257" y="323"/>
                  </a:lnTo>
                  <a:lnTo>
                    <a:pt x="256" y="329"/>
                  </a:lnTo>
                  <a:lnTo>
                    <a:pt x="254" y="330"/>
                  </a:lnTo>
                  <a:lnTo>
                    <a:pt x="254" y="332"/>
                  </a:lnTo>
                  <a:lnTo>
                    <a:pt x="252" y="336"/>
                  </a:lnTo>
                  <a:lnTo>
                    <a:pt x="250" y="332"/>
                  </a:lnTo>
                  <a:lnTo>
                    <a:pt x="248" y="330"/>
                  </a:lnTo>
                  <a:lnTo>
                    <a:pt x="246" y="329"/>
                  </a:lnTo>
                  <a:lnTo>
                    <a:pt x="244" y="329"/>
                  </a:lnTo>
                  <a:lnTo>
                    <a:pt x="244" y="330"/>
                  </a:lnTo>
                  <a:lnTo>
                    <a:pt x="244" y="332"/>
                  </a:lnTo>
                  <a:lnTo>
                    <a:pt x="246" y="332"/>
                  </a:lnTo>
                  <a:lnTo>
                    <a:pt x="246" y="334"/>
                  </a:lnTo>
                  <a:lnTo>
                    <a:pt x="248" y="336"/>
                  </a:lnTo>
                  <a:lnTo>
                    <a:pt x="246" y="336"/>
                  </a:lnTo>
                  <a:lnTo>
                    <a:pt x="248" y="338"/>
                  </a:lnTo>
                  <a:lnTo>
                    <a:pt x="246" y="336"/>
                  </a:lnTo>
                  <a:lnTo>
                    <a:pt x="244" y="336"/>
                  </a:lnTo>
                  <a:lnTo>
                    <a:pt x="244" y="334"/>
                  </a:lnTo>
                  <a:lnTo>
                    <a:pt x="242" y="332"/>
                  </a:lnTo>
                  <a:lnTo>
                    <a:pt x="242" y="336"/>
                  </a:lnTo>
                  <a:lnTo>
                    <a:pt x="240" y="334"/>
                  </a:lnTo>
                  <a:lnTo>
                    <a:pt x="240" y="336"/>
                  </a:lnTo>
                  <a:lnTo>
                    <a:pt x="240" y="338"/>
                  </a:lnTo>
                  <a:lnTo>
                    <a:pt x="240" y="340"/>
                  </a:lnTo>
                  <a:lnTo>
                    <a:pt x="240" y="342"/>
                  </a:lnTo>
                  <a:lnTo>
                    <a:pt x="238" y="344"/>
                  </a:lnTo>
                  <a:lnTo>
                    <a:pt x="236" y="344"/>
                  </a:lnTo>
                  <a:lnTo>
                    <a:pt x="236" y="346"/>
                  </a:lnTo>
                  <a:lnTo>
                    <a:pt x="236" y="348"/>
                  </a:lnTo>
                  <a:lnTo>
                    <a:pt x="234" y="348"/>
                  </a:lnTo>
                  <a:lnTo>
                    <a:pt x="234" y="346"/>
                  </a:lnTo>
                  <a:lnTo>
                    <a:pt x="232" y="346"/>
                  </a:lnTo>
                  <a:lnTo>
                    <a:pt x="231" y="348"/>
                  </a:lnTo>
                  <a:lnTo>
                    <a:pt x="232" y="350"/>
                  </a:lnTo>
                  <a:lnTo>
                    <a:pt x="234" y="350"/>
                  </a:lnTo>
                  <a:lnTo>
                    <a:pt x="236" y="350"/>
                  </a:lnTo>
                  <a:lnTo>
                    <a:pt x="234" y="350"/>
                  </a:lnTo>
                  <a:lnTo>
                    <a:pt x="234" y="352"/>
                  </a:lnTo>
                  <a:lnTo>
                    <a:pt x="232" y="352"/>
                  </a:lnTo>
                  <a:lnTo>
                    <a:pt x="231" y="352"/>
                  </a:lnTo>
                  <a:lnTo>
                    <a:pt x="229" y="352"/>
                  </a:lnTo>
                  <a:lnTo>
                    <a:pt x="227" y="352"/>
                  </a:lnTo>
                  <a:lnTo>
                    <a:pt x="225" y="353"/>
                  </a:lnTo>
                  <a:lnTo>
                    <a:pt x="225" y="352"/>
                  </a:lnTo>
                  <a:lnTo>
                    <a:pt x="227" y="350"/>
                  </a:lnTo>
                  <a:lnTo>
                    <a:pt x="223" y="350"/>
                  </a:lnTo>
                  <a:lnTo>
                    <a:pt x="225" y="352"/>
                  </a:lnTo>
                  <a:lnTo>
                    <a:pt x="225" y="353"/>
                  </a:lnTo>
                  <a:lnTo>
                    <a:pt x="225" y="355"/>
                  </a:lnTo>
                  <a:lnTo>
                    <a:pt x="223" y="353"/>
                  </a:lnTo>
                  <a:lnTo>
                    <a:pt x="221" y="353"/>
                  </a:lnTo>
                  <a:lnTo>
                    <a:pt x="221" y="357"/>
                  </a:lnTo>
                  <a:lnTo>
                    <a:pt x="219" y="355"/>
                  </a:lnTo>
                  <a:lnTo>
                    <a:pt x="219" y="357"/>
                  </a:lnTo>
                  <a:lnTo>
                    <a:pt x="219" y="361"/>
                  </a:lnTo>
                  <a:lnTo>
                    <a:pt x="217" y="363"/>
                  </a:lnTo>
                  <a:lnTo>
                    <a:pt x="217" y="361"/>
                  </a:lnTo>
                  <a:lnTo>
                    <a:pt x="215" y="361"/>
                  </a:lnTo>
                  <a:lnTo>
                    <a:pt x="217" y="363"/>
                  </a:lnTo>
                  <a:lnTo>
                    <a:pt x="215" y="363"/>
                  </a:lnTo>
                  <a:lnTo>
                    <a:pt x="213" y="361"/>
                  </a:lnTo>
                  <a:lnTo>
                    <a:pt x="213" y="363"/>
                  </a:lnTo>
                  <a:lnTo>
                    <a:pt x="213" y="365"/>
                  </a:lnTo>
                  <a:lnTo>
                    <a:pt x="213" y="367"/>
                  </a:lnTo>
                  <a:lnTo>
                    <a:pt x="217" y="365"/>
                  </a:lnTo>
                  <a:lnTo>
                    <a:pt x="219" y="363"/>
                  </a:lnTo>
                  <a:lnTo>
                    <a:pt x="219" y="365"/>
                  </a:lnTo>
                  <a:lnTo>
                    <a:pt x="221" y="365"/>
                  </a:lnTo>
                  <a:lnTo>
                    <a:pt x="221" y="367"/>
                  </a:lnTo>
                  <a:lnTo>
                    <a:pt x="219" y="369"/>
                  </a:lnTo>
                  <a:lnTo>
                    <a:pt x="219" y="371"/>
                  </a:lnTo>
                  <a:lnTo>
                    <a:pt x="219" y="373"/>
                  </a:lnTo>
                  <a:lnTo>
                    <a:pt x="217" y="375"/>
                  </a:lnTo>
                  <a:lnTo>
                    <a:pt x="215" y="375"/>
                  </a:lnTo>
                  <a:lnTo>
                    <a:pt x="215" y="377"/>
                  </a:lnTo>
                  <a:lnTo>
                    <a:pt x="213" y="377"/>
                  </a:lnTo>
                  <a:lnTo>
                    <a:pt x="213" y="378"/>
                  </a:lnTo>
                  <a:lnTo>
                    <a:pt x="213" y="380"/>
                  </a:lnTo>
                  <a:lnTo>
                    <a:pt x="211" y="382"/>
                  </a:lnTo>
                  <a:lnTo>
                    <a:pt x="211" y="384"/>
                  </a:lnTo>
                  <a:lnTo>
                    <a:pt x="209" y="388"/>
                  </a:lnTo>
                  <a:lnTo>
                    <a:pt x="209" y="390"/>
                  </a:lnTo>
                  <a:lnTo>
                    <a:pt x="208" y="390"/>
                  </a:lnTo>
                  <a:lnTo>
                    <a:pt x="208" y="392"/>
                  </a:lnTo>
                  <a:lnTo>
                    <a:pt x="206" y="394"/>
                  </a:lnTo>
                  <a:lnTo>
                    <a:pt x="204" y="396"/>
                  </a:lnTo>
                  <a:lnTo>
                    <a:pt x="204" y="398"/>
                  </a:lnTo>
                  <a:lnTo>
                    <a:pt x="202" y="398"/>
                  </a:lnTo>
                  <a:lnTo>
                    <a:pt x="200" y="398"/>
                  </a:lnTo>
                  <a:lnTo>
                    <a:pt x="198" y="400"/>
                  </a:lnTo>
                  <a:lnTo>
                    <a:pt x="198" y="402"/>
                  </a:lnTo>
                  <a:lnTo>
                    <a:pt x="196" y="402"/>
                  </a:lnTo>
                  <a:lnTo>
                    <a:pt x="194" y="402"/>
                  </a:lnTo>
                  <a:lnTo>
                    <a:pt x="192" y="400"/>
                  </a:lnTo>
                  <a:lnTo>
                    <a:pt x="192" y="398"/>
                  </a:lnTo>
                  <a:lnTo>
                    <a:pt x="190" y="396"/>
                  </a:lnTo>
                  <a:lnTo>
                    <a:pt x="188" y="396"/>
                  </a:lnTo>
                  <a:lnTo>
                    <a:pt x="190" y="398"/>
                  </a:lnTo>
                  <a:lnTo>
                    <a:pt x="188" y="400"/>
                  </a:lnTo>
                  <a:lnTo>
                    <a:pt x="190" y="400"/>
                  </a:lnTo>
                  <a:lnTo>
                    <a:pt x="192" y="402"/>
                  </a:lnTo>
                  <a:lnTo>
                    <a:pt x="192" y="403"/>
                  </a:lnTo>
                  <a:lnTo>
                    <a:pt x="194" y="405"/>
                  </a:lnTo>
                  <a:lnTo>
                    <a:pt x="194" y="407"/>
                  </a:lnTo>
                  <a:lnTo>
                    <a:pt x="192" y="407"/>
                  </a:lnTo>
                  <a:lnTo>
                    <a:pt x="190" y="407"/>
                  </a:lnTo>
                  <a:lnTo>
                    <a:pt x="188" y="407"/>
                  </a:lnTo>
                  <a:lnTo>
                    <a:pt x="190" y="411"/>
                  </a:lnTo>
                  <a:lnTo>
                    <a:pt x="190" y="409"/>
                  </a:lnTo>
                  <a:lnTo>
                    <a:pt x="192" y="411"/>
                  </a:lnTo>
                  <a:lnTo>
                    <a:pt x="192" y="413"/>
                  </a:lnTo>
                  <a:lnTo>
                    <a:pt x="194" y="413"/>
                  </a:lnTo>
                  <a:lnTo>
                    <a:pt x="196" y="413"/>
                  </a:lnTo>
                  <a:lnTo>
                    <a:pt x="198" y="415"/>
                  </a:lnTo>
                  <a:lnTo>
                    <a:pt x="196" y="417"/>
                  </a:lnTo>
                  <a:lnTo>
                    <a:pt x="194" y="417"/>
                  </a:lnTo>
                  <a:lnTo>
                    <a:pt x="196" y="415"/>
                  </a:lnTo>
                  <a:lnTo>
                    <a:pt x="194" y="415"/>
                  </a:lnTo>
                  <a:lnTo>
                    <a:pt x="194" y="417"/>
                  </a:lnTo>
                  <a:lnTo>
                    <a:pt x="194" y="419"/>
                  </a:lnTo>
                  <a:lnTo>
                    <a:pt x="194" y="421"/>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57" name="Freeform 245"/>
            <p:cNvSpPr>
              <a:spLocks/>
            </p:cNvSpPr>
            <p:nvPr/>
          </p:nvSpPr>
          <p:spPr bwMode="auto">
            <a:xfrm>
              <a:off x="2542" y="1785"/>
              <a:ext cx="218" cy="436"/>
            </a:xfrm>
            <a:custGeom>
              <a:avLst/>
              <a:gdLst>
                <a:gd name="T0" fmla="*/ 154 w 218"/>
                <a:gd name="T1" fmla="*/ 19 h 436"/>
                <a:gd name="T2" fmla="*/ 160 w 218"/>
                <a:gd name="T3" fmla="*/ 30 h 436"/>
                <a:gd name="T4" fmla="*/ 150 w 218"/>
                <a:gd name="T5" fmla="*/ 34 h 436"/>
                <a:gd name="T6" fmla="*/ 152 w 218"/>
                <a:gd name="T7" fmla="*/ 46 h 436"/>
                <a:gd name="T8" fmla="*/ 154 w 218"/>
                <a:gd name="T9" fmla="*/ 54 h 436"/>
                <a:gd name="T10" fmla="*/ 152 w 218"/>
                <a:gd name="T11" fmla="*/ 71 h 436"/>
                <a:gd name="T12" fmla="*/ 156 w 218"/>
                <a:gd name="T13" fmla="*/ 80 h 436"/>
                <a:gd name="T14" fmla="*/ 158 w 218"/>
                <a:gd name="T15" fmla="*/ 88 h 436"/>
                <a:gd name="T16" fmla="*/ 168 w 218"/>
                <a:gd name="T17" fmla="*/ 92 h 436"/>
                <a:gd name="T18" fmla="*/ 172 w 218"/>
                <a:gd name="T19" fmla="*/ 98 h 436"/>
                <a:gd name="T20" fmla="*/ 181 w 218"/>
                <a:gd name="T21" fmla="*/ 98 h 436"/>
                <a:gd name="T22" fmla="*/ 187 w 218"/>
                <a:gd name="T23" fmla="*/ 105 h 436"/>
                <a:gd name="T24" fmla="*/ 196 w 218"/>
                <a:gd name="T25" fmla="*/ 113 h 436"/>
                <a:gd name="T26" fmla="*/ 195 w 218"/>
                <a:gd name="T27" fmla="*/ 117 h 436"/>
                <a:gd name="T28" fmla="*/ 208 w 218"/>
                <a:gd name="T29" fmla="*/ 123 h 436"/>
                <a:gd name="T30" fmla="*/ 216 w 218"/>
                <a:gd name="T31" fmla="*/ 136 h 436"/>
                <a:gd name="T32" fmla="*/ 216 w 218"/>
                <a:gd name="T33" fmla="*/ 146 h 436"/>
                <a:gd name="T34" fmla="*/ 202 w 218"/>
                <a:gd name="T35" fmla="*/ 159 h 436"/>
                <a:gd name="T36" fmla="*/ 195 w 218"/>
                <a:gd name="T37" fmla="*/ 169 h 436"/>
                <a:gd name="T38" fmla="*/ 206 w 218"/>
                <a:gd name="T39" fmla="*/ 169 h 436"/>
                <a:gd name="T40" fmla="*/ 210 w 218"/>
                <a:gd name="T41" fmla="*/ 175 h 436"/>
                <a:gd name="T42" fmla="*/ 196 w 218"/>
                <a:gd name="T43" fmla="*/ 178 h 436"/>
                <a:gd name="T44" fmla="*/ 198 w 218"/>
                <a:gd name="T45" fmla="*/ 186 h 436"/>
                <a:gd name="T46" fmla="*/ 189 w 218"/>
                <a:gd name="T47" fmla="*/ 192 h 436"/>
                <a:gd name="T48" fmla="*/ 185 w 218"/>
                <a:gd name="T49" fmla="*/ 207 h 436"/>
                <a:gd name="T50" fmla="*/ 177 w 218"/>
                <a:gd name="T51" fmla="*/ 192 h 436"/>
                <a:gd name="T52" fmla="*/ 175 w 218"/>
                <a:gd name="T53" fmla="*/ 186 h 436"/>
                <a:gd name="T54" fmla="*/ 173 w 218"/>
                <a:gd name="T55" fmla="*/ 203 h 436"/>
                <a:gd name="T56" fmla="*/ 166 w 218"/>
                <a:gd name="T57" fmla="*/ 213 h 436"/>
                <a:gd name="T58" fmla="*/ 152 w 218"/>
                <a:gd name="T59" fmla="*/ 223 h 436"/>
                <a:gd name="T60" fmla="*/ 152 w 218"/>
                <a:gd name="T61" fmla="*/ 230 h 436"/>
                <a:gd name="T62" fmla="*/ 150 w 218"/>
                <a:gd name="T63" fmla="*/ 242 h 436"/>
                <a:gd name="T64" fmla="*/ 145 w 218"/>
                <a:gd name="T65" fmla="*/ 250 h 436"/>
                <a:gd name="T66" fmla="*/ 150 w 218"/>
                <a:gd name="T67" fmla="*/ 263 h 436"/>
                <a:gd name="T68" fmla="*/ 148 w 218"/>
                <a:gd name="T69" fmla="*/ 276 h 436"/>
                <a:gd name="T70" fmla="*/ 145 w 218"/>
                <a:gd name="T71" fmla="*/ 290 h 436"/>
                <a:gd name="T72" fmla="*/ 145 w 218"/>
                <a:gd name="T73" fmla="*/ 311 h 436"/>
                <a:gd name="T74" fmla="*/ 145 w 218"/>
                <a:gd name="T75" fmla="*/ 328 h 436"/>
                <a:gd name="T76" fmla="*/ 139 w 218"/>
                <a:gd name="T77" fmla="*/ 348 h 436"/>
                <a:gd name="T78" fmla="*/ 131 w 218"/>
                <a:gd name="T79" fmla="*/ 376 h 436"/>
                <a:gd name="T80" fmla="*/ 114 w 218"/>
                <a:gd name="T81" fmla="*/ 378 h 436"/>
                <a:gd name="T82" fmla="*/ 102 w 218"/>
                <a:gd name="T83" fmla="*/ 380 h 436"/>
                <a:gd name="T84" fmla="*/ 87 w 218"/>
                <a:gd name="T85" fmla="*/ 382 h 436"/>
                <a:gd name="T86" fmla="*/ 83 w 218"/>
                <a:gd name="T87" fmla="*/ 392 h 436"/>
                <a:gd name="T88" fmla="*/ 74 w 218"/>
                <a:gd name="T89" fmla="*/ 394 h 436"/>
                <a:gd name="T90" fmla="*/ 75 w 218"/>
                <a:gd name="T91" fmla="*/ 422 h 436"/>
                <a:gd name="T92" fmla="*/ 56 w 218"/>
                <a:gd name="T93" fmla="*/ 430 h 436"/>
                <a:gd name="T94" fmla="*/ 31 w 218"/>
                <a:gd name="T95" fmla="*/ 432 h 436"/>
                <a:gd name="T96" fmla="*/ 25 w 218"/>
                <a:gd name="T97" fmla="*/ 430 h 436"/>
                <a:gd name="T98" fmla="*/ 29 w 218"/>
                <a:gd name="T99" fmla="*/ 413 h 436"/>
                <a:gd name="T100" fmla="*/ 22 w 218"/>
                <a:gd name="T101" fmla="*/ 403 h 436"/>
                <a:gd name="T102" fmla="*/ 10 w 218"/>
                <a:gd name="T103" fmla="*/ 374 h 436"/>
                <a:gd name="T104" fmla="*/ 22 w 218"/>
                <a:gd name="T105" fmla="*/ 374 h 436"/>
                <a:gd name="T106" fmla="*/ 22 w 218"/>
                <a:gd name="T107" fmla="*/ 365 h 436"/>
                <a:gd name="T108" fmla="*/ 18 w 218"/>
                <a:gd name="T109" fmla="*/ 349 h 436"/>
                <a:gd name="T110" fmla="*/ 10 w 218"/>
                <a:gd name="T111" fmla="*/ 33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8" h="436">
                  <a:moveTo>
                    <a:pt x="158" y="0"/>
                  </a:moveTo>
                  <a:lnTo>
                    <a:pt x="156" y="7"/>
                  </a:lnTo>
                  <a:lnTo>
                    <a:pt x="156" y="9"/>
                  </a:lnTo>
                  <a:lnTo>
                    <a:pt x="156" y="11"/>
                  </a:lnTo>
                  <a:lnTo>
                    <a:pt x="154" y="11"/>
                  </a:lnTo>
                  <a:lnTo>
                    <a:pt x="154" y="15"/>
                  </a:lnTo>
                  <a:lnTo>
                    <a:pt x="154" y="17"/>
                  </a:lnTo>
                  <a:lnTo>
                    <a:pt x="154" y="19"/>
                  </a:lnTo>
                  <a:lnTo>
                    <a:pt x="154" y="21"/>
                  </a:lnTo>
                  <a:lnTo>
                    <a:pt x="156" y="21"/>
                  </a:lnTo>
                  <a:lnTo>
                    <a:pt x="156" y="23"/>
                  </a:lnTo>
                  <a:lnTo>
                    <a:pt x="156" y="27"/>
                  </a:lnTo>
                  <a:lnTo>
                    <a:pt x="158" y="27"/>
                  </a:lnTo>
                  <a:lnTo>
                    <a:pt x="160" y="27"/>
                  </a:lnTo>
                  <a:lnTo>
                    <a:pt x="160" y="29"/>
                  </a:lnTo>
                  <a:lnTo>
                    <a:pt x="160" y="30"/>
                  </a:lnTo>
                  <a:lnTo>
                    <a:pt x="158" y="32"/>
                  </a:lnTo>
                  <a:lnTo>
                    <a:pt x="156" y="30"/>
                  </a:lnTo>
                  <a:lnTo>
                    <a:pt x="156" y="29"/>
                  </a:lnTo>
                  <a:lnTo>
                    <a:pt x="154" y="29"/>
                  </a:lnTo>
                  <a:lnTo>
                    <a:pt x="152" y="30"/>
                  </a:lnTo>
                  <a:lnTo>
                    <a:pt x="152" y="32"/>
                  </a:lnTo>
                  <a:lnTo>
                    <a:pt x="152" y="34"/>
                  </a:lnTo>
                  <a:lnTo>
                    <a:pt x="150" y="34"/>
                  </a:lnTo>
                  <a:lnTo>
                    <a:pt x="150" y="36"/>
                  </a:lnTo>
                  <a:lnTo>
                    <a:pt x="152" y="38"/>
                  </a:lnTo>
                  <a:lnTo>
                    <a:pt x="150" y="38"/>
                  </a:lnTo>
                  <a:lnTo>
                    <a:pt x="150" y="40"/>
                  </a:lnTo>
                  <a:lnTo>
                    <a:pt x="150" y="42"/>
                  </a:lnTo>
                  <a:lnTo>
                    <a:pt x="150" y="44"/>
                  </a:lnTo>
                  <a:lnTo>
                    <a:pt x="152" y="44"/>
                  </a:lnTo>
                  <a:lnTo>
                    <a:pt x="152" y="46"/>
                  </a:lnTo>
                  <a:lnTo>
                    <a:pt x="150" y="46"/>
                  </a:lnTo>
                  <a:lnTo>
                    <a:pt x="148" y="46"/>
                  </a:lnTo>
                  <a:lnTo>
                    <a:pt x="148" y="48"/>
                  </a:lnTo>
                  <a:lnTo>
                    <a:pt x="150" y="48"/>
                  </a:lnTo>
                  <a:lnTo>
                    <a:pt x="150" y="50"/>
                  </a:lnTo>
                  <a:lnTo>
                    <a:pt x="150" y="52"/>
                  </a:lnTo>
                  <a:lnTo>
                    <a:pt x="152" y="52"/>
                  </a:lnTo>
                  <a:lnTo>
                    <a:pt x="154" y="54"/>
                  </a:lnTo>
                  <a:lnTo>
                    <a:pt x="152" y="55"/>
                  </a:lnTo>
                  <a:lnTo>
                    <a:pt x="152" y="57"/>
                  </a:lnTo>
                  <a:lnTo>
                    <a:pt x="152" y="59"/>
                  </a:lnTo>
                  <a:lnTo>
                    <a:pt x="152" y="61"/>
                  </a:lnTo>
                  <a:lnTo>
                    <a:pt x="152" y="63"/>
                  </a:lnTo>
                  <a:lnTo>
                    <a:pt x="152" y="65"/>
                  </a:lnTo>
                  <a:lnTo>
                    <a:pt x="152" y="69"/>
                  </a:lnTo>
                  <a:lnTo>
                    <a:pt x="152" y="71"/>
                  </a:lnTo>
                  <a:lnTo>
                    <a:pt x="154" y="71"/>
                  </a:lnTo>
                  <a:lnTo>
                    <a:pt x="154" y="73"/>
                  </a:lnTo>
                  <a:lnTo>
                    <a:pt x="152" y="73"/>
                  </a:lnTo>
                  <a:lnTo>
                    <a:pt x="152" y="75"/>
                  </a:lnTo>
                  <a:lnTo>
                    <a:pt x="154" y="77"/>
                  </a:lnTo>
                  <a:lnTo>
                    <a:pt x="154" y="79"/>
                  </a:lnTo>
                  <a:lnTo>
                    <a:pt x="156" y="79"/>
                  </a:lnTo>
                  <a:lnTo>
                    <a:pt x="156" y="80"/>
                  </a:lnTo>
                  <a:lnTo>
                    <a:pt x="158" y="80"/>
                  </a:lnTo>
                  <a:lnTo>
                    <a:pt x="156" y="82"/>
                  </a:lnTo>
                  <a:lnTo>
                    <a:pt x="156" y="84"/>
                  </a:lnTo>
                  <a:lnTo>
                    <a:pt x="158" y="82"/>
                  </a:lnTo>
                  <a:lnTo>
                    <a:pt x="158" y="84"/>
                  </a:lnTo>
                  <a:lnTo>
                    <a:pt x="158" y="86"/>
                  </a:lnTo>
                  <a:lnTo>
                    <a:pt x="160" y="86"/>
                  </a:lnTo>
                  <a:lnTo>
                    <a:pt x="158" y="88"/>
                  </a:lnTo>
                  <a:lnTo>
                    <a:pt x="156" y="90"/>
                  </a:lnTo>
                  <a:lnTo>
                    <a:pt x="154" y="92"/>
                  </a:lnTo>
                  <a:lnTo>
                    <a:pt x="158" y="92"/>
                  </a:lnTo>
                  <a:lnTo>
                    <a:pt x="160" y="92"/>
                  </a:lnTo>
                  <a:lnTo>
                    <a:pt x="160" y="94"/>
                  </a:lnTo>
                  <a:lnTo>
                    <a:pt x="164" y="92"/>
                  </a:lnTo>
                  <a:lnTo>
                    <a:pt x="166" y="92"/>
                  </a:lnTo>
                  <a:lnTo>
                    <a:pt x="168" y="92"/>
                  </a:lnTo>
                  <a:lnTo>
                    <a:pt x="168" y="94"/>
                  </a:lnTo>
                  <a:lnTo>
                    <a:pt x="168" y="96"/>
                  </a:lnTo>
                  <a:lnTo>
                    <a:pt x="168" y="98"/>
                  </a:lnTo>
                  <a:lnTo>
                    <a:pt x="168" y="100"/>
                  </a:lnTo>
                  <a:lnTo>
                    <a:pt x="170" y="102"/>
                  </a:lnTo>
                  <a:lnTo>
                    <a:pt x="172" y="102"/>
                  </a:lnTo>
                  <a:lnTo>
                    <a:pt x="172" y="100"/>
                  </a:lnTo>
                  <a:lnTo>
                    <a:pt x="172" y="98"/>
                  </a:lnTo>
                  <a:lnTo>
                    <a:pt x="173" y="98"/>
                  </a:lnTo>
                  <a:lnTo>
                    <a:pt x="173" y="96"/>
                  </a:lnTo>
                  <a:lnTo>
                    <a:pt x="175" y="96"/>
                  </a:lnTo>
                  <a:lnTo>
                    <a:pt x="177" y="96"/>
                  </a:lnTo>
                  <a:lnTo>
                    <a:pt x="177" y="94"/>
                  </a:lnTo>
                  <a:lnTo>
                    <a:pt x="179" y="94"/>
                  </a:lnTo>
                  <a:lnTo>
                    <a:pt x="181" y="96"/>
                  </a:lnTo>
                  <a:lnTo>
                    <a:pt x="181" y="98"/>
                  </a:lnTo>
                  <a:lnTo>
                    <a:pt x="181" y="100"/>
                  </a:lnTo>
                  <a:lnTo>
                    <a:pt x="179" y="100"/>
                  </a:lnTo>
                  <a:lnTo>
                    <a:pt x="181" y="102"/>
                  </a:lnTo>
                  <a:lnTo>
                    <a:pt x="181" y="100"/>
                  </a:lnTo>
                  <a:lnTo>
                    <a:pt x="183" y="102"/>
                  </a:lnTo>
                  <a:lnTo>
                    <a:pt x="183" y="103"/>
                  </a:lnTo>
                  <a:lnTo>
                    <a:pt x="185" y="105"/>
                  </a:lnTo>
                  <a:lnTo>
                    <a:pt x="187" y="105"/>
                  </a:lnTo>
                  <a:lnTo>
                    <a:pt x="189" y="107"/>
                  </a:lnTo>
                  <a:lnTo>
                    <a:pt x="189" y="109"/>
                  </a:lnTo>
                  <a:lnTo>
                    <a:pt x="189" y="111"/>
                  </a:lnTo>
                  <a:lnTo>
                    <a:pt x="191" y="109"/>
                  </a:lnTo>
                  <a:lnTo>
                    <a:pt x="193" y="109"/>
                  </a:lnTo>
                  <a:lnTo>
                    <a:pt x="195" y="109"/>
                  </a:lnTo>
                  <a:lnTo>
                    <a:pt x="196" y="111"/>
                  </a:lnTo>
                  <a:lnTo>
                    <a:pt x="196" y="113"/>
                  </a:lnTo>
                  <a:lnTo>
                    <a:pt x="198" y="113"/>
                  </a:lnTo>
                  <a:lnTo>
                    <a:pt x="200" y="113"/>
                  </a:lnTo>
                  <a:lnTo>
                    <a:pt x="200" y="115"/>
                  </a:lnTo>
                  <a:lnTo>
                    <a:pt x="200" y="117"/>
                  </a:lnTo>
                  <a:lnTo>
                    <a:pt x="198" y="117"/>
                  </a:lnTo>
                  <a:lnTo>
                    <a:pt x="196" y="117"/>
                  </a:lnTo>
                  <a:lnTo>
                    <a:pt x="195" y="115"/>
                  </a:lnTo>
                  <a:lnTo>
                    <a:pt x="195" y="117"/>
                  </a:lnTo>
                  <a:lnTo>
                    <a:pt x="196" y="119"/>
                  </a:lnTo>
                  <a:lnTo>
                    <a:pt x="198" y="121"/>
                  </a:lnTo>
                  <a:lnTo>
                    <a:pt x="200" y="121"/>
                  </a:lnTo>
                  <a:lnTo>
                    <a:pt x="202" y="121"/>
                  </a:lnTo>
                  <a:lnTo>
                    <a:pt x="202" y="123"/>
                  </a:lnTo>
                  <a:lnTo>
                    <a:pt x="204" y="123"/>
                  </a:lnTo>
                  <a:lnTo>
                    <a:pt x="206" y="123"/>
                  </a:lnTo>
                  <a:lnTo>
                    <a:pt x="208" y="123"/>
                  </a:lnTo>
                  <a:lnTo>
                    <a:pt x="208" y="125"/>
                  </a:lnTo>
                  <a:lnTo>
                    <a:pt x="208" y="127"/>
                  </a:lnTo>
                  <a:lnTo>
                    <a:pt x="210" y="128"/>
                  </a:lnTo>
                  <a:lnTo>
                    <a:pt x="210" y="132"/>
                  </a:lnTo>
                  <a:lnTo>
                    <a:pt x="212" y="132"/>
                  </a:lnTo>
                  <a:lnTo>
                    <a:pt x="212" y="134"/>
                  </a:lnTo>
                  <a:lnTo>
                    <a:pt x="214" y="134"/>
                  </a:lnTo>
                  <a:lnTo>
                    <a:pt x="216" y="136"/>
                  </a:lnTo>
                  <a:lnTo>
                    <a:pt x="218" y="136"/>
                  </a:lnTo>
                  <a:lnTo>
                    <a:pt x="218" y="138"/>
                  </a:lnTo>
                  <a:lnTo>
                    <a:pt x="218" y="140"/>
                  </a:lnTo>
                  <a:lnTo>
                    <a:pt x="216" y="142"/>
                  </a:lnTo>
                  <a:lnTo>
                    <a:pt x="216" y="144"/>
                  </a:lnTo>
                  <a:lnTo>
                    <a:pt x="218" y="144"/>
                  </a:lnTo>
                  <a:lnTo>
                    <a:pt x="218" y="146"/>
                  </a:lnTo>
                  <a:lnTo>
                    <a:pt x="216" y="146"/>
                  </a:lnTo>
                  <a:lnTo>
                    <a:pt x="214" y="148"/>
                  </a:lnTo>
                  <a:lnTo>
                    <a:pt x="210" y="150"/>
                  </a:lnTo>
                  <a:lnTo>
                    <a:pt x="208" y="150"/>
                  </a:lnTo>
                  <a:lnTo>
                    <a:pt x="206" y="152"/>
                  </a:lnTo>
                  <a:lnTo>
                    <a:pt x="208" y="153"/>
                  </a:lnTo>
                  <a:lnTo>
                    <a:pt x="206" y="155"/>
                  </a:lnTo>
                  <a:lnTo>
                    <a:pt x="204" y="157"/>
                  </a:lnTo>
                  <a:lnTo>
                    <a:pt x="202" y="159"/>
                  </a:lnTo>
                  <a:lnTo>
                    <a:pt x="200" y="161"/>
                  </a:lnTo>
                  <a:lnTo>
                    <a:pt x="198" y="163"/>
                  </a:lnTo>
                  <a:lnTo>
                    <a:pt x="196" y="165"/>
                  </a:lnTo>
                  <a:lnTo>
                    <a:pt x="195" y="165"/>
                  </a:lnTo>
                  <a:lnTo>
                    <a:pt x="195" y="163"/>
                  </a:lnTo>
                  <a:lnTo>
                    <a:pt x="195" y="165"/>
                  </a:lnTo>
                  <a:lnTo>
                    <a:pt x="195" y="167"/>
                  </a:lnTo>
                  <a:lnTo>
                    <a:pt x="195" y="169"/>
                  </a:lnTo>
                  <a:lnTo>
                    <a:pt x="196" y="169"/>
                  </a:lnTo>
                  <a:lnTo>
                    <a:pt x="198" y="169"/>
                  </a:lnTo>
                  <a:lnTo>
                    <a:pt x="198" y="167"/>
                  </a:lnTo>
                  <a:lnTo>
                    <a:pt x="200" y="167"/>
                  </a:lnTo>
                  <a:lnTo>
                    <a:pt x="202" y="167"/>
                  </a:lnTo>
                  <a:lnTo>
                    <a:pt x="202" y="169"/>
                  </a:lnTo>
                  <a:lnTo>
                    <a:pt x="204" y="169"/>
                  </a:lnTo>
                  <a:lnTo>
                    <a:pt x="206" y="169"/>
                  </a:lnTo>
                  <a:lnTo>
                    <a:pt x="208" y="169"/>
                  </a:lnTo>
                  <a:lnTo>
                    <a:pt x="208" y="171"/>
                  </a:lnTo>
                  <a:lnTo>
                    <a:pt x="208" y="173"/>
                  </a:lnTo>
                  <a:lnTo>
                    <a:pt x="206" y="175"/>
                  </a:lnTo>
                  <a:lnTo>
                    <a:pt x="208" y="175"/>
                  </a:lnTo>
                  <a:lnTo>
                    <a:pt x="210" y="173"/>
                  </a:lnTo>
                  <a:lnTo>
                    <a:pt x="212" y="175"/>
                  </a:lnTo>
                  <a:lnTo>
                    <a:pt x="210" y="175"/>
                  </a:lnTo>
                  <a:lnTo>
                    <a:pt x="208" y="177"/>
                  </a:lnTo>
                  <a:lnTo>
                    <a:pt x="206" y="177"/>
                  </a:lnTo>
                  <a:lnTo>
                    <a:pt x="204" y="178"/>
                  </a:lnTo>
                  <a:lnTo>
                    <a:pt x="202" y="178"/>
                  </a:lnTo>
                  <a:lnTo>
                    <a:pt x="200" y="178"/>
                  </a:lnTo>
                  <a:lnTo>
                    <a:pt x="198" y="177"/>
                  </a:lnTo>
                  <a:lnTo>
                    <a:pt x="196" y="177"/>
                  </a:lnTo>
                  <a:lnTo>
                    <a:pt x="196" y="178"/>
                  </a:lnTo>
                  <a:lnTo>
                    <a:pt x="198" y="178"/>
                  </a:lnTo>
                  <a:lnTo>
                    <a:pt x="200" y="180"/>
                  </a:lnTo>
                  <a:lnTo>
                    <a:pt x="200" y="182"/>
                  </a:lnTo>
                  <a:lnTo>
                    <a:pt x="198" y="184"/>
                  </a:lnTo>
                  <a:lnTo>
                    <a:pt x="196" y="186"/>
                  </a:lnTo>
                  <a:lnTo>
                    <a:pt x="195" y="186"/>
                  </a:lnTo>
                  <a:lnTo>
                    <a:pt x="196" y="186"/>
                  </a:lnTo>
                  <a:lnTo>
                    <a:pt x="198" y="186"/>
                  </a:lnTo>
                  <a:lnTo>
                    <a:pt x="196" y="188"/>
                  </a:lnTo>
                  <a:lnTo>
                    <a:pt x="195" y="188"/>
                  </a:lnTo>
                  <a:lnTo>
                    <a:pt x="193" y="190"/>
                  </a:lnTo>
                  <a:lnTo>
                    <a:pt x="193" y="188"/>
                  </a:lnTo>
                  <a:lnTo>
                    <a:pt x="193" y="186"/>
                  </a:lnTo>
                  <a:lnTo>
                    <a:pt x="193" y="188"/>
                  </a:lnTo>
                  <a:lnTo>
                    <a:pt x="191" y="190"/>
                  </a:lnTo>
                  <a:lnTo>
                    <a:pt x="189" y="192"/>
                  </a:lnTo>
                  <a:lnTo>
                    <a:pt x="187" y="192"/>
                  </a:lnTo>
                  <a:lnTo>
                    <a:pt x="187" y="194"/>
                  </a:lnTo>
                  <a:lnTo>
                    <a:pt x="185" y="196"/>
                  </a:lnTo>
                  <a:lnTo>
                    <a:pt x="187" y="198"/>
                  </a:lnTo>
                  <a:lnTo>
                    <a:pt x="185" y="201"/>
                  </a:lnTo>
                  <a:lnTo>
                    <a:pt x="185" y="203"/>
                  </a:lnTo>
                  <a:lnTo>
                    <a:pt x="185" y="205"/>
                  </a:lnTo>
                  <a:lnTo>
                    <a:pt x="185" y="207"/>
                  </a:lnTo>
                  <a:lnTo>
                    <a:pt x="183" y="207"/>
                  </a:lnTo>
                  <a:lnTo>
                    <a:pt x="181" y="205"/>
                  </a:lnTo>
                  <a:lnTo>
                    <a:pt x="181" y="203"/>
                  </a:lnTo>
                  <a:lnTo>
                    <a:pt x="181" y="201"/>
                  </a:lnTo>
                  <a:lnTo>
                    <a:pt x="179" y="200"/>
                  </a:lnTo>
                  <a:lnTo>
                    <a:pt x="177" y="198"/>
                  </a:lnTo>
                  <a:lnTo>
                    <a:pt x="177" y="196"/>
                  </a:lnTo>
                  <a:lnTo>
                    <a:pt x="177" y="192"/>
                  </a:lnTo>
                  <a:lnTo>
                    <a:pt x="177" y="190"/>
                  </a:lnTo>
                  <a:lnTo>
                    <a:pt x="179" y="188"/>
                  </a:lnTo>
                  <a:lnTo>
                    <a:pt x="177" y="188"/>
                  </a:lnTo>
                  <a:lnTo>
                    <a:pt x="177" y="190"/>
                  </a:lnTo>
                  <a:lnTo>
                    <a:pt x="175" y="192"/>
                  </a:lnTo>
                  <a:lnTo>
                    <a:pt x="175" y="190"/>
                  </a:lnTo>
                  <a:lnTo>
                    <a:pt x="175" y="188"/>
                  </a:lnTo>
                  <a:lnTo>
                    <a:pt x="175" y="186"/>
                  </a:lnTo>
                  <a:lnTo>
                    <a:pt x="175" y="188"/>
                  </a:lnTo>
                  <a:lnTo>
                    <a:pt x="173" y="190"/>
                  </a:lnTo>
                  <a:lnTo>
                    <a:pt x="173" y="192"/>
                  </a:lnTo>
                  <a:lnTo>
                    <a:pt x="173" y="194"/>
                  </a:lnTo>
                  <a:lnTo>
                    <a:pt x="173" y="198"/>
                  </a:lnTo>
                  <a:lnTo>
                    <a:pt x="173" y="200"/>
                  </a:lnTo>
                  <a:lnTo>
                    <a:pt x="173" y="201"/>
                  </a:lnTo>
                  <a:lnTo>
                    <a:pt x="173" y="203"/>
                  </a:lnTo>
                  <a:lnTo>
                    <a:pt x="173" y="205"/>
                  </a:lnTo>
                  <a:lnTo>
                    <a:pt x="170" y="207"/>
                  </a:lnTo>
                  <a:lnTo>
                    <a:pt x="170" y="209"/>
                  </a:lnTo>
                  <a:lnTo>
                    <a:pt x="168" y="209"/>
                  </a:lnTo>
                  <a:lnTo>
                    <a:pt x="168" y="211"/>
                  </a:lnTo>
                  <a:lnTo>
                    <a:pt x="168" y="213"/>
                  </a:lnTo>
                  <a:lnTo>
                    <a:pt x="166" y="211"/>
                  </a:lnTo>
                  <a:lnTo>
                    <a:pt x="166" y="213"/>
                  </a:lnTo>
                  <a:lnTo>
                    <a:pt x="164" y="215"/>
                  </a:lnTo>
                  <a:lnTo>
                    <a:pt x="160" y="217"/>
                  </a:lnTo>
                  <a:lnTo>
                    <a:pt x="158" y="215"/>
                  </a:lnTo>
                  <a:lnTo>
                    <a:pt x="158" y="217"/>
                  </a:lnTo>
                  <a:lnTo>
                    <a:pt x="156" y="219"/>
                  </a:lnTo>
                  <a:lnTo>
                    <a:pt x="156" y="221"/>
                  </a:lnTo>
                  <a:lnTo>
                    <a:pt x="154" y="221"/>
                  </a:lnTo>
                  <a:lnTo>
                    <a:pt x="152" y="223"/>
                  </a:lnTo>
                  <a:lnTo>
                    <a:pt x="150" y="223"/>
                  </a:lnTo>
                  <a:lnTo>
                    <a:pt x="148" y="223"/>
                  </a:lnTo>
                  <a:lnTo>
                    <a:pt x="147" y="223"/>
                  </a:lnTo>
                  <a:lnTo>
                    <a:pt x="148" y="223"/>
                  </a:lnTo>
                  <a:lnTo>
                    <a:pt x="148" y="225"/>
                  </a:lnTo>
                  <a:lnTo>
                    <a:pt x="150" y="226"/>
                  </a:lnTo>
                  <a:lnTo>
                    <a:pt x="152" y="228"/>
                  </a:lnTo>
                  <a:lnTo>
                    <a:pt x="152" y="230"/>
                  </a:lnTo>
                  <a:lnTo>
                    <a:pt x="148" y="232"/>
                  </a:lnTo>
                  <a:lnTo>
                    <a:pt x="137" y="230"/>
                  </a:lnTo>
                  <a:lnTo>
                    <a:pt x="143" y="234"/>
                  </a:lnTo>
                  <a:lnTo>
                    <a:pt x="150" y="238"/>
                  </a:lnTo>
                  <a:lnTo>
                    <a:pt x="145" y="240"/>
                  </a:lnTo>
                  <a:lnTo>
                    <a:pt x="152" y="240"/>
                  </a:lnTo>
                  <a:lnTo>
                    <a:pt x="152" y="244"/>
                  </a:lnTo>
                  <a:lnTo>
                    <a:pt x="150" y="242"/>
                  </a:lnTo>
                  <a:lnTo>
                    <a:pt x="147" y="244"/>
                  </a:lnTo>
                  <a:lnTo>
                    <a:pt x="152" y="246"/>
                  </a:lnTo>
                  <a:lnTo>
                    <a:pt x="150" y="248"/>
                  </a:lnTo>
                  <a:lnTo>
                    <a:pt x="152" y="248"/>
                  </a:lnTo>
                  <a:lnTo>
                    <a:pt x="150" y="250"/>
                  </a:lnTo>
                  <a:lnTo>
                    <a:pt x="152" y="251"/>
                  </a:lnTo>
                  <a:lnTo>
                    <a:pt x="150" y="251"/>
                  </a:lnTo>
                  <a:lnTo>
                    <a:pt x="145" y="250"/>
                  </a:lnTo>
                  <a:lnTo>
                    <a:pt x="148" y="255"/>
                  </a:lnTo>
                  <a:lnTo>
                    <a:pt x="152" y="257"/>
                  </a:lnTo>
                  <a:lnTo>
                    <a:pt x="148" y="257"/>
                  </a:lnTo>
                  <a:lnTo>
                    <a:pt x="150" y="259"/>
                  </a:lnTo>
                  <a:lnTo>
                    <a:pt x="148" y="259"/>
                  </a:lnTo>
                  <a:lnTo>
                    <a:pt x="145" y="257"/>
                  </a:lnTo>
                  <a:lnTo>
                    <a:pt x="145" y="261"/>
                  </a:lnTo>
                  <a:lnTo>
                    <a:pt x="150" y="263"/>
                  </a:lnTo>
                  <a:lnTo>
                    <a:pt x="150" y="269"/>
                  </a:lnTo>
                  <a:lnTo>
                    <a:pt x="141" y="261"/>
                  </a:lnTo>
                  <a:lnTo>
                    <a:pt x="145" y="269"/>
                  </a:lnTo>
                  <a:lnTo>
                    <a:pt x="143" y="267"/>
                  </a:lnTo>
                  <a:lnTo>
                    <a:pt x="148" y="275"/>
                  </a:lnTo>
                  <a:lnTo>
                    <a:pt x="141" y="269"/>
                  </a:lnTo>
                  <a:lnTo>
                    <a:pt x="141" y="271"/>
                  </a:lnTo>
                  <a:lnTo>
                    <a:pt x="148" y="276"/>
                  </a:lnTo>
                  <a:lnTo>
                    <a:pt x="150" y="278"/>
                  </a:lnTo>
                  <a:lnTo>
                    <a:pt x="148" y="282"/>
                  </a:lnTo>
                  <a:lnTo>
                    <a:pt x="147" y="284"/>
                  </a:lnTo>
                  <a:lnTo>
                    <a:pt x="148" y="286"/>
                  </a:lnTo>
                  <a:lnTo>
                    <a:pt x="147" y="288"/>
                  </a:lnTo>
                  <a:lnTo>
                    <a:pt x="145" y="286"/>
                  </a:lnTo>
                  <a:lnTo>
                    <a:pt x="145" y="288"/>
                  </a:lnTo>
                  <a:lnTo>
                    <a:pt x="145" y="290"/>
                  </a:lnTo>
                  <a:lnTo>
                    <a:pt x="148" y="290"/>
                  </a:lnTo>
                  <a:lnTo>
                    <a:pt x="150" y="294"/>
                  </a:lnTo>
                  <a:lnTo>
                    <a:pt x="150" y="298"/>
                  </a:lnTo>
                  <a:lnTo>
                    <a:pt x="147" y="301"/>
                  </a:lnTo>
                  <a:lnTo>
                    <a:pt x="147" y="305"/>
                  </a:lnTo>
                  <a:lnTo>
                    <a:pt x="143" y="307"/>
                  </a:lnTo>
                  <a:lnTo>
                    <a:pt x="143" y="309"/>
                  </a:lnTo>
                  <a:lnTo>
                    <a:pt x="145" y="311"/>
                  </a:lnTo>
                  <a:lnTo>
                    <a:pt x="143" y="313"/>
                  </a:lnTo>
                  <a:lnTo>
                    <a:pt x="143" y="315"/>
                  </a:lnTo>
                  <a:lnTo>
                    <a:pt x="147" y="319"/>
                  </a:lnTo>
                  <a:lnTo>
                    <a:pt x="147" y="321"/>
                  </a:lnTo>
                  <a:lnTo>
                    <a:pt x="147" y="323"/>
                  </a:lnTo>
                  <a:lnTo>
                    <a:pt x="145" y="324"/>
                  </a:lnTo>
                  <a:lnTo>
                    <a:pt x="143" y="326"/>
                  </a:lnTo>
                  <a:lnTo>
                    <a:pt x="145" y="328"/>
                  </a:lnTo>
                  <a:lnTo>
                    <a:pt x="143" y="330"/>
                  </a:lnTo>
                  <a:lnTo>
                    <a:pt x="143" y="338"/>
                  </a:lnTo>
                  <a:lnTo>
                    <a:pt x="145" y="338"/>
                  </a:lnTo>
                  <a:lnTo>
                    <a:pt x="145" y="340"/>
                  </a:lnTo>
                  <a:lnTo>
                    <a:pt x="143" y="340"/>
                  </a:lnTo>
                  <a:lnTo>
                    <a:pt x="141" y="344"/>
                  </a:lnTo>
                  <a:lnTo>
                    <a:pt x="143" y="348"/>
                  </a:lnTo>
                  <a:lnTo>
                    <a:pt x="139" y="348"/>
                  </a:lnTo>
                  <a:lnTo>
                    <a:pt x="137" y="349"/>
                  </a:lnTo>
                  <a:lnTo>
                    <a:pt x="137" y="355"/>
                  </a:lnTo>
                  <a:lnTo>
                    <a:pt x="135" y="359"/>
                  </a:lnTo>
                  <a:lnTo>
                    <a:pt x="133" y="363"/>
                  </a:lnTo>
                  <a:lnTo>
                    <a:pt x="133" y="367"/>
                  </a:lnTo>
                  <a:lnTo>
                    <a:pt x="131" y="373"/>
                  </a:lnTo>
                  <a:lnTo>
                    <a:pt x="131" y="374"/>
                  </a:lnTo>
                  <a:lnTo>
                    <a:pt x="131" y="376"/>
                  </a:lnTo>
                  <a:lnTo>
                    <a:pt x="125" y="384"/>
                  </a:lnTo>
                  <a:lnTo>
                    <a:pt x="123" y="384"/>
                  </a:lnTo>
                  <a:lnTo>
                    <a:pt x="123" y="380"/>
                  </a:lnTo>
                  <a:lnTo>
                    <a:pt x="122" y="380"/>
                  </a:lnTo>
                  <a:lnTo>
                    <a:pt x="120" y="378"/>
                  </a:lnTo>
                  <a:lnTo>
                    <a:pt x="116" y="378"/>
                  </a:lnTo>
                  <a:lnTo>
                    <a:pt x="116" y="376"/>
                  </a:lnTo>
                  <a:lnTo>
                    <a:pt x="114" y="378"/>
                  </a:lnTo>
                  <a:lnTo>
                    <a:pt x="112" y="378"/>
                  </a:lnTo>
                  <a:lnTo>
                    <a:pt x="112" y="380"/>
                  </a:lnTo>
                  <a:lnTo>
                    <a:pt x="112" y="378"/>
                  </a:lnTo>
                  <a:lnTo>
                    <a:pt x="110" y="380"/>
                  </a:lnTo>
                  <a:lnTo>
                    <a:pt x="108" y="382"/>
                  </a:lnTo>
                  <a:lnTo>
                    <a:pt x="106" y="382"/>
                  </a:lnTo>
                  <a:lnTo>
                    <a:pt x="106" y="380"/>
                  </a:lnTo>
                  <a:lnTo>
                    <a:pt x="102" y="380"/>
                  </a:lnTo>
                  <a:lnTo>
                    <a:pt x="98" y="382"/>
                  </a:lnTo>
                  <a:lnTo>
                    <a:pt x="98" y="378"/>
                  </a:lnTo>
                  <a:lnTo>
                    <a:pt x="97" y="378"/>
                  </a:lnTo>
                  <a:lnTo>
                    <a:pt x="97" y="382"/>
                  </a:lnTo>
                  <a:lnTo>
                    <a:pt x="93" y="380"/>
                  </a:lnTo>
                  <a:lnTo>
                    <a:pt x="91" y="382"/>
                  </a:lnTo>
                  <a:lnTo>
                    <a:pt x="91" y="380"/>
                  </a:lnTo>
                  <a:lnTo>
                    <a:pt x="87" y="382"/>
                  </a:lnTo>
                  <a:lnTo>
                    <a:pt x="85" y="380"/>
                  </a:lnTo>
                  <a:lnTo>
                    <a:pt x="85" y="382"/>
                  </a:lnTo>
                  <a:lnTo>
                    <a:pt x="87" y="384"/>
                  </a:lnTo>
                  <a:lnTo>
                    <a:pt x="87" y="388"/>
                  </a:lnTo>
                  <a:lnTo>
                    <a:pt x="89" y="388"/>
                  </a:lnTo>
                  <a:lnTo>
                    <a:pt x="87" y="392"/>
                  </a:lnTo>
                  <a:lnTo>
                    <a:pt x="85" y="392"/>
                  </a:lnTo>
                  <a:lnTo>
                    <a:pt x="83" y="392"/>
                  </a:lnTo>
                  <a:lnTo>
                    <a:pt x="83" y="390"/>
                  </a:lnTo>
                  <a:lnTo>
                    <a:pt x="81" y="388"/>
                  </a:lnTo>
                  <a:lnTo>
                    <a:pt x="81" y="390"/>
                  </a:lnTo>
                  <a:lnTo>
                    <a:pt x="81" y="388"/>
                  </a:lnTo>
                  <a:lnTo>
                    <a:pt x="77" y="390"/>
                  </a:lnTo>
                  <a:lnTo>
                    <a:pt x="77" y="392"/>
                  </a:lnTo>
                  <a:lnTo>
                    <a:pt x="75" y="394"/>
                  </a:lnTo>
                  <a:lnTo>
                    <a:pt x="74" y="394"/>
                  </a:lnTo>
                  <a:lnTo>
                    <a:pt x="74" y="397"/>
                  </a:lnTo>
                  <a:lnTo>
                    <a:pt x="70" y="401"/>
                  </a:lnTo>
                  <a:lnTo>
                    <a:pt x="70" y="405"/>
                  </a:lnTo>
                  <a:lnTo>
                    <a:pt x="70" y="411"/>
                  </a:lnTo>
                  <a:lnTo>
                    <a:pt x="72" y="413"/>
                  </a:lnTo>
                  <a:lnTo>
                    <a:pt x="72" y="417"/>
                  </a:lnTo>
                  <a:lnTo>
                    <a:pt x="75" y="421"/>
                  </a:lnTo>
                  <a:lnTo>
                    <a:pt x="75" y="422"/>
                  </a:lnTo>
                  <a:lnTo>
                    <a:pt x="74" y="426"/>
                  </a:lnTo>
                  <a:lnTo>
                    <a:pt x="72" y="428"/>
                  </a:lnTo>
                  <a:lnTo>
                    <a:pt x="70" y="430"/>
                  </a:lnTo>
                  <a:lnTo>
                    <a:pt x="70" y="432"/>
                  </a:lnTo>
                  <a:lnTo>
                    <a:pt x="66" y="432"/>
                  </a:lnTo>
                  <a:lnTo>
                    <a:pt x="64" y="432"/>
                  </a:lnTo>
                  <a:lnTo>
                    <a:pt x="60" y="428"/>
                  </a:lnTo>
                  <a:lnTo>
                    <a:pt x="56" y="430"/>
                  </a:lnTo>
                  <a:lnTo>
                    <a:pt x="52" y="430"/>
                  </a:lnTo>
                  <a:lnTo>
                    <a:pt x="50" y="430"/>
                  </a:lnTo>
                  <a:lnTo>
                    <a:pt x="49" y="432"/>
                  </a:lnTo>
                  <a:lnTo>
                    <a:pt x="47" y="432"/>
                  </a:lnTo>
                  <a:lnTo>
                    <a:pt x="45" y="432"/>
                  </a:lnTo>
                  <a:lnTo>
                    <a:pt x="39" y="436"/>
                  </a:lnTo>
                  <a:lnTo>
                    <a:pt x="33" y="434"/>
                  </a:lnTo>
                  <a:lnTo>
                    <a:pt x="31" y="432"/>
                  </a:lnTo>
                  <a:lnTo>
                    <a:pt x="29" y="434"/>
                  </a:lnTo>
                  <a:lnTo>
                    <a:pt x="25" y="432"/>
                  </a:lnTo>
                  <a:lnTo>
                    <a:pt x="24" y="432"/>
                  </a:lnTo>
                  <a:lnTo>
                    <a:pt x="22" y="434"/>
                  </a:lnTo>
                  <a:lnTo>
                    <a:pt x="20" y="432"/>
                  </a:lnTo>
                  <a:lnTo>
                    <a:pt x="22" y="430"/>
                  </a:lnTo>
                  <a:lnTo>
                    <a:pt x="24" y="430"/>
                  </a:lnTo>
                  <a:lnTo>
                    <a:pt x="25" y="430"/>
                  </a:lnTo>
                  <a:lnTo>
                    <a:pt x="25" y="428"/>
                  </a:lnTo>
                  <a:lnTo>
                    <a:pt x="25" y="424"/>
                  </a:lnTo>
                  <a:lnTo>
                    <a:pt x="24" y="424"/>
                  </a:lnTo>
                  <a:lnTo>
                    <a:pt x="24" y="422"/>
                  </a:lnTo>
                  <a:lnTo>
                    <a:pt x="24" y="421"/>
                  </a:lnTo>
                  <a:lnTo>
                    <a:pt x="25" y="419"/>
                  </a:lnTo>
                  <a:lnTo>
                    <a:pt x="29" y="415"/>
                  </a:lnTo>
                  <a:lnTo>
                    <a:pt x="29" y="413"/>
                  </a:lnTo>
                  <a:lnTo>
                    <a:pt x="27" y="411"/>
                  </a:lnTo>
                  <a:lnTo>
                    <a:pt x="25" y="411"/>
                  </a:lnTo>
                  <a:lnTo>
                    <a:pt x="25" y="409"/>
                  </a:lnTo>
                  <a:lnTo>
                    <a:pt x="24" y="409"/>
                  </a:lnTo>
                  <a:lnTo>
                    <a:pt x="25" y="405"/>
                  </a:lnTo>
                  <a:lnTo>
                    <a:pt x="24" y="403"/>
                  </a:lnTo>
                  <a:lnTo>
                    <a:pt x="22" y="401"/>
                  </a:lnTo>
                  <a:lnTo>
                    <a:pt x="22" y="403"/>
                  </a:lnTo>
                  <a:lnTo>
                    <a:pt x="20" y="399"/>
                  </a:lnTo>
                  <a:lnTo>
                    <a:pt x="20" y="397"/>
                  </a:lnTo>
                  <a:lnTo>
                    <a:pt x="18" y="394"/>
                  </a:lnTo>
                  <a:lnTo>
                    <a:pt x="16" y="388"/>
                  </a:lnTo>
                  <a:lnTo>
                    <a:pt x="14" y="386"/>
                  </a:lnTo>
                  <a:lnTo>
                    <a:pt x="12" y="382"/>
                  </a:lnTo>
                  <a:lnTo>
                    <a:pt x="10" y="376"/>
                  </a:lnTo>
                  <a:lnTo>
                    <a:pt x="10" y="374"/>
                  </a:lnTo>
                  <a:lnTo>
                    <a:pt x="8" y="374"/>
                  </a:lnTo>
                  <a:lnTo>
                    <a:pt x="12" y="374"/>
                  </a:lnTo>
                  <a:lnTo>
                    <a:pt x="16" y="376"/>
                  </a:lnTo>
                  <a:lnTo>
                    <a:pt x="16" y="378"/>
                  </a:lnTo>
                  <a:lnTo>
                    <a:pt x="18" y="378"/>
                  </a:lnTo>
                  <a:lnTo>
                    <a:pt x="20" y="378"/>
                  </a:lnTo>
                  <a:lnTo>
                    <a:pt x="20" y="376"/>
                  </a:lnTo>
                  <a:lnTo>
                    <a:pt x="22" y="374"/>
                  </a:lnTo>
                  <a:lnTo>
                    <a:pt x="20" y="373"/>
                  </a:lnTo>
                  <a:lnTo>
                    <a:pt x="18" y="369"/>
                  </a:lnTo>
                  <a:lnTo>
                    <a:pt x="16" y="369"/>
                  </a:lnTo>
                  <a:lnTo>
                    <a:pt x="14" y="367"/>
                  </a:lnTo>
                  <a:lnTo>
                    <a:pt x="14" y="365"/>
                  </a:lnTo>
                  <a:lnTo>
                    <a:pt x="14" y="363"/>
                  </a:lnTo>
                  <a:lnTo>
                    <a:pt x="18" y="363"/>
                  </a:lnTo>
                  <a:lnTo>
                    <a:pt x="22" y="365"/>
                  </a:lnTo>
                  <a:lnTo>
                    <a:pt x="24" y="363"/>
                  </a:lnTo>
                  <a:lnTo>
                    <a:pt x="24" y="361"/>
                  </a:lnTo>
                  <a:lnTo>
                    <a:pt x="24" y="355"/>
                  </a:lnTo>
                  <a:lnTo>
                    <a:pt x="22" y="351"/>
                  </a:lnTo>
                  <a:lnTo>
                    <a:pt x="22" y="349"/>
                  </a:lnTo>
                  <a:lnTo>
                    <a:pt x="20" y="351"/>
                  </a:lnTo>
                  <a:lnTo>
                    <a:pt x="18" y="351"/>
                  </a:lnTo>
                  <a:lnTo>
                    <a:pt x="18" y="349"/>
                  </a:lnTo>
                  <a:lnTo>
                    <a:pt x="16" y="349"/>
                  </a:lnTo>
                  <a:lnTo>
                    <a:pt x="16" y="348"/>
                  </a:lnTo>
                  <a:lnTo>
                    <a:pt x="14" y="346"/>
                  </a:lnTo>
                  <a:lnTo>
                    <a:pt x="14" y="344"/>
                  </a:lnTo>
                  <a:lnTo>
                    <a:pt x="12" y="342"/>
                  </a:lnTo>
                  <a:lnTo>
                    <a:pt x="14" y="340"/>
                  </a:lnTo>
                  <a:lnTo>
                    <a:pt x="12" y="338"/>
                  </a:lnTo>
                  <a:lnTo>
                    <a:pt x="10" y="338"/>
                  </a:lnTo>
                  <a:lnTo>
                    <a:pt x="8" y="336"/>
                  </a:lnTo>
                  <a:lnTo>
                    <a:pt x="6" y="334"/>
                  </a:lnTo>
                  <a:lnTo>
                    <a:pt x="4" y="334"/>
                  </a:lnTo>
                  <a:lnTo>
                    <a:pt x="4" y="330"/>
                  </a:lnTo>
                  <a:lnTo>
                    <a:pt x="4" y="328"/>
                  </a:lnTo>
                  <a:lnTo>
                    <a:pt x="2" y="324"/>
                  </a:lnTo>
                  <a:lnTo>
                    <a:pt x="0" y="323"/>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58" name="Freeform 246"/>
            <p:cNvSpPr>
              <a:spLocks/>
            </p:cNvSpPr>
            <p:nvPr/>
          </p:nvSpPr>
          <p:spPr bwMode="auto">
            <a:xfrm>
              <a:off x="2544" y="1962"/>
              <a:ext cx="58" cy="65"/>
            </a:xfrm>
            <a:custGeom>
              <a:avLst/>
              <a:gdLst>
                <a:gd name="T0" fmla="*/ 14 w 58"/>
                <a:gd name="T1" fmla="*/ 24 h 65"/>
                <a:gd name="T2" fmla="*/ 12 w 58"/>
                <a:gd name="T3" fmla="*/ 32 h 65"/>
                <a:gd name="T4" fmla="*/ 10 w 58"/>
                <a:gd name="T5" fmla="*/ 36 h 65"/>
                <a:gd name="T6" fmla="*/ 6 w 58"/>
                <a:gd name="T7" fmla="*/ 42 h 65"/>
                <a:gd name="T8" fmla="*/ 12 w 58"/>
                <a:gd name="T9" fmla="*/ 48 h 65"/>
                <a:gd name="T10" fmla="*/ 8 w 58"/>
                <a:gd name="T11" fmla="*/ 53 h 65"/>
                <a:gd name="T12" fmla="*/ 2 w 58"/>
                <a:gd name="T13" fmla="*/ 59 h 65"/>
                <a:gd name="T14" fmla="*/ 0 w 58"/>
                <a:gd name="T15" fmla="*/ 63 h 65"/>
                <a:gd name="T16" fmla="*/ 6 w 58"/>
                <a:gd name="T17" fmla="*/ 63 h 65"/>
                <a:gd name="T18" fmla="*/ 10 w 58"/>
                <a:gd name="T19" fmla="*/ 57 h 65"/>
                <a:gd name="T20" fmla="*/ 8 w 58"/>
                <a:gd name="T21" fmla="*/ 65 h 65"/>
                <a:gd name="T22" fmla="*/ 14 w 58"/>
                <a:gd name="T23" fmla="*/ 61 h 65"/>
                <a:gd name="T24" fmla="*/ 16 w 58"/>
                <a:gd name="T25" fmla="*/ 57 h 65"/>
                <a:gd name="T26" fmla="*/ 22 w 58"/>
                <a:gd name="T27" fmla="*/ 53 h 65"/>
                <a:gd name="T28" fmla="*/ 23 w 58"/>
                <a:gd name="T29" fmla="*/ 49 h 65"/>
                <a:gd name="T30" fmla="*/ 29 w 58"/>
                <a:gd name="T31" fmla="*/ 49 h 65"/>
                <a:gd name="T32" fmla="*/ 31 w 58"/>
                <a:gd name="T33" fmla="*/ 57 h 65"/>
                <a:gd name="T34" fmla="*/ 35 w 58"/>
                <a:gd name="T35" fmla="*/ 48 h 65"/>
                <a:gd name="T36" fmla="*/ 39 w 58"/>
                <a:gd name="T37" fmla="*/ 46 h 65"/>
                <a:gd name="T38" fmla="*/ 45 w 58"/>
                <a:gd name="T39" fmla="*/ 44 h 65"/>
                <a:gd name="T40" fmla="*/ 47 w 58"/>
                <a:gd name="T41" fmla="*/ 40 h 65"/>
                <a:gd name="T42" fmla="*/ 47 w 58"/>
                <a:gd name="T43" fmla="*/ 44 h 65"/>
                <a:gd name="T44" fmla="*/ 52 w 58"/>
                <a:gd name="T45" fmla="*/ 38 h 65"/>
                <a:gd name="T46" fmla="*/ 52 w 58"/>
                <a:gd name="T47" fmla="*/ 36 h 65"/>
                <a:gd name="T48" fmla="*/ 54 w 58"/>
                <a:gd name="T49" fmla="*/ 34 h 65"/>
                <a:gd name="T50" fmla="*/ 56 w 58"/>
                <a:gd name="T51" fmla="*/ 26 h 65"/>
                <a:gd name="T52" fmla="*/ 56 w 58"/>
                <a:gd name="T53" fmla="*/ 23 h 65"/>
                <a:gd name="T54" fmla="*/ 58 w 58"/>
                <a:gd name="T55" fmla="*/ 17 h 65"/>
                <a:gd name="T56" fmla="*/ 56 w 58"/>
                <a:gd name="T57" fmla="*/ 19 h 65"/>
                <a:gd name="T58" fmla="*/ 54 w 58"/>
                <a:gd name="T59" fmla="*/ 17 h 65"/>
                <a:gd name="T60" fmla="*/ 56 w 58"/>
                <a:gd name="T61" fmla="*/ 11 h 65"/>
                <a:gd name="T62" fmla="*/ 56 w 58"/>
                <a:gd name="T63" fmla="*/ 5 h 65"/>
                <a:gd name="T64" fmla="*/ 56 w 58"/>
                <a:gd name="T65" fmla="*/ 5 h 65"/>
                <a:gd name="T66" fmla="*/ 54 w 58"/>
                <a:gd name="T67" fmla="*/ 1 h 65"/>
                <a:gd name="T68" fmla="*/ 50 w 58"/>
                <a:gd name="T69" fmla="*/ 3 h 65"/>
                <a:gd name="T70" fmla="*/ 48 w 58"/>
                <a:gd name="T71" fmla="*/ 1 h 65"/>
                <a:gd name="T72" fmla="*/ 47 w 58"/>
                <a:gd name="T73" fmla="*/ 3 h 65"/>
                <a:gd name="T74" fmla="*/ 48 w 58"/>
                <a:gd name="T75" fmla="*/ 1 h 65"/>
                <a:gd name="T76" fmla="*/ 47 w 58"/>
                <a:gd name="T77" fmla="*/ 0 h 65"/>
                <a:gd name="T78" fmla="*/ 41 w 58"/>
                <a:gd name="T79" fmla="*/ 0 h 65"/>
                <a:gd name="T80" fmla="*/ 43 w 58"/>
                <a:gd name="T81" fmla="*/ 3 h 65"/>
                <a:gd name="T82" fmla="*/ 39 w 58"/>
                <a:gd name="T83" fmla="*/ 9 h 65"/>
                <a:gd name="T84" fmla="*/ 39 w 58"/>
                <a:gd name="T85" fmla="*/ 5 h 65"/>
                <a:gd name="T86" fmla="*/ 37 w 58"/>
                <a:gd name="T87" fmla="*/ 1 h 65"/>
                <a:gd name="T88" fmla="*/ 35 w 58"/>
                <a:gd name="T89" fmla="*/ 1 h 65"/>
                <a:gd name="T90" fmla="*/ 33 w 58"/>
                <a:gd name="T91" fmla="*/ 5 h 65"/>
                <a:gd name="T92" fmla="*/ 31 w 58"/>
                <a:gd name="T93" fmla="*/ 5 h 65"/>
                <a:gd name="T94" fmla="*/ 29 w 58"/>
                <a:gd name="T95" fmla="*/ 5 h 65"/>
                <a:gd name="T96" fmla="*/ 25 w 58"/>
                <a:gd name="T97" fmla="*/ 3 h 65"/>
                <a:gd name="T98" fmla="*/ 27 w 58"/>
                <a:gd name="T99" fmla="*/ 7 h 65"/>
                <a:gd name="T100" fmla="*/ 25 w 58"/>
                <a:gd name="T101" fmla="*/ 7 h 65"/>
                <a:gd name="T102" fmla="*/ 27 w 58"/>
                <a:gd name="T103" fmla="*/ 9 h 65"/>
                <a:gd name="T104" fmla="*/ 27 w 58"/>
                <a:gd name="T105" fmla="*/ 13 h 65"/>
                <a:gd name="T106" fmla="*/ 29 w 58"/>
                <a:gd name="T107" fmla="*/ 19 h 65"/>
                <a:gd name="T108" fmla="*/ 31 w 58"/>
                <a:gd name="T109" fmla="*/ 26 h 65"/>
                <a:gd name="T110" fmla="*/ 31 w 58"/>
                <a:gd name="T111" fmla="*/ 30 h 65"/>
                <a:gd name="T112" fmla="*/ 29 w 58"/>
                <a:gd name="T113" fmla="*/ 32 h 65"/>
                <a:gd name="T114" fmla="*/ 27 w 58"/>
                <a:gd name="T115" fmla="*/ 32 h 65"/>
                <a:gd name="T116" fmla="*/ 25 w 58"/>
                <a:gd name="T117" fmla="*/ 26 h 65"/>
                <a:gd name="T118" fmla="*/ 25 w 58"/>
                <a:gd name="T119" fmla="*/ 24 h 65"/>
                <a:gd name="T120" fmla="*/ 20 w 58"/>
                <a:gd name="T121" fmla="*/ 23 h 65"/>
                <a:gd name="T122" fmla="*/ 18 w 58"/>
                <a:gd name="T123" fmla="*/ 19 h 65"/>
                <a:gd name="T124" fmla="*/ 18 w 58"/>
                <a:gd name="T125" fmla="*/ 2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 h="65">
                  <a:moveTo>
                    <a:pt x="16" y="23"/>
                  </a:moveTo>
                  <a:lnTo>
                    <a:pt x="14" y="24"/>
                  </a:lnTo>
                  <a:lnTo>
                    <a:pt x="12" y="28"/>
                  </a:lnTo>
                  <a:lnTo>
                    <a:pt x="12" y="32"/>
                  </a:lnTo>
                  <a:lnTo>
                    <a:pt x="12" y="34"/>
                  </a:lnTo>
                  <a:lnTo>
                    <a:pt x="10" y="36"/>
                  </a:lnTo>
                  <a:lnTo>
                    <a:pt x="8" y="36"/>
                  </a:lnTo>
                  <a:lnTo>
                    <a:pt x="6" y="42"/>
                  </a:lnTo>
                  <a:lnTo>
                    <a:pt x="10" y="48"/>
                  </a:lnTo>
                  <a:lnTo>
                    <a:pt x="12" y="48"/>
                  </a:lnTo>
                  <a:lnTo>
                    <a:pt x="10" y="49"/>
                  </a:lnTo>
                  <a:lnTo>
                    <a:pt x="8" y="53"/>
                  </a:lnTo>
                  <a:lnTo>
                    <a:pt x="6" y="57"/>
                  </a:lnTo>
                  <a:lnTo>
                    <a:pt x="2" y="59"/>
                  </a:lnTo>
                  <a:lnTo>
                    <a:pt x="2" y="61"/>
                  </a:lnTo>
                  <a:lnTo>
                    <a:pt x="0" y="63"/>
                  </a:lnTo>
                  <a:lnTo>
                    <a:pt x="2" y="65"/>
                  </a:lnTo>
                  <a:lnTo>
                    <a:pt x="6" y="63"/>
                  </a:lnTo>
                  <a:lnTo>
                    <a:pt x="8" y="61"/>
                  </a:lnTo>
                  <a:lnTo>
                    <a:pt x="10" y="57"/>
                  </a:lnTo>
                  <a:lnTo>
                    <a:pt x="10" y="61"/>
                  </a:lnTo>
                  <a:lnTo>
                    <a:pt x="8" y="65"/>
                  </a:lnTo>
                  <a:lnTo>
                    <a:pt x="12" y="65"/>
                  </a:lnTo>
                  <a:lnTo>
                    <a:pt x="14" y="61"/>
                  </a:lnTo>
                  <a:lnTo>
                    <a:pt x="12" y="59"/>
                  </a:lnTo>
                  <a:lnTo>
                    <a:pt x="16" y="57"/>
                  </a:lnTo>
                  <a:lnTo>
                    <a:pt x="20" y="55"/>
                  </a:lnTo>
                  <a:lnTo>
                    <a:pt x="22" y="53"/>
                  </a:lnTo>
                  <a:lnTo>
                    <a:pt x="22" y="51"/>
                  </a:lnTo>
                  <a:lnTo>
                    <a:pt x="23" y="49"/>
                  </a:lnTo>
                  <a:lnTo>
                    <a:pt x="27" y="49"/>
                  </a:lnTo>
                  <a:lnTo>
                    <a:pt x="29" y="49"/>
                  </a:lnTo>
                  <a:lnTo>
                    <a:pt x="27" y="53"/>
                  </a:lnTo>
                  <a:lnTo>
                    <a:pt x="31" y="57"/>
                  </a:lnTo>
                  <a:lnTo>
                    <a:pt x="35" y="51"/>
                  </a:lnTo>
                  <a:lnTo>
                    <a:pt x="35" y="48"/>
                  </a:lnTo>
                  <a:lnTo>
                    <a:pt x="39" y="48"/>
                  </a:lnTo>
                  <a:lnTo>
                    <a:pt x="39" y="46"/>
                  </a:lnTo>
                  <a:lnTo>
                    <a:pt x="41" y="46"/>
                  </a:lnTo>
                  <a:lnTo>
                    <a:pt x="45" y="44"/>
                  </a:lnTo>
                  <a:lnTo>
                    <a:pt x="45" y="40"/>
                  </a:lnTo>
                  <a:lnTo>
                    <a:pt x="47" y="40"/>
                  </a:lnTo>
                  <a:lnTo>
                    <a:pt x="45" y="44"/>
                  </a:lnTo>
                  <a:lnTo>
                    <a:pt x="47" y="44"/>
                  </a:lnTo>
                  <a:lnTo>
                    <a:pt x="50" y="40"/>
                  </a:lnTo>
                  <a:lnTo>
                    <a:pt x="52" y="38"/>
                  </a:lnTo>
                  <a:lnTo>
                    <a:pt x="50" y="36"/>
                  </a:lnTo>
                  <a:lnTo>
                    <a:pt x="52" y="36"/>
                  </a:lnTo>
                  <a:lnTo>
                    <a:pt x="54" y="36"/>
                  </a:lnTo>
                  <a:lnTo>
                    <a:pt x="54" y="34"/>
                  </a:lnTo>
                  <a:lnTo>
                    <a:pt x="56" y="30"/>
                  </a:lnTo>
                  <a:lnTo>
                    <a:pt x="56" y="26"/>
                  </a:lnTo>
                  <a:lnTo>
                    <a:pt x="54" y="24"/>
                  </a:lnTo>
                  <a:lnTo>
                    <a:pt x="56" y="23"/>
                  </a:lnTo>
                  <a:lnTo>
                    <a:pt x="58" y="21"/>
                  </a:lnTo>
                  <a:lnTo>
                    <a:pt x="58" y="17"/>
                  </a:lnTo>
                  <a:lnTo>
                    <a:pt x="58" y="15"/>
                  </a:lnTo>
                  <a:lnTo>
                    <a:pt x="56" y="19"/>
                  </a:lnTo>
                  <a:lnTo>
                    <a:pt x="54" y="21"/>
                  </a:lnTo>
                  <a:lnTo>
                    <a:pt x="54" y="17"/>
                  </a:lnTo>
                  <a:lnTo>
                    <a:pt x="54" y="15"/>
                  </a:lnTo>
                  <a:lnTo>
                    <a:pt x="56" y="11"/>
                  </a:lnTo>
                  <a:lnTo>
                    <a:pt x="58" y="9"/>
                  </a:lnTo>
                  <a:lnTo>
                    <a:pt x="56" y="5"/>
                  </a:lnTo>
                  <a:lnTo>
                    <a:pt x="58" y="1"/>
                  </a:lnTo>
                  <a:lnTo>
                    <a:pt x="56" y="5"/>
                  </a:lnTo>
                  <a:lnTo>
                    <a:pt x="54" y="5"/>
                  </a:lnTo>
                  <a:lnTo>
                    <a:pt x="54" y="1"/>
                  </a:lnTo>
                  <a:lnTo>
                    <a:pt x="52" y="5"/>
                  </a:lnTo>
                  <a:lnTo>
                    <a:pt x="50" y="3"/>
                  </a:lnTo>
                  <a:lnTo>
                    <a:pt x="50" y="1"/>
                  </a:lnTo>
                  <a:lnTo>
                    <a:pt x="48" y="1"/>
                  </a:lnTo>
                  <a:lnTo>
                    <a:pt x="48" y="3"/>
                  </a:lnTo>
                  <a:lnTo>
                    <a:pt x="47" y="3"/>
                  </a:lnTo>
                  <a:lnTo>
                    <a:pt x="47" y="1"/>
                  </a:lnTo>
                  <a:lnTo>
                    <a:pt x="48" y="1"/>
                  </a:lnTo>
                  <a:lnTo>
                    <a:pt x="48" y="0"/>
                  </a:lnTo>
                  <a:lnTo>
                    <a:pt x="47" y="0"/>
                  </a:lnTo>
                  <a:lnTo>
                    <a:pt x="45" y="0"/>
                  </a:lnTo>
                  <a:lnTo>
                    <a:pt x="41" y="0"/>
                  </a:lnTo>
                  <a:lnTo>
                    <a:pt x="41" y="1"/>
                  </a:lnTo>
                  <a:lnTo>
                    <a:pt x="43" y="3"/>
                  </a:lnTo>
                  <a:lnTo>
                    <a:pt x="41" y="5"/>
                  </a:lnTo>
                  <a:lnTo>
                    <a:pt x="39" y="9"/>
                  </a:lnTo>
                  <a:lnTo>
                    <a:pt x="39" y="7"/>
                  </a:lnTo>
                  <a:lnTo>
                    <a:pt x="39" y="5"/>
                  </a:lnTo>
                  <a:lnTo>
                    <a:pt x="37" y="3"/>
                  </a:lnTo>
                  <a:lnTo>
                    <a:pt x="37" y="1"/>
                  </a:lnTo>
                  <a:lnTo>
                    <a:pt x="35" y="0"/>
                  </a:lnTo>
                  <a:lnTo>
                    <a:pt x="35" y="1"/>
                  </a:lnTo>
                  <a:lnTo>
                    <a:pt x="31" y="3"/>
                  </a:lnTo>
                  <a:lnTo>
                    <a:pt x="33" y="5"/>
                  </a:lnTo>
                  <a:lnTo>
                    <a:pt x="31" y="7"/>
                  </a:lnTo>
                  <a:lnTo>
                    <a:pt x="31" y="5"/>
                  </a:lnTo>
                  <a:lnTo>
                    <a:pt x="29" y="7"/>
                  </a:lnTo>
                  <a:lnTo>
                    <a:pt x="29" y="5"/>
                  </a:lnTo>
                  <a:lnTo>
                    <a:pt x="29" y="3"/>
                  </a:lnTo>
                  <a:lnTo>
                    <a:pt x="25" y="3"/>
                  </a:lnTo>
                  <a:lnTo>
                    <a:pt x="27" y="5"/>
                  </a:lnTo>
                  <a:lnTo>
                    <a:pt x="27" y="7"/>
                  </a:lnTo>
                  <a:lnTo>
                    <a:pt x="27" y="9"/>
                  </a:lnTo>
                  <a:lnTo>
                    <a:pt x="25" y="7"/>
                  </a:lnTo>
                  <a:lnTo>
                    <a:pt x="25" y="9"/>
                  </a:lnTo>
                  <a:lnTo>
                    <a:pt x="27" y="9"/>
                  </a:lnTo>
                  <a:lnTo>
                    <a:pt x="27" y="11"/>
                  </a:lnTo>
                  <a:lnTo>
                    <a:pt x="27" y="13"/>
                  </a:lnTo>
                  <a:lnTo>
                    <a:pt x="27" y="15"/>
                  </a:lnTo>
                  <a:lnTo>
                    <a:pt x="29" y="19"/>
                  </a:lnTo>
                  <a:lnTo>
                    <a:pt x="31" y="23"/>
                  </a:lnTo>
                  <a:lnTo>
                    <a:pt x="31" y="26"/>
                  </a:lnTo>
                  <a:lnTo>
                    <a:pt x="31" y="28"/>
                  </a:lnTo>
                  <a:lnTo>
                    <a:pt x="31" y="30"/>
                  </a:lnTo>
                  <a:lnTo>
                    <a:pt x="31" y="32"/>
                  </a:lnTo>
                  <a:lnTo>
                    <a:pt x="29" y="32"/>
                  </a:lnTo>
                  <a:lnTo>
                    <a:pt x="29" y="30"/>
                  </a:lnTo>
                  <a:lnTo>
                    <a:pt x="27" y="32"/>
                  </a:lnTo>
                  <a:lnTo>
                    <a:pt x="25" y="28"/>
                  </a:lnTo>
                  <a:lnTo>
                    <a:pt x="25" y="26"/>
                  </a:lnTo>
                  <a:lnTo>
                    <a:pt x="27" y="24"/>
                  </a:lnTo>
                  <a:lnTo>
                    <a:pt x="25" y="24"/>
                  </a:lnTo>
                  <a:lnTo>
                    <a:pt x="23" y="23"/>
                  </a:lnTo>
                  <a:lnTo>
                    <a:pt x="20" y="23"/>
                  </a:lnTo>
                  <a:lnTo>
                    <a:pt x="20" y="19"/>
                  </a:lnTo>
                  <a:lnTo>
                    <a:pt x="18" y="19"/>
                  </a:lnTo>
                  <a:lnTo>
                    <a:pt x="16" y="21"/>
                  </a:lnTo>
                  <a:lnTo>
                    <a:pt x="18" y="23"/>
                  </a:lnTo>
                  <a:lnTo>
                    <a:pt x="16" y="2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59" name="Freeform 247"/>
            <p:cNvSpPr>
              <a:spLocks/>
            </p:cNvSpPr>
            <p:nvPr/>
          </p:nvSpPr>
          <p:spPr bwMode="auto">
            <a:xfrm>
              <a:off x="2604" y="1996"/>
              <a:ext cx="29" cy="65"/>
            </a:xfrm>
            <a:custGeom>
              <a:avLst/>
              <a:gdLst>
                <a:gd name="T0" fmla="*/ 0 w 29"/>
                <a:gd name="T1" fmla="*/ 62 h 65"/>
                <a:gd name="T2" fmla="*/ 2 w 29"/>
                <a:gd name="T3" fmla="*/ 64 h 65"/>
                <a:gd name="T4" fmla="*/ 2 w 29"/>
                <a:gd name="T5" fmla="*/ 65 h 65"/>
                <a:gd name="T6" fmla="*/ 4 w 29"/>
                <a:gd name="T7" fmla="*/ 65 h 65"/>
                <a:gd name="T8" fmla="*/ 6 w 29"/>
                <a:gd name="T9" fmla="*/ 60 h 65"/>
                <a:gd name="T10" fmla="*/ 8 w 29"/>
                <a:gd name="T11" fmla="*/ 54 h 65"/>
                <a:gd name="T12" fmla="*/ 10 w 29"/>
                <a:gd name="T13" fmla="*/ 50 h 65"/>
                <a:gd name="T14" fmla="*/ 13 w 29"/>
                <a:gd name="T15" fmla="*/ 46 h 65"/>
                <a:gd name="T16" fmla="*/ 13 w 29"/>
                <a:gd name="T17" fmla="*/ 44 h 65"/>
                <a:gd name="T18" fmla="*/ 15 w 29"/>
                <a:gd name="T19" fmla="*/ 39 h 65"/>
                <a:gd name="T20" fmla="*/ 17 w 29"/>
                <a:gd name="T21" fmla="*/ 35 h 65"/>
                <a:gd name="T22" fmla="*/ 17 w 29"/>
                <a:gd name="T23" fmla="*/ 29 h 65"/>
                <a:gd name="T24" fmla="*/ 21 w 29"/>
                <a:gd name="T25" fmla="*/ 25 h 65"/>
                <a:gd name="T26" fmla="*/ 23 w 29"/>
                <a:gd name="T27" fmla="*/ 21 h 65"/>
                <a:gd name="T28" fmla="*/ 25 w 29"/>
                <a:gd name="T29" fmla="*/ 23 h 65"/>
                <a:gd name="T30" fmla="*/ 27 w 29"/>
                <a:gd name="T31" fmla="*/ 21 h 65"/>
                <a:gd name="T32" fmla="*/ 29 w 29"/>
                <a:gd name="T33" fmla="*/ 19 h 65"/>
                <a:gd name="T34" fmla="*/ 27 w 29"/>
                <a:gd name="T35" fmla="*/ 15 h 65"/>
                <a:gd name="T36" fmla="*/ 23 w 29"/>
                <a:gd name="T37" fmla="*/ 15 h 65"/>
                <a:gd name="T38" fmla="*/ 25 w 29"/>
                <a:gd name="T39" fmla="*/ 12 h 65"/>
                <a:gd name="T40" fmla="*/ 25 w 29"/>
                <a:gd name="T41" fmla="*/ 8 h 65"/>
                <a:gd name="T42" fmla="*/ 27 w 29"/>
                <a:gd name="T43" fmla="*/ 4 h 65"/>
                <a:gd name="T44" fmla="*/ 27 w 29"/>
                <a:gd name="T45" fmla="*/ 2 h 65"/>
                <a:gd name="T46" fmla="*/ 25 w 29"/>
                <a:gd name="T47" fmla="*/ 0 h 65"/>
                <a:gd name="T48" fmla="*/ 21 w 29"/>
                <a:gd name="T49" fmla="*/ 4 h 65"/>
                <a:gd name="T50" fmla="*/ 19 w 29"/>
                <a:gd name="T51" fmla="*/ 8 h 65"/>
                <a:gd name="T52" fmla="*/ 15 w 29"/>
                <a:gd name="T53" fmla="*/ 12 h 65"/>
                <a:gd name="T54" fmla="*/ 13 w 29"/>
                <a:gd name="T55" fmla="*/ 14 h 65"/>
                <a:gd name="T56" fmla="*/ 13 w 29"/>
                <a:gd name="T57" fmla="*/ 15 h 65"/>
                <a:gd name="T58" fmla="*/ 13 w 29"/>
                <a:gd name="T59" fmla="*/ 17 h 65"/>
                <a:gd name="T60" fmla="*/ 13 w 29"/>
                <a:gd name="T61" fmla="*/ 19 h 65"/>
                <a:gd name="T62" fmla="*/ 12 w 29"/>
                <a:gd name="T63" fmla="*/ 21 h 65"/>
                <a:gd name="T64" fmla="*/ 12 w 29"/>
                <a:gd name="T65" fmla="*/ 23 h 65"/>
                <a:gd name="T66" fmla="*/ 10 w 29"/>
                <a:gd name="T67" fmla="*/ 25 h 65"/>
                <a:gd name="T68" fmla="*/ 8 w 29"/>
                <a:gd name="T69" fmla="*/ 31 h 65"/>
                <a:gd name="T70" fmla="*/ 6 w 29"/>
                <a:gd name="T71" fmla="*/ 35 h 65"/>
                <a:gd name="T72" fmla="*/ 4 w 29"/>
                <a:gd name="T73" fmla="*/ 40 h 65"/>
                <a:gd name="T74" fmla="*/ 4 w 29"/>
                <a:gd name="T75" fmla="*/ 44 h 65"/>
                <a:gd name="T76" fmla="*/ 2 w 29"/>
                <a:gd name="T77" fmla="*/ 50 h 65"/>
                <a:gd name="T78" fmla="*/ 2 w 29"/>
                <a:gd name="T79" fmla="*/ 54 h 65"/>
                <a:gd name="T80" fmla="*/ 0 w 29"/>
                <a:gd name="T81" fmla="*/ 58 h 65"/>
                <a:gd name="T82" fmla="*/ 0 w 29"/>
                <a:gd name="T83" fmla="*/ 6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 h="65">
                  <a:moveTo>
                    <a:pt x="0" y="62"/>
                  </a:moveTo>
                  <a:lnTo>
                    <a:pt x="2" y="64"/>
                  </a:lnTo>
                  <a:lnTo>
                    <a:pt x="2" y="65"/>
                  </a:lnTo>
                  <a:lnTo>
                    <a:pt x="4" y="65"/>
                  </a:lnTo>
                  <a:lnTo>
                    <a:pt x="6" y="60"/>
                  </a:lnTo>
                  <a:lnTo>
                    <a:pt x="8" y="54"/>
                  </a:lnTo>
                  <a:lnTo>
                    <a:pt x="10" y="50"/>
                  </a:lnTo>
                  <a:lnTo>
                    <a:pt x="13" y="46"/>
                  </a:lnTo>
                  <a:lnTo>
                    <a:pt x="13" y="44"/>
                  </a:lnTo>
                  <a:lnTo>
                    <a:pt x="15" y="39"/>
                  </a:lnTo>
                  <a:lnTo>
                    <a:pt x="17" y="35"/>
                  </a:lnTo>
                  <a:lnTo>
                    <a:pt x="17" y="29"/>
                  </a:lnTo>
                  <a:lnTo>
                    <a:pt x="21" y="25"/>
                  </a:lnTo>
                  <a:lnTo>
                    <a:pt x="23" y="21"/>
                  </a:lnTo>
                  <a:lnTo>
                    <a:pt x="25" y="23"/>
                  </a:lnTo>
                  <a:lnTo>
                    <a:pt x="27" y="21"/>
                  </a:lnTo>
                  <a:lnTo>
                    <a:pt x="29" y="19"/>
                  </a:lnTo>
                  <a:lnTo>
                    <a:pt x="27" y="15"/>
                  </a:lnTo>
                  <a:lnTo>
                    <a:pt x="23" y="15"/>
                  </a:lnTo>
                  <a:lnTo>
                    <a:pt x="25" y="12"/>
                  </a:lnTo>
                  <a:lnTo>
                    <a:pt x="25" y="8"/>
                  </a:lnTo>
                  <a:lnTo>
                    <a:pt x="27" y="4"/>
                  </a:lnTo>
                  <a:lnTo>
                    <a:pt x="27" y="2"/>
                  </a:lnTo>
                  <a:lnTo>
                    <a:pt x="25" y="0"/>
                  </a:lnTo>
                  <a:lnTo>
                    <a:pt x="21" y="4"/>
                  </a:lnTo>
                  <a:lnTo>
                    <a:pt x="19" y="8"/>
                  </a:lnTo>
                  <a:lnTo>
                    <a:pt x="15" y="12"/>
                  </a:lnTo>
                  <a:lnTo>
                    <a:pt x="13" y="14"/>
                  </a:lnTo>
                  <a:lnTo>
                    <a:pt x="13" y="15"/>
                  </a:lnTo>
                  <a:lnTo>
                    <a:pt x="13" y="17"/>
                  </a:lnTo>
                  <a:lnTo>
                    <a:pt x="13" y="19"/>
                  </a:lnTo>
                  <a:lnTo>
                    <a:pt x="12" y="21"/>
                  </a:lnTo>
                  <a:lnTo>
                    <a:pt x="12" y="23"/>
                  </a:lnTo>
                  <a:lnTo>
                    <a:pt x="10" y="25"/>
                  </a:lnTo>
                  <a:lnTo>
                    <a:pt x="8" y="31"/>
                  </a:lnTo>
                  <a:lnTo>
                    <a:pt x="6" y="35"/>
                  </a:lnTo>
                  <a:lnTo>
                    <a:pt x="4" y="40"/>
                  </a:lnTo>
                  <a:lnTo>
                    <a:pt x="4" y="44"/>
                  </a:lnTo>
                  <a:lnTo>
                    <a:pt x="2" y="50"/>
                  </a:lnTo>
                  <a:lnTo>
                    <a:pt x="2" y="54"/>
                  </a:lnTo>
                  <a:lnTo>
                    <a:pt x="0" y="58"/>
                  </a:lnTo>
                  <a:lnTo>
                    <a:pt x="0" y="6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60" name="Freeform 248"/>
            <p:cNvSpPr>
              <a:spLocks/>
            </p:cNvSpPr>
            <p:nvPr/>
          </p:nvSpPr>
          <p:spPr bwMode="auto">
            <a:xfrm>
              <a:off x="2639" y="1962"/>
              <a:ext cx="38" cy="13"/>
            </a:xfrm>
            <a:custGeom>
              <a:avLst/>
              <a:gdLst>
                <a:gd name="T0" fmla="*/ 11 w 38"/>
                <a:gd name="T1" fmla="*/ 1 h 13"/>
                <a:gd name="T2" fmla="*/ 7 w 38"/>
                <a:gd name="T3" fmla="*/ 3 h 13"/>
                <a:gd name="T4" fmla="*/ 3 w 38"/>
                <a:gd name="T5" fmla="*/ 3 h 13"/>
                <a:gd name="T6" fmla="*/ 0 w 38"/>
                <a:gd name="T7" fmla="*/ 3 h 13"/>
                <a:gd name="T8" fmla="*/ 0 w 38"/>
                <a:gd name="T9" fmla="*/ 5 h 13"/>
                <a:gd name="T10" fmla="*/ 3 w 38"/>
                <a:gd name="T11" fmla="*/ 5 h 13"/>
                <a:gd name="T12" fmla="*/ 9 w 38"/>
                <a:gd name="T13" fmla="*/ 5 h 13"/>
                <a:gd name="T14" fmla="*/ 9 w 38"/>
                <a:gd name="T15" fmla="*/ 3 h 13"/>
                <a:gd name="T16" fmla="*/ 11 w 38"/>
                <a:gd name="T17" fmla="*/ 5 h 13"/>
                <a:gd name="T18" fmla="*/ 9 w 38"/>
                <a:gd name="T19" fmla="*/ 7 h 13"/>
                <a:gd name="T20" fmla="*/ 11 w 38"/>
                <a:gd name="T21" fmla="*/ 7 h 13"/>
                <a:gd name="T22" fmla="*/ 13 w 38"/>
                <a:gd name="T23" fmla="*/ 7 h 13"/>
                <a:gd name="T24" fmla="*/ 11 w 38"/>
                <a:gd name="T25" fmla="*/ 11 h 13"/>
                <a:gd name="T26" fmla="*/ 19 w 38"/>
                <a:gd name="T27" fmla="*/ 13 h 13"/>
                <a:gd name="T28" fmla="*/ 23 w 38"/>
                <a:gd name="T29" fmla="*/ 11 h 13"/>
                <a:gd name="T30" fmla="*/ 21 w 38"/>
                <a:gd name="T31" fmla="*/ 9 h 13"/>
                <a:gd name="T32" fmla="*/ 25 w 38"/>
                <a:gd name="T33" fmla="*/ 7 h 13"/>
                <a:gd name="T34" fmla="*/ 28 w 38"/>
                <a:gd name="T35" fmla="*/ 5 h 13"/>
                <a:gd name="T36" fmla="*/ 32 w 38"/>
                <a:gd name="T37" fmla="*/ 5 h 13"/>
                <a:gd name="T38" fmla="*/ 36 w 38"/>
                <a:gd name="T39" fmla="*/ 3 h 13"/>
                <a:gd name="T40" fmla="*/ 38 w 38"/>
                <a:gd name="T41" fmla="*/ 1 h 13"/>
                <a:gd name="T42" fmla="*/ 36 w 38"/>
                <a:gd name="T43" fmla="*/ 0 h 13"/>
                <a:gd name="T44" fmla="*/ 26 w 38"/>
                <a:gd name="T45" fmla="*/ 5 h 13"/>
                <a:gd name="T46" fmla="*/ 23 w 38"/>
                <a:gd name="T47" fmla="*/ 3 h 13"/>
                <a:gd name="T48" fmla="*/ 21 w 38"/>
                <a:gd name="T49" fmla="*/ 3 h 13"/>
                <a:gd name="T50" fmla="*/ 19 w 38"/>
                <a:gd name="T51" fmla="*/ 3 h 13"/>
                <a:gd name="T52" fmla="*/ 21 w 38"/>
                <a:gd name="T53" fmla="*/ 1 h 13"/>
                <a:gd name="T54" fmla="*/ 19 w 38"/>
                <a:gd name="T55" fmla="*/ 1 h 13"/>
                <a:gd name="T56" fmla="*/ 19 w 38"/>
                <a:gd name="T57" fmla="*/ 3 h 13"/>
                <a:gd name="T58" fmla="*/ 17 w 38"/>
                <a:gd name="T59" fmla="*/ 3 h 13"/>
                <a:gd name="T60" fmla="*/ 17 w 38"/>
                <a:gd name="T61" fmla="*/ 1 h 13"/>
                <a:gd name="T62" fmla="*/ 13 w 38"/>
                <a:gd name="T63" fmla="*/ 3 h 13"/>
                <a:gd name="T64" fmla="*/ 11 w 38"/>
                <a:gd name="T65"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13">
                  <a:moveTo>
                    <a:pt x="11" y="1"/>
                  </a:moveTo>
                  <a:lnTo>
                    <a:pt x="7" y="3"/>
                  </a:lnTo>
                  <a:lnTo>
                    <a:pt x="3" y="3"/>
                  </a:lnTo>
                  <a:lnTo>
                    <a:pt x="0" y="3"/>
                  </a:lnTo>
                  <a:lnTo>
                    <a:pt x="0" y="5"/>
                  </a:lnTo>
                  <a:lnTo>
                    <a:pt x="3" y="5"/>
                  </a:lnTo>
                  <a:lnTo>
                    <a:pt x="9" y="5"/>
                  </a:lnTo>
                  <a:lnTo>
                    <a:pt x="9" y="3"/>
                  </a:lnTo>
                  <a:lnTo>
                    <a:pt x="11" y="5"/>
                  </a:lnTo>
                  <a:lnTo>
                    <a:pt x="9" y="7"/>
                  </a:lnTo>
                  <a:lnTo>
                    <a:pt x="11" y="7"/>
                  </a:lnTo>
                  <a:lnTo>
                    <a:pt x="13" y="7"/>
                  </a:lnTo>
                  <a:lnTo>
                    <a:pt x="11" y="11"/>
                  </a:lnTo>
                  <a:lnTo>
                    <a:pt x="19" y="13"/>
                  </a:lnTo>
                  <a:lnTo>
                    <a:pt x="23" y="11"/>
                  </a:lnTo>
                  <a:lnTo>
                    <a:pt x="21" y="9"/>
                  </a:lnTo>
                  <a:lnTo>
                    <a:pt x="25" y="7"/>
                  </a:lnTo>
                  <a:lnTo>
                    <a:pt x="28" y="5"/>
                  </a:lnTo>
                  <a:lnTo>
                    <a:pt x="32" y="5"/>
                  </a:lnTo>
                  <a:lnTo>
                    <a:pt x="36" y="3"/>
                  </a:lnTo>
                  <a:lnTo>
                    <a:pt x="38" y="1"/>
                  </a:lnTo>
                  <a:lnTo>
                    <a:pt x="36" y="0"/>
                  </a:lnTo>
                  <a:lnTo>
                    <a:pt x="26" y="5"/>
                  </a:lnTo>
                  <a:lnTo>
                    <a:pt x="23" y="3"/>
                  </a:lnTo>
                  <a:lnTo>
                    <a:pt x="21" y="3"/>
                  </a:lnTo>
                  <a:lnTo>
                    <a:pt x="19" y="3"/>
                  </a:lnTo>
                  <a:lnTo>
                    <a:pt x="21" y="1"/>
                  </a:lnTo>
                  <a:lnTo>
                    <a:pt x="19" y="1"/>
                  </a:lnTo>
                  <a:lnTo>
                    <a:pt x="19" y="3"/>
                  </a:lnTo>
                  <a:lnTo>
                    <a:pt x="17" y="3"/>
                  </a:lnTo>
                  <a:lnTo>
                    <a:pt x="17" y="1"/>
                  </a:lnTo>
                  <a:lnTo>
                    <a:pt x="13" y="3"/>
                  </a:lnTo>
                  <a:lnTo>
                    <a:pt x="11" y="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61" name="Freeform 249"/>
            <p:cNvSpPr>
              <a:spLocks/>
            </p:cNvSpPr>
            <p:nvPr/>
          </p:nvSpPr>
          <p:spPr bwMode="auto">
            <a:xfrm>
              <a:off x="2740" y="2036"/>
              <a:ext cx="39" cy="72"/>
            </a:xfrm>
            <a:custGeom>
              <a:avLst/>
              <a:gdLst>
                <a:gd name="T0" fmla="*/ 2 w 39"/>
                <a:gd name="T1" fmla="*/ 54 h 72"/>
                <a:gd name="T2" fmla="*/ 6 w 39"/>
                <a:gd name="T3" fmla="*/ 56 h 72"/>
                <a:gd name="T4" fmla="*/ 4 w 39"/>
                <a:gd name="T5" fmla="*/ 62 h 72"/>
                <a:gd name="T6" fmla="*/ 8 w 39"/>
                <a:gd name="T7" fmla="*/ 58 h 72"/>
                <a:gd name="T8" fmla="*/ 6 w 39"/>
                <a:gd name="T9" fmla="*/ 64 h 72"/>
                <a:gd name="T10" fmla="*/ 4 w 39"/>
                <a:gd name="T11" fmla="*/ 68 h 72"/>
                <a:gd name="T12" fmla="*/ 6 w 39"/>
                <a:gd name="T13" fmla="*/ 72 h 72"/>
                <a:gd name="T14" fmla="*/ 10 w 39"/>
                <a:gd name="T15" fmla="*/ 68 h 72"/>
                <a:gd name="T16" fmla="*/ 12 w 39"/>
                <a:gd name="T17" fmla="*/ 64 h 72"/>
                <a:gd name="T18" fmla="*/ 10 w 39"/>
                <a:gd name="T19" fmla="*/ 60 h 72"/>
                <a:gd name="T20" fmla="*/ 14 w 39"/>
                <a:gd name="T21" fmla="*/ 56 h 72"/>
                <a:gd name="T22" fmla="*/ 16 w 39"/>
                <a:gd name="T23" fmla="*/ 50 h 72"/>
                <a:gd name="T24" fmla="*/ 22 w 39"/>
                <a:gd name="T25" fmla="*/ 50 h 72"/>
                <a:gd name="T26" fmla="*/ 22 w 39"/>
                <a:gd name="T27" fmla="*/ 48 h 72"/>
                <a:gd name="T28" fmla="*/ 20 w 39"/>
                <a:gd name="T29" fmla="*/ 45 h 72"/>
                <a:gd name="T30" fmla="*/ 23 w 39"/>
                <a:gd name="T31" fmla="*/ 41 h 72"/>
                <a:gd name="T32" fmla="*/ 27 w 39"/>
                <a:gd name="T33" fmla="*/ 35 h 72"/>
                <a:gd name="T34" fmla="*/ 23 w 39"/>
                <a:gd name="T35" fmla="*/ 33 h 72"/>
                <a:gd name="T36" fmla="*/ 23 w 39"/>
                <a:gd name="T37" fmla="*/ 33 h 72"/>
                <a:gd name="T38" fmla="*/ 23 w 39"/>
                <a:gd name="T39" fmla="*/ 27 h 72"/>
                <a:gd name="T40" fmla="*/ 22 w 39"/>
                <a:gd name="T41" fmla="*/ 24 h 72"/>
                <a:gd name="T42" fmla="*/ 22 w 39"/>
                <a:gd name="T43" fmla="*/ 18 h 72"/>
                <a:gd name="T44" fmla="*/ 27 w 39"/>
                <a:gd name="T45" fmla="*/ 18 h 72"/>
                <a:gd name="T46" fmla="*/ 27 w 39"/>
                <a:gd name="T47" fmla="*/ 16 h 72"/>
                <a:gd name="T48" fmla="*/ 27 w 39"/>
                <a:gd name="T49" fmla="*/ 14 h 72"/>
                <a:gd name="T50" fmla="*/ 31 w 39"/>
                <a:gd name="T51" fmla="*/ 12 h 72"/>
                <a:gd name="T52" fmla="*/ 31 w 39"/>
                <a:gd name="T53" fmla="*/ 8 h 72"/>
                <a:gd name="T54" fmla="*/ 33 w 39"/>
                <a:gd name="T55" fmla="*/ 8 h 72"/>
                <a:gd name="T56" fmla="*/ 33 w 39"/>
                <a:gd name="T57" fmla="*/ 4 h 72"/>
                <a:gd name="T58" fmla="*/ 37 w 39"/>
                <a:gd name="T59" fmla="*/ 2 h 72"/>
                <a:gd name="T60" fmla="*/ 35 w 39"/>
                <a:gd name="T61" fmla="*/ 2 h 72"/>
                <a:gd name="T62" fmla="*/ 31 w 39"/>
                <a:gd name="T63" fmla="*/ 2 h 72"/>
                <a:gd name="T64" fmla="*/ 29 w 39"/>
                <a:gd name="T65" fmla="*/ 6 h 72"/>
                <a:gd name="T66" fmla="*/ 27 w 39"/>
                <a:gd name="T67" fmla="*/ 6 h 72"/>
                <a:gd name="T68" fmla="*/ 23 w 39"/>
                <a:gd name="T69" fmla="*/ 8 h 72"/>
                <a:gd name="T70" fmla="*/ 23 w 39"/>
                <a:gd name="T71" fmla="*/ 6 h 72"/>
                <a:gd name="T72" fmla="*/ 22 w 39"/>
                <a:gd name="T73" fmla="*/ 10 h 72"/>
                <a:gd name="T74" fmla="*/ 20 w 39"/>
                <a:gd name="T75" fmla="*/ 8 h 72"/>
                <a:gd name="T76" fmla="*/ 16 w 39"/>
                <a:gd name="T77" fmla="*/ 6 h 72"/>
                <a:gd name="T78" fmla="*/ 14 w 39"/>
                <a:gd name="T79" fmla="*/ 10 h 72"/>
                <a:gd name="T80" fmla="*/ 10 w 39"/>
                <a:gd name="T81" fmla="*/ 14 h 72"/>
                <a:gd name="T82" fmla="*/ 8 w 39"/>
                <a:gd name="T83" fmla="*/ 20 h 72"/>
                <a:gd name="T84" fmla="*/ 6 w 39"/>
                <a:gd name="T85" fmla="*/ 24 h 72"/>
                <a:gd name="T86" fmla="*/ 0 w 39"/>
                <a:gd name="T87" fmla="*/ 29 h 72"/>
                <a:gd name="T88" fmla="*/ 0 w 39"/>
                <a:gd name="T89" fmla="*/ 35 h 72"/>
                <a:gd name="T90" fmla="*/ 2 w 39"/>
                <a:gd name="T91" fmla="*/ 39 h 72"/>
                <a:gd name="T92" fmla="*/ 2 w 39"/>
                <a:gd name="T93" fmla="*/ 4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 h="72">
                  <a:moveTo>
                    <a:pt x="0" y="48"/>
                  </a:moveTo>
                  <a:lnTo>
                    <a:pt x="2" y="50"/>
                  </a:lnTo>
                  <a:lnTo>
                    <a:pt x="2" y="54"/>
                  </a:lnTo>
                  <a:lnTo>
                    <a:pt x="4" y="54"/>
                  </a:lnTo>
                  <a:lnTo>
                    <a:pt x="4" y="56"/>
                  </a:lnTo>
                  <a:lnTo>
                    <a:pt x="6" y="56"/>
                  </a:lnTo>
                  <a:lnTo>
                    <a:pt x="6" y="58"/>
                  </a:lnTo>
                  <a:lnTo>
                    <a:pt x="6" y="60"/>
                  </a:lnTo>
                  <a:lnTo>
                    <a:pt x="4" y="62"/>
                  </a:lnTo>
                  <a:lnTo>
                    <a:pt x="6" y="62"/>
                  </a:lnTo>
                  <a:lnTo>
                    <a:pt x="6" y="60"/>
                  </a:lnTo>
                  <a:lnTo>
                    <a:pt x="8" y="58"/>
                  </a:lnTo>
                  <a:lnTo>
                    <a:pt x="8" y="60"/>
                  </a:lnTo>
                  <a:lnTo>
                    <a:pt x="8" y="62"/>
                  </a:lnTo>
                  <a:lnTo>
                    <a:pt x="6" y="64"/>
                  </a:lnTo>
                  <a:lnTo>
                    <a:pt x="4" y="64"/>
                  </a:lnTo>
                  <a:lnTo>
                    <a:pt x="6" y="66"/>
                  </a:lnTo>
                  <a:lnTo>
                    <a:pt x="4" y="68"/>
                  </a:lnTo>
                  <a:lnTo>
                    <a:pt x="4" y="70"/>
                  </a:lnTo>
                  <a:lnTo>
                    <a:pt x="4" y="72"/>
                  </a:lnTo>
                  <a:lnTo>
                    <a:pt x="6" y="72"/>
                  </a:lnTo>
                  <a:lnTo>
                    <a:pt x="8" y="70"/>
                  </a:lnTo>
                  <a:lnTo>
                    <a:pt x="10" y="70"/>
                  </a:lnTo>
                  <a:lnTo>
                    <a:pt x="10" y="68"/>
                  </a:lnTo>
                  <a:lnTo>
                    <a:pt x="10" y="66"/>
                  </a:lnTo>
                  <a:lnTo>
                    <a:pt x="12" y="66"/>
                  </a:lnTo>
                  <a:lnTo>
                    <a:pt x="12" y="64"/>
                  </a:lnTo>
                  <a:lnTo>
                    <a:pt x="10" y="64"/>
                  </a:lnTo>
                  <a:lnTo>
                    <a:pt x="10" y="62"/>
                  </a:lnTo>
                  <a:lnTo>
                    <a:pt x="10" y="60"/>
                  </a:lnTo>
                  <a:lnTo>
                    <a:pt x="12" y="58"/>
                  </a:lnTo>
                  <a:lnTo>
                    <a:pt x="14" y="58"/>
                  </a:lnTo>
                  <a:lnTo>
                    <a:pt x="14" y="56"/>
                  </a:lnTo>
                  <a:lnTo>
                    <a:pt x="12" y="56"/>
                  </a:lnTo>
                  <a:lnTo>
                    <a:pt x="16" y="52"/>
                  </a:lnTo>
                  <a:lnTo>
                    <a:pt x="16" y="50"/>
                  </a:lnTo>
                  <a:lnTo>
                    <a:pt x="18" y="50"/>
                  </a:lnTo>
                  <a:lnTo>
                    <a:pt x="20" y="50"/>
                  </a:lnTo>
                  <a:lnTo>
                    <a:pt x="22" y="50"/>
                  </a:lnTo>
                  <a:lnTo>
                    <a:pt x="22" y="48"/>
                  </a:lnTo>
                  <a:lnTo>
                    <a:pt x="20" y="48"/>
                  </a:lnTo>
                  <a:lnTo>
                    <a:pt x="22" y="48"/>
                  </a:lnTo>
                  <a:lnTo>
                    <a:pt x="22" y="47"/>
                  </a:lnTo>
                  <a:lnTo>
                    <a:pt x="20" y="47"/>
                  </a:lnTo>
                  <a:lnTo>
                    <a:pt x="20" y="45"/>
                  </a:lnTo>
                  <a:lnTo>
                    <a:pt x="20" y="43"/>
                  </a:lnTo>
                  <a:lnTo>
                    <a:pt x="22" y="43"/>
                  </a:lnTo>
                  <a:lnTo>
                    <a:pt x="23" y="41"/>
                  </a:lnTo>
                  <a:lnTo>
                    <a:pt x="25" y="39"/>
                  </a:lnTo>
                  <a:lnTo>
                    <a:pt x="27" y="37"/>
                  </a:lnTo>
                  <a:lnTo>
                    <a:pt x="27" y="35"/>
                  </a:lnTo>
                  <a:lnTo>
                    <a:pt x="25" y="35"/>
                  </a:lnTo>
                  <a:lnTo>
                    <a:pt x="23" y="35"/>
                  </a:lnTo>
                  <a:lnTo>
                    <a:pt x="23" y="33"/>
                  </a:lnTo>
                  <a:lnTo>
                    <a:pt x="22" y="35"/>
                  </a:lnTo>
                  <a:lnTo>
                    <a:pt x="22" y="33"/>
                  </a:lnTo>
                  <a:lnTo>
                    <a:pt x="23" y="33"/>
                  </a:lnTo>
                  <a:lnTo>
                    <a:pt x="22" y="31"/>
                  </a:lnTo>
                  <a:lnTo>
                    <a:pt x="23" y="29"/>
                  </a:lnTo>
                  <a:lnTo>
                    <a:pt x="23" y="27"/>
                  </a:lnTo>
                  <a:lnTo>
                    <a:pt x="22" y="27"/>
                  </a:lnTo>
                  <a:lnTo>
                    <a:pt x="22" y="25"/>
                  </a:lnTo>
                  <a:lnTo>
                    <a:pt x="22" y="24"/>
                  </a:lnTo>
                  <a:lnTo>
                    <a:pt x="22" y="22"/>
                  </a:lnTo>
                  <a:lnTo>
                    <a:pt x="22" y="20"/>
                  </a:lnTo>
                  <a:lnTo>
                    <a:pt x="22" y="18"/>
                  </a:lnTo>
                  <a:lnTo>
                    <a:pt x="23" y="18"/>
                  </a:lnTo>
                  <a:lnTo>
                    <a:pt x="25" y="18"/>
                  </a:lnTo>
                  <a:lnTo>
                    <a:pt x="27" y="18"/>
                  </a:lnTo>
                  <a:lnTo>
                    <a:pt x="25" y="16"/>
                  </a:lnTo>
                  <a:lnTo>
                    <a:pt x="27" y="14"/>
                  </a:lnTo>
                  <a:lnTo>
                    <a:pt x="27" y="16"/>
                  </a:lnTo>
                  <a:lnTo>
                    <a:pt x="29" y="16"/>
                  </a:lnTo>
                  <a:lnTo>
                    <a:pt x="29" y="14"/>
                  </a:lnTo>
                  <a:lnTo>
                    <a:pt x="27" y="14"/>
                  </a:lnTo>
                  <a:lnTo>
                    <a:pt x="27" y="12"/>
                  </a:lnTo>
                  <a:lnTo>
                    <a:pt x="29" y="12"/>
                  </a:lnTo>
                  <a:lnTo>
                    <a:pt x="31" y="12"/>
                  </a:lnTo>
                  <a:lnTo>
                    <a:pt x="31" y="10"/>
                  </a:lnTo>
                  <a:lnTo>
                    <a:pt x="29" y="10"/>
                  </a:lnTo>
                  <a:lnTo>
                    <a:pt x="31" y="8"/>
                  </a:lnTo>
                  <a:lnTo>
                    <a:pt x="31" y="6"/>
                  </a:lnTo>
                  <a:lnTo>
                    <a:pt x="31" y="8"/>
                  </a:lnTo>
                  <a:lnTo>
                    <a:pt x="33" y="8"/>
                  </a:lnTo>
                  <a:lnTo>
                    <a:pt x="33" y="6"/>
                  </a:lnTo>
                  <a:lnTo>
                    <a:pt x="31" y="6"/>
                  </a:lnTo>
                  <a:lnTo>
                    <a:pt x="33" y="4"/>
                  </a:lnTo>
                  <a:lnTo>
                    <a:pt x="35" y="4"/>
                  </a:lnTo>
                  <a:lnTo>
                    <a:pt x="35" y="2"/>
                  </a:lnTo>
                  <a:lnTo>
                    <a:pt x="37" y="2"/>
                  </a:lnTo>
                  <a:lnTo>
                    <a:pt x="39" y="2"/>
                  </a:lnTo>
                  <a:lnTo>
                    <a:pt x="37" y="0"/>
                  </a:lnTo>
                  <a:lnTo>
                    <a:pt x="35" y="2"/>
                  </a:lnTo>
                  <a:lnTo>
                    <a:pt x="35" y="0"/>
                  </a:lnTo>
                  <a:lnTo>
                    <a:pt x="33" y="0"/>
                  </a:lnTo>
                  <a:lnTo>
                    <a:pt x="31" y="2"/>
                  </a:lnTo>
                  <a:lnTo>
                    <a:pt x="29" y="2"/>
                  </a:lnTo>
                  <a:lnTo>
                    <a:pt x="29" y="4"/>
                  </a:lnTo>
                  <a:lnTo>
                    <a:pt x="29" y="6"/>
                  </a:lnTo>
                  <a:lnTo>
                    <a:pt x="29" y="8"/>
                  </a:lnTo>
                  <a:lnTo>
                    <a:pt x="29" y="6"/>
                  </a:lnTo>
                  <a:lnTo>
                    <a:pt x="27" y="6"/>
                  </a:lnTo>
                  <a:lnTo>
                    <a:pt x="25" y="6"/>
                  </a:lnTo>
                  <a:lnTo>
                    <a:pt x="25" y="8"/>
                  </a:lnTo>
                  <a:lnTo>
                    <a:pt x="23" y="8"/>
                  </a:lnTo>
                  <a:lnTo>
                    <a:pt x="23" y="6"/>
                  </a:lnTo>
                  <a:lnTo>
                    <a:pt x="25" y="6"/>
                  </a:lnTo>
                  <a:lnTo>
                    <a:pt x="23" y="6"/>
                  </a:lnTo>
                  <a:lnTo>
                    <a:pt x="22" y="6"/>
                  </a:lnTo>
                  <a:lnTo>
                    <a:pt x="22" y="8"/>
                  </a:lnTo>
                  <a:lnTo>
                    <a:pt x="22" y="10"/>
                  </a:lnTo>
                  <a:lnTo>
                    <a:pt x="20" y="12"/>
                  </a:lnTo>
                  <a:lnTo>
                    <a:pt x="20" y="10"/>
                  </a:lnTo>
                  <a:lnTo>
                    <a:pt x="20" y="8"/>
                  </a:lnTo>
                  <a:lnTo>
                    <a:pt x="20" y="6"/>
                  </a:lnTo>
                  <a:lnTo>
                    <a:pt x="18" y="6"/>
                  </a:lnTo>
                  <a:lnTo>
                    <a:pt x="16" y="6"/>
                  </a:lnTo>
                  <a:lnTo>
                    <a:pt x="16" y="8"/>
                  </a:lnTo>
                  <a:lnTo>
                    <a:pt x="14" y="8"/>
                  </a:lnTo>
                  <a:lnTo>
                    <a:pt x="14" y="10"/>
                  </a:lnTo>
                  <a:lnTo>
                    <a:pt x="14" y="12"/>
                  </a:lnTo>
                  <a:lnTo>
                    <a:pt x="12" y="12"/>
                  </a:lnTo>
                  <a:lnTo>
                    <a:pt x="10" y="14"/>
                  </a:lnTo>
                  <a:lnTo>
                    <a:pt x="10" y="16"/>
                  </a:lnTo>
                  <a:lnTo>
                    <a:pt x="8" y="18"/>
                  </a:lnTo>
                  <a:lnTo>
                    <a:pt x="8" y="20"/>
                  </a:lnTo>
                  <a:lnTo>
                    <a:pt x="8" y="22"/>
                  </a:lnTo>
                  <a:lnTo>
                    <a:pt x="6" y="22"/>
                  </a:lnTo>
                  <a:lnTo>
                    <a:pt x="6" y="24"/>
                  </a:lnTo>
                  <a:lnTo>
                    <a:pt x="4" y="25"/>
                  </a:lnTo>
                  <a:lnTo>
                    <a:pt x="4" y="27"/>
                  </a:lnTo>
                  <a:lnTo>
                    <a:pt x="0" y="29"/>
                  </a:lnTo>
                  <a:lnTo>
                    <a:pt x="0" y="31"/>
                  </a:lnTo>
                  <a:lnTo>
                    <a:pt x="0" y="33"/>
                  </a:lnTo>
                  <a:lnTo>
                    <a:pt x="0" y="35"/>
                  </a:lnTo>
                  <a:lnTo>
                    <a:pt x="0" y="37"/>
                  </a:lnTo>
                  <a:lnTo>
                    <a:pt x="0" y="39"/>
                  </a:lnTo>
                  <a:lnTo>
                    <a:pt x="2" y="39"/>
                  </a:lnTo>
                  <a:lnTo>
                    <a:pt x="2" y="41"/>
                  </a:lnTo>
                  <a:lnTo>
                    <a:pt x="2" y="43"/>
                  </a:lnTo>
                  <a:lnTo>
                    <a:pt x="2" y="45"/>
                  </a:lnTo>
                  <a:lnTo>
                    <a:pt x="2" y="47"/>
                  </a:lnTo>
                  <a:lnTo>
                    <a:pt x="0" y="4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62" name="Freeform 250"/>
            <p:cNvSpPr>
              <a:spLocks/>
            </p:cNvSpPr>
            <p:nvPr/>
          </p:nvSpPr>
          <p:spPr bwMode="auto">
            <a:xfrm>
              <a:off x="2683" y="2084"/>
              <a:ext cx="25" cy="77"/>
            </a:xfrm>
            <a:custGeom>
              <a:avLst/>
              <a:gdLst>
                <a:gd name="T0" fmla="*/ 0 w 25"/>
                <a:gd name="T1" fmla="*/ 58 h 77"/>
                <a:gd name="T2" fmla="*/ 2 w 25"/>
                <a:gd name="T3" fmla="*/ 64 h 77"/>
                <a:gd name="T4" fmla="*/ 2 w 25"/>
                <a:gd name="T5" fmla="*/ 66 h 77"/>
                <a:gd name="T6" fmla="*/ 4 w 25"/>
                <a:gd name="T7" fmla="*/ 68 h 77"/>
                <a:gd name="T8" fmla="*/ 2 w 25"/>
                <a:gd name="T9" fmla="*/ 74 h 77"/>
                <a:gd name="T10" fmla="*/ 4 w 25"/>
                <a:gd name="T11" fmla="*/ 74 h 77"/>
                <a:gd name="T12" fmla="*/ 4 w 25"/>
                <a:gd name="T13" fmla="*/ 77 h 77"/>
                <a:gd name="T14" fmla="*/ 6 w 25"/>
                <a:gd name="T15" fmla="*/ 75 h 77"/>
                <a:gd name="T16" fmla="*/ 7 w 25"/>
                <a:gd name="T17" fmla="*/ 66 h 77"/>
                <a:gd name="T18" fmla="*/ 9 w 25"/>
                <a:gd name="T19" fmla="*/ 58 h 77"/>
                <a:gd name="T20" fmla="*/ 9 w 25"/>
                <a:gd name="T21" fmla="*/ 56 h 77"/>
                <a:gd name="T22" fmla="*/ 9 w 25"/>
                <a:gd name="T23" fmla="*/ 54 h 77"/>
                <a:gd name="T24" fmla="*/ 11 w 25"/>
                <a:gd name="T25" fmla="*/ 52 h 77"/>
                <a:gd name="T26" fmla="*/ 11 w 25"/>
                <a:gd name="T27" fmla="*/ 50 h 77"/>
                <a:gd name="T28" fmla="*/ 13 w 25"/>
                <a:gd name="T29" fmla="*/ 47 h 77"/>
                <a:gd name="T30" fmla="*/ 13 w 25"/>
                <a:gd name="T31" fmla="*/ 43 h 77"/>
                <a:gd name="T32" fmla="*/ 15 w 25"/>
                <a:gd name="T33" fmla="*/ 37 h 77"/>
                <a:gd name="T34" fmla="*/ 17 w 25"/>
                <a:gd name="T35" fmla="*/ 35 h 77"/>
                <a:gd name="T36" fmla="*/ 17 w 25"/>
                <a:gd name="T37" fmla="*/ 31 h 77"/>
                <a:gd name="T38" fmla="*/ 17 w 25"/>
                <a:gd name="T39" fmla="*/ 29 h 77"/>
                <a:gd name="T40" fmla="*/ 17 w 25"/>
                <a:gd name="T41" fmla="*/ 27 h 77"/>
                <a:gd name="T42" fmla="*/ 19 w 25"/>
                <a:gd name="T43" fmla="*/ 24 h 77"/>
                <a:gd name="T44" fmla="*/ 17 w 25"/>
                <a:gd name="T45" fmla="*/ 24 h 77"/>
                <a:gd name="T46" fmla="*/ 19 w 25"/>
                <a:gd name="T47" fmla="*/ 22 h 77"/>
                <a:gd name="T48" fmla="*/ 21 w 25"/>
                <a:gd name="T49" fmla="*/ 18 h 77"/>
                <a:gd name="T50" fmla="*/ 23 w 25"/>
                <a:gd name="T51" fmla="*/ 14 h 77"/>
                <a:gd name="T52" fmla="*/ 23 w 25"/>
                <a:gd name="T53" fmla="*/ 10 h 77"/>
                <a:gd name="T54" fmla="*/ 21 w 25"/>
                <a:gd name="T55" fmla="*/ 8 h 77"/>
                <a:gd name="T56" fmla="*/ 23 w 25"/>
                <a:gd name="T57" fmla="*/ 6 h 77"/>
                <a:gd name="T58" fmla="*/ 23 w 25"/>
                <a:gd name="T59" fmla="*/ 4 h 77"/>
                <a:gd name="T60" fmla="*/ 25 w 25"/>
                <a:gd name="T61" fmla="*/ 4 h 77"/>
                <a:gd name="T62" fmla="*/ 23 w 25"/>
                <a:gd name="T63" fmla="*/ 0 h 77"/>
                <a:gd name="T64" fmla="*/ 23 w 25"/>
                <a:gd name="T65" fmla="*/ 2 h 77"/>
                <a:gd name="T66" fmla="*/ 23 w 25"/>
                <a:gd name="T67" fmla="*/ 0 h 77"/>
                <a:gd name="T68" fmla="*/ 19 w 25"/>
                <a:gd name="T69" fmla="*/ 4 h 77"/>
                <a:gd name="T70" fmla="*/ 17 w 25"/>
                <a:gd name="T71" fmla="*/ 6 h 77"/>
                <a:gd name="T72" fmla="*/ 19 w 25"/>
                <a:gd name="T73" fmla="*/ 8 h 77"/>
                <a:gd name="T74" fmla="*/ 19 w 25"/>
                <a:gd name="T75" fmla="*/ 10 h 77"/>
                <a:gd name="T76" fmla="*/ 17 w 25"/>
                <a:gd name="T77" fmla="*/ 12 h 77"/>
                <a:gd name="T78" fmla="*/ 17 w 25"/>
                <a:gd name="T79" fmla="*/ 14 h 77"/>
                <a:gd name="T80" fmla="*/ 17 w 25"/>
                <a:gd name="T81" fmla="*/ 20 h 77"/>
                <a:gd name="T82" fmla="*/ 15 w 25"/>
                <a:gd name="T83" fmla="*/ 22 h 77"/>
                <a:gd name="T84" fmla="*/ 15 w 25"/>
                <a:gd name="T85" fmla="*/ 25 h 77"/>
                <a:gd name="T86" fmla="*/ 11 w 25"/>
                <a:gd name="T87" fmla="*/ 29 h 77"/>
                <a:gd name="T88" fmla="*/ 11 w 25"/>
                <a:gd name="T89" fmla="*/ 33 h 77"/>
                <a:gd name="T90" fmla="*/ 9 w 25"/>
                <a:gd name="T91" fmla="*/ 33 h 77"/>
                <a:gd name="T92" fmla="*/ 7 w 25"/>
                <a:gd name="T93" fmla="*/ 37 h 77"/>
                <a:gd name="T94" fmla="*/ 6 w 25"/>
                <a:gd name="T95" fmla="*/ 41 h 77"/>
                <a:gd name="T96" fmla="*/ 4 w 25"/>
                <a:gd name="T97" fmla="*/ 45 h 77"/>
                <a:gd name="T98" fmla="*/ 4 w 25"/>
                <a:gd name="T99" fmla="*/ 47 h 77"/>
                <a:gd name="T100" fmla="*/ 2 w 25"/>
                <a:gd name="T101" fmla="*/ 52 h 77"/>
                <a:gd name="T102" fmla="*/ 0 w 25"/>
                <a:gd name="T103"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77">
                  <a:moveTo>
                    <a:pt x="0" y="58"/>
                  </a:moveTo>
                  <a:lnTo>
                    <a:pt x="2" y="64"/>
                  </a:lnTo>
                  <a:lnTo>
                    <a:pt x="2" y="66"/>
                  </a:lnTo>
                  <a:lnTo>
                    <a:pt x="4" y="68"/>
                  </a:lnTo>
                  <a:lnTo>
                    <a:pt x="2" y="74"/>
                  </a:lnTo>
                  <a:lnTo>
                    <a:pt x="4" y="74"/>
                  </a:lnTo>
                  <a:lnTo>
                    <a:pt x="4" y="77"/>
                  </a:lnTo>
                  <a:lnTo>
                    <a:pt x="6" y="75"/>
                  </a:lnTo>
                  <a:lnTo>
                    <a:pt x="7" y="66"/>
                  </a:lnTo>
                  <a:lnTo>
                    <a:pt x="9" y="58"/>
                  </a:lnTo>
                  <a:lnTo>
                    <a:pt x="9" y="56"/>
                  </a:lnTo>
                  <a:lnTo>
                    <a:pt x="9" y="54"/>
                  </a:lnTo>
                  <a:lnTo>
                    <a:pt x="11" y="52"/>
                  </a:lnTo>
                  <a:lnTo>
                    <a:pt x="11" y="50"/>
                  </a:lnTo>
                  <a:lnTo>
                    <a:pt x="13" y="47"/>
                  </a:lnTo>
                  <a:lnTo>
                    <a:pt x="13" y="43"/>
                  </a:lnTo>
                  <a:lnTo>
                    <a:pt x="15" y="37"/>
                  </a:lnTo>
                  <a:lnTo>
                    <a:pt x="17" y="35"/>
                  </a:lnTo>
                  <a:lnTo>
                    <a:pt x="17" y="31"/>
                  </a:lnTo>
                  <a:lnTo>
                    <a:pt x="17" y="29"/>
                  </a:lnTo>
                  <a:lnTo>
                    <a:pt x="17" y="27"/>
                  </a:lnTo>
                  <a:lnTo>
                    <a:pt x="19" y="24"/>
                  </a:lnTo>
                  <a:lnTo>
                    <a:pt x="17" y="24"/>
                  </a:lnTo>
                  <a:lnTo>
                    <a:pt x="19" y="22"/>
                  </a:lnTo>
                  <a:lnTo>
                    <a:pt x="21" y="18"/>
                  </a:lnTo>
                  <a:lnTo>
                    <a:pt x="23" y="14"/>
                  </a:lnTo>
                  <a:lnTo>
                    <a:pt x="23" y="10"/>
                  </a:lnTo>
                  <a:lnTo>
                    <a:pt x="21" y="8"/>
                  </a:lnTo>
                  <a:lnTo>
                    <a:pt x="23" y="6"/>
                  </a:lnTo>
                  <a:lnTo>
                    <a:pt x="23" y="4"/>
                  </a:lnTo>
                  <a:lnTo>
                    <a:pt x="25" y="4"/>
                  </a:lnTo>
                  <a:lnTo>
                    <a:pt x="23" y="0"/>
                  </a:lnTo>
                  <a:lnTo>
                    <a:pt x="23" y="2"/>
                  </a:lnTo>
                  <a:lnTo>
                    <a:pt x="23" y="0"/>
                  </a:lnTo>
                  <a:lnTo>
                    <a:pt x="19" y="4"/>
                  </a:lnTo>
                  <a:lnTo>
                    <a:pt x="17" y="6"/>
                  </a:lnTo>
                  <a:lnTo>
                    <a:pt x="19" y="8"/>
                  </a:lnTo>
                  <a:lnTo>
                    <a:pt x="19" y="10"/>
                  </a:lnTo>
                  <a:lnTo>
                    <a:pt x="17" y="12"/>
                  </a:lnTo>
                  <a:lnTo>
                    <a:pt x="17" y="14"/>
                  </a:lnTo>
                  <a:lnTo>
                    <a:pt x="17" y="20"/>
                  </a:lnTo>
                  <a:lnTo>
                    <a:pt x="15" y="22"/>
                  </a:lnTo>
                  <a:lnTo>
                    <a:pt x="15" y="25"/>
                  </a:lnTo>
                  <a:lnTo>
                    <a:pt x="11" y="29"/>
                  </a:lnTo>
                  <a:lnTo>
                    <a:pt x="11" y="33"/>
                  </a:lnTo>
                  <a:lnTo>
                    <a:pt x="9" y="33"/>
                  </a:lnTo>
                  <a:lnTo>
                    <a:pt x="7" y="37"/>
                  </a:lnTo>
                  <a:lnTo>
                    <a:pt x="6" y="41"/>
                  </a:lnTo>
                  <a:lnTo>
                    <a:pt x="4" y="45"/>
                  </a:lnTo>
                  <a:lnTo>
                    <a:pt x="4" y="47"/>
                  </a:lnTo>
                  <a:lnTo>
                    <a:pt x="2" y="52"/>
                  </a:lnTo>
                  <a:lnTo>
                    <a:pt x="0" y="5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63" name="Freeform 251"/>
            <p:cNvSpPr>
              <a:spLocks/>
            </p:cNvSpPr>
            <p:nvPr/>
          </p:nvSpPr>
          <p:spPr bwMode="auto">
            <a:xfrm>
              <a:off x="2612" y="2244"/>
              <a:ext cx="392" cy="361"/>
            </a:xfrm>
            <a:custGeom>
              <a:avLst/>
              <a:gdLst>
                <a:gd name="T0" fmla="*/ 21 w 392"/>
                <a:gd name="T1" fmla="*/ 154 h 361"/>
                <a:gd name="T2" fmla="*/ 19 w 392"/>
                <a:gd name="T3" fmla="*/ 167 h 361"/>
                <a:gd name="T4" fmla="*/ 25 w 392"/>
                <a:gd name="T5" fmla="*/ 175 h 361"/>
                <a:gd name="T6" fmla="*/ 27 w 392"/>
                <a:gd name="T7" fmla="*/ 184 h 361"/>
                <a:gd name="T8" fmla="*/ 21 w 392"/>
                <a:gd name="T9" fmla="*/ 202 h 361"/>
                <a:gd name="T10" fmla="*/ 28 w 392"/>
                <a:gd name="T11" fmla="*/ 213 h 361"/>
                <a:gd name="T12" fmla="*/ 30 w 392"/>
                <a:gd name="T13" fmla="*/ 223 h 361"/>
                <a:gd name="T14" fmla="*/ 38 w 392"/>
                <a:gd name="T15" fmla="*/ 236 h 361"/>
                <a:gd name="T16" fmla="*/ 36 w 392"/>
                <a:gd name="T17" fmla="*/ 250 h 361"/>
                <a:gd name="T18" fmla="*/ 32 w 392"/>
                <a:gd name="T19" fmla="*/ 265 h 361"/>
                <a:gd name="T20" fmla="*/ 48 w 392"/>
                <a:gd name="T21" fmla="*/ 256 h 361"/>
                <a:gd name="T22" fmla="*/ 71 w 392"/>
                <a:gd name="T23" fmla="*/ 271 h 361"/>
                <a:gd name="T24" fmla="*/ 84 w 392"/>
                <a:gd name="T25" fmla="*/ 277 h 361"/>
                <a:gd name="T26" fmla="*/ 86 w 392"/>
                <a:gd name="T27" fmla="*/ 290 h 361"/>
                <a:gd name="T28" fmla="*/ 107 w 392"/>
                <a:gd name="T29" fmla="*/ 311 h 361"/>
                <a:gd name="T30" fmla="*/ 113 w 392"/>
                <a:gd name="T31" fmla="*/ 288 h 361"/>
                <a:gd name="T32" fmla="*/ 148 w 392"/>
                <a:gd name="T33" fmla="*/ 302 h 361"/>
                <a:gd name="T34" fmla="*/ 155 w 392"/>
                <a:gd name="T35" fmla="*/ 315 h 361"/>
                <a:gd name="T36" fmla="*/ 180 w 392"/>
                <a:gd name="T37" fmla="*/ 319 h 361"/>
                <a:gd name="T38" fmla="*/ 200 w 392"/>
                <a:gd name="T39" fmla="*/ 344 h 361"/>
                <a:gd name="T40" fmla="*/ 217 w 392"/>
                <a:gd name="T41" fmla="*/ 334 h 361"/>
                <a:gd name="T42" fmla="*/ 232 w 392"/>
                <a:gd name="T43" fmla="*/ 346 h 361"/>
                <a:gd name="T44" fmla="*/ 246 w 392"/>
                <a:gd name="T45" fmla="*/ 352 h 361"/>
                <a:gd name="T46" fmla="*/ 263 w 392"/>
                <a:gd name="T47" fmla="*/ 346 h 361"/>
                <a:gd name="T48" fmla="*/ 288 w 392"/>
                <a:gd name="T49" fmla="*/ 342 h 361"/>
                <a:gd name="T50" fmla="*/ 313 w 392"/>
                <a:gd name="T51" fmla="*/ 340 h 361"/>
                <a:gd name="T52" fmla="*/ 357 w 392"/>
                <a:gd name="T53" fmla="*/ 354 h 361"/>
                <a:gd name="T54" fmla="*/ 359 w 392"/>
                <a:gd name="T55" fmla="*/ 294 h 361"/>
                <a:gd name="T56" fmla="*/ 392 w 392"/>
                <a:gd name="T57" fmla="*/ 254 h 361"/>
                <a:gd name="T58" fmla="*/ 380 w 392"/>
                <a:gd name="T59" fmla="*/ 225 h 361"/>
                <a:gd name="T60" fmla="*/ 359 w 392"/>
                <a:gd name="T61" fmla="*/ 184 h 361"/>
                <a:gd name="T62" fmla="*/ 342 w 392"/>
                <a:gd name="T63" fmla="*/ 150 h 361"/>
                <a:gd name="T64" fmla="*/ 365 w 392"/>
                <a:gd name="T65" fmla="*/ 115 h 361"/>
                <a:gd name="T66" fmla="*/ 355 w 392"/>
                <a:gd name="T67" fmla="*/ 81 h 361"/>
                <a:gd name="T68" fmla="*/ 319 w 392"/>
                <a:gd name="T69" fmla="*/ 17 h 361"/>
                <a:gd name="T70" fmla="*/ 221 w 392"/>
                <a:gd name="T71" fmla="*/ 23 h 361"/>
                <a:gd name="T72" fmla="*/ 182 w 392"/>
                <a:gd name="T73" fmla="*/ 35 h 361"/>
                <a:gd name="T74" fmla="*/ 173 w 392"/>
                <a:gd name="T75" fmla="*/ 31 h 361"/>
                <a:gd name="T76" fmla="*/ 151 w 392"/>
                <a:gd name="T77" fmla="*/ 4 h 361"/>
                <a:gd name="T78" fmla="*/ 98 w 392"/>
                <a:gd name="T79" fmla="*/ 19 h 361"/>
                <a:gd name="T80" fmla="*/ 69 w 392"/>
                <a:gd name="T81" fmla="*/ 42 h 361"/>
                <a:gd name="T82" fmla="*/ 4 w 392"/>
                <a:gd name="T83" fmla="*/ 67 h 361"/>
                <a:gd name="T84" fmla="*/ 7 w 392"/>
                <a:gd name="T85" fmla="*/ 75 h 361"/>
                <a:gd name="T86" fmla="*/ 15 w 392"/>
                <a:gd name="T87" fmla="*/ 81 h 361"/>
                <a:gd name="T88" fmla="*/ 7 w 392"/>
                <a:gd name="T89" fmla="*/ 86 h 361"/>
                <a:gd name="T90" fmla="*/ 9 w 392"/>
                <a:gd name="T91" fmla="*/ 98 h 361"/>
                <a:gd name="T92" fmla="*/ 11 w 392"/>
                <a:gd name="T93" fmla="*/ 111 h 361"/>
                <a:gd name="T94" fmla="*/ 11 w 392"/>
                <a:gd name="T95" fmla="*/ 117 h 361"/>
                <a:gd name="T96" fmla="*/ 4 w 392"/>
                <a:gd name="T97" fmla="*/ 129 h 361"/>
                <a:gd name="T98" fmla="*/ 2 w 392"/>
                <a:gd name="T99" fmla="*/ 136 h 361"/>
                <a:gd name="T100" fmla="*/ 9 w 392"/>
                <a:gd name="T101" fmla="*/ 14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2" h="361">
                  <a:moveTo>
                    <a:pt x="13" y="148"/>
                  </a:moveTo>
                  <a:lnTo>
                    <a:pt x="15" y="148"/>
                  </a:lnTo>
                  <a:lnTo>
                    <a:pt x="17" y="150"/>
                  </a:lnTo>
                  <a:lnTo>
                    <a:pt x="19" y="152"/>
                  </a:lnTo>
                  <a:lnTo>
                    <a:pt x="21" y="154"/>
                  </a:lnTo>
                  <a:lnTo>
                    <a:pt x="19" y="156"/>
                  </a:lnTo>
                  <a:lnTo>
                    <a:pt x="21" y="158"/>
                  </a:lnTo>
                  <a:lnTo>
                    <a:pt x="19" y="159"/>
                  </a:lnTo>
                  <a:lnTo>
                    <a:pt x="17" y="165"/>
                  </a:lnTo>
                  <a:lnTo>
                    <a:pt x="19" y="167"/>
                  </a:lnTo>
                  <a:lnTo>
                    <a:pt x="19" y="171"/>
                  </a:lnTo>
                  <a:lnTo>
                    <a:pt x="19" y="173"/>
                  </a:lnTo>
                  <a:lnTo>
                    <a:pt x="21" y="173"/>
                  </a:lnTo>
                  <a:lnTo>
                    <a:pt x="23" y="175"/>
                  </a:lnTo>
                  <a:lnTo>
                    <a:pt x="25" y="175"/>
                  </a:lnTo>
                  <a:lnTo>
                    <a:pt x="25" y="177"/>
                  </a:lnTo>
                  <a:lnTo>
                    <a:pt x="25" y="179"/>
                  </a:lnTo>
                  <a:lnTo>
                    <a:pt x="25" y="183"/>
                  </a:lnTo>
                  <a:lnTo>
                    <a:pt x="25" y="184"/>
                  </a:lnTo>
                  <a:lnTo>
                    <a:pt x="27" y="184"/>
                  </a:lnTo>
                  <a:lnTo>
                    <a:pt x="27" y="188"/>
                  </a:lnTo>
                  <a:lnTo>
                    <a:pt x="25" y="192"/>
                  </a:lnTo>
                  <a:lnTo>
                    <a:pt x="25" y="194"/>
                  </a:lnTo>
                  <a:lnTo>
                    <a:pt x="25" y="196"/>
                  </a:lnTo>
                  <a:lnTo>
                    <a:pt x="21" y="202"/>
                  </a:lnTo>
                  <a:lnTo>
                    <a:pt x="21" y="204"/>
                  </a:lnTo>
                  <a:lnTo>
                    <a:pt x="23" y="204"/>
                  </a:lnTo>
                  <a:lnTo>
                    <a:pt x="25" y="207"/>
                  </a:lnTo>
                  <a:lnTo>
                    <a:pt x="25" y="209"/>
                  </a:lnTo>
                  <a:lnTo>
                    <a:pt x="28" y="213"/>
                  </a:lnTo>
                  <a:lnTo>
                    <a:pt x="28" y="217"/>
                  </a:lnTo>
                  <a:lnTo>
                    <a:pt x="27" y="217"/>
                  </a:lnTo>
                  <a:lnTo>
                    <a:pt x="27" y="221"/>
                  </a:lnTo>
                  <a:lnTo>
                    <a:pt x="28" y="221"/>
                  </a:lnTo>
                  <a:lnTo>
                    <a:pt x="30" y="223"/>
                  </a:lnTo>
                  <a:lnTo>
                    <a:pt x="36" y="225"/>
                  </a:lnTo>
                  <a:lnTo>
                    <a:pt x="36" y="231"/>
                  </a:lnTo>
                  <a:lnTo>
                    <a:pt x="36" y="232"/>
                  </a:lnTo>
                  <a:lnTo>
                    <a:pt x="36" y="234"/>
                  </a:lnTo>
                  <a:lnTo>
                    <a:pt x="38" y="236"/>
                  </a:lnTo>
                  <a:lnTo>
                    <a:pt x="40" y="238"/>
                  </a:lnTo>
                  <a:lnTo>
                    <a:pt x="38" y="240"/>
                  </a:lnTo>
                  <a:lnTo>
                    <a:pt x="38" y="246"/>
                  </a:lnTo>
                  <a:lnTo>
                    <a:pt x="38" y="248"/>
                  </a:lnTo>
                  <a:lnTo>
                    <a:pt x="36" y="250"/>
                  </a:lnTo>
                  <a:lnTo>
                    <a:pt x="36" y="254"/>
                  </a:lnTo>
                  <a:lnTo>
                    <a:pt x="36" y="256"/>
                  </a:lnTo>
                  <a:lnTo>
                    <a:pt x="36" y="257"/>
                  </a:lnTo>
                  <a:lnTo>
                    <a:pt x="32" y="263"/>
                  </a:lnTo>
                  <a:lnTo>
                    <a:pt x="32" y="265"/>
                  </a:lnTo>
                  <a:lnTo>
                    <a:pt x="38" y="263"/>
                  </a:lnTo>
                  <a:lnTo>
                    <a:pt x="40" y="257"/>
                  </a:lnTo>
                  <a:lnTo>
                    <a:pt x="38" y="256"/>
                  </a:lnTo>
                  <a:lnTo>
                    <a:pt x="38" y="254"/>
                  </a:lnTo>
                  <a:lnTo>
                    <a:pt x="48" y="256"/>
                  </a:lnTo>
                  <a:lnTo>
                    <a:pt x="52" y="265"/>
                  </a:lnTo>
                  <a:lnTo>
                    <a:pt x="53" y="269"/>
                  </a:lnTo>
                  <a:lnTo>
                    <a:pt x="55" y="267"/>
                  </a:lnTo>
                  <a:lnTo>
                    <a:pt x="65" y="271"/>
                  </a:lnTo>
                  <a:lnTo>
                    <a:pt x="71" y="271"/>
                  </a:lnTo>
                  <a:lnTo>
                    <a:pt x="73" y="275"/>
                  </a:lnTo>
                  <a:lnTo>
                    <a:pt x="77" y="275"/>
                  </a:lnTo>
                  <a:lnTo>
                    <a:pt x="78" y="281"/>
                  </a:lnTo>
                  <a:lnTo>
                    <a:pt x="82" y="277"/>
                  </a:lnTo>
                  <a:lnTo>
                    <a:pt x="84" y="277"/>
                  </a:lnTo>
                  <a:lnTo>
                    <a:pt x="86" y="275"/>
                  </a:lnTo>
                  <a:lnTo>
                    <a:pt x="90" y="275"/>
                  </a:lnTo>
                  <a:lnTo>
                    <a:pt x="94" y="279"/>
                  </a:lnTo>
                  <a:lnTo>
                    <a:pt x="94" y="284"/>
                  </a:lnTo>
                  <a:lnTo>
                    <a:pt x="86" y="290"/>
                  </a:lnTo>
                  <a:lnTo>
                    <a:pt x="90" y="294"/>
                  </a:lnTo>
                  <a:lnTo>
                    <a:pt x="92" y="294"/>
                  </a:lnTo>
                  <a:lnTo>
                    <a:pt x="100" y="304"/>
                  </a:lnTo>
                  <a:lnTo>
                    <a:pt x="102" y="309"/>
                  </a:lnTo>
                  <a:lnTo>
                    <a:pt x="107" y="311"/>
                  </a:lnTo>
                  <a:lnTo>
                    <a:pt x="111" y="305"/>
                  </a:lnTo>
                  <a:lnTo>
                    <a:pt x="113" y="304"/>
                  </a:lnTo>
                  <a:lnTo>
                    <a:pt x="119" y="302"/>
                  </a:lnTo>
                  <a:lnTo>
                    <a:pt x="113" y="290"/>
                  </a:lnTo>
                  <a:lnTo>
                    <a:pt x="113" y="288"/>
                  </a:lnTo>
                  <a:lnTo>
                    <a:pt x="125" y="290"/>
                  </a:lnTo>
                  <a:lnTo>
                    <a:pt x="136" y="300"/>
                  </a:lnTo>
                  <a:lnTo>
                    <a:pt x="144" y="298"/>
                  </a:lnTo>
                  <a:lnTo>
                    <a:pt x="146" y="294"/>
                  </a:lnTo>
                  <a:lnTo>
                    <a:pt x="148" y="302"/>
                  </a:lnTo>
                  <a:lnTo>
                    <a:pt x="142" y="305"/>
                  </a:lnTo>
                  <a:lnTo>
                    <a:pt x="144" y="307"/>
                  </a:lnTo>
                  <a:lnTo>
                    <a:pt x="148" y="307"/>
                  </a:lnTo>
                  <a:lnTo>
                    <a:pt x="150" y="313"/>
                  </a:lnTo>
                  <a:lnTo>
                    <a:pt x="155" y="315"/>
                  </a:lnTo>
                  <a:lnTo>
                    <a:pt x="159" y="313"/>
                  </a:lnTo>
                  <a:lnTo>
                    <a:pt x="159" y="311"/>
                  </a:lnTo>
                  <a:lnTo>
                    <a:pt x="171" y="319"/>
                  </a:lnTo>
                  <a:lnTo>
                    <a:pt x="173" y="317"/>
                  </a:lnTo>
                  <a:lnTo>
                    <a:pt x="180" y="319"/>
                  </a:lnTo>
                  <a:lnTo>
                    <a:pt x="182" y="325"/>
                  </a:lnTo>
                  <a:lnTo>
                    <a:pt x="184" y="330"/>
                  </a:lnTo>
                  <a:lnTo>
                    <a:pt x="192" y="332"/>
                  </a:lnTo>
                  <a:lnTo>
                    <a:pt x="194" y="342"/>
                  </a:lnTo>
                  <a:lnTo>
                    <a:pt x="200" y="344"/>
                  </a:lnTo>
                  <a:lnTo>
                    <a:pt x="200" y="350"/>
                  </a:lnTo>
                  <a:lnTo>
                    <a:pt x="207" y="350"/>
                  </a:lnTo>
                  <a:lnTo>
                    <a:pt x="211" y="340"/>
                  </a:lnTo>
                  <a:lnTo>
                    <a:pt x="215" y="340"/>
                  </a:lnTo>
                  <a:lnTo>
                    <a:pt x="217" y="334"/>
                  </a:lnTo>
                  <a:lnTo>
                    <a:pt x="221" y="336"/>
                  </a:lnTo>
                  <a:lnTo>
                    <a:pt x="223" y="344"/>
                  </a:lnTo>
                  <a:lnTo>
                    <a:pt x="226" y="344"/>
                  </a:lnTo>
                  <a:lnTo>
                    <a:pt x="226" y="348"/>
                  </a:lnTo>
                  <a:lnTo>
                    <a:pt x="232" y="346"/>
                  </a:lnTo>
                  <a:lnTo>
                    <a:pt x="234" y="355"/>
                  </a:lnTo>
                  <a:lnTo>
                    <a:pt x="234" y="359"/>
                  </a:lnTo>
                  <a:lnTo>
                    <a:pt x="240" y="357"/>
                  </a:lnTo>
                  <a:lnTo>
                    <a:pt x="246" y="361"/>
                  </a:lnTo>
                  <a:lnTo>
                    <a:pt x="246" y="352"/>
                  </a:lnTo>
                  <a:lnTo>
                    <a:pt x="253" y="350"/>
                  </a:lnTo>
                  <a:lnTo>
                    <a:pt x="253" y="346"/>
                  </a:lnTo>
                  <a:lnTo>
                    <a:pt x="255" y="346"/>
                  </a:lnTo>
                  <a:lnTo>
                    <a:pt x="257" y="344"/>
                  </a:lnTo>
                  <a:lnTo>
                    <a:pt x="263" y="346"/>
                  </a:lnTo>
                  <a:lnTo>
                    <a:pt x="267" y="342"/>
                  </a:lnTo>
                  <a:lnTo>
                    <a:pt x="276" y="350"/>
                  </a:lnTo>
                  <a:lnTo>
                    <a:pt x="284" y="344"/>
                  </a:lnTo>
                  <a:lnTo>
                    <a:pt x="282" y="340"/>
                  </a:lnTo>
                  <a:lnTo>
                    <a:pt x="288" y="342"/>
                  </a:lnTo>
                  <a:lnTo>
                    <a:pt x="290" y="338"/>
                  </a:lnTo>
                  <a:lnTo>
                    <a:pt x="296" y="338"/>
                  </a:lnTo>
                  <a:lnTo>
                    <a:pt x="303" y="338"/>
                  </a:lnTo>
                  <a:lnTo>
                    <a:pt x="311" y="342"/>
                  </a:lnTo>
                  <a:lnTo>
                    <a:pt x="313" y="340"/>
                  </a:lnTo>
                  <a:lnTo>
                    <a:pt x="319" y="342"/>
                  </a:lnTo>
                  <a:lnTo>
                    <a:pt x="323" y="350"/>
                  </a:lnTo>
                  <a:lnTo>
                    <a:pt x="344" y="355"/>
                  </a:lnTo>
                  <a:lnTo>
                    <a:pt x="357" y="359"/>
                  </a:lnTo>
                  <a:lnTo>
                    <a:pt x="357" y="354"/>
                  </a:lnTo>
                  <a:lnTo>
                    <a:pt x="349" y="350"/>
                  </a:lnTo>
                  <a:lnTo>
                    <a:pt x="349" y="342"/>
                  </a:lnTo>
                  <a:lnTo>
                    <a:pt x="344" y="327"/>
                  </a:lnTo>
                  <a:lnTo>
                    <a:pt x="344" y="323"/>
                  </a:lnTo>
                  <a:lnTo>
                    <a:pt x="359" y="294"/>
                  </a:lnTo>
                  <a:lnTo>
                    <a:pt x="372" y="277"/>
                  </a:lnTo>
                  <a:lnTo>
                    <a:pt x="378" y="265"/>
                  </a:lnTo>
                  <a:lnTo>
                    <a:pt x="388" y="263"/>
                  </a:lnTo>
                  <a:lnTo>
                    <a:pt x="388" y="257"/>
                  </a:lnTo>
                  <a:lnTo>
                    <a:pt x="392" y="254"/>
                  </a:lnTo>
                  <a:lnTo>
                    <a:pt x="390" y="248"/>
                  </a:lnTo>
                  <a:lnTo>
                    <a:pt x="382" y="238"/>
                  </a:lnTo>
                  <a:lnTo>
                    <a:pt x="384" y="236"/>
                  </a:lnTo>
                  <a:lnTo>
                    <a:pt x="390" y="232"/>
                  </a:lnTo>
                  <a:lnTo>
                    <a:pt x="380" y="225"/>
                  </a:lnTo>
                  <a:lnTo>
                    <a:pt x="376" y="215"/>
                  </a:lnTo>
                  <a:lnTo>
                    <a:pt x="367" y="207"/>
                  </a:lnTo>
                  <a:lnTo>
                    <a:pt x="367" y="200"/>
                  </a:lnTo>
                  <a:lnTo>
                    <a:pt x="363" y="192"/>
                  </a:lnTo>
                  <a:lnTo>
                    <a:pt x="359" y="184"/>
                  </a:lnTo>
                  <a:lnTo>
                    <a:pt x="359" y="179"/>
                  </a:lnTo>
                  <a:lnTo>
                    <a:pt x="361" y="175"/>
                  </a:lnTo>
                  <a:lnTo>
                    <a:pt x="359" y="158"/>
                  </a:lnTo>
                  <a:lnTo>
                    <a:pt x="353" y="152"/>
                  </a:lnTo>
                  <a:lnTo>
                    <a:pt x="342" y="150"/>
                  </a:lnTo>
                  <a:lnTo>
                    <a:pt x="340" y="146"/>
                  </a:lnTo>
                  <a:lnTo>
                    <a:pt x="346" y="131"/>
                  </a:lnTo>
                  <a:lnTo>
                    <a:pt x="353" y="125"/>
                  </a:lnTo>
                  <a:lnTo>
                    <a:pt x="359" y="121"/>
                  </a:lnTo>
                  <a:lnTo>
                    <a:pt x="365" y="115"/>
                  </a:lnTo>
                  <a:lnTo>
                    <a:pt x="365" y="111"/>
                  </a:lnTo>
                  <a:lnTo>
                    <a:pt x="361" y="96"/>
                  </a:lnTo>
                  <a:lnTo>
                    <a:pt x="359" y="92"/>
                  </a:lnTo>
                  <a:lnTo>
                    <a:pt x="359" y="86"/>
                  </a:lnTo>
                  <a:lnTo>
                    <a:pt x="355" y="81"/>
                  </a:lnTo>
                  <a:lnTo>
                    <a:pt x="344" y="54"/>
                  </a:lnTo>
                  <a:lnTo>
                    <a:pt x="338" y="38"/>
                  </a:lnTo>
                  <a:lnTo>
                    <a:pt x="336" y="25"/>
                  </a:lnTo>
                  <a:lnTo>
                    <a:pt x="330" y="19"/>
                  </a:lnTo>
                  <a:lnTo>
                    <a:pt x="319" y="17"/>
                  </a:lnTo>
                  <a:lnTo>
                    <a:pt x="317" y="12"/>
                  </a:lnTo>
                  <a:lnTo>
                    <a:pt x="311" y="12"/>
                  </a:lnTo>
                  <a:lnTo>
                    <a:pt x="309" y="15"/>
                  </a:lnTo>
                  <a:lnTo>
                    <a:pt x="265" y="23"/>
                  </a:lnTo>
                  <a:lnTo>
                    <a:pt x="221" y="23"/>
                  </a:lnTo>
                  <a:lnTo>
                    <a:pt x="201" y="21"/>
                  </a:lnTo>
                  <a:lnTo>
                    <a:pt x="190" y="31"/>
                  </a:lnTo>
                  <a:lnTo>
                    <a:pt x="188" y="36"/>
                  </a:lnTo>
                  <a:lnTo>
                    <a:pt x="188" y="33"/>
                  </a:lnTo>
                  <a:lnTo>
                    <a:pt x="182" y="35"/>
                  </a:lnTo>
                  <a:lnTo>
                    <a:pt x="182" y="31"/>
                  </a:lnTo>
                  <a:lnTo>
                    <a:pt x="188" y="29"/>
                  </a:lnTo>
                  <a:lnTo>
                    <a:pt x="196" y="21"/>
                  </a:lnTo>
                  <a:lnTo>
                    <a:pt x="188" y="27"/>
                  </a:lnTo>
                  <a:lnTo>
                    <a:pt x="173" y="31"/>
                  </a:lnTo>
                  <a:lnTo>
                    <a:pt x="163" y="29"/>
                  </a:lnTo>
                  <a:lnTo>
                    <a:pt x="159" y="27"/>
                  </a:lnTo>
                  <a:lnTo>
                    <a:pt x="155" y="13"/>
                  </a:lnTo>
                  <a:lnTo>
                    <a:pt x="151" y="8"/>
                  </a:lnTo>
                  <a:lnTo>
                    <a:pt x="151" y="4"/>
                  </a:lnTo>
                  <a:lnTo>
                    <a:pt x="155" y="6"/>
                  </a:lnTo>
                  <a:lnTo>
                    <a:pt x="148" y="0"/>
                  </a:lnTo>
                  <a:lnTo>
                    <a:pt x="125" y="6"/>
                  </a:lnTo>
                  <a:lnTo>
                    <a:pt x="109" y="10"/>
                  </a:lnTo>
                  <a:lnTo>
                    <a:pt x="98" y="19"/>
                  </a:lnTo>
                  <a:lnTo>
                    <a:pt x="84" y="25"/>
                  </a:lnTo>
                  <a:lnTo>
                    <a:pt x="73" y="40"/>
                  </a:lnTo>
                  <a:lnTo>
                    <a:pt x="75" y="40"/>
                  </a:lnTo>
                  <a:lnTo>
                    <a:pt x="73" y="42"/>
                  </a:lnTo>
                  <a:lnTo>
                    <a:pt x="69" y="42"/>
                  </a:lnTo>
                  <a:lnTo>
                    <a:pt x="71" y="40"/>
                  </a:lnTo>
                  <a:lnTo>
                    <a:pt x="46" y="50"/>
                  </a:lnTo>
                  <a:lnTo>
                    <a:pt x="23" y="60"/>
                  </a:lnTo>
                  <a:lnTo>
                    <a:pt x="9" y="67"/>
                  </a:lnTo>
                  <a:lnTo>
                    <a:pt x="4" y="67"/>
                  </a:lnTo>
                  <a:lnTo>
                    <a:pt x="4" y="69"/>
                  </a:lnTo>
                  <a:lnTo>
                    <a:pt x="4" y="71"/>
                  </a:lnTo>
                  <a:lnTo>
                    <a:pt x="2" y="71"/>
                  </a:lnTo>
                  <a:lnTo>
                    <a:pt x="0" y="75"/>
                  </a:lnTo>
                  <a:lnTo>
                    <a:pt x="7" y="75"/>
                  </a:lnTo>
                  <a:lnTo>
                    <a:pt x="11" y="71"/>
                  </a:lnTo>
                  <a:lnTo>
                    <a:pt x="9" y="69"/>
                  </a:lnTo>
                  <a:lnTo>
                    <a:pt x="19" y="71"/>
                  </a:lnTo>
                  <a:lnTo>
                    <a:pt x="19" y="77"/>
                  </a:lnTo>
                  <a:lnTo>
                    <a:pt x="15" y="81"/>
                  </a:lnTo>
                  <a:lnTo>
                    <a:pt x="19" y="85"/>
                  </a:lnTo>
                  <a:lnTo>
                    <a:pt x="17" y="88"/>
                  </a:lnTo>
                  <a:lnTo>
                    <a:pt x="5" y="83"/>
                  </a:lnTo>
                  <a:lnTo>
                    <a:pt x="5" y="85"/>
                  </a:lnTo>
                  <a:lnTo>
                    <a:pt x="7" y="86"/>
                  </a:lnTo>
                  <a:lnTo>
                    <a:pt x="7" y="90"/>
                  </a:lnTo>
                  <a:lnTo>
                    <a:pt x="7" y="92"/>
                  </a:lnTo>
                  <a:lnTo>
                    <a:pt x="9" y="94"/>
                  </a:lnTo>
                  <a:lnTo>
                    <a:pt x="9" y="96"/>
                  </a:lnTo>
                  <a:lnTo>
                    <a:pt x="9" y="98"/>
                  </a:lnTo>
                  <a:lnTo>
                    <a:pt x="9" y="100"/>
                  </a:lnTo>
                  <a:lnTo>
                    <a:pt x="11" y="104"/>
                  </a:lnTo>
                  <a:lnTo>
                    <a:pt x="11" y="108"/>
                  </a:lnTo>
                  <a:lnTo>
                    <a:pt x="13" y="109"/>
                  </a:lnTo>
                  <a:lnTo>
                    <a:pt x="11" y="111"/>
                  </a:lnTo>
                  <a:lnTo>
                    <a:pt x="11" y="113"/>
                  </a:lnTo>
                  <a:lnTo>
                    <a:pt x="11" y="111"/>
                  </a:lnTo>
                  <a:lnTo>
                    <a:pt x="11" y="113"/>
                  </a:lnTo>
                  <a:lnTo>
                    <a:pt x="9" y="113"/>
                  </a:lnTo>
                  <a:lnTo>
                    <a:pt x="11" y="117"/>
                  </a:lnTo>
                  <a:lnTo>
                    <a:pt x="9" y="123"/>
                  </a:lnTo>
                  <a:lnTo>
                    <a:pt x="9" y="125"/>
                  </a:lnTo>
                  <a:lnTo>
                    <a:pt x="7" y="125"/>
                  </a:lnTo>
                  <a:lnTo>
                    <a:pt x="5" y="127"/>
                  </a:lnTo>
                  <a:lnTo>
                    <a:pt x="4" y="129"/>
                  </a:lnTo>
                  <a:lnTo>
                    <a:pt x="2" y="129"/>
                  </a:lnTo>
                  <a:lnTo>
                    <a:pt x="2" y="131"/>
                  </a:lnTo>
                  <a:lnTo>
                    <a:pt x="2" y="133"/>
                  </a:lnTo>
                  <a:lnTo>
                    <a:pt x="2" y="134"/>
                  </a:lnTo>
                  <a:lnTo>
                    <a:pt x="2" y="136"/>
                  </a:lnTo>
                  <a:lnTo>
                    <a:pt x="2" y="138"/>
                  </a:lnTo>
                  <a:lnTo>
                    <a:pt x="4" y="138"/>
                  </a:lnTo>
                  <a:lnTo>
                    <a:pt x="5" y="138"/>
                  </a:lnTo>
                  <a:lnTo>
                    <a:pt x="7" y="140"/>
                  </a:lnTo>
                  <a:lnTo>
                    <a:pt x="9" y="142"/>
                  </a:lnTo>
                  <a:lnTo>
                    <a:pt x="13" y="146"/>
                  </a:lnTo>
                  <a:lnTo>
                    <a:pt x="13" y="148"/>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64" name="Freeform 252"/>
            <p:cNvSpPr>
              <a:spLocks/>
            </p:cNvSpPr>
            <p:nvPr/>
          </p:nvSpPr>
          <p:spPr bwMode="auto">
            <a:xfrm>
              <a:off x="1512" y="2968"/>
              <a:ext cx="196" cy="325"/>
            </a:xfrm>
            <a:custGeom>
              <a:avLst/>
              <a:gdLst>
                <a:gd name="T0" fmla="*/ 104 w 196"/>
                <a:gd name="T1" fmla="*/ 258 h 325"/>
                <a:gd name="T2" fmla="*/ 100 w 196"/>
                <a:gd name="T3" fmla="*/ 241 h 325"/>
                <a:gd name="T4" fmla="*/ 104 w 196"/>
                <a:gd name="T5" fmla="*/ 229 h 325"/>
                <a:gd name="T6" fmla="*/ 120 w 196"/>
                <a:gd name="T7" fmla="*/ 216 h 325"/>
                <a:gd name="T8" fmla="*/ 118 w 196"/>
                <a:gd name="T9" fmla="*/ 202 h 325"/>
                <a:gd name="T10" fmla="*/ 112 w 196"/>
                <a:gd name="T11" fmla="*/ 175 h 325"/>
                <a:gd name="T12" fmla="*/ 112 w 196"/>
                <a:gd name="T13" fmla="*/ 166 h 325"/>
                <a:gd name="T14" fmla="*/ 133 w 196"/>
                <a:gd name="T15" fmla="*/ 169 h 325"/>
                <a:gd name="T16" fmla="*/ 141 w 196"/>
                <a:gd name="T17" fmla="*/ 158 h 325"/>
                <a:gd name="T18" fmla="*/ 143 w 196"/>
                <a:gd name="T19" fmla="*/ 143 h 325"/>
                <a:gd name="T20" fmla="*/ 143 w 196"/>
                <a:gd name="T21" fmla="*/ 133 h 325"/>
                <a:gd name="T22" fmla="*/ 152 w 196"/>
                <a:gd name="T23" fmla="*/ 123 h 325"/>
                <a:gd name="T24" fmla="*/ 156 w 196"/>
                <a:gd name="T25" fmla="*/ 106 h 325"/>
                <a:gd name="T26" fmla="*/ 156 w 196"/>
                <a:gd name="T27" fmla="*/ 89 h 325"/>
                <a:gd name="T28" fmla="*/ 168 w 196"/>
                <a:gd name="T29" fmla="*/ 77 h 325"/>
                <a:gd name="T30" fmla="*/ 179 w 196"/>
                <a:gd name="T31" fmla="*/ 71 h 325"/>
                <a:gd name="T32" fmla="*/ 189 w 196"/>
                <a:gd name="T33" fmla="*/ 68 h 325"/>
                <a:gd name="T34" fmla="*/ 195 w 196"/>
                <a:gd name="T35" fmla="*/ 50 h 325"/>
                <a:gd name="T36" fmla="*/ 183 w 196"/>
                <a:gd name="T37" fmla="*/ 41 h 325"/>
                <a:gd name="T38" fmla="*/ 177 w 196"/>
                <a:gd name="T39" fmla="*/ 27 h 325"/>
                <a:gd name="T40" fmla="*/ 166 w 196"/>
                <a:gd name="T41" fmla="*/ 23 h 325"/>
                <a:gd name="T42" fmla="*/ 152 w 196"/>
                <a:gd name="T43" fmla="*/ 27 h 325"/>
                <a:gd name="T44" fmla="*/ 143 w 196"/>
                <a:gd name="T45" fmla="*/ 23 h 325"/>
                <a:gd name="T46" fmla="*/ 135 w 196"/>
                <a:gd name="T47" fmla="*/ 20 h 325"/>
                <a:gd name="T48" fmla="*/ 125 w 196"/>
                <a:gd name="T49" fmla="*/ 16 h 325"/>
                <a:gd name="T50" fmla="*/ 114 w 196"/>
                <a:gd name="T51" fmla="*/ 18 h 325"/>
                <a:gd name="T52" fmla="*/ 118 w 196"/>
                <a:gd name="T53" fmla="*/ 4 h 325"/>
                <a:gd name="T54" fmla="*/ 100 w 196"/>
                <a:gd name="T55" fmla="*/ 0 h 325"/>
                <a:gd name="T56" fmla="*/ 83 w 196"/>
                <a:gd name="T57" fmla="*/ 10 h 325"/>
                <a:gd name="T58" fmla="*/ 81 w 196"/>
                <a:gd name="T59" fmla="*/ 23 h 325"/>
                <a:gd name="T60" fmla="*/ 79 w 196"/>
                <a:gd name="T61" fmla="*/ 41 h 325"/>
                <a:gd name="T62" fmla="*/ 79 w 196"/>
                <a:gd name="T63" fmla="*/ 58 h 325"/>
                <a:gd name="T64" fmla="*/ 64 w 196"/>
                <a:gd name="T65" fmla="*/ 96 h 325"/>
                <a:gd name="T66" fmla="*/ 54 w 196"/>
                <a:gd name="T67" fmla="*/ 121 h 325"/>
                <a:gd name="T68" fmla="*/ 33 w 196"/>
                <a:gd name="T69" fmla="*/ 154 h 325"/>
                <a:gd name="T70" fmla="*/ 22 w 196"/>
                <a:gd name="T71" fmla="*/ 160 h 325"/>
                <a:gd name="T72" fmla="*/ 16 w 196"/>
                <a:gd name="T73" fmla="*/ 173 h 325"/>
                <a:gd name="T74" fmla="*/ 4 w 196"/>
                <a:gd name="T75" fmla="*/ 198 h 325"/>
                <a:gd name="T76" fmla="*/ 20 w 196"/>
                <a:gd name="T77" fmla="*/ 206 h 325"/>
                <a:gd name="T78" fmla="*/ 29 w 196"/>
                <a:gd name="T79" fmla="*/ 200 h 325"/>
                <a:gd name="T80" fmla="*/ 24 w 196"/>
                <a:gd name="T81" fmla="*/ 208 h 325"/>
                <a:gd name="T82" fmla="*/ 12 w 196"/>
                <a:gd name="T83" fmla="*/ 206 h 325"/>
                <a:gd name="T84" fmla="*/ 18 w 196"/>
                <a:gd name="T85" fmla="*/ 223 h 325"/>
                <a:gd name="T86" fmla="*/ 33 w 196"/>
                <a:gd name="T87" fmla="*/ 221 h 325"/>
                <a:gd name="T88" fmla="*/ 35 w 196"/>
                <a:gd name="T89" fmla="*/ 229 h 325"/>
                <a:gd name="T90" fmla="*/ 31 w 196"/>
                <a:gd name="T91" fmla="*/ 231 h 325"/>
                <a:gd name="T92" fmla="*/ 20 w 196"/>
                <a:gd name="T93" fmla="*/ 254 h 325"/>
                <a:gd name="T94" fmla="*/ 20 w 196"/>
                <a:gd name="T95" fmla="*/ 269 h 325"/>
                <a:gd name="T96" fmla="*/ 10 w 196"/>
                <a:gd name="T97" fmla="*/ 294 h 325"/>
                <a:gd name="T98" fmla="*/ 2 w 196"/>
                <a:gd name="T99" fmla="*/ 312 h 325"/>
                <a:gd name="T100" fmla="*/ 8 w 196"/>
                <a:gd name="T101" fmla="*/ 310 h 325"/>
                <a:gd name="T102" fmla="*/ 27 w 196"/>
                <a:gd name="T103" fmla="*/ 314 h 325"/>
                <a:gd name="T104" fmla="*/ 56 w 196"/>
                <a:gd name="T105" fmla="*/ 325 h 325"/>
                <a:gd name="T106" fmla="*/ 79 w 196"/>
                <a:gd name="T107" fmla="*/ 316 h 325"/>
                <a:gd name="T108" fmla="*/ 79 w 196"/>
                <a:gd name="T109" fmla="*/ 304 h 325"/>
                <a:gd name="T110" fmla="*/ 83 w 196"/>
                <a:gd name="T111" fmla="*/ 289 h 325"/>
                <a:gd name="T112" fmla="*/ 95 w 196"/>
                <a:gd name="T113" fmla="*/ 273 h 325"/>
                <a:gd name="T114" fmla="*/ 108 w 196"/>
                <a:gd name="T115" fmla="*/ 27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 h="325">
                  <a:moveTo>
                    <a:pt x="116" y="262"/>
                  </a:moveTo>
                  <a:lnTo>
                    <a:pt x="114" y="260"/>
                  </a:lnTo>
                  <a:lnTo>
                    <a:pt x="112" y="260"/>
                  </a:lnTo>
                  <a:lnTo>
                    <a:pt x="110" y="262"/>
                  </a:lnTo>
                  <a:lnTo>
                    <a:pt x="108" y="262"/>
                  </a:lnTo>
                  <a:lnTo>
                    <a:pt x="106" y="262"/>
                  </a:lnTo>
                  <a:lnTo>
                    <a:pt x="104" y="258"/>
                  </a:lnTo>
                  <a:lnTo>
                    <a:pt x="106" y="256"/>
                  </a:lnTo>
                  <a:lnTo>
                    <a:pt x="104" y="254"/>
                  </a:lnTo>
                  <a:lnTo>
                    <a:pt x="104" y="250"/>
                  </a:lnTo>
                  <a:lnTo>
                    <a:pt x="102" y="246"/>
                  </a:lnTo>
                  <a:lnTo>
                    <a:pt x="102" y="244"/>
                  </a:lnTo>
                  <a:lnTo>
                    <a:pt x="100" y="242"/>
                  </a:lnTo>
                  <a:lnTo>
                    <a:pt x="100" y="241"/>
                  </a:lnTo>
                  <a:lnTo>
                    <a:pt x="102" y="241"/>
                  </a:lnTo>
                  <a:lnTo>
                    <a:pt x="100" y="241"/>
                  </a:lnTo>
                  <a:lnTo>
                    <a:pt x="102" y="237"/>
                  </a:lnTo>
                  <a:lnTo>
                    <a:pt x="102" y="235"/>
                  </a:lnTo>
                  <a:lnTo>
                    <a:pt x="104" y="233"/>
                  </a:lnTo>
                  <a:lnTo>
                    <a:pt x="106" y="231"/>
                  </a:lnTo>
                  <a:lnTo>
                    <a:pt x="104" y="229"/>
                  </a:lnTo>
                  <a:lnTo>
                    <a:pt x="106" y="225"/>
                  </a:lnTo>
                  <a:lnTo>
                    <a:pt x="112" y="221"/>
                  </a:lnTo>
                  <a:lnTo>
                    <a:pt x="114" y="221"/>
                  </a:lnTo>
                  <a:lnTo>
                    <a:pt x="116" y="221"/>
                  </a:lnTo>
                  <a:lnTo>
                    <a:pt x="118" y="219"/>
                  </a:lnTo>
                  <a:lnTo>
                    <a:pt x="120" y="218"/>
                  </a:lnTo>
                  <a:lnTo>
                    <a:pt x="120" y="216"/>
                  </a:lnTo>
                  <a:lnTo>
                    <a:pt x="125" y="212"/>
                  </a:lnTo>
                  <a:lnTo>
                    <a:pt x="125" y="210"/>
                  </a:lnTo>
                  <a:lnTo>
                    <a:pt x="125" y="206"/>
                  </a:lnTo>
                  <a:lnTo>
                    <a:pt x="125" y="204"/>
                  </a:lnTo>
                  <a:lnTo>
                    <a:pt x="123" y="202"/>
                  </a:lnTo>
                  <a:lnTo>
                    <a:pt x="120" y="202"/>
                  </a:lnTo>
                  <a:lnTo>
                    <a:pt x="118" y="202"/>
                  </a:lnTo>
                  <a:lnTo>
                    <a:pt x="120" y="198"/>
                  </a:lnTo>
                  <a:lnTo>
                    <a:pt x="118" y="198"/>
                  </a:lnTo>
                  <a:lnTo>
                    <a:pt x="116" y="196"/>
                  </a:lnTo>
                  <a:lnTo>
                    <a:pt x="116" y="191"/>
                  </a:lnTo>
                  <a:lnTo>
                    <a:pt x="114" y="185"/>
                  </a:lnTo>
                  <a:lnTo>
                    <a:pt x="116" y="177"/>
                  </a:lnTo>
                  <a:lnTo>
                    <a:pt x="112" y="175"/>
                  </a:lnTo>
                  <a:lnTo>
                    <a:pt x="112" y="173"/>
                  </a:lnTo>
                  <a:lnTo>
                    <a:pt x="110" y="171"/>
                  </a:lnTo>
                  <a:lnTo>
                    <a:pt x="110" y="169"/>
                  </a:lnTo>
                  <a:lnTo>
                    <a:pt x="108" y="168"/>
                  </a:lnTo>
                  <a:lnTo>
                    <a:pt x="108" y="164"/>
                  </a:lnTo>
                  <a:lnTo>
                    <a:pt x="112" y="164"/>
                  </a:lnTo>
                  <a:lnTo>
                    <a:pt x="112" y="166"/>
                  </a:lnTo>
                  <a:lnTo>
                    <a:pt x="118" y="168"/>
                  </a:lnTo>
                  <a:lnTo>
                    <a:pt x="120" y="168"/>
                  </a:lnTo>
                  <a:lnTo>
                    <a:pt x="122" y="168"/>
                  </a:lnTo>
                  <a:lnTo>
                    <a:pt x="125" y="168"/>
                  </a:lnTo>
                  <a:lnTo>
                    <a:pt x="127" y="168"/>
                  </a:lnTo>
                  <a:lnTo>
                    <a:pt x="129" y="169"/>
                  </a:lnTo>
                  <a:lnTo>
                    <a:pt x="133" y="169"/>
                  </a:lnTo>
                  <a:lnTo>
                    <a:pt x="135" y="166"/>
                  </a:lnTo>
                  <a:lnTo>
                    <a:pt x="135" y="164"/>
                  </a:lnTo>
                  <a:lnTo>
                    <a:pt x="137" y="164"/>
                  </a:lnTo>
                  <a:lnTo>
                    <a:pt x="137" y="160"/>
                  </a:lnTo>
                  <a:lnTo>
                    <a:pt x="139" y="160"/>
                  </a:lnTo>
                  <a:lnTo>
                    <a:pt x="139" y="158"/>
                  </a:lnTo>
                  <a:lnTo>
                    <a:pt x="141" y="158"/>
                  </a:lnTo>
                  <a:lnTo>
                    <a:pt x="143" y="154"/>
                  </a:lnTo>
                  <a:lnTo>
                    <a:pt x="143" y="152"/>
                  </a:lnTo>
                  <a:lnTo>
                    <a:pt x="145" y="150"/>
                  </a:lnTo>
                  <a:lnTo>
                    <a:pt x="145" y="148"/>
                  </a:lnTo>
                  <a:lnTo>
                    <a:pt x="145" y="146"/>
                  </a:lnTo>
                  <a:lnTo>
                    <a:pt x="143" y="144"/>
                  </a:lnTo>
                  <a:lnTo>
                    <a:pt x="143" y="143"/>
                  </a:lnTo>
                  <a:lnTo>
                    <a:pt x="141" y="143"/>
                  </a:lnTo>
                  <a:lnTo>
                    <a:pt x="139" y="141"/>
                  </a:lnTo>
                  <a:lnTo>
                    <a:pt x="141" y="137"/>
                  </a:lnTo>
                  <a:lnTo>
                    <a:pt x="139" y="135"/>
                  </a:lnTo>
                  <a:lnTo>
                    <a:pt x="141" y="135"/>
                  </a:lnTo>
                  <a:lnTo>
                    <a:pt x="141" y="133"/>
                  </a:lnTo>
                  <a:lnTo>
                    <a:pt x="143" y="133"/>
                  </a:lnTo>
                  <a:lnTo>
                    <a:pt x="145" y="131"/>
                  </a:lnTo>
                  <a:lnTo>
                    <a:pt x="147" y="133"/>
                  </a:lnTo>
                  <a:lnTo>
                    <a:pt x="148" y="133"/>
                  </a:lnTo>
                  <a:lnTo>
                    <a:pt x="148" y="129"/>
                  </a:lnTo>
                  <a:lnTo>
                    <a:pt x="152" y="127"/>
                  </a:lnTo>
                  <a:lnTo>
                    <a:pt x="152" y="125"/>
                  </a:lnTo>
                  <a:lnTo>
                    <a:pt x="152" y="123"/>
                  </a:lnTo>
                  <a:lnTo>
                    <a:pt x="152" y="120"/>
                  </a:lnTo>
                  <a:lnTo>
                    <a:pt x="152" y="118"/>
                  </a:lnTo>
                  <a:lnTo>
                    <a:pt x="154" y="116"/>
                  </a:lnTo>
                  <a:lnTo>
                    <a:pt x="154" y="114"/>
                  </a:lnTo>
                  <a:lnTo>
                    <a:pt x="154" y="112"/>
                  </a:lnTo>
                  <a:lnTo>
                    <a:pt x="156" y="108"/>
                  </a:lnTo>
                  <a:lnTo>
                    <a:pt x="156" y="106"/>
                  </a:lnTo>
                  <a:lnTo>
                    <a:pt x="156" y="102"/>
                  </a:lnTo>
                  <a:lnTo>
                    <a:pt x="156" y="100"/>
                  </a:lnTo>
                  <a:lnTo>
                    <a:pt x="158" y="98"/>
                  </a:lnTo>
                  <a:lnTo>
                    <a:pt x="158" y="95"/>
                  </a:lnTo>
                  <a:lnTo>
                    <a:pt x="158" y="93"/>
                  </a:lnTo>
                  <a:lnTo>
                    <a:pt x="158" y="91"/>
                  </a:lnTo>
                  <a:lnTo>
                    <a:pt x="156" y="89"/>
                  </a:lnTo>
                  <a:lnTo>
                    <a:pt x="156" y="83"/>
                  </a:lnTo>
                  <a:lnTo>
                    <a:pt x="158" y="85"/>
                  </a:lnTo>
                  <a:lnTo>
                    <a:pt x="160" y="85"/>
                  </a:lnTo>
                  <a:lnTo>
                    <a:pt x="162" y="85"/>
                  </a:lnTo>
                  <a:lnTo>
                    <a:pt x="164" y="81"/>
                  </a:lnTo>
                  <a:lnTo>
                    <a:pt x="164" y="79"/>
                  </a:lnTo>
                  <a:lnTo>
                    <a:pt x="168" y="77"/>
                  </a:lnTo>
                  <a:lnTo>
                    <a:pt x="170" y="75"/>
                  </a:lnTo>
                  <a:lnTo>
                    <a:pt x="172" y="73"/>
                  </a:lnTo>
                  <a:lnTo>
                    <a:pt x="173" y="73"/>
                  </a:lnTo>
                  <a:lnTo>
                    <a:pt x="173" y="75"/>
                  </a:lnTo>
                  <a:lnTo>
                    <a:pt x="177" y="73"/>
                  </a:lnTo>
                  <a:lnTo>
                    <a:pt x="179" y="73"/>
                  </a:lnTo>
                  <a:lnTo>
                    <a:pt x="179" y="71"/>
                  </a:lnTo>
                  <a:lnTo>
                    <a:pt x="181" y="71"/>
                  </a:lnTo>
                  <a:lnTo>
                    <a:pt x="181" y="70"/>
                  </a:lnTo>
                  <a:lnTo>
                    <a:pt x="183" y="70"/>
                  </a:lnTo>
                  <a:lnTo>
                    <a:pt x="185" y="66"/>
                  </a:lnTo>
                  <a:lnTo>
                    <a:pt x="187" y="66"/>
                  </a:lnTo>
                  <a:lnTo>
                    <a:pt x="187" y="68"/>
                  </a:lnTo>
                  <a:lnTo>
                    <a:pt x="189" y="68"/>
                  </a:lnTo>
                  <a:lnTo>
                    <a:pt x="189" y="66"/>
                  </a:lnTo>
                  <a:lnTo>
                    <a:pt x="189" y="64"/>
                  </a:lnTo>
                  <a:lnTo>
                    <a:pt x="191" y="62"/>
                  </a:lnTo>
                  <a:lnTo>
                    <a:pt x="196" y="56"/>
                  </a:lnTo>
                  <a:lnTo>
                    <a:pt x="196" y="54"/>
                  </a:lnTo>
                  <a:lnTo>
                    <a:pt x="195" y="54"/>
                  </a:lnTo>
                  <a:lnTo>
                    <a:pt x="195" y="50"/>
                  </a:lnTo>
                  <a:lnTo>
                    <a:pt x="193" y="48"/>
                  </a:lnTo>
                  <a:lnTo>
                    <a:pt x="187" y="46"/>
                  </a:lnTo>
                  <a:lnTo>
                    <a:pt x="183" y="48"/>
                  </a:lnTo>
                  <a:lnTo>
                    <a:pt x="181" y="45"/>
                  </a:lnTo>
                  <a:lnTo>
                    <a:pt x="183" y="45"/>
                  </a:lnTo>
                  <a:lnTo>
                    <a:pt x="181" y="43"/>
                  </a:lnTo>
                  <a:lnTo>
                    <a:pt x="183" y="41"/>
                  </a:lnTo>
                  <a:lnTo>
                    <a:pt x="187" y="35"/>
                  </a:lnTo>
                  <a:lnTo>
                    <a:pt x="185" y="33"/>
                  </a:lnTo>
                  <a:lnTo>
                    <a:pt x="187" y="31"/>
                  </a:lnTo>
                  <a:lnTo>
                    <a:pt x="185" y="29"/>
                  </a:lnTo>
                  <a:lnTo>
                    <a:pt x="183" y="29"/>
                  </a:lnTo>
                  <a:lnTo>
                    <a:pt x="177" y="29"/>
                  </a:lnTo>
                  <a:lnTo>
                    <a:pt x="177" y="27"/>
                  </a:lnTo>
                  <a:lnTo>
                    <a:pt x="175" y="25"/>
                  </a:lnTo>
                  <a:lnTo>
                    <a:pt x="173" y="25"/>
                  </a:lnTo>
                  <a:lnTo>
                    <a:pt x="173" y="27"/>
                  </a:lnTo>
                  <a:lnTo>
                    <a:pt x="172" y="25"/>
                  </a:lnTo>
                  <a:lnTo>
                    <a:pt x="168" y="25"/>
                  </a:lnTo>
                  <a:lnTo>
                    <a:pt x="168" y="23"/>
                  </a:lnTo>
                  <a:lnTo>
                    <a:pt x="166" y="23"/>
                  </a:lnTo>
                  <a:lnTo>
                    <a:pt x="164" y="25"/>
                  </a:lnTo>
                  <a:lnTo>
                    <a:pt x="160" y="23"/>
                  </a:lnTo>
                  <a:lnTo>
                    <a:pt x="160" y="22"/>
                  </a:lnTo>
                  <a:lnTo>
                    <a:pt x="156" y="22"/>
                  </a:lnTo>
                  <a:lnTo>
                    <a:pt x="156" y="27"/>
                  </a:lnTo>
                  <a:lnTo>
                    <a:pt x="154" y="27"/>
                  </a:lnTo>
                  <a:lnTo>
                    <a:pt x="152" y="27"/>
                  </a:lnTo>
                  <a:lnTo>
                    <a:pt x="150" y="27"/>
                  </a:lnTo>
                  <a:lnTo>
                    <a:pt x="148" y="27"/>
                  </a:lnTo>
                  <a:lnTo>
                    <a:pt x="147" y="27"/>
                  </a:lnTo>
                  <a:lnTo>
                    <a:pt x="147" y="29"/>
                  </a:lnTo>
                  <a:lnTo>
                    <a:pt x="145" y="29"/>
                  </a:lnTo>
                  <a:lnTo>
                    <a:pt x="145" y="25"/>
                  </a:lnTo>
                  <a:lnTo>
                    <a:pt x="143" y="23"/>
                  </a:lnTo>
                  <a:lnTo>
                    <a:pt x="141" y="25"/>
                  </a:lnTo>
                  <a:lnTo>
                    <a:pt x="137" y="25"/>
                  </a:lnTo>
                  <a:lnTo>
                    <a:pt x="137" y="23"/>
                  </a:lnTo>
                  <a:lnTo>
                    <a:pt x="139" y="23"/>
                  </a:lnTo>
                  <a:lnTo>
                    <a:pt x="139" y="22"/>
                  </a:lnTo>
                  <a:lnTo>
                    <a:pt x="137" y="22"/>
                  </a:lnTo>
                  <a:lnTo>
                    <a:pt x="135" y="20"/>
                  </a:lnTo>
                  <a:lnTo>
                    <a:pt x="133" y="20"/>
                  </a:lnTo>
                  <a:lnTo>
                    <a:pt x="131" y="20"/>
                  </a:lnTo>
                  <a:lnTo>
                    <a:pt x="129" y="20"/>
                  </a:lnTo>
                  <a:lnTo>
                    <a:pt x="127" y="20"/>
                  </a:lnTo>
                  <a:lnTo>
                    <a:pt x="127" y="22"/>
                  </a:lnTo>
                  <a:lnTo>
                    <a:pt x="125" y="22"/>
                  </a:lnTo>
                  <a:lnTo>
                    <a:pt x="125" y="16"/>
                  </a:lnTo>
                  <a:lnTo>
                    <a:pt x="125" y="18"/>
                  </a:lnTo>
                  <a:lnTo>
                    <a:pt x="123" y="20"/>
                  </a:lnTo>
                  <a:lnTo>
                    <a:pt x="122" y="18"/>
                  </a:lnTo>
                  <a:lnTo>
                    <a:pt x="120" y="22"/>
                  </a:lnTo>
                  <a:lnTo>
                    <a:pt x="118" y="22"/>
                  </a:lnTo>
                  <a:lnTo>
                    <a:pt x="114" y="22"/>
                  </a:lnTo>
                  <a:lnTo>
                    <a:pt x="114" y="18"/>
                  </a:lnTo>
                  <a:lnTo>
                    <a:pt x="112" y="16"/>
                  </a:lnTo>
                  <a:lnTo>
                    <a:pt x="112" y="14"/>
                  </a:lnTo>
                  <a:lnTo>
                    <a:pt x="114" y="12"/>
                  </a:lnTo>
                  <a:lnTo>
                    <a:pt x="116" y="8"/>
                  </a:lnTo>
                  <a:lnTo>
                    <a:pt x="118" y="8"/>
                  </a:lnTo>
                  <a:lnTo>
                    <a:pt x="120" y="6"/>
                  </a:lnTo>
                  <a:lnTo>
                    <a:pt x="118" y="4"/>
                  </a:lnTo>
                  <a:lnTo>
                    <a:pt x="116" y="4"/>
                  </a:lnTo>
                  <a:lnTo>
                    <a:pt x="116" y="0"/>
                  </a:lnTo>
                  <a:lnTo>
                    <a:pt x="112" y="0"/>
                  </a:lnTo>
                  <a:lnTo>
                    <a:pt x="108" y="2"/>
                  </a:lnTo>
                  <a:lnTo>
                    <a:pt x="106" y="2"/>
                  </a:lnTo>
                  <a:lnTo>
                    <a:pt x="104" y="0"/>
                  </a:lnTo>
                  <a:lnTo>
                    <a:pt x="100" y="0"/>
                  </a:lnTo>
                  <a:lnTo>
                    <a:pt x="95" y="0"/>
                  </a:lnTo>
                  <a:lnTo>
                    <a:pt x="95" y="2"/>
                  </a:lnTo>
                  <a:lnTo>
                    <a:pt x="93" y="4"/>
                  </a:lnTo>
                  <a:lnTo>
                    <a:pt x="89" y="4"/>
                  </a:lnTo>
                  <a:lnTo>
                    <a:pt x="89" y="8"/>
                  </a:lnTo>
                  <a:lnTo>
                    <a:pt x="85" y="8"/>
                  </a:lnTo>
                  <a:lnTo>
                    <a:pt x="83" y="10"/>
                  </a:lnTo>
                  <a:lnTo>
                    <a:pt x="81" y="12"/>
                  </a:lnTo>
                  <a:lnTo>
                    <a:pt x="81" y="14"/>
                  </a:lnTo>
                  <a:lnTo>
                    <a:pt x="79" y="16"/>
                  </a:lnTo>
                  <a:lnTo>
                    <a:pt x="79" y="20"/>
                  </a:lnTo>
                  <a:lnTo>
                    <a:pt x="81" y="20"/>
                  </a:lnTo>
                  <a:lnTo>
                    <a:pt x="81" y="22"/>
                  </a:lnTo>
                  <a:lnTo>
                    <a:pt x="81" y="23"/>
                  </a:lnTo>
                  <a:lnTo>
                    <a:pt x="81" y="29"/>
                  </a:lnTo>
                  <a:lnTo>
                    <a:pt x="79" y="31"/>
                  </a:lnTo>
                  <a:lnTo>
                    <a:pt x="81" y="33"/>
                  </a:lnTo>
                  <a:lnTo>
                    <a:pt x="79" y="33"/>
                  </a:lnTo>
                  <a:lnTo>
                    <a:pt x="79" y="35"/>
                  </a:lnTo>
                  <a:lnTo>
                    <a:pt x="79" y="39"/>
                  </a:lnTo>
                  <a:lnTo>
                    <a:pt x="79" y="41"/>
                  </a:lnTo>
                  <a:lnTo>
                    <a:pt x="79" y="43"/>
                  </a:lnTo>
                  <a:lnTo>
                    <a:pt x="79" y="45"/>
                  </a:lnTo>
                  <a:lnTo>
                    <a:pt x="77" y="50"/>
                  </a:lnTo>
                  <a:lnTo>
                    <a:pt x="77" y="56"/>
                  </a:lnTo>
                  <a:lnTo>
                    <a:pt x="79" y="56"/>
                  </a:lnTo>
                  <a:lnTo>
                    <a:pt x="81" y="58"/>
                  </a:lnTo>
                  <a:lnTo>
                    <a:pt x="79" y="58"/>
                  </a:lnTo>
                  <a:lnTo>
                    <a:pt x="77" y="58"/>
                  </a:lnTo>
                  <a:lnTo>
                    <a:pt x="77" y="64"/>
                  </a:lnTo>
                  <a:lnTo>
                    <a:pt x="77" y="68"/>
                  </a:lnTo>
                  <a:lnTo>
                    <a:pt x="74" y="73"/>
                  </a:lnTo>
                  <a:lnTo>
                    <a:pt x="70" y="85"/>
                  </a:lnTo>
                  <a:lnTo>
                    <a:pt x="68" y="89"/>
                  </a:lnTo>
                  <a:lnTo>
                    <a:pt x="64" y="96"/>
                  </a:lnTo>
                  <a:lnTo>
                    <a:pt x="60" y="104"/>
                  </a:lnTo>
                  <a:lnTo>
                    <a:pt x="54" y="114"/>
                  </a:lnTo>
                  <a:lnTo>
                    <a:pt x="56" y="118"/>
                  </a:lnTo>
                  <a:lnTo>
                    <a:pt x="58" y="120"/>
                  </a:lnTo>
                  <a:lnTo>
                    <a:pt x="56" y="120"/>
                  </a:lnTo>
                  <a:lnTo>
                    <a:pt x="56" y="118"/>
                  </a:lnTo>
                  <a:lnTo>
                    <a:pt x="54" y="121"/>
                  </a:lnTo>
                  <a:lnTo>
                    <a:pt x="52" y="125"/>
                  </a:lnTo>
                  <a:lnTo>
                    <a:pt x="43" y="137"/>
                  </a:lnTo>
                  <a:lnTo>
                    <a:pt x="39" y="141"/>
                  </a:lnTo>
                  <a:lnTo>
                    <a:pt x="39" y="143"/>
                  </a:lnTo>
                  <a:lnTo>
                    <a:pt x="35" y="148"/>
                  </a:lnTo>
                  <a:lnTo>
                    <a:pt x="35" y="150"/>
                  </a:lnTo>
                  <a:lnTo>
                    <a:pt x="33" y="154"/>
                  </a:lnTo>
                  <a:lnTo>
                    <a:pt x="31" y="152"/>
                  </a:lnTo>
                  <a:lnTo>
                    <a:pt x="29" y="156"/>
                  </a:lnTo>
                  <a:lnTo>
                    <a:pt x="27" y="158"/>
                  </a:lnTo>
                  <a:lnTo>
                    <a:pt x="27" y="160"/>
                  </a:lnTo>
                  <a:lnTo>
                    <a:pt x="25" y="160"/>
                  </a:lnTo>
                  <a:lnTo>
                    <a:pt x="22" y="162"/>
                  </a:lnTo>
                  <a:lnTo>
                    <a:pt x="22" y="160"/>
                  </a:lnTo>
                  <a:lnTo>
                    <a:pt x="20" y="162"/>
                  </a:lnTo>
                  <a:lnTo>
                    <a:pt x="20" y="160"/>
                  </a:lnTo>
                  <a:lnTo>
                    <a:pt x="18" y="160"/>
                  </a:lnTo>
                  <a:lnTo>
                    <a:pt x="18" y="162"/>
                  </a:lnTo>
                  <a:lnTo>
                    <a:pt x="20" y="162"/>
                  </a:lnTo>
                  <a:lnTo>
                    <a:pt x="20" y="166"/>
                  </a:lnTo>
                  <a:lnTo>
                    <a:pt x="16" y="173"/>
                  </a:lnTo>
                  <a:lnTo>
                    <a:pt x="16" y="175"/>
                  </a:lnTo>
                  <a:lnTo>
                    <a:pt x="12" y="177"/>
                  </a:lnTo>
                  <a:lnTo>
                    <a:pt x="10" y="187"/>
                  </a:lnTo>
                  <a:lnTo>
                    <a:pt x="10" y="189"/>
                  </a:lnTo>
                  <a:lnTo>
                    <a:pt x="4" y="194"/>
                  </a:lnTo>
                  <a:lnTo>
                    <a:pt x="4" y="196"/>
                  </a:lnTo>
                  <a:lnTo>
                    <a:pt x="4" y="198"/>
                  </a:lnTo>
                  <a:lnTo>
                    <a:pt x="4" y="200"/>
                  </a:lnTo>
                  <a:lnTo>
                    <a:pt x="6" y="202"/>
                  </a:lnTo>
                  <a:lnTo>
                    <a:pt x="8" y="202"/>
                  </a:lnTo>
                  <a:lnTo>
                    <a:pt x="10" y="204"/>
                  </a:lnTo>
                  <a:lnTo>
                    <a:pt x="12" y="204"/>
                  </a:lnTo>
                  <a:lnTo>
                    <a:pt x="18" y="206"/>
                  </a:lnTo>
                  <a:lnTo>
                    <a:pt x="20" y="206"/>
                  </a:lnTo>
                  <a:lnTo>
                    <a:pt x="22" y="204"/>
                  </a:lnTo>
                  <a:lnTo>
                    <a:pt x="24" y="196"/>
                  </a:lnTo>
                  <a:lnTo>
                    <a:pt x="27" y="194"/>
                  </a:lnTo>
                  <a:lnTo>
                    <a:pt x="29" y="193"/>
                  </a:lnTo>
                  <a:lnTo>
                    <a:pt x="27" y="198"/>
                  </a:lnTo>
                  <a:lnTo>
                    <a:pt x="29" y="198"/>
                  </a:lnTo>
                  <a:lnTo>
                    <a:pt x="29" y="200"/>
                  </a:lnTo>
                  <a:lnTo>
                    <a:pt x="29" y="202"/>
                  </a:lnTo>
                  <a:lnTo>
                    <a:pt x="29" y="204"/>
                  </a:lnTo>
                  <a:lnTo>
                    <a:pt x="27" y="204"/>
                  </a:lnTo>
                  <a:lnTo>
                    <a:pt x="25" y="204"/>
                  </a:lnTo>
                  <a:lnTo>
                    <a:pt x="25" y="206"/>
                  </a:lnTo>
                  <a:lnTo>
                    <a:pt x="24" y="206"/>
                  </a:lnTo>
                  <a:lnTo>
                    <a:pt x="24" y="208"/>
                  </a:lnTo>
                  <a:lnTo>
                    <a:pt x="25" y="208"/>
                  </a:lnTo>
                  <a:lnTo>
                    <a:pt x="25" y="210"/>
                  </a:lnTo>
                  <a:lnTo>
                    <a:pt x="24" y="208"/>
                  </a:lnTo>
                  <a:lnTo>
                    <a:pt x="20" y="208"/>
                  </a:lnTo>
                  <a:lnTo>
                    <a:pt x="20" y="206"/>
                  </a:lnTo>
                  <a:lnTo>
                    <a:pt x="18" y="206"/>
                  </a:lnTo>
                  <a:lnTo>
                    <a:pt x="12" y="206"/>
                  </a:lnTo>
                  <a:lnTo>
                    <a:pt x="14" y="208"/>
                  </a:lnTo>
                  <a:lnTo>
                    <a:pt x="14" y="214"/>
                  </a:lnTo>
                  <a:lnTo>
                    <a:pt x="14" y="218"/>
                  </a:lnTo>
                  <a:lnTo>
                    <a:pt x="10" y="221"/>
                  </a:lnTo>
                  <a:lnTo>
                    <a:pt x="12" y="223"/>
                  </a:lnTo>
                  <a:lnTo>
                    <a:pt x="14" y="221"/>
                  </a:lnTo>
                  <a:lnTo>
                    <a:pt x="18" y="223"/>
                  </a:lnTo>
                  <a:lnTo>
                    <a:pt x="20" y="223"/>
                  </a:lnTo>
                  <a:lnTo>
                    <a:pt x="25" y="221"/>
                  </a:lnTo>
                  <a:lnTo>
                    <a:pt x="27" y="219"/>
                  </a:lnTo>
                  <a:lnTo>
                    <a:pt x="29" y="221"/>
                  </a:lnTo>
                  <a:lnTo>
                    <a:pt x="31" y="223"/>
                  </a:lnTo>
                  <a:lnTo>
                    <a:pt x="33" y="223"/>
                  </a:lnTo>
                  <a:lnTo>
                    <a:pt x="33" y="221"/>
                  </a:lnTo>
                  <a:lnTo>
                    <a:pt x="33" y="219"/>
                  </a:lnTo>
                  <a:lnTo>
                    <a:pt x="35" y="219"/>
                  </a:lnTo>
                  <a:lnTo>
                    <a:pt x="35" y="221"/>
                  </a:lnTo>
                  <a:lnTo>
                    <a:pt x="35" y="223"/>
                  </a:lnTo>
                  <a:lnTo>
                    <a:pt x="35" y="227"/>
                  </a:lnTo>
                  <a:lnTo>
                    <a:pt x="39" y="229"/>
                  </a:lnTo>
                  <a:lnTo>
                    <a:pt x="35" y="229"/>
                  </a:lnTo>
                  <a:lnTo>
                    <a:pt x="33" y="227"/>
                  </a:lnTo>
                  <a:lnTo>
                    <a:pt x="29" y="225"/>
                  </a:lnTo>
                  <a:lnTo>
                    <a:pt x="29" y="223"/>
                  </a:lnTo>
                  <a:lnTo>
                    <a:pt x="27" y="221"/>
                  </a:lnTo>
                  <a:lnTo>
                    <a:pt x="27" y="223"/>
                  </a:lnTo>
                  <a:lnTo>
                    <a:pt x="29" y="227"/>
                  </a:lnTo>
                  <a:lnTo>
                    <a:pt x="31" y="231"/>
                  </a:lnTo>
                  <a:lnTo>
                    <a:pt x="31" y="235"/>
                  </a:lnTo>
                  <a:lnTo>
                    <a:pt x="25" y="244"/>
                  </a:lnTo>
                  <a:lnTo>
                    <a:pt x="20" y="252"/>
                  </a:lnTo>
                  <a:lnTo>
                    <a:pt x="20" y="254"/>
                  </a:lnTo>
                  <a:lnTo>
                    <a:pt x="18" y="254"/>
                  </a:lnTo>
                  <a:lnTo>
                    <a:pt x="18" y="256"/>
                  </a:lnTo>
                  <a:lnTo>
                    <a:pt x="20" y="254"/>
                  </a:lnTo>
                  <a:lnTo>
                    <a:pt x="20" y="256"/>
                  </a:lnTo>
                  <a:lnTo>
                    <a:pt x="22" y="256"/>
                  </a:lnTo>
                  <a:lnTo>
                    <a:pt x="22" y="262"/>
                  </a:lnTo>
                  <a:lnTo>
                    <a:pt x="22" y="264"/>
                  </a:lnTo>
                  <a:lnTo>
                    <a:pt x="22" y="266"/>
                  </a:lnTo>
                  <a:lnTo>
                    <a:pt x="20" y="266"/>
                  </a:lnTo>
                  <a:lnTo>
                    <a:pt x="20" y="269"/>
                  </a:lnTo>
                  <a:lnTo>
                    <a:pt x="20" y="271"/>
                  </a:lnTo>
                  <a:lnTo>
                    <a:pt x="20" y="273"/>
                  </a:lnTo>
                  <a:lnTo>
                    <a:pt x="16" y="279"/>
                  </a:lnTo>
                  <a:lnTo>
                    <a:pt x="18" y="283"/>
                  </a:lnTo>
                  <a:lnTo>
                    <a:pt x="16" y="287"/>
                  </a:lnTo>
                  <a:lnTo>
                    <a:pt x="14" y="289"/>
                  </a:lnTo>
                  <a:lnTo>
                    <a:pt x="10" y="294"/>
                  </a:lnTo>
                  <a:lnTo>
                    <a:pt x="10" y="296"/>
                  </a:lnTo>
                  <a:lnTo>
                    <a:pt x="10" y="298"/>
                  </a:lnTo>
                  <a:lnTo>
                    <a:pt x="6" y="300"/>
                  </a:lnTo>
                  <a:lnTo>
                    <a:pt x="6" y="304"/>
                  </a:lnTo>
                  <a:lnTo>
                    <a:pt x="0" y="310"/>
                  </a:lnTo>
                  <a:lnTo>
                    <a:pt x="0" y="312"/>
                  </a:lnTo>
                  <a:lnTo>
                    <a:pt x="2" y="312"/>
                  </a:lnTo>
                  <a:lnTo>
                    <a:pt x="0" y="312"/>
                  </a:lnTo>
                  <a:lnTo>
                    <a:pt x="2" y="314"/>
                  </a:lnTo>
                  <a:lnTo>
                    <a:pt x="2" y="312"/>
                  </a:lnTo>
                  <a:lnTo>
                    <a:pt x="4" y="312"/>
                  </a:lnTo>
                  <a:lnTo>
                    <a:pt x="6" y="312"/>
                  </a:lnTo>
                  <a:lnTo>
                    <a:pt x="6" y="310"/>
                  </a:lnTo>
                  <a:lnTo>
                    <a:pt x="8" y="310"/>
                  </a:lnTo>
                  <a:lnTo>
                    <a:pt x="10" y="310"/>
                  </a:lnTo>
                  <a:lnTo>
                    <a:pt x="14" y="310"/>
                  </a:lnTo>
                  <a:lnTo>
                    <a:pt x="16" y="312"/>
                  </a:lnTo>
                  <a:lnTo>
                    <a:pt x="16" y="310"/>
                  </a:lnTo>
                  <a:lnTo>
                    <a:pt x="18" y="310"/>
                  </a:lnTo>
                  <a:lnTo>
                    <a:pt x="20" y="310"/>
                  </a:lnTo>
                  <a:lnTo>
                    <a:pt x="27" y="314"/>
                  </a:lnTo>
                  <a:lnTo>
                    <a:pt x="31" y="316"/>
                  </a:lnTo>
                  <a:lnTo>
                    <a:pt x="33" y="317"/>
                  </a:lnTo>
                  <a:lnTo>
                    <a:pt x="39" y="317"/>
                  </a:lnTo>
                  <a:lnTo>
                    <a:pt x="43" y="319"/>
                  </a:lnTo>
                  <a:lnTo>
                    <a:pt x="47" y="325"/>
                  </a:lnTo>
                  <a:lnTo>
                    <a:pt x="50" y="325"/>
                  </a:lnTo>
                  <a:lnTo>
                    <a:pt x="56" y="325"/>
                  </a:lnTo>
                  <a:lnTo>
                    <a:pt x="60" y="325"/>
                  </a:lnTo>
                  <a:lnTo>
                    <a:pt x="74" y="319"/>
                  </a:lnTo>
                  <a:lnTo>
                    <a:pt x="77" y="319"/>
                  </a:lnTo>
                  <a:lnTo>
                    <a:pt x="79" y="321"/>
                  </a:lnTo>
                  <a:lnTo>
                    <a:pt x="79" y="319"/>
                  </a:lnTo>
                  <a:lnTo>
                    <a:pt x="77" y="319"/>
                  </a:lnTo>
                  <a:lnTo>
                    <a:pt x="79" y="316"/>
                  </a:lnTo>
                  <a:lnTo>
                    <a:pt x="77" y="316"/>
                  </a:lnTo>
                  <a:lnTo>
                    <a:pt x="77" y="314"/>
                  </a:lnTo>
                  <a:lnTo>
                    <a:pt x="77" y="312"/>
                  </a:lnTo>
                  <a:lnTo>
                    <a:pt x="79" y="308"/>
                  </a:lnTo>
                  <a:lnTo>
                    <a:pt x="79" y="306"/>
                  </a:lnTo>
                  <a:lnTo>
                    <a:pt x="77" y="304"/>
                  </a:lnTo>
                  <a:lnTo>
                    <a:pt x="79" y="304"/>
                  </a:lnTo>
                  <a:lnTo>
                    <a:pt x="79" y="298"/>
                  </a:lnTo>
                  <a:lnTo>
                    <a:pt x="77" y="298"/>
                  </a:lnTo>
                  <a:lnTo>
                    <a:pt x="77" y="296"/>
                  </a:lnTo>
                  <a:lnTo>
                    <a:pt x="77" y="294"/>
                  </a:lnTo>
                  <a:lnTo>
                    <a:pt x="79" y="294"/>
                  </a:lnTo>
                  <a:lnTo>
                    <a:pt x="79" y="292"/>
                  </a:lnTo>
                  <a:lnTo>
                    <a:pt x="83" y="289"/>
                  </a:lnTo>
                  <a:lnTo>
                    <a:pt x="83" y="287"/>
                  </a:lnTo>
                  <a:lnTo>
                    <a:pt x="85" y="285"/>
                  </a:lnTo>
                  <a:lnTo>
                    <a:pt x="89" y="281"/>
                  </a:lnTo>
                  <a:lnTo>
                    <a:pt x="93" y="279"/>
                  </a:lnTo>
                  <a:lnTo>
                    <a:pt x="93" y="277"/>
                  </a:lnTo>
                  <a:lnTo>
                    <a:pt x="95" y="275"/>
                  </a:lnTo>
                  <a:lnTo>
                    <a:pt x="95" y="273"/>
                  </a:lnTo>
                  <a:lnTo>
                    <a:pt x="97" y="271"/>
                  </a:lnTo>
                  <a:lnTo>
                    <a:pt x="98" y="271"/>
                  </a:lnTo>
                  <a:lnTo>
                    <a:pt x="100" y="271"/>
                  </a:lnTo>
                  <a:lnTo>
                    <a:pt x="102" y="269"/>
                  </a:lnTo>
                  <a:lnTo>
                    <a:pt x="104" y="269"/>
                  </a:lnTo>
                  <a:lnTo>
                    <a:pt x="106" y="271"/>
                  </a:lnTo>
                  <a:lnTo>
                    <a:pt x="108" y="271"/>
                  </a:lnTo>
                  <a:lnTo>
                    <a:pt x="110" y="266"/>
                  </a:lnTo>
                  <a:lnTo>
                    <a:pt x="112" y="266"/>
                  </a:lnTo>
                  <a:lnTo>
                    <a:pt x="112" y="264"/>
                  </a:lnTo>
                  <a:lnTo>
                    <a:pt x="116" y="26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65" name="Freeform 253"/>
            <p:cNvSpPr>
              <a:spLocks/>
            </p:cNvSpPr>
            <p:nvPr/>
          </p:nvSpPr>
          <p:spPr bwMode="auto">
            <a:xfrm>
              <a:off x="2289" y="2548"/>
              <a:ext cx="31" cy="48"/>
            </a:xfrm>
            <a:custGeom>
              <a:avLst/>
              <a:gdLst>
                <a:gd name="T0" fmla="*/ 2 w 31"/>
                <a:gd name="T1" fmla="*/ 17 h 48"/>
                <a:gd name="T2" fmla="*/ 4 w 31"/>
                <a:gd name="T3" fmla="*/ 13 h 48"/>
                <a:gd name="T4" fmla="*/ 4 w 31"/>
                <a:gd name="T5" fmla="*/ 9 h 48"/>
                <a:gd name="T6" fmla="*/ 6 w 31"/>
                <a:gd name="T7" fmla="*/ 7 h 48"/>
                <a:gd name="T8" fmla="*/ 8 w 31"/>
                <a:gd name="T9" fmla="*/ 5 h 48"/>
                <a:gd name="T10" fmla="*/ 9 w 31"/>
                <a:gd name="T11" fmla="*/ 1 h 48"/>
                <a:gd name="T12" fmla="*/ 11 w 31"/>
                <a:gd name="T13" fmla="*/ 0 h 48"/>
                <a:gd name="T14" fmla="*/ 13 w 31"/>
                <a:gd name="T15" fmla="*/ 1 h 48"/>
                <a:gd name="T16" fmla="*/ 15 w 31"/>
                <a:gd name="T17" fmla="*/ 1 h 48"/>
                <a:gd name="T18" fmla="*/ 15 w 31"/>
                <a:gd name="T19" fmla="*/ 5 h 48"/>
                <a:gd name="T20" fmla="*/ 17 w 31"/>
                <a:gd name="T21" fmla="*/ 11 h 48"/>
                <a:gd name="T22" fmla="*/ 19 w 31"/>
                <a:gd name="T23" fmla="*/ 17 h 48"/>
                <a:gd name="T24" fmla="*/ 23 w 31"/>
                <a:gd name="T25" fmla="*/ 21 h 48"/>
                <a:gd name="T26" fmla="*/ 27 w 31"/>
                <a:gd name="T27" fmla="*/ 25 h 48"/>
                <a:gd name="T28" fmla="*/ 31 w 31"/>
                <a:gd name="T29" fmla="*/ 25 h 48"/>
                <a:gd name="T30" fmla="*/ 27 w 31"/>
                <a:gd name="T31" fmla="*/ 32 h 48"/>
                <a:gd name="T32" fmla="*/ 23 w 31"/>
                <a:gd name="T33" fmla="*/ 38 h 48"/>
                <a:gd name="T34" fmla="*/ 21 w 31"/>
                <a:gd name="T35" fmla="*/ 42 h 48"/>
                <a:gd name="T36" fmla="*/ 21 w 31"/>
                <a:gd name="T37" fmla="*/ 48 h 48"/>
                <a:gd name="T38" fmla="*/ 13 w 31"/>
                <a:gd name="T39" fmla="*/ 44 h 48"/>
                <a:gd name="T40" fmla="*/ 8 w 31"/>
                <a:gd name="T41" fmla="*/ 46 h 48"/>
                <a:gd name="T42" fmla="*/ 2 w 31"/>
                <a:gd name="T43" fmla="*/ 42 h 48"/>
                <a:gd name="T44" fmla="*/ 4 w 31"/>
                <a:gd name="T45" fmla="*/ 40 h 48"/>
                <a:gd name="T46" fmla="*/ 2 w 31"/>
                <a:gd name="T47" fmla="*/ 38 h 48"/>
                <a:gd name="T48" fmla="*/ 4 w 31"/>
                <a:gd name="T49" fmla="*/ 36 h 48"/>
                <a:gd name="T50" fmla="*/ 6 w 31"/>
                <a:gd name="T51" fmla="*/ 34 h 48"/>
                <a:gd name="T52" fmla="*/ 6 w 31"/>
                <a:gd name="T53" fmla="*/ 30 h 48"/>
                <a:gd name="T54" fmla="*/ 2 w 31"/>
                <a:gd name="T55" fmla="*/ 30 h 48"/>
                <a:gd name="T56" fmla="*/ 2 w 31"/>
                <a:gd name="T57" fmla="*/ 25 h 48"/>
                <a:gd name="T58" fmla="*/ 0 w 31"/>
                <a:gd name="T59" fmla="*/ 23 h 48"/>
                <a:gd name="T60" fmla="*/ 2 w 31"/>
                <a:gd name="T61" fmla="*/ 21 h 48"/>
                <a:gd name="T62" fmla="*/ 0 w 31"/>
                <a:gd name="T63" fmla="*/ 1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48">
                  <a:moveTo>
                    <a:pt x="0" y="19"/>
                  </a:moveTo>
                  <a:lnTo>
                    <a:pt x="2" y="17"/>
                  </a:lnTo>
                  <a:lnTo>
                    <a:pt x="2" y="13"/>
                  </a:lnTo>
                  <a:lnTo>
                    <a:pt x="4" y="13"/>
                  </a:lnTo>
                  <a:lnTo>
                    <a:pt x="4" y="11"/>
                  </a:lnTo>
                  <a:lnTo>
                    <a:pt x="4" y="9"/>
                  </a:lnTo>
                  <a:lnTo>
                    <a:pt x="6" y="9"/>
                  </a:lnTo>
                  <a:lnTo>
                    <a:pt x="6" y="7"/>
                  </a:lnTo>
                  <a:lnTo>
                    <a:pt x="6" y="5"/>
                  </a:lnTo>
                  <a:lnTo>
                    <a:pt x="8" y="5"/>
                  </a:lnTo>
                  <a:lnTo>
                    <a:pt x="8" y="3"/>
                  </a:lnTo>
                  <a:lnTo>
                    <a:pt x="9" y="1"/>
                  </a:lnTo>
                  <a:lnTo>
                    <a:pt x="9" y="0"/>
                  </a:lnTo>
                  <a:lnTo>
                    <a:pt x="11" y="0"/>
                  </a:lnTo>
                  <a:lnTo>
                    <a:pt x="13" y="0"/>
                  </a:lnTo>
                  <a:lnTo>
                    <a:pt x="13" y="1"/>
                  </a:lnTo>
                  <a:lnTo>
                    <a:pt x="15" y="0"/>
                  </a:lnTo>
                  <a:lnTo>
                    <a:pt x="15" y="1"/>
                  </a:lnTo>
                  <a:lnTo>
                    <a:pt x="17" y="3"/>
                  </a:lnTo>
                  <a:lnTo>
                    <a:pt x="15" y="5"/>
                  </a:lnTo>
                  <a:lnTo>
                    <a:pt x="15" y="9"/>
                  </a:lnTo>
                  <a:lnTo>
                    <a:pt x="17" y="11"/>
                  </a:lnTo>
                  <a:lnTo>
                    <a:pt x="19" y="13"/>
                  </a:lnTo>
                  <a:lnTo>
                    <a:pt x="19" y="17"/>
                  </a:lnTo>
                  <a:lnTo>
                    <a:pt x="21" y="19"/>
                  </a:lnTo>
                  <a:lnTo>
                    <a:pt x="23" y="21"/>
                  </a:lnTo>
                  <a:lnTo>
                    <a:pt x="25" y="23"/>
                  </a:lnTo>
                  <a:lnTo>
                    <a:pt x="27" y="25"/>
                  </a:lnTo>
                  <a:lnTo>
                    <a:pt x="29" y="23"/>
                  </a:lnTo>
                  <a:lnTo>
                    <a:pt x="31" y="25"/>
                  </a:lnTo>
                  <a:lnTo>
                    <a:pt x="29" y="28"/>
                  </a:lnTo>
                  <a:lnTo>
                    <a:pt x="27" y="32"/>
                  </a:lnTo>
                  <a:lnTo>
                    <a:pt x="25" y="36"/>
                  </a:lnTo>
                  <a:lnTo>
                    <a:pt x="23" y="38"/>
                  </a:lnTo>
                  <a:lnTo>
                    <a:pt x="23" y="40"/>
                  </a:lnTo>
                  <a:lnTo>
                    <a:pt x="21" y="42"/>
                  </a:lnTo>
                  <a:lnTo>
                    <a:pt x="23" y="46"/>
                  </a:lnTo>
                  <a:lnTo>
                    <a:pt x="21" y="48"/>
                  </a:lnTo>
                  <a:lnTo>
                    <a:pt x="17" y="44"/>
                  </a:lnTo>
                  <a:lnTo>
                    <a:pt x="13" y="44"/>
                  </a:lnTo>
                  <a:lnTo>
                    <a:pt x="9" y="48"/>
                  </a:lnTo>
                  <a:lnTo>
                    <a:pt x="8" y="46"/>
                  </a:lnTo>
                  <a:lnTo>
                    <a:pt x="6" y="44"/>
                  </a:lnTo>
                  <a:lnTo>
                    <a:pt x="2" y="42"/>
                  </a:lnTo>
                  <a:lnTo>
                    <a:pt x="2" y="40"/>
                  </a:lnTo>
                  <a:lnTo>
                    <a:pt x="4" y="40"/>
                  </a:lnTo>
                  <a:lnTo>
                    <a:pt x="4" y="38"/>
                  </a:lnTo>
                  <a:lnTo>
                    <a:pt x="2" y="38"/>
                  </a:lnTo>
                  <a:lnTo>
                    <a:pt x="4" y="38"/>
                  </a:lnTo>
                  <a:lnTo>
                    <a:pt x="4" y="36"/>
                  </a:lnTo>
                  <a:lnTo>
                    <a:pt x="6" y="36"/>
                  </a:lnTo>
                  <a:lnTo>
                    <a:pt x="6" y="34"/>
                  </a:lnTo>
                  <a:lnTo>
                    <a:pt x="4" y="32"/>
                  </a:lnTo>
                  <a:lnTo>
                    <a:pt x="6" y="30"/>
                  </a:lnTo>
                  <a:lnTo>
                    <a:pt x="4" y="30"/>
                  </a:lnTo>
                  <a:lnTo>
                    <a:pt x="2" y="30"/>
                  </a:lnTo>
                  <a:lnTo>
                    <a:pt x="2" y="28"/>
                  </a:lnTo>
                  <a:lnTo>
                    <a:pt x="2" y="25"/>
                  </a:lnTo>
                  <a:lnTo>
                    <a:pt x="0" y="25"/>
                  </a:lnTo>
                  <a:lnTo>
                    <a:pt x="0" y="23"/>
                  </a:lnTo>
                  <a:lnTo>
                    <a:pt x="0" y="21"/>
                  </a:lnTo>
                  <a:lnTo>
                    <a:pt x="2" y="21"/>
                  </a:lnTo>
                  <a:lnTo>
                    <a:pt x="2" y="19"/>
                  </a:lnTo>
                  <a:lnTo>
                    <a:pt x="0" y="1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66" name="Freeform 254"/>
            <p:cNvSpPr>
              <a:spLocks/>
            </p:cNvSpPr>
            <p:nvPr/>
          </p:nvSpPr>
          <p:spPr bwMode="auto">
            <a:xfrm>
              <a:off x="1699" y="2140"/>
              <a:ext cx="186" cy="229"/>
            </a:xfrm>
            <a:custGeom>
              <a:avLst/>
              <a:gdLst>
                <a:gd name="T0" fmla="*/ 13 w 186"/>
                <a:gd name="T1" fmla="*/ 171 h 229"/>
                <a:gd name="T2" fmla="*/ 29 w 186"/>
                <a:gd name="T3" fmla="*/ 165 h 229"/>
                <a:gd name="T4" fmla="*/ 59 w 186"/>
                <a:gd name="T5" fmla="*/ 158 h 229"/>
                <a:gd name="T6" fmla="*/ 63 w 186"/>
                <a:gd name="T7" fmla="*/ 150 h 229"/>
                <a:gd name="T8" fmla="*/ 54 w 186"/>
                <a:gd name="T9" fmla="*/ 154 h 229"/>
                <a:gd name="T10" fmla="*/ 38 w 186"/>
                <a:gd name="T11" fmla="*/ 152 h 229"/>
                <a:gd name="T12" fmla="*/ 48 w 186"/>
                <a:gd name="T13" fmla="*/ 144 h 229"/>
                <a:gd name="T14" fmla="*/ 52 w 186"/>
                <a:gd name="T15" fmla="*/ 135 h 229"/>
                <a:gd name="T16" fmla="*/ 73 w 186"/>
                <a:gd name="T17" fmla="*/ 123 h 229"/>
                <a:gd name="T18" fmla="*/ 52 w 186"/>
                <a:gd name="T19" fmla="*/ 114 h 229"/>
                <a:gd name="T20" fmla="*/ 42 w 186"/>
                <a:gd name="T21" fmla="*/ 106 h 229"/>
                <a:gd name="T22" fmla="*/ 38 w 186"/>
                <a:gd name="T23" fmla="*/ 100 h 229"/>
                <a:gd name="T24" fmla="*/ 42 w 186"/>
                <a:gd name="T25" fmla="*/ 87 h 229"/>
                <a:gd name="T26" fmla="*/ 63 w 186"/>
                <a:gd name="T27" fmla="*/ 77 h 229"/>
                <a:gd name="T28" fmla="*/ 54 w 186"/>
                <a:gd name="T29" fmla="*/ 64 h 229"/>
                <a:gd name="T30" fmla="*/ 56 w 186"/>
                <a:gd name="T31" fmla="*/ 52 h 229"/>
                <a:gd name="T32" fmla="*/ 52 w 186"/>
                <a:gd name="T33" fmla="*/ 46 h 229"/>
                <a:gd name="T34" fmla="*/ 61 w 186"/>
                <a:gd name="T35" fmla="*/ 46 h 229"/>
                <a:gd name="T36" fmla="*/ 81 w 186"/>
                <a:gd name="T37" fmla="*/ 52 h 229"/>
                <a:gd name="T38" fmla="*/ 94 w 186"/>
                <a:gd name="T39" fmla="*/ 58 h 229"/>
                <a:gd name="T40" fmla="*/ 107 w 186"/>
                <a:gd name="T41" fmla="*/ 60 h 229"/>
                <a:gd name="T42" fmla="*/ 121 w 186"/>
                <a:gd name="T43" fmla="*/ 48 h 229"/>
                <a:gd name="T44" fmla="*/ 115 w 186"/>
                <a:gd name="T45" fmla="*/ 41 h 229"/>
                <a:gd name="T46" fmla="*/ 104 w 186"/>
                <a:gd name="T47" fmla="*/ 29 h 229"/>
                <a:gd name="T48" fmla="*/ 119 w 186"/>
                <a:gd name="T49" fmla="*/ 23 h 229"/>
                <a:gd name="T50" fmla="*/ 123 w 186"/>
                <a:gd name="T51" fmla="*/ 12 h 229"/>
                <a:gd name="T52" fmla="*/ 142 w 186"/>
                <a:gd name="T53" fmla="*/ 10 h 229"/>
                <a:gd name="T54" fmla="*/ 146 w 186"/>
                <a:gd name="T55" fmla="*/ 8 h 229"/>
                <a:gd name="T56" fmla="*/ 148 w 186"/>
                <a:gd name="T57" fmla="*/ 23 h 229"/>
                <a:gd name="T58" fmla="*/ 161 w 186"/>
                <a:gd name="T59" fmla="*/ 0 h 229"/>
                <a:gd name="T60" fmla="*/ 154 w 186"/>
                <a:gd name="T61" fmla="*/ 27 h 229"/>
                <a:gd name="T62" fmla="*/ 136 w 186"/>
                <a:gd name="T63" fmla="*/ 37 h 229"/>
                <a:gd name="T64" fmla="*/ 121 w 186"/>
                <a:gd name="T65" fmla="*/ 50 h 229"/>
                <a:gd name="T66" fmla="*/ 140 w 186"/>
                <a:gd name="T67" fmla="*/ 77 h 229"/>
                <a:gd name="T68" fmla="*/ 150 w 186"/>
                <a:gd name="T69" fmla="*/ 73 h 229"/>
                <a:gd name="T70" fmla="*/ 167 w 186"/>
                <a:gd name="T71" fmla="*/ 79 h 229"/>
                <a:gd name="T72" fmla="*/ 184 w 186"/>
                <a:gd name="T73" fmla="*/ 94 h 229"/>
                <a:gd name="T74" fmla="*/ 179 w 186"/>
                <a:gd name="T75" fmla="*/ 104 h 229"/>
                <a:gd name="T76" fmla="*/ 181 w 186"/>
                <a:gd name="T77" fmla="*/ 123 h 229"/>
                <a:gd name="T78" fmla="*/ 173 w 186"/>
                <a:gd name="T79" fmla="*/ 135 h 229"/>
                <a:gd name="T80" fmla="*/ 175 w 186"/>
                <a:gd name="T81" fmla="*/ 146 h 229"/>
                <a:gd name="T82" fmla="*/ 167 w 186"/>
                <a:gd name="T83" fmla="*/ 179 h 229"/>
                <a:gd name="T84" fmla="*/ 150 w 186"/>
                <a:gd name="T85" fmla="*/ 198 h 229"/>
                <a:gd name="T86" fmla="*/ 148 w 186"/>
                <a:gd name="T87" fmla="*/ 206 h 229"/>
                <a:gd name="T88" fmla="*/ 134 w 186"/>
                <a:gd name="T89" fmla="*/ 206 h 229"/>
                <a:gd name="T90" fmla="*/ 123 w 186"/>
                <a:gd name="T91" fmla="*/ 204 h 229"/>
                <a:gd name="T92" fmla="*/ 107 w 186"/>
                <a:gd name="T93" fmla="*/ 208 h 229"/>
                <a:gd name="T94" fmla="*/ 86 w 186"/>
                <a:gd name="T95" fmla="*/ 215 h 229"/>
                <a:gd name="T96" fmla="*/ 75 w 186"/>
                <a:gd name="T97" fmla="*/ 210 h 229"/>
                <a:gd name="T98" fmla="*/ 56 w 186"/>
                <a:gd name="T99" fmla="*/ 227 h 229"/>
                <a:gd name="T100" fmla="*/ 36 w 186"/>
                <a:gd name="T101" fmla="*/ 227 h 229"/>
                <a:gd name="T102" fmla="*/ 31 w 186"/>
                <a:gd name="T103" fmla="*/ 221 h 229"/>
                <a:gd name="T104" fmla="*/ 15 w 186"/>
                <a:gd name="T105" fmla="*/ 225 h 229"/>
                <a:gd name="T106" fmla="*/ 13 w 186"/>
                <a:gd name="T107" fmla="*/ 217 h 229"/>
                <a:gd name="T108" fmla="*/ 21 w 186"/>
                <a:gd name="T109" fmla="*/ 210 h 229"/>
                <a:gd name="T110" fmla="*/ 8 w 186"/>
                <a:gd name="T111" fmla="*/ 210 h 229"/>
                <a:gd name="T112" fmla="*/ 0 w 186"/>
                <a:gd name="T113" fmla="*/ 198 h 229"/>
                <a:gd name="T114" fmla="*/ 25 w 186"/>
                <a:gd name="T115" fmla="*/ 183 h 229"/>
                <a:gd name="T116" fmla="*/ 11 w 186"/>
                <a:gd name="T117" fmla="*/ 17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6" h="229">
                  <a:moveTo>
                    <a:pt x="2" y="177"/>
                  </a:moveTo>
                  <a:lnTo>
                    <a:pt x="6" y="171"/>
                  </a:lnTo>
                  <a:lnTo>
                    <a:pt x="6" y="173"/>
                  </a:lnTo>
                  <a:lnTo>
                    <a:pt x="8" y="169"/>
                  </a:lnTo>
                  <a:lnTo>
                    <a:pt x="15" y="167"/>
                  </a:lnTo>
                  <a:lnTo>
                    <a:pt x="13" y="171"/>
                  </a:lnTo>
                  <a:lnTo>
                    <a:pt x="17" y="171"/>
                  </a:lnTo>
                  <a:lnTo>
                    <a:pt x="19" y="167"/>
                  </a:lnTo>
                  <a:lnTo>
                    <a:pt x="21" y="173"/>
                  </a:lnTo>
                  <a:lnTo>
                    <a:pt x="31" y="175"/>
                  </a:lnTo>
                  <a:lnTo>
                    <a:pt x="25" y="171"/>
                  </a:lnTo>
                  <a:lnTo>
                    <a:pt x="29" y="165"/>
                  </a:lnTo>
                  <a:lnTo>
                    <a:pt x="25" y="164"/>
                  </a:lnTo>
                  <a:lnTo>
                    <a:pt x="36" y="160"/>
                  </a:lnTo>
                  <a:lnTo>
                    <a:pt x="36" y="156"/>
                  </a:lnTo>
                  <a:lnTo>
                    <a:pt x="40" y="156"/>
                  </a:lnTo>
                  <a:lnTo>
                    <a:pt x="50" y="160"/>
                  </a:lnTo>
                  <a:lnTo>
                    <a:pt x="59" y="158"/>
                  </a:lnTo>
                  <a:lnTo>
                    <a:pt x="65" y="156"/>
                  </a:lnTo>
                  <a:lnTo>
                    <a:pt x="73" y="158"/>
                  </a:lnTo>
                  <a:lnTo>
                    <a:pt x="65" y="154"/>
                  </a:lnTo>
                  <a:lnTo>
                    <a:pt x="67" y="152"/>
                  </a:lnTo>
                  <a:lnTo>
                    <a:pt x="65" y="150"/>
                  </a:lnTo>
                  <a:lnTo>
                    <a:pt x="63" y="150"/>
                  </a:lnTo>
                  <a:lnTo>
                    <a:pt x="63" y="152"/>
                  </a:lnTo>
                  <a:lnTo>
                    <a:pt x="58" y="156"/>
                  </a:lnTo>
                  <a:lnTo>
                    <a:pt x="54" y="156"/>
                  </a:lnTo>
                  <a:lnTo>
                    <a:pt x="52" y="158"/>
                  </a:lnTo>
                  <a:lnTo>
                    <a:pt x="50" y="156"/>
                  </a:lnTo>
                  <a:lnTo>
                    <a:pt x="54" y="154"/>
                  </a:lnTo>
                  <a:lnTo>
                    <a:pt x="48" y="156"/>
                  </a:lnTo>
                  <a:lnTo>
                    <a:pt x="44" y="152"/>
                  </a:lnTo>
                  <a:lnTo>
                    <a:pt x="44" y="150"/>
                  </a:lnTo>
                  <a:lnTo>
                    <a:pt x="42" y="150"/>
                  </a:lnTo>
                  <a:lnTo>
                    <a:pt x="44" y="152"/>
                  </a:lnTo>
                  <a:lnTo>
                    <a:pt x="38" y="152"/>
                  </a:lnTo>
                  <a:lnTo>
                    <a:pt x="36" y="154"/>
                  </a:lnTo>
                  <a:lnTo>
                    <a:pt x="29" y="154"/>
                  </a:lnTo>
                  <a:lnTo>
                    <a:pt x="40" y="148"/>
                  </a:lnTo>
                  <a:lnTo>
                    <a:pt x="42" y="144"/>
                  </a:lnTo>
                  <a:lnTo>
                    <a:pt x="46" y="146"/>
                  </a:lnTo>
                  <a:lnTo>
                    <a:pt x="48" y="144"/>
                  </a:lnTo>
                  <a:lnTo>
                    <a:pt x="48" y="142"/>
                  </a:lnTo>
                  <a:lnTo>
                    <a:pt x="50" y="140"/>
                  </a:lnTo>
                  <a:lnTo>
                    <a:pt x="52" y="139"/>
                  </a:lnTo>
                  <a:lnTo>
                    <a:pt x="56" y="137"/>
                  </a:lnTo>
                  <a:lnTo>
                    <a:pt x="56" y="135"/>
                  </a:lnTo>
                  <a:lnTo>
                    <a:pt x="52" y="135"/>
                  </a:lnTo>
                  <a:lnTo>
                    <a:pt x="61" y="123"/>
                  </a:lnTo>
                  <a:lnTo>
                    <a:pt x="67" y="125"/>
                  </a:lnTo>
                  <a:lnTo>
                    <a:pt x="67" y="123"/>
                  </a:lnTo>
                  <a:lnTo>
                    <a:pt x="73" y="123"/>
                  </a:lnTo>
                  <a:lnTo>
                    <a:pt x="75" y="127"/>
                  </a:lnTo>
                  <a:lnTo>
                    <a:pt x="73" y="123"/>
                  </a:lnTo>
                  <a:lnTo>
                    <a:pt x="77" y="121"/>
                  </a:lnTo>
                  <a:lnTo>
                    <a:pt x="73" y="121"/>
                  </a:lnTo>
                  <a:lnTo>
                    <a:pt x="75" y="119"/>
                  </a:lnTo>
                  <a:lnTo>
                    <a:pt x="54" y="116"/>
                  </a:lnTo>
                  <a:lnTo>
                    <a:pt x="54" y="112"/>
                  </a:lnTo>
                  <a:lnTo>
                    <a:pt x="52" y="114"/>
                  </a:lnTo>
                  <a:lnTo>
                    <a:pt x="52" y="110"/>
                  </a:lnTo>
                  <a:lnTo>
                    <a:pt x="52" y="108"/>
                  </a:lnTo>
                  <a:lnTo>
                    <a:pt x="54" y="108"/>
                  </a:lnTo>
                  <a:lnTo>
                    <a:pt x="54" y="104"/>
                  </a:lnTo>
                  <a:lnTo>
                    <a:pt x="48" y="108"/>
                  </a:lnTo>
                  <a:lnTo>
                    <a:pt x="42" y="106"/>
                  </a:lnTo>
                  <a:lnTo>
                    <a:pt x="44" y="104"/>
                  </a:lnTo>
                  <a:lnTo>
                    <a:pt x="48" y="102"/>
                  </a:lnTo>
                  <a:lnTo>
                    <a:pt x="44" y="102"/>
                  </a:lnTo>
                  <a:lnTo>
                    <a:pt x="44" y="100"/>
                  </a:lnTo>
                  <a:lnTo>
                    <a:pt x="42" y="102"/>
                  </a:lnTo>
                  <a:lnTo>
                    <a:pt x="38" y="100"/>
                  </a:lnTo>
                  <a:lnTo>
                    <a:pt x="34" y="98"/>
                  </a:lnTo>
                  <a:lnTo>
                    <a:pt x="36" y="96"/>
                  </a:lnTo>
                  <a:lnTo>
                    <a:pt x="40" y="96"/>
                  </a:lnTo>
                  <a:lnTo>
                    <a:pt x="36" y="89"/>
                  </a:lnTo>
                  <a:lnTo>
                    <a:pt x="42" y="89"/>
                  </a:lnTo>
                  <a:lnTo>
                    <a:pt x="42" y="87"/>
                  </a:lnTo>
                  <a:lnTo>
                    <a:pt x="48" y="89"/>
                  </a:lnTo>
                  <a:lnTo>
                    <a:pt x="48" y="85"/>
                  </a:lnTo>
                  <a:lnTo>
                    <a:pt x="50" y="79"/>
                  </a:lnTo>
                  <a:lnTo>
                    <a:pt x="61" y="79"/>
                  </a:lnTo>
                  <a:lnTo>
                    <a:pt x="59" y="77"/>
                  </a:lnTo>
                  <a:lnTo>
                    <a:pt x="63" y="77"/>
                  </a:lnTo>
                  <a:lnTo>
                    <a:pt x="63" y="73"/>
                  </a:lnTo>
                  <a:lnTo>
                    <a:pt x="50" y="71"/>
                  </a:lnTo>
                  <a:lnTo>
                    <a:pt x="52" y="67"/>
                  </a:lnTo>
                  <a:lnTo>
                    <a:pt x="56" y="67"/>
                  </a:lnTo>
                  <a:lnTo>
                    <a:pt x="56" y="64"/>
                  </a:lnTo>
                  <a:lnTo>
                    <a:pt x="54" y="64"/>
                  </a:lnTo>
                  <a:lnTo>
                    <a:pt x="58" y="58"/>
                  </a:lnTo>
                  <a:lnTo>
                    <a:pt x="52" y="60"/>
                  </a:lnTo>
                  <a:lnTo>
                    <a:pt x="52" y="58"/>
                  </a:lnTo>
                  <a:lnTo>
                    <a:pt x="56" y="56"/>
                  </a:lnTo>
                  <a:lnTo>
                    <a:pt x="54" y="54"/>
                  </a:lnTo>
                  <a:lnTo>
                    <a:pt x="56" y="52"/>
                  </a:lnTo>
                  <a:lnTo>
                    <a:pt x="54" y="48"/>
                  </a:lnTo>
                  <a:lnTo>
                    <a:pt x="50" y="52"/>
                  </a:lnTo>
                  <a:lnTo>
                    <a:pt x="50" y="56"/>
                  </a:lnTo>
                  <a:lnTo>
                    <a:pt x="48" y="56"/>
                  </a:lnTo>
                  <a:lnTo>
                    <a:pt x="52" y="48"/>
                  </a:lnTo>
                  <a:lnTo>
                    <a:pt x="52" y="46"/>
                  </a:lnTo>
                  <a:lnTo>
                    <a:pt x="56" y="44"/>
                  </a:lnTo>
                  <a:lnTo>
                    <a:pt x="58" y="48"/>
                  </a:lnTo>
                  <a:lnTo>
                    <a:pt x="56" y="50"/>
                  </a:lnTo>
                  <a:lnTo>
                    <a:pt x="59" y="50"/>
                  </a:lnTo>
                  <a:lnTo>
                    <a:pt x="59" y="46"/>
                  </a:lnTo>
                  <a:lnTo>
                    <a:pt x="61" y="46"/>
                  </a:lnTo>
                  <a:lnTo>
                    <a:pt x="59" y="46"/>
                  </a:lnTo>
                  <a:lnTo>
                    <a:pt x="63" y="44"/>
                  </a:lnTo>
                  <a:lnTo>
                    <a:pt x="77" y="50"/>
                  </a:lnTo>
                  <a:lnTo>
                    <a:pt x="79" y="48"/>
                  </a:lnTo>
                  <a:lnTo>
                    <a:pt x="81" y="50"/>
                  </a:lnTo>
                  <a:lnTo>
                    <a:pt x="81" y="52"/>
                  </a:lnTo>
                  <a:lnTo>
                    <a:pt x="83" y="52"/>
                  </a:lnTo>
                  <a:lnTo>
                    <a:pt x="81" y="58"/>
                  </a:lnTo>
                  <a:lnTo>
                    <a:pt x="84" y="62"/>
                  </a:lnTo>
                  <a:lnTo>
                    <a:pt x="84" y="58"/>
                  </a:lnTo>
                  <a:lnTo>
                    <a:pt x="88" y="54"/>
                  </a:lnTo>
                  <a:lnTo>
                    <a:pt x="94" y="58"/>
                  </a:lnTo>
                  <a:lnTo>
                    <a:pt x="102" y="58"/>
                  </a:lnTo>
                  <a:lnTo>
                    <a:pt x="104" y="64"/>
                  </a:lnTo>
                  <a:lnTo>
                    <a:pt x="104" y="62"/>
                  </a:lnTo>
                  <a:lnTo>
                    <a:pt x="102" y="60"/>
                  </a:lnTo>
                  <a:lnTo>
                    <a:pt x="104" y="58"/>
                  </a:lnTo>
                  <a:lnTo>
                    <a:pt x="107" y="60"/>
                  </a:lnTo>
                  <a:lnTo>
                    <a:pt x="106" y="56"/>
                  </a:lnTo>
                  <a:lnTo>
                    <a:pt x="102" y="54"/>
                  </a:lnTo>
                  <a:lnTo>
                    <a:pt x="111" y="48"/>
                  </a:lnTo>
                  <a:lnTo>
                    <a:pt x="119" y="50"/>
                  </a:lnTo>
                  <a:lnTo>
                    <a:pt x="117" y="48"/>
                  </a:lnTo>
                  <a:lnTo>
                    <a:pt x="121" y="48"/>
                  </a:lnTo>
                  <a:lnTo>
                    <a:pt x="119" y="46"/>
                  </a:lnTo>
                  <a:lnTo>
                    <a:pt x="123" y="42"/>
                  </a:lnTo>
                  <a:lnTo>
                    <a:pt x="123" y="39"/>
                  </a:lnTo>
                  <a:lnTo>
                    <a:pt x="119" y="41"/>
                  </a:lnTo>
                  <a:lnTo>
                    <a:pt x="121" y="39"/>
                  </a:lnTo>
                  <a:lnTo>
                    <a:pt x="115" y="41"/>
                  </a:lnTo>
                  <a:lnTo>
                    <a:pt x="115" y="37"/>
                  </a:lnTo>
                  <a:lnTo>
                    <a:pt x="111" y="39"/>
                  </a:lnTo>
                  <a:lnTo>
                    <a:pt x="113" y="37"/>
                  </a:lnTo>
                  <a:lnTo>
                    <a:pt x="109" y="39"/>
                  </a:lnTo>
                  <a:lnTo>
                    <a:pt x="102" y="33"/>
                  </a:lnTo>
                  <a:lnTo>
                    <a:pt x="104" y="29"/>
                  </a:lnTo>
                  <a:lnTo>
                    <a:pt x="106" y="31"/>
                  </a:lnTo>
                  <a:lnTo>
                    <a:pt x="106" y="29"/>
                  </a:lnTo>
                  <a:lnTo>
                    <a:pt x="115" y="27"/>
                  </a:lnTo>
                  <a:lnTo>
                    <a:pt x="115" y="25"/>
                  </a:lnTo>
                  <a:lnTo>
                    <a:pt x="119" y="25"/>
                  </a:lnTo>
                  <a:lnTo>
                    <a:pt x="119" y="23"/>
                  </a:lnTo>
                  <a:lnTo>
                    <a:pt x="123" y="23"/>
                  </a:lnTo>
                  <a:lnTo>
                    <a:pt x="121" y="21"/>
                  </a:lnTo>
                  <a:lnTo>
                    <a:pt x="117" y="21"/>
                  </a:lnTo>
                  <a:lnTo>
                    <a:pt x="119" y="14"/>
                  </a:lnTo>
                  <a:lnTo>
                    <a:pt x="121" y="16"/>
                  </a:lnTo>
                  <a:lnTo>
                    <a:pt x="123" y="12"/>
                  </a:lnTo>
                  <a:lnTo>
                    <a:pt x="123" y="14"/>
                  </a:lnTo>
                  <a:lnTo>
                    <a:pt x="127" y="6"/>
                  </a:lnTo>
                  <a:lnTo>
                    <a:pt x="136" y="8"/>
                  </a:lnTo>
                  <a:lnTo>
                    <a:pt x="138" y="4"/>
                  </a:lnTo>
                  <a:lnTo>
                    <a:pt x="140" y="6"/>
                  </a:lnTo>
                  <a:lnTo>
                    <a:pt x="142" y="10"/>
                  </a:lnTo>
                  <a:lnTo>
                    <a:pt x="142" y="6"/>
                  </a:lnTo>
                  <a:lnTo>
                    <a:pt x="146" y="4"/>
                  </a:lnTo>
                  <a:lnTo>
                    <a:pt x="146" y="8"/>
                  </a:lnTo>
                  <a:lnTo>
                    <a:pt x="148" y="14"/>
                  </a:lnTo>
                  <a:lnTo>
                    <a:pt x="148" y="6"/>
                  </a:lnTo>
                  <a:lnTo>
                    <a:pt x="146" y="8"/>
                  </a:lnTo>
                  <a:lnTo>
                    <a:pt x="148" y="4"/>
                  </a:lnTo>
                  <a:lnTo>
                    <a:pt x="152" y="4"/>
                  </a:lnTo>
                  <a:lnTo>
                    <a:pt x="152" y="8"/>
                  </a:lnTo>
                  <a:lnTo>
                    <a:pt x="154" y="14"/>
                  </a:lnTo>
                  <a:lnTo>
                    <a:pt x="148" y="18"/>
                  </a:lnTo>
                  <a:lnTo>
                    <a:pt x="148" y="23"/>
                  </a:lnTo>
                  <a:lnTo>
                    <a:pt x="156" y="14"/>
                  </a:lnTo>
                  <a:lnTo>
                    <a:pt x="154" y="10"/>
                  </a:lnTo>
                  <a:lnTo>
                    <a:pt x="156" y="4"/>
                  </a:lnTo>
                  <a:lnTo>
                    <a:pt x="159" y="6"/>
                  </a:lnTo>
                  <a:lnTo>
                    <a:pt x="161" y="4"/>
                  </a:lnTo>
                  <a:lnTo>
                    <a:pt x="161" y="0"/>
                  </a:lnTo>
                  <a:lnTo>
                    <a:pt x="169" y="4"/>
                  </a:lnTo>
                  <a:lnTo>
                    <a:pt x="169" y="6"/>
                  </a:lnTo>
                  <a:lnTo>
                    <a:pt x="175" y="12"/>
                  </a:lnTo>
                  <a:lnTo>
                    <a:pt x="165" y="16"/>
                  </a:lnTo>
                  <a:lnTo>
                    <a:pt x="161" y="21"/>
                  </a:lnTo>
                  <a:lnTo>
                    <a:pt x="154" y="27"/>
                  </a:lnTo>
                  <a:lnTo>
                    <a:pt x="150" y="35"/>
                  </a:lnTo>
                  <a:lnTo>
                    <a:pt x="148" y="35"/>
                  </a:lnTo>
                  <a:lnTo>
                    <a:pt x="148" y="39"/>
                  </a:lnTo>
                  <a:lnTo>
                    <a:pt x="144" y="37"/>
                  </a:lnTo>
                  <a:lnTo>
                    <a:pt x="140" y="39"/>
                  </a:lnTo>
                  <a:lnTo>
                    <a:pt x="136" y="37"/>
                  </a:lnTo>
                  <a:lnTo>
                    <a:pt x="134" y="42"/>
                  </a:lnTo>
                  <a:lnTo>
                    <a:pt x="140" y="44"/>
                  </a:lnTo>
                  <a:lnTo>
                    <a:pt x="134" y="48"/>
                  </a:lnTo>
                  <a:lnTo>
                    <a:pt x="129" y="46"/>
                  </a:lnTo>
                  <a:lnTo>
                    <a:pt x="125" y="50"/>
                  </a:lnTo>
                  <a:lnTo>
                    <a:pt x="121" y="50"/>
                  </a:lnTo>
                  <a:lnTo>
                    <a:pt x="121" y="52"/>
                  </a:lnTo>
                  <a:lnTo>
                    <a:pt x="129" y="64"/>
                  </a:lnTo>
                  <a:lnTo>
                    <a:pt x="129" y="69"/>
                  </a:lnTo>
                  <a:lnTo>
                    <a:pt x="134" y="69"/>
                  </a:lnTo>
                  <a:lnTo>
                    <a:pt x="134" y="75"/>
                  </a:lnTo>
                  <a:lnTo>
                    <a:pt x="140" y="77"/>
                  </a:lnTo>
                  <a:lnTo>
                    <a:pt x="142" y="75"/>
                  </a:lnTo>
                  <a:lnTo>
                    <a:pt x="146" y="81"/>
                  </a:lnTo>
                  <a:lnTo>
                    <a:pt x="146" y="77"/>
                  </a:lnTo>
                  <a:lnTo>
                    <a:pt x="148" y="75"/>
                  </a:lnTo>
                  <a:lnTo>
                    <a:pt x="148" y="79"/>
                  </a:lnTo>
                  <a:lnTo>
                    <a:pt x="150" y="73"/>
                  </a:lnTo>
                  <a:lnTo>
                    <a:pt x="152" y="75"/>
                  </a:lnTo>
                  <a:lnTo>
                    <a:pt x="154" y="71"/>
                  </a:lnTo>
                  <a:lnTo>
                    <a:pt x="152" y="69"/>
                  </a:lnTo>
                  <a:lnTo>
                    <a:pt x="159" y="62"/>
                  </a:lnTo>
                  <a:lnTo>
                    <a:pt x="161" y="64"/>
                  </a:lnTo>
                  <a:lnTo>
                    <a:pt x="167" y="79"/>
                  </a:lnTo>
                  <a:lnTo>
                    <a:pt x="169" y="81"/>
                  </a:lnTo>
                  <a:lnTo>
                    <a:pt x="169" y="89"/>
                  </a:lnTo>
                  <a:lnTo>
                    <a:pt x="179" y="89"/>
                  </a:lnTo>
                  <a:lnTo>
                    <a:pt x="179" y="87"/>
                  </a:lnTo>
                  <a:lnTo>
                    <a:pt x="181" y="89"/>
                  </a:lnTo>
                  <a:lnTo>
                    <a:pt x="184" y="94"/>
                  </a:lnTo>
                  <a:lnTo>
                    <a:pt x="186" y="96"/>
                  </a:lnTo>
                  <a:lnTo>
                    <a:pt x="184" y="96"/>
                  </a:lnTo>
                  <a:lnTo>
                    <a:pt x="179" y="94"/>
                  </a:lnTo>
                  <a:lnTo>
                    <a:pt x="177" y="96"/>
                  </a:lnTo>
                  <a:lnTo>
                    <a:pt x="175" y="100"/>
                  </a:lnTo>
                  <a:lnTo>
                    <a:pt x="179" y="104"/>
                  </a:lnTo>
                  <a:lnTo>
                    <a:pt x="179" y="108"/>
                  </a:lnTo>
                  <a:lnTo>
                    <a:pt x="179" y="114"/>
                  </a:lnTo>
                  <a:lnTo>
                    <a:pt x="177" y="116"/>
                  </a:lnTo>
                  <a:lnTo>
                    <a:pt x="179" y="121"/>
                  </a:lnTo>
                  <a:lnTo>
                    <a:pt x="181" y="121"/>
                  </a:lnTo>
                  <a:lnTo>
                    <a:pt x="181" y="123"/>
                  </a:lnTo>
                  <a:lnTo>
                    <a:pt x="177" y="131"/>
                  </a:lnTo>
                  <a:lnTo>
                    <a:pt x="179" y="135"/>
                  </a:lnTo>
                  <a:lnTo>
                    <a:pt x="181" y="135"/>
                  </a:lnTo>
                  <a:lnTo>
                    <a:pt x="179" y="137"/>
                  </a:lnTo>
                  <a:lnTo>
                    <a:pt x="177" y="135"/>
                  </a:lnTo>
                  <a:lnTo>
                    <a:pt x="173" y="135"/>
                  </a:lnTo>
                  <a:lnTo>
                    <a:pt x="175" y="137"/>
                  </a:lnTo>
                  <a:lnTo>
                    <a:pt x="173" y="137"/>
                  </a:lnTo>
                  <a:lnTo>
                    <a:pt x="173" y="139"/>
                  </a:lnTo>
                  <a:lnTo>
                    <a:pt x="177" y="142"/>
                  </a:lnTo>
                  <a:lnTo>
                    <a:pt x="175" y="142"/>
                  </a:lnTo>
                  <a:lnTo>
                    <a:pt x="175" y="146"/>
                  </a:lnTo>
                  <a:lnTo>
                    <a:pt x="177" y="152"/>
                  </a:lnTo>
                  <a:lnTo>
                    <a:pt x="175" y="160"/>
                  </a:lnTo>
                  <a:lnTo>
                    <a:pt x="175" y="162"/>
                  </a:lnTo>
                  <a:lnTo>
                    <a:pt x="173" y="167"/>
                  </a:lnTo>
                  <a:lnTo>
                    <a:pt x="167" y="171"/>
                  </a:lnTo>
                  <a:lnTo>
                    <a:pt x="167" y="179"/>
                  </a:lnTo>
                  <a:lnTo>
                    <a:pt x="163" y="181"/>
                  </a:lnTo>
                  <a:lnTo>
                    <a:pt x="163" y="187"/>
                  </a:lnTo>
                  <a:lnTo>
                    <a:pt x="154" y="196"/>
                  </a:lnTo>
                  <a:lnTo>
                    <a:pt x="154" y="198"/>
                  </a:lnTo>
                  <a:lnTo>
                    <a:pt x="152" y="196"/>
                  </a:lnTo>
                  <a:lnTo>
                    <a:pt x="150" y="198"/>
                  </a:lnTo>
                  <a:lnTo>
                    <a:pt x="152" y="202"/>
                  </a:lnTo>
                  <a:lnTo>
                    <a:pt x="154" y="200"/>
                  </a:lnTo>
                  <a:lnTo>
                    <a:pt x="152" y="202"/>
                  </a:lnTo>
                  <a:lnTo>
                    <a:pt x="154" y="206"/>
                  </a:lnTo>
                  <a:lnTo>
                    <a:pt x="152" y="210"/>
                  </a:lnTo>
                  <a:lnTo>
                    <a:pt x="148" y="206"/>
                  </a:lnTo>
                  <a:lnTo>
                    <a:pt x="142" y="208"/>
                  </a:lnTo>
                  <a:lnTo>
                    <a:pt x="142" y="206"/>
                  </a:lnTo>
                  <a:lnTo>
                    <a:pt x="136" y="204"/>
                  </a:lnTo>
                  <a:lnTo>
                    <a:pt x="138" y="202"/>
                  </a:lnTo>
                  <a:lnTo>
                    <a:pt x="134" y="202"/>
                  </a:lnTo>
                  <a:lnTo>
                    <a:pt x="134" y="206"/>
                  </a:lnTo>
                  <a:lnTo>
                    <a:pt x="131" y="208"/>
                  </a:lnTo>
                  <a:lnTo>
                    <a:pt x="131" y="202"/>
                  </a:lnTo>
                  <a:lnTo>
                    <a:pt x="129" y="206"/>
                  </a:lnTo>
                  <a:lnTo>
                    <a:pt x="123" y="206"/>
                  </a:lnTo>
                  <a:lnTo>
                    <a:pt x="125" y="204"/>
                  </a:lnTo>
                  <a:lnTo>
                    <a:pt x="123" y="204"/>
                  </a:lnTo>
                  <a:lnTo>
                    <a:pt x="121" y="204"/>
                  </a:lnTo>
                  <a:lnTo>
                    <a:pt x="115" y="204"/>
                  </a:lnTo>
                  <a:lnTo>
                    <a:pt x="106" y="206"/>
                  </a:lnTo>
                  <a:lnTo>
                    <a:pt x="106" y="204"/>
                  </a:lnTo>
                  <a:lnTo>
                    <a:pt x="104" y="206"/>
                  </a:lnTo>
                  <a:lnTo>
                    <a:pt x="107" y="208"/>
                  </a:lnTo>
                  <a:lnTo>
                    <a:pt x="104" y="210"/>
                  </a:lnTo>
                  <a:lnTo>
                    <a:pt x="98" y="212"/>
                  </a:lnTo>
                  <a:lnTo>
                    <a:pt x="96" y="212"/>
                  </a:lnTo>
                  <a:lnTo>
                    <a:pt x="94" y="212"/>
                  </a:lnTo>
                  <a:lnTo>
                    <a:pt x="92" y="215"/>
                  </a:lnTo>
                  <a:lnTo>
                    <a:pt x="86" y="215"/>
                  </a:lnTo>
                  <a:lnTo>
                    <a:pt x="84" y="217"/>
                  </a:lnTo>
                  <a:lnTo>
                    <a:pt x="79" y="217"/>
                  </a:lnTo>
                  <a:lnTo>
                    <a:pt x="77" y="217"/>
                  </a:lnTo>
                  <a:lnTo>
                    <a:pt x="81" y="215"/>
                  </a:lnTo>
                  <a:lnTo>
                    <a:pt x="81" y="212"/>
                  </a:lnTo>
                  <a:lnTo>
                    <a:pt x="75" y="210"/>
                  </a:lnTo>
                  <a:lnTo>
                    <a:pt x="73" y="221"/>
                  </a:lnTo>
                  <a:lnTo>
                    <a:pt x="65" y="221"/>
                  </a:lnTo>
                  <a:lnTo>
                    <a:pt x="63" y="227"/>
                  </a:lnTo>
                  <a:lnTo>
                    <a:pt x="61" y="223"/>
                  </a:lnTo>
                  <a:lnTo>
                    <a:pt x="58" y="223"/>
                  </a:lnTo>
                  <a:lnTo>
                    <a:pt x="56" y="227"/>
                  </a:lnTo>
                  <a:lnTo>
                    <a:pt x="52" y="225"/>
                  </a:lnTo>
                  <a:lnTo>
                    <a:pt x="46" y="227"/>
                  </a:lnTo>
                  <a:lnTo>
                    <a:pt x="46" y="225"/>
                  </a:lnTo>
                  <a:lnTo>
                    <a:pt x="44" y="223"/>
                  </a:lnTo>
                  <a:lnTo>
                    <a:pt x="44" y="225"/>
                  </a:lnTo>
                  <a:lnTo>
                    <a:pt x="36" y="227"/>
                  </a:lnTo>
                  <a:lnTo>
                    <a:pt x="33" y="225"/>
                  </a:lnTo>
                  <a:lnTo>
                    <a:pt x="33" y="229"/>
                  </a:lnTo>
                  <a:lnTo>
                    <a:pt x="31" y="227"/>
                  </a:lnTo>
                  <a:lnTo>
                    <a:pt x="33" y="223"/>
                  </a:lnTo>
                  <a:lnTo>
                    <a:pt x="29" y="225"/>
                  </a:lnTo>
                  <a:lnTo>
                    <a:pt x="31" y="221"/>
                  </a:lnTo>
                  <a:lnTo>
                    <a:pt x="29" y="221"/>
                  </a:lnTo>
                  <a:lnTo>
                    <a:pt x="29" y="223"/>
                  </a:lnTo>
                  <a:lnTo>
                    <a:pt x="21" y="223"/>
                  </a:lnTo>
                  <a:lnTo>
                    <a:pt x="21" y="221"/>
                  </a:lnTo>
                  <a:lnTo>
                    <a:pt x="17" y="223"/>
                  </a:lnTo>
                  <a:lnTo>
                    <a:pt x="15" y="225"/>
                  </a:lnTo>
                  <a:lnTo>
                    <a:pt x="15" y="223"/>
                  </a:lnTo>
                  <a:lnTo>
                    <a:pt x="13" y="225"/>
                  </a:lnTo>
                  <a:lnTo>
                    <a:pt x="13" y="221"/>
                  </a:lnTo>
                  <a:lnTo>
                    <a:pt x="21" y="219"/>
                  </a:lnTo>
                  <a:lnTo>
                    <a:pt x="27" y="215"/>
                  </a:lnTo>
                  <a:lnTo>
                    <a:pt x="13" y="217"/>
                  </a:lnTo>
                  <a:lnTo>
                    <a:pt x="23" y="213"/>
                  </a:lnTo>
                  <a:lnTo>
                    <a:pt x="31" y="213"/>
                  </a:lnTo>
                  <a:lnTo>
                    <a:pt x="31" y="210"/>
                  </a:lnTo>
                  <a:lnTo>
                    <a:pt x="29" y="208"/>
                  </a:lnTo>
                  <a:lnTo>
                    <a:pt x="25" y="212"/>
                  </a:lnTo>
                  <a:lnTo>
                    <a:pt x="21" y="210"/>
                  </a:lnTo>
                  <a:lnTo>
                    <a:pt x="21" y="212"/>
                  </a:lnTo>
                  <a:lnTo>
                    <a:pt x="13" y="210"/>
                  </a:lnTo>
                  <a:lnTo>
                    <a:pt x="11" y="212"/>
                  </a:lnTo>
                  <a:lnTo>
                    <a:pt x="4" y="212"/>
                  </a:lnTo>
                  <a:lnTo>
                    <a:pt x="4" y="210"/>
                  </a:lnTo>
                  <a:lnTo>
                    <a:pt x="8" y="210"/>
                  </a:lnTo>
                  <a:lnTo>
                    <a:pt x="23" y="200"/>
                  </a:lnTo>
                  <a:lnTo>
                    <a:pt x="29" y="200"/>
                  </a:lnTo>
                  <a:lnTo>
                    <a:pt x="8" y="202"/>
                  </a:lnTo>
                  <a:lnTo>
                    <a:pt x="6" y="200"/>
                  </a:lnTo>
                  <a:lnTo>
                    <a:pt x="8" y="194"/>
                  </a:lnTo>
                  <a:lnTo>
                    <a:pt x="0" y="198"/>
                  </a:lnTo>
                  <a:lnTo>
                    <a:pt x="0" y="190"/>
                  </a:lnTo>
                  <a:lnTo>
                    <a:pt x="4" y="190"/>
                  </a:lnTo>
                  <a:lnTo>
                    <a:pt x="8" y="187"/>
                  </a:lnTo>
                  <a:lnTo>
                    <a:pt x="19" y="183"/>
                  </a:lnTo>
                  <a:lnTo>
                    <a:pt x="23" y="181"/>
                  </a:lnTo>
                  <a:lnTo>
                    <a:pt x="25" y="183"/>
                  </a:lnTo>
                  <a:lnTo>
                    <a:pt x="25" y="181"/>
                  </a:lnTo>
                  <a:lnTo>
                    <a:pt x="19" y="179"/>
                  </a:lnTo>
                  <a:lnTo>
                    <a:pt x="21" y="181"/>
                  </a:lnTo>
                  <a:lnTo>
                    <a:pt x="19" y="179"/>
                  </a:lnTo>
                  <a:lnTo>
                    <a:pt x="11" y="179"/>
                  </a:lnTo>
                  <a:lnTo>
                    <a:pt x="11" y="177"/>
                  </a:lnTo>
                  <a:lnTo>
                    <a:pt x="9" y="177"/>
                  </a:lnTo>
                  <a:lnTo>
                    <a:pt x="8" y="177"/>
                  </a:lnTo>
                  <a:lnTo>
                    <a:pt x="6" y="175"/>
                  </a:lnTo>
                  <a:lnTo>
                    <a:pt x="2" y="177"/>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67" name="Freeform 255"/>
            <p:cNvSpPr>
              <a:spLocks/>
            </p:cNvSpPr>
            <p:nvPr/>
          </p:nvSpPr>
          <p:spPr bwMode="auto">
            <a:xfrm>
              <a:off x="1741" y="2202"/>
              <a:ext cx="10" cy="9"/>
            </a:xfrm>
            <a:custGeom>
              <a:avLst/>
              <a:gdLst>
                <a:gd name="T0" fmla="*/ 0 w 10"/>
                <a:gd name="T1" fmla="*/ 0 h 9"/>
                <a:gd name="T2" fmla="*/ 4 w 10"/>
                <a:gd name="T3" fmla="*/ 2 h 9"/>
                <a:gd name="T4" fmla="*/ 4 w 10"/>
                <a:gd name="T5" fmla="*/ 5 h 9"/>
                <a:gd name="T6" fmla="*/ 8 w 10"/>
                <a:gd name="T7" fmla="*/ 9 h 9"/>
                <a:gd name="T8" fmla="*/ 10 w 10"/>
                <a:gd name="T9" fmla="*/ 4 h 9"/>
                <a:gd name="T10" fmla="*/ 10 w 10"/>
                <a:gd name="T11" fmla="*/ 2 h 9"/>
                <a:gd name="T12" fmla="*/ 10 w 10"/>
                <a:gd name="T13" fmla="*/ 0 h 9"/>
                <a:gd name="T14" fmla="*/ 0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0" y="0"/>
                  </a:moveTo>
                  <a:lnTo>
                    <a:pt x="4" y="2"/>
                  </a:lnTo>
                  <a:lnTo>
                    <a:pt x="4" y="5"/>
                  </a:lnTo>
                  <a:lnTo>
                    <a:pt x="8" y="9"/>
                  </a:lnTo>
                  <a:lnTo>
                    <a:pt x="10" y="4"/>
                  </a:lnTo>
                  <a:lnTo>
                    <a:pt x="10" y="2"/>
                  </a:lnTo>
                  <a:lnTo>
                    <a:pt x="10"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68" name="Rectangle 256"/>
            <p:cNvSpPr>
              <a:spLocks noChangeArrowheads="1"/>
            </p:cNvSpPr>
            <p:nvPr/>
          </p:nvSpPr>
          <p:spPr bwMode="auto">
            <a:xfrm>
              <a:off x="1747" y="2252"/>
              <a:ext cx="2" cy="2"/>
            </a:xfrm>
            <a:prstGeom prst="rect">
              <a:avLst/>
            </a:prstGeom>
            <a:grpFill/>
            <a:ln w="3175">
              <a:solidFill>
                <a:schemeClr val="bg2"/>
              </a:solidFill>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469" name="Freeform 257"/>
            <p:cNvSpPr>
              <a:spLocks/>
            </p:cNvSpPr>
            <p:nvPr/>
          </p:nvSpPr>
          <p:spPr bwMode="auto">
            <a:xfrm>
              <a:off x="1774" y="2352"/>
              <a:ext cx="4" cy="1"/>
            </a:xfrm>
            <a:custGeom>
              <a:avLst/>
              <a:gdLst>
                <a:gd name="T0" fmla="*/ 0 w 4"/>
                <a:gd name="T1" fmla="*/ 1 h 1"/>
                <a:gd name="T2" fmla="*/ 0 w 4"/>
                <a:gd name="T3" fmla="*/ 0 h 1"/>
                <a:gd name="T4" fmla="*/ 4 w 4"/>
                <a:gd name="T5" fmla="*/ 1 h 1"/>
                <a:gd name="T6" fmla="*/ 0 w 4"/>
                <a:gd name="T7" fmla="*/ 1 h 1"/>
              </a:gdLst>
              <a:ahLst/>
              <a:cxnLst>
                <a:cxn ang="0">
                  <a:pos x="T0" y="T1"/>
                </a:cxn>
                <a:cxn ang="0">
                  <a:pos x="T2" y="T3"/>
                </a:cxn>
                <a:cxn ang="0">
                  <a:pos x="T4" y="T5"/>
                </a:cxn>
                <a:cxn ang="0">
                  <a:pos x="T6" y="T7"/>
                </a:cxn>
              </a:cxnLst>
              <a:rect l="0" t="0" r="r" b="b"/>
              <a:pathLst>
                <a:path w="4" h="1">
                  <a:moveTo>
                    <a:pt x="0" y="1"/>
                  </a:moveTo>
                  <a:lnTo>
                    <a:pt x="0" y="0"/>
                  </a:lnTo>
                  <a:lnTo>
                    <a:pt x="4" y="1"/>
                  </a:lnTo>
                  <a:lnTo>
                    <a:pt x="0" y="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0" name="Freeform 258"/>
            <p:cNvSpPr>
              <a:spLocks/>
            </p:cNvSpPr>
            <p:nvPr/>
          </p:nvSpPr>
          <p:spPr bwMode="auto">
            <a:xfrm>
              <a:off x="1741" y="2257"/>
              <a:ext cx="6" cy="4"/>
            </a:xfrm>
            <a:custGeom>
              <a:avLst/>
              <a:gdLst>
                <a:gd name="T0" fmla="*/ 0 w 6"/>
                <a:gd name="T1" fmla="*/ 0 h 4"/>
                <a:gd name="T2" fmla="*/ 6 w 6"/>
                <a:gd name="T3" fmla="*/ 4 h 4"/>
                <a:gd name="T4" fmla="*/ 4 w 6"/>
                <a:gd name="T5" fmla="*/ 4 h 4"/>
                <a:gd name="T6" fmla="*/ 6 w 6"/>
                <a:gd name="T7" fmla="*/ 4 h 4"/>
                <a:gd name="T8" fmla="*/ 0 w 6"/>
                <a:gd name="T9" fmla="*/ 0 h 4"/>
              </a:gdLst>
              <a:ahLst/>
              <a:cxnLst>
                <a:cxn ang="0">
                  <a:pos x="T0" y="T1"/>
                </a:cxn>
                <a:cxn ang="0">
                  <a:pos x="T2" y="T3"/>
                </a:cxn>
                <a:cxn ang="0">
                  <a:pos x="T4" y="T5"/>
                </a:cxn>
                <a:cxn ang="0">
                  <a:pos x="T6" y="T7"/>
                </a:cxn>
                <a:cxn ang="0">
                  <a:pos x="T8" y="T9"/>
                </a:cxn>
              </a:cxnLst>
              <a:rect l="0" t="0" r="r" b="b"/>
              <a:pathLst>
                <a:path w="6" h="4">
                  <a:moveTo>
                    <a:pt x="0" y="0"/>
                  </a:moveTo>
                  <a:lnTo>
                    <a:pt x="6" y="4"/>
                  </a:lnTo>
                  <a:lnTo>
                    <a:pt x="4" y="4"/>
                  </a:lnTo>
                  <a:lnTo>
                    <a:pt x="6" y="4"/>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1" name="Freeform 259"/>
            <p:cNvSpPr>
              <a:spLocks/>
            </p:cNvSpPr>
            <p:nvPr/>
          </p:nvSpPr>
          <p:spPr bwMode="auto">
            <a:xfrm>
              <a:off x="1743" y="2213"/>
              <a:ext cx="4" cy="2"/>
            </a:xfrm>
            <a:custGeom>
              <a:avLst/>
              <a:gdLst>
                <a:gd name="T0" fmla="*/ 0 w 4"/>
                <a:gd name="T1" fmla="*/ 2 h 2"/>
                <a:gd name="T2" fmla="*/ 4 w 4"/>
                <a:gd name="T3" fmla="*/ 0 h 2"/>
                <a:gd name="T4" fmla="*/ 4 w 4"/>
                <a:gd name="T5" fmla="*/ 2 h 2"/>
                <a:gd name="T6" fmla="*/ 0 w 4"/>
                <a:gd name="T7" fmla="*/ 2 h 2"/>
              </a:gdLst>
              <a:ahLst/>
              <a:cxnLst>
                <a:cxn ang="0">
                  <a:pos x="T0" y="T1"/>
                </a:cxn>
                <a:cxn ang="0">
                  <a:pos x="T2" y="T3"/>
                </a:cxn>
                <a:cxn ang="0">
                  <a:pos x="T4" y="T5"/>
                </a:cxn>
                <a:cxn ang="0">
                  <a:pos x="T6" y="T7"/>
                </a:cxn>
              </a:cxnLst>
              <a:rect l="0" t="0" r="r" b="b"/>
              <a:pathLst>
                <a:path w="4" h="2">
                  <a:moveTo>
                    <a:pt x="0" y="2"/>
                  </a:moveTo>
                  <a:lnTo>
                    <a:pt x="4" y="0"/>
                  </a:lnTo>
                  <a:lnTo>
                    <a:pt x="4" y="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2" name="Freeform 260"/>
            <p:cNvSpPr>
              <a:spLocks/>
            </p:cNvSpPr>
            <p:nvPr/>
          </p:nvSpPr>
          <p:spPr bwMode="auto">
            <a:xfrm>
              <a:off x="1712" y="2352"/>
              <a:ext cx="4" cy="1"/>
            </a:xfrm>
            <a:custGeom>
              <a:avLst/>
              <a:gdLst>
                <a:gd name="T0" fmla="*/ 0 w 4"/>
                <a:gd name="T1" fmla="*/ 0 h 1"/>
                <a:gd name="T2" fmla="*/ 4 w 4"/>
                <a:gd name="T3" fmla="*/ 1 h 1"/>
                <a:gd name="T4" fmla="*/ 0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4" y="1"/>
                  </a:lnTo>
                  <a:lnTo>
                    <a:pt x="0" y="1"/>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3" name="Freeform 261"/>
            <p:cNvSpPr>
              <a:spLocks/>
            </p:cNvSpPr>
            <p:nvPr/>
          </p:nvSpPr>
          <p:spPr bwMode="auto">
            <a:xfrm>
              <a:off x="1814" y="2152"/>
              <a:ext cx="2" cy="4"/>
            </a:xfrm>
            <a:custGeom>
              <a:avLst/>
              <a:gdLst>
                <a:gd name="T0" fmla="*/ 0 w 2"/>
                <a:gd name="T1" fmla="*/ 4 h 4"/>
                <a:gd name="T2" fmla="*/ 2 w 2"/>
                <a:gd name="T3" fmla="*/ 0 h 4"/>
                <a:gd name="T4" fmla="*/ 2 w 2"/>
                <a:gd name="T5" fmla="*/ 4 h 4"/>
                <a:gd name="T6" fmla="*/ 0 w 2"/>
                <a:gd name="T7" fmla="*/ 4 h 4"/>
              </a:gdLst>
              <a:ahLst/>
              <a:cxnLst>
                <a:cxn ang="0">
                  <a:pos x="T0" y="T1"/>
                </a:cxn>
                <a:cxn ang="0">
                  <a:pos x="T2" y="T3"/>
                </a:cxn>
                <a:cxn ang="0">
                  <a:pos x="T4" y="T5"/>
                </a:cxn>
                <a:cxn ang="0">
                  <a:pos x="T6" y="T7"/>
                </a:cxn>
              </a:cxnLst>
              <a:rect l="0" t="0" r="r" b="b"/>
              <a:pathLst>
                <a:path w="2" h="4">
                  <a:moveTo>
                    <a:pt x="0" y="4"/>
                  </a:moveTo>
                  <a:lnTo>
                    <a:pt x="2" y="0"/>
                  </a:lnTo>
                  <a:lnTo>
                    <a:pt x="2" y="4"/>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4" name="Freeform 262"/>
            <p:cNvSpPr>
              <a:spLocks/>
            </p:cNvSpPr>
            <p:nvPr/>
          </p:nvSpPr>
          <p:spPr bwMode="auto">
            <a:xfrm>
              <a:off x="1701" y="2329"/>
              <a:ext cx="2"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2" y="0"/>
                  </a:lnTo>
                  <a:lnTo>
                    <a:pt x="0" y="0"/>
                  </a:lnTo>
                  <a:lnTo>
                    <a:pt x="0" y="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5" name="Freeform 263"/>
            <p:cNvSpPr>
              <a:spLocks/>
            </p:cNvSpPr>
            <p:nvPr/>
          </p:nvSpPr>
          <p:spPr bwMode="auto">
            <a:xfrm>
              <a:off x="1695" y="2315"/>
              <a:ext cx="4" cy="2"/>
            </a:xfrm>
            <a:custGeom>
              <a:avLst/>
              <a:gdLst>
                <a:gd name="T0" fmla="*/ 0 w 4"/>
                <a:gd name="T1" fmla="*/ 2 h 2"/>
                <a:gd name="T2" fmla="*/ 4 w 4"/>
                <a:gd name="T3" fmla="*/ 2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4"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6" name="Freeform 264"/>
            <p:cNvSpPr>
              <a:spLocks/>
            </p:cNvSpPr>
            <p:nvPr/>
          </p:nvSpPr>
          <p:spPr bwMode="auto">
            <a:xfrm>
              <a:off x="1747" y="2263"/>
              <a:ext cx="2" cy="1"/>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7" name="Freeform 265"/>
            <p:cNvSpPr>
              <a:spLocks/>
            </p:cNvSpPr>
            <p:nvPr/>
          </p:nvSpPr>
          <p:spPr bwMode="auto">
            <a:xfrm>
              <a:off x="1699" y="2350"/>
              <a:ext cx="4" cy="2"/>
            </a:xfrm>
            <a:custGeom>
              <a:avLst/>
              <a:gdLst>
                <a:gd name="T0" fmla="*/ 0 w 4"/>
                <a:gd name="T1" fmla="*/ 2 h 2"/>
                <a:gd name="T2" fmla="*/ 4 w 4"/>
                <a:gd name="T3" fmla="*/ 2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4"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8" name="Freeform 266"/>
            <p:cNvSpPr>
              <a:spLocks/>
            </p:cNvSpPr>
            <p:nvPr/>
          </p:nvSpPr>
          <p:spPr bwMode="auto">
            <a:xfrm>
              <a:off x="1747" y="2250"/>
              <a:ext cx="4" cy="1"/>
            </a:xfrm>
            <a:custGeom>
              <a:avLst/>
              <a:gdLst>
                <a:gd name="T0" fmla="*/ 0 w 4"/>
                <a:gd name="T1" fmla="*/ 4 w 4"/>
                <a:gd name="T2" fmla="*/ 0 w 4"/>
              </a:gdLst>
              <a:ahLst/>
              <a:cxnLst>
                <a:cxn ang="0">
                  <a:pos x="T0" y="0"/>
                </a:cxn>
                <a:cxn ang="0">
                  <a:pos x="T1" y="0"/>
                </a:cxn>
                <a:cxn ang="0">
                  <a:pos x="T2" y="0"/>
                </a:cxn>
              </a:cxnLst>
              <a:rect l="0" t="0" r="r" b="b"/>
              <a:pathLst>
                <a:path w="4">
                  <a:moveTo>
                    <a:pt x="0" y="0"/>
                  </a:moveTo>
                  <a:lnTo>
                    <a:pt x="4"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79" name="Freeform 267"/>
            <p:cNvSpPr>
              <a:spLocks/>
            </p:cNvSpPr>
            <p:nvPr/>
          </p:nvSpPr>
          <p:spPr bwMode="auto">
            <a:xfrm>
              <a:off x="1739" y="2219"/>
              <a:ext cx="2" cy="2"/>
            </a:xfrm>
            <a:custGeom>
              <a:avLst/>
              <a:gdLst>
                <a:gd name="T0" fmla="*/ 0 w 2"/>
                <a:gd name="T1" fmla="*/ 2 h 2"/>
                <a:gd name="T2" fmla="*/ 2 w 2"/>
                <a:gd name="T3" fmla="*/ 2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0" name="Freeform 268"/>
            <p:cNvSpPr>
              <a:spLocks/>
            </p:cNvSpPr>
            <p:nvPr/>
          </p:nvSpPr>
          <p:spPr bwMode="auto">
            <a:xfrm>
              <a:off x="1724" y="2367"/>
              <a:ext cx="2" cy="2"/>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1" name="Freeform 269"/>
            <p:cNvSpPr>
              <a:spLocks/>
            </p:cNvSpPr>
            <p:nvPr/>
          </p:nvSpPr>
          <p:spPr bwMode="auto">
            <a:xfrm>
              <a:off x="1733" y="2225"/>
              <a:ext cx="2" cy="1"/>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2" name="Freeform 270"/>
            <p:cNvSpPr>
              <a:spLocks/>
            </p:cNvSpPr>
            <p:nvPr/>
          </p:nvSpPr>
          <p:spPr bwMode="auto">
            <a:xfrm>
              <a:off x="1749" y="2265"/>
              <a:ext cx="2" cy="2"/>
            </a:xfrm>
            <a:custGeom>
              <a:avLst/>
              <a:gdLst>
                <a:gd name="T0" fmla="*/ 0 w 2"/>
                <a:gd name="T1" fmla="*/ 2 h 2"/>
                <a:gd name="T2" fmla="*/ 2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2"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3" name="Freeform 271"/>
            <p:cNvSpPr>
              <a:spLocks/>
            </p:cNvSpPr>
            <p:nvPr/>
          </p:nvSpPr>
          <p:spPr bwMode="auto">
            <a:xfrm>
              <a:off x="1830" y="2138"/>
              <a:ext cx="1" cy="2"/>
            </a:xfrm>
            <a:custGeom>
              <a:avLst/>
              <a:gdLst>
                <a:gd name="T0" fmla="*/ 0 w 1"/>
                <a:gd name="T1" fmla="*/ 2 h 2"/>
                <a:gd name="T2" fmla="*/ 0 w 1"/>
                <a:gd name="T3" fmla="*/ 0 h 2"/>
                <a:gd name="T4" fmla="*/ 1 w 1"/>
                <a:gd name="T5" fmla="*/ 2 h 2"/>
                <a:gd name="T6" fmla="*/ 0 w 1"/>
                <a:gd name="T7" fmla="*/ 2 h 2"/>
              </a:gdLst>
              <a:ahLst/>
              <a:cxnLst>
                <a:cxn ang="0">
                  <a:pos x="T0" y="T1"/>
                </a:cxn>
                <a:cxn ang="0">
                  <a:pos x="T2" y="T3"/>
                </a:cxn>
                <a:cxn ang="0">
                  <a:pos x="T4" y="T5"/>
                </a:cxn>
                <a:cxn ang="0">
                  <a:pos x="T6" y="T7"/>
                </a:cxn>
              </a:cxnLst>
              <a:rect l="0" t="0" r="r" b="b"/>
              <a:pathLst>
                <a:path w="1" h="2">
                  <a:moveTo>
                    <a:pt x="0" y="2"/>
                  </a:moveTo>
                  <a:lnTo>
                    <a:pt x="0" y="0"/>
                  </a:lnTo>
                  <a:lnTo>
                    <a:pt x="1" y="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4" name="Freeform 272"/>
            <p:cNvSpPr>
              <a:spLocks/>
            </p:cNvSpPr>
            <p:nvPr/>
          </p:nvSpPr>
          <p:spPr bwMode="auto">
            <a:xfrm>
              <a:off x="1812" y="2181"/>
              <a:ext cx="2" cy="1"/>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5" name="Freeform 273"/>
            <p:cNvSpPr>
              <a:spLocks/>
            </p:cNvSpPr>
            <p:nvPr/>
          </p:nvSpPr>
          <p:spPr bwMode="auto">
            <a:xfrm>
              <a:off x="2060" y="3014"/>
              <a:ext cx="14" cy="16"/>
            </a:xfrm>
            <a:custGeom>
              <a:avLst/>
              <a:gdLst>
                <a:gd name="T0" fmla="*/ 2 w 14"/>
                <a:gd name="T1" fmla="*/ 4 h 16"/>
                <a:gd name="T2" fmla="*/ 2 w 14"/>
                <a:gd name="T3" fmla="*/ 6 h 16"/>
                <a:gd name="T4" fmla="*/ 0 w 14"/>
                <a:gd name="T5" fmla="*/ 6 h 16"/>
                <a:gd name="T6" fmla="*/ 0 w 14"/>
                <a:gd name="T7" fmla="*/ 8 h 16"/>
                <a:gd name="T8" fmla="*/ 2 w 14"/>
                <a:gd name="T9" fmla="*/ 8 h 16"/>
                <a:gd name="T10" fmla="*/ 2 w 14"/>
                <a:gd name="T11" fmla="*/ 10 h 16"/>
                <a:gd name="T12" fmla="*/ 0 w 14"/>
                <a:gd name="T13" fmla="*/ 10 h 16"/>
                <a:gd name="T14" fmla="*/ 0 w 14"/>
                <a:gd name="T15" fmla="*/ 12 h 16"/>
                <a:gd name="T16" fmla="*/ 0 w 14"/>
                <a:gd name="T17" fmla="*/ 14 h 16"/>
                <a:gd name="T18" fmla="*/ 4 w 14"/>
                <a:gd name="T19" fmla="*/ 16 h 16"/>
                <a:gd name="T20" fmla="*/ 6 w 14"/>
                <a:gd name="T21" fmla="*/ 16 h 16"/>
                <a:gd name="T22" fmla="*/ 6 w 14"/>
                <a:gd name="T23" fmla="*/ 14 h 16"/>
                <a:gd name="T24" fmla="*/ 8 w 14"/>
                <a:gd name="T25" fmla="*/ 14 h 16"/>
                <a:gd name="T26" fmla="*/ 10 w 14"/>
                <a:gd name="T27" fmla="*/ 14 h 16"/>
                <a:gd name="T28" fmla="*/ 12 w 14"/>
                <a:gd name="T29" fmla="*/ 12 h 16"/>
                <a:gd name="T30" fmla="*/ 14 w 14"/>
                <a:gd name="T31" fmla="*/ 6 h 16"/>
                <a:gd name="T32" fmla="*/ 10 w 14"/>
                <a:gd name="T33" fmla="*/ 2 h 16"/>
                <a:gd name="T34" fmla="*/ 8 w 14"/>
                <a:gd name="T35" fmla="*/ 0 h 16"/>
                <a:gd name="T36" fmla="*/ 6 w 14"/>
                <a:gd name="T37" fmla="*/ 0 h 16"/>
                <a:gd name="T38" fmla="*/ 4 w 14"/>
                <a:gd name="T39" fmla="*/ 0 h 16"/>
                <a:gd name="T40" fmla="*/ 4 w 14"/>
                <a:gd name="T41" fmla="*/ 2 h 16"/>
                <a:gd name="T42" fmla="*/ 2 w 14"/>
                <a:gd name="T43"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16">
                  <a:moveTo>
                    <a:pt x="2" y="4"/>
                  </a:moveTo>
                  <a:lnTo>
                    <a:pt x="2" y="6"/>
                  </a:lnTo>
                  <a:lnTo>
                    <a:pt x="0" y="6"/>
                  </a:lnTo>
                  <a:lnTo>
                    <a:pt x="0" y="8"/>
                  </a:lnTo>
                  <a:lnTo>
                    <a:pt x="2" y="8"/>
                  </a:lnTo>
                  <a:lnTo>
                    <a:pt x="2" y="10"/>
                  </a:lnTo>
                  <a:lnTo>
                    <a:pt x="0" y="10"/>
                  </a:lnTo>
                  <a:lnTo>
                    <a:pt x="0" y="12"/>
                  </a:lnTo>
                  <a:lnTo>
                    <a:pt x="0" y="14"/>
                  </a:lnTo>
                  <a:lnTo>
                    <a:pt x="4" y="16"/>
                  </a:lnTo>
                  <a:lnTo>
                    <a:pt x="6" y="16"/>
                  </a:lnTo>
                  <a:lnTo>
                    <a:pt x="6" y="14"/>
                  </a:lnTo>
                  <a:lnTo>
                    <a:pt x="8" y="14"/>
                  </a:lnTo>
                  <a:lnTo>
                    <a:pt x="10" y="14"/>
                  </a:lnTo>
                  <a:lnTo>
                    <a:pt x="12" y="12"/>
                  </a:lnTo>
                  <a:lnTo>
                    <a:pt x="14" y="6"/>
                  </a:lnTo>
                  <a:lnTo>
                    <a:pt x="10" y="2"/>
                  </a:lnTo>
                  <a:lnTo>
                    <a:pt x="8" y="0"/>
                  </a:lnTo>
                  <a:lnTo>
                    <a:pt x="6" y="0"/>
                  </a:lnTo>
                  <a:lnTo>
                    <a:pt x="4" y="0"/>
                  </a:lnTo>
                  <a:lnTo>
                    <a:pt x="4" y="2"/>
                  </a:lnTo>
                  <a:lnTo>
                    <a:pt x="2"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6" name="Freeform 274"/>
            <p:cNvSpPr>
              <a:spLocks/>
            </p:cNvSpPr>
            <p:nvPr/>
          </p:nvSpPr>
          <p:spPr bwMode="auto">
            <a:xfrm>
              <a:off x="2333" y="2968"/>
              <a:ext cx="2" cy="2"/>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lnTo>
                    <a:pt x="2"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7" name="Freeform 275"/>
            <p:cNvSpPr>
              <a:spLocks/>
            </p:cNvSpPr>
            <p:nvPr/>
          </p:nvSpPr>
          <p:spPr bwMode="auto">
            <a:xfrm>
              <a:off x="2174" y="2457"/>
              <a:ext cx="144" cy="133"/>
            </a:xfrm>
            <a:custGeom>
              <a:avLst/>
              <a:gdLst>
                <a:gd name="T0" fmla="*/ 21 w 144"/>
                <a:gd name="T1" fmla="*/ 43 h 133"/>
                <a:gd name="T2" fmla="*/ 23 w 144"/>
                <a:gd name="T3" fmla="*/ 54 h 133"/>
                <a:gd name="T4" fmla="*/ 30 w 144"/>
                <a:gd name="T5" fmla="*/ 60 h 133"/>
                <a:gd name="T6" fmla="*/ 34 w 144"/>
                <a:gd name="T7" fmla="*/ 60 h 133"/>
                <a:gd name="T8" fmla="*/ 38 w 144"/>
                <a:gd name="T9" fmla="*/ 64 h 133"/>
                <a:gd name="T10" fmla="*/ 38 w 144"/>
                <a:gd name="T11" fmla="*/ 73 h 133"/>
                <a:gd name="T12" fmla="*/ 48 w 144"/>
                <a:gd name="T13" fmla="*/ 71 h 133"/>
                <a:gd name="T14" fmla="*/ 53 w 144"/>
                <a:gd name="T15" fmla="*/ 75 h 133"/>
                <a:gd name="T16" fmla="*/ 55 w 144"/>
                <a:gd name="T17" fmla="*/ 83 h 133"/>
                <a:gd name="T18" fmla="*/ 57 w 144"/>
                <a:gd name="T19" fmla="*/ 91 h 133"/>
                <a:gd name="T20" fmla="*/ 55 w 144"/>
                <a:gd name="T21" fmla="*/ 98 h 133"/>
                <a:gd name="T22" fmla="*/ 71 w 144"/>
                <a:gd name="T23" fmla="*/ 98 h 133"/>
                <a:gd name="T24" fmla="*/ 76 w 144"/>
                <a:gd name="T25" fmla="*/ 91 h 133"/>
                <a:gd name="T26" fmla="*/ 84 w 144"/>
                <a:gd name="T27" fmla="*/ 89 h 133"/>
                <a:gd name="T28" fmla="*/ 80 w 144"/>
                <a:gd name="T29" fmla="*/ 96 h 133"/>
                <a:gd name="T30" fmla="*/ 82 w 144"/>
                <a:gd name="T31" fmla="*/ 102 h 133"/>
                <a:gd name="T32" fmla="*/ 82 w 144"/>
                <a:gd name="T33" fmla="*/ 112 h 133"/>
                <a:gd name="T34" fmla="*/ 90 w 144"/>
                <a:gd name="T35" fmla="*/ 117 h 133"/>
                <a:gd name="T36" fmla="*/ 98 w 144"/>
                <a:gd name="T37" fmla="*/ 123 h 133"/>
                <a:gd name="T38" fmla="*/ 101 w 144"/>
                <a:gd name="T39" fmla="*/ 127 h 133"/>
                <a:gd name="T40" fmla="*/ 105 w 144"/>
                <a:gd name="T41" fmla="*/ 133 h 133"/>
                <a:gd name="T42" fmla="*/ 115 w 144"/>
                <a:gd name="T43" fmla="*/ 131 h 133"/>
                <a:gd name="T44" fmla="*/ 119 w 144"/>
                <a:gd name="T45" fmla="*/ 129 h 133"/>
                <a:gd name="T46" fmla="*/ 121 w 144"/>
                <a:gd name="T47" fmla="*/ 121 h 133"/>
                <a:gd name="T48" fmla="*/ 115 w 144"/>
                <a:gd name="T49" fmla="*/ 116 h 133"/>
                <a:gd name="T50" fmla="*/ 115 w 144"/>
                <a:gd name="T51" fmla="*/ 110 h 133"/>
                <a:gd name="T52" fmla="*/ 119 w 144"/>
                <a:gd name="T53" fmla="*/ 100 h 133"/>
                <a:gd name="T54" fmla="*/ 123 w 144"/>
                <a:gd name="T55" fmla="*/ 94 h 133"/>
                <a:gd name="T56" fmla="*/ 128 w 144"/>
                <a:gd name="T57" fmla="*/ 92 h 133"/>
                <a:gd name="T58" fmla="*/ 132 w 144"/>
                <a:gd name="T59" fmla="*/ 91 h 133"/>
                <a:gd name="T60" fmla="*/ 136 w 144"/>
                <a:gd name="T61" fmla="*/ 85 h 133"/>
                <a:gd name="T62" fmla="*/ 142 w 144"/>
                <a:gd name="T63" fmla="*/ 83 h 133"/>
                <a:gd name="T64" fmla="*/ 142 w 144"/>
                <a:gd name="T65" fmla="*/ 75 h 133"/>
                <a:gd name="T66" fmla="*/ 136 w 144"/>
                <a:gd name="T67" fmla="*/ 69 h 133"/>
                <a:gd name="T68" fmla="*/ 138 w 144"/>
                <a:gd name="T69" fmla="*/ 62 h 133"/>
                <a:gd name="T70" fmla="*/ 132 w 144"/>
                <a:gd name="T71" fmla="*/ 54 h 133"/>
                <a:gd name="T72" fmla="*/ 124 w 144"/>
                <a:gd name="T73" fmla="*/ 52 h 133"/>
                <a:gd name="T74" fmla="*/ 121 w 144"/>
                <a:gd name="T75" fmla="*/ 50 h 133"/>
                <a:gd name="T76" fmla="*/ 117 w 144"/>
                <a:gd name="T77" fmla="*/ 46 h 133"/>
                <a:gd name="T78" fmla="*/ 121 w 144"/>
                <a:gd name="T79" fmla="*/ 39 h 133"/>
                <a:gd name="T80" fmla="*/ 124 w 144"/>
                <a:gd name="T81" fmla="*/ 29 h 133"/>
                <a:gd name="T82" fmla="*/ 123 w 144"/>
                <a:gd name="T83" fmla="*/ 23 h 133"/>
                <a:gd name="T84" fmla="*/ 113 w 144"/>
                <a:gd name="T85" fmla="*/ 18 h 133"/>
                <a:gd name="T86" fmla="*/ 103 w 144"/>
                <a:gd name="T87" fmla="*/ 18 h 133"/>
                <a:gd name="T88" fmla="*/ 98 w 144"/>
                <a:gd name="T89" fmla="*/ 14 h 133"/>
                <a:gd name="T90" fmla="*/ 98 w 144"/>
                <a:gd name="T91" fmla="*/ 4 h 133"/>
                <a:gd name="T92" fmla="*/ 90 w 144"/>
                <a:gd name="T93" fmla="*/ 8 h 133"/>
                <a:gd name="T94" fmla="*/ 88 w 144"/>
                <a:gd name="T95" fmla="*/ 6 h 133"/>
                <a:gd name="T96" fmla="*/ 82 w 144"/>
                <a:gd name="T97" fmla="*/ 2 h 133"/>
                <a:gd name="T98" fmla="*/ 76 w 144"/>
                <a:gd name="T99" fmla="*/ 2 h 133"/>
                <a:gd name="T100" fmla="*/ 71 w 144"/>
                <a:gd name="T101" fmla="*/ 8 h 133"/>
                <a:gd name="T102" fmla="*/ 65 w 144"/>
                <a:gd name="T103" fmla="*/ 10 h 133"/>
                <a:gd name="T104" fmla="*/ 65 w 144"/>
                <a:gd name="T105" fmla="*/ 10 h 133"/>
                <a:gd name="T106" fmla="*/ 51 w 144"/>
                <a:gd name="T107" fmla="*/ 16 h 133"/>
                <a:gd name="T108" fmla="*/ 44 w 144"/>
                <a:gd name="T109" fmla="*/ 10 h 133"/>
                <a:gd name="T110" fmla="*/ 36 w 144"/>
                <a:gd name="T111" fmla="*/ 12 h 133"/>
                <a:gd name="T112" fmla="*/ 30 w 144"/>
                <a:gd name="T113" fmla="*/ 6 h 133"/>
                <a:gd name="T114" fmla="*/ 7 w 144"/>
                <a:gd name="T115" fmla="*/ 14 h 133"/>
                <a:gd name="T116" fmla="*/ 1 w 144"/>
                <a:gd name="T117" fmla="*/ 27 h 133"/>
                <a:gd name="T118" fmla="*/ 1 w 144"/>
                <a:gd name="T119" fmla="*/ 37 h 133"/>
                <a:gd name="T120" fmla="*/ 7 w 144"/>
                <a:gd name="T121" fmla="*/ 43 h 133"/>
                <a:gd name="T122" fmla="*/ 13 w 144"/>
                <a:gd name="T123" fmla="*/ 4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 h="133">
                  <a:moveTo>
                    <a:pt x="15" y="41"/>
                  </a:moveTo>
                  <a:lnTo>
                    <a:pt x="17" y="41"/>
                  </a:lnTo>
                  <a:lnTo>
                    <a:pt x="19" y="41"/>
                  </a:lnTo>
                  <a:lnTo>
                    <a:pt x="21" y="41"/>
                  </a:lnTo>
                  <a:lnTo>
                    <a:pt x="21" y="43"/>
                  </a:lnTo>
                  <a:lnTo>
                    <a:pt x="21" y="44"/>
                  </a:lnTo>
                  <a:lnTo>
                    <a:pt x="23" y="44"/>
                  </a:lnTo>
                  <a:lnTo>
                    <a:pt x="23" y="46"/>
                  </a:lnTo>
                  <a:lnTo>
                    <a:pt x="23" y="48"/>
                  </a:lnTo>
                  <a:lnTo>
                    <a:pt x="23" y="54"/>
                  </a:lnTo>
                  <a:lnTo>
                    <a:pt x="23" y="56"/>
                  </a:lnTo>
                  <a:lnTo>
                    <a:pt x="23" y="58"/>
                  </a:lnTo>
                  <a:lnTo>
                    <a:pt x="26" y="60"/>
                  </a:lnTo>
                  <a:lnTo>
                    <a:pt x="28" y="60"/>
                  </a:lnTo>
                  <a:lnTo>
                    <a:pt x="30" y="60"/>
                  </a:lnTo>
                  <a:lnTo>
                    <a:pt x="30" y="58"/>
                  </a:lnTo>
                  <a:lnTo>
                    <a:pt x="32" y="60"/>
                  </a:lnTo>
                  <a:lnTo>
                    <a:pt x="30" y="60"/>
                  </a:lnTo>
                  <a:lnTo>
                    <a:pt x="30" y="62"/>
                  </a:lnTo>
                  <a:lnTo>
                    <a:pt x="34" y="60"/>
                  </a:lnTo>
                  <a:lnTo>
                    <a:pt x="34" y="62"/>
                  </a:lnTo>
                  <a:lnTo>
                    <a:pt x="36" y="60"/>
                  </a:lnTo>
                  <a:lnTo>
                    <a:pt x="36" y="62"/>
                  </a:lnTo>
                  <a:lnTo>
                    <a:pt x="36" y="64"/>
                  </a:lnTo>
                  <a:lnTo>
                    <a:pt x="38" y="64"/>
                  </a:lnTo>
                  <a:lnTo>
                    <a:pt x="38" y="66"/>
                  </a:lnTo>
                  <a:lnTo>
                    <a:pt x="38" y="69"/>
                  </a:lnTo>
                  <a:lnTo>
                    <a:pt x="36" y="69"/>
                  </a:lnTo>
                  <a:lnTo>
                    <a:pt x="38" y="71"/>
                  </a:lnTo>
                  <a:lnTo>
                    <a:pt x="38" y="73"/>
                  </a:lnTo>
                  <a:lnTo>
                    <a:pt x="40" y="71"/>
                  </a:lnTo>
                  <a:lnTo>
                    <a:pt x="42" y="71"/>
                  </a:lnTo>
                  <a:lnTo>
                    <a:pt x="44" y="71"/>
                  </a:lnTo>
                  <a:lnTo>
                    <a:pt x="46" y="73"/>
                  </a:lnTo>
                  <a:lnTo>
                    <a:pt x="48" y="71"/>
                  </a:lnTo>
                  <a:lnTo>
                    <a:pt x="49" y="71"/>
                  </a:lnTo>
                  <a:lnTo>
                    <a:pt x="51" y="71"/>
                  </a:lnTo>
                  <a:lnTo>
                    <a:pt x="51" y="73"/>
                  </a:lnTo>
                  <a:lnTo>
                    <a:pt x="51" y="75"/>
                  </a:lnTo>
                  <a:lnTo>
                    <a:pt x="53" y="75"/>
                  </a:lnTo>
                  <a:lnTo>
                    <a:pt x="53" y="77"/>
                  </a:lnTo>
                  <a:lnTo>
                    <a:pt x="55" y="79"/>
                  </a:lnTo>
                  <a:lnTo>
                    <a:pt x="55" y="77"/>
                  </a:lnTo>
                  <a:lnTo>
                    <a:pt x="57" y="79"/>
                  </a:lnTo>
                  <a:lnTo>
                    <a:pt x="55" y="83"/>
                  </a:lnTo>
                  <a:lnTo>
                    <a:pt x="55" y="85"/>
                  </a:lnTo>
                  <a:lnTo>
                    <a:pt x="53" y="87"/>
                  </a:lnTo>
                  <a:lnTo>
                    <a:pt x="55" y="87"/>
                  </a:lnTo>
                  <a:lnTo>
                    <a:pt x="55" y="89"/>
                  </a:lnTo>
                  <a:lnTo>
                    <a:pt x="57" y="91"/>
                  </a:lnTo>
                  <a:lnTo>
                    <a:pt x="55" y="92"/>
                  </a:lnTo>
                  <a:lnTo>
                    <a:pt x="53" y="92"/>
                  </a:lnTo>
                  <a:lnTo>
                    <a:pt x="53" y="94"/>
                  </a:lnTo>
                  <a:lnTo>
                    <a:pt x="53" y="96"/>
                  </a:lnTo>
                  <a:lnTo>
                    <a:pt x="55" y="98"/>
                  </a:lnTo>
                  <a:lnTo>
                    <a:pt x="57" y="98"/>
                  </a:lnTo>
                  <a:lnTo>
                    <a:pt x="59" y="98"/>
                  </a:lnTo>
                  <a:lnTo>
                    <a:pt x="61" y="98"/>
                  </a:lnTo>
                  <a:lnTo>
                    <a:pt x="65" y="100"/>
                  </a:lnTo>
                  <a:lnTo>
                    <a:pt x="71" y="98"/>
                  </a:lnTo>
                  <a:lnTo>
                    <a:pt x="73" y="98"/>
                  </a:lnTo>
                  <a:lnTo>
                    <a:pt x="73" y="96"/>
                  </a:lnTo>
                  <a:lnTo>
                    <a:pt x="74" y="96"/>
                  </a:lnTo>
                  <a:lnTo>
                    <a:pt x="74" y="94"/>
                  </a:lnTo>
                  <a:lnTo>
                    <a:pt x="76" y="91"/>
                  </a:lnTo>
                  <a:lnTo>
                    <a:pt x="78" y="91"/>
                  </a:lnTo>
                  <a:lnTo>
                    <a:pt x="78" y="89"/>
                  </a:lnTo>
                  <a:lnTo>
                    <a:pt x="80" y="87"/>
                  </a:lnTo>
                  <a:lnTo>
                    <a:pt x="82" y="89"/>
                  </a:lnTo>
                  <a:lnTo>
                    <a:pt x="84" y="89"/>
                  </a:lnTo>
                  <a:lnTo>
                    <a:pt x="82" y="91"/>
                  </a:lnTo>
                  <a:lnTo>
                    <a:pt x="80" y="91"/>
                  </a:lnTo>
                  <a:lnTo>
                    <a:pt x="80" y="92"/>
                  </a:lnTo>
                  <a:lnTo>
                    <a:pt x="80" y="94"/>
                  </a:lnTo>
                  <a:lnTo>
                    <a:pt x="80" y="96"/>
                  </a:lnTo>
                  <a:lnTo>
                    <a:pt x="78" y="98"/>
                  </a:lnTo>
                  <a:lnTo>
                    <a:pt x="78" y="100"/>
                  </a:lnTo>
                  <a:lnTo>
                    <a:pt x="80" y="100"/>
                  </a:lnTo>
                  <a:lnTo>
                    <a:pt x="80" y="102"/>
                  </a:lnTo>
                  <a:lnTo>
                    <a:pt x="82" y="102"/>
                  </a:lnTo>
                  <a:lnTo>
                    <a:pt x="82" y="104"/>
                  </a:lnTo>
                  <a:lnTo>
                    <a:pt x="80" y="106"/>
                  </a:lnTo>
                  <a:lnTo>
                    <a:pt x="80" y="110"/>
                  </a:lnTo>
                  <a:lnTo>
                    <a:pt x="80" y="112"/>
                  </a:lnTo>
                  <a:lnTo>
                    <a:pt x="82" y="112"/>
                  </a:lnTo>
                  <a:lnTo>
                    <a:pt x="84" y="112"/>
                  </a:lnTo>
                  <a:lnTo>
                    <a:pt x="86" y="112"/>
                  </a:lnTo>
                  <a:lnTo>
                    <a:pt x="88" y="114"/>
                  </a:lnTo>
                  <a:lnTo>
                    <a:pt x="90" y="116"/>
                  </a:lnTo>
                  <a:lnTo>
                    <a:pt x="90" y="117"/>
                  </a:lnTo>
                  <a:lnTo>
                    <a:pt x="92" y="117"/>
                  </a:lnTo>
                  <a:lnTo>
                    <a:pt x="92" y="119"/>
                  </a:lnTo>
                  <a:lnTo>
                    <a:pt x="94" y="119"/>
                  </a:lnTo>
                  <a:lnTo>
                    <a:pt x="96" y="119"/>
                  </a:lnTo>
                  <a:lnTo>
                    <a:pt x="98" y="123"/>
                  </a:lnTo>
                  <a:lnTo>
                    <a:pt x="96" y="123"/>
                  </a:lnTo>
                  <a:lnTo>
                    <a:pt x="96" y="125"/>
                  </a:lnTo>
                  <a:lnTo>
                    <a:pt x="98" y="125"/>
                  </a:lnTo>
                  <a:lnTo>
                    <a:pt x="99" y="125"/>
                  </a:lnTo>
                  <a:lnTo>
                    <a:pt x="101" y="127"/>
                  </a:lnTo>
                  <a:lnTo>
                    <a:pt x="101" y="129"/>
                  </a:lnTo>
                  <a:lnTo>
                    <a:pt x="101" y="131"/>
                  </a:lnTo>
                  <a:lnTo>
                    <a:pt x="101" y="133"/>
                  </a:lnTo>
                  <a:lnTo>
                    <a:pt x="103" y="133"/>
                  </a:lnTo>
                  <a:lnTo>
                    <a:pt x="105" y="133"/>
                  </a:lnTo>
                  <a:lnTo>
                    <a:pt x="107" y="133"/>
                  </a:lnTo>
                  <a:lnTo>
                    <a:pt x="107" y="131"/>
                  </a:lnTo>
                  <a:lnTo>
                    <a:pt x="111" y="131"/>
                  </a:lnTo>
                  <a:lnTo>
                    <a:pt x="113" y="131"/>
                  </a:lnTo>
                  <a:lnTo>
                    <a:pt x="115" y="131"/>
                  </a:lnTo>
                  <a:lnTo>
                    <a:pt x="117" y="131"/>
                  </a:lnTo>
                  <a:lnTo>
                    <a:pt x="119" y="131"/>
                  </a:lnTo>
                  <a:lnTo>
                    <a:pt x="119" y="129"/>
                  </a:lnTo>
                  <a:lnTo>
                    <a:pt x="117" y="129"/>
                  </a:lnTo>
                  <a:lnTo>
                    <a:pt x="119" y="129"/>
                  </a:lnTo>
                  <a:lnTo>
                    <a:pt x="119" y="127"/>
                  </a:lnTo>
                  <a:lnTo>
                    <a:pt x="121" y="127"/>
                  </a:lnTo>
                  <a:lnTo>
                    <a:pt x="121" y="125"/>
                  </a:lnTo>
                  <a:lnTo>
                    <a:pt x="119" y="123"/>
                  </a:lnTo>
                  <a:lnTo>
                    <a:pt x="121" y="121"/>
                  </a:lnTo>
                  <a:lnTo>
                    <a:pt x="119" y="121"/>
                  </a:lnTo>
                  <a:lnTo>
                    <a:pt x="117" y="121"/>
                  </a:lnTo>
                  <a:lnTo>
                    <a:pt x="117" y="119"/>
                  </a:lnTo>
                  <a:lnTo>
                    <a:pt x="117" y="116"/>
                  </a:lnTo>
                  <a:lnTo>
                    <a:pt x="115" y="116"/>
                  </a:lnTo>
                  <a:lnTo>
                    <a:pt x="115" y="114"/>
                  </a:lnTo>
                  <a:lnTo>
                    <a:pt x="115" y="112"/>
                  </a:lnTo>
                  <a:lnTo>
                    <a:pt x="117" y="112"/>
                  </a:lnTo>
                  <a:lnTo>
                    <a:pt x="117" y="110"/>
                  </a:lnTo>
                  <a:lnTo>
                    <a:pt x="115" y="110"/>
                  </a:lnTo>
                  <a:lnTo>
                    <a:pt x="117" y="108"/>
                  </a:lnTo>
                  <a:lnTo>
                    <a:pt x="117" y="104"/>
                  </a:lnTo>
                  <a:lnTo>
                    <a:pt x="119" y="104"/>
                  </a:lnTo>
                  <a:lnTo>
                    <a:pt x="119" y="102"/>
                  </a:lnTo>
                  <a:lnTo>
                    <a:pt x="119" y="100"/>
                  </a:lnTo>
                  <a:lnTo>
                    <a:pt x="121" y="100"/>
                  </a:lnTo>
                  <a:lnTo>
                    <a:pt x="121" y="98"/>
                  </a:lnTo>
                  <a:lnTo>
                    <a:pt x="121" y="96"/>
                  </a:lnTo>
                  <a:lnTo>
                    <a:pt x="123" y="96"/>
                  </a:lnTo>
                  <a:lnTo>
                    <a:pt x="123" y="94"/>
                  </a:lnTo>
                  <a:lnTo>
                    <a:pt x="124" y="92"/>
                  </a:lnTo>
                  <a:lnTo>
                    <a:pt x="124" y="91"/>
                  </a:lnTo>
                  <a:lnTo>
                    <a:pt x="126" y="91"/>
                  </a:lnTo>
                  <a:lnTo>
                    <a:pt x="128" y="91"/>
                  </a:lnTo>
                  <a:lnTo>
                    <a:pt x="128" y="92"/>
                  </a:lnTo>
                  <a:lnTo>
                    <a:pt x="130" y="91"/>
                  </a:lnTo>
                  <a:lnTo>
                    <a:pt x="130" y="92"/>
                  </a:lnTo>
                  <a:lnTo>
                    <a:pt x="132" y="94"/>
                  </a:lnTo>
                  <a:lnTo>
                    <a:pt x="132" y="92"/>
                  </a:lnTo>
                  <a:lnTo>
                    <a:pt x="132" y="91"/>
                  </a:lnTo>
                  <a:lnTo>
                    <a:pt x="134" y="91"/>
                  </a:lnTo>
                  <a:lnTo>
                    <a:pt x="134" y="89"/>
                  </a:lnTo>
                  <a:lnTo>
                    <a:pt x="134" y="87"/>
                  </a:lnTo>
                  <a:lnTo>
                    <a:pt x="134" y="85"/>
                  </a:lnTo>
                  <a:lnTo>
                    <a:pt x="136" y="85"/>
                  </a:lnTo>
                  <a:lnTo>
                    <a:pt x="138" y="85"/>
                  </a:lnTo>
                  <a:lnTo>
                    <a:pt x="138" y="83"/>
                  </a:lnTo>
                  <a:lnTo>
                    <a:pt x="140" y="83"/>
                  </a:lnTo>
                  <a:lnTo>
                    <a:pt x="140" y="81"/>
                  </a:lnTo>
                  <a:lnTo>
                    <a:pt x="142" y="83"/>
                  </a:lnTo>
                  <a:lnTo>
                    <a:pt x="142" y="81"/>
                  </a:lnTo>
                  <a:lnTo>
                    <a:pt x="144" y="81"/>
                  </a:lnTo>
                  <a:lnTo>
                    <a:pt x="142" y="79"/>
                  </a:lnTo>
                  <a:lnTo>
                    <a:pt x="142" y="77"/>
                  </a:lnTo>
                  <a:lnTo>
                    <a:pt x="142" y="75"/>
                  </a:lnTo>
                  <a:lnTo>
                    <a:pt x="142" y="73"/>
                  </a:lnTo>
                  <a:lnTo>
                    <a:pt x="142" y="71"/>
                  </a:lnTo>
                  <a:lnTo>
                    <a:pt x="140" y="69"/>
                  </a:lnTo>
                  <a:lnTo>
                    <a:pt x="138" y="69"/>
                  </a:lnTo>
                  <a:lnTo>
                    <a:pt x="136" y="69"/>
                  </a:lnTo>
                  <a:lnTo>
                    <a:pt x="136" y="68"/>
                  </a:lnTo>
                  <a:lnTo>
                    <a:pt x="136" y="66"/>
                  </a:lnTo>
                  <a:lnTo>
                    <a:pt x="138" y="64"/>
                  </a:lnTo>
                  <a:lnTo>
                    <a:pt x="140" y="62"/>
                  </a:lnTo>
                  <a:lnTo>
                    <a:pt x="138" y="62"/>
                  </a:lnTo>
                  <a:lnTo>
                    <a:pt x="136" y="62"/>
                  </a:lnTo>
                  <a:lnTo>
                    <a:pt x="136" y="60"/>
                  </a:lnTo>
                  <a:lnTo>
                    <a:pt x="134" y="58"/>
                  </a:lnTo>
                  <a:lnTo>
                    <a:pt x="134" y="54"/>
                  </a:lnTo>
                  <a:lnTo>
                    <a:pt x="132" y="54"/>
                  </a:lnTo>
                  <a:lnTo>
                    <a:pt x="130" y="54"/>
                  </a:lnTo>
                  <a:lnTo>
                    <a:pt x="130" y="52"/>
                  </a:lnTo>
                  <a:lnTo>
                    <a:pt x="128" y="52"/>
                  </a:lnTo>
                  <a:lnTo>
                    <a:pt x="126" y="52"/>
                  </a:lnTo>
                  <a:lnTo>
                    <a:pt x="124" y="52"/>
                  </a:lnTo>
                  <a:lnTo>
                    <a:pt x="124" y="50"/>
                  </a:lnTo>
                  <a:lnTo>
                    <a:pt x="124" y="52"/>
                  </a:lnTo>
                  <a:lnTo>
                    <a:pt x="123" y="52"/>
                  </a:lnTo>
                  <a:lnTo>
                    <a:pt x="123" y="50"/>
                  </a:lnTo>
                  <a:lnTo>
                    <a:pt x="121" y="50"/>
                  </a:lnTo>
                  <a:lnTo>
                    <a:pt x="119" y="52"/>
                  </a:lnTo>
                  <a:lnTo>
                    <a:pt x="117" y="52"/>
                  </a:lnTo>
                  <a:lnTo>
                    <a:pt x="119" y="50"/>
                  </a:lnTo>
                  <a:lnTo>
                    <a:pt x="117" y="48"/>
                  </a:lnTo>
                  <a:lnTo>
                    <a:pt x="117" y="46"/>
                  </a:lnTo>
                  <a:lnTo>
                    <a:pt x="117" y="44"/>
                  </a:lnTo>
                  <a:lnTo>
                    <a:pt x="119" y="43"/>
                  </a:lnTo>
                  <a:lnTo>
                    <a:pt x="119" y="41"/>
                  </a:lnTo>
                  <a:lnTo>
                    <a:pt x="121" y="41"/>
                  </a:lnTo>
                  <a:lnTo>
                    <a:pt x="121" y="39"/>
                  </a:lnTo>
                  <a:lnTo>
                    <a:pt x="121" y="37"/>
                  </a:lnTo>
                  <a:lnTo>
                    <a:pt x="123" y="35"/>
                  </a:lnTo>
                  <a:lnTo>
                    <a:pt x="121" y="33"/>
                  </a:lnTo>
                  <a:lnTo>
                    <a:pt x="123" y="31"/>
                  </a:lnTo>
                  <a:lnTo>
                    <a:pt x="124" y="29"/>
                  </a:lnTo>
                  <a:lnTo>
                    <a:pt x="124" y="27"/>
                  </a:lnTo>
                  <a:lnTo>
                    <a:pt x="126" y="27"/>
                  </a:lnTo>
                  <a:lnTo>
                    <a:pt x="124" y="25"/>
                  </a:lnTo>
                  <a:lnTo>
                    <a:pt x="123" y="25"/>
                  </a:lnTo>
                  <a:lnTo>
                    <a:pt x="123" y="23"/>
                  </a:lnTo>
                  <a:lnTo>
                    <a:pt x="119" y="23"/>
                  </a:lnTo>
                  <a:lnTo>
                    <a:pt x="117" y="21"/>
                  </a:lnTo>
                  <a:lnTo>
                    <a:pt x="115" y="21"/>
                  </a:lnTo>
                  <a:lnTo>
                    <a:pt x="115" y="18"/>
                  </a:lnTo>
                  <a:lnTo>
                    <a:pt x="113" y="18"/>
                  </a:lnTo>
                  <a:lnTo>
                    <a:pt x="113" y="16"/>
                  </a:lnTo>
                  <a:lnTo>
                    <a:pt x="109" y="18"/>
                  </a:lnTo>
                  <a:lnTo>
                    <a:pt x="107" y="18"/>
                  </a:lnTo>
                  <a:lnTo>
                    <a:pt x="105" y="18"/>
                  </a:lnTo>
                  <a:lnTo>
                    <a:pt x="103" y="18"/>
                  </a:lnTo>
                  <a:lnTo>
                    <a:pt x="101" y="18"/>
                  </a:lnTo>
                  <a:lnTo>
                    <a:pt x="103" y="14"/>
                  </a:lnTo>
                  <a:lnTo>
                    <a:pt x="101" y="14"/>
                  </a:lnTo>
                  <a:lnTo>
                    <a:pt x="99" y="14"/>
                  </a:lnTo>
                  <a:lnTo>
                    <a:pt x="98" y="14"/>
                  </a:lnTo>
                  <a:lnTo>
                    <a:pt x="98" y="12"/>
                  </a:lnTo>
                  <a:lnTo>
                    <a:pt x="98" y="10"/>
                  </a:lnTo>
                  <a:lnTo>
                    <a:pt x="96" y="8"/>
                  </a:lnTo>
                  <a:lnTo>
                    <a:pt x="98" y="6"/>
                  </a:lnTo>
                  <a:lnTo>
                    <a:pt x="98" y="4"/>
                  </a:lnTo>
                  <a:lnTo>
                    <a:pt x="96" y="4"/>
                  </a:lnTo>
                  <a:lnTo>
                    <a:pt x="96" y="2"/>
                  </a:lnTo>
                  <a:lnTo>
                    <a:pt x="94" y="4"/>
                  </a:lnTo>
                  <a:lnTo>
                    <a:pt x="92" y="8"/>
                  </a:lnTo>
                  <a:lnTo>
                    <a:pt x="90" y="8"/>
                  </a:lnTo>
                  <a:lnTo>
                    <a:pt x="90" y="6"/>
                  </a:lnTo>
                  <a:lnTo>
                    <a:pt x="86" y="6"/>
                  </a:lnTo>
                  <a:lnTo>
                    <a:pt x="84" y="6"/>
                  </a:lnTo>
                  <a:lnTo>
                    <a:pt x="86" y="6"/>
                  </a:lnTo>
                  <a:lnTo>
                    <a:pt x="88" y="6"/>
                  </a:lnTo>
                  <a:lnTo>
                    <a:pt x="88" y="4"/>
                  </a:lnTo>
                  <a:lnTo>
                    <a:pt x="88" y="2"/>
                  </a:lnTo>
                  <a:lnTo>
                    <a:pt x="86" y="0"/>
                  </a:lnTo>
                  <a:lnTo>
                    <a:pt x="84" y="0"/>
                  </a:lnTo>
                  <a:lnTo>
                    <a:pt x="82" y="2"/>
                  </a:lnTo>
                  <a:lnTo>
                    <a:pt x="82" y="4"/>
                  </a:lnTo>
                  <a:lnTo>
                    <a:pt x="80" y="4"/>
                  </a:lnTo>
                  <a:lnTo>
                    <a:pt x="80" y="6"/>
                  </a:lnTo>
                  <a:lnTo>
                    <a:pt x="76" y="4"/>
                  </a:lnTo>
                  <a:lnTo>
                    <a:pt x="76" y="2"/>
                  </a:lnTo>
                  <a:lnTo>
                    <a:pt x="76" y="0"/>
                  </a:lnTo>
                  <a:lnTo>
                    <a:pt x="74" y="0"/>
                  </a:lnTo>
                  <a:lnTo>
                    <a:pt x="71" y="2"/>
                  </a:lnTo>
                  <a:lnTo>
                    <a:pt x="71" y="4"/>
                  </a:lnTo>
                  <a:lnTo>
                    <a:pt x="71" y="8"/>
                  </a:lnTo>
                  <a:lnTo>
                    <a:pt x="69" y="8"/>
                  </a:lnTo>
                  <a:lnTo>
                    <a:pt x="69" y="6"/>
                  </a:lnTo>
                  <a:lnTo>
                    <a:pt x="65" y="6"/>
                  </a:lnTo>
                  <a:lnTo>
                    <a:pt x="65" y="8"/>
                  </a:lnTo>
                  <a:lnTo>
                    <a:pt x="65" y="10"/>
                  </a:lnTo>
                  <a:lnTo>
                    <a:pt x="65" y="12"/>
                  </a:lnTo>
                  <a:lnTo>
                    <a:pt x="67" y="12"/>
                  </a:lnTo>
                  <a:lnTo>
                    <a:pt x="67" y="14"/>
                  </a:lnTo>
                  <a:lnTo>
                    <a:pt x="65" y="12"/>
                  </a:lnTo>
                  <a:lnTo>
                    <a:pt x="65" y="10"/>
                  </a:lnTo>
                  <a:lnTo>
                    <a:pt x="63" y="8"/>
                  </a:lnTo>
                  <a:lnTo>
                    <a:pt x="61" y="12"/>
                  </a:lnTo>
                  <a:lnTo>
                    <a:pt x="55" y="14"/>
                  </a:lnTo>
                  <a:lnTo>
                    <a:pt x="53" y="16"/>
                  </a:lnTo>
                  <a:lnTo>
                    <a:pt x="51" y="16"/>
                  </a:lnTo>
                  <a:lnTo>
                    <a:pt x="49" y="16"/>
                  </a:lnTo>
                  <a:lnTo>
                    <a:pt x="46" y="16"/>
                  </a:lnTo>
                  <a:lnTo>
                    <a:pt x="46" y="14"/>
                  </a:lnTo>
                  <a:lnTo>
                    <a:pt x="46" y="12"/>
                  </a:lnTo>
                  <a:lnTo>
                    <a:pt x="44" y="10"/>
                  </a:lnTo>
                  <a:lnTo>
                    <a:pt x="40" y="8"/>
                  </a:lnTo>
                  <a:lnTo>
                    <a:pt x="38" y="8"/>
                  </a:lnTo>
                  <a:lnTo>
                    <a:pt x="36" y="10"/>
                  </a:lnTo>
                  <a:lnTo>
                    <a:pt x="36" y="8"/>
                  </a:lnTo>
                  <a:lnTo>
                    <a:pt x="36" y="12"/>
                  </a:lnTo>
                  <a:lnTo>
                    <a:pt x="34" y="12"/>
                  </a:lnTo>
                  <a:lnTo>
                    <a:pt x="32" y="12"/>
                  </a:lnTo>
                  <a:lnTo>
                    <a:pt x="30" y="10"/>
                  </a:lnTo>
                  <a:lnTo>
                    <a:pt x="30" y="8"/>
                  </a:lnTo>
                  <a:lnTo>
                    <a:pt x="30" y="6"/>
                  </a:lnTo>
                  <a:lnTo>
                    <a:pt x="30" y="2"/>
                  </a:lnTo>
                  <a:lnTo>
                    <a:pt x="26" y="4"/>
                  </a:lnTo>
                  <a:lnTo>
                    <a:pt x="21" y="8"/>
                  </a:lnTo>
                  <a:lnTo>
                    <a:pt x="13" y="12"/>
                  </a:lnTo>
                  <a:lnTo>
                    <a:pt x="7" y="14"/>
                  </a:lnTo>
                  <a:lnTo>
                    <a:pt x="0" y="18"/>
                  </a:lnTo>
                  <a:lnTo>
                    <a:pt x="0" y="19"/>
                  </a:lnTo>
                  <a:lnTo>
                    <a:pt x="0" y="23"/>
                  </a:lnTo>
                  <a:lnTo>
                    <a:pt x="0" y="25"/>
                  </a:lnTo>
                  <a:lnTo>
                    <a:pt x="1" y="27"/>
                  </a:lnTo>
                  <a:lnTo>
                    <a:pt x="0" y="29"/>
                  </a:lnTo>
                  <a:lnTo>
                    <a:pt x="0" y="31"/>
                  </a:lnTo>
                  <a:lnTo>
                    <a:pt x="0" y="35"/>
                  </a:lnTo>
                  <a:lnTo>
                    <a:pt x="0" y="37"/>
                  </a:lnTo>
                  <a:lnTo>
                    <a:pt x="1" y="37"/>
                  </a:lnTo>
                  <a:lnTo>
                    <a:pt x="3" y="37"/>
                  </a:lnTo>
                  <a:lnTo>
                    <a:pt x="3" y="39"/>
                  </a:lnTo>
                  <a:lnTo>
                    <a:pt x="5" y="41"/>
                  </a:lnTo>
                  <a:lnTo>
                    <a:pt x="5" y="43"/>
                  </a:lnTo>
                  <a:lnTo>
                    <a:pt x="7" y="43"/>
                  </a:lnTo>
                  <a:lnTo>
                    <a:pt x="9" y="44"/>
                  </a:lnTo>
                  <a:lnTo>
                    <a:pt x="9" y="46"/>
                  </a:lnTo>
                  <a:lnTo>
                    <a:pt x="11" y="44"/>
                  </a:lnTo>
                  <a:lnTo>
                    <a:pt x="11" y="43"/>
                  </a:lnTo>
                  <a:lnTo>
                    <a:pt x="13" y="43"/>
                  </a:lnTo>
                  <a:lnTo>
                    <a:pt x="15" y="4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8" name="Freeform 276"/>
            <p:cNvSpPr>
              <a:spLocks/>
            </p:cNvSpPr>
            <p:nvPr/>
          </p:nvSpPr>
          <p:spPr bwMode="auto">
            <a:xfrm>
              <a:off x="2264" y="2461"/>
              <a:ext cx="2" cy="2"/>
            </a:xfrm>
            <a:custGeom>
              <a:avLst/>
              <a:gdLst>
                <a:gd name="T0" fmla="*/ 0 w 2"/>
                <a:gd name="T1" fmla="*/ 2 h 2"/>
                <a:gd name="T2" fmla="*/ 2 w 2"/>
                <a:gd name="T3" fmla="*/ 0 h 2"/>
                <a:gd name="T4" fmla="*/ 2 w 2"/>
                <a:gd name="T5" fmla="*/ 2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2" y="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89" name="Freeform 277"/>
            <p:cNvSpPr>
              <a:spLocks/>
            </p:cNvSpPr>
            <p:nvPr/>
          </p:nvSpPr>
          <p:spPr bwMode="auto">
            <a:xfrm>
              <a:off x="2266" y="2463"/>
              <a:ext cx="1"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90" name="Freeform 278"/>
            <p:cNvSpPr>
              <a:spLocks/>
            </p:cNvSpPr>
            <p:nvPr/>
          </p:nvSpPr>
          <p:spPr bwMode="auto">
            <a:xfrm>
              <a:off x="2208" y="2336"/>
              <a:ext cx="150" cy="173"/>
            </a:xfrm>
            <a:custGeom>
              <a:avLst/>
              <a:gdLst>
                <a:gd name="T0" fmla="*/ 71 w 150"/>
                <a:gd name="T1" fmla="*/ 69 h 173"/>
                <a:gd name="T2" fmla="*/ 83 w 150"/>
                <a:gd name="T3" fmla="*/ 58 h 173"/>
                <a:gd name="T4" fmla="*/ 98 w 150"/>
                <a:gd name="T5" fmla="*/ 60 h 173"/>
                <a:gd name="T6" fmla="*/ 87 w 150"/>
                <a:gd name="T7" fmla="*/ 69 h 173"/>
                <a:gd name="T8" fmla="*/ 98 w 150"/>
                <a:gd name="T9" fmla="*/ 60 h 173"/>
                <a:gd name="T10" fmla="*/ 92 w 150"/>
                <a:gd name="T11" fmla="*/ 39 h 173"/>
                <a:gd name="T12" fmla="*/ 81 w 150"/>
                <a:gd name="T13" fmla="*/ 33 h 173"/>
                <a:gd name="T14" fmla="*/ 83 w 150"/>
                <a:gd name="T15" fmla="*/ 23 h 173"/>
                <a:gd name="T16" fmla="*/ 85 w 150"/>
                <a:gd name="T17" fmla="*/ 19 h 173"/>
                <a:gd name="T18" fmla="*/ 104 w 150"/>
                <a:gd name="T19" fmla="*/ 2 h 173"/>
                <a:gd name="T20" fmla="*/ 115 w 150"/>
                <a:gd name="T21" fmla="*/ 2 h 173"/>
                <a:gd name="T22" fmla="*/ 138 w 150"/>
                <a:gd name="T23" fmla="*/ 0 h 173"/>
                <a:gd name="T24" fmla="*/ 146 w 150"/>
                <a:gd name="T25" fmla="*/ 14 h 173"/>
                <a:gd name="T26" fmla="*/ 150 w 150"/>
                <a:gd name="T27" fmla="*/ 25 h 173"/>
                <a:gd name="T28" fmla="*/ 138 w 150"/>
                <a:gd name="T29" fmla="*/ 54 h 173"/>
                <a:gd name="T30" fmla="*/ 129 w 150"/>
                <a:gd name="T31" fmla="*/ 60 h 173"/>
                <a:gd name="T32" fmla="*/ 142 w 150"/>
                <a:gd name="T33" fmla="*/ 69 h 173"/>
                <a:gd name="T34" fmla="*/ 135 w 150"/>
                <a:gd name="T35" fmla="*/ 87 h 173"/>
                <a:gd name="T36" fmla="*/ 133 w 150"/>
                <a:gd name="T37" fmla="*/ 96 h 173"/>
                <a:gd name="T38" fmla="*/ 121 w 150"/>
                <a:gd name="T39" fmla="*/ 102 h 173"/>
                <a:gd name="T40" fmla="*/ 110 w 150"/>
                <a:gd name="T41" fmla="*/ 102 h 173"/>
                <a:gd name="T42" fmla="*/ 100 w 150"/>
                <a:gd name="T43" fmla="*/ 104 h 173"/>
                <a:gd name="T44" fmla="*/ 104 w 150"/>
                <a:gd name="T45" fmla="*/ 115 h 173"/>
                <a:gd name="T46" fmla="*/ 108 w 150"/>
                <a:gd name="T47" fmla="*/ 135 h 173"/>
                <a:gd name="T48" fmla="*/ 100 w 150"/>
                <a:gd name="T49" fmla="*/ 148 h 173"/>
                <a:gd name="T50" fmla="*/ 92 w 150"/>
                <a:gd name="T51" fmla="*/ 156 h 173"/>
                <a:gd name="T52" fmla="*/ 98 w 150"/>
                <a:gd name="T53" fmla="*/ 165 h 173"/>
                <a:gd name="T54" fmla="*/ 96 w 150"/>
                <a:gd name="T55" fmla="*/ 171 h 173"/>
                <a:gd name="T56" fmla="*/ 89 w 150"/>
                <a:gd name="T57" fmla="*/ 171 h 173"/>
                <a:gd name="T58" fmla="*/ 85 w 150"/>
                <a:gd name="T59" fmla="*/ 164 h 173"/>
                <a:gd name="T60" fmla="*/ 90 w 150"/>
                <a:gd name="T61" fmla="*/ 150 h 173"/>
                <a:gd name="T62" fmla="*/ 81 w 150"/>
                <a:gd name="T63" fmla="*/ 142 h 173"/>
                <a:gd name="T64" fmla="*/ 67 w 150"/>
                <a:gd name="T65" fmla="*/ 139 h 173"/>
                <a:gd name="T66" fmla="*/ 64 w 150"/>
                <a:gd name="T67" fmla="*/ 127 h 173"/>
                <a:gd name="T68" fmla="*/ 52 w 150"/>
                <a:gd name="T69" fmla="*/ 127 h 173"/>
                <a:gd name="T70" fmla="*/ 48 w 150"/>
                <a:gd name="T71" fmla="*/ 123 h 173"/>
                <a:gd name="T72" fmla="*/ 37 w 150"/>
                <a:gd name="T73" fmla="*/ 123 h 173"/>
                <a:gd name="T74" fmla="*/ 23 w 150"/>
                <a:gd name="T75" fmla="*/ 125 h 173"/>
                <a:gd name="T76" fmla="*/ 10 w 150"/>
                <a:gd name="T77" fmla="*/ 121 h 173"/>
                <a:gd name="T78" fmla="*/ 2 w 150"/>
                <a:gd name="T79" fmla="*/ 112 h 173"/>
                <a:gd name="T80" fmla="*/ 21 w 150"/>
                <a:gd name="T81" fmla="*/ 115 h 173"/>
                <a:gd name="T82" fmla="*/ 33 w 150"/>
                <a:gd name="T83" fmla="*/ 121 h 173"/>
                <a:gd name="T84" fmla="*/ 27 w 150"/>
                <a:gd name="T85" fmla="*/ 112 h 173"/>
                <a:gd name="T86" fmla="*/ 39 w 150"/>
                <a:gd name="T87" fmla="*/ 108 h 173"/>
                <a:gd name="T88" fmla="*/ 54 w 150"/>
                <a:gd name="T89" fmla="*/ 106 h 173"/>
                <a:gd name="T90" fmla="*/ 44 w 150"/>
                <a:gd name="T91" fmla="*/ 108 h 173"/>
                <a:gd name="T92" fmla="*/ 27 w 150"/>
                <a:gd name="T93" fmla="*/ 96 h 173"/>
                <a:gd name="T94" fmla="*/ 31 w 150"/>
                <a:gd name="T95" fmla="*/ 85 h 173"/>
                <a:gd name="T96" fmla="*/ 46 w 150"/>
                <a:gd name="T97" fmla="*/ 66 h 173"/>
                <a:gd name="T98" fmla="*/ 56 w 150"/>
                <a:gd name="T99" fmla="*/ 37 h 173"/>
                <a:gd name="T100" fmla="*/ 65 w 150"/>
                <a:gd name="T101" fmla="*/ 31 h 173"/>
                <a:gd name="T102" fmla="*/ 73 w 150"/>
                <a:gd name="T103" fmla="*/ 42 h 173"/>
                <a:gd name="T104" fmla="*/ 75 w 150"/>
                <a:gd name="T105" fmla="*/ 48 h 173"/>
                <a:gd name="T106" fmla="*/ 67 w 150"/>
                <a:gd name="T107" fmla="*/ 60 h 173"/>
                <a:gd name="T108" fmla="*/ 71 w 150"/>
                <a:gd name="T109" fmla="*/ 69 h 173"/>
                <a:gd name="T110" fmla="*/ 58 w 150"/>
                <a:gd name="T111" fmla="*/ 125 h 173"/>
                <a:gd name="T112" fmla="*/ 56 w 150"/>
                <a:gd name="T113" fmla="*/ 12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73">
                  <a:moveTo>
                    <a:pt x="79" y="75"/>
                  </a:moveTo>
                  <a:lnTo>
                    <a:pt x="83" y="75"/>
                  </a:lnTo>
                  <a:lnTo>
                    <a:pt x="85" y="75"/>
                  </a:lnTo>
                  <a:lnTo>
                    <a:pt x="81" y="75"/>
                  </a:lnTo>
                  <a:lnTo>
                    <a:pt x="79" y="75"/>
                  </a:lnTo>
                  <a:lnTo>
                    <a:pt x="75" y="69"/>
                  </a:lnTo>
                  <a:lnTo>
                    <a:pt x="73" y="69"/>
                  </a:lnTo>
                  <a:lnTo>
                    <a:pt x="71" y="69"/>
                  </a:lnTo>
                  <a:lnTo>
                    <a:pt x="69" y="66"/>
                  </a:lnTo>
                  <a:lnTo>
                    <a:pt x="71" y="64"/>
                  </a:lnTo>
                  <a:lnTo>
                    <a:pt x="73" y="64"/>
                  </a:lnTo>
                  <a:lnTo>
                    <a:pt x="83" y="58"/>
                  </a:lnTo>
                  <a:lnTo>
                    <a:pt x="83" y="56"/>
                  </a:lnTo>
                  <a:lnTo>
                    <a:pt x="81" y="50"/>
                  </a:lnTo>
                  <a:lnTo>
                    <a:pt x="83" y="56"/>
                  </a:lnTo>
                  <a:lnTo>
                    <a:pt x="83" y="58"/>
                  </a:lnTo>
                  <a:lnTo>
                    <a:pt x="83" y="56"/>
                  </a:lnTo>
                  <a:lnTo>
                    <a:pt x="85" y="56"/>
                  </a:lnTo>
                  <a:lnTo>
                    <a:pt x="87" y="54"/>
                  </a:lnTo>
                  <a:lnTo>
                    <a:pt x="90" y="52"/>
                  </a:lnTo>
                  <a:lnTo>
                    <a:pt x="90" y="54"/>
                  </a:lnTo>
                  <a:lnTo>
                    <a:pt x="94" y="54"/>
                  </a:lnTo>
                  <a:lnTo>
                    <a:pt x="96" y="56"/>
                  </a:lnTo>
                  <a:lnTo>
                    <a:pt x="98" y="60"/>
                  </a:lnTo>
                  <a:lnTo>
                    <a:pt x="98" y="62"/>
                  </a:lnTo>
                  <a:lnTo>
                    <a:pt x="96" y="64"/>
                  </a:lnTo>
                  <a:lnTo>
                    <a:pt x="94" y="66"/>
                  </a:lnTo>
                  <a:lnTo>
                    <a:pt x="92" y="66"/>
                  </a:lnTo>
                  <a:lnTo>
                    <a:pt x="90" y="66"/>
                  </a:lnTo>
                  <a:lnTo>
                    <a:pt x="87" y="67"/>
                  </a:lnTo>
                  <a:lnTo>
                    <a:pt x="85" y="69"/>
                  </a:lnTo>
                  <a:lnTo>
                    <a:pt x="87" y="69"/>
                  </a:lnTo>
                  <a:lnTo>
                    <a:pt x="85" y="73"/>
                  </a:lnTo>
                  <a:lnTo>
                    <a:pt x="87" y="71"/>
                  </a:lnTo>
                  <a:lnTo>
                    <a:pt x="87" y="69"/>
                  </a:lnTo>
                  <a:lnTo>
                    <a:pt x="89" y="69"/>
                  </a:lnTo>
                  <a:lnTo>
                    <a:pt x="90" y="67"/>
                  </a:lnTo>
                  <a:lnTo>
                    <a:pt x="92" y="67"/>
                  </a:lnTo>
                  <a:lnTo>
                    <a:pt x="96" y="64"/>
                  </a:lnTo>
                  <a:lnTo>
                    <a:pt x="98" y="60"/>
                  </a:lnTo>
                  <a:lnTo>
                    <a:pt x="98" y="56"/>
                  </a:lnTo>
                  <a:lnTo>
                    <a:pt x="96" y="54"/>
                  </a:lnTo>
                  <a:lnTo>
                    <a:pt x="98" y="54"/>
                  </a:lnTo>
                  <a:lnTo>
                    <a:pt x="90" y="52"/>
                  </a:lnTo>
                  <a:lnTo>
                    <a:pt x="90" y="50"/>
                  </a:lnTo>
                  <a:lnTo>
                    <a:pt x="89" y="50"/>
                  </a:lnTo>
                  <a:lnTo>
                    <a:pt x="89" y="42"/>
                  </a:lnTo>
                  <a:lnTo>
                    <a:pt x="92" y="39"/>
                  </a:lnTo>
                  <a:lnTo>
                    <a:pt x="94" y="39"/>
                  </a:lnTo>
                  <a:lnTo>
                    <a:pt x="92" y="37"/>
                  </a:lnTo>
                  <a:lnTo>
                    <a:pt x="90" y="37"/>
                  </a:lnTo>
                  <a:lnTo>
                    <a:pt x="89" y="39"/>
                  </a:lnTo>
                  <a:lnTo>
                    <a:pt x="85" y="37"/>
                  </a:lnTo>
                  <a:lnTo>
                    <a:pt x="83" y="37"/>
                  </a:lnTo>
                  <a:lnTo>
                    <a:pt x="81" y="35"/>
                  </a:lnTo>
                  <a:lnTo>
                    <a:pt x="81" y="33"/>
                  </a:lnTo>
                  <a:lnTo>
                    <a:pt x="83" y="33"/>
                  </a:lnTo>
                  <a:lnTo>
                    <a:pt x="83" y="31"/>
                  </a:lnTo>
                  <a:lnTo>
                    <a:pt x="83" y="29"/>
                  </a:lnTo>
                  <a:lnTo>
                    <a:pt x="85" y="27"/>
                  </a:lnTo>
                  <a:lnTo>
                    <a:pt x="83" y="27"/>
                  </a:lnTo>
                  <a:lnTo>
                    <a:pt x="85" y="25"/>
                  </a:lnTo>
                  <a:lnTo>
                    <a:pt x="83" y="25"/>
                  </a:lnTo>
                  <a:lnTo>
                    <a:pt x="83" y="23"/>
                  </a:lnTo>
                  <a:lnTo>
                    <a:pt x="83" y="21"/>
                  </a:lnTo>
                  <a:lnTo>
                    <a:pt x="83" y="19"/>
                  </a:lnTo>
                  <a:lnTo>
                    <a:pt x="83" y="21"/>
                  </a:lnTo>
                  <a:lnTo>
                    <a:pt x="77" y="25"/>
                  </a:lnTo>
                  <a:lnTo>
                    <a:pt x="81" y="21"/>
                  </a:lnTo>
                  <a:lnTo>
                    <a:pt x="83" y="21"/>
                  </a:lnTo>
                  <a:lnTo>
                    <a:pt x="83" y="19"/>
                  </a:lnTo>
                  <a:lnTo>
                    <a:pt x="85" y="19"/>
                  </a:lnTo>
                  <a:lnTo>
                    <a:pt x="85" y="17"/>
                  </a:lnTo>
                  <a:lnTo>
                    <a:pt x="85" y="16"/>
                  </a:lnTo>
                  <a:lnTo>
                    <a:pt x="87" y="12"/>
                  </a:lnTo>
                  <a:lnTo>
                    <a:pt x="90" y="10"/>
                  </a:lnTo>
                  <a:lnTo>
                    <a:pt x="92" y="8"/>
                  </a:lnTo>
                  <a:lnTo>
                    <a:pt x="96" y="6"/>
                  </a:lnTo>
                  <a:lnTo>
                    <a:pt x="98" y="4"/>
                  </a:lnTo>
                  <a:lnTo>
                    <a:pt x="104" y="2"/>
                  </a:lnTo>
                  <a:lnTo>
                    <a:pt x="108" y="2"/>
                  </a:lnTo>
                  <a:lnTo>
                    <a:pt x="113" y="2"/>
                  </a:lnTo>
                  <a:lnTo>
                    <a:pt x="113" y="6"/>
                  </a:lnTo>
                  <a:lnTo>
                    <a:pt x="115" y="6"/>
                  </a:lnTo>
                  <a:lnTo>
                    <a:pt x="113" y="4"/>
                  </a:lnTo>
                  <a:lnTo>
                    <a:pt x="115" y="2"/>
                  </a:lnTo>
                  <a:lnTo>
                    <a:pt x="113" y="2"/>
                  </a:lnTo>
                  <a:lnTo>
                    <a:pt x="115" y="2"/>
                  </a:lnTo>
                  <a:lnTo>
                    <a:pt x="117" y="4"/>
                  </a:lnTo>
                  <a:lnTo>
                    <a:pt x="123" y="2"/>
                  </a:lnTo>
                  <a:lnTo>
                    <a:pt x="127" y="2"/>
                  </a:lnTo>
                  <a:lnTo>
                    <a:pt x="131" y="0"/>
                  </a:lnTo>
                  <a:lnTo>
                    <a:pt x="135" y="0"/>
                  </a:lnTo>
                  <a:lnTo>
                    <a:pt x="137" y="0"/>
                  </a:lnTo>
                  <a:lnTo>
                    <a:pt x="137" y="2"/>
                  </a:lnTo>
                  <a:lnTo>
                    <a:pt x="138" y="0"/>
                  </a:lnTo>
                  <a:lnTo>
                    <a:pt x="138" y="2"/>
                  </a:lnTo>
                  <a:lnTo>
                    <a:pt x="138" y="4"/>
                  </a:lnTo>
                  <a:lnTo>
                    <a:pt x="138" y="8"/>
                  </a:lnTo>
                  <a:lnTo>
                    <a:pt x="140" y="10"/>
                  </a:lnTo>
                  <a:lnTo>
                    <a:pt x="146" y="10"/>
                  </a:lnTo>
                  <a:lnTo>
                    <a:pt x="146" y="12"/>
                  </a:lnTo>
                  <a:lnTo>
                    <a:pt x="144" y="12"/>
                  </a:lnTo>
                  <a:lnTo>
                    <a:pt x="146" y="14"/>
                  </a:lnTo>
                  <a:lnTo>
                    <a:pt x="148" y="14"/>
                  </a:lnTo>
                  <a:lnTo>
                    <a:pt x="150" y="14"/>
                  </a:lnTo>
                  <a:lnTo>
                    <a:pt x="150" y="17"/>
                  </a:lnTo>
                  <a:lnTo>
                    <a:pt x="150" y="19"/>
                  </a:lnTo>
                  <a:lnTo>
                    <a:pt x="148" y="19"/>
                  </a:lnTo>
                  <a:lnTo>
                    <a:pt x="148" y="21"/>
                  </a:lnTo>
                  <a:lnTo>
                    <a:pt x="150" y="23"/>
                  </a:lnTo>
                  <a:lnTo>
                    <a:pt x="150" y="25"/>
                  </a:lnTo>
                  <a:lnTo>
                    <a:pt x="150" y="31"/>
                  </a:lnTo>
                  <a:lnTo>
                    <a:pt x="148" y="35"/>
                  </a:lnTo>
                  <a:lnTo>
                    <a:pt x="144" y="41"/>
                  </a:lnTo>
                  <a:lnTo>
                    <a:pt x="144" y="42"/>
                  </a:lnTo>
                  <a:lnTo>
                    <a:pt x="142" y="52"/>
                  </a:lnTo>
                  <a:lnTo>
                    <a:pt x="142" y="54"/>
                  </a:lnTo>
                  <a:lnTo>
                    <a:pt x="140" y="54"/>
                  </a:lnTo>
                  <a:lnTo>
                    <a:pt x="138" y="54"/>
                  </a:lnTo>
                  <a:lnTo>
                    <a:pt x="137" y="52"/>
                  </a:lnTo>
                  <a:lnTo>
                    <a:pt x="131" y="52"/>
                  </a:lnTo>
                  <a:lnTo>
                    <a:pt x="129" y="54"/>
                  </a:lnTo>
                  <a:lnTo>
                    <a:pt x="131" y="54"/>
                  </a:lnTo>
                  <a:lnTo>
                    <a:pt x="129" y="56"/>
                  </a:lnTo>
                  <a:lnTo>
                    <a:pt x="131" y="58"/>
                  </a:lnTo>
                  <a:lnTo>
                    <a:pt x="129" y="58"/>
                  </a:lnTo>
                  <a:lnTo>
                    <a:pt x="129" y="60"/>
                  </a:lnTo>
                  <a:lnTo>
                    <a:pt x="129" y="62"/>
                  </a:lnTo>
                  <a:lnTo>
                    <a:pt x="131" y="64"/>
                  </a:lnTo>
                  <a:lnTo>
                    <a:pt x="135" y="64"/>
                  </a:lnTo>
                  <a:lnTo>
                    <a:pt x="138" y="66"/>
                  </a:lnTo>
                  <a:lnTo>
                    <a:pt x="140" y="64"/>
                  </a:lnTo>
                  <a:lnTo>
                    <a:pt x="140" y="66"/>
                  </a:lnTo>
                  <a:lnTo>
                    <a:pt x="140" y="67"/>
                  </a:lnTo>
                  <a:lnTo>
                    <a:pt x="142" y="69"/>
                  </a:lnTo>
                  <a:lnTo>
                    <a:pt x="142" y="71"/>
                  </a:lnTo>
                  <a:lnTo>
                    <a:pt x="140" y="77"/>
                  </a:lnTo>
                  <a:lnTo>
                    <a:pt x="142" y="79"/>
                  </a:lnTo>
                  <a:lnTo>
                    <a:pt x="140" y="81"/>
                  </a:lnTo>
                  <a:lnTo>
                    <a:pt x="138" y="81"/>
                  </a:lnTo>
                  <a:lnTo>
                    <a:pt x="137" y="83"/>
                  </a:lnTo>
                  <a:lnTo>
                    <a:pt x="135" y="85"/>
                  </a:lnTo>
                  <a:lnTo>
                    <a:pt x="135" y="87"/>
                  </a:lnTo>
                  <a:lnTo>
                    <a:pt x="133" y="87"/>
                  </a:lnTo>
                  <a:lnTo>
                    <a:pt x="131" y="87"/>
                  </a:lnTo>
                  <a:lnTo>
                    <a:pt x="131" y="89"/>
                  </a:lnTo>
                  <a:lnTo>
                    <a:pt x="129" y="91"/>
                  </a:lnTo>
                  <a:lnTo>
                    <a:pt x="127" y="91"/>
                  </a:lnTo>
                  <a:lnTo>
                    <a:pt x="127" y="92"/>
                  </a:lnTo>
                  <a:lnTo>
                    <a:pt x="129" y="92"/>
                  </a:lnTo>
                  <a:lnTo>
                    <a:pt x="133" y="96"/>
                  </a:lnTo>
                  <a:lnTo>
                    <a:pt x="133" y="98"/>
                  </a:lnTo>
                  <a:lnTo>
                    <a:pt x="131" y="98"/>
                  </a:lnTo>
                  <a:lnTo>
                    <a:pt x="129" y="100"/>
                  </a:lnTo>
                  <a:lnTo>
                    <a:pt x="127" y="102"/>
                  </a:lnTo>
                  <a:lnTo>
                    <a:pt x="127" y="100"/>
                  </a:lnTo>
                  <a:lnTo>
                    <a:pt x="125" y="100"/>
                  </a:lnTo>
                  <a:lnTo>
                    <a:pt x="123" y="102"/>
                  </a:lnTo>
                  <a:lnTo>
                    <a:pt x="121" y="102"/>
                  </a:lnTo>
                  <a:lnTo>
                    <a:pt x="119" y="102"/>
                  </a:lnTo>
                  <a:lnTo>
                    <a:pt x="117" y="104"/>
                  </a:lnTo>
                  <a:lnTo>
                    <a:pt x="117" y="102"/>
                  </a:lnTo>
                  <a:lnTo>
                    <a:pt x="115" y="102"/>
                  </a:lnTo>
                  <a:lnTo>
                    <a:pt x="115" y="104"/>
                  </a:lnTo>
                  <a:lnTo>
                    <a:pt x="113" y="104"/>
                  </a:lnTo>
                  <a:lnTo>
                    <a:pt x="112" y="102"/>
                  </a:lnTo>
                  <a:lnTo>
                    <a:pt x="110" y="102"/>
                  </a:lnTo>
                  <a:lnTo>
                    <a:pt x="108" y="102"/>
                  </a:lnTo>
                  <a:lnTo>
                    <a:pt x="106" y="100"/>
                  </a:lnTo>
                  <a:lnTo>
                    <a:pt x="104" y="100"/>
                  </a:lnTo>
                  <a:lnTo>
                    <a:pt x="106" y="102"/>
                  </a:lnTo>
                  <a:lnTo>
                    <a:pt x="108" y="104"/>
                  </a:lnTo>
                  <a:lnTo>
                    <a:pt x="104" y="102"/>
                  </a:lnTo>
                  <a:lnTo>
                    <a:pt x="102" y="102"/>
                  </a:lnTo>
                  <a:lnTo>
                    <a:pt x="100" y="104"/>
                  </a:lnTo>
                  <a:lnTo>
                    <a:pt x="98" y="104"/>
                  </a:lnTo>
                  <a:lnTo>
                    <a:pt x="100" y="106"/>
                  </a:lnTo>
                  <a:lnTo>
                    <a:pt x="100" y="108"/>
                  </a:lnTo>
                  <a:lnTo>
                    <a:pt x="98" y="110"/>
                  </a:lnTo>
                  <a:lnTo>
                    <a:pt x="100" y="110"/>
                  </a:lnTo>
                  <a:lnTo>
                    <a:pt x="102" y="112"/>
                  </a:lnTo>
                  <a:lnTo>
                    <a:pt x="102" y="114"/>
                  </a:lnTo>
                  <a:lnTo>
                    <a:pt x="104" y="115"/>
                  </a:lnTo>
                  <a:lnTo>
                    <a:pt x="102" y="119"/>
                  </a:lnTo>
                  <a:lnTo>
                    <a:pt x="106" y="121"/>
                  </a:lnTo>
                  <a:lnTo>
                    <a:pt x="106" y="123"/>
                  </a:lnTo>
                  <a:lnTo>
                    <a:pt x="108" y="127"/>
                  </a:lnTo>
                  <a:lnTo>
                    <a:pt x="106" y="131"/>
                  </a:lnTo>
                  <a:lnTo>
                    <a:pt x="108" y="133"/>
                  </a:lnTo>
                  <a:lnTo>
                    <a:pt x="106" y="133"/>
                  </a:lnTo>
                  <a:lnTo>
                    <a:pt x="108" y="135"/>
                  </a:lnTo>
                  <a:lnTo>
                    <a:pt x="104" y="137"/>
                  </a:lnTo>
                  <a:lnTo>
                    <a:pt x="102" y="140"/>
                  </a:lnTo>
                  <a:lnTo>
                    <a:pt x="100" y="142"/>
                  </a:lnTo>
                  <a:lnTo>
                    <a:pt x="100" y="146"/>
                  </a:lnTo>
                  <a:lnTo>
                    <a:pt x="104" y="146"/>
                  </a:lnTo>
                  <a:lnTo>
                    <a:pt x="102" y="146"/>
                  </a:lnTo>
                  <a:lnTo>
                    <a:pt x="104" y="148"/>
                  </a:lnTo>
                  <a:lnTo>
                    <a:pt x="100" y="148"/>
                  </a:lnTo>
                  <a:lnTo>
                    <a:pt x="100" y="150"/>
                  </a:lnTo>
                  <a:lnTo>
                    <a:pt x="98" y="152"/>
                  </a:lnTo>
                  <a:lnTo>
                    <a:pt x="96" y="152"/>
                  </a:lnTo>
                  <a:lnTo>
                    <a:pt x="96" y="154"/>
                  </a:lnTo>
                  <a:lnTo>
                    <a:pt x="94" y="156"/>
                  </a:lnTo>
                  <a:lnTo>
                    <a:pt x="94" y="152"/>
                  </a:lnTo>
                  <a:lnTo>
                    <a:pt x="92" y="154"/>
                  </a:lnTo>
                  <a:lnTo>
                    <a:pt x="92" y="156"/>
                  </a:lnTo>
                  <a:lnTo>
                    <a:pt x="92" y="158"/>
                  </a:lnTo>
                  <a:lnTo>
                    <a:pt x="94" y="158"/>
                  </a:lnTo>
                  <a:lnTo>
                    <a:pt x="98" y="158"/>
                  </a:lnTo>
                  <a:lnTo>
                    <a:pt x="96" y="160"/>
                  </a:lnTo>
                  <a:lnTo>
                    <a:pt x="98" y="162"/>
                  </a:lnTo>
                  <a:lnTo>
                    <a:pt x="98" y="164"/>
                  </a:lnTo>
                  <a:lnTo>
                    <a:pt x="100" y="164"/>
                  </a:lnTo>
                  <a:lnTo>
                    <a:pt x="98" y="165"/>
                  </a:lnTo>
                  <a:lnTo>
                    <a:pt x="100" y="165"/>
                  </a:lnTo>
                  <a:lnTo>
                    <a:pt x="98" y="167"/>
                  </a:lnTo>
                  <a:lnTo>
                    <a:pt x="96" y="167"/>
                  </a:lnTo>
                  <a:lnTo>
                    <a:pt x="96" y="169"/>
                  </a:lnTo>
                  <a:lnTo>
                    <a:pt x="96" y="171"/>
                  </a:lnTo>
                  <a:lnTo>
                    <a:pt x="94" y="169"/>
                  </a:lnTo>
                  <a:lnTo>
                    <a:pt x="94" y="171"/>
                  </a:lnTo>
                  <a:lnTo>
                    <a:pt x="96" y="171"/>
                  </a:lnTo>
                  <a:lnTo>
                    <a:pt x="96" y="173"/>
                  </a:lnTo>
                  <a:lnTo>
                    <a:pt x="94" y="173"/>
                  </a:lnTo>
                  <a:lnTo>
                    <a:pt x="92" y="173"/>
                  </a:lnTo>
                  <a:lnTo>
                    <a:pt x="90" y="173"/>
                  </a:lnTo>
                  <a:lnTo>
                    <a:pt x="90" y="171"/>
                  </a:lnTo>
                  <a:lnTo>
                    <a:pt x="90" y="173"/>
                  </a:lnTo>
                  <a:lnTo>
                    <a:pt x="89" y="173"/>
                  </a:lnTo>
                  <a:lnTo>
                    <a:pt x="89" y="171"/>
                  </a:lnTo>
                  <a:lnTo>
                    <a:pt x="87" y="171"/>
                  </a:lnTo>
                  <a:lnTo>
                    <a:pt x="85" y="173"/>
                  </a:lnTo>
                  <a:lnTo>
                    <a:pt x="83" y="173"/>
                  </a:lnTo>
                  <a:lnTo>
                    <a:pt x="85" y="171"/>
                  </a:lnTo>
                  <a:lnTo>
                    <a:pt x="83" y="169"/>
                  </a:lnTo>
                  <a:lnTo>
                    <a:pt x="83" y="167"/>
                  </a:lnTo>
                  <a:lnTo>
                    <a:pt x="83" y="165"/>
                  </a:lnTo>
                  <a:lnTo>
                    <a:pt x="85" y="164"/>
                  </a:lnTo>
                  <a:lnTo>
                    <a:pt x="85" y="162"/>
                  </a:lnTo>
                  <a:lnTo>
                    <a:pt x="87" y="162"/>
                  </a:lnTo>
                  <a:lnTo>
                    <a:pt x="87" y="160"/>
                  </a:lnTo>
                  <a:lnTo>
                    <a:pt x="87" y="158"/>
                  </a:lnTo>
                  <a:lnTo>
                    <a:pt x="89" y="156"/>
                  </a:lnTo>
                  <a:lnTo>
                    <a:pt x="87" y="154"/>
                  </a:lnTo>
                  <a:lnTo>
                    <a:pt x="89" y="152"/>
                  </a:lnTo>
                  <a:lnTo>
                    <a:pt x="90" y="150"/>
                  </a:lnTo>
                  <a:lnTo>
                    <a:pt x="90" y="148"/>
                  </a:lnTo>
                  <a:lnTo>
                    <a:pt x="92" y="148"/>
                  </a:lnTo>
                  <a:lnTo>
                    <a:pt x="90" y="146"/>
                  </a:lnTo>
                  <a:lnTo>
                    <a:pt x="89" y="146"/>
                  </a:lnTo>
                  <a:lnTo>
                    <a:pt x="89" y="144"/>
                  </a:lnTo>
                  <a:lnTo>
                    <a:pt x="85" y="144"/>
                  </a:lnTo>
                  <a:lnTo>
                    <a:pt x="83" y="142"/>
                  </a:lnTo>
                  <a:lnTo>
                    <a:pt x="81" y="142"/>
                  </a:lnTo>
                  <a:lnTo>
                    <a:pt x="81" y="139"/>
                  </a:lnTo>
                  <a:lnTo>
                    <a:pt x="79" y="139"/>
                  </a:lnTo>
                  <a:lnTo>
                    <a:pt x="79" y="137"/>
                  </a:lnTo>
                  <a:lnTo>
                    <a:pt x="75" y="139"/>
                  </a:lnTo>
                  <a:lnTo>
                    <a:pt x="73" y="139"/>
                  </a:lnTo>
                  <a:lnTo>
                    <a:pt x="71" y="139"/>
                  </a:lnTo>
                  <a:lnTo>
                    <a:pt x="69" y="139"/>
                  </a:lnTo>
                  <a:lnTo>
                    <a:pt x="67" y="139"/>
                  </a:lnTo>
                  <a:lnTo>
                    <a:pt x="69" y="135"/>
                  </a:lnTo>
                  <a:lnTo>
                    <a:pt x="67" y="135"/>
                  </a:lnTo>
                  <a:lnTo>
                    <a:pt x="65" y="135"/>
                  </a:lnTo>
                  <a:lnTo>
                    <a:pt x="64" y="135"/>
                  </a:lnTo>
                  <a:lnTo>
                    <a:pt x="64" y="133"/>
                  </a:lnTo>
                  <a:lnTo>
                    <a:pt x="64" y="131"/>
                  </a:lnTo>
                  <a:lnTo>
                    <a:pt x="62" y="129"/>
                  </a:lnTo>
                  <a:lnTo>
                    <a:pt x="64" y="127"/>
                  </a:lnTo>
                  <a:lnTo>
                    <a:pt x="64" y="125"/>
                  </a:lnTo>
                  <a:lnTo>
                    <a:pt x="62" y="125"/>
                  </a:lnTo>
                  <a:lnTo>
                    <a:pt x="62" y="123"/>
                  </a:lnTo>
                  <a:lnTo>
                    <a:pt x="60" y="125"/>
                  </a:lnTo>
                  <a:lnTo>
                    <a:pt x="58" y="129"/>
                  </a:lnTo>
                  <a:lnTo>
                    <a:pt x="56" y="129"/>
                  </a:lnTo>
                  <a:lnTo>
                    <a:pt x="56" y="127"/>
                  </a:lnTo>
                  <a:lnTo>
                    <a:pt x="52" y="127"/>
                  </a:lnTo>
                  <a:lnTo>
                    <a:pt x="50" y="127"/>
                  </a:lnTo>
                  <a:lnTo>
                    <a:pt x="52" y="127"/>
                  </a:lnTo>
                  <a:lnTo>
                    <a:pt x="54" y="127"/>
                  </a:lnTo>
                  <a:lnTo>
                    <a:pt x="54" y="125"/>
                  </a:lnTo>
                  <a:lnTo>
                    <a:pt x="54" y="123"/>
                  </a:lnTo>
                  <a:lnTo>
                    <a:pt x="52" y="121"/>
                  </a:lnTo>
                  <a:lnTo>
                    <a:pt x="50" y="121"/>
                  </a:lnTo>
                  <a:lnTo>
                    <a:pt x="48" y="123"/>
                  </a:lnTo>
                  <a:lnTo>
                    <a:pt x="48" y="125"/>
                  </a:lnTo>
                  <a:lnTo>
                    <a:pt x="46" y="125"/>
                  </a:lnTo>
                  <a:lnTo>
                    <a:pt x="46" y="127"/>
                  </a:lnTo>
                  <a:lnTo>
                    <a:pt x="42" y="125"/>
                  </a:lnTo>
                  <a:lnTo>
                    <a:pt x="42" y="123"/>
                  </a:lnTo>
                  <a:lnTo>
                    <a:pt x="42" y="121"/>
                  </a:lnTo>
                  <a:lnTo>
                    <a:pt x="40" y="121"/>
                  </a:lnTo>
                  <a:lnTo>
                    <a:pt x="37" y="123"/>
                  </a:lnTo>
                  <a:lnTo>
                    <a:pt x="37" y="125"/>
                  </a:lnTo>
                  <a:lnTo>
                    <a:pt x="37" y="129"/>
                  </a:lnTo>
                  <a:lnTo>
                    <a:pt x="35" y="129"/>
                  </a:lnTo>
                  <a:lnTo>
                    <a:pt x="35" y="127"/>
                  </a:lnTo>
                  <a:lnTo>
                    <a:pt x="31" y="127"/>
                  </a:lnTo>
                  <a:lnTo>
                    <a:pt x="29" y="125"/>
                  </a:lnTo>
                  <a:lnTo>
                    <a:pt x="27" y="125"/>
                  </a:lnTo>
                  <a:lnTo>
                    <a:pt x="23" y="125"/>
                  </a:lnTo>
                  <a:lnTo>
                    <a:pt x="21" y="121"/>
                  </a:lnTo>
                  <a:lnTo>
                    <a:pt x="19" y="121"/>
                  </a:lnTo>
                  <a:lnTo>
                    <a:pt x="17" y="125"/>
                  </a:lnTo>
                  <a:lnTo>
                    <a:pt x="15" y="125"/>
                  </a:lnTo>
                  <a:lnTo>
                    <a:pt x="14" y="125"/>
                  </a:lnTo>
                  <a:lnTo>
                    <a:pt x="14" y="123"/>
                  </a:lnTo>
                  <a:lnTo>
                    <a:pt x="12" y="123"/>
                  </a:lnTo>
                  <a:lnTo>
                    <a:pt x="10" y="121"/>
                  </a:lnTo>
                  <a:lnTo>
                    <a:pt x="10" y="119"/>
                  </a:lnTo>
                  <a:lnTo>
                    <a:pt x="8" y="119"/>
                  </a:lnTo>
                  <a:lnTo>
                    <a:pt x="8" y="121"/>
                  </a:lnTo>
                  <a:lnTo>
                    <a:pt x="6" y="121"/>
                  </a:lnTo>
                  <a:lnTo>
                    <a:pt x="4" y="117"/>
                  </a:lnTo>
                  <a:lnTo>
                    <a:pt x="2" y="115"/>
                  </a:lnTo>
                  <a:lnTo>
                    <a:pt x="0" y="114"/>
                  </a:lnTo>
                  <a:lnTo>
                    <a:pt x="2" y="112"/>
                  </a:lnTo>
                  <a:lnTo>
                    <a:pt x="6" y="110"/>
                  </a:lnTo>
                  <a:lnTo>
                    <a:pt x="8" y="112"/>
                  </a:lnTo>
                  <a:lnTo>
                    <a:pt x="10" y="114"/>
                  </a:lnTo>
                  <a:lnTo>
                    <a:pt x="10" y="115"/>
                  </a:lnTo>
                  <a:lnTo>
                    <a:pt x="12" y="115"/>
                  </a:lnTo>
                  <a:lnTo>
                    <a:pt x="17" y="115"/>
                  </a:lnTo>
                  <a:lnTo>
                    <a:pt x="19" y="115"/>
                  </a:lnTo>
                  <a:lnTo>
                    <a:pt x="21" y="115"/>
                  </a:lnTo>
                  <a:lnTo>
                    <a:pt x="23" y="117"/>
                  </a:lnTo>
                  <a:lnTo>
                    <a:pt x="23" y="119"/>
                  </a:lnTo>
                  <a:lnTo>
                    <a:pt x="25" y="121"/>
                  </a:lnTo>
                  <a:lnTo>
                    <a:pt x="27" y="123"/>
                  </a:lnTo>
                  <a:lnTo>
                    <a:pt x="29" y="123"/>
                  </a:lnTo>
                  <a:lnTo>
                    <a:pt x="31" y="123"/>
                  </a:lnTo>
                  <a:lnTo>
                    <a:pt x="33" y="123"/>
                  </a:lnTo>
                  <a:lnTo>
                    <a:pt x="33" y="121"/>
                  </a:lnTo>
                  <a:lnTo>
                    <a:pt x="31" y="117"/>
                  </a:lnTo>
                  <a:lnTo>
                    <a:pt x="29" y="119"/>
                  </a:lnTo>
                  <a:lnTo>
                    <a:pt x="29" y="117"/>
                  </a:lnTo>
                  <a:lnTo>
                    <a:pt x="25" y="117"/>
                  </a:lnTo>
                  <a:lnTo>
                    <a:pt x="23" y="115"/>
                  </a:lnTo>
                  <a:lnTo>
                    <a:pt x="21" y="114"/>
                  </a:lnTo>
                  <a:lnTo>
                    <a:pt x="25" y="112"/>
                  </a:lnTo>
                  <a:lnTo>
                    <a:pt x="27" y="112"/>
                  </a:lnTo>
                  <a:lnTo>
                    <a:pt x="31" y="112"/>
                  </a:lnTo>
                  <a:lnTo>
                    <a:pt x="29" y="112"/>
                  </a:lnTo>
                  <a:lnTo>
                    <a:pt x="27" y="110"/>
                  </a:lnTo>
                  <a:lnTo>
                    <a:pt x="29" y="110"/>
                  </a:lnTo>
                  <a:lnTo>
                    <a:pt x="31" y="112"/>
                  </a:lnTo>
                  <a:lnTo>
                    <a:pt x="33" y="112"/>
                  </a:lnTo>
                  <a:lnTo>
                    <a:pt x="37" y="110"/>
                  </a:lnTo>
                  <a:lnTo>
                    <a:pt x="39" y="108"/>
                  </a:lnTo>
                  <a:lnTo>
                    <a:pt x="40" y="108"/>
                  </a:lnTo>
                  <a:lnTo>
                    <a:pt x="44" y="108"/>
                  </a:lnTo>
                  <a:lnTo>
                    <a:pt x="46" y="108"/>
                  </a:lnTo>
                  <a:lnTo>
                    <a:pt x="48" y="108"/>
                  </a:lnTo>
                  <a:lnTo>
                    <a:pt x="50" y="108"/>
                  </a:lnTo>
                  <a:lnTo>
                    <a:pt x="52" y="106"/>
                  </a:lnTo>
                  <a:lnTo>
                    <a:pt x="54" y="108"/>
                  </a:lnTo>
                  <a:lnTo>
                    <a:pt x="54" y="106"/>
                  </a:lnTo>
                  <a:lnTo>
                    <a:pt x="52" y="106"/>
                  </a:lnTo>
                  <a:lnTo>
                    <a:pt x="52" y="104"/>
                  </a:lnTo>
                  <a:lnTo>
                    <a:pt x="50" y="106"/>
                  </a:lnTo>
                  <a:lnTo>
                    <a:pt x="48" y="106"/>
                  </a:lnTo>
                  <a:lnTo>
                    <a:pt x="48" y="108"/>
                  </a:lnTo>
                  <a:lnTo>
                    <a:pt x="46" y="106"/>
                  </a:lnTo>
                  <a:lnTo>
                    <a:pt x="46" y="108"/>
                  </a:lnTo>
                  <a:lnTo>
                    <a:pt x="44" y="108"/>
                  </a:lnTo>
                  <a:lnTo>
                    <a:pt x="39" y="106"/>
                  </a:lnTo>
                  <a:lnTo>
                    <a:pt x="37" y="104"/>
                  </a:lnTo>
                  <a:lnTo>
                    <a:pt x="33" y="102"/>
                  </a:lnTo>
                  <a:lnTo>
                    <a:pt x="33" y="100"/>
                  </a:lnTo>
                  <a:lnTo>
                    <a:pt x="31" y="100"/>
                  </a:lnTo>
                  <a:lnTo>
                    <a:pt x="31" y="98"/>
                  </a:lnTo>
                  <a:lnTo>
                    <a:pt x="29" y="98"/>
                  </a:lnTo>
                  <a:lnTo>
                    <a:pt x="27" y="96"/>
                  </a:lnTo>
                  <a:lnTo>
                    <a:pt x="27" y="94"/>
                  </a:lnTo>
                  <a:lnTo>
                    <a:pt x="27" y="91"/>
                  </a:lnTo>
                  <a:lnTo>
                    <a:pt x="25" y="92"/>
                  </a:lnTo>
                  <a:lnTo>
                    <a:pt x="27" y="89"/>
                  </a:lnTo>
                  <a:lnTo>
                    <a:pt x="27" y="87"/>
                  </a:lnTo>
                  <a:lnTo>
                    <a:pt x="29" y="89"/>
                  </a:lnTo>
                  <a:lnTo>
                    <a:pt x="31" y="87"/>
                  </a:lnTo>
                  <a:lnTo>
                    <a:pt x="31" y="85"/>
                  </a:lnTo>
                  <a:lnTo>
                    <a:pt x="33" y="83"/>
                  </a:lnTo>
                  <a:lnTo>
                    <a:pt x="37" y="81"/>
                  </a:lnTo>
                  <a:lnTo>
                    <a:pt x="39" y="79"/>
                  </a:lnTo>
                  <a:lnTo>
                    <a:pt x="40" y="75"/>
                  </a:lnTo>
                  <a:lnTo>
                    <a:pt x="42" y="75"/>
                  </a:lnTo>
                  <a:lnTo>
                    <a:pt x="44" y="71"/>
                  </a:lnTo>
                  <a:lnTo>
                    <a:pt x="46" y="67"/>
                  </a:lnTo>
                  <a:lnTo>
                    <a:pt x="46" y="66"/>
                  </a:lnTo>
                  <a:lnTo>
                    <a:pt x="50" y="60"/>
                  </a:lnTo>
                  <a:lnTo>
                    <a:pt x="50" y="58"/>
                  </a:lnTo>
                  <a:lnTo>
                    <a:pt x="52" y="54"/>
                  </a:lnTo>
                  <a:lnTo>
                    <a:pt x="52" y="52"/>
                  </a:lnTo>
                  <a:lnTo>
                    <a:pt x="54" y="46"/>
                  </a:lnTo>
                  <a:lnTo>
                    <a:pt x="54" y="42"/>
                  </a:lnTo>
                  <a:lnTo>
                    <a:pt x="56" y="39"/>
                  </a:lnTo>
                  <a:lnTo>
                    <a:pt x="56" y="37"/>
                  </a:lnTo>
                  <a:lnTo>
                    <a:pt x="58" y="31"/>
                  </a:lnTo>
                  <a:lnTo>
                    <a:pt x="58" y="27"/>
                  </a:lnTo>
                  <a:lnTo>
                    <a:pt x="60" y="27"/>
                  </a:lnTo>
                  <a:lnTo>
                    <a:pt x="62" y="27"/>
                  </a:lnTo>
                  <a:lnTo>
                    <a:pt x="62" y="29"/>
                  </a:lnTo>
                  <a:lnTo>
                    <a:pt x="64" y="33"/>
                  </a:lnTo>
                  <a:lnTo>
                    <a:pt x="65" y="33"/>
                  </a:lnTo>
                  <a:lnTo>
                    <a:pt x="65" y="31"/>
                  </a:lnTo>
                  <a:lnTo>
                    <a:pt x="67" y="31"/>
                  </a:lnTo>
                  <a:lnTo>
                    <a:pt x="69" y="29"/>
                  </a:lnTo>
                  <a:lnTo>
                    <a:pt x="75" y="25"/>
                  </a:lnTo>
                  <a:lnTo>
                    <a:pt x="71" y="31"/>
                  </a:lnTo>
                  <a:lnTo>
                    <a:pt x="73" y="35"/>
                  </a:lnTo>
                  <a:lnTo>
                    <a:pt x="71" y="39"/>
                  </a:lnTo>
                  <a:lnTo>
                    <a:pt x="71" y="41"/>
                  </a:lnTo>
                  <a:lnTo>
                    <a:pt x="73" y="42"/>
                  </a:lnTo>
                  <a:lnTo>
                    <a:pt x="75" y="42"/>
                  </a:lnTo>
                  <a:lnTo>
                    <a:pt x="77" y="42"/>
                  </a:lnTo>
                  <a:lnTo>
                    <a:pt x="79" y="42"/>
                  </a:lnTo>
                  <a:lnTo>
                    <a:pt x="79" y="44"/>
                  </a:lnTo>
                  <a:lnTo>
                    <a:pt x="77" y="46"/>
                  </a:lnTo>
                  <a:lnTo>
                    <a:pt x="81" y="50"/>
                  </a:lnTo>
                  <a:lnTo>
                    <a:pt x="77" y="46"/>
                  </a:lnTo>
                  <a:lnTo>
                    <a:pt x="75" y="48"/>
                  </a:lnTo>
                  <a:lnTo>
                    <a:pt x="71" y="50"/>
                  </a:lnTo>
                  <a:lnTo>
                    <a:pt x="71" y="48"/>
                  </a:lnTo>
                  <a:lnTo>
                    <a:pt x="67" y="48"/>
                  </a:lnTo>
                  <a:lnTo>
                    <a:pt x="67" y="50"/>
                  </a:lnTo>
                  <a:lnTo>
                    <a:pt x="67" y="52"/>
                  </a:lnTo>
                  <a:lnTo>
                    <a:pt x="67" y="54"/>
                  </a:lnTo>
                  <a:lnTo>
                    <a:pt x="69" y="58"/>
                  </a:lnTo>
                  <a:lnTo>
                    <a:pt x="67" y="60"/>
                  </a:lnTo>
                  <a:lnTo>
                    <a:pt x="67" y="62"/>
                  </a:lnTo>
                  <a:lnTo>
                    <a:pt x="69" y="62"/>
                  </a:lnTo>
                  <a:lnTo>
                    <a:pt x="65" y="66"/>
                  </a:lnTo>
                  <a:lnTo>
                    <a:pt x="64" y="66"/>
                  </a:lnTo>
                  <a:lnTo>
                    <a:pt x="65" y="67"/>
                  </a:lnTo>
                  <a:lnTo>
                    <a:pt x="65" y="69"/>
                  </a:lnTo>
                  <a:lnTo>
                    <a:pt x="67" y="67"/>
                  </a:lnTo>
                  <a:lnTo>
                    <a:pt x="71" y="69"/>
                  </a:lnTo>
                  <a:lnTo>
                    <a:pt x="71" y="71"/>
                  </a:lnTo>
                  <a:lnTo>
                    <a:pt x="75" y="69"/>
                  </a:lnTo>
                  <a:lnTo>
                    <a:pt x="75" y="71"/>
                  </a:lnTo>
                  <a:lnTo>
                    <a:pt x="77" y="73"/>
                  </a:lnTo>
                  <a:lnTo>
                    <a:pt x="79" y="73"/>
                  </a:lnTo>
                  <a:lnTo>
                    <a:pt x="79" y="75"/>
                  </a:lnTo>
                  <a:lnTo>
                    <a:pt x="56" y="127"/>
                  </a:lnTo>
                  <a:lnTo>
                    <a:pt x="58" y="125"/>
                  </a:lnTo>
                  <a:lnTo>
                    <a:pt x="58" y="127"/>
                  </a:lnTo>
                  <a:lnTo>
                    <a:pt x="56" y="127"/>
                  </a:lnTo>
                  <a:lnTo>
                    <a:pt x="79" y="75"/>
                  </a:lnTo>
                  <a:lnTo>
                    <a:pt x="58" y="127"/>
                  </a:lnTo>
                  <a:lnTo>
                    <a:pt x="58" y="129"/>
                  </a:lnTo>
                  <a:lnTo>
                    <a:pt x="58" y="127"/>
                  </a:lnTo>
                  <a:lnTo>
                    <a:pt x="79" y="75"/>
                  </a:lnTo>
                  <a:lnTo>
                    <a:pt x="56" y="127"/>
                  </a:lnTo>
                  <a:lnTo>
                    <a:pt x="79" y="75"/>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491" name="Freeform 279"/>
            <p:cNvSpPr>
              <a:spLocks/>
            </p:cNvSpPr>
            <p:nvPr/>
          </p:nvSpPr>
          <p:spPr bwMode="auto">
            <a:xfrm>
              <a:off x="2208" y="2336"/>
              <a:ext cx="150" cy="173"/>
            </a:xfrm>
            <a:custGeom>
              <a:avLst/>
              <a:gdLst>
                <a:gd name="T0" fmla="*/ 73 w 150"/>
                <a:gd name="T1" fmla="*/ 69 h 173"/>
                <a:gd name="T2" fmla="*/ 81 w 150"/>
                <a:gd name="T3" fmla="*/ 50 h 173"/>
                <a:gd name="T4" fmla="*/ 90 w 150"/>
                <a:gd name="T5" fmla="*/ 54 h 173"/>
                <a:gd name="T6" fmla="*/ 92 w 150"/>
                <a:gd name="T7" fmla="*/ 66 h 173"/>
                <a:gd name="T8" fmla="*/ 87 w 150"/>
                <a:gd name="T9" fmla="*/ 69 h 173"/>
                <a:gd name="T10" fmla="*/ 96 w 150"/>
                <a:gd name="T11" fmla="*/ 54 h 173"/>
                <a:gd name="T12" fmla="*/ 94 w 150"/>
                <a:gd name="T13" fmla="*/ 39 h 173"/>
                <a:gd name="T14" fmla="*/ 81 w 150"/>
                <a:gd name="T15" fmla="*/ 33 h 173"/>
                <a:gd name="T16" fmla="*/ 83 w 150"/>
                <a:gd name="T17" fmla="*/ 25 h 173"/>
                <a:gd name="T18" fmla="*/ 83 w 150"/>
                <a:gd name="T19" fmla="*/ 21 h 173"/>
                <a:gd name="T20" fmla="*/ 92 w 150"/>
                <a:gd name="T21" fmla="*/ 8 h 173"/>
                <a:gd name="T22" fmla="*/ 115 w 150"/>
                <a:gd name="T23" fmla="*/ 6 h 173"/>
                <a:gd name="T24" fmla="*/ 127 w 150"/>
                <a:gd name="T25" fmla="*/ 2 h 173"/>
                <a:gd name="T26" fmla="*/ 138 w 150"/>
                <a:gd name="T27" fmla="*/ 4 h 173"/>
                <a:gd name="T28" fmla="*/ 148 w 150"/>
                <a:gd name="T29" fmla="*/ 14 h 173"/>
                <a:gd name="T30" fmla="*/ 150 w 150"/>
                <a:gd name="T31" fmla="*/ 25 h 173"/>
                <a:gd name="T32" fmla="*/ 140 w 150"/>
                <a:gd name="T33" fmla="*/ 54 h 173"/>
                <a:gd name="T34" fmla="*/ 131 w 150"/>
                <a:gd name="T35" fmla="*/ 58 h 173"/>
                <a:gd name="T36" fmla="*/ 140 w 150"/>
                <a:gd name="T37" fmla="*/ 64 h 173"/>
                <a:gd name="T38" fmla="*/ 140 w 150"/>
                <a:gd name="T39" fmla="*/ 81 h 173"/>
                <a:gd name="T40" fmla="*/ 131 w 150"/>
                <a:gd name="T41" fmla="*/ 89 h 173"/>
                <a:gd name="T42" fmla="*/ 131 w 150"/>
                <a:gd name="T43" fmla="*/ 98 h 173"/>
                <a:gd name="T44" fmla="*/ 119 w 150"/>
                <a:gd name="T45" fmla="*/ 102 h 173"/>
                <a:gd name="T46" fmla="*/ 110 w 150"/>
                <a:gd name="T47" fmla="*/ 102 h 173"/>
                <a:gd name="T48" fmla="*/ 102 w 150"/>
                <a:gd name="T49" fmla="*/ 102 h 173"/>
                <a:gd name="T50" fmla="*/ 102 w 150"/>
                <a:gd name="T51" fmla="*/ 112 h 173"/>
                <a:gd name="T52" fmla="*/ 106 w 150"/>
                <a:gd name="T53" fmla="*/ 131 h 173"/>
                <a:gd name="T54" fmla="*/ 100 w 150"/>
                <a:gd name="T55" fmla="*/ 146 h 173"/>
                <a:gd name="T56" fmla="*/ 96 w 150"/>
                <a:gd name="T57" fmla="*/ 152 h 173"/>
                <a:gd name="T58" fmla="*/ 94 w 150"/>
                <a:gd name="T59" fmla="*/ 158 h 173"/>
                <a:gd name="T60" fmla="*/ 100 w 150"/>
                <a:gd name="T61" fmla="*/ 165 h 173"/>
                <a:gd name="T62" fmla="*/ 96 w 150"/>
                <a:gd name="T63" fmla="*/ 171 h 173"/>
                <a:gd name="T64" fmla="*/ 89 w 150"/>
                <a:gd name="T65" fmla="*/ 173 h 173"/>
                <a:gd name="T66" fmla="*/ 83 w 150"/>
                <a:gd name="T67" fmla="*/ 167 h 173"/>
                <a:gd name="T68" fmla="*/ 89 w 150"/>
                <a:gd name="T69" fmla="*/ 156 h 173"/>
                <a:gd name="T70" fmla="*/ 89 w 150"/>
                <a:gd name="T71" fmla="*/ 146 h 173"/>
                <a:gd name="T72" fmla="*/ 79 w 150"/>
                <a:gd name="T73" fmla="*/ 137 h 173"/>
                <a:gd name="T74" fmla="*/ 67 w 150"/>
                <a:gd name="T75" fmla="*/ 135 h 173"/>
                <a:gd name="T76" fmla="*/ 64 w 150"/>
                <a:gd name="T77" fmla="*/ 125 h 173"/>
                <a:gd name="T78" fmla="*/ 52 w 150"/>
                <a:gd name="T79" fmla="*/ 127 h 173"/>
                <a:gd name="T80" fmla="*/ 50 w 150"/>
                <a:gd name="T81" fmla="*/ 121 h 173"/>
                <a:gd name="T82" fmla="*/ 42 w 150"/>
                <a:gd name="T83" fmla="*/ 121 h 173"/>
                <a:gd name="T84" fmla="*/ 31 w 150"/>
                <a:gd name="T85" fmla="*/ 127 h 173"/>
                <a:gd name="T86" fmla="*/ 15 w 150"/>
                <a:gd name="T87" fmla="*/ 125 h 173"/>
                <a:gd name="T88" fmla="*/ 8 w 150"/>
                <a:gd name="T89" fmla="*/ 121 h 173"/>
                <a:gd name="T90" fmla="*/ 8 w 150"/>
                <a:gd name="T91" fmla="*/ 112 h 173"/>
                <a:gd name="T92" fmla="*/ 23 w 150"/>
                <a:gd name="T93" fmla="*/ 117 h 173"/>
                <a:gd name="T94" fmla="*/ 33 w 150"/>
                <a:gd name="T95" fmla="*/ 121 h 173"/>
                <a:gd name="T96" fmla="*/ 25 w 150"/>
                <a:gd name="T97" fmla="*/ 112 h 173"/>
                <a:gd name="T98" fmla="*/ 33 w 150"/>
                <a:gd name="T99" fmla="*/ 112 h 173"/>
                <a:gd name="T100" fmla="*/ 50 w 150"/>
                <a:gd name="T101" fmla="*/ 108 h 173"/>
                <a:gd name="T102" fmla="*/ 48 w 150"/>
                <a:gd name="T103" fmla="*/ 106 h 173"/>
                <a:gd name="T104" fmla="*/ 33 w 150"/>
                <a:gd name="T105" fmla="*/ 102 h 173"/>
                <a:gd name="T106" fmla="*/ 27 w 150"/>
                <a:gd name="T107" fmla="*/ 91 h 173"/>
                <a:gd name="T108" fmla="*/ 33 w 150"/>
                <a:gd name="T109" fmla="*/ 83 h 173"/>
                <a:gd name="T110" fmla="*/ 46 w 150"/>
                <a:gd name="T111" fmla="*/ 66 h 173"/>
                <a:gd name="T112" fmla="*/ 56 w 150"/>
                <a:gd name="T113" fmla="*/ 39 h 173"/>
                <a:gd name="T114" fmla="*/ 64 w 150"/>
                <a:gd name="T115" fmla="*/ 33 h 173"/>
                <a:gd name="T116" fmla="*/ 73 w 150"/>
                <a:gd name="T117" fmla="*/ 35 h 173"/>
                <a:gd name="T118" fmla="*/ 79 w 150"/>
                <a:gd name="T119" fmla="*/ 44 h 173"/>
                <a:gd name="T120" fmla="*/ 67 w 150"/>
                <a:gd name="T121" fmla="*/ 48 h 173"/>
                <a:gd name="T122" fmla="*/ 69 w 150"/>
                <a:gd name="T123" fmla="*/ 62 h 173"/>
                <a:gd name="T124" fmla="*/ 71 w 150"/>
                <a:gd name="T125" fmla="*/ 71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173">
                  <a:moveTo>
                    <a:pt x="79" y="75"/>
                  </a:moveTo>
                  <a:lnTo>
                    <a:pt x="83" y="75"/>
                  </a:lnTo>
                  <a:lnTo>
                    <a:pt x="85" y="75"/>
                  </a:lnTo>
                  <a:lnTo>
                    <a:pt x="81" y="75"/>
                  </a:lnTo>
                  <a:lnTo>
                    <a:pt x="79" y="75"/>
                  </a:lnTo>
                  <a:lnTo>
                    <a:pt x="75" y="69"/>
                  </a:lnTo>
                  <a:lnTo>
                    <a:pt x="73" y="69"/>
                  </a:lnTo>
                  <a:lnTo>
                    <a:pt x="71" y="69"/>
                  </a:lnTo>
                  <a:lnTo>
                    <a:pt x="69" y="66"/>
                  </a:lnTo>
                  <a:lnTo>
                    <a:pt x="71" y="64"/>
                  </a:lnTo>
                  <a:lnTo>
                    <a:pt x="73" y="64"/>
                  </a:lnTo>
                  <a:lnTo>
                    <a:pt x="83" y="58"/>
                  </a:lnTo>
                  <a:lnTo>
                    <a:pt x="83" y="56"/>
                  </a:lnTo>
                  <a:lnTo>
                    <a:pt x="81" y="50"/>
                  </a:lnTo>
                  <a:lnTo>
                    <a:pt x="83" y="56"/>
                  </a:lnTo>
                  <a:lnTo>
                    <a:pt x="83" y="58"/>
                  </a:lnTo>
                  <a:lnTo>
                    <a:pt x="83" y="56"/>
                  </a:lnTo>
                  <a:lnTo>
                    <a:pt x="85" y="56"/>
                  </a:lnTo>
                  <a:lnTo>
                    <a:pt x="87" y="54"/>
                  </a:lnTo>
                  <a:lnTo>
                    <a:pt x="90" y="52"/>
                  </a:lnTo>
                  <a:lnTo>
                    <a:pt x="90" y="54"/>
                  </a:lnTo>
                  <a:lnTo>
                    <a:pt x="94" y="54"/>
                  </a:lnTo>
                  <a:lnTo>
                    <a:pt x="96" y="56"/>
                  </a:lnTo>
                  <a:lnTo>
                    <a:pt x="98" y="60"/>
                  </a:lnTo>
                  <a:lnTo>
                    <a:pt x="98" y="62"/>
                  </a:lnTo>
                  <a:lnTo>
                    <a:pt x="96" y="64"/>
                  </a:lnTo>
                  <a:lnTo>
                    <a:pt x="94" y="66"/>
                  </a:lnTo>
                  <a:lnTo>
                    <a:pt x="92" y="66"/>
                  </a:lnTo>
                  <a:lnTo>
                    <a:pt x="90" y="66"/>
                  </a:lnTo>
                  <a:lnTo>
                    <a:pt x="87" y="67"/>
                  </a:lnTo>
                  <a:lnTo>
                    <a:pt x="85" y="69"/>
                  </a:lnTo>
                  <a:lnTo>
                    <a:pt x="87" y="69"/>
                  </a:lnTo>
                  <a:lnTo>
                    <a:pt x="85" y="73"/>
                  </a:lnTo>
                  <a:lnTo>
                    <a:pt x="87" y="71"/>
                  </a:lnTo>
                  <a:lnTo>
                    <a:pt x="87" y="69"/>
                  </a:lnTo>
                  <a:lnTo>
                    <a:pt x="89" y="69"/>
                  </a:lnTo>
                  <a:lnTo>
                    <a:pt x="90" y="67"/>
                  </a:lnTo>
                  <a:lnTo>
                    <a:pt x="92" y="67"/>
                  </a:lnTo>
                  <a:lnTo>
                    <a:pt x="96" y="64"/>
                  </a:lnTo>
                  <a:lnTo>
                    <a:pt x="98" y="60"/>
                  </a:lnTo>
                  <a:lnTo>
                    <a:pt x="98" y="56"/>
                  </a:lnTo>
                  <a:lnTo>
                    <a:pt x="96" y="54"/>
                  </a:lnTo>
                  <a:lnTo>
                    <a:pt x="98" y="54"/>
                  </a:lnTo>
                  <a:lnTo>
                    <a:pt x="90" y="52"/>
                  </a:lnTo>
                  <a:lnTo>
                    <a:pt x="90" y="50"/>
                  </a:lnTo>
                  <a:lnTo>
                    <a:pt x="89" y="50"/>
                  </a:lnTo>
                  <a:lnTo>
                    <a:pt x="89" y="42"/>
                  </a:lnTo>
                  <a:lnTo>
                    <a:pt x="92" y="39"/>
                  </a:lnTo>
                  <a:lnTo>
                    <a:pt x="94" y="39"/>
                  </a:lnTo>
                  <a:lnTo>
                    <a:pt x="92" y="37"/>
                  </a:lnTo>
                  <a:lnTo>
                    <a:pt x="90" y="37"/>
                  </a:lnTo>
                  <a:lnTo>
                    <a:pt x="89" y="39"/>
                  </a:lnTo>
                  <a:lnTo>
                    <a:pt x="85" y="37"/>
                  </a:lnTo>
                  <a:lnTo>
                    <a:pt x="83" y="37"/>
                  </a:lnTo>
                  <a:lnTo>
                    <a:pt x="81" y="35"/>
                  </a:lnTo>
                  <a:lnTo>
                    <a:pt x="81" y="33"/>
                  </a:lnTo>
                  <a:lnTo>
                    <a:pt x="83" y="33"/>
                  </a:lnTo>
                  <a:lnTo>
                    <a:pt x="83" y="31"/>
                  </a:lnTo>
                  <a:lnTo>
                    <a:pt x="83" y="29"/>
                  </a:lnTo>
                  <a:lnTo>
                    <a:pt x="85" y="27"/>
                  </a:lnTo>
                  <a:lnTo>
                    <a:pt x="83" y="27"/>
                  </a:lnTo>
                  <a:lnTo>
                    <a:pt x="85" y="25"/>
                  </a:lnTo>
                  <a:lnTo>
                    <a:pt x="83" y="25"/>
                  </a:lnTo>
                  <a:lnTo>
                    <a:pt x="83" y="23"/>
                  </a:lnTo>
                  <a:lnTo>
                    <a:pt x="83" y="21"/>
                  </a:lnTo>
                  <a:lnTo>
                    <a:pt x="83" y="19"/>
                  </a:lnTo>
                  <a:lnTo>
                    <a:pt x="83" y="21"/>
                  </a:lnTo>
                  <a:lnTo>
                    <a:pt x="77" y="25"/>
                  </a:lnTo>
                  <a:lnTo>
                    <a:pt x="81" y="21"/>
                  </a:lnTo>
                  <a:lnTo>
                    <a:pt x="83" y="21"/>
                  </a:lnTo>
                  <a:lnTo>
                    <a:pt x="83" y="19"/>
                  </a:lnTo>
                  <a:lnTo>
                    <a:pt x="85" y="19"/>
                  </a:lnTo>
                  <a:lnTo>
                    <a:pt x="85" y="17"/>
                  </a:lnTo>
                  <a:lnTo>
                    <a:pt x="85" y="16"/>
                  </a:lnTo>
                  <a:lnTo>
                    <a:pt x="87" y="12"/>
                  </a:lnTo>
                  <a:lnTo>
                    <a:pt x="90" y="10"/>
                  </a:lnTo>
                  <a:lnTo>
                    <a:pt x="92" y="8"/>
                  </a:lnTo>
                  <a:lnTo>
                    <a:pt x="96" y="6"/>
                  </a:lnTo>
                  <a:lnTo>
                    <a:pt x="98" y="4"/>
                  </a:lnTo>
                  <a:lnTo>
                    <a:pt x="104" y="2"/>
                  </a:lnTo>
                  <a:lnTo>
                    <a:pt x="108" y="2"/>
                  </a:lnTo>
                  <a:lnTo>
                    <a:pt x="113" y="2"/>
                  </a:lnTo>
                  <a:lnTo>
                    <a:pt x="113" y="6"/>
                  </a:lnTo>
                  <a:lnTo>
                    <a:pt x="115" y="6"/>
                  </a:lnTo>
                  <a:lnTo>
                    <a:pt x="113" y="4"/>
                  </a:lnTo>
                  <a:lnTo>
                    <a:pt x="115" y="2"/>
                  </a:lnTo>
                  <a:lnTo>
                    <a:pt x="113" y="2"/>
                  </a:lnTo>
                  <a:lnTo>
                    <a:pt x="115" y="2"/>
                  </a:lnTo>
                  <a:lnTo>
                    <a:pt x="117" y="4"/>
                  </a:lnTo>
                  <a:lnTo>
                    <a:pt x="123" y="2"/>
                  </a:lnTo>
                  <a:lnTo>
                    <a:pt x="127" y="2"/>
                  </a:lnTo>
                  <a:lnTo>
                    <a:pt x="131" y="0"/>
                  </a:lnTo>
                  <a:lnTo>
                    <a:pt x="135" y="0"/>
                  </a:lnTo>
                  <a:lnTo>
                    <a:pt x="137" y="0"/>
                  </a:lnTo>
                  <a:lnTo>
                    <a:pt x="137" y="2"/>
                  </a:lnTo>
                  <a:lnTo>
                    <a:pt x="138" y="0"/>
                  </a:lnTo>
                  <a:lnTo>
                    <a:pt x="138" y="2"/>
                  </a:lnTo>
                  <a:lnTo>
                    <a:pt x="138" y="4"/>
                  </a:lnTo>
                  <a:lnTo>
                    <a:pt x="138" y="8"/>
                  </a:lnTo>
                  <a:lnTo>
                    <a:pt x="140" y="10"/>
                  </a:lnTo>
                  <a:lnTo>
                    <a:pt x="146" y="10"/>
                  </a:lnTo>
                  <a:lnTo>
                    <a:pt x="146" y="12"/>
                  </a:lnTo>
                  <a:lnTo>
                    <a:pt x="144" y="12"/>
                  </a:lnTo>
                  <a:lnTo>
                    <a:pt x="146" y="14"/>
                  </a:lnTo>
                  <a:lnTo>
                    <a:pt x="148" y="14"/>
                  </a:lnTo>
                  <a:lnTo>
                    <a:pt x="150" y="14"/>
                  </a:lnTo>
                  <a:lnTo>
                    <a:pt x="150" y="17"/>
                  </a:lnTo>
                  <a:lnTo>
                    <a:pt x="150" y="19"/>
                  </a:lnTo>
                  <a:lnTo>
                    <a:pt x="148" y="19"/>
                  </a:lnTo>
                  <a:lnTo>
                    <a:pt x="148" y="21"/>
                  </a:lnTo>
                  <a:lnTo>
                    <a:pt x="150" y="23"/>
                  </a:lnTo>
                  <a:lnTo>
                    <a:pt x="150" y="25"/>
                  </a:lnTo>
                  <a:lnTo>
                    <a:pt x="150" y="31"/>
                  </a:lnTo>
                  <a:lnTo>
                    <a:pt x="148" y="35"/>
                  </a:lnTo>
                  <a:lnTo>
                    <a:pt x="144" y="41"/>
                  </a:lnTo>
                  <a:lnTo>
                    <a:pt x="144" y="42"/>
                  </a:lnTo>
                  <a:lnTo>
                    <a:pt x="142" y="52"/>
                  </a:lnTo>
                  <a:lnTo>
                    <a:pt x="142" y="54"/>
                  </a:lnTo>
                  <a:lnTo>
                    <a:pt x="140" y="54"/>
                  </a:lnTo>
                  <a:lnTo>
                    <a:pt x="138" y="54"/>
                  </a:lnTo>
                  <a:lnTo>
                    <a:pt x="137" y="52"/>
                  </a:lnTo>
                  <a:lnTo>
                    <a:pt x="131" y="52"/>
                  </a:lnTo>
                  <a:lnTo>
                    <a:pt x="129" y="54"/>
                  </a:lnTo>
                  <a:lnTo>
                    <a:pt x="131" y="54"/>
                  </a:lnTo>
                  <a:lnTo>
                    <a:pt x="129" y="56"/>
                  </a:lnTo>
                  <a:lnTo>
                    <a:pt x="131" y="58"/>
                  </a:lnTo>
                  <a:lnTo>
                    <a:pt x="129" y="58"/>
                  </a:lnTo>
                  <a:lnTo>
                    <a:pt x="129" y="60"/>
                  </a:lnTo>
                  <a:lnTo>
                    <a:pt x="129" y="62"/>
                  </a:lnTo>
                  <a:lnTo>
                    <a:pt x="131" y="64"/>
                  </a:lnTo>
                  <a:lnTo>
                    <a:pt x="135" y="64"/>
                  </a:lnTo>
                  <a:lnTo>
                    <a:pt x="138" y="66"/>
                  </a:lnTo>
                  <a:lnTo>
                    <a:pt x="140" y="64"/>
                  </a:lnTo>
                  <a:lnTo>
                    <a:pt x="140" y="66"/>
                  </a:lnTo>
                  <a:lnTo>
                    <a:pt x="140" y="67"/>
                  </a:lnTo>
                  <a:lnTo>
                    <a:pt x="142" y="69"/>
                  </a:lnTo>
                  <a:lnTo>
                    <a:pt x="142" y="71"/>
                  </a:lnTo>
                  <a:lnTo>
                    <a:pt x="140" y="77"/>
                  </a:lnTo>
                  <a:lnTo>
                    <a:pt x="142" y="79"/>
                  </a:lnTo>
                  <a:lnTo>
                    <a:pt x="140" y="81"/>
                  </a:lnTo>
                  <a:lnTo>
                    <a:pt x="138" y="81"/>
                  </a:lnTo>
                  <a:lnTo>
                    <a:pt x="137" y="83"/>
                  </a:lnTo>
                  <a:lnTo>
                    <a:pt x="135" y="85"/>
                  </a:lnTo>
                  <a:lnTo>
                    <a:pt x="135" y="87"/>
                  </a:lnTo>
                  <a:lnTo>
                    <a:pt x="133" y="87"/>
                  </a:lnTo>
                  <a:lnTo>
                    <a:pt x="131" y="87"/>
                  </a:lnTo>
                  <a:lnTo>
                    <a:pt x="131" y="89"/>
                  </a:lnTo>
                  <a:lnTo>
                    <a:pt x="129" y="91"/>
                  </a:lnTo>
                  <a:lnTo>
                    <a:pt x="127" y="91"/>
                  </a:lnTo>
                  <a:lnTo>
                    <a:pt x="127" y="92"/>
                  </a:lnTo>
                  <a:lnTo>
                    <a:pt x="129" y="92"/>
                  </a:lnTo>
                  <a:lnTo>
                    <a:pt x="133" y="96"/>
                  </a:lnTo>
                  <a:lnTo>
                    <a:pt x="133" y="98"/>
                  </a:lnTo>
                  <a:lnTo>
                    <a:pt x="131" y="98"/>
                  </a:lnTo>
                  <a:lnTo>
                    <a:pt x="129" y="100"/>
                  </a:lnTo>
                  <a:lnTo>
                    <a:pt x="127" y="102"/>
                  </a:lnTo>
                  <a:lnTo>
                    <a:pt x="127" y="100"/>
                  </a:lnTo>
                  <a:lnTo>
                    <a:pt x="125" y="100"/>
                  </a:lnTo>
                  <a:lnTo>
                    <a:pt x="123" y="102"/>
                  </a:lnTo>
                  <a:lnTo>
                    <a:pt x="121" y="102"/>
                  </a:lnTo>
                  <a:lnTo>
                    <a:pt x="119" y="102"/>
                  </a:lnTo>
                  <a:lnTo>
                    <a:pt x="117" y="104"/>
                  </a:lnTo>
                  <a:lnTo>
                    <a:pt x="117" y="102"/>
                  </a:lnTo>
                  <a:lnTo>
                    <a:pt x="115" y="102"/>
                  </a:lnTo>
                  <a:lnTo>
                    <a:pt x="115" y="104"/>
                  </a:lnTo>
                  <a:lnTo>
                    <a:pt x="113" y="104"/>
                  </a:lnTo>
                  <a:lnTo>
                    <a:pt x="112" y="102"/>
                  </a:lnTo>
                  <a:lnTo>
                    <a:pt x="110" y="102"/>
                  </a:lnTo>
                  <a:lnTo>
                    <a:pt x="108" y="102"/>
                  </a:lnTo>
                  <a:lnTo>
                    <a:pt x="106" y="100"/>
                  </a:lnTo>
                  <a:lnTo>
                    <a:pt x="104" y="100"/>
                  </a:lnTo>
                  <a:lnTo>
                    <a:pt x="106" y="102"/>
                  </a:lnTo>
                  <a:lnTo>
                    <a:pt x="108" y="104"/>
                  </a:lnTo>
                  <a:lnTo>
                    <a:pt x="104" y="102"/>
                  </a:lnTo>
                  <a:lnTo>
                    <a:pt x="102" y="102"/>
                  </a:lnTo>
                  <a:lnTo>
                    <a:pt x="100" y="104"/>
                  </a:lnTo>
                  <a:lnTo>
                    <a:pt x="98" y="104"/>
                  </a:lnTo>
                  <a:lnTo>
                    <a:pt x="100" y="106"/>
                  </a:lnTo>
                  <a:lnTo>
                    <a:pt x="100" y="108"/>
                  </a:lnTo>
                  <a:lnTo>
                    <a:pt x="98" y="110"/>
                  </a:lnTo>
                  <a:lnTo>
                    <a:pt x="100" y="110"/>
                  </a:lnTo>
                  <a:lnTo>
                    <a:pt x="102" y="112"/>
                  </a:lnTo>
                  <a:lnTo>
                    <a:pt x="102" y="114"/>
                  </a:lnTo>
                  <a:lnTo>
                    <a:pt x="104" y="115"/>
                  </a:lnTo>
                  <a:lnTo>
                    <a:pt x="102" y="119"/>
                  </a:lnTo>
                  <a:lnTo>
                    <a:pt x="106" y="121"/>
                  </a:lnTo>
                  <a:lnTo>
                    <a:pt x="106" y="123"/>
                  </a:lnTo>
                  <a:lnTo>
                    <a:pt x="108" y="127"/>
                  </a:lnTo>
                  <a:lnTo>
                    <a:pt x="106" y="131"/>
                  </a:lnTo>
                  <a:lnTo>
                    <a:pt x="108" y="133"/>
                  </a:lnTo>
                  <a:lnTo>
                    <a:pt x="106" y="133"/>
                  </a:lnTo>
                  <a:lnTo>
                    <a:pt x="108" y="135"/>
                  </a:lnTo>
                  <a:lnTo>
                    <a:pt x="104" y="137"/>
                  </a:lnTo>
                  <a:lnTo>
                    <a:pt x="102" y="140"/>
                  </a:lnTo>
                  <a:lnTo>
                    <a:pt x="100" y="142"/>
                  </a:lnTo>
                  <a:lnTo>
                    <a:pt x="100" y="146"/>
                  </a:lnTo>
                  <a:lnTo>
                    <a:pt x="104" y="146"/>
                  </a:lnTo>
                  <a:lnTo>
                    <a:pt x="102" y="146"/>
                  </a:lnTo>
                  <a:lnTo>
                    <a:pt x="104" y="148"/>
                  </a:lnTo>
                  <a:lnTo>
                    <a:pt x="100" y="148"/>
                  </a:lnTo>
                  <a:lnTo>
                    <a:pt x="100" y="150"/>
                  </a:lnTo>
                  <a:lnTo>
                    <a:pt x="98" y="152"/>
                  </a:lnTo>
                  <a:lnTo>
                    <a:pt x="96" y="152"/>
                  </a:lnTo>
                  <a:lnTo>
                    <a:pt x="96" y="154"/>
                  </a:lnTo>
                  <a:lnTo>
                    <a:pt x="94" y="156"/>
                  </a:lnTo>
                  <a:lnTo>
                    <a:pt x="94" y="152"/>
                  </a:lnTo>
                  <a:lnTo>
                    <a:pt x="92" y="154"/>
                  </a:lnTo>
                  <a:lnTo>
                    <a:pt x="92" y="156"/>
                  </a:lnTo>
                  <a:lnTo>
                    <a:pt x="92" y="158"/>
                  </a:lnTo>
                  <a:lnTo>
                    <a:pt x="94" y="158"/>
                  </a:lnTo>
                  <a:lnTo>
                    <a:pt x="98" y="158"/>
                  </a:lnTo>
                  <a:lnTo>
                    <a:pt x="96" y="160"/>
                  </a:lnTo>
                  <a:lnTo>
                    <a:pt x="98" y="162"/>
                  </a:lnTo>
                  <a:lnTo>
                    <a:pt x="98" y="164"/>
                  </a:lnTo>
                  <a:lnTo>
                    <a:pt x="100" y="164"/>
                  </a:lnTo>
                  <a:lnTo>
                    <a:pt x="98" y="165"/>
                  </a:lnTo>
                  <a:lnTo>
                    <a:pt x="100" y="165"/>
                  </a:lnTo>
                  <a:lnTo>
                    <a:pt x="98" y="167"/>
                  </a:lnTo>
                  <a:lnTo>
                    <a:pt x="96" y="167"/>
                  </a:lnTo>
                  <a:lnTo>
                    <a:pt x="96" y="169"/>
                  </a:lnTo>
                  <a:lnTo>
                    <a:pt x="96" y="171"/>
                  </a:lnTo>
                  <a:lnTo>
                    <a:pt x="94" y="169"/>
                  </a:lnTo>
                  <a:lnTo>
                    <a:pt x="94" y="171"/>
                  </a:lnTo>
                  <a:lnTo>
                    <a:pt x="96" y="171"/>
                  </a:lnTo>
                  <a:lnTo>
                    <a:pt x="96" y="173"/>
                  </a:lnTo>
                  <a:lnTo>
                    <a:pt x="94" y="173"/>
                  </a:lnTo>
                  <a:lnTo>
                    <a:pt x="92" y="173"/>
                  </a:lnTo>
                  <a:lnTo>
                    <a:pt x="90" y="173"/>
                  </a:lnTo>
                  <a:lnTo>
                    <a:pt x="90" y="171"/>
                  </a:lnTo>
                  <a:lnTo>
                    <a:pt x="90" y="173"/>
                  </a:lnTo>
                  <a:lnTo>
                    <a:pt x="89" y="173"/>
                  </a:lnTo>
                  <a:lnTo>
                    <a:pt x="89" y="171"/>
                  </a:lnTo>
                  <a:lnTo>
                    <a:pt x="87" y="171"/>
                  </a:lnTo>
                  <a:lnTo>
                    <a:pt x="85" y="173"/>
                  </a:lnTo>
                  <a:lnTo>
                    <a:pt x="83" y="173"/>
                  </a:lnTo>
                  <a:lnTo>
                    <a:pt x="85" y="171"/>
                  </a:lnTo>
                  <a:lnTo>
                    <a:pt x="83" y="169"/>
                  </a:lnTo>
                  <a:lnTo>
                    <a:pt x="83" y="167"/>
                  </a:lnTo>
                  <a:lnTo>
                    <a:pt x="83" y="165"/>
                  </a:lnTo>
                  <a:lnTo>
                    <a:pt x="85" y="164"/>
                  </a:lnTo>
                  <a:lnTo>
                    <a:pt x="85" y="162"/>
                  </a:lnTo>
                  <a:lnTo>
                    <a:pt x="87" y="162"/>
                  </a:lnTo>
                  <a:lnTo>
                    <a:pt x="87" y="160"/>
                  </a:lnTo>
                  <a:lnTo>
                    <a:pt x="87" y="158"/>
                  </a:lnTo>
                  <a:lnTo>
                    <a:pt x="89" y="156"/>
                  </a:lnTo>
                  <a:lnTo>
                    <a:pt x="87" y="154"/>
                  </a:lnTo>
                  <a:lnTo>
                    <a:pt x="89" y="152"/>
                  </a:lnTo>
                  <a:lnTo>
                    <a:pt x="90" y="150"/>
                  </a:lnTo>
                  <a:lnTo>
                    <a:pt x="90" y="148"/>
                  </a:lnTo>
                  <a:lnTo>
                    <a:pt x="92" y="148"/>
                  </a:lnTo>
                  <a:lnTo>
                    <a:pt x="90" y="146"/>
                  </a:lnTo>
                  <a:lnTo>
                    <a:pt x="89" y="146"/>
                  </a:lnTo>
                  <a:lnTo>
                    <a:pt x="89" y="144"/>
                  </a:lnTo>
                  <a:lnTo>
                    <a:pt x="85" y="144"/>
                  </a:lnTo>
                  <a:lnTo>
                    <a:pt x="83" y="142"/>
                  </a:lnTo>
                  <a:lnTo>
                    <a:pt x="81" y="142"/>
                  </a:lnTo>
                  <a:lnTo>
                    <a:pt x="81" y="139"/>
                  </a:lnTo>
                  <a:lnTo>
                    <a:pt x="79" y="139"/>
                  </a:lnTo>
                  <a:lnTo>
                    <a:pt x="79" y="137"/>
                  </a:lnTo>
                  <a:lnTo>
                    <a:pt x="75" y="139"/>
                  </a:lnTo>
                  <a:lnTo>
                    <a:pt x="73" y="139"/>
                  </a:lnTo>
                  <a:lnTo>
                    <a:pt x="71" y="139"/>
                  </a:lnTo>
                  <a:lnTo>
                    <a:pt x="69" y="139"/>
                  </a:lnTo>
                  <a:lnTo>
                    <a:pt x="67" y="139"/>
                  </a:lnTo>
                  <a:lnTo>
                    <a:pt x="69" y="135"/>
                  </a:lnTo>
                  <a:lnTo>
                    <a:pt x="67" y="135"/>
                  </a:lnTo>
                  <a:lnTo>
                    <a:pt x="65" y="135"/>
                  </a:lnTo>
                  <a:lnTo>
                    <a:pt x="64" y="135"/>
                  </a:lnTo>
                  <a:lnTo>
                    <a:pt x="64" y="133"/>
                  </a:lnTo>
                  <a:lnTo>
                    <a:pt x="64" y="131"/>
                  </a:lnTo>
                  <a:lnTo>
                    <a:pt x="62" y="129"/>
                  </a:lnTo>
                  <a:lnTo>
                    <a:pt x="64" y="127"/>
                  </a:lnTo>
                  <a:lnTo>
                    <a:pt x="64" y="125"/>
                  </a:lnTo>
                  <a:lnTo>
                    <a:pt x="62" y="125"/>
                  </a:lnTo>
                  <a:lnTo>
                    <a:pt x="62" y="123"/>
                  </a:lnTo>
                  <a:lnTo>
                    <a:pt x="60" y="125"/>
                  </a:lnTo>
                  <a:lnTo>
                    <a:pt x="58" y="129"/>
                  </a:lnTo>
                  <a:lnTo>
                    <a:pt x="56" y="129"/>
                  </a:lnTo>
                  <a:lnTo>
                    <a:pt x="56" y="127"/>
                  </a:lnTo>
                  <a:lnTo>
                    <a:pt x="52" y="127"/>
                  </a:lnTo>
                  <a:lnTo>
                    <a:pt x="50" y="127"/>
                  </a:lnTo>
                  <a:lnTo>
                    <a:pt x="52" y="127"/>
                  </a:lnTo>
                  <a:lnTo>
                    <a:pt x="54" y="127"/>
                  </a:lnTo>
                  <a:lnTo>
                    <a:pt x="54" y="125"/>
                  </a:lnTo>
                  <a:lnTo>
                    <a:pt x="54" y="123"/>
                  </a:lnTo>
                  <a:lnTo>
                    <a:pt x="52" y="121"/>
                  </a:lnTo>
                  <a:lnTo>
                    <a:pt x="50" y="121"/>
                  </a:lnTo>
                  <a:lnTo>
                    <a:pt x="48" y="123"/>
                  </a:lnTo>
                  <a:lnTo>
                    <a:pt x="48" y="125"/>
                  </a:lnTo>
                  <a:lnTo>
                    <a:pt x="46" y="125"/>
                  </a:lnTo>
                  <a:lnTo>
                    <a:pt x="46" y="127"/>
                  </a:lnTo>
                  <a:lnTo>
                    <a:pt x="42" y="125"/>
                  </a:lnTo>
                  <a:lnTo>
                    <a:pt x="42" y="123"/>
                  </a:lnTo>
                  <a:lnTo>
                    <a:pt x="42" y="121"/>
                  </a:lnTo>
                  <a:lnTo>
                    <a:pt x="40" y="121"/>
                  </a:lnTo>
                  <a:lnTo>
                    <a:pt x="37" y="123"/>
                  </a:lnTo>
                  <a:lnTo>
                    <a:pt x="37" y="125"/>
                  </a:lnTo>
                  <a:lnTo>
                    <a:pt x="37" y="129"/>
                  </a:lnTo>
                  <a:lnTo>
                    <a:pt x="35" y="129"/>
                  </a:lnTo>
                  <a:lnTo>
                    <a:pt x="35" y="127"/>
                  </a:lnTo>
                  <a:lnTo>
                    <a:pt x="31" y="127"/>
                  </a:lnTo>
                  <a:lnTo>
                    <a:pt x="29" y="125"/>
                  </a:lnTo>
                  <a:lnTo>
                    <a:pt x="27" y="125"/>
                  </a:lnTo>
                  <a:lnTo>
                    <a:pt x="23" y="125"/>
                  </a:lnTo>
                  <a:lnTo>
                    <a:pt x="21" y="121"/>
                  </a:lnTo>
                  <a:lnTo>
                    <a:pt x="19" y="121"/>
                  </a:lnTo>
                  <a:lnTo>
                    <a:pt x="17" y="125"/>
                  </a:lnTo>
                  <a:lnTo>
                    <a:pt x="15" y="125"/>
                  </a:lnTo>
                  <a:lnTo>
                    <a:pt x="14" y="125"/>
                  </a:lnTo>
                  <a:lnTo>
                    <a:pt x="14" y="123"/>
                  </a:lnTo>
                  <a:lnTo>
                    <a:pt x="12" y="123"/>
                  </a:lnTo>
                  <a:lnTo>
                    <a:pt x="10" y="121"/>
                  </a:lnTo>
                  <a:lnTo>
                    <a:pt x="10" y="119"/>
                  </a:lnTo>
                  <a:lnTo>
                    <a:pt x="8" y="119"/>
                  </a:lnTo>
                  <a:lnTo>
                    <a:pt x="8" y="121"/>
                  </a:lnTo>
                  <a:lnTo>
                    <a:pt x="6" y="121"/>
                  </a:lnTo>
                  <a:lnTo>
                    <a:pt x="4" y="117"/>
                  </a:lnTo>
                  <a:lnTo>
                    <a:pt x="2" y="115"/>
                  </a:lnTo>
                  <a:lnTo>
                    <a:pt x="0" y="114"/>
                  </a:lnTo>
                  <a:lnTo>
                    <a:pt x="2" y="112"/>
                  </a:lnTo>
                  <a:lnTo>
                    <a:pt x="6" y="110"/>
                  </a:lnTo>
                  <a:lnTo>
                    <a:pt x="8" y="112"/>
                  </a:lnTo>
                  <a:lnTo>
                    <a:pt x="10" y="114"/>
                  </a:lnTo>
                  <a:lnTo>
                    <a:pt x="10" y="115"/>
                  </a:lnTo>
                  <a:lnTo>
                    <a:pt x="12" y="115"/>
                  </a:lnTo>
                  <a:lnTo>
                    <a:pt x="17" y="115"/>
                  </a:lnTo>
                  <a:lnTo>
                    <a:pt x="19" y="115"/>
                  </a:lnTo>
                  <a:lnTo>
                    <a:pt x="21" y="115"/>
                  </a:lnTo>
                  <a:lnTo>
                    <a:pt x="23" y="117"/>
                  </a:lnTo>
                  <a:lnTo>
                    <a:pt x="23" y="119"/>
                  </a:lnTo>
                  <a:lnTo>
                    <a:pt x="25" y="121"/>
                  </a:lnTo>
                  <a:lnTo>
                    <a:pt x="27" y="123"/>
                  </a:lnTo>
                  <a:lnTo>
                    <a:pt x="29" y="123"/>
                  </a:lnTo>
                  <a:lnTo>
                    <a:pt x="31" y="123"/>
                  </a:lnTo>
                  <a:lnTo>
                    <a:pt x="33" y="123"/>
                  </a:lnTo>
                  <a:lnTo>
                    <a:pt x="33" y="121"/>
                  </a:lnTo>
                  <a:lnTo>
                    <a:pt x="31" y="117"/>
                  </a:lnTo>
                  <a:lnTo>
                    <a:pt x="29" y="119"/>
                  </a:lnTo>
                  <a:lnTo>
                    <a:pt x="29" y="117"/>
                  </a:lnTo>
                  <a:lnTo>
                    <a:pt x="25" y="117"/>
                  </a:lnTo>
                  <a:lnTo>
                    <a:pt x="23" y="115"/>
                  </a:lnTo>
                  <a:lnTo>
                    <a:pt x="21" y="114"/>
                  </a:lnTo>
                  <a:lnTo>
                    <a:pt x="25" y="112"/>
                  </a:lnTo>
                  <a:lnTo>
                    <a:pt x="27" y="112"/>
                  </a:lnTo>
                  <a:lnTo>
                    <a:pt x="31" y="112"/>
                  </a:lnTo>
                  <a:lnTo>
                    <a:pt x="29" y="112"/>
                  </a:lnTo>
                  <a:lnTo>
                    <a:pt x="27" y="110"/>
                  </a:lnTo>
                  <a:lnTo>
                    <a:pt x="29" y="110"/>
                  </a:lnTo>
                  <a:lnTo>
                    <a:pt x="31" y="112"/>
                  </a:lnTo>
                  <a:lnTo>
                    <a:pt x="33" y="112"/>
                  </a:lnTo>
                  <a:lnTo>
                    <a:pt x="37" y="110"/>
                  </a:lnTo>
                  <a:lnTo>
                    <a:pt x="39" y="108"/>
                  </a:lnTo>
                  <a:lnTo>
                    <a:pt x="40" y="108"/>
                  </a:lnTo>
                  <a:lnTo>
                    <a:pt x="44" y="108"/>
                  </a:lnTo>
                  <a:lnTo>
                    <a:pt x="46" y="108"/>
                  </a:lnTo>
                  <a:lnTo>
                    <a:pt x="48" y="108"/>
                  </a:lnTo>
                  <a:lnTo>
                    <a:pt x="50" y="108"/>
                  </a:lnTo>
                  <a:lnTo>
                    <a:pt x="52" y="106"/>
                  </a:lnTo>
                  <a:lnTo>
                    <a:pt x="54" y="108"/>
                  </a:lnTo>
                  <a:lnTo>
                    <a:pt x="54" y="106"/>
                  </a:lnTo>
                  <a:lnTo>
                    <a:pt x="52" y="106"/>
                  </a:lnTo>
                  <a:lnTo>
                    <a:pt x="52" y="104"/>
                  </a:lnTo>
                  <a:lnTo>
                    <a:pt x="50" y="106"/>
                  </a:lnTo>
                  <a:lnTo>
                    <a:pt x="48" y="106"/>
                  </a:lnTo>
                  <a:lnTo>
                    <a:pt x="48" y="108"/>
                  </a:lnTo>
                  <a:lnTo>
                    <a:pt x="46" y="106"/>
                  </a:lnTo>
                  <a:lnTo>
                    <a:pt x="46" y="108"/>
                  </a:lnTo>
                  <a:lnTo>
                    <a:pt x="44" y="108"/>
                  </a:lnTo>
                  <a:lnTo>
                    <a:pt x="39" y="106"/>
                  </a:lnTo>
                  <a:lnTo>
                    <a:pt x="37" y="104"/>
                  </a:lnTo>
                  <a:lnTo>
                    <a:pt x="33" y="102"/>
                  </a:lnTo>
                  <a:lnTo>
                    <a:pt x="33" y="100"/>
                  </a:lnTo>
                  <a:lnTo>
                    <a:pt x="31" y="100"/>
                  </a:lnTo>
                  <a:lnTo>
                    <a:pt x="31" y="98"/>
                  </a:lnTo>
                  <a:lnTo>
                    <a:pt x="29" y="98"/>
                  </a:lnTo>
                  <a:lnTo>
                    <a:pt x="27" y="96"/>
                  </a:lnTo>
                  <a:lnTo>
                    <a:pt x="27" y="94"/>
                  </a:lnTo>
                  <a:lnTo>
                    <a:pt x="27" y="91"/>
                  </a:lnTo>
                  <a:lnTo>
                    <a:pt x="25" y="92"/>
                  </a:lnTo>
                  <a:lnTo>
                    <a:pt x="27" y="89"/>
                  </a:lnTo>
                  <a:lnTo>
                    <a:pt x="27" y="87"/>
                  </a:lnTo>
                  <a:lnTo>
                    <a:pt x="29" y="89"/>
                  </a:lnTo>
                  <a:lnTo>
                    <a:pt x="31" y="87"/>
                  </a:lnTo>
                  <a:lnTo>
                    <a:pt x="31" y="85"/>
                  </a:lnTo>
                  <a:lnTo>
                    <a:pt x="33" y="83"/>
                  </a:lnTo>
                  <a:lnTo>
                    <a:pt x="37" y="81"/>
                  </a:lnTo>
                  <a:lnTo>
                    <a:pt x="39" y="79"/>
                  </a:lnTo>
                  <a:lnTo>
                    <a:pt x="40" y="75"/>
                  </a:lnTo>
                  <a:lnTo>
                    <a:pt x="42" y="75"/>
                  </a:lnTo>
                  <a:lnTo>
                    <a:pt x="44" y="71"/>
                  </a:lnTo>
                  <a:lnTo>
                    <a:pt x="46" y="67"/>
                  </a:lnTo>
                  <a:lnTo>
                    <a:pt x="46" y="66"/>
                  </a:lnTo>
                  <a:lnTo>
                    <a:pt x="50" y="60"/>
                  </a:lnTo>
                  <a:lnTo>
                    <a:pt x="50" y="58"/>
                  </a:lnTo>
                  <a:lnTo>
                    <a:pt x="52" y="54"/>
                  </a:lnTo>
                  <a:lnTo>
                    <a:pt x="52" y="52"/>
                  </a:lnTo>
                  <a:lnTo>
                    <a:pt x="54" y="46"/>
                  </a:lnTo>
                  <a:lnTo>
                    <a:pt x="54" y="42"/>
                  </a:lnTo>
                  <a:lnTo>
                    <a:pt x="56" y="39"/>
                  </a:lnTo>
                  <a:lnTo>
                    <a:pt x="56" y="37"/>
                  </a:lnTo>
                  <a:lnTo>
                    <a:pt x="58" y="31"/>
                  </a:lnTo>
                  <a:lnTo>
                    <a:pt x="58" y="27"/>
                  </a:lnTo>
                  <a:lnTo>
                    <a:pt x="60" y="27"/>
                  </a:lnTo>
                  <a:lnTo>
                    <a:pt x="62" y="27"/>
                  </a:lnTo>
                  <a:lnTo>
                    <a:pt x="62" y="29"/>
                  </a:lnTo>
                  <a:lnTo>
                    <a:pt x="64" y="33"/>
                  </a:lnTo>
                  <a:lnTo>
                    <a:pt x="65" y="33"/>
                  </a:lnTo>
                  <a:lnTo>
                    <a:pt x="65" y="31"/>
                  </a:lnTo>
                  <a:lnTo>
                    <a:pt x="67" y="31"/>
                  </a:lnTo>
                  <a:lnTo>
                    <a:pt x="69" y="29"/>
                  </a:lnTo>
                  <a:lnTo>
                    <a:pt x="75" y="25"/>
                  </a:lnTo>
                  <a:lnTo>
                    <a:pt x="71" y="31"/>
                  </a:lnTo>
                  <a:lnTo>
                    <a:pt x="73" y="35"/>
                  </a:lnTo>
                  <a:lnTo>
                    <a:pt x="71" y="39"/>
                  </a:lnTo>
                  <a:lnTo>
                    <a:pt x="71" y="41"/>
                  </a:lnTo>
                  <a:lnTo>
                    <a:pt x="73" y="42"/>
                  </a:lnTo>
                  <a:lnTo>
                    <a:pt x="75" y="42"/>
                  </a:lnTo>
                  <a:lnTo>
                    <a:pt x="77" y="42"/>
                  </a:lnTo>
                  <a:lnTo>
                    <a:pt x="79" y="42"/>
                  </a:lnTo>
                  <a:lnTo>
                    <a:pt x="79" y="44"/>
                  </a:lnTo>
                  <a:lnTo>
                    <a:pt x="77" y="46"/>
                  </a:lnTo>
                  <a:lnTo>
                    <a:pt x="81" y="50"/>
                  </a:lnTo>
                  <a:lnTo>
                    <a:pt x="77" y="46"/>
                  </a:lnTo>
                  <a:lnTo>
                    <a:pt x="75" y="48"/>
                  </a:lnTo>
                  <a:lnTo>
                    <a:pt x="71" y="50"/>
                  </a:lnTo>
                  <a:lnTo>
                    <a:pt x="71" y="48"/>
                  </a:lnTo>
                  <a:lnTo>
                    <a:pt x="67" y="48"/>
                  </a:lnTo>
                  <a:lnTo>
                    <a:pt x="67" y="50"/>
                  </a:lnTo>
                  <a:lnTo>
                    <a:pt x="67" y="52"/>
                  </a:lnTo>
                  <a:lnTo>
                    <a:pt x="67" y="54"/>
                  </a:lnTo>
                  <a:lnTo>
                    <a:pt x="69" y="58"/>
                  </a:lnTo>
                  <a:lnTo>
                    <a:pt x="67" y="60"/>
                  </a:lnTo>
                  <a:lnTo>
                    <a:pt x="67" y="62"/>
                  </a:lnTo>
                  <a:lnTo>
                    <a:pt x="69" y="62"/>
                  </a:lnTo>
                  <a:lnTo>
                    <a:pt x="65" y="66"/>
                  </a:lnTo>
                  <a:lnTo>
                    <a:pt x="64" y="66"/>
                  </a:lnTo>
                  <a:lnTo>
                    <a:pt x="65" y="67"/>
                  </a:lnTo>
                  <a:lnTo>
                    <a:pt x="65" y="69"/>
                  </a:lnTo>
                  <a:lnTo>
                    <a:pt x="67" y="67"/>
                  </a:lnTo>
                  <a:lnTo>
                    <a:pt x="71" y="69"/>
                  </a:lnTo>
                  <a:lnTo>
                    <a:pt x="71" y="71"/>
                  </a:lnTo>
                  <a:lnTo>
                    <a:pt x="75" y="69"/>
                  </a:lnTo>
                  <a:lnTo>
                    <a:pt x="75" y="71"/>
                  </a:lnTo>
                  <a:lnTo>
                    <a:pt x="77" y="73"/>
                  </a:lnTo>
                  <a:lnTo>
                    <a:pt x="79" y="73"/>
                  </a:lnTo>
                  <a:lnTo>
                    <a:pt x="79" y="75"/>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92" name="Freeform 280"/>
            <p:cNvSpPr>
              <a:spLocks/>
            </p:cNvSpPr>
            <p:nvPr/>
          </p:nvSpPr>
          <p:spPr bwMode="auto">
            <a:xfrm>
              <a:off x="2264" y="2461"/>
              <a:ext cx="2" cy="2"/>
            </a:xfrm>
            <a:custGeom>
              <a:avLst/>
              <a:gdLst>
                <a:gd name="T0" fmla="*/ 0 w 2"/>
                <a:gd name="T1" fmla="*/ 2 h 2"/>
                <a:gd name="T2" fmla="*/ 2 w 2"/>
                <a:gd name="T3" fmla="*/ 0 h 2"/>
                <a:gd name="T4" fmla="*/ 2 w 2"/>
                <a:gd name="T5" fmla="*/ 2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2" y="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93" name="Freeform 281"/>
            <p:cNvSpPr>
              <a:spLocks/>
            </p:cNvSpPr>
            <p:nvPr/>
          </p:nvSpPr>
          <p:spPr bwMode="auto">
            <a:xfrm>
              <a:off x="2266" y="2463"/>
              <a:ext cx="1"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94" name="Freeform 282"/>
            <p:cNvSpPr>
              <a:spLocks/>
            </p:cNvSpPr>
            <p:nvPr/>
          </p:nvSpPr>
          <p:spPr bwMode="auto">
            <a:xfrm>
              <a:off x="2204" y="2457"/>
              <a:ext cx="33" cy="16"/>
            </a:xfrm>
            <a:custGeom>
              <a:avLst/>
              <a:gdLst>
                <a:gd name="T0" fmla="*/ 0 w 33"/>
                <a:gd name="T1" fmla="*/ 6 h 16"/>
                <a:gd name="T2" fmla="*/ 0 w 33"/>
                <a:gd name="T3" fmla="*/ 8 h 16"/>
                <a:gd name="T4" fmla="*/ 0 w 33"/>
                <a:gd name="T5" fmla="*/ 10 h 16"/>
                <a:gd name="T6" fmla="*/ 2 w 33"/>
                <a:gd name="T7" fmla="*/ 12 h 16"/>
                <a:gd name="T8" fmla="*/ 4 w 33"/>
                <a:gd name="T9" fmla="*/ 12 h 16"/>
                <a:gd name="T10" fmla="*/ 6 w 33"/>
                <a:gd name="T11" fmla="*/ 12 h 16"/>
                <a:gd name="T12" fmla="*/ 6 w 33"/>
                <a:gd name="T13" fmla="*/ 8 h 16"/>
                <a:gd name="T14" fmla="*/ 6 w 33"/>
                <a:gd name="T15" fmla="*/ 10 h 16"/>
                <a:gd name="T16" fmla="*/ 8 w 33"/>
                <a:gd name="T17" fmla="*/ 8 h 16"/>
                <a:gd name="T18" fmla="*/ 10 w 33"/>
                <a:gd name="T19" fmla="*/ 8 h 16"/>
                <a:gd name="T20" fmla="*/ 14 w 33"/>
                <a:gd name="T21" fmla="*/ 10 h 16"/>
                <a:gd name="T22" fmla="*/ 16 w 33"/>
                <a:gd name="T23" fmla="*/ 12 h 16"/>
                <a:gd name="T24" fmla="*/ 16 w 33"/>
                <a:gd name="T25" fmla="*/ 14 h 16"/>
                <a:gd name="T26" fmla="*/ 16 w 33"/>
                <a:gd name="T27" fmla="*/ 16 h 16"/>
                <a:gd name="T28" fmla="*/ 19 w 33"/>
                <a:gd name="T29" fmla="*/ 16 h 16"/>
                <a:gd name="T30" fmla="*/ 21 w 33"/>
                <a:gd name="T31" fmla="*/ 16 h 16"/>
                <a:gd name="T32" fmla="*/ 23 w 33"/>
                <a:gd name="T33" fmla="*/ 16 h 16"/>
                <a:gd name="T34" fmla="*/ 25 w 33"/>
                <a:gd name="T35" fmla="*/ 14 h 16"/>
                <a:gd name="T36" fmla="*/ 31 w 33"/>
                <a:gd name="T37" fmla="*/ 12 h 16"/>
                <a:gd name="T38" fmla="*/ 33 w 33"/>
                <a:gd name="T39" fmla="*/ 8 h 16"/>
                <a:gd name="T40" fmla="*/ 31 w 33"/>
                <a:gd name="T41" fmla="*/ 10 h 16"/>
                <a:gd name="T42" fmla="*/ 29 w 33"/>
                <a:gd name="T43" fmla="*/ 8 h 16"/>
                <a:gd name="T44" fmla="*/ 27 w 33"/>
                <a:gd name="T45" fmla="*/ 6 h 16"/>
                <a:gd name="T46" fmla="*/ 25 w 33"/>
                <a:gd name="T47" fmla="*/ 4 h 16"/>
                <a:gd name="T48" fmla="*/ 23 w 33"/>
                <a:gd name="T49" fmla="*/ 6 h 16"/>
                <a:gd name="T50" fmla="*/ 21 w 33"/>
                <a:gd name="T51" fmla="*/ 6 h 16"/>
                <a:gd name="T52" fmla="*/ 19 w 33"/>
                <a:gd name="T53" fmla="*/ 8 h 16"/>
                <a:gd name="T54" fmla="*/ 16 w 33"/>
                <a:gd name="T55" fmla="*/ 6 h 16"/>
                <a:gd name="T56" fmla="*/ 14 w 33"/>
                <a:gd name="T57" fmla="*/ 6 h 16"/>
                <a:gd name="T58" fmla="*/ 12 w 33"/>
                <a:gd name="T59" fmla="*/ 4 h 16"/>
                <a:gd name="T60" fmla="*/ 10 w 33"/>
                <a:gd name="T61" fmla="*/ 2 h 16"/>
                <a:gd name="T62" fmla="*/ 8 w 33"/>
                <a:gd name="T63" fmla="*/ 0 h 16"/>
                <a:gd name="T64" fmla="*/ 2 w 33"/>
                <a:gd name="T65" fmla="*/ 2 h 16"/>
                <a:gd name="T66" fmla="*/ 0 w 33"/>
                <a:gd name="T67" fmla="*/ 2 h 16"/>
                <a:gd name="T68" fmla="*/ 0 w 33"/>
                <a:gd name="T69"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 h="16">
                  <a:moveTo>
                    <a:pt x="0" y="6"/>
                  </a:moveTo>
                  <a:lnTo>
                    <a:pt x="0" y="8"/>
                  </a:lnTo>
                  <a:lnTo>
                    <a:pt x="0" y="10"/>
                  </a:lnTo>
                  <a:lnTo>
                    <a:pt x="2" y="12"/>
                  </a:lnTo>
                  <a:lnTo>
                    <a:pt x="4" y="12"/>
                  </a:lnTo>
                  <a:lnTo>
                    <a:pt x="6" y="12"/>
                  </a:lnTo>
                  <a:lnTo>
                    <a:pt x="6" y="8"/>
                  </a:lnTo>
                  <a:lnTo>
                    <a:pt x="6" y="10"/>
                  </a:lnTo>
                  <a:lnTo>
                    <a:pt x="8" y="8"/>
                  </a:lnTo>
                  <a:lnTo>
                    <a:pt x="10" y="8"/>
                  </a:lnTo>
                  <a:lnTo>
                    <a:pt x="14" y="10"/>
                  </a:lnTo>
                  <a:lnTo>
                    <a:pt x="16" y="12"/>
                  </a:lnTo>
                  <a:lnTo>
                    <a:pt x="16" y="14"/>
                  </a:lnTo>
                  <a:lnTo>
                    <a:pt x="16" y="16"/>
                  </a:lnTo>
                  <a:lnTo>
                    <a:pt x="19" y="16"/>
                  </a:lnTo>
                  <a:lnTo>
                    <a:pt x="21" y="16"/>
                  </a:lnTo>
                  <a:lnTo>
                    <a:pt x="23" y="16"/>
                  </a:lnTo>
                  <a:lnTo>
                    <a:pt x="25" y="14"/>
                  </a:lnTo>
                  <a:lnTo>
                    <a:pt x="31" y="12"/>
                  </a:lnTo>
                  <a:lnTo>
                    <a:pt x="33" y="8"/>
                  </a:lnTo>
                  <a:lnTo>
                    <a:pt x="31" y="10"/>
                  </a:lnTo>
                  <a:lnTo>
                    <a:pt x="29" y="8"/>
                  </a:lnTo>
                  <a:lnTo>
                    <a:pt x="27" y="6"/>
                  </a:lnTo>
                  <a:lnTo>
                    <a:pt x="25" y="4"/>
                  </a:lnTo>
                  <a:lnTo>
                    <a:pt x="23" y="6"/>
                  </a:lnTo>
                  <a:lnTo>
                    <a:pt x="21" y="6"/>
                  </a:lnTo>
                  <a:lnTo>
                    <a:pt x="19" y="8"/>
                  </a:lnTo>
                  <a:lnTo>
                    <a:pt x="16" y="6"/>
                  </a:lnTo>
                  <a:lnTo>
                    <a:pt x="14" y="6"/>
                  </a:lnTo>
                  <a:lnTo>
                    <a:pt x="12" y="4"/>
                  </a:lnTo>
                  <a:lnTo>
                    <a:pt x="10" y="2"/>
                  </a:lnTo>
                  <a:lnTo>
                    <a:pt x="8" y="0"/>
                  </a:lnTo>
                  <a:lnTo>
                    <a:pt x="2" y="2"/>
                  </a:lnTo>
                  <a:lnTo>
                    <a:pt x="0" y="2"/>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95" name="Freeform 283"/>
            <p:cNvSpPr>
              <a:spLocks/>
            </p:cNvSpPr>
            <p:nvPr/>
          </p:nvSpPr>
          <p:spPr bwMode="auto">
            <a:xfrm>
              <a:off x="2227" y="2432"/>
              <a:ext cx="18" cy="14"/>
            </a:xfrm>
            <a:custGeom>
              <a:avLst/>
              <a:gdLst>
                <a:gd name="T0" fmla="*/ 0 w 18"/>
                <a:gd name="T1" fmla="*/ 4 h 14"/>
                <a:gd name="T2" fmla="*/ 2 w 18"/>
                <a:gd name="T3" fmla="*/ 4 h 14"/>
                <a:gd name="T4" fmla="*/ 4 w 18"/>
                <a:gd name="T5" fmla="*/ 2 h 14"/>
                <a:gd name="T6" fmla="*/ 6 w 18"/>
                <a:gd name="T7" fmla="*/ 2 h 14"/>
                <a:gd name="T8" fmla="*/ 6 w 18"/>
                <a:gd name="T9" fmla="*/ 4 h 14"/>
                <a:gd name="T10" fmla="*/ 6 w 18"/>
                <a:gd name="T11" fmla="*/ 10 h 14"/>
                <a:gd name="T12" fmla="*/ 10 w 18"/>
                <a:gd name="T13" fmla="*/ 10 h 14"/>
                <a:gd name="T14" fmla="*/ 10 w 18"/>
                <a:gd name="T15" fmla="*/ 12 h 14"/>
                <a:gd name="T16" fmla="*/ 12 w 18"/>
                <a:gd name="T17" fmla="*/ 12 h 14"/>
                <a:gd name="T18" fmla="*/ 14 w 18"/>
                <a:gd name="T19" fmla="*/ 14 h 14"/>
                <a:gd name="T20" fmla="*/ 16 w 18"/>
                <a:gd name="T21" fmla="*/ 14 h 14"/>
                <a:gd name="T22" fmla="*/ 18 w 18"/>
                <a:gd name="T23" fmla="*/ 12 h 14"/>
                <a:gd name="T24" fmla="*/ 18 w 18"/>
                <a:gd name="T25" fmla="*/ 10 h 14"/>
                <a:gd name="T26" fmla="*/ 16 w 18"/>
                <a:gd name="T27" fmla="*/ 10 h 14"/>
                <a:gd name="T28" fmla="*/ 12 w 18"/>
                <a:gd name="T29" fmla="*/ 6 h 14"/>
                <a:gd name="T30" fmla="*/ 8 w 18"/>
                <a:gd name="T31" fmla="*/ 2 h 14"/>
                <a:gd name="T32" fmla="*/ 6 w 18"/>
                <a:gd name="T33" fmla="*/ 2 h 14"/>
                <a:gd name="T34" fmla="*/ 6 w 18"/>
                <a:gd name="T35" fmla="*/ 0 h 14"/>
                <a:gd name="T36" fmla="*/ 4 w 18"/>
                <a:gd name="T37" fmla="*/ 0 h 14"/>
                <a:gd name="T38" fmla="*/ 0 w 18"/>
                <a:gd name="T39" fmla="*/ 0 h 14"/>
                <a:gd name="T40" fmla="*/ 0 w 18"/>
                <a:gd name="T41"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4">
                  <a:moveTo>
                    <a:pt x="0" y="4"/>
                  </a:moveTo>
                  <a:lnTo>
                    <a:pt x="2" y="4"/>
                  </a:lnTo>
                  <a:lnTo>
                    <a:pt x="4" y="2"/>
                  </a:lnTo>
                  <a:lnTo>
                    <a:pt x="6" y="2"/>
                  </a:lnTo>
                  <a:lnTo>
                    <a:pt x="6" y="4"/>
                  </a:lnTo>
                  <a:lnTo>
                    <a:pt x="6" y="10"/>
                  </a:lnTo>
                  <a:lnTo>
                    <a:pt x="10" y="10"/>
                  </a:lnTo>
                  <a:lnTo>
                    <a:pt x="10" y="12"/>
                  </a:lnTo>
                  <a:lnTo>
                    <a:pt x="12" y="12"/>
                  </a:lnTo>
                  <a:lnTo>
                    <a:pt x="14" y="14"/>
                  </a:lnTo>
                  <a:lnTo>
                    <a:pt x="16" y="14"/>
                  </a:lnTo>
                  <a:lnTo>
                    <a:pt x="18" y="12"/>
                  </a:lnTo>
                  <a:lnTo>
                    <a:pt x="18" y="10"/>
                  </a:lnTo>
                  <a:lnTo>
                    <a:pt x="16" y="10"/>
                  </a:lnTo>
                  <a:lnTo>
                    <a:pt x="12" y="6"/>
                  </a:lnTo>
                  <a:lnTo>
                    <a:pt x="8" y="2"/>
                  </a:lnTo>
                  <a:lnTo>
                    <a:pt x="6" y="2"/>
                  </a:lnTo>
                  <a:lnTo>
                    <a:pt x="6" y="0"/>
                  </a:lnTo>
                  <a:lnTo>
                    <a:pt x="4" y="0"/>
                  </a:lnTo>
                  <a:lnTo>
                    <a:pt x="0" y="0"/>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96" name="Freeform 284"/>
            <p:cNvSpPr>
              <a:spLocks/>
            </p:cNvSpPr>
            <p:nvPr/>
          </p:nvSpPr>
          <p:spPr bwMode="auto">
            <a:xfrm>
              <a:off x="2220" y="2438"/>
              <a:ext cx="15" cy="10"/>
            </a:xfrm>
            <a:custGeom>
              <a:avLst/>
              <a:gdLst>
                <a:gd name="T0" fmla="*/ 0 w 15"/>
                <a:gd name="T1" fmla="*/ 4 h 10"/>
                <a:gd name="T2" fmla="*/ 2 w 15"/>
                <a:gd name="T3" fmla="*/ 4 h 10"/>
                <a:gd name="T4" fmla="*/ 3 w 15"/>
                <a:gd name="T5" fmla="*/ 2 h 10"/>
                <a:gd name="T6" fmla="*/ 5 w 15"/>
                <a:gd name="T7" fmla="*/ 4 h 10"/>
                <a:gd name="T8" fmla="*/ 7 w 15"/>
                <a:gd name="T9" fmla="*/ 8 h 10"/>
                <a:gd name="T10" fmla="*/ 9 w 15"/>
                <a:gd name="T11" fmla="*/ 8 h 10"/>
                <a:gd name="T12" fmla="*/ 9 w 15"/>
                <a:gd name="T13" fmla="*/ 10 h 10"/>
                <a:gd name="T14" fmla="*/ 11 w 15"/>
                <a:gd name="T15" fmla="*/ 10 h 10"/>
                <a:gd name="T16" fmla="*/ 13 w 15"/>
                <a:gd name="T17" fmla="*/ 8 h 10"/>
                <a:gd name="T18" fmla="*/ 15 w 15"/>
                <a:gd name="T19" fmla="*/ 6 h 10"/>
                <a:gd name="T20" fmla="*/ 11 w 15"/>
                <a:gd name="T21" fmla="*/ 4 h 10"/>
                <a:gd name="T22" fmla="*/ 9 w 15"/>
                <a:gd name="T23" fmla="*/ 2 h 10"/>
                <a:gd name="T24" fmla="*/ 7 w 15"/>
                <a:gd name="T25" fmla="*/ 2 h 10"/>
                <a:gd name="T26" fmla="*/ 7 w 15"/>
                <a:gd name="T27" fmla="*/ 0 h 10"/>
                <a:gd name="T28" fmla="*/ 5 w 15"/>
                <a:gd name="T29" fmla="*/ 0 h 10"/>
                <a:gd name="T30" fmla="*/ 3 w 15"/>
                <a:gd name="T31" fmla="*/ 0 h 10"/>
                <a:gd name="T32" fmla="*/ 0 w 15"/>
                <a:gd name="T33" fmla="*/ 0 h 10"/>
                <a:gd name="T34" fmla="*/ 0 w 15"/>
                <a:gd name="T35"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0">
                  <a:moveTo>
                    <a:pt x="0" y="4"/>
                  </a:moveTo>
                  <a:lnTo>
                    <a:pt x="2" y="4"/>
                  </a:lnTo>
                  <a:lnTo>
                    <a:pt x="3" y="2"/>
                  </a:lnTo>
                  <a:lnTo>
                    <a:pt x="5" y="4"/>
                  </a:lnTo>
                  <a:lnTo>
                    <a:pt x="7" y="8"/>
                  </a:lnTo>
                  <a:lnTo>
                    <a:pt x="9" y="8"/>
                  </a:lnTo>
                  <a:lnTo>
                    <a:pt x="9" y="10"/>
                  </a:lnTo>
                  <a:lnTo>
                    <a:pt x="11" y="10"/>
                  </a:lnTo>
                  <a:lnTo>
                    <a:pt x="13" y="8"/>
                  </a:lnTo>
                  <a:lnTo>
                    <a:pt x="15" y="6"/>
                  </a:lnTo>
                  <a:lnTo>
                    <a:pt x="11" y="4"/>
                  </a:lnTo>
                  <a:lnTo>
                    <a:pt x="9" y="2"/>
                  </a:lnTo>
                  <a:lnTo>
                    <a:pt x="7" y="2"/>
                  </a:lnTo>
                  <a:lnTo>
                    <a:pt x="7" y="0"/>
                  </a:lnTo>
                  <a:lnTo>
                    <a:pt x="5" y="0"/>
                  </a:lnTo>
                  <a:lnTo>
                    <a:pt x="3" y="0"/>
                  </a:lnTo>
                  <a:lnTo>
                    <a:pt x="0" y="0"/>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97" name="Freeform 285"/>
            <p:cNvSpPr>
              <a:spLocks/>
            </p:cNvSpPr>
            <p:nvPr/>
          </p:nvSpPr>
          <p:spPr bwMode="auto">
            <a:xfrm>
              <a:off x="2268" y="2350"/>
              <a:ext cx="7" cy="11"/>
            </a:xfrm>
            <a:custGeom>
              <a:avLst/>
              <a:gdLst>
                <a:gd name="T0" fmla="*/ 0 w 7"/>
                <a:gd name="T1" fmla="*/ 9 h 11"/>
                <a:gd name="T2" fmla="*/ 0 w 7"/>
                <a:gd name="T3" fmla="*/ 7 h 11"/>
                <a:gd name="T4" fmla="*/ 0 w 7"/>
                <a:gd name="T5" fmla="*/ 5 h 11"/>
                <a:gd name="T6" fmla="*/ 4 w 7"/>
                <a:gd name="T7" fmla="*/ 0 h 11"/>
                <a:gd name="T8" fmla="*/ 5 w 7"/>
                <a:gd name="T9" fmla="*/ 0 h 11"/>
                <a:gd name="T10" fmla="*/ 5 w 7"/>
                <a:gd name="T11" fmla="*/ 2 h 11"/>
                <a:gd name="T12" fmla="*/ 7 w 7"/>
                <a:gd name="T13" fmla="*/ 2 h 11"/>
                <a:gd name="T14" fmla="*/ 7 w 7"/>
                <a:gd name="T15" fmla="*/ 3 h 11"/>
                <a:gd name="T16" fmla="*/ 5 w 7"/>
                <a:gd name="T17" fmla="*/ 5 h 11"/>
                <a:gd name="T18" fmla="*/ 5 w 7"/>
                <a:gd name="T19" fmla="*/ 7 h 11"/>
                <a:gd name="T20" fmla="*/ 4 w 7"/>
                <a:gd name="T21" fmla="*/ 9 h 11"/>
                <a:gd name="T22" fmla="*/ 2 w 7"/>
                <a:gd name="T23" fmla="*/ 11 h 11"/>
                <a:gd name="T24" fmla="*/ 0 w 7"/>
                <a:gd name="T25" fmla="*/ 11 h 11"/>
                <a:gd name="T26" fmla="*/ 0 w 7"/>
                <a:gd name="T2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0" y="9"/>
                  </a:moveTo>
                  <a:lnTo>
                    <a:pt x="0" y="7"/>
                  </a:lnTo>
                  <a:lnTo>
                    <a:pt x="0" y="5"/>
                  </a:lnTo>
                  <a:lnTo>
                    <a:pt x="4" y="0"/>
                  </a:lnTo>
                  <a:lnTo>
                    <a:pt x="5" y="0"/>
                  </a:lnTo>
                  <a:lnTo>
                    <a:pt x="5" y="2"/>
                  </a:lnTo>
                  <a:lnTo>
                    <a:pt x="7" y="2"/>
                  </a:lnTo>
                  <a:lnTo>
                    <a:pt x="7" y="3"/>
                  </a:lnTo>
                  <a:lnTo>
                    <a:pt x="5" y="5"/>
                  </a:lnTo>
                  <a:lnTo>
                    <a:pt x="5" y="7"/>
                  </a:lnTo>
                  <a:lnTo>
                    <a:pt x="4" y="9"/>
                  </a:lnTo>
                  <a:lnTo>
                    <a:pt x="2" y="11"/>
                  </a:lnTo>
                  <a:lnTo>
                    <a:pt x="0" y="11"/>
                  </a:lnTo>
                  <a:lnTo>
                    <a:pt x="0" y="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98" name="Freeform 286"/>
            <p:cNvSpPr>
              <a:spLocks/>
            </p:cNvSpPr>
            <p:nvPr/>
          </p:nvSpPr>
          <p:spPr bwMode="auto">
            <a:xfrm>
              <a:off x="2285" y="2334"/>
              <a:ext cx="15" cy="6"/>
            </a:xfrm>
            <a:custGeom>
              <a:avLst/>
              <a:gdLst>
                <a:gd name="T0" fmla="*/ 0 w 15"/>
                <a:gd name="T1" fmla="*/ 4 h 6"/>
                <a:gd name="T2" fmla="*/ 2 w 15"/>
                <a:gd name="T3" fmla="*/ 2 h 6"/>
                <a:gd name="T4" fmla="*/ 6 w 15"/>
                <a:gd name="T5" fmla="*/ 2 h 6"/>
                <a:gd name="T6" fmla="*/ 13 w 15"/>
                <a:gd name="T7" fmla="*/ 0 h 6"/>
                <a:gd name="T8" fmla="*/ 15 w 15"/>
                <a:gd name="T9" fmla="*/ 0 h 6"/>
                <a:gd name="T10" fmla="*/ 13 w 15"/>
                <a:gd name="T11" fmla="*/ 0 h 6"/>
                <a:gd name="T12" fmla="*/ 12 w 15"/>
                <a:gd name="T13" fmla="*/ 2 h 6"/>
                <a:gd name="T14" fmla="*/ 8 w 15"/>
                <a:gd name="T15" fmla="*/ 2 h 6"/>
                <a:gd name="T16" fmla="*/ 8 w 15"/>
                <a:gd name="T17" fmla="*/ 4 h 6"/>
                <a:gd name="T18" fmla="*/ 2 w 15"/>
                <a:gd name="T19" fmla="*/ 4 h 6"/>
                <a:gd name="T20" fmla="*/ 0 w 15"/>
                <a:gd name="T21" fmla="*/ 6 h 6"/>
                <a:gd name="T22" fmla="*/ 0 w 15"/>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6">
                  <a:moveTo>
                    <a:pt x="0" y="4"/>
                  </a:moveTo>
                  <a:lnTo>
                    <a:pt x="2" y="2"/>
                  </a:lnTo>
                  <a:lnTo>
                    <a:pt x="6" y="2"/>
                  </a:lnTo>
                  <a:lnTo>
                    <a:pt x="13" y="0"/>
                  </a:lnTo>
                  <a:lnTo>
                    <a:pt x="15" y="0"/>
                  </a:lnTo>
                  <a:lnTo>
                    <a:pt x="13" y="0"/>
                  </a:lnTo>
                  <a:lnTo>
                    <a:pt x="12" y="2"/>
                  </a:lnTo>
                  <a:lnTo>
                    <a:pt x="8" y="2"/>
                  </a:lnTo>
                  <a:lnTo>
                    <a:pt x="8" y="4"/>
                  </a:lnTo>
                  <a:lnTo>
                    <a:pt x="2" y="4"/>
                  </a:lnTo>
                  <a:lnTo>
                    <a:pt x="0" y="6"/>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499" name="Freeform 287"/>
            <p:cNvSpPr>
              <a:spLocks/>
            </p:cNvSpPr>
            <p:nvPr/>
          </p:nvSpPr>
          <p:spPr bwMode="auto">
            <a:xfrm>
              <a:off x="2218" y="2446"/>
              <a:ext cx="9" cy="5"/>
            </a:xfrm>
            <a:custGeom>
              <a:avLst/>
              <a:gdLst>
                <a:gd name="T0" fmla="*/ 0 w 9"/>
                <a:gd name="T1" fmla="*/ 2 h 5"/>
                <a:gd name="T2" fmla="*/ 0 w 9"/>
                <a:gd name="T3" fmla="*/ 4 h 5"/>
                <a:gd name="T4" fmla="*/ 2 w 9"/>
                <a:gd name="T5" fmla="*/ 5 h 5"/>
                <a:gd name="T6" fmla="*/ 4 w 9"/>
                <a:gd name="T7" fmla="*/ 4 h 5"/>
                <a:gd name="T8" fmla="*/ 7 w 9"/>
                <a:gd name="T9" fmla="*/ 5 h 5"/>
                <a:gd name="T10" fmla="*/ 9 w 9"/>
                <a:gd name="T11" fmla="*/ 4 h 5"/>
                <a:gd name="T12" fmla="*/ 7 w 9"/>
                <a:gd name="T13" fmla="*/ 4 h 5"/>
                <a:gd name="T14" fmla="*/ 7 w 9"/>
                <a:gd name="T15" fmla="*/ 2 h 5"/>
                <a:gd name="T16" fmla="*/ 2 w 9"/>
                <a:gd name="T17" fmla="*/ 2 h 5"/>
                <a:gd name="T18" fmla="*/ 0 w 9"/>
                <a:gd name="T19" fmla="*/ 0 h 5"/>
                <a:gd name="T20" fmla="*/ 0 w 9"/>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0" y="2"/>
                  </a:moveTo>
                  <a:lnTo>
                    <a:pt x="0" y="4"/>
                  </a:lnTo>
                  <a:lnTo>
                    <a:pt x="2" y="5"/>
                  </a:lnTo>
                  <a:lnTo>
                    <a:pt x="4" y="4"/>
                  </a:lnTo>
                  <a:lnTo>
                    <a:pt x="7" y="5"/>
                  </a:lnTo>
                  <a:lnTo>
                    <a:pt x="9" y="4"/>
                  </a:lnTo>
                  <a:lnTo>
                    <a:pt x="7" y="4"/>
                  </a:lnTo>
                  <a:lnTo>
                    <a:pt x="7" y="2"/>
                  </a:lnTo>
                  <a:lnTo>
                    <a:pt x="2" y="2"/>
                  </a:ln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00" name="Freeform 288"/>
            <p:cNvSpPr>
              <a:spLocks/>
            </p:cNvSpPr>
            <p:nvPr/>
          </p:nvSpPr>
          <p:spPr bwMode="auto">
            <a:xfrm>
              <a:off x="2302" y="2332"/>
              <a:ext cx="12" cy="4"/>
            </a:xfrm>
            <a:custGeom>
              <a:avLst/>
              <a:gdLst>
                <a:gd name="T0" fmla="*/ 0 w 12"/>
                <a:gd name="T1" fmla="*/ 2 h 4"/>
                <a:gd name="T2" fmla="*/ 0 w 12"/>
                <a:gd name="T3" fmla="*/ 0 h 4"/>
                <a:gd name="T4" fmla="*/ 4 w 12"/>
                <a:gd name="T5" fmla="*/ 2 h 4"/>
                <a:gd name="T6" fmla="*/ 8 w 12"/>
                <a:gd name="T7" fmla="*/ 2 h 4"/>
                <a:gd name="T8" fmla="*/ 12 w 12"/>
                <a:gd name="T9" fmla="*/ 2 h 4"/>
                <a:gd name="T10" fmla="*/ 10 w 12"/>
                <a:gd name="T11" fmla="*/ 2 h 4"/>
                <a:gd name="T12" fmla="*/ 6 w 12"/>
                <a:gd name="T13" fmla="*/ 2 h 4"/>
                <a:gd name="T14" fmla="*/ 4 w 12"/>
                <a:gd name="T15" fmla="*/ 2 h 4"/>
                <a:gd name="T16" fmla="*/ 2 w 12"/>
                <a:gd name="T17" fmla="*/ 4 h 4"/>
                <a:gd name="T18" fmla="*/ 0 w 12"/>
                <a:gd name="T19" fmla="*/ 4 h 4"/>
                <a:gd name="T20" fmla="*/ 0 w 12"/>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4">
                  <a:moveTo>
                    <a:pt x="0" y="2"/>
                  </a:moveTo>
                  <a:lnTo>
                    <a:pt x="0" y="0"/>
                  </a:lnTo>
                  <a:lnTo>
                    <a:pt x="4" y="2"/>
                  </a:lnTo>
                  <a:lnTo>
                    <a:pt x="8" y="2"/>
                  </a:lnTo>
                  <a:lnTo>
                    <a:pt x="12" y="2"/>
                  </a:lnTo>
                  <a:lnTo>
                    <a:pt x="10" y="2"/>
                  </a:lnTo>
                  <a:lnTo>
                    <a:pt x="6" y="2"/>
                  </a:lnTo>
                  <a:lnTo>
                    <a:pt x="4" y="2"/>
                  </a:lnTo>
                  <a:lnTo>
                    <a:pt x="2" y="4"/>
                  </a:lnTo>
                  <a:lnTo>
                    <a:pt x="0"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01" name="Freeform 289"/>
            <p:cNvSpPr>
              <a:spLocks/>
            </p:cNvSpPr>
            <p:nvPr/>
          </p:nvSpPr>
          <p:spPr bwMode="auto">
            <a:xfrm>
              <a:off x="2273" y="2342"/>
              <a:ext cx="10" cy="6"/>
            </a:xfrm>
            <a:custGeom>
              <a:avLst/>
              <a:gdLst>
                <a:gd name="T0" fmla="*/ 0 w 10"/>
                <a:gd name="T1" fmla="*/ 6 h 6"/>
                <a:gd name="T2" fmla="*/ 4 w 10"/>
                <a:gd name="T3" fmla="*/ 2 h 6"/>
                <a:gd name="T4" fmla="*/ 4 w 10"/>
                <a:gd name="T5" fmla="*/ 0 h 6"/>
                <a:gd name="T6" fmla="*/ 8 w 10"/>
                <a:gd name="T7" fmla="*/ 0 h 6"/>
                <a:gd name="T8" fmla="*/ 10 w 10"/>
                <a:gd name="T9" fmla="*/ 0 h 6"/>
                <a:gd name="T10" fmla="*/ 8 w 10"/>
                <a:gd name="T11" fmla="*/ 0 h 6"/>
                <a:gd name="T12" fmla="*/ 6 w 10"/>
                <a:gd name="T13" fmla="*/ 2 h 6"/>
                <a:gd name="T14" fmla="*/ 4 w 10"/>
                <a:gd name="T15" fmla="*/ 4 h 6"/>
                <a:gd name="T16" fmla="*/ 2 w 10"/>
                <a:gd name="T17" fmla="*/ 6 h 6"/>
                <a:gd name="T18" fmla="*/ 0 w 10"/>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6">
                  <a:moveTo>
                    <a:pt x="0" y="6"/>
                  </a:moveTo>
                  <a:lnTo>
                    <a:pt x="4" y="2"/>
                  </a:lnTo>
                  <a:lnTo>
                    <a:pt x="4" y="0"/>
                  </a:lnTo>
                  <a:lnTo>
                    <a:pt x="8" y="0"/>
                  </a:lnTo>
                  <a:lnTo>
                    <a:pt x="10" y="0"/>
                  </a:lnTo>
                  <a:lnTo>
                    <a:pt x="8" y="0"/>
                  </a:lnTo>
                  <a:lnTo>
                    <a:pt x="6" y="2"/>
                  </a:lnTo>
                  <a:lnTo>
                    <a:pt x="4" y="4"/>
                  </a:lnTo>
                  <a:lnTo>
                    <a:pt x="2" y="6"/>
                  </a:lnTo>
                  <a:lnTo>
                    <a:pt x="0"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02" name="Freeform 290"/>
            <p:cNvSpPr>
              <a:spLocks/>
            </p:cNvSpPr>
            <p:nvPr/>
          </p:nvSpPr>
          <p:spPr bwMode="auto">
            <a:xfrm>
              <a:off x="2320" y="2332"/>
              <a:ext cx="7" cy="2"/>
            </a:xfrm>
            <a:custGeom>
              <a:avLst/>
              <a:gdLst>
                <a:gd name="T0" fmla="*/ 0 w 7"/>
                <a:gd name="T1" fmla="*/ 2 h 2"/>
                <a:gd name="T2" fmla="*/ 1 w 7"/>
                <a:gd name="T3" fmla="*/ 2 h 2"/>
                <a:gd name="T4" fmla="*/ 3 w 7"/>
                <a:gd name="T5" fmla="*/ 2 h 2"/>
                <a:gd name="T6" fmla="*/ 7 w 7"/>
                <a:gd name="T7" fmla="*/ 0 h 2"/>
                <a:gd name="T8" fmla="*/ 5 w 7"/>
                <a:gd name="T9" fmla="*/ 0 h 2"/>
                <a:gd name="T10" fmla="*/ 1 w 7"/>
                <a:gd name="T11" fmla="*/ 0 h 2"/>
                <a:gd name="T12" fmla="*/ 0 w 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2"/>
                  </a:moveTo>
                  <a:lnTo>
                    <a:pt x="1" y="2"/>
                  </a:lnTo>
                  <a:lnTo>
                    <a:pt x="3" y="2"/>
                  </a:lnTo>
                  <a:lnTo>
                    <a:pt x="7" y="0"/>
                  </a:lnTo>
                  <a:lnTo>
                    <a:pt x="5" y="0"/>
                  </a:lnTo>
                  <a:lnTo>
                    <a:pt x="1"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03" name="Freeform 291"/>
            <p:cNvSpPr>
              <a:spLocks/>
            </p:cNvSpPr>
            <p:nvPr/>
          </p:nvSpPr>
          <p:spPr bwMode="auto">
            <a:xfrm>
              <a:off x="2243" y="2440"/>
              <a:ext cx="2" cy="2"/>
            </a:xfrm>
            <a:custGeom>
              <a:avLst/>
              <a:gdLst>
                <a:gd name="T0" fmla="*/ 0 w 2"/>
                <a:gd name="T1" fmla="*/ 0 h 2"/>
                <a:gd name="T2" fmla="*/ 2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2" y="0"/>
                  </a:lnTo>
                  <a:lnTo>
                    <a:pt x="2"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04" name="Freeform 292"/>
            <p:cNvSpPr>
              <a:spLocks/>
            </p:cNvSpPr>
            <p:nvPr/>
          </p:nvSpPr>
          <p:spPr bwMode="auto">
            <a:xfrm>
              <a:off x="2331" y="2330"/>
              <a:ext cx="2" cy="1"/>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05" name="Freeform 293"/>
            <p:cNvSpPr>
              <a:spLocks/>
            </p:cNvSpPr>
            <p:nvPr/>
          </p:nvSpPr>
          <p:spPr bwMode="auto">
            <a:xfrm>
              <a:off x="2335" y="2330"/>
              <a:ext cx="2" cy="1"/>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06" name="Freeform 294"/>
            <p:cNvSpPr>
              <a:spLocks/>
            </p:cNvSpPr>
            <p:nvPr/>
          </p:nvSpPr>
          <p:spPr bwMode="auto">
            <a:xfrm>
              <a:off x="1858" y="2475"/>
              <a:ext cx="525" cy="564"/>
            </a:xfrm>
            <a:custGeom>
              <a:avLst/>
              <a:gdLst>
                <a:gd name="T0" fmla="*/ 460 w 525"/>
                <a:gd name="T1" fmla="*/ 368 h 564"/>
                <a:gd name="T2" fmla="*/ 456 w 525"/>
                <a:gd name="T3" fmla="*/ 334 h 564"/>
                <a:gd name="T4" fmla="*/ 435 w 525"/>
                <a:gd name="T5" fmla="*/ 320 h 564"/>
                <a:gd name="T6" fmla="*/ 429 w 525"/>
                <a:gd name="T7" fmla="*/ 313 h 564"/>
                <a:gd name="T8" fmla="*/ 467 w 525"/>
                <a:gd name="T9" fmla="*/ 263 h 564"/>
                <a:gd name="T10" fmla="*/ 487 w 525"/>
                <a:gd name="T11" fmla="*/ 255 h 564"/>
                <a:gd name="T12" fmla="*/ 498 w 525"/>
                <a:gd name="T13" fmla="*/ 221 h 564"/>
                <a:gd name="T14" fmla="*/ 525 w 525"/>
                <a:gd name="T15" fmla="*/ 157 h 564"/>
                <a:gd name="T16" fmla="*/ 494 w 525"/>
                <a:gd name="T17" fmla="*/ 142 h 564"/>
                <a:gd name="T18" fmla="*/ 467 w 525"/>
                <a:gd name="T19" fmla="*/ 138 h 564"/>
                <a:gd name="T20" fmla="*/ 439 w 525"/>
                <a:gd name="T21" fmla="*/ 119 h 564"/>
                <a:gd name="T22" fmla="*/ 414 w 525"/>
                <a:gd name="T23" fmla="*/ 107 h 564"/>
                <a:gd name="T24" fmla="*/ 396 w 525"/>
                <a:gd name="T25" fmla="*/ 88 h 564"/>
                <a:gd name="T26" fmla="*/ 394 w 525"/>
                <a:gd name="T27" fmla="*/ 73 h 564"/>
                <a:gd name="T28" fmla="*/ 373 w 525"/>
                <a:gd name="T29" fmla="*/ 73 h 564"/>
                <a:gd name="T30" fmla="*/ 362 w 525"/>
                <a:gd name="T31" fmla="*/ 55 h 564"/>
                <a:gd name="T32" fmla="*/ 348 w 525"/>
                <a:gd name="T33" fmla="*/ 42 h 564"/>
                <a:gd name="T34" fmla="*/ 329 w 525"/>
                <a:gd name="T35" fmla="*/ 25 h 564"/>
                <a:gd name="T36" fmla="*/ 316 w 525"/>
                <a:gd name="T37" fmla="*/ 5 h 564"/>
                <a:gd name="T38" fmla="*/ 275 w 525"/>
                <a:gd name="T39" fmla="*/ 25 h 564"/>
                <a:gd name="T40" fmla="*/ 266 w 525"/>
                <a:gd name="T41" fmla="*/ 57 h 564"/>
                <a:gd name="T42" fmla="*/ 216 w 525"/>
                <a:gd name="T43" fmla="*/ 94 h 564"/>
                <a:gd name="T44" fmla="*/ 156 w 525"/>
                <a:gd name="T45" fmla="*/ 90 h 564"/>
                <a:gd name="T46" fmla="*/ 131 w 525"/>
                <a:gd name="T47" fmla="*/ 67 h 564"/>
                <a:gd name="T48" fmla="*/ 135 w 525"/>
                <a:gd name="T49" fmla="*/ 107 h 564"/>
                <a:gd name="T50" fmla="*/ 121 w 525"/>
                <a:gd name="T51" fmla="*/ 134 h 564"/>
                <a:gd name="T52" fmla="*/ 96 w 525"/>
                <a:gd name="T53" fmla="*/ 132 h 564"/>
                <a:gd name="T54" fmla="*/ 71 w 525"/>
                <a:gd name="T55" fmla="*/ 113 h 564"/>
                <a:gd name="T56" fmla="*/ 41 w 525"/>
                <a:gd name="T57" fmla="*/ 119 h 564"/>
                <a:gd name="T58" fmla="*/ 8 w 525"/>
                <a:gd name="T59" fmla="*/ 119 h 564"/>
                <a:gd name="T60" fmla="*/ 14 w 525"/>
                <a:gd name="T61" fmla="*/ 136 h 564"/>
                <a:gd name="T62" fmla="*/ 8 w 525"/>
                <a:gd name="T63" fmla="*/ 140 h 564"/>
                <a:gd name="T64" fmla="*/ 14 w 525"/>
                <a:gd name="T65" fmla="*/ 169 h 564"/>
                <a:gd name="T66" fmla="*/ 35 w 525"/>
                <a:gd name="T67" fmla="*/ 176 h 564"/>
                <a:gd name="T68" fmla="*/ 56 w 525"/>
                <a:gd name="T69" fmla="*/ 186 h 564"/>
                <a:gd name="T70" fmla="*/ 70 w 525"/>
                <a:gd name="T71" fmla="*/ 196 h 564"/>
                <a:gd name="T72" fmla="*/ 73 w 525"/>
                <a:gd name="T73" fmla="*/ 201 h 564"/>
                <a:gd name="T74" fmla="*/ 85 w 525"/>
                <a:gd name="T75" fmla="*/ 219 h 564"/>
                <a:gd name="T76" fmla="*/ 89 w 525"/>
                <a:gd name="T77" fmla="*/ 228 h 564"/>
                <a:gd name="T78" fmla="*/ 102 w 525"/>
                <a:gd name="T79" fmla="*/ 274 h 564"/>
                <a:gd name="T80" fmla="*/ 123 w 525"/>
                <a:gd name="T81" fmla="*/ 295 h 564"/>
                <a:gd name="T82" fmla="*/ 118 w 525"/>
                <a:gd name="T83" fmla="*/ 330 h 564"/>
                <a:gd name="T84" fmla="*/ 131 w 525"/>
                <a:gd name="T85" fmla="*/ 355 h 564"/>
                <a:gd name="T86" fmla="*/ 114 w 525"/>
                <a:gd name="T87" fmla="*/ 395 h 564"/>
                <a:gd name="T88" fmla="*/ 73 w 525"/>
                <a:gd name="T89" fmla="*/ 472 h 564"/>
                <a:gd name="T90" fmla="*/ 79 w 525"/>
                <a:gd name="T91" fmla="*/ 497 h 564"/>
                <a:gd name="T92" fmla="*/ 110 w 525"/>
                <a:gd name="T93" fmla="*/ 507 h 564"/>
                <a:gd name="T94" fmla="*/ 150 w 525"/>
                <a:gd name="T95" fmla="*/ 528 h 564"/>
                <a:gd name="T96" fmla="*/ 181 w 525"/>
                <a:gd name="T97" fmla="*/ 528 h 564"/>
                <a:gd name="T98" fmla="*/ 208 w 525"/>
                <a:gd name="T99" fmla="*/ 539 h 564"/>
                <a:gd name="T100" fmla="*/ 244 w 525"/>
                <a:gd name="T101" fmla="*/ 561 h 564"/>
                <a:gd name="T102" fmla="*/ 275 w 525"/>
                <a:gd name="T103" fmla="*/ 545 h 564"/>
                <a:gd name="T104" fmla="*/ 312 w 525"/>
                <a:gd name="T105" fmla="*/ 501 h 564"/>
                <a:gd name="T106" fmla="*/ 348 w 525"/>
                <a:gd name="T107" fmla="*/ 509 h 564"/>
                <a:gd name="T108" fmla="*/ 381 w 525"/>
                <a:gd name="T109" fmla="*/ 515 h 564"/>
                <a:gd name="T110" fmla="*/ 406 w 525"/>
                <a:gd name="T111" fmla="*/ 532 h 564"/>
                <a:gd name="T112" fmla="*/ 439 w 525"/>
                <a:gd name="T113" fmla="*/ 528 h 564"/>
                <a:gd name="T114" fmla="*/ 467 w 525"/>
                <a:gd name="T115" fmla="*/ 499 h 564"/>
                <a:gd name="T116" fmla="*/ 490 w 525"/>
                <a:gd name="T117" fmla="*/ 474 h 564"/>
                <a:gd name="T118" fmla="*/ 456 w 525"/>
                <a:gd name="T119" fmla="*/ 447 h 564"/>
                <a:gd name="T120" fmla="*/ 452 w 525"/>
                <a:gd name="T121" fmla="*/ 417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564">
                  <a:moveTo>
                    <a:pt x="446" y="403"/>
                  </a:moveTo>
                  <a:lnTo>
                    <a:pt x="452" y="401"/>
                  </a:lnTo>
                  <a:lnTo>
                    <a:pt x="456" y="403"/>
                  </a:lnTo>
                  <a:lnTo>
                    <a:pt x="458" y="401"/>
                  </a:lnTo>
                  <a:lnTo>
                    <a:pt x="460" y="399"/>
                  </a:lnTo>
                  <a:lnTo>
                    <a:pt x="462" y="397"/>
                  </a:lnTo>
                  <a:lnTo>
                    <a:pt x="465" y="397"/>
                  </a:lnTo>
                  <a:lnTo>
                    <a:pt x="469" y="393"/>
                  </a:lnTo>
                  <a:lnTo>
                    <a:pt x="467" y="392"/>
                  </a:lnTo>
                  <a:lnTo>
                    <a:pt x="471" y="388"/>
                  </a:lnTo>
                  <a:lnTo>
                    <a:pt x="469" y="384"/>
                  </a:lnTo>
                  <a:lnTo>
                    <a:pt x="465" y="380"/>
                  </a:lnTo>
                  <a:lnTo>
                    <a:pt x="465" y="378"/>
                  </a:lnTo>
                  <a:lnTo>
                    <a:pt x="463" y="376"/>
                  </a:lnTo>
                  <a:lnTo>
                    <a:pt x="463" y="368"/>
                  </a:lnTo>
                  <a:lnTo>
                    <a:pt x="460" y="368"/>
                  </a:lnTo>
                  <a:lnTo>
                    <a:pt x="460" y="367"/>
                  </a:lnTo>
                  <a:lnTo>
                    <a:pt x="458" y="365"/>
                  </a:lnTo>
                  <a:lnTo>
                    <a:pt x="456" y="365"/>
                  </a:lnTo>
                  <a:lnTo>
                    <a:pt x="456" y="361"/>
                  </a:lnTo>
                  <a:lnTo>
                    <a:pt x="456" y="357"/>
                  </a:lnTo>
                  <a:lnTo>
                    <a:pt x="458" y="357"/>
                  </a:lnTo>
                  <a:lnTo>
                    <a:pt x="460" y="357"/>
                  </a:lnTo>
                  <a:lnTo>
                    <a:pt x="462" y="357"/>
                  </a:lnTo>
                  <a:lnTo>
                    <a:pt x="463" y="355"/>
                  </a:lnTo>
                  <a:lnTo>
                    <a:pt x="467" y="351"/>
                  </a:lnTo>
                  <a:lnTo>
                    <a:pt x="465" y="347"/>
                  </a:lnTo>
                  <a:lnTo>
                    <a:pt x="465" y="345"/>
                  </a:lnTo>
                  <a:lnTo>
                    <a:pt x="462" y="342"/>
                  </a:lnTo>
                  <a:lnTo>
                    <a:pt x="460" y="342"/>
                  </a:lnTo>
                  <a:lnTo>
                    <a:pt x="462" y="336"/>
                  </a:lnTo>
                  <a:lnTo>
                    <a:pt x="456" y="334"/>
                  </a:lnTo>
                  <a:lnTo>
                    <a:pt x="458" y="332"/>
                  </a:lnTo>
                  <a:lnTo>
                    <a:pt x="458" y="330"/>
                  </a:lnTo>
                  <a:lnTo>
                    <a:pt x="460" y="328"/>
                  </a:lnTo>
                  <a:lnTo>
                    <a:pt x="460" y="326"/>
                  </a:lnTo>
                  <a:lnTo>
                    <a:pt x="460" y="324"/>
                  </a:lnTo>
                  <a:lnTo>
                    <a:pt x="458" y="322"/>
                  </a:lnTo>
                  <a:lnTo>
                    <a:pt x="460" y="317"/>
                  </a:lnTo>
                  <a:lnTo>
                    <a:pt x="456" y="315"/>
                  </a:lnTo>
                  <a:lnTo>
                    <a:pt x="452" y="315"/>
                  </a:lnTo>
                  <a:lnTo>
                    <a:pt x="450" y="315"/>
                  </a:lnTo>
                  <a:lnTo>
                    <a:pt x="446" y="315"/>
                  </a:lnTo>
                  <a:lnTo>
                    <a:pt x="444" y="317"/>
                  </a:lnTo>
                  <a:lnTo>
                    <a:pt x="442" y="317"/>
                  </a:lnTo>
                  <a:lnTo>
                    <a:pt x="440" y="319"/>
                  </a:lnTo>
                  <a:lnTo>
                    <a:pt x="439" y="317"/>
                  </a:lnTo>
                  <a:lnTo>
                    <a:pt x="435" y="320"/>
                  </a:lnTo>
                  <a:lnTo>
                    <a:pt x="433" y="322"/>
                  </a:lnTo>
                  <a:lnTo>
                    <a:pt x="435" y="322"/>
                  </a:lnTo>
                  <a:lnTo>
                    <a:pt x="433" y="326"/>
                  </a:lnTo>
                  <a:lnTo>
                    <a:pt x="435" y="326"/>
                  </a:lnTo>
                  <a:lnTo>
                    <a:pt x="431" y="332"/>
                  </a:lnTo>
                  <a:lnTo>
                    <a:pt x="429" y="332"/>
                  </a:lnTo>
                  <a:lnTo>
                    <a:pt x="427" y="332"/>
                  </a:lnTo>
                  <a:lnTo>
                    <a:pt x="425" y="334"/>
                  </a:lnTo>
                  <a:lnTo>
                    <a:pt x="421" y="332"/>
                  </a:lnTo>
                  <a:lnTo>
                    <a:pt x="423" y="328"/>
                  </a:lnTo>
                  <a:lnTo>
                    <a:pt x="427" y="328"/>
                  </a:lnTo>
                  <a:lnTo>
                    <a:pt x="429" y="328"/>
                  </a:lnTo>
                  <a:lnTo>
                    <a:pt x="429" y="324"/>
                  </a:lnTo>
                  <a:lnTo>
                    <a:pt x="431" y="319"/>
                  </a:lnTo>
                  <a:lnTo>
                    <a:pt x="429" y="315"/>
                  </a:lnTo>
                  <a:lnTo>
                    <a:pt x="429" y="313"/>
                  </a:lnTo>
                  <a:lnTo>
                    <a:pt x="431" y="309"/>
                  </a:lnTo>
                  <a:lnTo>
                    <a:pt x="431" y="305"/>
                  </a:lnTo>
                  <a:lnTo>
                    <a:pt x="440" y="297"/>
                  </a:lnTo>
                  <a:lnTo>
                    <a:pt x="444" y="294"/>
                  </a:lnTo>
                  <a:lnTo>
                    <a:pt x="444" y="290"/>
                  </a:lnTo>
                  <a:lnTo>
                    <a:pt x="446" y="288"/>
                  </a:lnTo>
                  <a:lnTo>
                    <a:pt x="444" y="284"/>
                  </a:lnTo>
                  <a:lnTo>
                    <a:pt x="446" y="282"/>
                  </a:lnTo>
                  <a:lnTo>
                    <a:pt x="452" y="280"/>
                  </a:lnTo>
                  <a:lnTo>
                    <a:pt x="456" y="276"/>
                  </a:lnTo>
                  <a:lnTo>
                    <a:pt x="458" y="274"/>
                  </a:lnTo>
                  <a:lnTo>
                    <a:pt x="460" y="272"/>
                  </a:lnTo>
                  <a:lnTo>
                    <a:pt x="463" y="270"/>
                  </a:lnTo>
                  <a:lnTo>
                    <a:pt x="465" y="267"/>
                  </a:lnTo>
                  <a:lnTo>
                    <a:pt x="467" y="265"/>
                  </a:lnTo>
                  <a:lnTo>
                    <a:pt x="467" y="263"/>
                  </a:lnTo>
                  <a:lnTo>
                    <a:pt x="467" y="261"/>
                  </a:lnTo>
                  <a:lnTo>
                    <a:pt x="469" y="261"/>
                  </a:lnTo>
                  <a:lnTo>
                    <a:pt x="471" y="259"/>
                  </a:lnTo>
                  <a:lnTo>
                    <a:pt x="473" y="257"/>
                  </a:lnTo>
                  <a:lnTo>
                    <a:pt x="471" y="255"/>
                  </a:lnTo>
                  <a:lnTo>
                    <a:pt x="467" y="257"/>
                  </a:lnTo>
                  <a:lnTo>
                    <a:pt x="465" y="257"/>
                  </a:lnTo>
                  <a:lnTo>
                    <a:pt x="469" y="251"/>
                  </a:lnTo>
                  <a:lnTo>
                    <a:pt x="469" y="249"/>
                  </a:lnTo>
                  <a:lnTo>
                    <a:pt x="473" y="249"/>
                  </a:lnTo>
                  <a:lnTo>
                    <a:pt x="477" y="249"/>
                  </a:lnTo>
                  <a:lnTo>
                    <a:pt x="479" y="249"/>
                  </a:lnTo>
                  <a:lnTo>
                    <a:pt x="479" y="251"/>
                  </a:lnTo>
                  <a:lnTo>
                    <a:pt x="481" y="253"/>
                  </a:lnTo>
                  <a:lnTo>
                    <a:pt x="485" y="253"/>
                  </a:lnTo>
                  <a:lnTo>
                    <a:pt x="487" y="255"/>
                  </a:lnTo>
                  <a:lnTo>
                    <a:pt x="488" y="253"/>
                  </a:lnTo>
                  <a:lnTo>
                    <a:pt x="488" y="251"/>
                  </a:lnTo>
                  <a:lnTo>
                    <a:pt x="490" y="249"/>
                  </a:lnTo>
                  <a:lnTo>
                    <a:pt x="492" y="247"/>
                  </a:lnTo>
                  <a:lnTo>
                    <a:pt x="494" y="246"/>
                  </a:lnTo>
                  <a:lnTo>
                    <a:pt x="496" y="244"/>
                  </a:lnTo>
                  <a:lnTo>
                    <a:pt x="492" y="238"/>
                  </a:lnTo>
                  <a:lnTo>
                    <a:pt x="494" y="236"/>
                  </a:lnTo>
                  <a:lnTo>
                    <a:pt x="494" y="234"/>
                  </a:lnTo>
                  <a:lnTo>
                    <a:pt x="494" y="232"/>
                  </a:lnTo>
                  <a:lnTo>
                    <a:pt x="494" y="230"/>
                  </a:lnTo>
                  <a:lnTo>
                    <a:pt x="496" y="226"/>
                  </a:lnTo>
                  <a:lnTo>
                    <a:pt x="496" y="224"/>
                  </a:lnTo>
                  <a:lnTo>
                    <a:pt x="496" y="222"/>
                  </a:lnTo>
                  <a:lnTo>
                    <a:pt x="496" y="221"/>
                  </a:lnTo>
                  <a:lnTo>
                    <a:pt x="498" y="221"/>
                  </a:lnTo>
                  <a:lnTo>
                    <a:pt x="498" y="217"/>
                  </a:lnTo>
                  <a:lnTo>
                    <a:pt x="496" y="215"/>
                  </a:lnTo>
                  <a:lnTo>
                    <a:pt x="496" y="213"/>
                  </a:lnTo>
                  <a:lnTo>
                    <a:pt x="496" y="209"/>
                  </a:lnTo>
                  <a:lnTo>
                    <a:pt x="500" y="201"/>
                  </a:lnTo>
                  <a:lnTo>
                    <a:pt x="502" y="197"/>
                  </a:lnTo>
                  <a:lnTo>
                    <a:pt x="504" y="197"/>
                  </a:lnTo>
                  <a:lnTo>
                    <a:pt x="504" y="190"/>
                  </a:lnTo>
                  <a:lnTo>
                    <a:pt x="508" y="182"/>
                  </a:lnTo>
                  <a:lnTo>
                    <a:pt x="508" y="176"/>
                  </a:lnTo>
                  <a:lnTo>
                    <a:pt x="512" y="174"/>
                  </a:lnTo>
                  <a:lnTo>
                    <a:pt x="513" y="172"/>
                  </a:lnTo>
                  <a:lnTo>
                    <a:pt x="515" y="169"/>
                  </a:lnTo>
                  <a:lnTo>
                    <a:pt x="519" y="167"/>
                  </a:lnTo>
                  <a:lnTo>
                    <a:pt x="523" y="159"/>
                  </a:lnTo>
                  <a:lnTo>
                    <a:pt x="525" y="157"/>
                  </a:lnTo>
                  <a:lnTo>
                    <a:pt x="525" y="155"/>
                  </a:lnTo>
                  <a:lnTo>
                    <a:pt x="523" y="153"/>
                  </a:lnTo>
                  <a:lnTo>
                    <a:pt x="515" y="151"/>
                  </a:lnTo>
                  <a:lnTo>
                    <a:pt x="515" y="149"/>
                  </a:lnTo>
                  <a:lnTo>
                    <a:pt x="513" y="149"/>
                  </a:lnTo>
                  <a:lnTo>
                    <a:pt x="512" y="149"/>
                  </a:lnTo>
                  <a:lnTo>
                    <a:pt x="510" y="148"/>
                  </a:lnTo>
                  <a:lnTo>
                    <a:pt x="508" y="149"/>
                  </a:lnTo>
                  <a:lnTo>
                    <a:pt x="506" y="149"/>
                  </a:lnTo>
                  <a:lnTo>
                    <a:pt x="504" y="149"/>
                  </a:lnTo>
                  <a:lnTo>
                    <a:pt x="498" y="148"/>
                  </a:lnTo>
                  <a:lnTo>
                    <a:pt x="498" y="146"/>
                  </a:lnTo>
                  <a:lnTo>
                    <a:pt x="496" y="144"/>
                  </a:lnTo>
                  <a:lnTo>
                    <a:pt x="498" y="142"/>
                  </a:lnTo>
                  <a:lnTo>
                    <a:pt x="496" y="144"/>
                  </a:lnTo>
                  <a:lnTo>
                    <a:pt x="494" y="142"/>
                  </a:lnTo>
                  <a:lnTo>
                    <a:pt x="490" y="142"/>
                  </a:lnTo>
                  <a:lnTo>
                    <a:pt x="488" y="144"/>
                  </a:lnTo>
                  <a:lnTo>
                    <a:pt x="487" y="144"/>
                  </a:lnTo>
                  <a:lnTo>
                    <a:pt x="485" y="144"/>
                  </a:lnTo>
                  <a:lnTo>
                    <a:pt x="483" y="142"/>
                  </a:lnTo>
                  <a:lnTo>
                    <a:pt x="481" y="142"/>
                  </a:lnTo>
                  <a:lnTo>
                    <a:pt x="479" y="144"/>
                  </a:lnTo>
                  <a:lnTo>
                    <a:pt x="477" y="142"/>
                  </a:lnTo>
                  <a:lnTo>
                    <a:pt x="475" y="140"/>
                  </a:lnTo>
                  <a:lnTo>
                    <a:pt x="473" y="140"/>
                  </a:lnTo>
                  <a:lnTo>
                    <a:pt x="471" y="140"/>
                  </a:lnTo>
                  <a:lnTo>
                    <a:pt x="471" y="138"/>
                  </a:lnTo>
                  <a:lnTo>
                    <a:pt x="471" y="140"/>
                  </a:lnTo>
                  <a:lnTo>
                    <a:pt x="469" y="140"/>
                  </a:lnTo>
                  <a:lnTo>
                    <a:pt x="467" y="140"/>
                  </a:lnTo>
                  <a:lnTo>
                    <a:pt x="467" y="138"/>
                  </a:lnTo>
                  <a:lnTo>
                    <a:pt x="467" y="136"/>
                  </a:lnTo>
                  <a:lnTo>
                    <a:pt x="465" y="136"/>
                  </a:lnTo>
                  <a:lnTo>
                    <a:pt x="465" y="134"/>
                  </a:lnTo>
                  <a:lnTo>
                    <a:pt x="463" y="134"/>
                  </a:lnTo>
                  <a:lnTo>
                    <a:pt x="463" y="132"/>
                  </a:lnTo>
                  <a:lnTo>
                    <a:pt x="463" y="130"/>
                  </a:lnTo>
                  <a:lnTo>
                    <a:pt x="462" y="128"/>
                  </a:lnTo>
                  <a:lnTo>
                    <a:pt x="460" y="123"/>
                  </a:lnTo>
                  <a:lnTo>
                    <a:pt x="458" y="121"/>
                  </a:lnTo>
                  <a:lnTo>
                    <a:pt x="456" y="119"/>
                  </a:lnTo>
                  <a:lnTo>
                    <a:pt x="454" y="119"/>
                  </a:lnTo>
                  <a:lnTo>
                    <a:pt x="452" y="121"/>
                  </a:lnTo>
                  <a:lnTo>
                    <a:pt x="448" y="117"/>
                  </a:lnTo>
                  <a:lnTo>
                    <a:pt x="444" y="117"/>
                  </a:lnTo>
                  <a:lnTo>
                    <a:pt x="440" y="121"/>
                  </a:lnTo>
                  <a:lnTo>
                    <a:pt x="439" y="119"/>
                  </a:lnTo>
                  <a:lnTo>
                    <a:pt x="437" y="117"/>
                  </a:lnTo>
                  <a:lnTo>
                    <a:pt x="433" y="115"/>
                  </a:lnTo>
                  <a:lnTo>
                    <a:pt x="433" y="113"/>
                  </a:lnTo>
                  <a:lnTo>
                    <a:pt x="431" y="113"/>
                  </a:lnTo>
                  <a:lnTo>
                    <a:pt x="429" y="113"/>
                  </a:lnTo>
                  <a:lnTo>
                    <a:pt x="427" y="113"/>
                  </a:lnTo>
                  <a:lnTo>
                    <a:pt x="423" y="113"/>
                  </a:lnTo>
                  <a:lnTo>
                    <a:pt x="423" y="115"/>
                  </a:lnTo>
                  <a:lnTo>
                    <a:pt x="421" y="115"/>
                  </a:lnTo>
                  <a:lnTo>
                    <a:pt x="419" y="115"/>
                  </a:lnTo>
                  <a:lnTo>
                    <a:pt x="417" y="115"/>
                  </a:lnTo>
                  <a:lnTo>
                    <a:pt x="417" y="113"/>
                  </a:lnTo>
                  <a:lnTo>
                    <a:pt x="417" y="111"/>
                  </a:lnTo>
                  <a:lnTo>
                    <a:pt x="417" y="109"/>
                  </a:lnTo>
                  <a:lnTo>
                    <a:pt x="415" y="107"/>
                  </a:lnTo>
                  <a:lnTo>
                    <a:pt x="414" y="107"/>
                  </a:lnTo>
                  <a:lnTo>
                    <a:pt x="412" y="107"/>
                  </a:lnTo>
                  <a:lnTo>
                    <a:pt x="412" y="105"/>
                  </a:lnTo>
                  <a:lnTo>
                    <a:pt x="414" y="105"/>
                  </a:lnTo>
                  <a:lnTo>
                    <a:pt x="412" y="101"/>
                  </a:lnTo>
                  <a:lnTo>
                    <a:pt x="410" y="101"/>
                  </a:lnTo>
                  <a:lnTo>
                    <a:pt x="408" y="101"/>
                  </a:lnTo>
                  <a:lnTo>
                    <a:pt x="408" y="99"/>
                  </a:lnTo>
                  <a:lnTo>
                    <a:pt x="406" y="99"/>
                  </a:lnTo>
                  <a:lnTo>
                    <a:pt x="406" y="98"/>
                  </a:lnTo>
                  <a:lnTo>
                    <a:pt x="404" y="96"/>
                  </a:lnTo>
                  <a:lnTo>
                    <a:pt x="402" y="94"/>
                  </a:lnTo>
                  <a:lnTo>
                    <a:pt x="400" y="94"/>
                  </a:lnTo>
                  <a:lnTo>
                    <a:pt x="398" y="94"/>
                  </a:lnTo>
                  <a:lnTo>
                    <a:pt x="396" y="94"/>
                  </a:lnTo>
                  <a:lnTo>
                    <a:pt x="396" y="92"/>
                  </a:lnTo>
                  <a:lnTo>
                    <a:pt x="396" y="88"/>
                  </a:lnTo>
                  <a:lnTo>
                    <a:pt x="398" y="86"/>
                  </a:lnTo>
                  <a:lnTo>
                    <a:pt x="398" y="84"/>
                  </a:lnTo>
                  <a:lnTo>
                    <a:pt x="396" y="84"/>
                  </a:lnTo>
                  <a:lnTo>
                    <a:pt x="396" y="82"/>
                  </a:lnTo>
                  <a:lnTo>
                    <a:pt x="394" y="82"/>
                  </a:lnTo>
                  <a:lnTo>
                    <a:pt x="394" y="80"/>
                  </a:lnTo>
                  <a:lnTo>
                    <a:pt x="396" y="78"/>
                  </a:lnTo>
                  <a:lnTo>
                    <a:pt x="396" y="76"/>
                  </a:lnTo>
                  <a:lnTo>
                    <a:pt x="396" y="74"/>
                  </a:lnTo>
                  <a:lnTo>
                    <a:pt x="396" y="73"/>
                  </a:lnTo>
                  <a:lnTo>
                    <a:pt x="398" y="73"/>
                  </a:lnTo>
                  <a:lnTo>
                    <a:pt x="400" y="71"/>
                  </a:lnTo>
                  <a:lnTo>
                    <a:pt x="398" y="71"/>
                  </a:lnTo>
                  <a:lnTo>
                    <a:pt x="396" y="69"/>
                  </a:lnTo>
                  <a:lnTo>
                    <a:pt x="394" y="71"/>
                  </a:lnTo>
                  <a:lnTo>
                    <a:pt x="394" y="73"/>
                  </a:lnTo>
                  <a:lnTo>
                    <a:pt x="392" y="73"/>
                  </a:lnTo>
                  <a:lnTo>
                    <a:pt x="390" y="76"/>
                  </a:lnTo>
                  <a:lnTo>
                    <a:pt x="390" y="78"/>
                  </a:lnTo>
                  <a:lnTo>
                    <a:pt x="389" y="78"/>
                  </a:lnTo>
                  <a:lnTo>
                    <a:pt x="389" y="80"/>
                  </a:lnTo>
                  <a:lnTo>
                    <a:pt x="387" y="80"/>
                  </a:lnTo>
                  <a:lnTo>
                    <a:pt x="381" y="82"/>
                  </a:lnTo>
                  <a:lnTo>
                    <a:pt x="377" y="80"/>
                  </a:lnTo>
                  <a:lnTo>
                    <a:pt x="375" y="80"/>
                  </a:lnTo>
                  <a:lnTo>
                    <a:pt x="373" y="80"/>
                  </a:lnTo>
                  <a:lnTo>
                    <a:pt x="371" y="80"/>
                  </a:lnTo>
                  <a:lnTo>
                    <a:pt x="369" y="78"/>
                  </a:lnTo>
                  <a:lnTo>
                    <a:pt x="369" y="76"/>
                  </a:lnTo>
                  <a:lnTo>
                    <a:pt x="369" y="74"/>
                  </a:lnTo>
                  <a:lnTo>
                    <a:pt x="371" y="74"/>
                  </a:lnTo>
                  <a:lnTo>
                    <a:pt x="373" y="73"/>
                  </a:lnTo>
                  <a:lnTo>
                    <a:pt x="371" y="71"/>
                  </a:lnTo>
                  <a:lnTo>
                    <a:pt x="371" y="69"/>
                  </a:lnTo>
                  <a:lnTo>
                    <a:pt x="369" y="69"/>
                  </a:lnTo>
                  <a:lnTo>
                    <a:pt x="371" y="67"/>
                  </a:lnTo>
                  <a:lnTo>
                    <a:pt x="371" y="65"/>
                  </a:lnTo>
                  <a:lnTo>
                    <a:pt x="373" y="61"/>
                  </a:lnTo>
                  <a:lnTo>
                    <a:pt x="371" y="59"/>
                  </a:lnTo>
                  <a:lnTo>
                    <a:pt x="371" y="61"/>
                  </a:lnTo>
                  <a:lnTo>
                    <a:pt x="369" y="59"/>
                  </a:lnTo>
                  <a:lnTo>
                    <a:pt x="369" y="57"/>
                  </a:lnTo>
                  <a:lnTo>
                    <a:pt x="367" y="57"/>
                  </a:lnTo>
                  <a:lnTo>
                    <a:pt x="367" y="55"/>
                  </a:lnTo>
                  <a:lnTo>
                    <a:pt x="367" y="53"/>
                  </a:lnTo>
                  <a:lnTo>
                    <a:pt x="365" y="53"/>
                  </a:lnTo>
                  <a:lnTo>
                    <a:pt x="364" y="53"/>
                  </a:lnTo>
                  <a:lnTo>
                    <a:pt x="362" y="55"/>
                  </a:lnTo>
                  <a:lnTo>
                    <a:pt x="360" y="53"/>
                  </a:lnTo>
                  <a:lnTo>
                    <a:pt x="358" y="53"/>
                  </a:lnTo>
                  <a:lnTo>
                    <a:pt x="356" y="53"/>
                  </a:lnTo>
                  <a:lnTo>
                    <a:pt x="354" y="55"/>
                  </a:lnTo>
                  <a:lnTo>
                    <a:pt x="354" y="53"/>
                  </a:lnTo>
                  <a:lnTo>
                    <a:pt x="352" y="51"/>
                  </a:lnTo>
                  <a:lnTo>
                    <a:pt x="354" y="51"/>
                  </a:lnTo>
                  <a:lnTo>
                    <a:pt x="354" y="48"/>
                  </a:lnTo>
                  <a:lnTo>
                    <a:pt x="354" y="46"/>
                  </a:lnTo>
                  <a:lnTo>
                    <a:pt x="352" y="46"/>
                  </a:lnTo>
                  <a:lnTo>
                    <a:pt x="352" y="42"/>
                  </a:lnTo>
                  <a:lnTo>
                    <a:pt x="350" y="44"/>
                  </a:lnTo>
                  <a:lnTo>
                    <a:pt x="350" y="42"/>
                  </a:lnTo>
                  <a:lnTo>
                    <a:pt x="346" y="44"/>
                  </a:lnTo>
                  <a:lnTo>
                    <a:pt x="346" y="42"/>
                  </a:lnTo>
                  <a:lnTo>
                    <a:pt x="348" y="42"/>
                  </a:lnTo>
                  <a:lnTo>
                    <a:pt x="346" y="40"/>
                  </a:lnTo>
                  <a:lnTo>
                    <a:pt x="346" y="42"/>
                  </a:lnTo>
                  <a:lnTo>
                    <a:pt x="344" y="42"/>
                  </a:lnTo>
                  <a:lnTo>
                    <a:pt x="342" y="42"/>
                  </a:lnTo>
                  <a:lnTo>
                    <a:pt x="339" y="40"/>
                  </a:lnTo>
                  <a:lnTo>
                    <a:pt x="339" y="38"/>
                  </a:lnTo>
                  <a:lnTo>
                    <a:pt x="339" y="36"/>
                  </a:lnTo>
                  <a:lnTo>
                    <a:pt x="339" y="30"/>
                  </a:lnTo>
                  <a:lnTo>
                    <a:pt x="339" y="28"/>
                  </a:lnTo>
                  <a:lnTo>
                    <a:pt x="339" y="26"/>
                  </a:lnTo>
                  <a:lnTo>
                    <a:pt x="337" y="26"/>
                  </a:lnTo>
                  <a:lnTo>
                    <a:pt x="337" y="23"/>
                  </a:lnTo>
                  <a:lnTo>
                    <a:pt x="335" y="23"/>
                  </a:lnTo>
                  <a:lnTo>
                    <a:pt x="333" y="23"/>
                  </a:lnTo>
                  <a:lnTo>
                    <a:pt x="331" y="23"/>
                  </a:lnTo>
                  <a:lnTo>
                    <a:pt x="329" y="25"/>
                  </a:lnTo>
                  <a:lnTo>
                    <a:pt x="327" y="25"/>
                  </a:lnTo>
                  <a:lnTo>
                    <a:pt x="327" y="26"/>
                  </a:lnTo>
                  <a:lnTo>
                    <a:pt x="325" y="28"/>
                  </a:lnTo>
                  <a:lnTo>
                    <a:pt x="325" y="26"/>
                  </a:lnTo>
                  <a:lnTo>
                    <a:pt x="323" y="25"/>
                  </a:lnTo>
                  <a:lnTo>
                    <a:pt x="321" y="25"/>
                  </a:lnTo>
                  <a:lnTo>
                    <a:pt x="321" y="23"/>
                  </a:lnTo>
                  <a:lnTo>
                    <a:pt x="319" y="21"/>
                  </a:lnTo>
                  <a:lnTo>
                    <a:pt x="319" y="19"/>
                  </a:lnTo>
                  <a:lnTo>
                    <a:pt x="317" y="19"/>
                  </a:lnTo>
                  <a:lnTo>
                    <a:pt x="316" y="19"/>
                  </a:lnTo>
                  <a:lnTo>
                    <a:pt x="316" y="17"/>
                  </a:lnTo>
                  <a:lnTo>
                    <a:pt x="316" y="11"/>
                  </a:lnTo>
                  <a:lnTo>
                    <a:pt x="317" y="9"/>
                  </a:lnTo>
                  <a:lnTo>
                    <a:pt x="316" y="7"/>
                  </a:lnTo>
                  <a:lnTo>
                    <a:pt x="316" y="5"/>
                  </a:lnTo>
                  <a:lnTo>
                    <a:pt x="316" y="1"/>
                  </a:lnTo>
                  <a:lnTo>
                    <a:pt x="316" y="0"/>
                  </a:lnTo>
                  <a:lnTo>
                    <a:pt x="310" y="1"/>
                  </a:lnTo>
                  <a:lnTo>
                    <a:pt x="300" y="1"/>
                  </a:lnTo>
                  <a:lnTo>
                    <a:pt x="296" y="3"/>
                  </a:lnTo>
                  <a:lnTo>
                    <a:pt x="291" y="3"/>
                  </a:lnTo>
                  <a:lnTo>
                    <a:pt x="289" y="3"/>
                  </a:lnTo>
                  <a:lnTo>
                    <a:pt x="287" y="3"/>
                  </a:lnTo>
                  <a:lnTo>
                    <a:pt x="283" y="3"/>
                  </a:lnTo>
                  <a:lnTo>
                    <a:pt x="281" y="7"/>
                  </a:lnTo>
                  <a:lnTo>
                    <a:pt x="279" y="9"/>
                  </a:lnTo>
                  <a:lnTo>
                    <a:pt x="277" y="9"/>
                  </a:lnTo>
                  <a:lnTo>
                    <a:pt x="277" y="15"/>
                  </a:lnTo>
                  <a:lnTo>
                    <a:pt x="277" y="17"/>
                  </a:lnTo>
                  <a:lnTo>
                    <a:pt x="273" y="19"/>
                  </a:lnTo>
                  <a:lnTo>
                    <a:pt x="275" y="25"/>
                  </a:lnTo>
                  <a:lnTo>
                    <a:pt x="273" y="28"/>
                  </a:lnTo>
                  <a:lnTo>
                    <a:pt x="275" y="30"/>
                  </a:lnTo>
                  <a:lnTo>
                    <a:pt x="273" y="30"/>
                  </a:lnTo>
                  <a:lnTo>
                    <a:pt x="271" y="40"/>
                  </a:lnTo>
                  <a:lnTo>
                    <a:pt x="273" y="42"/>
                  </a:lnTo>
                  <a:lnTo>
                    <a:pt x="271" y="42"/>
                  </a:lnTo>
                  <a:lnTo>
                    <a:pt x="271" y="46"/>
                  </a:lnTo>
                  <a:lnTo>
                    <a:pt x="269" y="48"/>
                  </a:lnTo>
                  <a:lnTo>
                    <a:pt x="271" y="50"/>
                  </a:lnTo>
                  <a:lnTo>
                    <a:pt x="271" y="51"/>
                  </a:lnTo>
                  <a:lnTo>
                    <a:pt x="275" y="51"/>
                  </a:lnTo>
                  <a:lnTo>
                    <a:pt x="273" y="55"/>
                  </a:lnTo>
                  <a:lnTo>
                    <a:pt x="269" y="51"/>
                  </a:lnTo>
                  <a:lnTo>
                    <a:pt x="267" y="53"/>
                  </a:lnTo>
                  <a:lnTo>
                    <a:pt x="267" y="55"/>
                  </a:lnTo>
                  <a:lnTo>
                    <a:pt x="266" y="57"/>
                  </a:lnTo>
                  <a:lnTo>
                    <a:pt x="262" y="61"/>
                  </a:lnTo>
                  <a:lnTo>
                    <a:pt x="260" y="63"/>
                  </a:lnTo>
                  <a:lnTo>
                    <a:pt x="254" y="65"/>
                  </a:lnTo>
                  <a:lnTo>
                    <a:pt x="248" y="69"/>
                  </a:lnTo>
                  <a:lnTo>
                    <a:pt x="244" y="69"/>
                  </a:lnTo>
                  <a:lnTo>
                    <a:pt x="241" y="69"/>
                  </a:lnTo>
                  <a:lnTo>
                    <a:pt x="239" y="69"/>
                  </a:lnTo>
                  <a:lnTo>
                    <a:pt x="229" y="71"/>
                  </a:lnTo>
                  <a:lnTo>
                    <a:pt x="225" y="73"/>
                  </a:lnTo>
                  <a:lnTo>
                    <a:pt x="212" y="78"/>
                  </a:lnTo>
                  <a:lnTo>
                    <a:pt x="212" y="82"/>
                  </a:lnTo>
                  <a:lnTo>
                    <a:pt x="208" y="86"/>
                  </a:lnTo>
                  <a:lnTo>
                    <a:pt x="206" y="90"/>
                  </a:lnTo>
                  <a:lnTo>
                    <a:pt x="208" y="92"/>
                  </a:lnTo>
                  <a:lnTo>
                    <a:pt x="210" y="94"/>
                  </a:lnTo>
                  <a:lnTo>
                    <a:pt x="216" y="94"/>
                  </a:lnTo>
                  <a:lnTo>
                    <a:pt x="219" y="96"/>
                  </a:lnTo>
                  <a:lnTo>
                    <a:pt x="218" y="98"/>
                  </a:lnTo>
                  <a:lnTo>
                    <a:pt x="214" y="98"/>
                  </a:lnTo>
                  <a:lnTo>
                    <a:pt x="212" y="96"/>
                  </a:lnTo>
                  <a:lnTo>
                    <a:pt x="208" y="98"/>
                  </a:lnTo>
                  <a:lnTo>
                    <a:pt x="200" y="101"/>
                  </a:lnTo>
                  <a:lnTo>
                    <a:pt x="191" y="103"/>
                  </a:lnTo>
                  <a:lnTo>
                    <a:pt x="189" y="99"/>
                  </a:lnTo>
                  <a:lnTo>
                    <a:pt x="185" y="98"/>
                  </a:lnTo>
                  <a:lnTo>
                    <a:pt x="177" y="96"/>
                  </a:lnTo>
                  <a:lnTo>
                    <a:pt x="169" y="94"/>
                  </a:lnTo>
                  <a:lnTo>
                    <a:pt x="166" y="92"/>
                  </a:lnTo>
                  <a:lnTo>
                    <a:pt x="160" y="92"/>
                  </a:lnTo>
                  <a:lnTo>
                    <a:pt x="158" y="94"/>
                  </a:lnTo>
                  <a:lnTo>
                    <a:pt x="156" y="94"/>
                  </a:lnTo>
                  <a:lnTo>
                    <a:pt x="156" y="90"/>
                  </a:lnTo>
                  <a:lnTo>
                    <a:pt x="156" y="86"/>
                  </a:lnTo>
                  <a:lnTo>
                    <a:pt x="152" y="82"/>
                  </a:lnTo>
                  <a:lnTo>
                    <a:pt x="152" y="80"/>
                  </a:lnTo>
                  <a:lnTo>
                    <a:pt x="154" y="76"/>
                  </a:lnTo>
                  <a:lnTo>
                    <a:pt x="156" y="76"/>
                  </a:lnTo>
                  <a:lnTo>
                    <a:pt x="156" y="73"/>
                  </a:lnTo>
                  <a:lnTo>
                    <a:pt x="154" y="71"/>
                  </a:lnTo>
                  <a:lnTo>
                    <a:pt x="150" y="69"/>
                  </a:lnTo>
                  <a:lnTo>
                    <a:pt x="148" y="69"/>
                  </a:lnTo>
                  <a:lnTo>
                    <a:pt x="145" y="71"/>
                  </a:lnTo>
                  <a:lnTo>
                    <a:pt x="143" y="71"/>
                  </a:lnTo>
                  <a:lnTo>
                    <a:pt x="141" y="73"/>
                  </a:lnTo>
                  <a:lnTo>
                    <a:pt x="139" y="71"/>
                  </a:lnTo>
                  <a:lnTo>
                    <a:pt x="135" y="67"/>
                  </a:lnTo>
                  <a:lnTo>
                    <a:pt x="133" y="67"/>
                  </a:lnTo>
                  <a:lnTo>
                    <a:pt x="131" y="67"/>
                  </a:lnTo>
                  <a:lnTo>
                    <a:pt x="131" y="65"/>
                  </a:lnTo>
                  <a:lnTo>
                    <a:pt x="129" y="65"/>
                  </a:lnTo>
                  <a:lnTo>
                    <a:pt x="129" y="67"/>
                  </a:lnTo>
                  <a:lnTo>
                    <a:pt x="131" y="69"/>
                  </a:lnTo>
                  <a:lnTo>
                    <a:pt x="131" y="71"/>
                  </a:lnTo>
                  <a:lnTo>
                    <a:pt x="131" y="73"/>
                  </a:lnTo>
                  <a:lnTo>
                    <a:pt x="131" y="74"/>
                  </a:lnTo>
                  <a:lnTo>
                    <a:pt x="129" y="76"/>
                  </a:lnTo>
                  <a:lnTo>
                    <a:pt x="131" y="80"/>
                  </a:lnTo>
                  <a:lnTo>
                    <a:pt x="131" y="88"/>
                  </a:lnTo>
                  <a:lnTo>
                    <a:pt x="133" y="88"/>
                  </a:lnTo>
                  <a:lnTo>
                    <a:pt x="135" y="94"/>
                  </a:lnTo>
                  <a:lnTo>
                    <a:pt x="135" y="98"/>
                  </a:lnTo>
                  <a:lnTo>
                    <a:pt x="139" y="98"/>
                  </a:lnTo>
                  <a:lnTo>
                    <a:pt x="137" y="99"/>
                  </a:lnTo>
                  <a:lnTo>
                    <a:pt x="135" y="107"/>
                  </a:lnTo>
                  <a:lnTo>
                    <a:pt x="135" y="113"/>
                  </a:lnTo>
                  <a:lnTo>
                    <a:pt x="137" y="111"/>
                  </a:lnTo>
                  <a:lnTo>
                    <a:pt x="135" y="123"/>
                  </a:lnTo>
                  <a:lnTo>
                    <a:pt x="133" y="123"/>
                  </a:lnTo>
                  <a:lnTo>
                    <a:pt x="135" y="124"/>
                  </a:lnTo>
                  <a:lnTo>
                    <a:pt x="133" y="128"/>
                  </a:lnTo>
                  <a:lnTo>
                    <a:pt x="137" y="134"/>
                  </a:lnTo>
                  <a:lnTo>
                    <a:pt x="141" y="134"/>
                  </a:lnTo>
                  <a:lnTo>
                    <a:pt x="141" y="138"/>
                  </a:lnTo>
                  <a:lnTo>
                    <a:pt x="139" y="138"/>
                  </a:lnTo>
                  <a:lnTo>
                    <a:pt x="135" y="138"/>
                  </a:lnTo>
                  <a:lnTo>
                    <a:pt x="133" y="136"/>
                  </a:lnTo>
                  <a:lnTo>
                    <a:pt x="127" y="136"/>
                  </a:lnTo>
                  <a:lnTo>
                    <a:pt x="123" y="136"/>
                  </a:lnTo>
                  <a:lnTo>
                    <a:pt x="121" y="136"/>
                  </a:lnTo>
                  <a:lnTo>
                    <a:pt x="121" y="134"/>
                  </a:lnTo>
                  <a:lnTo>
                    <a:pt x="123" y="132"/>
                  </a:lnTo>
                  <a:lnTo>
                    <a:pt x="123" y="130"/>
                  </a:lnTo>
                  <a:lnTo>
                    <a:pt x="120" y="130"/>
                  </a:lnTo>
                  <a:lnTo>
                    <a:pt x="118" y="130"/>
                  </a:lnTo>
                  <a:lnTo>
                    <a:pt x="116" y="132"/>
                  </a:lnTo>
                  <a:lnTo>
                    <a:pt x="116" y="140"/>
                  </a:lnTo>
                  <a:lnTo>
                    <a:pt x="114" y="138"/>
                  </a:lnTo>
                  <a:lnTo>
                    <a:pt x="114" y="134"/>
                  </a:lnTo>
                  <a:lnTo>
                    <a:pt x="110" y="134"/>
                  </a:lnTo>
                  <a:lnTo>
                    <a:pt x="108" y="136"/>
                  </a:lnTo>
                  <a:lnTo>
                    <a:pt x="106" y="132"/>
                  </a:lnTo>
                  <a:lnTo>
                    <a:pt x="102" y="134"/>
                  </a:lnTo>
                  <a:lnTo>
                    <a:pt x="102" y="128"/>
                  </a:lnTo>
                  <a:lnTo>
                    <a:pt x="100" y="130"/>
                  </a:lnTo>
                  <a:lnTo>
                    <a:pt x="96" y="130"/>
                  </a:lnTo>
                  <a:lnTo>
                    <a:pt x="96" y="132"/>
                  </a:lnTo>
                  <a:lnTo>
                    <a:pt x="93" y="132"/>
                  </a:lnTo>
                  <a:lnTo>
                    <a:pt x="89" y="136"/>
                  </a:lnTo>
                  <a:lnTo>
                    <a:pt x="87" y="136"/>
                  </a:lnTo>
                  <a:lnTo>
                    <a:pt x="87" y="134"/>
                  </a:lnTo>
                  <a:lnTo>
                    <a:pt x="83" y="130"/>
                  </a:lnTo>
                  <a:lnTo>
                    <a:pt x="83" y="126"/>
                  </a:lnTo>
                  <a:lnTo>
                    <a:pt x="81" y="124"/>
                  </a:lnTo>
                  <a:lnTo>
                    <a:pt x="79" y="119"/>
                  </a:lnTo>
                  <a:lnTo>
                    <a:pt x="75" y="117"/>
                  </a:lnTo>
                  <a:lnTo>
                    <a:pt x="77" y="117"/>
                  </a:lnTo>
                  <a:lnTo>
                    <a:pt x="77" y="115"/>
                  </a:lnTo>
                  <a:lnTo>
                    <a:pt x="75" y="115"/>
                  </a:lnTo>
                  <a:lnTo>
                    <a:pt x="73" y="117"/>
                  </a:lnTo>
                  <a:lnTo>
                    <a:pt x="73" y="115"/>
                  </a:lnTo>
                  <a:lnTo>
                    <a:pt x="75" y="111"/>
                  </a:lnTo>
                  <a:lnTo>
                    <a:pt x="71" y="113"/>
                  </a:lnTo>
                  <a:lnTo>
                    <a:pt x="70" y="115"/>
                  </a:lnTo>
                  <a:lnTo>
                    <a:pt x="70" y="111"/>
                  </a:lnTo>
                  <a:lnTo>
                    <a:pt x="68" y="113"/>
                  </a:lnTo>
                  <a:lnTo>
                    <a:pt x="64" y="113"/>
                  </a:lnTo>
                  <a:lnTo>
                    <a:pt x="62" y="115"/>
                  </a:lnTo>
                  <a:lnTo>
                    <a:pt x="58" y="111"/>
                  </a:lnTo>
                  <a:lnTo>
                    <a:pt x="56" y="113"/>
                  </a:lnTo>
                  <a:lnTo>
                    <a:pt x="56" y="117"/>
                  </a:lnTo>
                  <a:lnTo>
                    <a:pt x="54" y="117"/>
                  </a:lnTo>
                  <a:lnTo>
                    <a:pt x="54" y="121"/>
                  </a:lnTo>
                  <a:lnTo>
                    <a:pt x="50" y="119"/>
                  </a:lnTo>
                  <a:lnTo>
                    <a:pt x="48" y="119"/>
                  </a:lnTo>
                  <a:lnTo>
                    <a:pt x="46" y="117"/>
                  </a:lnTo>
                  <a:lnTo>
                    <a:pt x="43" y="117"/>
                  </a:lnTo>
                  <a:lnTo>
                    <a:pt x="41" y="121"/>
                  </a:lnTo>
                  <a:lnTo>
                    <a:pt x="41" y="119"/>
                  </a:lnTo>
                  <a:lnTo>
                    <a:pt x="39" y="119"/>
                  </a:lnTo>
                  <a:lnTo>
                    <a:pt x="39" y="115"/>
                  </a:lnTo>
                  <a:lnTo>
                    <a:pt x="37" y="115"/>
                  </a:lnTo>
                  <a:lnTo>
                    <a:pt x="35" y="117"/>
                  </a:lnTo>
                  <a:lnTo>
                    <a:pt x="33" y="115"/>
                  </a:lnTo>
                  <a:lnTo>
                    <a:pt x="29" y="115"/>
                  </a:lnTo>
                  <a:lnTo>
                    <a:pt x="27" y="117"/>
                  </a:lnTo>
                  <a:lnTo>
                    <a:pt x="23" y="117"/>
                  </a:lnTo>
                  <a:lnTo>
                    <a:pt x="25" y="115"/>
                  </a:lnTo>
                  <a:lnTo>
                    <a:pt x="23" y="115"/>
                  </a:lnTo>
                  <a:lnTo>
                    <a:pt x="16" y="117"/>
                  </a:lnTo>
                  <a:lnTo>
                    <a:pt x="14" y="117"/>
                  </a:lnTo>
                  <a:lnTo>
                    <a:pt x="16" y="119"/>
                  </a:lnTo>
                  <a:lnTo>
                    <a:pt x="12" y="119"/>
                  </a:lnTo>
                  <a:lnTo>
                    <a:pt x="12" y="121"/>
                  </a:lnTo>
                  <a:lnTo>
                    <a:pt x="8" y="119"/>
                  </a:lnTo>
                  <a:lnTo>
                    <a:pt x="4" y="121"/>
                  </a:lnTo>
                  <a:lnTo>
                    <a:pt x="4" y="124"/>
                  </a:lnTo>
                  <a:lnTo>
                    <a:pt x="2" y="126"/>
                  </a:lnTo>
                  <a:lnTo>
                    <a:pt x="2" y="128"/>
                  </a:lnTo>
                  <a:lnTo>
                    <a:pt x="2" y="130"/>
                  </a:lnTo>
                  <a:lnTo>
                    <a:pt x="2" y="134"/>
                  </a:lnTo>
                  <a:lnTo>
                    <a:pt x="4" y="134"/>
                  </a:lnTo>
                  <a:lnTo>
                    <a:pt x="6" y="132"/>
                  </a:lnTo>
                  <a:lnTo>
                    <a:pt x="8" y="134"/>
                  </a:lnTo>
                  <a:lnTo>
                    <a:pt x="10" y="134"/>
                  </a:lnTo>
                  <a:lnTo>
                    <a:pt x="12" y="132"/>
                  </a:lnTo>
                  <a:lnTo>
                    <a:pt x="12" y="134"/>
                  </a:lnTo>
                  <a:lnTo>
                    <a:pt x="16" y="132"/>
                  </a:lnTo>
                  <a:lnTo>
                    <a:pt x="22" y="132"/>
                  </a:lnTo>
                  <a:lnTo>
                    <a:pt x="16" y="134"/>
                  </a:lnTo>
                  <a:lnTo>
                    <a:pt x="14" y="136"/>
                  </a:lnTo>
                  <a:lnTo>
                    <a:pt x="18" y="136"/>
                  </a:lnTo>
                  <a:lnTo>
                    <a:pt x="20" y="136"/>
                  </a:lnTo>
                  <a:lnTo>
                    <a:pt x="22" y="136"/>
                  </a:lnTo>
                  <a:lnTo>
                    <a:pt x="20" y="138"/>
                  </a:lnTo>
                  <a:lnTo>
                    <a:pt x="22" y="138"/>
                  </a:lnTo>
                  <a:lnTo>
                    <a:pt x="23" y="140"/>
                  </a:lnTo>
                  <a:lnTo>
                    <a:pt x="22" y="140"/>
                  </a:lnTo>
                  <a:lnTo>
                    <a:pt x="20" y="140"/>
                  </a:lnTo>
                  <a:lnTo>
                    <a:pt x="16" y="140"/>
                  </a:lnTo>
                  <a:lnTo>
                    <a:pt x="14" y="138"/>
                  </a:lnTo>
                  <a:lnTo>
                    <a:pt x="12" y="138"/>
                  </a:lnTo>
                  <a:lnTo>
                    <a:pt x="10" y="136"/>
                  </a:lnTo>
                  <a:lnTo>
                    <a:pt x="8" y="136"/>
                  </a:lnTo>
                  <a:lnTo>
                    <a:pt x="10" y="138"/>
                  </a:lnTo>
                  <a:lnTo>
                    <a:pt x="8" y="138"/>
                  </a:lnTo>
                  <a:lnTo>
                    <a:pt x="8" y="140"/>
                  </a:lnTo>
                  <a:lnTo>
                    <a:pt x="10" y="140"/>
                  </a:lnTo>
                  <a:lnTo>
                    <a:pt x="8" y="142"/>
                  </a:lnTo>
                  <a:lnTo>
                    <a:pt x="8" y="146"/>
                  </a:lnTo>
                  <a:lnTo>
                    <a:pt x="10" y="146"/>
                  </a:lnTo>
                  <a:lnTo>
                    <a:pt x="12" y="142"/>
                  </a:lnTo>
                  <a:lnTo>
                    <a:pt x="18" y="146"/>
                  </a:lnTo>
                  <a:lnTo>
                    <a:pt x="20" y="149"/>
                  </a:lnTo>
                  <a:lnTo>
                    <a:pt x="18" y="151"/>
                  </a:lnTo>
                  <a:lnTo>
                    <a:pt x="16" y="151"/>
                  </a:lnTo>
                  <a:lnTo>
                    <a:pt x="2" y="151"/>
                  </a:lnTo>
                  <a:lnTo>
                    <a:pt x="0" y="153"/>
                  </a:lnTo>
                  <a:lnTo>
                    <a:pt x="6" y="157"/>
                  </a:lnTo>
                  <a:lnTo>
                    <a:pt x="8" y="155"/>
                  </a:lnTo>
                  <a:lnTo>
                    <a:pt x="12" y="161"/>
                  </a:lnTo>
                  <a:lnTo>
                    <a:pt x="14" y="165"/>
                  </a:lnTo>
                  <a:lnTo>
                    <a:pt x="14" y="169"/>
                  </a:lnTo>
                  <a:lnTo>
                    <a:pt x="12" y="169"/>
                  </a:lnTo>
                  <a:lnTo>
                    <a:pt x="12" y="171"/>
                  </a:lnTo>
                  <a:lnTo>
                    <a:pt x="18" y="172"/>
                  </a:lnTo>
                  <a:lnTo>
                    <a:pt x="20" y="169"/>
                  </a:lnTo>
                  <a:lnTo>
                    <a:pt x="20" y="165"/>
                  </a:lnTo>
                  <a:lnTo>
                    <a:pt x="22" y="169"/>
                  </a:lnTo>
                  <a:lnTo>
                    <a:pt x="23" y="169"/>
                  </a:lnTo>
                  <a:lnTo>
                    <a:pt x="23" y="165"/>
                  </a:lnTo>
                  <a:lnTo>
                    <a:pt x="25" y="161"/>
                  </a:lnTo>
                  <a:lnTo>
                    <a:pt x="23" y="165"/>
                  </a:lnTo>
                  <a:lnTo>
                    <a:pt x="25" y="169"/>
                  </a:lnTo>
                  <a:lnTo>
                    <a:pt x="27" y="171"/>
                  </a:lnTo>
                  <a:lnTo>
                    <a:pt x="27" y="169"/>
                  </a:lnTo>
                  <a:lnTo>
                    <a:pt x="29" y="169"/>
                  </a:lnTo>
                  <a:lnTo>
                    <a:pt x="31" y="174"/>
                  </a:lnTo>
                  <a:lnTo>
                    <a:pt x="35" y="176"/>
                  </a:lnTo>
                  <a:lnTo>
                    <a:pt x="37" y="172"/>
                  </a:lnTo>
                  <a:lnTo>
                    <a:pt x="37" y="174"/>
                  </a:lnTo>
                  <a:lnTo>
                    <a:pt x="39" y="174"/>
                  </a:lnTo>
                  <a:lnTo>
                    <a:pt x="39" y="176"/>
                  </a:lnTo>
                  <a:lnTo>
                    <a:pt x="41" y="176"/>
                  </a:lnTo>
                  <a:lnTo>
                    <a:pt x="45" y="178"/>
                  </a:lnTo>
                  <a:lnTo>
                    <a:pt x="46" y="180"/>
                  </a:lnTo>
                  <a:lnTo>
                    <a:pt x="46" y="184"/>
                  </a:lnTo>
                  <a:lnTo>
                    <a:pt x="50" y="184"/>
                  </a:lnTo>
                  <a:lnTo>
                    <a:pt x="50" y="182"/>
                  </a:lnTo>
                  <a:lnTo>
                    <a:pt x="54" y="180"/>
                  </a:lnTo>
                  <a:lnTo>
                    <a:pt x="54" y="182"/>
                  </a:lnTo>
                  <a:lnTo>
                    <a:pt x="52" y="186"/>
                  </a:lnTo>
                  <a:lnTo>
                    <a:pt x="54" y="186"/>
                  </a:lnTo>
                  <a:lnTo>
                    <a:pt x="54" y="188"/>
                  </a:lnTo>
                  <a:lnTo>
                    <a:pt x="56" y="186"/>
                  </a:lnTo>
                  <a:lnTo>
                    <a:pt x="58" y="184"/>
                  </a:lnTo>
                  <a:lnTo>
                    <a:pt x="60" y="186"/>
                  </a:lnTo>
                  <a:lnTo>
                    <a:pt x="58" y="188"/>
                  </a:lnTo>
                  <a:lnTo>
                    <a:pt x="56" y="190"/>
                  </a:lnTo>
                  <a:lnTo>
                    <a:pt x="58" y="192"/>
                  </a:lnTo>
                  <a:lnTo>
                    <a:pt x="58" y="199"/>
                  </a:lnTo>
                  <a:lnTo>
                    <a:pt x="60" y="201"/>
                  </a:lnTo>
                  <a:lnTo>
                    <a:pt x="58" y="197"/>
                  </a:lnTo>
                  <a:lnTo>
                    <a:pt x="60" y="194"/>
                  </a:lnTo>
                  <a:lnTo>
                    <a:pt x="62" y="196"/>
                  </a:lnTo>
                  <a:lnTo>
                    <a:pt x="66" y="197"/>
                  </a:lnTo>
                  <a:lnTo>
                    <a:pt x="66" y="196"/>
                  </a:lnTo>
                  <a:lnTo>
                    <a:pt x="64" y="192"/>
                  </a:lnTo>
                  <a:lnTo>
                    <a:pt x="66" y="192"/>
                  </a:lnTo>
                  <a:lnTo>
                    <a:pt x="68" y="196"/>
                  </a:lnTo>
                  <a:lnTo>
                    <a:pt x="70" y="196"/>
                  </a:lnTo>
                  <a:lnTo>
                    <a:pt x="70" y="194"/>
                  </a:lnTo>
                  <a:lnTo>
                    <a:pt x="71" y="194"/>
                  </a:lnTo>
                  <a:lnTo>
                    <a:pt x="73" y="192"/>
                  </a:lnTo>
                  <a:lnTo>
                    <a:pt x="73" y="196"/>
                  </a:lnTo>
                  <a:lnTo>
                    <a:pt x="75" y="196"/>
                  </a:lnTo>
                  <a:lnTo>
                    <a:pt x="77" y="194"/>
                  </a:lnTo>
                  <a:lnTo>
                    <a:pt x="77" y="196"/>
                  </a:lnTo>
                  <a:lnTo>
                    <a:pt x="75" y="197"/>
                  </a:lnTo>
                  <a:lnTo>
                    <a:pt x="75" y="199"/>
                  </a:lnTo>
                  <a:lnTo>
                    <a:pt x="73" y="199"/>
                  </a:lnTo>
                  <a:lnTo>
                    <a:pt x="68" y="197"/>
                  </a:lnTo>
                  <a:lnTo>
                    <a:pt x="68" y="199"/>
                  </a:lnTo>
                  <a:lnTo>
                    <a:pt x="70" y="199"/>
                  </a:lnTo>
                  <a:lnTo>
                    <a:pt x="70" y="203"/>
                  </a:lnTo>
                  <a:lnTo>
                    <a:pt x="71" y="201"/>
                  </a:lnTo>
                  <a:lnTo>
                    <a:pt x="73" y="201"/>
                  </a:lnTo>
                  <a:lnTo>
                    <a:pt x="75" y="203"/>
                  </a:lnTo>
                  <a:lnTo>
                    <a:pt x="77" y="201"/>
                  </a:lnTo>
                  <a:lnTo>
                    <a:pt x="77" y="203"/>
                  </a:lnTo>
                  <a:lnTo>
                    <a:pt x="83" y="201"/>
                  </a:lnTo>
                  <a:lnTo>
                    <a:pt x="89" y="203"/>
                  </a:lnTo>
                  <a:lnTo>
                    <a:pt x="87" y="205"/>
                  </a:lnTo>
                  <a:lnTo>
                    <a:pt x="83" y="205"/>
                  </a:lnTo>
                  <a:lnTo>
                    <a:pt x="85" y="207"/>
                  </a:lnTo>
                  <a:lnTo>
                    <a:pt x="83" y="209"/>
                  </a:lnTo>
                  <a:lnTo>
                    <a:pt x="79" y="211"/>
                  </a:lnTo>
                  <a:lnTo>
                    <a:pt x="81" y="211"/>
                  </a:lnTo>
                  <a:lnTo>
                    <a:pt x="83" y="217"/>
                  </a:lnTo>
                  <a:lnTo>
                    <a:pt x="79" y="217"/>
                  </a:lnTo>
                  <a:lnTo>
                    <a:pt x="81" y="219"/>
                  </a:lnTo>
                  <a:lnTo>
                    <a:pt x="83" y="221"/>
                  </a:lnTo>
                  <a:lnTo>
                    <a:pt x="85" y="219"/>
                  </a:lnTo>
                  <a:lnTo>
                    <a:pt x="87" y="221"/>
                  </a:lnTo>
                  <a:lnTo>
                    <a:pt x="89" y="221"/>
                  </a:lnTo>
                  <a:lnTo>
                    <a:pt x="91" y="221"/>
                  </a:lnTo>
                  <a:lnTo>
                    <a:pt x="95" y="219"/>
                  </a:lnTo>
                  <a:lnTo>
                    <a:pt x="102" y="219"/>
                  </a:lnTo>
                  <a:lnTo>
                    <a:pt x="106" y="221"/>
                  </a:lnTo>
                  <a:lnTo>
                    <a:pt x="106" y="222"/>
                  </a:lnTo>
                  <a:lnTo>
                    <a:pt x="102" y="221"/>
                  </a:lnTo>
                  <a:lnTo>
                    <a:pt x="98" y="221"/>
                  </a:lnTo>
                  <a:lnTo>
                    <a:pt x="95" y="221"/>
                  </a:lnTo>
                  <a:lnTo>
                    <a:pt x="93" y="222"/>
                  </a:lnTo>
                  <a:lnTo>
                    <a:pt x="95" y="224"/>
                  </a:lnTo>
                  <a:lnTo>
                    <a:pt x="93" y="226"/>
                  </a:lnTo>
                  <a:lnTo>
                    <a:pt x="93" y="228"/>
                  </a:lnTo>
                  <a:lnTo>
                    <a:pt x="91" y="228"/>
                  </a:lnTo>
                  <a:lnTo>
                    <a:pt x="89" y="228"/>
                  </a:lnTo>
                  <a:lnTo>
                    <a:pt x="93" y="230"/>
                  </a:lnTo>
                  <a:lnTo>
                    <a:pt x="96" y="232"/>
                  </a:lnTo>
                  <a:lnTo>
                    <a:pt x="98" y="238"/>
                  </a:lnTo>
                  <a:lnTo>
                    <a:pt x="96" y="240"/>
                  </a:lnTo>
                  <a:lnTo>
                    <a:pt x="96" y="242"/>
                  </a:lnTo>
                  <a:lnTo>
                    <a:pt x="93" y="244"/>
                  </a:lnTo>
                  <a:lnTo>
                    <a:pt x="93" y="246"/>
                  </a:lnTo>
                  <a:lnTo>
                    <a:pt x="91" y="246"/>
                  </a:lnTo>
                  <a:lnTo>
                    <a:pt x="91" y="251"/>
                  </a:lnTo>
                  <a:lnTo>
                    <a:pt x="93" y="253"/>
                  </a:lnTo>
                  <a:lnTo>
                    <a:pt x="96" y="257"/>
                  </a:lnTo>
                  <a:lnTo>
                    <a:pt x="96" y="259"/>
                  </a:lnTo>
                  <a:lnTo>
                    <a:pt x="98" y="265"/>
                  </a:lnTo>
                  <a:lnTo>
                    <a:pt x="100" y="269"/>
                  </a:lnTo>
                  <a:lnTo>
                    <a:pt x="100" y="274"/>
                  </a:lnTo>
                  <a:lnTo>
                    <a:pt x="102" y="274"/>
                  </a:lnTo>
                  <a:lnTo>
                    <a:pt x="106" y="278"/>
                  </a:lnTo>
                  <a:lnTo>
                    <a:pt x="108" y="278"/>
                  </a:lnTo>
                  <a:lnTo>
                    <a:pt x="106" y="278"/>
                  </a:lnTo>
                  <a:lnTo>
                    <a:pt x="108" y="280"/>
                  </a:lnTo>
                  <a:lnTo>
                    <a:pt x="112" y="280"/>
                  </a:lnTo>
                  <a:lnTo>
                    <a:pt x="114" y="284"/>
                  </a:lnTo>
                  <a:lnTo>
                    <a:pt x="118" y="286"/>
                  </a:lnTo>
                  <a:lnTo>
                    <a:pt x="120" y="290"/>
                  </a:lnTo>
                  <a:lnTo>
                    <a:pt x="121" y="288"/>
                  </a:lnTo>
                  <a:lnTo>
                    <a:pt x="123" y="292"/>
                  </a:lnTo>
                  <a:lnTo>
                    <a:pt x="123" y="290"/>
                  </a:lnTo>
                  <a:lnTo>
                    <a:pt x="123" y="288"/>
                  </a:lnTo>
                  <a:lnTo>
                    <a:pt x="127" y="290"/>
                  </a:lnTo>
                  <a:lnTo>
                    <a:pt x="127" y="292"/>
                  </a:lnTo>
                  <a:lnTo>
                    <a:pt x="125" y="294"/>
                  </a:lnTo>
                  <a:lnTo>
                    <a:pt x="123" y="295"/>
                  </a:lnTo>
                  <a:lnTo>
                    <a:pt x="121" y="299"/>
                  </a:lnTo>
                  <a:lnTo>
                    <a:pt x="123" y="299"/>
                  </a:lnTo>
                  <a:lnTo>
                    <a:pt x="127" y="307"/>
                  </a:lnTo>
                  <a:lnTo>
                    <a:pt x="127" y="309"/>
                  </a:lnTo>
                  <a:lnTo>
                    <a:pt x="125" y="309"/>
                  </a:lnTo>
                  <a:lnTo>
                    <a:pt x="125" y="313"/>
                  </a:lnTo>
                  <a:lnTo>
                    <a:pt x="125" y="315"/>
                  </a:lnTo>
                  <a:lnTo>
                    <a:pt x="123" y="319"/>
                  </a:lnTo>
                  <a:lnTo>
                    <a:pt x="121" y="319"/>
                  </a:lnTo>
                  <a:lnTo>
                    <a:pt x="121" y="320"/>
                  </a:lnTo>
                  <a:lnTo>
                    <a:pt x="123" y="322"/>
                  </a:lnTo>
                  <a:lnTo>
                    <a:pt x="125" y="324"/>
                  </a:lnTo>
                  <a:lnTo>
                    <a:pt x="123" y="326"/>
                  </a:lnTo>
                  <a:lnTo>
                    <a:pt x="121" y="322"/>
                  </a:lnTo>
                  <a:lnTo>
                    <a:pt x="118" y="322"/>
                  </a:lnTo>
                  <a:lnTo>
                    <a:pt x="118" y="330"/>
                  </a:lnTo>
                  <a:lnTo>
                    <a:pt x="120" y="332"/>
                  </a:lnTo>
                  <a:lnTo>
                    <a:pt x="125" y="334"/>
                  </a:lnTo>
                  <a:lnTo>
                    <a:pt x="125" y="338"/>
                  </a:lnTo>
                  <a:lnTo>
                    <a:pt x="129" y="342"/>
                  </a:lnTo>
                  <a:lnTo>
                    <a:pt x="133" y="345"/>
                  </a:lnTo>
                  <a:lnTo>
                    <a:pt x="135" y="351"/>
                  </a:lnTo>
                  <a:lnTo>
                    <a:pt x="135" y="355"/>
                  </a:lnTo>
                  <a:lnTo>
                    <a:pt x="135" y="372"/>
                  </a:lnTo>
                  <a:lnTo>
                    <a:pt x="137" y="374"/>
                  </a:lnTo>
                  <a:lnTo>
                    <a:pt x="139" y="374"/>
                  </a:lnTo>
                  <a:lnTo>
                    <a:pt x="141" y="378"/>
                  </a:lnTo>
                  <a:lnTo>
                    <a:pt x="137" y="378"/>
                  </a:lnTo>
                  <a:lnTo>
                    <a:pt x="135" y="374"/>
                  </a:lnTo>
                  <a:lnTo>
                    <a:pt x="133" y="370"/>
                  </a:lnTo>
                  <a:lnTo>
                    <a:pt x="131" y="367"/>
                  </a:lnTo>
                  <a:lnTo>
                    <a:pt x="131" y="355"/>
                  </a:lnTo>
                  <a:lnTo>
                    <a:pt x="129" y="351"/>
                  </a:lnTo>
                  <a:lnTo>
                    <a:pt x="127" y="347"/>
                  </a:lnTo>
                  <a:lnTo>
                    <a:pt x="125" y="345"/>
                  </a:lnTo>
                  <a:lnTo>
                    <a:pt x="121" y="340"/>
                  </a:lnTo>
                  <a:lnTo>
                    <a:pt x="121" y="338"/>
                  </a:lnTo>
                  <a:lnTo>
                    <a:pt x="120" y="340"/>
                  </a:lnTo>
                  <a:lnTo>
                    <a:pt x="112" y="365"/>
                  </a:lnTo>
                  <a:lnTo>
                    <a:pt x="104" y="395"/>
                  </a:lnTo>
                  <a:lnTo>
                    <a:pt x="106" y="395"/>
                  </a:lnTo>
                  <a:lnTo>
                    <a:pt x="106" y="393"/>
                  </a:lnTo>
                  <a:lnTo>
                    <a:pt x="106" y="392"/>
                  </a:lnTo>
                  <a:lnTo>
                    <a:pt x="110" y="390"/>
                  </a:lnTo>
                  <a:lnTo>
                    <a:pt x="108" y="390"/>
                  </a:lnTo>
                  <a:lnTo>
                    <a:pt x="110" y="388"/>
                  </a:lnTo>
                  <a:lnTo>
                    <a:pt x="114" y="393"/>
                  </a:lnTo>
                  <a:lnTo>
                    <a:pt x="114" y="395"/>
                  </a:lnTo>
                  <a:lnTo>
                    <a:pt x="112" y="395"/>
                  </a:lnTo>
                  <a:lnTo>
                    <a:pt x="110" y="395"/>
                  </a:lnTo>
                  <a:lnTo>
                    <a:pt x="108" y="395"/>
                  </a:lnTo>
                  <a:lnTo>
                    <a:pt x="106" y="395"/>
                  </a:lnTo>
                  <a:lnTo>
                    <a:pt x="106" y="399"/>
                  </a:lnTo>
                  <a:lnTo>
                    <a:pt x="102" y="401"/>
                  </a:lnTo>
                  <a:lnTo>
                    <a:pt x="102" y="407"/>
                  </a:lnTo>
                  <a:lnTo>
                    <a:pt x="98" y="422"/>
                  </a:lnTo>
                  <a:lnTo>
                    <a:pt x="93" y="436"/>
                  </a:lnTo>
                  <a:lnTo>
                    <a:pt x="87" y="455"/>
                  </a:lnTo>
                  <a:lnTo>
                    <a:pt x="85" y="461"/>
                  </a:lnTo>
                  <a:lnTo>
                    <a:pt x="81" y="465"/>
                  </a:lnTo>
                  <a:lnTo>
                    <a:pt x="79" y="466"/>
                  </a:lnTo>
                  <a:lnTo>
                    <a:pt x="77" y="468"/>
                  </a:lnTo>
                  <a:lnTo>
                    <a:pt x="73" y="470"/>
                  </a:lnTo>
                  <a:lnTo>
                    <a:pt x="73" y="472"/>
                  </a:lnTo>
                  <a:lnTo>
                    <a:pt x="70" y="472"/>
                  </a:lnTo>
                  <a:lnTo>
                    <a:pt x="68" y="472"/>
                  </a:lnTo>
                  <a:lnTo>
                    <a:pt x="68" y="474"/>
                  </a:lnTo>
                  <a:lnTo>
                    <a:pt x="70" y="474"/>
                  </a:lnTo>
                  <a:lnTo>
                    <a:pt x="70" y="476"/>
                  </a:lnTo>
                  <a:lnTo>
                    <a:pt x="71" y="478"/>
                  </a:lnTo>
                  <a:lnTo>
                    <a:pt x="73" y="478"/>
                  </a:lnTo>
                  <a:lnTo>
                    <a:pt x="73" y="480"/>
                  </a:lnTo>
                  <a:lnTo>
                    <a:pt x="75" y="482"/>
                  </a:lnTo>
                  <a:lnTo>
                    <a:pt x="77" y="480"/>
                  </a:lnTo>
                  <a:lnTo>
                    <a:pt x="83" y="482"/>
                  </a:lnTo>
                  <a:lnTo>
                    <a:pt x="85" y="484"/>
                  </a:lnTo>
                  <a:lnTo>
                    <a:pt x="81" y="491"/>
                  </a:lnTo>
                  <a:lnTo>
                    <a:pt x="79" y="493"/>
                  </a:lnTo>
                  <a:lnTo>
                    <a:pt x="79" y="495"/>
                  </a:lnTo>
                  <a:lnTo>
                    <a:pt x="79" y="497"/>
                  </a:lnTo>
                  <a:lnTo>
                    <a:pt x="83" y="497"/>
                  </a:lnTo>
                  <a:lnTo>
                    <a:pt x="85" y="493"/>
                  </a:lnTo>
                  <a:lnTo>
                    <a:pt x="87" y="493"/>
                  </a:lnTo>
                  <a:lnTo>
                    <a:pt x="87" y="497"/>
                  </a:lnTo>
                  <a:lnTo>
                    <a:pt x="89" y="497"/>
                  </a:lnTo>
                  <a:lnTo>
                    <a:pt x="93" y="499"/>
                  </a:lnTo>
                  <a:lnTo>
                    <a:pt x="93" y="501"/>
                  </a:lnTo>
                  <a:lnTo>
                    <a:pt x="95" y="501"/>
                  </a:lnTo>
                  <a:lnTo>
                    <a:pt x="96" y="503"/>
                  </a:lnTo>
                  <a:lnTo>
                    <a:pt x="98" y="503"/>
                  </a:lnTo>
                  <a:lnTo>
                    <a:pt x="98" y="505"/>
                  </a:lnTo>
                  <a:lnTo>
                    <a:pt x="100" y="505"/>
                  </a:lnTo>
                  <a:lnTo>
                    <a:pt x="102" y="505"/>
                  </a:lnTo>
                  <a:lnTo>
                    <a:pt x="104" y="507"/>
                  </a:lnTo>
                  <a:lnTo>
                    <a:pt x="108" y="507"/>
                  </a:lnTo>
                  <a:lnTo>
                    <a:pt x="110" y="507"/>
                  </a:lnTo>
                  <a:lnTo>
                    <a:pt x="110" y="511"/>
                  </a:lnTo>
                  <a:lnTo>
                    <a:pt x="112" y="513"/>
                  </a:lnTo>
                  <a:lnTo>
                    <a:pt x="112" y="515"/>
                  </a:lnTo>
                  <a:lnTo>
                    <a:pt x="114" y="516"/>
                  </a:lnTo>
                  <a:lnTo>
                    <a:pt x="116" y="518"/>
                  </a:lnTo>
                  <a:lnTo>
                    <a:pt x="118" y="518"/>
                  </a:lnTo>
                  <a:lnTo>
                    <a:pt x="120" y="516"/>
                  </a:lnTo>
                  <a:lnTo>
                    <a:pt x="123" y="518"/>
                  </a:lnTo>
                  <a:lnTo>
                    <a:pt x="127" y="516"/>
                  </a:lnTo>
                  <a:lnTo>
                    <a:pt x="131" y="520"/>
                  </a:lnTo>
                  <a:lnTo>
                    <a:pt x="133" y="520"/>
                  </a:lnTo>
                  <a:lnTo>
                    <a:pt x="135" y="524"/>
                  </a:lnTo>
                  <a:lnTo>
                    <a:pt x="137" y="526"/>
                  </a:lnTo>
                  <a:lnTo>
                    <a:pt x="139" y="528"/>
                  </a:lnTo>
                  <a:lnTo>
                    <a:pt x="148" y="526"/>
                  </a:lnTo>
                  <a:lnTo>
                    <a:pt x="150" y="528"/>
                  </a:lnTo>
                  <a:lnTo>
                    <a:pt x="152" y="528"/>
                  </a:lnTo>
                  <a:lnTo>
                    <a:pt x="152" y="530"/>
                  </a:lnTo>
                  <a:lnTo>
                    <a:pt x="152" y="532"/>
                  </a:lnTo>
                  <a:lnTo>
                    <a:pt x="156" y="528"/>
                  </a:lnTo>
                  <a:lnTo>
                    <a:pt x="158" y="532"/>
                  </a:lnTo>
                  <a:lnTo>
                    <a:pt x="162" y="530"/>
                  </a:lnTo>
                  <a:lnTo>
                    <a:pt x="168" y="532"/>
                  </a:lnTo>
                  <a:lnTo>
                    <a:pt x="169" y="532"/>
                  </a:lnTo>
                  <a:lnTo>
                    <a:pt x="169" y="530"/>
                  </a:lnTo>
                  <a:lnTo>
                    <a:pt x="169" y="528"/>
                  </a:lnTo>
                  <a:lnTo>
                    <a:pt x="169" y="526"/>
                  </a:lnTo>
                  <a:lnTo>
                    <a:pt x="171" y="526"/>
                  </a:lnTo>
                  <a:lnTo>
                    <a:pt x="171" y="522"/>
                  </a:lnTo>
                  <a:lnTo>
                    <a:pt x="173" y="524"/>
                  </a:lnTo>
                  <a:lnTo>
                    <a:pt x="179" y="524"/>
                  </a:lnTo>
                  <a:lnTo>
                    <a:pt x="181" y="528"/>
                  </a:lnTo>
                  <a:lnTo>
                    <a:pt x="183" y="528"/>
                  </a:lnTo>
                  <a:lnTo>
                    <a:pt x="185" y="528"/>
                  </a:lnTo>
                  <a:lnTo>
                    <a:pt x="189" y="530"/>
                  </a:lnTo>
                  <a:lnTo>
                    <a:pt x="191" y="530"/>
                  </a:lnTo>
                  <a:lnTo>
                    <a:pt x="191" y="534"/>
                  </a:lnTo>
                  <a:lnTo>
                    <a:pt x="193" y="534"/>
                  </a:lnTo>
                  <a:lnTo>
                    <a:pt x="194" y="534"/>
                  </a:lnTo>
                  <a:lnTo>
                    <a:pt x="196" y="534"/>
                  </a:lnTo>
                  <a:lnTo>
                    <a:pt x="200" y="534"/>
                  </a:lnTo>
                  <a:lnTo>
                    <a:pt x="200" y="536"/>
                  </a:lnTo>
                  <a:lnTo>
                    <a:pt x="200" y="538"/>
                  </a:lnTo>
                  <a:lnTo>
                    <a:pt x="202" y="543"/>
                  </a:lnTo>
                  <a:lnTo>
                    <a:pt x="204" y="543"/>
                  </a:lnTo>
                  <a:lnTo>
                    <a:pt x="206" y="541"/>
                  </a:lnTo>
                  <a:lnTo>
                    <a:pt x="206" y="539"/>
                  </a:lnTo>
                  <a:lnTo>
                    <a:pt x="208" y="539"/>
                  </a:lnTo>
                  <a:lnTo>
                    <a:pt x="210" y="539"/>
                  </a:lnTo>
                  <a:lnTo>
                    <a:pt x="212" y="541"/>
                  </a:lnTo>
                  <a:lnTo>
                    <a:pt x="216" y="545"/>
                  </a:lnTo>
                  <a:lnTo>
                    <a:pt x="214" y="551"/>
                  </a:lnTo>
                  <a:lnTo>
                    <a:pt x="216" y="551"/>
                  </a:lnTo>
                  <a:lnTo>
                    <a:pt x="219" y="553"/>
                  </a:lnTo>
                  <a:lnTo>
                    <a:pt x="223" y="555"/>
                  </a:lnTo>
                  <a:lnTo>
                    <a:pt x="223" y="557"/>
                  </a:lnTo>
                  <a:lnTo>
                    <a:pt x="225" y="559"/>
                  </a:lnTo>
                  <a:lnTo>
                    <a:pt x="225" y="561"/>
                  </a:lnTo>
                  <a:lnTo>
                    <a:pt x="229" y="561"/>
                  </a:lnTo>
                  <a:lnTo>
                    <a:pt x="233" y="559"/>
                  </a:lnTo>
                  <a:lnTo>
                    <a:pt x="237" y="559"/>
                  </a:lnTo>
                  <a:lnTo>
                    <a:pt x="239" y="559"/>
                  </a:lnTo>
                  <a:lnTo>
                    <a:pt x="243" y="561"/>
                  </a:lnTo>
                  <a:lnTo>
                    <a:pt x="244" y="561"/>
                  </a:lnTo>
                  <a:lnTo>
                    <a:pt x="246" y="563"/>
                  </a:lnTo>
                  <a:lnTo>
                    <a:pt x="248" y="563"/>
                  </a:lnTo>
                  <a:lnTo>
                    <a:pt x="250" y="563"/>
                  </a:lnTo>
                  <a:lnTo>
                    <a:pt x="254" y="564"/>
                  </a:lnTo>
                  <a:lnTo>
                    <a:pt x="258" y="561"/>
                  </a:lnTo>
                  <a:lnTo>
                    <a:pt x="264" y="561"/>
                  </a:lnTo>
                  <a:lnTo>
                    <a:pt x="266" y="559"/>
                  </a:lnTo>
                  <a:lnTo>
                    <a:pt x="267" y="561"/>
                  </a:lnTo>
                  <a:lnTo>
                    <a:pt x="269" y="559"/>
                  </a:lnTo>
                  <a:lnTo>
                    <a:pt x="273" y="559"/>
                  </a:lnTo>
                  <a:lnTo>
                    <a:pt x="275" y="563"/>
                  </a:lnTo>
                  <a:lnTo>
                    <a:pt x="279" y="561"/>
                  </a:lnTo>
                  <a:lnTo>
                    <a:pt x="277" y="559"/>
                  </a:lnTo>
                  <a:lnTo>
                    <a:pt x="277" y="557"/>
                  </a:lnTo>
                  <a:lnTo>
                    <a:pt x="275" y="555"/>
                  </a:lnTo>
                  <a:lnTo>
                    <a:pt x="275" y="545"/>
                  </a:lnTo>
                  <a:lnTo>
                    <a:pt x="277" y="538"/>
                  </a:lnTo>
                  <a:lnTo>
                    <a:pt x="277" y="532"/>
                  </a:lnTo>
                  <a:lnTo>
                    <a:pt x="275" y="528"/>
                  </a:lnTo>
                  <a:lnTo>
                    <a:pt x="277" y="528"/>
                  </a:lnTo>
                  <a:lnTo>
                    <a:pt x="279" y="522"/>
                  </a:lnTo>
                  <a:lnTo>
                    <a:pt x="277" y="520"/>
                  </a:lnTo>
                  <a:lnTo>
                    <a:pt x="279" y="520"/>
                  </a:lnTo>
                  <a:lnTo>
                    <a:pt x="281" y="520"/>
                  </a:lnTo>
                  <a:lnTo>
                    <a:pt x="283" y="516"/>
                  </a:lnTo>
                  <a:lnTo>
                    <a:pt x="289" y="513"/>
                  </a:lnTo>
                  <a:lnTo>
                    <a:pt x="294" y="509"/>
                  </a:lnTo>
                  <a:lnTo>
                    <a:pt x="296" y="509"/>
                  </a:lnTo>
                  <a:lnTo>
                    <a:pt x="300" y="511"/>
                  </a:lnTo>
                  <a:lnTo>
                    <a:pt x="306" y="505"/>
                  </a:lnTo>
                  <a:lnTo>
                    <a:pt x="310" y="503"/>
                  </a:lnTo>
                  <a:lnTo>
                    <a:pt x="312" y="501"/>
                  </a:lnTo>
                  <a:lnTo>
                    <a:pt x="314" y="501"/>
                  </a:lnTo>
                  <a:lnTo>
                    <a:pt x="323" y="495"/>
                  </a:lnTo>
                  <a:lnTo>
                    <a:pt x="327" y="495"/>
                  </a:lnTo>
                  <a:lnTo>
                    <a:pt x="329" y="497"/>
                  </a:lnTo>
                  <a:lnTo>
                    <a:pt x="329" y="499"/>
                  </a:lnTo>
                  <a:lnTo>
                    <a:pt x="331" y="501"/>
                  </a:lnTo>
                  <a:lnTo>
                    <a:pt x="333" y="501"/>
                  </a:lnTo>
                  <a:lnTo>
                    <a:pt x="339" y="503"/>
                  </a:lnTo>
                  <a:lnTo>
                    <a:pt x="341" y="503"/>
                  </a:lnTo>
                  <a:lnTo>
                    <a:pt x="342" y="503"/>
                  </a:lnTo>
                  <a:lnTo>
                    <a:pt x="348" y="503"/>
                  </a:lnTo>
                  <a:lnTo>
                    <a:pt x="348" y="507"/>
                  </a:lnTo>
                  <a:lnTo>
                    <a:pt x="350" y="507"/>
                  </a:lnTo>
                  <a:lnTo>
                    <a:pt x="352" y="507"/>
                  </a:lnTo>
                  <a:lnTo>
                    <a:pt x="352" y="509"/>
                  </a:lnTo>
                  <a:lnTo>
                    <a:pt x="348" y="509"/>
                  </a:lnTo>
                  <a:lnTo>
                    <a:pt x="350" y="511"/>
                  </a:lnTo>
                  <a:lnTo>
                    <a:pt x="356" y="511"/>
                  </a:lnTo>
                  <a:lnTo>
                    <a:pt x="358" y="513"/>
                  </a:lnTo>
                  <a:lnTo>
                    <a:pt x="360" y="509"/>
                  </a:lnTo>
                  <a:lnTo>
                    <a:pt x="358" y="507"/>
                  </a:lnTo>
                  <a:lnTo>
                    <a:pt x="360" y="507"/>
                  </a:lnTo>
                  <a:lnTo>
                    <a:pt x="360" y="505"/>
                  </a:lnTo>
                  <a:lnTo>
                    <a:pt x="362" y="507"/>
                  </a:lnTo>
                  <a:lnTo>
                    <a:pt x="364" y="507"/>
                  </a:lnTo>
                  <a:lnTo>
                    <a:pt x="365" y="511"/>
                  </a:lnTo>
                  <a:lnTo>
                    <a:pt x="367" y="513"/>
                  </a:lnTo>
                  <a:lnTo>
                    <a:pt x="369" y="513"/>
                  </a:lnTo>
                  <a:lnTo>
                    <a:pt x="373" y="513"/>
                  </a:lnTo>
                  <a:lnTo>
                    <a:pt x="377" y="515"/>
                  </a:lnTo>
                  <a:lnTo>
                    <a:pt x="381" y="513"/>
                  </a:lnTo>
                  <a:lnTo>
                    <a:pt x="381" y="515"/>
                  </a:lnTo>
                  <a:lnTo>
                    <a:pt x="381" y="516"/>
                  </a:lnTo>
                  <a:lnTo>
                    <a:pt x="383" y="518"/>
                  </a:lnTo>
                  <a:lnTo>
                    <a:pt x="381" y="520"/>
                  </a:lnTo>
                  <a:lnTo>
                    <a:pt x="381" y="522"/>
                  </a:lnTo>
                  <a:lnTo>
                    <a:pt x="383" y="522"/>
                  </a:lnTo>
                  <a:lnTo>
                    <a:pt x="385" y="522"/>
                  </a:lnTo>
                  <a:lnTo>
                    <a:pt x="387" y="522"/>
                  </a:lnTo>
                  <a:lnTo>
                    <a:pt x="389" y="522"/>
                  </a:lnTo>
                  <a:lnTo>
                    <a:pt x="390" y="524"/>
                  </a:lnTo>
                  <a:lnTo>
                    <a:pt x="392" y="524"/>
                  </a:lnTo>
                  <a:lnTo>
                    <a:pt x="396" y="526"/>
                  </a:lnTo>
                  <a:lnTo>
                    <a:pt x="400" y="530"/>
                  </a:lnTo>
                  <a:lnTo>
                    <a:pt x="400" y="532"/>
                  </a:lnTo>
                  <a:lnTo>
                    <a:pt x="406" y="534"/>
                  </a:lnTo>
                  <a:lnTo>
                    <a:pt x="406" y="530"/>
                  </a:lnTo>
                  <a:lnTo>
                    <a:pt x="406" y="532"/>
                  </a:lnTo>
                  <a:lnTo>
                    <a:pt x="408" y="530"/>
                  </a:lnTo>
                  <a:lnTo>
                    <a:pt x="410" y="532"/>
                  </a:lnTo>
                  <a:lnTo>
                    <a:pt x="414" y="532"/>
                  </a:lnTo>
                  <a:lnTo>
                    <a:pt x="415" y="534"/>
                  </a:lnTo>
                  <a:lnTo>
                    <a:pt x="414" y="536"/>
                  </a:lnTo>
                  <a:lnTo>
                    <a:pt x="415" y="536"/>
                  </a:lnTo>
                  <a:lnTo>
                    <a:pt x="417" y="534"/>
                  </a:lnTo>
                  <a:lnTo>
                    <a:pt x="417" y="532"/>
                  </a:lnTo>
                  <a:lnTo>
                    <a:pt x="421" y="532"/>
                  </a:lnTo>
                  <a:lnTo>
                    <a:pt x="425" y="532"/>
                  </a:lnTo>
                  <a:lnTo>
                    <a:pt x="427" y="530"/>
                  </a:lnTo>
                  <a:lnTo>
                    <a:pt x="433" y="530"/>
                  </a:lnTo>
                  <a:lnTo>
                    <a:pt x="433" y="528"/>
                  </a:lnTo>
                  <a:lnTo>
                    <a:pt x="437" y="528"/>
                  </a:lnTo>
                  <a:lnTo>
                    <a:pt x="437" y="530"/>
                  </a:lnTo>
                  <a:lnTo>
                    <a:pt x="439" y="528"/>
                  </a:lnTo>
                  <a:lnTo>
                    <a:pt x="440" y="526"/>
                  </a:lnTo>
                  <a:lnTo>
                    <a:pt x="440" y="524"/>
                  </a:lnTo>
                  <a:lnTo>
                    <a:pt x="437" y="522"/>
                  </a:lnTo>
                  <a:lnTo>
                    <a:pt x="442" y="518"/>
                  </a:lnTo>
                  <a:lnTo>
                    <a:pt x="444" y="513"/>
                  </a:lnTo>
                  <a:lnTo>
                    <a:pt x="444" y="515"/>
                  </a:lnTo>
                  <a:lnTo>
                    <a:pt x="450" y="513"/>
                  </a:lnTo>
                  <a:lnTo>
                    <a:pt x="452" y="511"/>
                  </a:lnTo>
                  <a:lnTo>
                    <a:pt x="454" y="511"/>
                  </a:lnTo>
                  <a:lnTo>
                    <a:pt x="454" y="507"/>
                  </a:lnTo>
                  <a:lnTo>
                    <a:pt x="458" y="505"/>
                  </a:lnTo>
                  <a:lnTo>
                    <a:pt x="460" y="505"/>
                  </a:lnTo>
                  <a:lnTo>
                    <a:pt x="462" y="507"/>
                  </a:lnTo>
                  <a:lnTo>
                    <a:pt x="463" y="505"/>
                  </a:lnTo>
                  <a:lnTo>
                    <a:pt x="463" y="501"/>
                  </a:lnTo>
                  <a:lnTo>
                    <a:pt x="467" y="499"/>
                  </a:lnTo>
                  <a:lnTo>
                    <a:pt x="467" y="497"/>
                  </a:lnTo>
                  <a:lnTo>
                    <a:pt x="469" y="497"/>
                  </a:lnTo>
                  <a:lnTo>
                    <a:pt x="471" y="499"/>
                  </a:lnTo>
                  <a:lnTo>
                    <a:pt x="471" y="497"/>
                  </a:lnTo>
                  <a:lnTo>
                    <a:pt x="473" y="495"/>
                  </a:lnTo>
                  <a:lnTo>
                    <a:pt x="475" y="495"/>
                  </a:lnTo>
                  <a:lnTo>
                    <a:pt x="477" y="493"/>
                  </a:lnTo>
                  <a:lnTo>
                    <a:pt x="479" y="491"/>
                  </a:lnTo>
                  <a:lnTo>
                    <a:pt x="479" y="488"/>
                  </a:lnTo>
                  <a:lnTo>
                    <a:pt x="479" y="484"/>
                  </a:lnTo>
                  <a:lnTo>
                    <a:pt x="483" y="484"/>
                  </a:lnTo>
                  <a:lnTo>
                    <a:pt x="483" y="480"/>
                  </a:lnTo>
                  <a:lnTo>
                    <a:pt x="485" y="480"/>
                  </a:lnTo>
                  <a:lnTo>
                    <a:pt x="487" y="476"/>
                  </a:lnTo>
                  <a:lnTo>
                    <a:pt x="488" y="476"/>
                  </a:lnTo>
                  <a:lnTo>
                    <a:pt x="490" y="474"/>
                  </a:lnTo>
                  <a:lnTo>
                    <a:pt x="490" y="472"/>
                  </a:lnTo>
                  <a:lnTo>
                    <a:pt x="487" y="470"/>
                  </a:lnTo>
                  <a:lnTo>
                    <a:pt x="487" y="466"/>
                  </a:lnTo>
                  <a:lnTo>
                    <a:pt x="483" y="468"/>
                  </a:lnTo>
                  <a:lnTo>
                    <a:pt x="479" y="466"/>
                  </a:lnTo>
                  <a:lnTo>
                    <a:pt x="473" y="468"/>
                  </a:lnTo>
                  <a:lnTo>
                    <a:pt x="471" y="466"/>
                  </a:lnTo>
                  <a:lnTo>
                    <a:pt x="469" y="465"/>
                  </a:lnTo>
                  <a:lnTo>
                    <a:pt x="467" y="465"/>
                  </a:lnTo>
                  <a:lnTo>
                    <a:pt x="465" y="463"/>
                  </a:lnTo>
                  <a:lnTo>
                    <a:pt x="460" y="461"/>
                  </a:lnTo>
                  <a:lnTo>
                    <a:pt x="458" y="457"/>
                  </a:lnTo>
                  <a:lnTo>
                    <a:pt x="454" y="453"/>
                  </a:lnTo>
                  <a:lnTo>
                    <a:pt x="456" y="449"/>
                  </a:lnTo>
                  <a:lnTo>
                    <a:pt x="454" y="447"/>
                  </a:lnTo>
                  <a:lnTo>
                    <a:pt x="456" y="447"/>
                  </a:lnTo>
                  <a:lnTo>
                    <a:pt x="454" y="445"/>
                  </a:lnTo>
                  <a:lnTo>
                    <a:pt x="454" y="443"/>
                  </a:lnTo>
                  <a:lnTo>
                    <a:pt x="454" y="441"/>
                  </a:lnTo>
                  <a:lnTo>
                    <a:pt x="454" y="440"/>
                  </a:lnTo>
                  <a:lnTo>
                    <a:pt x="456" y="440"/>
                  </a:lnTo>
                  <a:lnTo>
                    <a:pt x="458" y="436"/>
                  </a:lnTo>
                  <a:lnTo>
                    <a:pt x="458" y="434"/>
                  </a:lnTo>
                  <a:lnTo>
                    <a:pt x="460" y="432"/>
                  </a:lnTo>
                  <a:lnTo>
                    <a:pt x="462" y="432"/>
                  </a:lnTo>
                  <a:lnTo>
                    <a:pt x="463" y="432"/>
                  </a:lnTo>
                  <a:lnTo>
                    <a:pt x="462" y="428"/>
                  </a:lnTo>
                  <a:lnTo>
                    <a:pt x="462" y="424"/>
                  </a:lnTo>
                  <a:lnTo>
                    <a:pt x="462" y="422"/>
                  </a:lnTo>
                  <a:lnTo>
                    <a:pt x="460" y="420"/>
                  </a:lnTo>
                  <a:lnTo>
                    <a:pt x="454" y="420"/>
                  </a:lnTo>
                  <a:lnTo>
                    <a:pt x="452" y="417"/>
                  </a:lnTo>
                  <a:lnTo>
                    <a:pt x="450" y="413"/>
                  </a:lnTo>
                  <a:lnTo>
                    <a:pt x="450" y="409"/>
                  </a:lnTo>
                  <a:lnTo>
                    <a:pt x="446" y="409"/>
                  </a:lnTo>
                  <a:lnTo>
                    <a:pt x="446" y="405"/>
                  </a:lnTo>
                  <a:lnTo>
                    <a:pt x="446" y="403"/>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07" name="Freeform 295"/>
            <p:cNvSpPr>
              <a:spLocks/>
            </p:cNvSpPr>
            <p:nvPr/>
          </p:nvSpPr>
          <p:spPr bwMode="auto">
            <a:xfrm>
              <a:off x="1858" y="2540"/>
              <a:ext cx="490" cy="499"/>
            </a:xfrm>
            <a:custGeom>
              <a:avLst/>
              <a:gdLst>
                <a:gd name="T0" fmla="*/ 129 w 490"/>
                <a:gd name="T1" fmla="*/ 11 h 499"/>
                <a:gd name="T2" fmla="*/ 137 w 490"/>
                <a:gd name="T3" fmla="*/ 46 h 499"/>
                <a:gd name="T4" fmla="*/ 133 w 490"/>
                <a:gd name="T5" fmla="*/ 71 h 499"/>
                <a:gd name="T6" fmla="*/ 116 w 490"/>
                <a:gd name="T7" fmla="*/ 75 h 499"/>
                <a:gd name="T8" fmla="*/ 96 w 490"/>
                <a:gd name="T9" fmla="*/ 67 h 499"/>
                <a:gd name="T10" fmla="*/ 77 w 490"/>
                <a:gd name="T11" fmla="*/ 52 h 499"/>
                <a:gd name="T12" fmla="*/ 64 w 490"/>
                <a:gd name="T13" fmla="*/ 48 h 499"/>
                <a:gd name="T14" fmla="*/ 43 w 490"/>
                <a:gd name="T15" fmla="*/ 52 h 499"/>
                <a:gd name="T16" fmla="*/ 23 w 490"/>
                <a:gd name="T17" fmla="*/ 52 h 499"/>
                <a:gd name="T18" fmla="*/ 4 w 490"/>
                <a:gd name="T19" fmla="*/ 59 h 499"/>
                <a:gd name="T20" fmla="*/ 12 w 490"/>
                <a:gd name="T21" fmla="*/ 69 h 499"/>
                <a:gd name="T22" fmla="*/ 23 w 490"/>
                <a:gd name="T23" fmla="*/ 75 h 499"/>
                <a:gd name="T24" fmla="*/ 8 w 490"/>
                <a:gd name="T25" fmla="*/ 75 h 499"/>
                <a:gd name="T26" fmla="*/ 2 w 490"/>
                <a:gd name="T27" fmla="*/ 86 h 499"/>
                <a:gd name="T28" fmla="*/ 20 w 490"/>
                <a:gd name="T29" fmla="*/ 104 h 499"/>
                <a:gd name="T30" fmla="*/ 29 w 490"/>
                <a:gd name="T31" fmla="*/ 104 h 499"/>
                <a:gd name="T32" fmla="*/ 46 w 490"/>
                <a:gd name="T33" fmla="*/ 119 h 499"/>
                <a:gd name="T34" fmla="*/ 60 w 490"/>
                <a:gd name="T35" fmla="*/ 121 h 499"/>
                <a:gd name="T36" fmla="*/ 66 w 490"/>
                <a:gd name="T37" fmla="*/ 131 h 499"/>
                <a:gd name="T38" fmla="*/ 77 w 490"/>
                <a:gd name="T39" fmla="*/ 129 h 499"/>
                <a:gd name="T40" fmla="*/ 73 w 490"/>
                <a:gd name="T41" fmla="*/ 136 h 499"/>
                <a:gd name="T42" fmla="*/ 79 w 490"/>
                <a:gd name="T43" fmla="*/ 146 h 499"/>
                <a:gd name="T44" fmla="*/ 95 w 490"/>
                <a:gd name="T45" fmla="*/ 154 h 499"/>
                <a:gd name="T46" fmla="*/ 93 w 490"/>
                <a:gd name="T47" fmla="*/ 163 h 499"/>
                <a:gd name="T48" fmla="*/ 91 w 490"/>
                <a:gd name="T49" fmla="*/ 181 h 499"/>
                <a:gd name="T50" fmla="*/ 108 w 490"/>
                <a:gd name="T51" fmla="*/ 213 h 499"/>
                <a:gd name="T52" fmla="*/ 123 w 490"/>
                <a:gd name="T53" fmla="*/ 223 h 499"/>
                <a:gd name="T54" fmla="*/ 125 w 490"/>
                <a:gd name="T55" fmla="*/ 248 h 499"/>
                <a:gd name="T56" fmla="*/ 118 w 490"/>
                <a:gd name="T57" fmla="*/ 265 h 499"/>
                <a:gd name="T58" fmla="*/ 139 w 490"/>
                <a:gd name="T59" fmla="*/ 309 h 499"/>
                <a:gd name="T60" fmla="*/ 121 w 490"/>
                <a:gd name="T61" fmla="*/ 275 h 499"/>
                <a:gd name="T62" fmla="*/ 110 w 490"/>
                <a:gd name="T63" fmla="*/ 323 h 499"/>
                <a:gd name="T64" fmla="*/ 98 w 490"/>
                <a:gd name="T65" fmla="*/ 357 h 499"/>
                <a:gd name="T66" fmla="*/ 68 w 490"/>
                <a:gd name="T67" fmla="*/ 407 h 499"/>
                <a:gd name="T68" fmla="*/ 85 w 490"/>
                <a:gd name="T69" fmla="*/ 419 h 499"/>
                <a:gd name="T70" fmla="*/ 93 w 490"/>
                <a:gd name="T71" fmla="*/ 434 h 499"/>
                <a:gd name="T72" fmla="*/ 110 w 490"/>
                <a:gd name="T73" fmla="*/ 442 h 499"/>
                <a:gd name="T74" fmla="*/ 131 w 490"/>
                <a:gd name="T75" fmla="*/ 455 h 499"/>
                <a:gd name="T76" fmla="*/ 156 w 490"/>
                <a:gd name="T77" fmla="*/ 463 h 499"/>
                <a:gd name="T78" fmla="*/ 173 w 490"/>
                <a:gd name="T79" fmla="*/ 459 h 499"/>
                <a:gd name="T80" fmla="*/ 196 w 490"/>
                <a:gd name="T81" fmla="*/ 469 h 499"/>
                <a:gd name="T82" fmla="*/ 212 w 490"/>
                <a:gd name="T83" fmla="*/ 476 h 499"/>
                <a:gd name="T84" fmla="*/ 233 w 490"/>
                <a:gd name="T85" fmla="*/ 494 h 499"/>
                <a:gd name="T86" fmla="*/ 264 w 490"/>
                <a:gd name="T87" fmla="*/ 496 h 499"/>
                <a:gd name="T88" fmla="*/ 275 w 490"/>
                <a:gd name="T89" fmla="*/ 480 h 499"/>
                <a:gd name="T90" fmla="*/ 289 w 490"/>
                <a:gd name="T91" fmla="*/ 448 h 499"/>
                <a:gd name="T92" fmla="*/ 329 w 490"/>
                <a:gd name="T93" fmla="*/ 432 h 499"/>
                <a:gd name="T94" fmla="*/ 352 w 490"/>
                <a:gd name="T95" fmla="*/ 442 h 499"/>
                <a:gd name="T96" fmla="*/ 362 w 490"/>
                <a:gd name="T97" fmla="*/ 442 h 499"/>
                <a:gd name="T98" fmla="*/ 383 w 490"/>
                <a:gd name="T99" fmla="*/ 453 h 499"/>
                <a:gd name="T100" fmla="*/ 400 w 490"/>
                <a:gd name="T101" fmla="*/ 465 h 499"/>
                <a:gd name="T102" fmla="*/ 415 w 490"/>
                <a:gd name="T103" fmla="*/ 471 h 499"/>
                <a:gd name="T104" fmla="*/ 439 w 490"/>
                <a:gd name="T105" fmla="*/ 463 h 499"/>
                <a:gd name="T106" fmla="*/ 454 w 490"/>
                <a:gd name="T107" fmla="*/ 442 h 499"/>
                <a:gd name="T108" fmla="*/ 471 w 490"/>
                <a:gd name="T109" fmla="*/ 432 h 499"/>
                <a:gd name="T110" fmla="*/ 487 w 490"/>
                <a:gd name="T111" fmla="*/ 411 h 499"/>
                <a:gd name="T112" fmla="*/ 469 w 490"/>
                <a:gd name="T113" fmla="*/ 400 h 499"/>
                <a:gd name="T114" fmla="*/ 454 w 490"/>
                <a:gd name="T115" fmla="*/ 378 h 499"/>
                <a:gd name="T116" fmla="*/ 462 w 490"/>
                <a:gd name="T117" fmla="*/ 35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0" h="499">
                  <a:moveTo>
                    <a:pt x="133" y="2"/>
                  </a:moveTo>
                  <a:lnTo>
                    <a:pt x="131" y="2"/>
                  </a:lnTo>
                  <a:lnTo>
                    <a:pt x="131" y="0"/>
                  </a:lnTo>
                  <a:lnTo>
                    <a:pt x="129" y="0"/>
                  </a:lnTo>
                  <a:lnTo>
                    <a:pt x="129" y="2"/>
                  </a:lnTo>
                  <a:lnTo>
                    <a:pt x="131" y="4"/>
                  </a:lnTo>
                  <a:lnTo>
                    <a:pt x="131" y="6"/>
                  </a:lnTo>
                  <a:lnTo>
                    <a:pt x="131" y="8"/>
                  </a:lnTo>
                  <a:lnTo>
                    <a:pt x="131" y="9"/>
                  </a:lnTo>
                  <a:lnTo>
                    <a:pt x="129" y="11"/>
                  </a:lnTo>
                  <a:lnTo>
                    <a:pt x="131" y="15"/>
                  </a:lnTo>
                  <a:lnTo>
                    <a:pt x="131" y="23"/>
                  </a:lnTo>
                  <a:lnTo>
                    <a:pt x="133" y="23"/>
                  </a:lnTo>
                  <a:lnTo>
                    <a:pt x="135" y="29"/>
                  </a:lnTo>
                  <a:lnTo>
                    <a:pt x="135" y="33"/>
                  </a:lnTo>
                  <a:lnTo>
                    <a:pt x="139" y="33"/>
                  </a:lnTo>
                  <a:lnTo>
                    <a:pt x="137" y="34"/>
                  </a:lnTo>
                  <a:lnTo>
                    <a:pt x="135" y="42"/>
                  </a:lnTo>
                  <a:lnTo>
                    <a:pt x="135" y="48"/>
                  </a:lnTo>
                  <a:lnTo>
                    <a:pt x="137" y="46"/>
                  </a:lnTo>
                  <a:lnTo>
                    <a:pt x="135" y="58"/>
                  </a:lnTo>
                  <a:lnTo>
                    <a:pt x="133" y="58"/>
                  </a:lnTo>
                  <a:lnTo>
                    <a:pt x="135" y="59"/>
                  </a:lnTo>
                  <a:lnTo>
                    <a:pt x="133" y="63"/>
                  </a:lnTo>
                  <a:lnTo>
                    <a:pt x="137" y="69"/>
                  </a:lnTo>
                  <a:lnTo>
                    <a:pt x="141" y="69"/>
                  </a:lnTo>
                  <a:lnTo>
                    <a:pt x="141" y="73"/>
                  </a:lnTo>
                  <a:lnTo>
                    <a:pt x="139" y="73"/>
                  </a:lnTo>
                  <a:lnTo>
                    <a:pt x="135" y="73"/>
                  </a:lnTo>
                  <a:lnTo>
                    <a:pt x="133" y="71"/>
                  </a:lnTo>
                  <a:lnTo>
                    <a:pt x="127" y="71"/>
                  </a:lnTo>
                  <a:lnTo>
                    <a:pt x="123" y="71"/>
                  </a:lnTo>
                  <a:lnTo>
                    <a:pt x="121" y="71"/>
                  </a:lnTo>
                  <a:lnTo>
                    <a:pt x="121" y="69"/>
                  </a:lnTo>
                  <a:lnTo>
                    <a:pt x="123" y="67"/>
                  </a:lnTo>
                  <a:lnTo>
                    <a:pt x="123" y="65"/>
                  </a:lnTo>
                  <a:lnTo>
                    <a:pt x="120" y="65"/>
                  </a:lnTo>
                  <a:lnTo>
                    <a:pt x="118" y="65"/>
                  </a:lnTo>
                  <a:lnTo>
                    <a:pt x="116" y="67"/>
                  </a:lnTo>
                  <a:lnTo>
                    <a:pt x="116" y="75"/>
                  </a:lnTo>
                  <a:lnTo>
                    <a:pt x="114" y="73"/>
                  </a:lnTo>
                  <a:lnTo>
                    <a:pt x="114" y="69"/>
                  </a:lnTo>
                  <a:lnTo>
                    <a:pt x="110" y="69"/>
                  </a:lnTo>
                  <a:lnTo>
                    <a:pt x="108" y="71"/>
                  </a:lnTo>
                  <a:lnTo>
                    <a:pt x="106" y="67"/>
                  </a:lnTo>
                  <a:lnTo>
                    <a:pt x="102" y="69"/>
                  </a:lnTo>
                  <a:lnTo>
                    <a:pt x="102" y="63"/>
                  </a:lnTo>
                  <a:lnTo>
                    <a:pt x="100" y="65"/>
                  </a:lnTo>
                  <a:lnTo>
                    <a:pt x="96" y="65"/>
                  </a:lnTo>
                  <a:lnTo>
                    <a:pt x="96" y="67"/>
                  </a:lnTo>
                  <a:lnTo>
                    <a:pt x="93" y="67"/>
                  </a:lnTo>
                  <a:lnTo>
                    <a:pt x="89" y="71"/>
                  </a:lnTo>
                  <a:lnTo>
                    <a:pt x="87" y="71"/>
                  </a:lnTo>
                  <a:lnTo>
                    <a:pt x="87" y="69"/>
                  </a:lnTo>
                  <a:lnTo>
                    <a:pt x="83" y="65"/>
                  </a:lnTo>
                  <a:lnTo>
                    <a:pt x="83" y="61"/>
                  </a:lnTo>
                  <a:lnTo>
                    <a:pt x="81" y="59"/>
                  </a:lnTo>
                  <a:lnTo>
                    <a:pt x="79" y="54"/>
                  </a:lnTo>
                  <a:lnTo>
                    <a:pt x="75" y="52"/>
                  </a:lnTo>
                  <a:lnTo>
                    <a:pt x="77" y="52"/>
                  </a:lnTo>
                  <a:lnTo>
                    <a:pt x="77" y="50"/>
                  </a:lnTo>
                  <a:lnTo>
                    <a:pt x="75" y="50"/>
                  </a:lnTo>
                  <a:lnTo>
                    <a:pt x="73" y="52"/>
                  </a:lnTo>
                  <a:lnTo>
                    <a:pt x="73" y="50"/>
                  </a:lnTo>
                  <a:lnTo>
                    <a:pt x="75" y="46"/>
                  </a:lnTo>
                  <a:lnTo>
                    <a:pt x="71" y="48"/>
                  </a:lnTo>
                  <a:lnTo>
                    <a:pt x="70" y="50"/>
                  </a:lnTo>
                  <a:lnTo>
                    <a:pt x="70" y="46"/>
                  </a:lnTo>
                  <a:lnTo>
                    <a:pt x="68" y="48"/>
                  </a:lnTo>
                  <a:lnTo>
                    <a:pt x="64" y="48"/>
                  </a:lnTo>
                  <a:lnTo>
                    <a:pt x="62" y="50"/>
                  </a:lnTo>
                  <a:lnTo>
                    <a:pt x="58" y="46"/>
                  </a:lnTo>
                  <a:lnTo>
                    <a:pt x="56" y="48"/>
                  </a:lnTo>
                  <a:lnTo>
                    <a:pt x="56" y="52"/>
                  </a:lnTo>
                  <a:lnTo>
                    <a:pt x="54" y="52"/>
                  </a:lnTo>
                  <a:lnTo>
                    <a:pt x="54" y="56"/>
                  </a:lnTo>
                  <a:lnTo>
                    <a:pt x="50" y="54"/>
                  </a:lnTo>
                  <a:lnTo>
                    <a:pt x="48" y="54"/>
                  </a:lnTo>
                  <a:lnTo>
                    <a:pt x="46" y="52"/>
                  </a:lnTo>
                  <a:lnTo>
                    <a:pt x="43" y="52"/>
                  </a:lnTo>
                  <a:lnTo>
                    <a:pt x="41" y="56"/>
                  </a:lnTo>
                  <a:lnTo>
                    <a:pt x="41" y="54"/>
                  </a:lnTo>
                  <a:lnTo>
                    <a:pt x="39" y="54"/>
                  </a:lnTo>
                  <a:lnTo>
                    <a:pt x="39" y="50"/>
                  </a:lnTo>
                  <a:lnTo>
                    <a:pt x="37" y="50"/>
                  </a:lnTo>
                  <a:lnTo>
                    <a:pt x="35" y="52"/>
                  </a:lnTo>
                  <a:lnTo>
                    <a:pt x="33" y="50"/>
                  </a:lnTo>
                  <a:lnTo>
                    <a:pt x="29" y="50"/>
                  </a:lnTo>
                  <a:lnTo>
                    <a:pt x="27" y="52"/>
                  </a:lnTo>
                  <a:lnTo>
                    <a:pt x="23" y="52"/>
                  </a:lnTo>
                  <a:lnTo>
                    <a:pt x="25" y="50"/>
                  </a:lnTo>
                  <a:lnTo>
                    <a:pt x="23" y="50"/>
                  </a:lnTo>
                  <a:lnTo>
                    <a:pt x="16" y="52"/>
                  </a:lnTo>
                  <a:lnTo>
                    <a:pt x="14" y="52"/>
                  </a:lnTo>
                  <a:lnTo>
                    <a:pt x="16" y="54"/>
                  </a:lnTo>
                  <a:lnTo>
                    <a:pt x="12" y="54"/>
                  </a:lnTo>
                  <a:lnTo>
                    <a:pt x="12" y="56"/>
                  </a:lnTo>
                  <a:lnTo>
                    <a:pt x="8" y="54"/>
                  </a:lnTo>
                  <a:lnTo>
                    <a:pt x="4" y="56"/>
                  </a:lnTo>
                  <a:lnTo>
                    <a:pt x="4" y="59"/>
                  </a:lnTo>
                  <a:lnTo>
                    <a:pt x="2" y="61"/>
                  </a:lnTo>
                  <a:lnTo>
                    <a:pt x="2" y="63"/>
                  </a:lnTo>
                  <a:lnTo>
                    <a:pt x="2" y="65"/>
                  </a:lnTo>
                  <a:lnTo>
                    <a:pt x="2" y="69"/>
                  </a:lnTo>
                  <a:lnTo>
                    <a:pt x="4" y="69"/>
                  </a:lnTo>
                  <a:lnTo>
                    <a:pt x="6" y="67"/>
                  </a:lnTo>
                  <a:lnTo>
                    <a:pt x="8" y="69"/>
                  </a:lnTo>
                  <a:lnTo>
                    <a:pt x="10" y="69"/>
                  </a:lnTo>
                  <a:lnTo>
                    <a:pt x="12" y="67"/>
                  </a:lnTo>
                  <a:lnTo>
                    <a:pt x="12" y="69"/>
                  </a:lnTo>
                  <a:lnTo>
                    <a:pt x="16" y="67"/>
                  </a:lnTo>
                  <a:lnTo>
                    <a:pt x="22" y="67"/>
                  </a:lnTo>
                  <a:lnTo>
                    <a:pt x="16" y="69"/>
                  </a:lnTo>
                  <a:lnTo>
                    <a:pt x="14" y="71"/>
                  </a:lnTo>
                  <a:lnTo>
                    <a:pt x="18" y="71"/>
                  </a:lnTo>
                  <a:lnTo>
                    <a:pt x="20" y="71"/>
                  </a:lnTo>
                  <a:lnTo>
                    <a:pt x="22" y="71"/>
                  </a:lnTo>
                  <a:lnTo>
                    <a:pt x="20" y="73"/>
                  </a:lnTo>
                  <a:lnTo>
                    <a:pt x="22" y="73"/>
                  </a:lnTo>
                  <a:lnTo>
                    <a:pt x="23" y="75"/>
                  </a:lnTo>
                  <a:lnTo>
                    <a:pt x="22" y="75"/>
                  </a:lnTo>
                  <a:lnTo>
                    <a:pt x="20" y="75"/>
                  </a:lnTo>
                  <a:lnTo>
                    <a:pt x="16" y="75"/>
                  </a:lnTo>
                  <a:lnTo>
                    <a:pt x="14" y="73"/>
                  </a:lnTo>
                  <a:lnTo>
                    <a:pt x="12" y="73"/>
                  </a:lnTo>
                  <a:lnTo>
                    <a:pt x="10" y="71"/>
                  </a:lnTo>
                  <a:lnTo>
                    <a:pt x="8" y="71"/>
                  </a:lnTo>
                  <a:lnTo>
                    <a:pt x="10" y="73"/>
                  </a:lnTo>
                  <a:lnTo>
                    <a:pt x="8" y="73"/>
                  </a:lnTo>
                  <a:lnTo>
                    <a:pt x="8" y="75"/>
                  </a:lnTo>
                  <a:lnTo>
                    <a:pt x="10" y="75"/>
                  </a:lnTo>
                  <a:lnTo>
                    <a:pt x="8" y="77"/>
                  </a:lnTo>
                  <a:lnTo>
                    <a:pt x="8" y="81"/>
                  </a:lnTo>
                  <a:lnTo>
                    <a:pt x="10" y="81"/>
                  </a:lnTo>
                  <a:lnTo>
                    <a:pt x="12" y="77"/>
                  </a:lnTo>
                  <a:lnTo>
                    <a:pt x="18" y="81"/>
                  </a:lnTo>
                  <a:lnTo>
                    <a:pt x="20" y="84"/>
                  </a:lnTo>
                  <a:lnTo>
                    <a:pt x="18" y="86"/>
                  </a:lnTo>
                  <a:lnTo>
                    <a:pt x="16" y="86"/>
                  </a:lnTo>
                  <a:lnTo>
                    <a:pt x="2" y="86"/>
                  </a:lnTo>
                  <a:lnTo>
                    <a:pt x="0" y="88"/>
                  </a:lnTo>
                  <a:lnTo>
                    <a:pt x="6" y="92"/>
                  </a:lnTo>
                  <a:lnTo>
                    <a:pt x="8" y="90"/>
                  </a:lnTo>
                  <a:lnTo>
                    <a:pt x="12" y="96"/>
                  </a:lnTo>
                  <a:lnTo>
                    <a:pt x="14" y="100"/>
                  </a:lnTo>
                  <a:lnTo>
                    <a:pt x="14" y="104"/>
                  </a:lnTo>
                  <a:lnTo>
                    <a:pt x="12" y="104"/>
                  </a:lnTo>
                  <a:lnTo>
                    <a:pt x="12" y="106"/>
                  </a:lnTo>
                  <a:lnTo>
                    <a:pt x="18" y="107"/>
                  </a:lnTo>
                  <a:lnTo>
                    <a:pt x="20" y="104"/>
                  </a:lnTo>
                  <a:lnTo>
                    <a:pt x="20" y="100"/>
                  </a:lnTo>
                  <a:lnTo>
                    <a:pt x="22" y="104"/>
                  </a:lnTo>
                  <a:lnTo>
                    <a:pt x="23" y="104"/>
                  </a:lnTo>
                  <a:lnTo>
                    <a:pt x="23" y="100"/>
                  </a:lnTo>
                  <a:lnTo>
                    <a:pt x="25" y="96"/>
                  </a:lnTo>
                  <a:lnTo>
                    <a:pt x="23" y="100"/>
                  </a:lnTo>
                  <a:lnTo>
                    <a:pt x="25" y="104"/>
                  </a:lnTo>
                  <a:lnTo>
                    <a:pt x="27" y="106"/>
                  </a:lnTo>
                  <a:lnTo>
                    <a:pt x="27" y="104"/>
                  </a:lnTo>
                  <a:lnTo>
                    <a:pt x="29" y="104"/>
                  </a:lnTo>
                  <a:lnTo>
                    <a:pt x="31" y="109"/>
                  </a:lnTo>
                  <a:lnTo>
                    <a:pt x="35" y="111"/>
                  </a:lnTo>
                  <a:lnTo>
                    <a:pt x="37" y="107"/>
                  </a:lnTo>
                  <a:lnTo>
                    <a:pt x="37" y="109"/>
                  </a:lnTo>
                  <a:lnTo>
                    <a:pt x="39" y="109"/>
                  </a:lnTo>
                  <a:lnTo>
                    <a:pt x="39" y="111"/>
                  </a:lnTo>
                  <a:lnTo>
                    <a:pt x="41" y="111"/>
                  </a:lnTo>
                  <a:lnTo>
                    <a:pt x="45" y="113"/>
                  </a:lnTo>
                  <a:lnTo>
                    <a:pt x="46" y="115"/>
                  </a:lnTo>
                  <a:lnTo>
                    <a:pt x="46" y="119"/>
                  </a:lnTo>
                  <a:lnTo>
                    <a:pt x="50" y="119"/>
                  </a:lnTo>
                  <a:lnTo>
                    <a:pt x="50" y="117"/>
                  </a:lnTo>
                  <a:lnTo>
                    <a:pt x="54" y="115"/>
                  </a:lnTo>
                  <a:lnTo>
                    <a:pt x="54" y="117"/>
                  </a:lnTo>
                  <a:lnTo>
                    <a:pt x="52" y="121"/>
                  </a:lnTo>
                  <a:lnTo>
                    <a:pt x="54" y="121"/>
                  </a:lnTo>
                  <a:lnTo>
                    <a:pt x="54" y="123"/>
                  </a:lnTo>
                  <a:lnTo>
                    <a:pt x="56" y="121"/>
                  </a:lnTo>
                  <a:lnTo>
                    <a:pt x="58" y="119"/>
                  </a:lnTo>
                  <a:lnTo>
                    <a:pt x="60" y="121"/>
                  </a:lnTo>
                  <a:lnTo>
                    <a:pt x="58" y="123"/>
                  </a:lnTo>
                  <a:lnTo>
                    <a:pt x="56" y="125"/>
                  </a:lnTo>
                  <a:lnTo>
                    <a:pt x="58" y="127"/>
                  </a:lnTo>
                  <a:lnTo>
                    <a:pt x="58" y="134"/>
                  </a:lnTo>
                  <a:lnTo>
                    <a:pt x="60" y="136"/>
                  </a:lnTo>
                  <a:lnTo>
                    <a:pt x="58" y="132"/>
                  </a:lnTo>
                  <a:lnTo>
                    <a:pt x="60" y="129"/>
                  </a:lnTo>
                  <a:lnTo>
                    <a:pt x="62" y="131"/>
                  </a:lnTo>
                  <a:lnTo>
                    <a:pt x="66" y="132"/>
                  </a:lnTo>
                  <a:lnTo>
                    <a:pt x="66" y="131"/>
                  </a:lnTo>
                  <a:lnTo>
                    <a:pt x="64" y="127"/>
                  </a:lnTo>
                  <a:lnTo>
                    <a:pt x="66" y="127"/>
                  </a:lnTo>
                  <a:lnTo>
                    <a:pt x="68" y="131"/>
                  </a:lnTo>
                  <a:lnTo>
                    <a:pt x="70" y="131"/>
                  </a:lnTo>
                  <a:lnTo>
                    <a:pt x="70" y="129"/>
                  </a:lnTo>
                  <a:lnTo>
                    <a:pt x="71" y="129"/>
                  </a:lnTo>
                  <a:lnTo>
                    <a:pt x="73" y="127"/>
                  </a:lnTo>
                  <a:lnTo>
                    <a:pt x="73" y="131"/>
                  </a:lnTo>
                  <a:lnTo>
                    <a:pt x="75" y="131"/>
                  </a:lnTo>
                  <a:lnTo>
                    <a:pt x="77" y="129"/>
                  </a:lnTo>
                  <a:lnTo>
                    <a:pt x="77" y="131"/>
                  </a:lnTo>
                  <a:lnTo>
                    <a:pt x="75" y="132"/>
                  </a:lnTo>
                  <a:lnTo>
                    <a:pt x="75" y="134"/>
                  </a:lnTo>
                  <a:lnTo>
                    <a:pt x="73" y="134"/>
                  </a:lnTo>
                  <a:lnTo>
                    <a:pt x="68" y="132"/>
                  </a:lnTo>
                  <a:lnTo>
                    <a:pt x="68" y="134"/>
                  </a:lnTo>
                  <a:lnTo>
                    <a:pt x="70" y="134"/>
                  </a:lnTo>
                  <a:lnTo>
                    <a:pt x="70" y="138"/>
                  </a:lnTo>
                  <a:lnTo>
                    <a:pt x="71" y="136"/>
                  </a:lnTo>
                  <a:lnTo>
                    <a:pt x="73" y="136"/>
                  </a:lnTo>
                  <a:lnTo>
                    <a:pt x="75" y="138"/>
                  </a:lnTo>
                  <a:lnTo>
                    <a:pt x="77" y="136"/>
                  </a:lnTo>
                  <a:lnTo>
                    <a:pt x="77" y="138"/>
                  </a:lnTo>
                  <a:lnTo>
                    <a:pt x="83" y="136"/>
                  </a:lnTo>
                  <a:lnTo>
                    <a:pt x="89" y="138"/>
                  </a:lnTo>
                  <a:lnTo>
                    <a:pt x="87" y="140"/>
                  </a:lnTo>
                  <a:lnTo>
                    <a:pt x="83" y="140"/>
                  </a:lnTo>
                  <a:lnTo>
                    <a:pt x="85" y="142"/>
                  </a:lnTo>
                  <a:lnTo>
                    <a:pt x="83" y="144"/>
                  </a:lnTo>
                  <a:lnTo>
                    <a:pt x="79" y="146"/>
                  </a:lnTo>
                  <a:lnTo>
                    <a:pt x="81" y="146"/>
                  </a:lnTo>
                  <a:lnTo>
                    <a:pt x="83" y="152"/>
                  </a:lnTo>
                  <a:lnTo>
                    <a:pt x="79" y="152"/>
                  </a:lnTo>
                  <a:lnTo>
                    <a:pt x="81" y="154"/>
                  </a:lnTo>
                  <a:lnTo>
                    <a:pt x="83" y="156"/>
                  </a:lnTo>
                  <a:lnTo>
                    <a:pt x="85" y="154"/>
                  </a:lnTo>
                  <a:lnTo>
                    <a:pt x="87" y="156"/>
                  </a:lnTo>
                  <a:lnTo>
                    <a:pt x="89" y="156"/>
                  </a:lnTo>
                  <a:lnTo>
                    <a:pt x="91" y="156"/>
                  </a:lnTo>
                  <a:lnTo>
                    <a:pt x="95" y="154"/>
                  </a:lnTo>
                  <a:lnTo>
                    <a:pt x="102" y="154"/>
                  </a:lnTo>
                  <a:lnTo>
                    <a:pt x="106" y="156"/>
                  </a:lnTo>
                  <a:lnTo>
                    <a:pt x="106" y="157"/>
                  </a:lnTo>
                  <a:lnTo>
                    <a:pt x="102" y="156"/>
                  </a:lnTo>
                  <a:lnTo>
                    <a:pt x="98" y="156"/>
                  </a:lnTo>
                  <a:lnTo>
                    <a:pt x="95" y="156"/>
                  </a:lnTo>
                  <a:lnTo>
                    <a:pt x="93" y="157"/>
                  </a:lnTo>
                  <a:lnTo>
                    <a:pt x="95" y="159"/>
                  </a:lnTo>
                  <a:lnTo>
                    <a:pt x="93" y="161"/>
                  </a:lnTo>
                  <a:lnTo>
                    <a:pt x="93" y="163"/>
                  </a:lnTo>
                  <a:lnTo>
                    <a:pt x="91" y="163"/>
                  </a:lnTo>
                  <a:lnTo>
                    <a:pt x="89" y="163"/>
                  </a:lnTo>
                  <a:lnTo>
                    <a:pt x="93" y="165"/>
                  </a:lnTo>
                  <a:lnTo>
                    <a:pt x="96" y="167"/>
                  </a:lnTo>
                  <a:lnTo>
                    <a:pt x="98" y="173"/>
                  </a:lnTo>
                  <a:lnTo>
                    <a:pt x="96" y="175"/>
                  </a:lnTo>
                  <a:lnTo>
                    <a:pt x="96" y="177"/>
                  </a:lnTo>
                  <a:lnTo>
                    <a:pt x="93" y="179"/>
                  </a:lnTo>
                  <a:lnTo>
                    <a:pt x="93" y="181"/>
                  </a:lnTo>
                  <a:lnTo>
                    <a:pt x="91" y="181"/>
                  </a:lnTo>
                  <a:lnTo>
                    <a:pt x="91" y="186"/>
                  </a:lnTo>
                  <a:lnTo>
                    <a:pt x="93" y="188"/>
                  </a:lnTo>
                  <a:lnTo>
                    <a:pt x="96" y="192"/>
                  </a:lnTo>
                  <a:lnTo>
                    <a:pt x="96" y="194"/>
                  </a:lnTo>
                  <a:lnTo>
                    <a:pt x="98" y="200"/>
                  </a:lnTo>
                  <a:lnTo>
                    <a:pt x="100" y="204"/>
                  </a:lnTo>
                  <a:lnTo>
                    <a:pt x="100" y="209"/>
                  </a:lnTo>
                  <a:lnTo>
                    <a:pt x="102" y="209"/>
                  </a:lnTo>
                  <a:lnTo>
                    <a:pt x="106" y="213"/>
                  </a:lnTo>
                  <a:lnTo>
                    <a:pt x="108" y="213"/>
                  </a:lnTo>
                  <a:lnTo>
                    <a:pt x="106" y="213"/>
                  </a:lnTo>
                  <a:lnTo>
                    <a:pt x="108" y="215"/>
                  </a:lnTo>
                  <a:lnTo>
                    <a:pt x="112" y="215"/>
                  </a:lnTo>
                  <a:lnTo>
                    <a:pt x="114" y="219"/>
                  </a:lnTo>
                  <a:lnTo>
                    <a:pt x="118" y="221"/>
                  </a:lnTo>
                  <a:lnTo>
                    <a:pt x="120" y="225"/>
                  </a:lnTo>
                  <a:lnTo>
                    <a:pt x="121" y="223"/>
                  </a:lnTo>
                  <a:lnTo>
                    <a:pt x="123" y="227"/>
                  </a:lnTo>
                  <a:lnTo>
                    <a:pt x="123" y="225"/>
                  </a:lnTo>
                  <a:lnTo>
                    <a:pt x="123" y="223"/>
                  </a:lnTo>
                  <a:lnTo>
                    <a:pt x="127" y="225"/>
                  </a:lnTo>
                  <a:lnTo>
                    <a:pt x="127" y="227"/>
                  </a:lnTo>
                  <a:lnTo>
                    <a:pt x="125" y="229"/>
                  </a:lnTo>
                  <a:lnTo>
                    <a:pt x="123" y="230"/>
                  </a:lnTo>
                  <a:lnTo>
                    <a:pt x="121" y="234"/>
                  </a:lnTo>
                  <a:lnTo>
                    <a:pt x="123" y="234"/>
                  </a:lnTo>
                  <a:lnTo>
                    <a:pt x="127" y="242"/>
                  </a:lnTo>
                  <a:lnTo>
                    <a:pt x="127" y="244"/>
                  </a:lnTo>
                  <a:lnTo>
                    <a:pt x="125" y="244"/>
                  </a:lnTo>
                  <a:lnTo>
                    <a:pt x="125" y="248"/>
                  </a:lnTo>
                  <a:lnTo>
                    <a:pt x="125" y="250"/>
                  </a:lnTo>
                  <a:lnTo>
                    <a:pt x="123" y="254"/>
                  </a:lnTo>
                  <a:lnTo>
                    <a:pt x="121" y="254"/>
                  </a:lnTo>
                  <a:lnTo>
                    <a:pt x="121" y="255"/>
                  </a:lnTo>
                  <a:lnTo>
                    <a:pt x="123" y="257"/>
                  </a:lnTo>
                  <a:lnTo>
                    <a:pt x="125" y="259"/>
                  </a:lnTo>
                  <a:lnTo>
                    <a:pt x="123" y="261"/>
                  </a:lnTo>
                  <a:lnTo>
                    <a:pt x="121" y="257"/>
                  </a:lnTo>
                  <a:lnTo>
                    <a:pt x="118" y="257"/>
                  </a:lnTo>
                  <a:lnTo>
                    <a:pt x="118" y="265"/>
                  </a:lnTo>
                  <a:lnTo>
                    <a:pt x="120" y="267"/>
                  </a:lnTo>
                  <a:lnTo>
                    <a:pt x="125" y="269"/>
                  </a:lnTo>
                  <a:lnTo>
                    <a:pt x="125" y="273"/>
                  </a:lnTo>
                  <a:lnTo>
                    <a:pt x="129" y="277"/>
                  </a:lnTo>
                  <a:lnTo>
                    <a:pt x="133" y="280"/>
                  </a:lnTo>
                  <a:lnTo>
                    <a:pt x="135" y="286"/>
                  </a:lnTo>
                  <a:lnTo>
                    <a:pt x="135" y="290"/>
                  </a:lnTo>
                  <a:lnTo>
                    <a:pt x="135" y="307"/>
                  </a:lnTo>
                  <a:lnTo>
                    <a:pt x="137" y="309"/>
                  </a:lnTo>
                  <a:lnTo>
                    <a:pt x="139" y="309"/>
                  </a:lnTo>
                  <a:lnTo>
                    <a:pt x="141" y="313"/>
                  </a:lnTo>
                  <a:lnTo>
                    <a:pt x="137" y="313"/>
                  </a:lnTo>
                  <a:lnTo>
                    <a:pt x="135" y="309"/>
                  </a:lnTo>
                  <a:lnTo>
                    <a:pt x="133" y="305"/>
                  </a:lnTo>
                  <a:lnTo>
                    <a:pt x="131" y="302"/>
                  </a:lnTo>
                  <a:lnTo>
                    <a:pt x="131" y="290"/>
                  </a:lnTo>
                  <a:lnTo>
                    <a:pt x="129" y="286"/>
                  </a:lnTo>
                  <a:lnTo>
                    <a:pt x="127" y="282"/>
                  </a:lnTo>
                  <a:lnTo>
                    <a:pt x="125" y="280"/>
                  </a:lnTo>
                  <a:lnTo>
                    <a:pt x="121" y="275"/>
                  </a:lnTo>
                  <a:lnTo>
                    <a:pt x="121" y="273"/>
                  </a:lnTo>
                  <a:lnTo>
                    <a:pt x="120" y="275"/>
                  </a:lnTo>
                  <a:lnTo>
                    <a:pt x="112" y="300"/>
                  </a:lnTo>
                  <a:lnTo>
                    <a:pt x="104" y="330"/>
                  </a:lnTo>
                  <a:lnTo>
                    <a:pt x="106" y="330"/>
                  </a:lnTo>
                  <a:lnTo>
                    <a:pt x="106" y="328"/>
                  </a:lnTo>
                  <a:lnTo>
                    <a:pt x="106" y="327"/>
                  </a:lnTo>
                  <a:lnTo>
                    <a:pt x="110" y="325"/>
                  </a:lnTo>
                  <a:lnTo>
                    <a:pt x="108" y="325"/>
                  </a:lnTo>
                  <a:lnTo>
                    <a:pt x="110" y="323"/>
                  </a:lnTo>
                  <a:lnTo>
                    <a:pt x="114" y="328"/>
                  </a:lnTo>
                  <a:lnTo>
                    <a:pt x="114" y="330"/>
                  </a:lnTo>
                  <a:lnTo>
                    <a:pt x="112" y="330"/>
                  </a:lnTo>
                  <a:lnTo>
                    <a:pt x="110" y="330"/>
                  </a:lnTo>
                  <a:lnTo>
                    <a:pt x="108" y="330"/>
                  </a:lnTo>
                  <a:lnTo>
                    <a:pt x="106" y="330"/>
                  </a:lnTo>
                  <a:lnTo>
                    <a:pt x="106" y="334"/>
                  </a:lnTo>
                  <a:lnTo>
                    <a:pt x="102" y="336"/>
                  </a:lnTo>
                  <a:lnTo>
                    <a:pt x="102" y="342"/>
                  </a:lnTo>
                  <a:lnTo>
                    <a:pt x="98" y="357"/>
                  </a:lnTo>
                  <a:lnTo>
                    <a:pt x="93" y="371"/>
                  </a:lnTo>
                  <a:lnTo>
                    <a:pt x="87" y="390"/>
                  </a:lnTo>
                  <a:lnTo>
                    <a:pt x="85" y="396"/>
                  </a:lnTo>
                  <a:lnTo>
                    <a:pt x="81" y="400"/>
                  </a:lnTo>
                  <a:lnTo>
                    <a:pt x="79" y="401"/>
                  </a:lnTo>
                  <a:lnTo>
                    <a:pt x="77" y="403"/>
                  </a:lnTo>
                  <a:lnTo>
                    <a:pt x="73" y="405"/>
                  </a:lnTo>
                  <a:lnTo>
                    <a:pt x="73" y="407"/>
                  </a:lnTo>
                  <a:lnTo>
                    <a:pt x="70" y="407"/>
                  </a:lnTo>
                  <a:lnTo>
                    <a:pt x="68" y="407"/>
                  </a:lnTo>
                  <a:lnTo>
                    <a:pt x="68" y="409"/>
                  </a:lnTo>
                  <a:lnTo>
                    <a:pt x="70" y="409"/>
                  </a:lnTo>
                  <a:lnTo>
                    <a:pt x="70" y="411"/>
                  </a:lnTo>
                  <a:lnTo>
                    <a:pt x="71" y="413"/>
                  </a:lnTo>
                  <a:lnTo>
                    <a:pt x="73" y="413"/>
                  </a:lnTo>
                  <a:lnTo>
                    <a:pt x="73" y="415"/>
                  </a:lnTo>
                  <a:lnTo>
                    <a:pt x="75" y="417"/>
                  </a:lnTo>
                  <a:lnTo>
                    <a:pt x="77" y="415"/>
                  </a:lnTo>
                  <a:lnTo>
                    <a:pt x="83" y="417"/>
                  </a:lnTo>
                  <a:lnTo>
                    <a:pt x="85" y="419"/>
                  </a:lnTo>
                  <a:lnTo>
                    <a:pt x="81" y="426"/>
                  </a:lnTo>
                  <a:lnTo>
                    <a:pt x="79" y="428"/>
                  </a:lnTo>
                  <a:lnTo>
                    <a:pt x="79" y="430"/>
                  </a:lnTo>
                  <a:lnTo>
                    <a:pt x="79" y="432"/>
                  </a:lnTo>
                  <a:lnTo>
                    <a:pt x="83" y="432"/>
                  </a:lnTo>
                  <a:lnTo>
                    <a:pt x="85" y="428"/>
                  </a:lnTo>
                  <a:lnTo>
                    <a:pt x="87" y="428"/>
                  </a:lnTo>
                  <a:lnTo>
                    <a:pt x="87" y="432"/>
                  </a:lnTo>
                  <a:lnTo>
                    <a:pt x="89" y="432"/>
                  </a:lnTo>
                  <a:lnTo>
                    <a:pt x="93" y="434"/>
                  </a:lnTo>
                  <a:lnTo>
                    <a:pt x="93" y="436"/>
                  </a:lnTo>
                  <a:lnTo>
                    <a:pt x="95" y="436"/>
                  </a:lnTo>
                  <a:lnTo>
                    <a:pt x="96" y="438"/>
                  </a:lnTo>
                  <a:lnTo>
                    <a:pt x="98" y="438"/>
                  </a:lnTo>
                  <a:lnTo>
                    <a:pt x="98" y="440"/>
                  </a:lnTo>
                  <a:lnTo>
                    <a:pt x="100" y="440"/>
                  </a:lnTo>
                  <a:lnTo>
                    <a:pt x="102" y="440"/>
                  </a:lnTo>
                  <a:lnTo>
                    <a:pt x="104" y="442"/>
                  </a:lnTo>
                  <a:lnTo>
                    <a:pt x="108" y="442"/>
                  </a:lnTo>
                  <a:lnTo>
                    <a:pt x="110" y="442"/>
                  </a:lnTo>
                  <a:lnTo>
                    <a:pt x="110" y="446"/>
                  </a:lnTo>
                  <a:lnTo>
                    <a:pt x="112" y="448"/>
                  </a:lnTo>
                  <a:lnTo>
                    <a:pt x="112" y="450"/>
                  </a:lnTo>
                  <a:lnTo>
                    <a:pt x="114" y="451"/>
                  </a:lnTo>
                  <a:lnTo>
                    <a:pt x="116" y="453"/>
                  </a:lnTo>
                  <a:lnTo>
                    <a:pt x="118" y="453"/>
                  </a:lnTo>
                  <a:lnTo>
                    <a:pt x="120" y="451"/>
                  </a:lnTo>
                  <a:lnTo>
                    <a:pt x="123" y="453"/>
                  </a:lnTo>
                  <a:lnTo>
                    <a:pt x="127" y="451"/>
                  </a:lnTo>
                  <a:lnTo>
                    <a:pt x="131" y="455"/>
                  </a:lnTo>
                  <a:lnTo>
                    <a:pt x="133" y="455"/>
                  </a:lnTo>
                  <a:lnTo>
                    <a:pt x="135" y="459"/>
                  </a:lnTo>
                  <a:lnTo>
                    <a:pt x="137" y="461"/>
                  </a:lnTo>
                  <a:lnTo>
                    <a:pt x="139" y="463"/>
                  </a:lnTo>
                  <a:lnTo>
                    <a:pt x="148" y="461"/>
                  </a:lnTo>
                  <a:lnTo>
                    <a:pt x="150" y="463"/>
                  </a:lnTo>
                  <a:lnTo>
                    <a:pt x="152" y="463"/>
                  </a:lnTo>
                  <a:lnTo>
                    <a:pt x="152" y="465"/>
                  </a:lnTo>
                  <a:lnTo>
                    <a:pt x="152" y="467"/>
                  </a:lnTo>
                  <a:lnTo>
                    <a:pt x="156" y="463"/>
                  </a:lnTo>
                  <a:lnTo>
                    <a:pt x="158" y="467"/>
                  </a:lnTo>
                  <a:lnTo>
                    <a:pt x="162" y="465"/>
                  </a:lnTo>
                  <a:lnTo>
                    <a:pt x="168" y="467"/>
                  </a:lnTo>
                  <a:lnTo>
                    <a:pt x="169" y="467"/>
                  </a:lnTo>
                  <a:lnTo>
                    <a:pt x="169" y="465"/>
                  </a:lnTo>
                  <a:lnTo>
                    <a:pt x="169" y="463"/>
                  </a:lnTo>
                  <a:lnTo>
                    <a:pt x="169" y="461"/>
                  </a:lnTo>
                  <a:lnTo>
                    <a:pt x="171" y="461"/>
                  </a:lnTo>
                  <a:lnTo>
                    <a:pt x="171" y="457"/>
                  </a:lnTo>
                  <a:lnTo>
                    <a:pt x="173" y="459"/>
                  </a:lnTo>
                  <a:lnTo>
                    <a:pt x="179" y="459"/>
                  </a:lnTo>
                  <a:lnTo>
                    <a:pt x="181" y="463"/>
                  </a:lnTo>
                  <a:lnTo>
                    <a:pt x="183" y="463"/>
                  </a:lnTo>
                  <a:lnTo>
                    <a:pt x="185" y="463"/>
                  </a:lnTo>
                  <a:lnTo>
                    <a:pt x="189" y="465"/>
                  </a:lnTo>
                  <a:lnTo>
                    <a:pt x="191" y="465"/>
                  </a:lnTo>
                  <a:lnTo>
                    <a:pt x="191" y="469"/>
                  </a:lnTo>
                  <a:lnTo>
                    <a:pt x="193" y="469"/>
                  </a:lnTo>
                  <a:lnTo>
                    <a:pt x="194" y="469"/>
                  </a:lnTo>
                  <a:lnTo>
                    <a:pt x="196" y="469"/>
                  </a:lnTo>
                  <a:lnTo>
                    <a:pt x="200" y="469"/>
                  </a:lnTo>
                  <a:lnTo>
                    <a:pt x="200" y="471"/>
                  </a:lnTo>
                  <a:lnTo>
                    <a:pt x="200" y="473"/>
                  </a:lnTo>
                  <a:lnTo>
                    <a:pt x="202" y="478"/>
                  </a:lnTo>
                  <a:lnTo>
                    <a:pt x="204" y="478"/>
                  </a:lnTo>
                  <a:lnTo>
                    <a:pt x="206" y="476"/>
                  </a:lnTo>
                  <a:lnTo>
                    <a:pt x="206" y="474"/>
                  </a:lnTo>
                  <a:lnTo>
                    <a:pt x="208" y="474"/>
                  </a:lnTo>
                  <a:lnTo>
                    <a:pt x="210" y="474"/>
                  </a:lnTo>
                  <a:lnTo>
                    <a:pt x="212" y="476"/>
                  </a:lnTo>
                  <a:lnTo>
                    <a:pt x="216" y="480"/>
                  </a:lnTo>
                  <a:lnTo>
                    <a:pt x="214" y="486"/>
                  </a:lnTo>
                  <a:lnTo>
                    <a:pt x="216" y="486"/>
                  </a:lnTo>
                  <a:lnTo>
                    <a:pt x="219" y="488"/>
                  </a:lnTo>
                  <a:lnTo>
                    <a:pt x="223" y="490"/>
                  </a:lnTo>
                  <a:lnTo>
                    <a:pt x="223" y="492"/>
                  </a:lnTo>
                  <a:lnTo>
                    <a:pt x="225" y="494"/>
                  </a:lnTo>
                  <a:lnTo>
                    <a:pt x="225" y="496"/>
                  </a:lnTo>
                  <a:lnTo>
                    <a:pt x="229" y="496"/>
                  </a:lnTo>
                  <a:lnTo>
                    <a:pt x="233" y="494"/>
                  </a:lnTo>
                  <a:lnTo>
                    <a:pt x="237" y="494"/>
                  </a:lnTo>
                  <a:lnTo>
                    <a:pt x="239" y="494"/>
                  </a:lnTo>
                  <a:lnTo>
                    <a:pt x="243" y="496"/>
                  </a:lnTo>
                  <a:lnTo>
                    <a:pt x="244" y="496"/>
                  </a:lnTo>
                  <a:lnTo>
                    <a:pt x="246" y="498"/>
                  </a:lnTo>
                  <a:lnTo>
                    <a:pt x="248" y="498"/>
                  </a:lnTo>
                  <a:lnTo>
                    <a:pt x="250" y="498"/>
                  </a:lnTo>
                  <a:lnTo>
                    <a:pt x="254" y="499"/>
                  </a:lnTo>
                  <a:lnTo>
                    <a:pt x="258" y="496"/>
                  </a:lnTo>
                  <a:lnTo>
                    <a:pt x="264" y="496"/>
                  </a:lnTo>
                  <a:lnTo>
                    <a:pt x="266" y="494"/>
                  </a:lnTo>
                  <a:lnTo>
                    <a:pt x="267" y="496"/>
                  </a:lnTo>
                  <a:lnTo>
                    <a:pt x="269" y="494"/>
                  </a:lnTo>
                  <a:lnTo>
                    <a:pt x="273" y="494"/>
                  </a:lnTo>
                  <a:lnTo>
                    <a:pt x="275" y="498"/>
                  </a:lnTo>
                  <a:lnTo>
                    <a:pt x="279" y="496"/>
                  </a:lnTo>
                  <a:lnTo>
                    <a:pt x="277" y="494"/>
                  </a:lnTo>
                  <a:lnTo>
                    <a:pt x="277" y="492"/>
                  </a:lnTo>
                  <a:lnTo>
                    <a:pt x="275" y="490"/>
                  </a:lnTo>
                  <a:lnTo>
                    <a:pt x="275" y="480"/>
                  </a:lnTo>
                  <a:lnTo>
                    <a:pt x="277" y="473"/>
                  </a:lnTo>
                  <a:lnTo>
                    <a:pt x="277" y="467"/>
                  </a:lnTo>
                  <a:lnTo>
                    <a:pt x="275" y="463"/>
                  </a:lnTo>
                  <a:lnTo>
                    <a:pt x="277" y="463"/>
                  </a:lnTo>
                  <a:lnTo>
                    <a:pt x="279" y="457"/>
                  </a:lnTo>
                  <a:lnTo>
                    <a:pt x="277" y="455"/>
                  </a:lnTo>
                  <a:lnTo>
                    <a:pt x="279" y="455"/>
                  </a:lnTo>
                  <a:lnTo>
                    <a:pt x="281" y="455"/>
                  </a:lnTo>
                  <a:lnTo>
                    <a:pt x="283" y="451"/>
                  </a:lnTo>
                  <a:lnTo>
                    <a:pt x="289" y="448"/>
                  </a:lnTo>
                  <a:lnTo>
                    <a:pt x="294" y="444"/>
                  </a:lnTo>
                  <a:lnTo>
                    <a:pt x="296" y="444"/>
                  </a:lnTo>
                  <a:lnTo>
                    <a:pt x="300" y="446"/>
                  </a:lnTo>
                  <a:lnTo>
                    <a:pt x="306" y="440"/>
                  </a:lnTo>
                  <a:lnTo>
                    <a:pt x="310" y="438"/>
                  </a:lnTo>
                  <a:lnTo>
                    <a:pt x="312" y="436"/>
                  </a:lnTo>
                  <a:lnTo>
                    <a:pt x="314" y="436"/>
                  </a:lnTo>
                  <a:lnTo>
                    <a:pt x="323" y="430"/>
                  </a:lnTo>
                  <a:lnTo>
                    <a:pt x="327" y="430"/>
                  </a:lnTo>
                  <a:lnTo>
                    <a:pt x="329" y="432"/>
                  </a:lnTo>
                  <a:lnTo>
                    <a:pt x="329" y="434"/>
                  </a:lnTo>
                  <a:lnTo>
                    <a:pt x="331" y="436"/>
                  </a:lnTo>
                  <a:lnTo>
                    <a:pt x="333" y="436"/>
                  </a:lnTo>
                  <a:lnTo>
                    <a:pt x="339" y="438"/>
                  </a:lnTo>
                  <a:lnTo>
                    <a:pt x="341" y="438"/>
                  </a:lnTo>
                  <a:lnTo>
                    <a:pt x="342" y="438"/>
                  </a:lnTo>
                  <a:lnTo>
                    <a:pt x="348" y="438"/>
                  </a:lnTo>
                  <a:lnTo>
                    <a:pt x="348" y="442"/>
                  </a:lnTo>
                  <a:lnTo>
                    <a:pt x="350" y="442"/>
                  </a:lnTo>
                  <a:lnTo>
                    <a:pt x="352" y="442"/>
                  </a:lnTo>
                  <a:lnTo>
                    <a:pt x="352" y="444"/>
                  </a:lnTo>
                  <a:lnTo>
                    <a:pt x="348" y="444"/>
                  </a:lnTo>
                  <a:lnTo>
                    <a:pt x="350" y="446"/>
                  </a:lnTo>
                  <a:lnTo>
                    <a:pt x="356" y="446"/>
                  </a:lnTo>
                  <a:lnTo>
                    <a:pt x="358" y="448"/>
                  </a:lnTo>
                  <a:lnTo>
                    <a:pt x="360" y="444"/>
                  </a:lnTo>
                  <a:lnTo>
                    <a:pt x="358" y="442"/>
                  </a:lnTo>
                  <a:lnTo>
                    <a:pt x="360" y="442"/>
                  </a:lnTo>
                  <a:lnTo>
                    <a:pt x="360" y="440"/>
                  </a:lnTo>
                  <a:lnTo>
                    <a:pt x="362" y="442"/>
                  </a:lnTo>
                  <a:lnTo>
                    <a:pt x="364" y="442"/>
                  </a:lnTo>
                  <a:lnTo>
                    <a:pt x="365" y="446"/>
                  </a:lnTo>
                  <a:lnTo>
                    <a:pt x="367" y="448"/>
                  </a:lnTo>
                  <a:lnTo>
                    <a:pt x="369" y="448"/>
                  </a:lnTo>
                  <a:lnTo>
                    <a:pt x="373" y="448"/>
                  </a:lnTo>
                  <a:lnTo>
                    <a:pt x="377" y="450"/>
                  </a:lnTo>
                  <a:lnTo>
                    <a:pt x="381" y="448"/>
                  </a:lnTo>
                  <a:lnTo>
                    <a:pt x="381" y="450"/>
                  </a:lnTo>
                  <a:lnTo>
                    <a:pt x="381" y="451"/>
                  </a:lnTo>
                  <a:lnTo>
                    <a:pt x="383" y="453"/>
                  </a:lnTo>
                  <a:lnTo>
                    <a:pt x="381" y="455"/>
                  </a:lnTo>
                  <a:lnTo>
                    <a:pt x="381" y="457"/>
                  </a:lnTo>
                  <a:lnTo>
                    <a:pt x="383" y="457"/>
                  </a:lnTo>
                  <a:lnTo>
                    <a:pt x="385" y="457"/>
                  </a:lnTo>
                  <a:lnTo>
                    <a:pt x="387" y="457"/>
                  </a:lnTo>
                  <a:lnTo>
                    <a:pt x="389" y="457"/>
                  </a:lnTo>
                  <a:lnTo>
                    <a:pt x="390" y="459"/>
                  </a:lnTo>
                  <a:lnTo>
                    <a:pt x="392" y="459"/>
                  </a:lnTo>
                  <a:lnTo>
                    <a:pt x="396" y="461"/>
                  </a:lnTo>
                  <a:lnTo>
                    <a:pt x="400" y="465"/>
                  </a:lnTo>
                  <a:lnTo>
                    <a:pt x="400" y="467"/>
                  </a:lnTo>
                  <a:lnTo>
                    <a:pt x="406" y="469"/>
                  </a:lnTo>
                  <a:lnTo>
                    <a:pt x="406" y="465"/>
                  </a:lnTo>
                  <a:lnTo>
                    <a:pt x="406" y="467"/>
                  </a:lnTo>
                  <a:lnTo>
                    <a:pt x="408" y="465"/>
                  </a:lnTo>
                  <a:lnTo>
                    <a:pt x="410" y="467"/>
                  </a:lnTo>
                  <a:lnTo>
                    <a:pt x="414" y="467"/>
                  </a:lnTo>
                  <a:lnTo>
                    <a:pt x="415" y="469"/>
                  </a:lnTo>
                  <a:lnTo>
                    <a:pt x="414" y="471"/>
                  </a:lnTo>
                  <a:lnTo>
                    <a:pt x="415" y="471"/>
                  </a:lnTo>
                  <a:lnTo>
                    <a:pt x="417" y="469"/>
                  </a:lnTo>
                  <a:lnTo>
                    <a:pt x="417" y="467"/>
                  </a:lnTo>
                  <a:lnTo>
                    <a:pt x="421" y="467"/>
                  </a:lnTo>
                  <a:lnTo>
                    <a:pt x="425" y="467"/>
                  </a:lnTo>
                  <a:lnTo>
                    <a:pt x="427" y="465"/>
                  </a:lnTo>
                  <a:lnTo>
                    <a:pt x="433" y="465"/>
                  </a:lnTo>
                  <a:lnTo>
                    <a:pt x="433" y="463"/>
                  </a:lnTo>
                  <a:lnTo>
                    <a:pt x="437" y="463"/>
                  </a:lnTo>
                  <a:lnTo>
                    <a:pt x="437" y="465"/>
                  </a:lnTo>
                  <a:lnTo>
                    <a:pt x="439" y="463"/>
                  </a:lnTo>
                  <a:lnTo>
                    <a:pt x="440" y="461"/>
                  </a:lnTo>
                  <a:lnTo>
                    <a:pt x="440" y="459"/>
                  </a:lnTo>
                  <a:lnTo>
                    <a:pt x="437" y="457"/>
                  </a:lnTo>
                  <a:lnTo>
                    <a:pt x="442" y="453"/>
                  </a:lnTo>
                  <a:lnTo>
                    <a:pt x="444" y="448"/>
                  </a:lnTo>
                  <a:lnTo>
                    <a:pt x="444" y="450"/>
                  </a:lnTo>
                  <a:lnTo>
                    <a:pt x="450" y="448"/>
                  </a:lnTo>
                  <a:lnTo>
                    <a:pt x="452" y="446"/>
                  </a:lnTo>
                  <a:lnTo>
                    <a:pt x="454" y="446"/>
                  </a:lnTo>
                  <a:lnTo>
                    <a:pt x="454" y="442"/>
                  </a:lnTo>
                  <a:lnTo>
                    <a:pt x="458" y="440"/>
                  </a:lnTo>
                  <a:lnTo>
                    <a:pt x="460" y="440"/>
                  </a:lnTo>
                  <a:lnTo>
                    <a:pt x="462" y="442"/>
                  </a:lnTo>
                  <a:lnTo>
                    <a:pt x="463" y="440"/>
                  </a:lnTo>
                  <a:lnTo>
                    <a:pt x="463" y="436"/>
                  </a:lnTo>
                  <a:lnTo>
                    <a:pt x="467" y="434"/>
                  </a:lnTo>
                  <a:lnTo>
                    <a:pt x="467" y="432"/>
                  </a:lnTo>
                  <a:lnTo>
                    <a:pt x="469" y="432"/>
                  </a:lnTo>
                  <a:lnTo>
                    <a:pt x="471" y="434"/>
                  </a:lnTo>
                  <a:lnTo>
                    <a:pt x="471" y="432"/>
                  </a:lnTo>
                  <a:lnTo>
                    <a:pt x="473" y="430"/>
                  </a:lnTo>
                  <a:lnTo>
                    <a:pt x="475" y="430"/>
                  </a:lnTo>
                  <a:lnTo>
                    <a:pt x="477" y="428"/>
                  </a:lnTo>
                  <a:lnTo>
                    <a:pt x="479" y="426"/>
                  </a:lnTo>
                  <a:lnTo>
                    <a:pt x="479" y="423"/>
                  </a:lnTo>
                  <a:lnTo>
                    <a:pt x="479" y="419"/>
                  </a:lnTo>
                  <a:lnTo>
                    <a:pt x="483" y="419"/>
                  </a:lnTo>
                  <a:lnTo>
                    <a:pt x="483" y="415"/>
                  </a:lnTo>
                  <a:lnTo>
                    <a:pt x="485" y="415"/>
                  </a:lnTo>
                  <a:lnTo>
                    <a:pt x="487" y="411"/>
                  </a:lnTo>
                  <a:lnTo>
                    <a:pt x="488" y="411"/>
                  </a:lnTo>
                  <a:lnTo>
                    <a:pt x="490" y="409"/>
                  </a:lnTo>
                  <a:lnTo>
                    <a:pt x="490" y="407"/>
                  </a:lnTo>
                  <a:lnTo>
                    <a:pt x="487" y="405"/>
                  </a:lnTo>
                  <a:lnTo>
                    <a:pt x="487" y="401"/>
                  </a:lnTo>
                  <a:lnTo>
                    <a:pt x="483" y="403"/>
                  </a:lnTo>
                  <a:lnTo>
                    <a:pt x="479" y="401"/>
                  </a:lnTo>
                  <a:lnTo>
                    <a:pt x="473" y="403"/>
                  </a:lnTo>
                  <a:lnTo>
                    <a:pt x="471" y="401"/>
                  </a:lnTo>
                  <a:lnTo>
                    <a:pt x="469" y="400"/>
                  </a:lnTo>
                  <a:lnTo>
                    <a:pt x="467" y="400"/>
                  </a:lnTo>
                  <a:lnTo>
                    <a:pt x="465" y="398"/>
                  </a:lnTo>
                  <a:lnTo>
                    <a:pt x="460" y="396"/>
                  </a:lnTo>
                  <a:lnTo>
                    <a:pt x="458" y="392"/>
                  </a:lnTo>
                  <a:lnTo>
                    <a:pt x="454" y="388"/>
                  </a:lnTo>
                  <a:lnTo>
                    <a:pt x="456" y="384"/>
                  </a:lnTo>
                  <a:lnTo>
                    <a:pt x="454" y="382"/>
                  </a:lnTo>
                  <a:lnTo>
                    <a:pt x="456" y="382"/>
                  </a:lnTo>
                  <a:lnTo>
                    <a:pt x="454" y="380"/>
                  </a:lnTo>
                  <a:lnTo>
                    <a:pt x="454" y="378"/>
                  </a:lnTo>
                  <a:lnTo>
                    <a:pt x="454" y="376"/>
                  </a:lnTo>
                  <a:lnTo>
                    <a:pt x="454" y="375"/>
                  </a:lnTo>
                  <a:lnTo>
                    <a:pt x="456" y="375"/>
                  </a:lnTo>
                  <a:lnTo>
                    <a:pt x="458" y="371"/>
                  </a:lnTo>
                  <a:lnTo>
                    <a:pt x="458" y="369"/>
                  </a:lnTo>
                  <a:lnTo>
                    <a:pt x="460" y="367"/>
                  </a:lnTo>
                  <a:lnTo>
                    <a:pt x="462" y="367"/>
                  </a:lnTo>
                  <a:lnTo>
                    <a:pt x="463" y="367"/>
                  </a:lnTo>
                  <a:lnTo>
                    <a:pt x="462" y="363"/>
                  </a:lnTo>
                  <a:lnTo>
                    <a:pt x="462" y="359"/>
                  </a:lnTo>
                  <a:lnTo>
                    <a:pt x="462" y="357"/>
                  </a:lnTo>
                  <a:lnTo>
                    <a:pt x="460" y="355"/>
                  </a:lnTo>
                  <a:lnTo>
                    <a:pt x="454" y="355"/>
                  </a:lnTo>
                  <a:lnTo>
                    <a:pt x="452" y="352"/>
                  </a:lnTo>
                  <a:lnTo>
                    <a:pt x="450" y="348"/>
                  </a:lnTo>
                  <a:lnTo>
                    <a:pt x="450" y="344"/>
                  </a:lnTo>
                  <a:lnTo>
                    <a:pt x="446" y="344"/>
                  </a:lnTo>
                  <a:lnTo>
                    <a:pt x="446" y="340"/>
                  </a:lnTo>
                  <a:lnTo>
                    <a:pt x="446" y="338"/>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08" name="Freeform 296"/>
            <p:cNvSpPr>
              <a:spLocks/>
            </p:cNvSpPr>
            <p:nvPr/>
          </p:nvSpPr>
          <p:spPr bwMode="auto">
            <a:xfrm>
              <a:off x="1991" y="2475"/>
              <a:ext cx="392" cy="403"/>
            </a:xfrm>
            <a:custGeom>
              <a:avLst/>
              <a:gdLst>
                <a:gd name="T0" fmla="*/ 329 w 392"/>
                <a:gd name="T1" fmla="*/ 397 h 403"/>
                <a:gd name="T2" fmla="*/ 332 w 392"/>
                <a:gd name="T3" fmla="*/ 380 h 403"/>
                <a:gd name="T4" fmla="*/ 325 w 392"/>
                <a:gd name="T5" fmla="*/ 365 h 403"/>
                <a:gd name="T6" fmla="*/ 329 w 392"/>
                <a:gd name="T7" fmla="*/ 357 h 403"/>
                <a:gd name="T8" fmla="*/ 327 w 392"/>
                <a:gd name="T9" fmla="*/ 342 h 403"/>
                <a:gd name="T10" fmla="*/ 327 w 392"/>
                <a:gd name="T11" fmla="*/ 326 h 403"/>
                <a:gd name="T12" fmla="*/ 317 w 392"/>
                <a:gd name="T13" fmla="*/ 315 h 403"/>
                <a:gd name="T14" fmla="*/ 302 w 392"/>
                <a:gd name="T15" fmla="*/ 320 h 403"/>
                <a:gd name="T16" fmla="*/ 296 w 392"/>
                <a:gd name="T17" fmla="*/ 332 h 403"/>
                <a:gd name="T18" fmla="*/ 296 w 392"/>
                <a:gd name="T19" fmla="*/ 328 h 403"/>
                <a:gd name="T20" fmla="*/ 298 w 392"/>
                <a:gd name="T21" fmla="*/ 305 h 403"/>
                <a:gd name="T22" fmla="*/ 313 w 392"/>
                <a:gd name="T23" fmla="*/ 282 h 403"/>
                <a:gd name="T24" fmla="*/ 332 w 392"/>
                <a:gd name="T25" fmla="*/ 267 h 403"/>
                <a:gd name="T26" fmla="*/ 340 w 392"/>
                <a:gd name="T27" fmla="*/ 257 h 403"/>
                <a:gd name="T28" fmla="*/ 340 w 392"/>
                <a:gd name="T29" fmla="*/ 249 h 403"/>
                <a:gd name="T30" fmla="*/ 354 w 392"/>
                <a:gd name="T31" fmla="*/ 255 h 403"/>
                <a:gd name="T32" fmla="*/ 363 w 392"/>
                <a:gd name="T33" fmla="*/ 244 h 403"/>
                <a:gd name="T34" fmla="*/ 363 w 392"/>
                <a:gd name="T35" fmla="*/ 226 h 403"/>
                <a:gd name="T36" fmla="*/ 363 w 392"/>
                <a:gd name="T37" fmla="*/ 215 h 403"/>
                <a:gd name="T38" fmla="*/ 371 w 392"/>
                <a:gd name="T39" fmla="*/ 190 h 403"/>
                <a:gd name="T40" fmla="*/ 386 w 392"/>
                <a:gd name="T41" fmla="*/ 167 h 403"/>
                <a:gd name="T42" fmla="*/ 382 w 392"/>
                <a:gd name="T43" fmla="*/ 149 h 403"/>
                <a:gd name="T44" fmla="*/ 371 w 392"/>
                <a:gd name="T45" fmla="*/ 149 h 403"/>
                <a:gd name="T46" fmla="*/ 361 w 392"/>
                <a:gd name="T47" fmla="*/ 142 h 403"/>
                <a:gd name="T48" fmla="*/ 348 w 392"/>
                <a:gd name="T49" fmla="*/ 142 h 403"/>
                <a:gd name="T50" fmla="*/ 338 w 392"/>
                <a:gd name="T51" fmla="*/ 138 h 403"/>
                <a:gd name="T52" fmla="*/ 332 w 392"/>
                <a:gd name="T53" fmla="*/ 136 h 403"/>
                <a:gd name="T54" fmla="*/ 327 w 392"/>
                <a:gd name="T55" fmla="*/ 123 h 403"/>
                <a:gd name="T56" fmla="*/ 311 w 392"/>
                <a:gd name="T57" fmla="*/ 117 h 403"/>
                <a:gd name="T58" fmla="*/ 298 w 392"/>
                <a:gd name="T59" fmla="*/ 113 h 403"/>
                <a:gd name="T60" fmla="*/ 286 w 392"/>
                <a:gd name="T61" fmla="*/ 115 h 403"/>
                <a:gd name="T62" fmla="*/ 281 w 392"/>
                <a:gd name="T63" fmla="*/ 107 h 403"/>
                <a:gd name="T64" fmla="*/ 275 w 392"/>
                <a:gd name="T65" fmla="*/ 101 h 403"/>
                <a:gd name="T66" fmla="*/ 267 w 392"/>
                <a:gd name="T67" fmla="*/ 94 h 403"/>
                <a:gd name="T68" fmla="*/ 265 w 392"/>
                <a:gd name="T69" fmla="*/ 84 h 403"/>
                <a:gd name="T70" fmla="*/ 263 w 392"/>
                <a:gd name="T71" fmla="*/ 76 h 403"/>
                <a:gd name="T72" fmla="*/ 263 w 392"/>
                <a:gd name="T73" fmla="*/ 69 h 403"/>
                <a:gd name="T74" fmla="*/ 256 w 392"/>
                <a:gd name="T75" fmla="*/ 78 h 403"/>
                <a:gd name="T76" fmla="*/ 240 w 392"/>
                <a:gd name="T77" fmla="*/ 80 h 403"/>
                <a:gd name="T78" fmla="*/ 240 w 392"/>
                <a:gd name="T79" fmla="*/ 73 h 403"/>
                <a:gd name="T80" fmla="*/ 240 w 392"/>
                <a:gd name="T81" fmla="*/ 61 h 403"/>
                <a:gd name="T82" fmla="*/ 234 w 392"/>
                <a:gd name="T83" fmla="*/ 55 h 403"/>
                <a:gd name="T84" fmla="*/ 225 w 392"/>
                <a:gd name="T85" fmla="*/ 53 h 403"/>
                <a:gd name="T86" fmla="*/ 221 w 392"/>
                <a:gd name="T87" fmla="*/ 48 h 403"/>
                <a:gd name="T88" fmla="*/ 213 w 392"/>
                <a:gd name="T89" fmla="*/ 44 h 403"/>
                <a:gd name="T90" fmla="*/ 209 w 392"/>
                <a:gd name="T91" fmla="*/ 42 h 403"/>
                <a:gd name="T92" fmla="*/ 206 w 392"/>
                <a:gd name="T93" fmla="*/ 26 h 403"/>
                <a:gd name="T94" fmla="*/ 196 w 392"/>
                <a:gd name="T95" fmla="*/ 25 h 403"/>
                <a:gd name="T96" fmla="*/ 188 w 392"/>
                <a:gd name="T97" fmla="*/ 25 h 403"/>
                <a:gd name="T98" fmla="*/ 183 w 392"/>
                <a:gd name="T99" fmla="*/ 17 h 403"/>
                <a:gd name="T100" fmla="*/ 183 w 392"/>
                <a:gd name="T101" fmla="*/ 0 h 403"/>
                <a:gd name="T102" fmla="*/ 154 w 392"/>
                <a:gd name="T103" fmla="*/ 3 h 403"/>
                <a:gd name="T104" fmla="*/ 144 w 392"/>
                <a:gd name="T105" fmla="*/ 17 h 403"/>
                <a:gd name="T106" fmla="*/ 138 w 392"/>
                <a:gd name="T107" fmla="*/ 40 h 403"/>
                <a:gd name="T108" fmla="*/ 138 w 392"/>
                <a:gd name="T109" fmla="*/ 51 h 403"/>
                <a:gd name="T110" fmla="*/ 133 w 392"/>
                <a:gd name="T111" fmla="*/ 57 h 403"/>
                <a:gd name="T112" fmla="*/ 108 w 392"/>
                <a:gd name="T113" fmla="*/ 69 h 403"/>
                <a:gd name="T114" fmla="*/ 75 w 392"/>
                <a:gd name="T115" fmla="*/ 86 h 403"/>
                <a:gd name="T116" fmla="*/ 85 w 392"/>
                <a:gd name="T117" fmla="*/ 98 h 403"/>
                <a:gd name="T118" fmla="*/ 56 w 392"/>
                <a:gd name="T119" fmla="*/ 99 h 403"/>
                <a:gd name="T120" fmla="*/ 25 w 392"/>
                <a:gd name="T121" fmla="*/ 94 h 403"/>
                <a:gd name="T122" fmla="*/ 21 w 392"/>
                <a:gd name="T123" fmla="*/ 76 h 403"/>
                <a:gd name="T124" fmla="*/ 12 w 392"/>
                <a:gd name="T125" fmla="*/ 71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 h="403">
                  <a:moveTo>
                    <a:pt x="313" y="403"/>
                  </a:moveTo>
                  <a:lnTo>
                    <a:pt x="319" y="401"/>
                  </a:lnTo>
                  <a:lnTo>
                    <a:pt x="323" y="403"/>
                  </a:lnTo>
                  <a:lnTo>
                    <a:pt x="325" y="401"/>
                  </a:lnTo>
                  <a:lnTo>
                    <a:pt x="327" y="399"/>
                  </a:lnTo>
                  <a:lnTo>
                    <a:pt x="329" y="397"/>
                  </a:lnTo>
                  <a:lnTo>
                    <a:pt x="332" y="397"/>
                  </a:lnTo>
                  <a:lnTo>
                    <a:pt x="336" y="393"/>
                  </a:lnTo>
                  <a:lnTo>
                    <a:pt x="334" y="392"/>
                  </a:lnTo>
                  <a:lnTo>
                    <a:pt x="338" y="388"/>
                  </a:lnTo>
                  <a:lnTo>
                    <a:pt x="336" y="384"/>
                  </a:lnTo>
                  <a:lnTo>
                    <a:pt x="332" y="380"/>
                  </a:lnTo>
                  <a:lnTo>
                    <a:pt x="332" y="378"/>
                  </a:lnTo>
                  <a:lnTo>
                    <a:pt x="330" y="376"/>
                  </a:lnTo>
                  <a:lnTo>
                    <a:pt x="330" y="368"/>
                  </a:lnTo>
                  <a:lnTo>
                    <a:pt x="327" y="368"/>
                  </a:lnTo>
                  <a:lnTo>
                    <a:pt x="327" y="367"/>
                  </a:lnTo>
                  <a:lnTo>
                    <a:pt x="325" y="365"/>
                  </a:lnTo>
                  <a:lnTo>
                    <a:pt x="323" y="365"/>
                  </a:lnTo>
                  <a:lnTo>
                    <a:pt x="323" y="361"/>
                  </a:lnTo>
                  <a:lnTo>
                    <a:pt x="323" y="357"/>
                  </a:lnTo>
                  <a:lnTo>
                    <a:pt x="325" y="357"/>
                  </a:lnTo>
                  <a:lnTo>
                    <a:pt x="327" y="357"/>
                  </a:lnTo>
                  <a:lnTo>
                    <a:pt x="329" y="357"/>
                  </a:lnTo>
                  <a:lnTo>
                    <a:pt x="330" y="355"/>
                  </a:lnTo>
                  <a:lnTo>
                    <a:pt x="334" y="351"/>
                  </a:lnTo>
                  <a:lnTo>
                    <a:pt x="332" y="347"/>
                  </a:lnTo>
                  <a:lnTo>
                    <a:pt x="332" y="345"/>
                  </a:lnTo>
                  <a:lnTo>
                    <a:pt x="329" y="342"/>
                  </a:lnTo>
                  <a:lnTo>
                    <a:pt x="327" y="342"/>
                  </a:lnTo>
                  <a:lnTo>
                    <a:pt x="329" y="336"/>
                  </a:lnTo>
                  <a:lnTo>
                    <a:pt x="323" y="334"/>
                  </a:lnTo>
                  <a:lnTo>
                    <a:pt x="325" y="332"/>
                  </a:lnTo>
                  <a:lnTo>
                    <a:pt x="325" y="330"/>
                  </a:lnTo>
                  <a:lnTo>
                    <a:pt x="327" y="328"/>
                  </a:lnTo>
                  <a:lnTo>
                    <a:pt x="327" y="326"/>
                  </a:lnTo>
                  <a:lnTo>
                    <a:pt x="327" y="324"/>
                  </a:lnTo>
                  <a:lnTo>
                    <a:pt x="325" y="322"/>
                  </a:lnTo>
                  <a:lnTo>
                    <a:pt x="327" y="317"/>
                  </a:lnTo>
                  <a:lnTo>
                    <a:pt x="323" y="315"/>
                  </a:lnTo>
                  <a:lnTo>
                    <a:pt x="319" y="315"/>
                  </a:lnTo>
                  <a:lnTo>
                    <a:pt x="317" y="315"/>
                  </a:lnTo>
                  <a:lnTo>
                    <a:pt x="313" y="315"/>
                  </a:lnTo>
                  <a:lnTo>
                    <a:pt x="311" y="317"/>
                  </a:lnTo>
                  <a:lnTo>
                    <a:pt x="309" y="317"/>
                  </a:lnTo>
                  <a:lnTo>
                    <a:pt x="307" y="319"/>
                  </a:lnTo>
                  <a:lnTo>
                    <a:pt x="306" y="317"/>
                  </a:lnTo>
                  <a:lnTo>
                    <a:pt x="302" y="320"/>
                  </a:lnTo>
                  <a:lnTo>
                    <a:pt x="300" y="322"/>
                  </a:lnTo>
                  <a:lnTo>
                    <a:pt x="302" y="322"/>
                  </a:lnTo>
                  <a:lnTo>
                    <a:pt x="300" y="326"/>
                  </a:lnTo>
                  <a:lnTo>
                    <a:pt x="302" y="326"/>
                  </a:lnTo>
                  <a:lnTo>
                    <a:pt x="298" y="332"/>
                  </a:lnTo>
                  <a:lnTo>
                    <a:pt x="296" y="332"/>
                  </a:lnTo>
                  <a:lnTo>
                    <a:pt x="294" y="332"/>
                  </a:lnTo>
                  <a:lnTo>
                    <a:pt x="292" y="334"/>
                  </a:lnTo>
                  <a:lnTo>
                    <a:pt x="288" y="332"/>
                  </a:lnTo>
                  <a:lnTo>
                    <a:pt x="290" y="328"/>
                  </a:lnTo>
                  <a:lnTo>
                    <a:pt x="294" y="328"/>
                  </a:lnTo>
                  <a:lnTo>
                    <a:pt x="296" y="328"/>
                  </a:lnTo>
                  <a:lnTo>
                    <a:pt x="296" y="324"/>
                  </a:lnTo>
                  <a:lnTo>
                    <a:pt x="298" y="319"/>
                  </a:lnTo>
                  <a:lnTo>
                    <a:pt x="296" y="315"/>
                  </a:lnTo>
                  <a:lnTo>
                    <a:pt x="296" y="313"/>
                  </a:lnTo>
                  <a:lnTo>
                    <a:pt x="298" y="309"/>
                  </a:lnTo>
                  <a:lnTo>
                    <a:pt x="298" y="305"/>
                  </a:lnTo>
                  <a:lnTo>
                    <a:pt x="307" y="297"/>
                  </a:lnTo>
                  <a:lnTo>
                    <a:pt x="311" y="294"/>
                  </a:lnTo>
                  <a:lnTo>
                    <a:pt x="311" y="290"/>
                  </a:lnTo>
                  <a:lnTo>
                    <a:pt x="313" y="288"/>
                  </a:lnTo>
                  <a:lnTo>
                    <a:pt x="311" y="284"/>
                  </a:lnTo>
                  <a:lnTo>
                    <a:pt x="313" y="282"/>
                  </a:lnTo>
                  <a:lnTo>
                    <a:pt x="319" y="280"/>
                  </a:lnTo>
                  <a:lnTo>
                    <a:pt x="323" y="276"/>
                  </a:lnTo>
                  <a:lnTo>
                    <a:pt x="325" y="274"/>
                  </a:lnTo>
                  <a:lnTo>
                    <a:pt x="327" y="272"/>
                  </a:lnTo>
                  <a:lnTo>
                    <a:pt x="330" y="270"/>
                  </a:lnTo>
                  <a:lnTo>
                    <a:pt x="332" y="267"/>
                  </a:lnTo>
                  <a:lnTo>
                    <a:pt x="334" y="265"/>
                  </a:lnTo>
                  <a:lnTo>
                    <a:pt x="334" y="263"/>
                  </a:lnTo>
                  <a:lnTo>
                    <a:pt x="334" y="261"/>
                  </a:lnTo>
                  <a:lnTo>
                    <a:pt x="336" y="261"/>
                  </a:lnTo>
                  <a:lnTo>
                    <a:pt x="338" y="259"/>
                  </a:lnTo>
                  <a:lnTo>
                    <a:pt x="340" y="257"/>
                  </a:lnTo>
                  <a:lnTo>
                    <a:pt x="338" y="255"/>
                  </a:lnTo>
                  <a:lnTo>
                    <a:pt x="334" y="257"/>
                  </a:lnTo>
                  <a:lnTo>
                    <a:pt x="332" y="257"/>
                  </a:lnTo>
                  <a:lnTo>
                    <a:pt x="336" y="251"/>
                  </a:lnTo>
                  <a:lnTo>
                    <a:pt x="336" y="249"/>
                  </a:lnTo>
                  <a:lnTo>
                    <a:pt x="340" y="249"/>
                  </a:lnTo>
                  <a:lnTo>
                    <a:pt x="344" y="249"/>
                  </a:lnTo>
                  <a:lnTo>
                    <a:pt x="346" y="249"/>
                  </a:lnTo>
                  <a:lnTo>
                    <a:pt x="346" y="251"/>
                  </a:lnTo>
                  <a:lnTo>
                    <a:pt x="348" y="253"/>
                  </a:lnTo>
                  <a:lnTo>
                    <a:pt x="352" y="253"/>
                  </a:lnTo>
                  <a:lnTo>
                    <a:pt x="354" y="255"/>
                  </a:lnTo>
                  <a:lnTo>
                    <a:pt x="355" y="253"/>
                  </a:lnTo>
                  <a:lnTo>
                    <a:pt x="355" y="251"/>
                  </a:lnTo>
                  <a:lnTo>
                    <a:pt x="357" y="249"/>
                  </a:lnTo>
                  <a:lnTo>
                    <a:pt x="359" y="247"/>
                  </a:lnTo>
                  <a:lnTo>
                    <a:pt x="361" y="246"/>
                  </a:lnTo>
                  <a:lnTo>
                    <a:pt x="363" y="244"/>
                  </a:lnTo>
                  <a:lnTo>
                    <a:pt x="359" y="238"/>
                  </a:lnTo>
                  <a:lnTo>
                    <a:pt x="361" y="236"/>
                  </a:lnTo>
                  <a:lnTo>
                    <a:pt x="361" y="234"/>
                  </a:lnTo>
                  <a:lnTo>
                    <a:pt x="361" y="232"/>
                  </a:lnTo>
                  <a:lnTo>
                    <a:pt x="361" y="230"/>
                  </a:lnTo>
                  <a:lnTo>
                    <a:pt x="363" y="226"/>
                  </a:lnTo>
                  <a:lnTo>
                    <a:pt x="363" y="224"/>
                  </a:lnTo>
                  <a:lnTo>
                    <a:pt x="363" y="222"/>
                  </a:lnTo>
                  <a:lnTo>
                    <a:pt x="363" y="221"/>
                  </a:lnTo>
                  <a:lnTo>
                    <a:pt x="365" y="221"/>
                  </a:lnTo>
                  <a:lnTo>
                    <a:pt x="365" y="217"/>
                  </a:lnTo>
                  <a:lnTo>
                    <a:pt x="363" y="215"/>
                  </a:lnTo>
                  <a:lnTo>
                    <a:pt x="363" y="213"/>
                  </a:lnTo>
                  <a:lnTo>
                    <a:pt x="363" y="209"/>
                  </a:lnTo>
                  <a:lnTo>
                    <a:pt x="367" y="201"/>
                  </a:lnTo>
                  <a:lnTo>
                    <a:pt x="369" y="197"/>
                  </a:lnTo>
                  <a:lnTo>
                    <a:pt x="371" y="197"/>
                  </a:lnTo>
                  <a:lnTo>
                    <a:pt x="371" y="190"/>
                  </a:lnTo>
                  <a:lnTo>
                    <a:pt x="375" y="182"/>
                  </a:lnTo>
                  <a:lnTo>
                    <a:pt x="375" y="176"/>
                  </a:lnTo>
                  <a:lnTo>
                    <a:pt x="379" y="174"/>
                  </a:lnTo>
                  <a:lnTo>
                    <a:pt x="380" y="172"/>
                  </a:lnTo>
                  <a:lnTo>
                    <a:pt x="382" y="169"/>
                  </a:lnTo>
                  <a:lnTo>
                    <a:pt x="386" y="167"/>
                  </a:lnTo>
                  <a:lnTo>
                    <a:pt x="390" y="159"/>
                  </a:lnTo>
                  <a:lnTo>
                    <a:pt x="392" y="157"/>
                  </a:lnTo>
                  <a:lnTo>
                    <a:pt x="392" y="155"/>
                  </a:lnTo>
                  <a:lnTo>
                    <a:pt x="390" y="153"/>
                  </a:lnTo>
                  <a:lnTo>
                    <a:pt x="382" y="151"/>
                  </a:lnTo>
                  <a:lnTo>
                    <a:pt x="382" y="149"/>
                  </a:lnTo>
                  <a:lnTo>
                    <a:pt x="380" y="149"/>
                  </a:lnTo>
                  <a:lnTo>
                    <a:pt x="379" y="149"/>
                  </a:lnTo>
                  <a:lnTo>
                    <a:pt x="377" y="148"/>
                  </a:lnTo>
                  <a:lnTo>
                    <a:pt x="375" y="149"/>
                  </a:lnTo>
                  <a:lnTo>
                    <a:pt x="373" y="149"/>
                  </a:lnTo>
                  <a:lnTo>
                    <a:pt x="371" y="149"/>
                  </a:lnTo>
                  <a:lnTo>
                    <a:pt x="365" y="148"/>
                  </a:lnTo>
                  <a:lnTo>
                    <a:pt x="365" y="146"/>
                  </a:lnTo>
                  <a:lnTo>
                    <a:pt x="363" y="144"/>
                  </a:lnTo>
                  <a:lnTo>
                    <a:pt x="365" y="142"/>
                  </a:lnTo>
                  <a:lnTo>
                    <a:pt x="363" y="144"/>
                  </a:lnTo>
                  <a:lnTo>
                    <a:pt x="361" y="142"/>
                  </a:lnTo>
                  <a:lnTo>
                    <a:pt x="357" y="142"/>
                  </a:lnTo>
                  <a:lnTo>
                    <a:pt x="355" y="144"/>
                  </a:lnTo>
                  <a:lnTo>
                    <a:pt x="354" y="144"/>
                  </a:lnTo>
                  <a:lnTo>
                    <a:pt x="352" y="144"/>
                  </a:lnTo>
                  <a:lnTo>
                    <a:pt x="350" y="142"/>
                  </a:lnTo>
                  <a:lnTo>
                    <a:pt x="348" y="142"/>
                  </a:lnTo>
                  <a:lnTo>
                    <a:pt x="346" y="144"/>
                  </a:lnTo>
                  <a:lnTo>
                    <a:pt x="344" y="142"/>
                  </a:lnTo>
                  <a:lnTo>
                    <a:pt x="342" y="140"/>
                  </a:lnTo>
                  <a:lnTo>
                    <a:pt x="340" y="140"/>
                  </a:lnTo>
                  <a:lnTo>
                    <a:pt x="338" y="140"/>
                  </a:lnTo>
                  <a:lnTo>
                    <a:pt x="338" y="138"/>
                  </a:lnTo>
                  <a:lnTo>
                    <a:pt x="338" y="140"/>
                  </a:lnTo>
                  <a:lnTo>
                    <a:pt x="336" y="140"/>
                  </a:lnTo>
                  <a:lnTo>
                    <a:pt x="334" y="140"/>
                  </a:lnTo>
                  <a:lnTo>
                    <a:pt x="334" y="138"/>
                  </a:lnTo>
                  <a:lnTo>
                    <a:pt x="334" y="136"/>
                  </a:lnTo>
                  <a:lnTo>
                    <a:pt x="332" y="136"/>
                  </a:lnTo>
                  <a:lnTo>
                    <a:pt x="332" y="134"/>
                  </a:lnTo>
                  <a:lnTo>
                    <a:pt x="330" y="134"/>
                  </a:lnTo>
                  <a:lnTo>
                    <a:pt x="330" y="132"/>
                  </a:lnTo>
                  <a:lnTo>
                    <a:pt x="330" y="130"/>
                  </a:lnTo>
                  <a:lnTo>
                    <a:pt x="329" y="128"/>
                  </a:lnTo>
                  <a:lnTo>
                    <a:pt x="327" y="123"/>
                  </a:lnTo>
                  <a:lnTo>
                    <a:pt x="325" y="121"/>
                  </a:lnTo>
                  <a:lnTo>
                    <a:pt x="323" y="119"/>
                  </a:lnTo>
                  <a:lnTo>
                    <a:pt x="321" y="119"/>
                  </a:lnTo>
                  <a:lnTo>
                    <a:pt x="319" y="121"/>
                  </a:lnTo>
                  <a:lnTo>
                    <a:pt x="315" y="117"/>
                  </a:lnTo>
                  <a:lnTo>
                    <a:pt x="311" y="117"/>
                  </a:lnTo>
                  <a:lnTo>
                    <a:pt x="307" y="121"/>
                  </a:lnTo>
                  <a:lnTo>
                    <a:pt x="306" y="119"/>
                  </a:lnTo>
                  <a:lnTo>
                    <a:pt x="304" y="117"/>
                  </a:lnTo>
                  <a:lnTo>
                    <a:pt x="300" y="115"/>
                  </a:lnTo>
                  <a:lnTo>
                    <a:pt x="300" y="113"/>
                  </a:lnTo>
                  <a:lnTo>
                    <a:pt x="298" y="113"/>
                  </a:lnTo>
                  <a:lnTo>
                    <a:pt x="296" y="113"/>
                  </a:lnTo>
                  <a:lnTo>
                    <a:pt x="294" y="113"/>
                  </a:lnTo>
                  <a:lnTo>
                    <a:pt x="290" y="113"/>
                  </a:lnTo>
                  <a:lnTo>
                    <a:pt x="290" y="115"/>
                  </a:lnTo>
                  <a:lnTo>
                    <a:pt x="288" y="115"/>
                  </a:lnTo>
                  <a:lnTo>
                    <a:pt x="286" y="115"/>
                  </a:lnTo>
                  <a:lnTo>
                    <a:pt x="284" y="115"/>
                  </a:lnTo>
                  <a:lnTo>
                    <a:pt x="284" y="113"/>
                  </a:lnTo>
                  <a:lnTo>
                    <a:pt x="284" y="111"/>
                  </a:lnTo>
                  <a:lnTo>
                    <a:pt x="284" y="109"/>
                  </a:lnTo>
                  <a:lnTo>
                    <a:pt x="282" y="107"/>
                  </a:lnTo>
                  <a:lnTo>
                    <a:pt x="281" y="107"/>
                  </a:lnTo>
                  <a:lnTo>
                    <a:pt x="279" y="107"/>
                  </a:lnTo>
                  <a:lnTo>
                    <a:pt x="279" y="105"/>
                  </a:lnTo>
                  <a:lnTo>
                    <a:pt x="281" y="105"/>
                  </a:lnTo>
                  <a:lnTo>
                    <a:pt x="279" y="101"/>
                  </a:lnTo>
                  <a:lnTo>
                    <a:pt x="277" y="101"/>
                  </a:lnTo>
                  <a:lnTo>
                    <a:pt x="275" y="101"/>
                  </a:lnTo>
                  <a:lnTo>
                    <a:pt x="275" y="99"/>
                  </a:lnTo>
                  <a:lnTo>
                    <a:pt x="273" y="99"/>
                  </a:lnTo>
                  <a:lnTo>
                    <a:pt x="273" y="98"/>
                  </a:lnTo>
                  <a:lnTo>
                    <a:pt x="271" y="96"/>
                  </a:lnTo>
                  <a:lnTo>
                    <a:pt x="269" y="94"/>
                  </a:lnTo>
                  <a:lnTo>
                    <a:pt x="267" y="94"/>
                  </a:lnTo>
                  <a:lnTo>
                    <a:pt x="265" y="94"/>
                  </a:lnTo>
                  <a:lnTo>
                    <a:pt x="263" y="94"/>
                  </a:lnTo>
                  <a:lnTo>
                    <a:pt x="263" y="92"/>
                  </a:lnTo>
                  <a:lnTo>
                    <a:pt x="263" y="88"/>
                  </a:lnTo>
                  <a:lnTo>
                    <a:pt x="265" y="86"/>
                  </a:lnTo>
                  <a:lnTo>
                    <a:pt x="265" y="84"/>
                  </a:lnTo>
                  <a:lnTo>
                    <a:pt x="263" y="84"/>
                  </a:lnTo>
                  <a:lnTo>
                    <a:pt x="263" y="82"/>
                  </a:lnTo>
                  <a:lnTo>
                    <a:pt x="261" y="82"/>
                  </a:lnTo>
                  <a:lnTo>
                    <a:pt x="261" y="80"/>
                  </a:lnTo>
                  <a:lnTo>
                    <a:pt x="263" y="78"/>
                  </a:lnTo>
                  <a:lnTo>
                    <a:pt x="263" y="76"/>
                  </a:lnTo>
                  <a:lnTo>
                    <a:pt x="263" y="74"/>
                  </a:lnTo>
                  <a:lnTo>
                    <a:pt x="263" y="73"/>
                  </a:lnTo>
                  <a:lnTo>
                    <a:pt x="265" y="73"/>
                  </a:lnTo>
                  <a:lnTo>
                    <a:pt x="267" y="71"/>
                  </a:lnTo>
                  <a:lnTo>
                    <a:pt x="265" y="71"/>
                  </a:lnTo>
                  <a:lnTo>
                    <a:pt x="263" y="69"/>
                  </a:lnTo>
                  <a:lnTo>
                    <a:pt x="261" y="71"/>
                  </a:lnTo>
                  <a:lnTo>
                    <a:pt x="261" y="73"/>
                  </a:lnTo>
                  <a:lnTo>
                    <a:pt x="259" y="73"/>
                  </a:lnTo>
                  <a:lnTo>
                    <a:pt x="257" y="76"/>
                  </a:lnTo>
                  <a:lnTo>
                    <a:pt x="257" y="78"/>
                  </a:lnTo>
                  <a:lnTo>
                    <a:pt x="256" y="78"/>
                  </a:lnTo>
                  <a:lnTo>
                    <a:pt x="256" y="80"/>
                  </a:lnTo>
                  <a:lnTo>
                    <a:pt x="254" y="80"/>
                  </a:lnTo>
                  <a:lnTo>
                    <a:pt x="248" y="82"/>
                  </a:lnTo>
                  <a:lnTo>
                    <a:pt x="244" y="80"/>
                  </a:lnTo>
                  <a:lnTo>
                    <a:pt x="242" y="80"/>
                  </a:lnTo>
                  <a:lnTo>
                    <a:pt x="240" y="80"/>
                  </a:lnTo>
                  <a:lnTo>
                    <a:pt x="238" y="80"/>
                  </a:lnTo>
                  <a:lnTo>
                    <a:pt x="236" y="78"/>
                  </a:lnTo>
                  <a:lnTo>
                    <a:pt x="236" y="76"/>
                  </a:lnTo>
                  <a:lnTo>
                    <a:pt x="236" y="74"/>
                  </a:lnTo>
                  <a:lnTo>
                    <a:pt x="238" y="74"/>
                  </a:lnTo>
                  <a:lnTo>
                    <a:pt x="240" y="73"/>
                  </a:lnTo>
                  <a:lnTo>
                    <a:pt x="238" y="71"/>
                  </a:lnTo>
                  <a:lnTo>
                    <a:pt x="238" y="69"/>
                  </a:lnTo>
                  <a:lnTo>
                    <a:pt x="236" y="69"/>
                  </a:lnTo>
                  <a:lnTo>
                    <a:pt x="238" y="67"/>
                  </a:lnTo>
                  <a:lnTo>
                    <a:pt x="238" y="65"/>
                  </a:lnTo>
                  <a:lnTo>
                    <a:pt x="240" y="61"/>
                  </a:lnTo>
                  <a:lnTo>
                    <a:pt x="238" y="59"/>
                  </a:lnTo>
                  <a:lnTo>
                    <a:pt x="238" y="61"/>
                  </a:lnTo>
                  <a:lnTo>
                    <a:pt x="236" y="59"/>
                  </a:lnTo>
                  <a:lnTo>
                    <a:pt x="236" y="57"/>
                  </a:lnTo>
                  <a:lnTo>
                    <a:pt x="234" y="57"/>
                  </a:lnTo>
                  <a:lnTo>
                    <a:pt x="234" y="55"/>
                  </a:lnTo>
                  <a:lnTo>
                    <a:pt x="234" y="53"/>
                  </a:lnTo>
                  <a:lnTo>
                    <a:pt x="232" y="53"/>
                  </a:lnTo>
                  <a:lnTo>
                    <a:pt x="231" y="53"/>
                  </a:lnTo>
                  <a:lnTo>
                    <a:pt x="229" y="55"/>
                  </a:lnTo>
                  <a:lnTo>
                    <a:pt x="227" y="53"/>
                  </a:lnTo>
                  <a:lnTo>
                    <a:pt x="225" y="53"/>
                  </a:lnTo>
                  <a:lnTo>
                    <a:pt x="223" y="53"/>
                  </a:lnTo>
                  <a:lnTo>
                    <a:pt x="221" y="55"/>
                  </a:lnTo>
                  <a:lnTo>
                    <a:pt x="221" y="53"/>
                  </a:lnTo>
                  <a:lnTo>
                    <a:pt x="219" y="51"/>
                  </a:lnTo>
                  <a:lnTo>
                    <a:pt x="221" y="51"/>
                  </a:lnTo>
                  <a:lnTo>
                    <a:pt x="221" y="48"/>
                  </a:lnTo>
                  <a:lnTo>
                    <a:pt x="221" y="46"/>
                  </a:lnTo>
                  <a:lnTo>
                    <a:pt x="219" y="46"/>
                  </a:lnTo>
                  <a:lnTo>
                    <a:pt x="219" y="42"/>
                  </a:lnTo>
                  <a:lnTo>
                    <a:pt x="217" y="44"/>
                  </a:lnTo>
                  <a:lnTo>
                    <a:pt x="217" y="42"/>
                  </a:lnTo>
                  <a:lnTo>
                    <a:pt x="213" y="44"/>
                  </a:lnTo>
                  <a:lnTo>
                    <a:pt x="213" y="42"/>
                  </a:lnTo>
                  <a:lnTo>
                    <a:pt x="215" y="42"/>
                  </a:lnTo>
                  <a:lnTo>
                    <a:pt x="213" y="40"/>
                  </a:lnTo>
                  <a:lnTo>
                    <a:pt x="213" y="42"/>
                  </a:lnTo>
                  <a:lnTo>
                    <a:pt x="211" y="42"/>
                  </a:lnTo>
                  <a:lnTo>
                    <a:pt x="209" y="42"/>
                  </a:lnTo>
                  <a:lnTo>
                    <a:pt x="206" y="40"/>
                  </a:lnTo>
                  <a:lnTo>
                    <a:pt x="206" y="38"/>
                  </a:lnTo>
                  <a:lnTo>
                    <a:pt x="206" y="36"/>
                  </a:lnTo>
                  <a:lnTo>
                    <a:pt x="206" y="30"/>
                  </a:lnTo>
                  <a:lnTo>
                    <a:pt x="206" y="28"/>
                  </a:lnTo>
                  <a:lnTo>
                    <a:pt x="206" y="26"/>
                  </a:lnTo>
                  <a:lnTo>
                    <a:pt x="204" y="26"/>
                  </a:lnTo>
                  <a:lnTo>
                    <a:pt x="204" y="23"/>
                  </a:lnTo>
                  <a:lnTo>
                    <a:pt x="202" y="23"/>
                  </a:lnTo>
                  <a:lnTo>
                    <a:pt x="200" y="23"/>
                  </a:lnTo>
                  <a:lnTo>
                    <a:pt x="198" y="23"/>
                  </a:lnTo>
                  <a:lnTo>
                    <a:pt x="196" y="25"/>
                  </a:lnTo>
                  <a:lnTo>
                    <a:pt x="194" y="25"/>
                  </a:lnTo>
                  <a:lnTo>
                    <a:pt x="194" y="26"/>
                  </a:lnTo>
                  <a:lnTo>
                    <a:pt x="192" y="28"/>
                  </a:lnTo>
                  <a:lnTo>
                    <a:pt x="192" y="26"/>
                  </a:lnTo>
                  <a:lnTo>
                    <a:pt x="190" y="25"/>
                  </a:lnTo>
                  <a:lnTo>
                    <a:pt x="188" y="25"/>
                  </a:lnTo>
                  <a:lnTo>
                    <a:pt x="188" y="23"/>
                  </a:lnTo>
                  <a:lnTo>
                    <a:pt x="186" y="21"/>
                  </a:lnTo>
                  <a:lnTo>
                    <a:pt x="186" y="19"/>
                  </a:lnTo>
                  <a:lnTo>
                    <a:pt x="184" y="19"/>
                  </a:lnTo>
                  <a:lnTo>
                    <a:pt x="183" y="19"/>
                  </a:lnTo>
                  <a:lnTo>
                    <a:pt x="183" y="17"/>
                  </a:lnTo>
                  <a:lnTo>
                    <a:pt x="183" y="11"/>
                  </a:lnTo>
                  <a:lnTo>
                    <a:pt x="184" y="9"/>
                  </a:lnTo>
                  <a:lnTo>
                    <a:pt x="183" y="7"/>
                  </a:lnTo>
                  <a:lnTo>
                    <a:pt x="183" y="5"/>
                  </a:lnTo>
                  <a:lnTo>
                    <a:pt x="183" y="1"/>
                  </a:lnTo>
                  <a:lnTo>
                    <a:pt x="183" y="0"/>
                  </a:lnTo>
                  <a:lnTo>
                    <a:pt x="177" y="1"/>
                  </a:lnTo>
                  <a:lnTo>
                    <a:pt x="167" y="1"/>
                  </a:lnTo>
                  <a:lnTo>
                    <a:pt x="163" y="3"/>
                  </a:lnTo>
                  <a:lnTo>
                    <a:pt x="158" y="3"/>
                  </a:lnTo>
                  <a:lnTo>
                    <a:pt x="156" y="3"/>
                  </a:lnTo>
                  <a:lnTo>
                    <a:pt x="154" y="3"/>
                  </a:lnTo>
                  <a:lnTo>
                    <a:pt x="150" y="3"/>
                  </a:lnTo>
                  <a:lnTo>
                    <a:pt x="148" y="7"/>
                  </a:lnTo>
                  <a:lnTo>
                    <a:pt x="146" y="9"/>
                  </a:lnTo>
                  <a:lnTo>
                    <a:pt x="144" y="9"/>
                  </a:lnTo>
                  <a:lnTo>
                    <a:pt x="144" y="15"/>
                  </a:lnTo>
                  <a:lnTo>
                    <a:pt x="144" y="17"/>
                  </a:lnTo>
                  <a:lnTo>
                    <a:pt x="140" y="19"/>
                  </a:lnTo>
                  <a:lnTo>
                    <a:pt x="142" y="25"/>
                  </a:lnTo>
                  <a:lnTo>
                    <a:pt x="140" y="28"/>
                  </a:lnTo>
                  <a:lnTo>
                    <a:pt x="142" y="30"/>
                  </a:lnTo>
                  <a:lnTo>
                    <a:pt x="140" y="30"/>
                  </a:lnTo>
                  <a:lnTo>
                    <a:pt x="138" y="40"/>
                  </a:lnTo>
                  <a:lnTo>
                    <a:pt x="140" y="42"/>
                  </a:lnTo>
                  <a:lnTo>
                    <a:pt x="138" y="42"/>
                  </a:lnTo>
                  <a:lnTo>
                    <a:pt x="138" y="46"/>
                  </a:lnTo>
                  <a:lnTo>
                    <a:pt x="136" y="48"/>
                  </a:lnTo>
                  <a:lnTo>
                    <a:pt x="138" y="50"/>
                  </a:lnTo>
                  <a:lnTo>
                    <a:pt x="138" y="51"/>
                  </a:lnTo>
                  <a:lnTo>
                    <a:pt x="142" y="51"/>
                  </a:lnTo>
                  <a:lnTo>
                    <a:pt x="140" y="55"/>
                  </a:lnTo>
                  <a:lnTo>
                    <a:pt x="136" y="51"/>
                  </a:lnTo>
                  <a:lnTo>
                    <a:pt x="134" y="53"/>
                  </a:lnTo>
                  <a:lnTo>
                    <a:pt x="134" y="55"/>
                  </a:lnTo>
                  <a:lnTo>
                    <a:pt x="133" y="57"/>
                  </a:lnTo>
                  <a:lnTo>
                    <a:pt x="129" y="61"/>
                  </a:lnTo>
                  <a:lnTo>
                    <a:pt x="127" y="63"/>
                  </a:lnTo>
                  <a:lnTo>
                    <a:pt x="121" y="65"/>
                  </a:lnTo>
                  <a:lnTo>
                    <a:pt x="115" y="69"/>
                  </a:lnTo>
                  <a:lnTo>
                    <a:pt x="111" y="69"/>
                  </a:lnTo>
                  <a:lnTo>
                    <a:pt x="108" y="69"/>
                  </a:lnTo>
                  <a:lnTo>
                    <a:pt x="106" y="69"/>
                  </a:lnTo>
                  <a:lnTo>
                    <a:pt x="96" y="71"/>
                  </a:lnTo>
                  <a:lnTo>
                    <a:pt x="92" y="73"/>
                  </a:lnTo>
                  <a:lnTo>
                    <a:pt x="79" y="78"/>
                  </a:lnTo>
                  <a:lnTo>
                    <a:pt x="79" y="82"/>
                  </a:lnTo>
                  <a:lnTo>
                    <a:pt x="75" y="86"/>
                  </a:lnTo>
                  <a:lnTo>
                    <a:pt x="73" y="90"/>
                  </a:lnTo>
                  <a:lnTo>
                    <a:pt x="75" y="92"/>
                  </a:lnTo>
                  <a:lnTo>
                    <a:pt x="77" y="94"/>
                  </a:lnTo>
                  <a:lnTo>
                    <a:pt x="83" y="94"/>
                  </a:lnTo>
                  <a:lnTo>
                    <a:pt x="86" y="96"/>
                  </a:lnTo>
                  <a:lnTo>
                    <a:pt x="85" y="98"/>
                  </a:lnTo>
                  <a:lnTo>
                    <a:pt x="81" y="98"/>
                  </a:lnTo>
                  <a:lnTo>
                    <a:pt x="79" y="96"/>
                  </a:lnTo>
                  <a:lnTo>
                    <a:pt x="75" y="98"/>
                  </a:lnTo>
                  <a:lnTo>
                    <a:pt x="67" y="101"/>
                  </a:lnTo>
                  <a:lnTo>
                    <a:pt x="58" y="103"/>
                  </a:lnTo>
                  <a:lnTo>
                    <a:pt x="56" y="99"/>
                  </a:lnTo>
                  <a:lnTo>
                    <a:pt x="52" y="98"/>
                  </a:lnTo>
                  <a:lnTo>
                    <a:pt x="44" y="96"/>
                  </a:lnTo>
                  <a:lnTo>
                    <a:pt x="36" y="94"/>
                  </a:lnTo>
                  <a:lnTo>
                    <a:pt x="33" y="92"/>
                  </a:lnTo>
                  <a:lnTo>
                    <a:pt x="27" y="92"/>
                  </a:lnTo>
                  <a:lnTo>
                    <a:pt x="25" y="94"/>
                  </a:lnTo>
                  <a:lnTo>
                    <a:pt x="23" y="94"/>
                  </a:lnTo>
                  <a:lnTo>
                    <a:pt x="23" y="90"/>
                  </a:lnTo>
                  <a:lnTo>
                    <a:pt x="23" y="86"/>
                  </a:lnTo>
                  <a:lnTo>
                    <a:pt x="19" y="82"/>
                  </a:lnTo>
                  <a:lnTo>
                    <a:pt x="19" y="80"/>
                  </a:lnTo>
                  <a:lnTo>
                    <a:pt x="21" y="76"/>
                  </a:lnTo>
                  <a:lnTo>
                    <a:pt x="23" y="76"/>
                  </a:lnTo>
                  <a:lnTo>
                    <a:pt x="23" y="73"/>
                  </a:lnTo>
                  <a:lnTo>
                    <a:pt x="21" y="71"/>
                  </a:lnTo>
                  <a:lnTo>
                    <a:pt x="17" y="69"/>
                  </a:lnTo>
                  <a:lnTo>
                    <a:pt x="15" y="69"/>
                  </a:lnTo>
                  <a:lnTo>
                    <a:pt x="12" y="71"/>
                  </a:lnTo>
                  <a:lnTo>
                    <a:pt x="10" y="71"/>
                  </a:lnTo>
                  <a:lnTo>
                    <a:pt x="8" y="73"/>
                  </a:lnTo>
                  <a:lnTo>
                    <a:pt x="6" y="71"/>
                  </a:lnTo>
                  <a:lnTo>
                    <a:pt x="2" y="67"/>
                  </a:lnTo>
                  <a:lnTo>
                    <a:pt x="0" y="67"/>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09" name="Freeform 297"/>
            <p:cNvSpPr>
              <a:spLocks/>
            </p:cNvSpPr>
            <p:nvPr/>
          </p:nvSpPr>
          <p:spPr bwMode="auto">
            <a:xfrm>
              <a:off x="2377" y="3020"/>
              <a:ext cx="48" cy="108"/>
            </a:xfrm>
            <a:custGeom>
              <a:avLst/>
              <a:gdLst>
                <a:gd name="T0" fmla="*/ 2 w 48"/>
                <a:gd name="T1" fmla="*/ 39 h 108"/>
                <a:gd name="T2" fmla="*/ 4 w 48"/>
                <a:gd name="T3" fmla="*/ 41 h 108"/>
                <a:gd name="T4" fmla="*/ 6 w 48"/>
                <a:gd name="T5" fmla="*/ 44 h 108"/>
                <a:gd name="T6" fmla="*/ 0 w 48"/>
                <a:gd name="T7" fmla="*/ 48 h 108"/>
                <a:gd name="T8" fmla="*/ 2 w 48"/>
                <a:gd name="T9" fmla="*/ 54 h 108"/>
                <a:gd name="T10" fmla="*/ 8 w 48"/>
                <a:gd name="T11" fmla="*/ 58 h 108"/>
                <a:gd name="T12" fmla="*/ 6 w 48"/>
                <a:gd name="T13" fmla="*/ 64 h 108"/>
                <a:gd name="T14" fmla="*/ 6 w 48"/>
                <a:gd name="T15" fmla="*/ 66 h 108"/>
                <a:gd name="T16" fmla="*/ 4 w 48"/>
                <a:gd name="T17" fmla="*/ 69 h 108"/>
                <a:gd name="T18" fmla="*/ 6 w 48"/>
                <a:gd name="T19" fmla="*/ 71 h 108"/>
                <a:gd name="T20" fmla="*/ 12 w 48"/>
                <a:gd name="T21" fmla="*/ 71 h 108"/>
                <a:gd name="T22" fmla="*/ 8 w 48"/>
                <a:gd name="T23" fmla="*/ 73 h 108"/>
                <a:gd name="T24" fmla="*/ 8 w 48"/>
                <a:gd name="T25" fmla="*/ 77 h 108"/>
                <a:gd name="T26" fmla="*/ 6 w 48"/>
                <a:gd name="T27" fmla="*/ 79 h 108"/>
                <a:gd name="T28" fmla="*/ 4 w 48"/>
                <a:gd name="T29" fmla="*/ 81 h 108"/>
                <a:gd name="T30" fmla="*/ 6 w 48"/>
                <a:gd name="T31" fmla="*/ 83 h 108"/>
                <a:gd name="T32" fmla="*/ 10 w 48"/>
                <a:gd name="T33" fmla="*/ 83 h 108"/>
                <a:gd name="T34" fmla="*/ 16 w 48"/>
                <a:gd name="T35" fmla="*/ 85 h 108"/>
                <a:gd name="T36" fmla="*/ 8 w 48"/>
                <a:gd name="T37" fmla="*/ 89 h 108"/>
                <a:gd name="T38" fmla="*/ 8 w 48"/>
                <a:gd name="T39" fmla="*/ 92 h 108"/>
                <a:gd name="T40" fmla="*/ 12 w 48"/>
                <a:gd name="T41" fmla="*/ 94 h 108"/>
                <a:gd name="T42" fmla="*/ 14 w 48"/>
                <a:gd name="T43" fmla="*/ 98 h 108"/>
                <a:gd name="T44" fmla="*/ 16 w 48"/>
                <a:gd name="T45" fmla="*/ 100 h 108"/>
                <a:gd name="T46" fmla="*/ 21 w 48"/>
                <a:gd name="T47" fmla="*/ 102 h 108"/>
                <a:gd name="T48" fmla="*/ 23 w 48"/>
                <a:gd name="T49" fmla="*/ 106 h 108"/>
                <a:gd name="T50" fmla="*/ 27 w 48"/>
                <a:gd name="T51" fmla="*/ 108 h 108"/>
                <a:gd name="T52" fmla="*/ 29 w 48"/>
                <a:gd name="T53" fmla="*/ 104 h 108"/>
                <a:gd name="T54" fmla="*/ 31 w 48"/>
                <a:gd name="T55" fmla="*/ 102 h 108"/>
                <a:gd name="T56" fmla="*/ 37 w 48"/>
                <a:gd name="T57" fmla="*/ 92 h 108"/>
                <a:gd name="T58" fmla="*/ 33 w 48"/>
                <a:gd name="T59" fmla="*/ 92 h 108"/>
                <a:gd name="T60" fmla="*/ 37 w 48"/>
                <a:gd name="T61" fmla="*/ 89 h 108"/>
                <a:gd name="T62" fmla="*/ 39 w 48"/>
                <a:gd name="T63" fmla="*/ 75 h 108"/>
                <a:gd name="T64" fmla="*/ 41 w 48"/>
                <a:gd name="T65" fmla="*/ 68 h 108"/>
                <a:gd name="T66" fmla="*/ 48 w 48"/>
                <a:gd name="T67" fmla="*/ 54 h 108"/>
                <a:gd name="T68" fmla="*/ 48 w 48"/>
                <a:gd name="T69" fmla="*/ 48 h 108"/>
                <a:gd name="T70" fmla="*/ 44 w 48"/>
                <a:gd name="T71" fmla="*/ 25 h 108"/>
                <a:gd name="T72" fmla="*/ 46 w 48"/>
                <a:gd name="T73" fmla="*/ 12 h 108"/>
                <a:gd name="T74" fmla="*/ 44 w 48"/>
                <a:gd name="T75" fmla="*/ 0 h 108"/>
                <a:gd name="T76" fmla="*/ 41 w 48"/>
                <a:gd name="T77" fmla="*/ 4 h 108"/>
                <a:gd name="T78" fmla="*/ 39 w 48"/>
                <a:gd name="T79" fmla="*/ 10 h 108"/>
                <a:gd name="T80" fmla="*/ 39 w 48"/>
                <a:gd name="T81" fmla="*/ 12 h 108"/>
                <a:gd name="T82" fmla="*/ 41 w 48"/>
                <a:gd name="T83" fmla="*/ 19 h 108"/>
                <a:gd name="T84" fmla="*/ 39 w 48"/>
                <a:gd name="T85" fmla="*/ 21 h 108"/>
                <a:gd name="T86" fmla="*/ 35 w 48"/>
                <a:gd name="T87" fmla="*/ 18 h 108"/>
                <a:gd name="T88" fmla="*/ 27 w 48"/>
                <a:gd name="T89" fmla="*/ 21 h 108"/>
                <a:gd name="T90" fmla="*/ 25 w 48"/>
                <a:gd name="T91" fmla="*/ 23 h 108"/>
                <a:gd name="T92" fmla="*/ 18 w 48"/>
                <a:gd name="T93" fmla="*/ 23 h 108"/>
                <a:gd name="T94" fmla="*/ 16 w 48"/>
                <a:gd name="T95" fmla="*/ 25 h 108"/>
                <a:gd name="T96" fmla="*/ 12 w 48"/>
                <a:gd name="T97" fmla="*/ 25 h 108"/>
                <a:gd name="T98" fmla="*/ 10 w 48"/>
                <a:gd name="T99" fmla="*/ 29 h 108"/>
                <a:gd name="T100" fmla="*/ 6 w 48"/>
                <a:gd name="T101" fmla="*/ 33 h 108"/>
                <a:gd name="T102" fmla="*/ 4 w 48"/>
                <a:gd name="T103" fmla="*/ 3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8">
                  <a:moveTo>
                    <a:pt x="4" y="39"/>
                  </a:moveTo>
                  <a:lnTo>
                    <a:pt x="2" y="39"/>
                  </a:lnTo>
                  <a:lnTo>
                    <a:pt x="2" y="43"/>
                  </a:lnTo>
                  <a:lnTo>
                    <a:pt x="4" y="41"/>
                  </a:lnTo>
                  <a:lnTo>
                    <a:pt x="4" y="44"/>
                  </a:lnTo>
                  <a:lnTo>
                    <a:pt x="6" y="44"/>
                  </a:lnTo>
                  <a:lnTo>
                    <a:pt x="8" y="46"/>
                  </a:lnTo>
                  <a:lnTo>
                    <a:pt x="0" y="48"/>
                  </a:lnTo>
                  <a:lnTo>
                    <a:pt x="2" y="50"/>
                  </a:lnTo>
                  <a:lnTo>
                    <a:pt x="2" y="54"/>
                  </a:lnTo>
                  <a:lnTo>
                    <a:pt x="6" y="58"/>
                  </a:lnTo>
                  <a:lnTo>
                    <a:pt x="8" y="58"/>
                  </a:lnTo>
                  <a:lnTo>
                    <a:pt x="8" y="62"/>
                  </a:lnTo>
                  <a:lnTo>
                    <a:pt x="6" y="64"/>
                  </a:lnTo>
                  <a:lnTo>
                    <a:pt x="4" y="64"/>
                  </a:lnTo>
                  <a:lnTo>
                    <a:pt x="6" y="66"/>
                  </a:lnTo>
                  <a:lnTo>
                    <a:pt x="2" y="66"/>
                  </a:lnTo>
                  <a:lnTo>
                    <a:pt x="4" y="69"/>
                  </a:lnTo>
                  <a:lnTo>
                    <a:pt x="2" y="71"/>
                  </a:lnTo>
                  <a:lnTo>
                    <a:pt x="6" y="71"/>
                  </a:lnTo>
                  <a:lnTo>
                    <a:pt x="10" y="69"/>
                  </a:lnTo>
                  <a:lnTo>
                    <a:pt x="12" y="71"/>
                  </a:lnTo>
                  <a:lnTo>
                    <a:pt x="10" y="73"/>
                  </a:lnTo>
                  <a:lnTo>
                    <a:pt x="8" y="73"/>
                  </a:lnTo>
                  <a:lnTo>
                    <a:pt x="10" y="75"/>
                  </a:lnTo>
                  <a:lnTo>
                    <a:pt x="8" y="77"/>
                  </a:lnTo>
                  <a:lnTo>
                    <a:pt x="6" y="77"/>
                  </a:lnTo>
                  <a:lnTo>
                    <a:pt x="6" y="79"/>
                  </a:lnTo>
                  <a:lnTo>
                    <a:pt x="4" y="79"/>
                  </a:lnTo>
                  <a:lnTo>
                    <a:pt x="4" y="81"/>
                  </a:lnTo>
                  <a:lnTo>
                    <a:pt x="6" y="81"/>
                  </a:lnTo>
                  <a:lnTo>
                    <a:pt x="6" y="83"/>
                  </a:lnTo>
                  <a:lnTo>
                    <a:pt x="8" y="83"/>
                  </a:lnTo>
                  <a:lnTo>
                    <a:pt x="10" y="83"/>
                  </a:lnTo>
                  <a:lnTo>
                    <a:pt x="12" y="85"/>
                  </a:lnTo>
                  <a:lnTo>
                    <a:pt x="16" y="85"/>
                  </a:lnTo>
                  <a:lnTo>
                    <a:pt x="14" y="87"/>
                  </a:lnTo>
                  <a:lnTo>
                    <a:pt x="8" y="89"/>
                  </a:lnTo>
                  <a:lnTo>
                    <a:pt x="10" y="92"/>
                  </a:lnTo>
                  <a:lnTo>
                    <a:pt x="8" y="92"/>
                  </a:lnTo>
                  <a:lnTo>
                    <a:pt x="10" y="94"/>
                  </a:lnTo>
                  <a:lnTo>
                    <a:pt x="12" y="94"/>
                  </a:lnTo>
                  <a:lnTo>
                    <a:pt x="10" y="96"/>
                  </a:lnTo>
                  <a:lnTo>
                    <a:pt x="14" y="98"/>
                  </a:lnTo>
                  <a:lnTo>
                    <a:pt x="16" y="98"/>
                  </a:lnTo>
                  <a:lnTo>
                    <a:pt x="16" y="100"/>
                  </a:lnTo>
                  <a:lnTo>
                    <a:pt x="21" y="100"/>
                  </a:lnTo>
                  <a:lnTo>
                    <a:pt x="21" y="102"/>
                  </a:lnTo>
                  <a:lnTo>
                    <a:pt x="23" y="102"/>
                  </a:lnTo>
                  <a:lnTo>
                    <a:pt x="23" y="106"/>
                  </a:lnTo>
                  <a:lnTo>
                    <a:pt x="25" y="106"/>
                  </a:lnTo>
                  <a:lnTo>
                    <a:pt x="27" y="108"/>
                  </a:lnTo>
                  <a:lnTo>
                    <a:pt x="31" y="104"/>
                  </a:lnTo>
                  <a:lnTo>
                    <a:pt x="29" y="104"/>
                  </a:lnTo>
                  <a:lnTo>
                    <a:pt x="29" y="102"/>
                  </a:lnTo>
                  <a:lnTo>
                    <a:pt x="31" y="102"/>
                  </a:lnTo>
                  <a:lnTo>
                    <a:pt x="33" y="96"/>
                  </a:lnTo>
                  <a:lnTo>
                    <a:pt x="37" y="92"/>
                  </a:lnTo>
                  <a:lnTo>
                    <a:pt x="35" y="92"/>
                  </a:lnTo>
                  <a:lnTo>
                    <a:pt x="33" y="92"/>
                  </a:lnTo>
                  <a:lnTo>
                    <a:pt x="33" y="91"/>
                  </a:lnTo>
                  <a:lnTo>
                    <a:pt x="37" y="89"/>
                  </a:lnTo>
                  <a:lnTo>
                    <a:pt x="39" y="89"/>
                  </a:lnTo>
                  <a:lnTo>
                    <a:pt x="39" y="75"/>
                  </a:lnTo>
                  <a:lnTo>
                    <a:pt x="41" y="71"/>
                  </a:lnTo>
                  <a:lnTo>
                    <a:pt x="41" y="68"/>
                  </a:lnTo>
                  <a:lnTo>
                    <a:pt x="46" y="62"/>
                  </a:lnTo>
                  <a:lnTo>
                    <a:pt x="48" y="54"/>
                  </a:lnTo>
                  <a:lnTo>
                    <a:pt x="46" y="52"/>
                  </a:lnTo>
                  <a:lnTo>
                    <a:pt x="48" y="48"/>
                  </a:lnTo>
                  <a:lnTo>
                    <a:pt x="48" y="31"/>
                  </a:lnTo>
                  <a:lnTo>
                    <a:pt x="44" y="25"/>
                  </a:lnTo>
                  <a:lnTo>
                    <a:pt x="44" y="19"/>
                  </a:lnTo>
                  <a:lnTo>
                    <a:pt x="46" y="12"/>
                  </a:lnTo>
                  <a:lnTo>
                    <a:pt x="46" y="4"/>
                  </a:lnTo>
                  <a:lnTo>
                    <a:pt x="44" y="0"/>
                  </a:lnTo>
                  <a:lnTo>
                    <a:pt x="41" y="0"/>
                  </a:lnTo>
                  <a:lnTo>
                    <a:pt x="41" y="4"/>
                  </a:lnTo>
                  <a:lnTo>
                    <a:pt x="41" y="6"/>
                  </a:lnTo>
                  <a:lnTo>
                    <a:pt x="39" y="10"/>
                  </a:lnTo>
                  <a:lnTo>
                    <a:pt x="41" y="10"/>
                  </a:lnTo>
                  <a:lnTo>
                    <a:pt x="39" y="12"/>
                  </a:lnTo>
                  <a:lnTo>
                    <a:pt x="41" y="18"/>
                  </a:lnTo>
                  <a:lnTo>
                    <a:pt x="41" y="19"/>
                  </a:lnTo>
                  <a:lnTo>
                    <a:pt x="39" y="19"/>
                  </a:lnTo>
                  <a:lnTo>
                    <a:pt x="39" y="21"/>
                  </a:lnTo>
                  <a:lnTo>
                    <a:pt x="37" y="21"/>
                  </a:lnTo>
                  <a:lnTo>
                    <a:pt x="35" y="18"/>
                  </a:lnTo>
                  <a:lnTo>
                    <a:pt x="29" y="18"/>
                  </a:lnTo>
                  <a:lnTo>
                    <a:pt x="27" y="21"/>
                  </a:lnTo>
                  <a:lnTo>
                    <a:pt x="25" y="21"/>
                  </a:lnTo>
                  <a:lnTo>
                    <a:pt x="25" y="23"/>
                  </a:lnTo>
                  <a:lnTo>
                    <a:pt x="23" y="23"/>
                  </a:lnTo>
                  <a:lnTo>
                    <a:pt x="18" y="23"/>
                  </a:lnTo>
                  <a:lnTo>
                    <a:pt x="18" y="25"/>
                  </a:lnTo>
                  <a:lnTo>
                    <a:pt x="16" y="25"/>
                  </a:lnTo>
                  <a:lnTo>
                    <a:pt x="14" y="27"/>
                  </a:lnTo>
                  <a:lnTo>
                    <a:pt x="12" y="25"/>
                  </a:lnTo>
                  <a:lnTo>
                    <a:pt x="10" y="25"/>
                  </a:lnTo>
                  <a:lnTo>
                    <a:pt x="10" y="29"/>
                  </a:lnTo>
                  <a:lnTo>
                    <a:pt x="8" y="29"/>
                  </a:lnTo>
                  <a:lnTo>
                    <a:pt x="6" y="33"/>
                  </a:lnTo>
                  <a:lnTo>
                    <a:pt x="6" y="37"/>
                  </a:lnTo>
                  <a:lnTo>
                    <a:pt x="4" y="3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10" name="Freeform 298"/>
            <p:cNvSpPr>
              <a:spLocks/>
            </p:cNvSpPr>
            <p:nvPr/>
          </p:nvSpPr>
          <p:spPr bwMode="auto">
            <a:xfrm>
              <a:off x="1970" y="2780"/>
              <a:ext cx="8" cy="15"/>
            </a:xfrm>
            <a:custGeom>
              <a:avLst/>
              <a:gdLst>
                <a:gd name="T0" fmla="*/ 0 w 8"/>
                <a:gd name="T1" fmla="*/ 0 h 15"/>
                <a:gd name="T2" fmla="*/ 0 w 8"/>
                <a:gd name="T3" fmla="*/ 2 h 15"/>
                <a:gd name="T4" fmla="*/ 0 w 8"/>
                <a:gd name="T5" fmla="*/ 4 h 15"/>
                <a:gd name="T6" fmla="*/ 2 w 8"/>
                <a:gd name="T7" fmla="*/ 8 h 15"/>
                <a:gd name="T8" fmla="*/ 4 w 8"/>
                <a:gd name="T9" fmla="*/ 10 h 15"/>
                <a:gd name="T10" fmla="*/ 4 w 8"/>
                <a:gd name="T11" fmla="*/ 15 h 15"/>
                <a:gd name="T12" fmla="*/ 6 w 8"/>
                <a:gd name="T13" fmla="*/ 15 h 15"/>
                <a:gd name="T14" fmla="*/ 8 w 8"/>
                <a:gd name="T15" fmla="*/ 12 h 15"/>
                <a:gd name="T16" fmla="*/ 8 w 8"/>
                <a:gd name="T17" fmla="*/ 10 h 15"/>
                <a:gd name="T18" fmla="*/ 6 w 8"/>
                <a:gd name="T19" fmla="*/ 8 h 15"/>
                <a:gd name="T20" fmla="*/ 8 w 8"/>
                <a:gd name="T21" fmla="*/ 4 h 15"/>
                <a:gd name="T22" fmla="*/ 6 w 8"/>
                <a:gd name="T23" fmla="*/ 4 h 15"/>
                <a:gd name="T24" fmla="*/ 4 w 8"/>
                <a:gd name="T25" fmla="*/ 2 h 15"/>
                <a:gd name="T26" fmla="*/ 2 w 8"/>
                <a:gd name="T27" fmla="*/ 0 h 15"/>
                <a:gd name="T28" fmla="*/ 0 w 8"/>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5">
                  <a:moveTo>
                    <a:pt x="0" y="0"/>
                  </a:moveTo>
                  <a:lnTo>
                    <a:pt x="0" y="2"/>
                  </a:lnTo>
                  <a:lnTo>
                    <a:pt x="0" y="4"/>
                  </a:lnTo>
                  <a:lnTo>
                    <a:pt x="2" y="8"/>
                  </a:lnTo>
                  <a:lnTo>
                    <a:pt x="4" y="10"/>
                  </a:lnTo>
                  <a:lnTo>
                    <a:pt x="4" y="15"/>
                  </a:lnTo>
                  <a:lnTo>
                    <a:pt x="6" y="15"/>
                  </a:lnTo>
                  <a:lnTo>
                    <a:pt x="8" y="12"/>
                  </a:lnTo>
                  <a:lnTo>
                    <a:pt x="8" y="10"/>
                  </a:lnTo>
                  <a:lnTo>
                    <a:pt x="6" y="8"/>
                  </a:lnTo>
                  <a:lnTo>
                    <a:pt x="8" y="4"/>
                  </a:lnTo>
                  <a:lnTo>
                    <a:pt x="6" y="4"/>
                  </a:lnTo>
                  <a:lnTo>
                    <a:pt x="4" y="2"/>
                  </a:ln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11" name="Freeform 299"/>
            <p:cNvSpPr>
              <a:spLocks/>
            </p:cNvSpPr>
            <p:nvPr/>
          </p:nvSpPr>
          <p:spPr bwMode="auto">
            <a:xfrm>
              <a:off x="1966" y="2765"/>
              <a:ext cx="12" cy="7"/>
            </a:xfrm>
            <a:custGeom>
              <a:avLst/>
              <a:gdLst>
                <a:gd name="T0" fmla="*/ 0 w 12"/>
                <a:gd name="T1" fmla="*/ 0 h 7"/>
                <a:gd name="T2" fmla="*/ 0 w 12"/>
                <a:gd name="T3" fmla="*/ 4 h 7"/>
                <a:gd name="T4" fmla="*/ 2 w 12"/>
                <a:gd name="T5" fmla="*/ 4 h 7"/>
                <a:gd name="T6" fmla="*/ 8 w 12"/>
                <a:gd name="T7" fmla="*/ 5 h 7"/>
                <a:gd name="T8" fmla="*/ 8 w 12"/>
                <a:gd name="T9" fmla="*/ 7 h 7"/>
                <a:gd name="T10" fmla="*/ 12 w 12"/>
                <a:gd name="T11" fmla="*/ 7 h 7"/>
                <a:gd name="T12" fmla="*/ 12 w 12"/>
                <a:gd name="T13" fmla="*/ 5 h 7"/>
                <a:gd name="T14" fmla="*/ 10 w 12"/>
                <a:gd name="T15" fmla="*/ 5 h 7"/>
                <a:gd name="T16" fmla="*/ 8 w 12"/>
                <a:gd name="T17" fmla="*/ 4 h 7"/>
                <a:gd name="T18" fmla="*/ 6 w 12"/>
                <a:gd name="T19" fmla="*/ 4 h 7"/>
                <a:gd name="T20" fmla="*/ 6 w 12"/>
                <a:gd name="T21" fmla="*/ 2 h 7"/>
                <a:gd name="T22" fmla="*/ 4 w 12"/>
                <a:gd name="T23" fmla="*/ 2 h 7"/>
                <a:gd name="T24" fmla="*/ 2 w 12"/>
                <a:gd name="T25" fmla="*/ 2 h 7"/>
                <a:gd name="T26" fmla="*/ 4 w 12"/>
                <a:gd name="T27" fmla="*/ 2 h 7"/>
                <a:gd name="T28" fmla="*/ 4 w 12"/>
                <a:gd name="T29" fmla="*/ 0 h 7"/>
                <a:gd name="T30" fmla="*/ 2 w 12"/>
                <a:gd name="T31" fmla="*/ 0 h 7"/>
                <a:gd name="T32" fmla="*/ 0 w 12"/>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7">
                  <a:moveTo>
                    <a:pt x="0" y="0"/>
                  </a:moveTo>
                  <a:lnTo>
                    <a:pt x="0" y="4"/>
                  </a:lnTo>
                  <a:lnTo>
                    <a:pt x="2" y="4"/>
                  </a:lnTo>
                  <a:lnTo>
                    <a:pt x="8" y="5"/>
                  </a:lnTo>
                  <a:lnTo>
                    <a:pt x="8" y="7"/>
                  </a:lnTo>
                  <a:lnTo>
                    <a:pt x="12" y="7"/>
                  </a:lnTo>
                  <a:lnTo>
                    <a:pt x="12" y="5"/>
                  </a:lnTo>
                  <a:lnTo>
                    <a:pt x="10" y="5"/>
                  </a:lnTo>
                  <a:lnTo>
                    <a:pt x="8" y="4"/>
                  </a:lnTo>
                  <a:lnTo>
                    <a:pt x="6" y="4"/>
                  </a:lnTo>
                  <a:lnTo>
                    <a:pt x="6" y="2"/>
                  </a:lnTo>
                  <a:lnTo>
                    <a:pt x="4" y="2"/>
                  </a:lnTo>
                  <a:lnTo>
                    <a:pt x="2" y="2"/>
                  </a:lnTo>
                  <a:lnTo>
                    <a:pt x="4" y="2"/>
                  </a:lnTo>
                  <a:lnTo>
                    <a:pt x="4" y="0"/>
                  </a:lnTo>
                  <a:lnTo>
                    <a:pt x="2"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12" name="Freeform 300"/>
            <p:cNvSpPr>
              <a:spLocks/>
            </p:cNvSpPr>
            <p:nvPr/>
          </p:nvSpPr>
          <p:spPr bwMode="auto">
            <a:xfrm>
              <a:off x="1908" y="2680"/>
              <a:ext cx="8" cy="8"/>
            </a:xfrm>
            <a:custGeom>
              <a:avLst/>
              <a:gdLst>
                <a:gd name="T0" fmla="*/ 0 w 8"/>
                <a:gd name="T1" fmla="*/ 2 h 8"/>
                <a:gd name="T2" fmla="*/ 2 w 8"/>
                <a:gd name="T3" fmla="*/ 4 h 8"/>
                <a:gd name="T4" fmla="*/ 0 w 8"/>
                <a:gd name="T5" fmla="*/ 6 h 8"/>
                <a:gd name="T6" fmla="*/ 2 w 8"/>
                <a:gd name="T7" fmla="*/ 6 h 8"/>
                <a:gd name="T8" fmla="*/ 4 w 8"/>
                <a:gd name="T9" fmla="*/ 6 h 8"/>
                <a:gd name="T10" fmla="*/ 6 w 8"/>
                <a:gd name="T11" fmla="*/ 8 h 8"/>
                <a:gd name="T12" fmla="*/ 8 w 8"/>
                <a:gd name="T13" fmla="*/ 6 h 8"/>
                <a:gd name="T14" fmla="*/ 6 w 8"/>
                <a:gd name="T15" fmla="*/ 6 h 8"/>
                <a:gd name="T16" fmla="*/ 4 w 8"/>
                <a:gd name="T17" fmla="*/ 4 h 8"/>
                <a:gd name="T18" fmla="*/ 4 w 8"/>
                <a:gd name="T19" fmla="*/ 2 h 8"/>
                <a:gd name="T20" fmla="*/ 2 w 8"/>
                <a:gd name="T21" fmla="*/ 2 h 8"/>
                <a:gd name="T22" fmla="*/ 2 w 8"/>
                <a:gd name="T23" fmla="*/ 0 h 8"/>
                <a:gd name="T24" fmla="*/ 0 w 8"/>
                <a:gd name="T2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8">
                  <a:moveTo>
                    <a:pt x="0" y="2"/>
                  </a:moveTo>
                  <a:lnTo>
                    <a:pt x="2" y="4"/>
                  </a:lnTo>
                  <a:lnTo>
                    <a:pt x="0" y="6"/>
                  </a:lnTo>
                  <a:lnTo>
                    <a:pt x="2" y="6"/>
                  </a:lnTo>
                  <a:lnTo>
                    <a:pt x="4" y="6"/>
                  </a:lnTo>
                  <a:lnTo>
                    <a:pt x="6" y="8"/>
                  </a:lnTo>
                  <a:lnTo>
                    <a:pt x="8" y="6"/>
                  </a:lnTo>
                  <a:lnTo>
                    <a:pt x="6" y="6"/>
                  </a:lnTo>
                  <a:lnTo>
                    <a:pt x="4" y="4"/>
                  </a:lnTo>
                  <a:lnTo>
                    <a:pt x="4" y="2"/>
                  </a:lnTo>
                  <a:lnTo>
                    <a:pt x="2" y="2"/>
                  </a:lnTo>
                  <a:lnTo>
                    <a:pt x="2"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13" name="Freeform 301"/>
            <p:cNvSpPr>
              <a:spLocks/>
            </p:cNvSpPr>
            <p:nvPr/>
          </p:nvSpPr>
          <p:spPr bwMode="auto">
            <a:xfrm>
              <a:off x="2300" y="2246"/>
              <a:ext cx="352" cy="498"/>
            </a:xfrm>
            <a:custGeom>
              <a:avLst/>
              <a:gdLst>
                <a:gd name="T0" fmla="*/ 337 w 352"/>
                <a:gd name="T1" fmla="*/ 175 h 498"/>
                <a:gd name="T2" fmla="*/ 317 w 352"/>
                <a:gd name="T3" fmla="*/ 136 h 498"/>
                <a:gd name="T4" fmla="*/ 323 w 352"/>
                <a:gd name="T5" fmla="*/ 109 h 498"/>
                <a:gd name="T6" fmla="*/ 312 w 352"/>
                <a:gd name="T7" fmla="*/ 77 h 498"/>
                <a:gd name="T8" fmla="*/ 300 w 352"/>
                <a:gd name="T9" fmla="*/ 56 h 498"/>
                <a:gd name="T10" fmla="*/ 279 w 352"/>
                <a:gd name="T11" fmla="*/ 44 h 498"/>
                <a:gd name="T12" fmla="*/ 264 w 352"/>
                <a:gd name="T13" fmla="*/ 40 h 498"/>
                <a:gd name="T14" fmla="*/ 250 w 352"/>
                <a:gd name="T15" fmla="*/ 42 h 498"/>
                <a:gd name="T16" fmla="*/ 258 w 352"/>
                <a:gd name="T17" fmla="*/ 33 h 498"/>
                <a:gd name="T18" fmla="*/ 242 w 352"/>
                <a:gd name="T19" fmla="*/ 44 h 498"/>
                <a:gd name="T20" fmla="*/ 227 w 352"/>
                <a:gd name="T21" fmla="*/ 52 h 498"/>
                <a:gd name="T22" fmla="*/ 214 w 352"/>
                <a:gd name="T23" fmla="*/ 67 h 498"/>
                <a:gd name="T24" fmla="*/ 196 w 352"/>
                <a:gd name="T25" fmla="*/ 67 h 498"/>
                <a:gd name="T26" fmla="*/ 194 w 352"/>
                <a:gd name="T27" fmla="*/ 56 h 498"/>
                <a:gd name="T28" fmla="*/ 200 w 352"/>
                <a:gd name="T29" fmla="*/ 31 h 498"/>
                <a:gd name="T30" fmla="*/ 171 w 352"/>
                <a:gd name="T31" fmla="*/ 33 h 498"/>
                <a:gd name="T32" fmla="*/ 164 w 352"/>
                <a:gd name="T33" fmla="*/ 25 h 498"/>
                <a:gd name="T34" fmla="*/ 148 w 352"/>
                <a:gd name="T35" fmla="*/ 2 h 498"/>
                <a:gd name="T36" fmla="*/ 118 w 352"/>
                <a:gd name="T37" fmla="*/ 8 h 498"/>
                <a:gd name="T38" fmla="*/ 116 w 352"/>
                <a:gd name="T39" fmla="*/ 33 h 498"/>
                <a:gd name="T40" fmla="*/ 125 w 352"/>
                <a:gd name="T41" fmla="*/ 52 h 498"/>
                <a:gd name="T42" fmla="*/ 141 w 352"/>
                <a:gd name="T43" fmla="*/ 75 h 498"/>
                <a:gd name="T44" fmla="*/ 139 w 352"/>
                <a:gd name="T45" fmla="*/ 75 h 498"/>
                <a:gd name="T46" fmla="*/ 106 w 352"/>
                <a:gd name="T47" fmla="*/ 83 h 498"/>
                <a:gd name="T48" fmla="*/ 98 w 352"/>
                <a:gd name="T49" fmla="*/ 98 h 498"/>
                <a:gd name="T50" fmla="*/ 73 w 352"/>
                <a:gd name="T51" fmla="*/ 79 h 498"/>
                <a:gd name="T52" fmla="*/ 60 w 352"/>
                <a:gd name="T53" fmla="*/ 102 h 498"/>
                <a:gd name="T54" fmla="*/ 45 w 352"/>
                <a:gd name="T55" fmla="*/ 142 h 498"/>
                <a:gd name="T56" fmla="*/ 48 w 352"/>
                <a:gd name="T57" fmla="*/ 167 h 498"/>
                <a:gd name="T58" fmla="*/ 37 w 352"/>
                <a:gd name="T59" fmla="*/ 190 h 498"/>
                <a:gd name="T60" fmla="*/ 14 w 352"/>
                <a:gd name="T61" fmla="*/ 192 h 498"/>
                <a:gd name="T62" fmla="*/ 14 w 352"/>
                <a:gd name="T63" fmla="*/ 221 h 498"/>
                <a:gd name="T64" fmla="*/ 2 w 352"/>
                <a:gd name="T65" fmla="*/ 242 h 498"/>
                <a:gd name="T66" fmla="*/ 2 w 352"/>
                <a:gd name="T67" fmla="*/ 261 h 498"/>
                <a:gd name="T68" fmla="*/ 16 w 352"/>
                <a:gd name="T69" fmla="*/ 282 h 498"/>
                <a:gd name="T70" fmla="*/ 6 w 352"/>
                <a:gd name="T71" fmla="*/ 302 h 498"/>
                <a:gd name="T72" fmla="*/ 12 w 352"/>
                <a:gd name="T73" fmla="*/ 340 h 498"/>
                <a:gd name="T74" fmla="*/ 29 w 352"/>
                <a:gd name="T75" fmla="*/ 369 h 498"/>
                <a:gd name="T76" fmla="*/ 54 w 352"/>
                <a:gd name="T77" fmla="*/ 373 h 498"/>
                <a:gd name="T78" fmla="*/ 73 w 352"/>
                <a:gd name="T79" fmla="*/ 400 h 498"/>
                <a:gd name="T80" fmla="*/ 54 w 352"/>
                <a:gd name="T81" fmla="*/ 453 h 498"/>
                <a:gd name="T82" fmla="*/ 73 w 352"/>
                <a:gd name="T83" fmla="*/ 476 h 498"/>
                <a:gd name="T84" fmla="*/ 91 w 352"/>
                <a:gd name="T85" fmla="*/ 463 h 498"/>
                <a:gd name="T86" fmla="*/ 112 w 352"/>
                <a:gd name="T87" fmla="*/ 467 h 498"/>
                <a:gd name="T88" fmla="*/ 133 w 352"/>
                <a:gd name="T89" fmla="*/ 475 h 498"/>
                <a:gd name="T90" fmla="*/ 164 w 352"/>
                <a:gd name="T91" fmla="*/ 490 h 498"/>
                <a:gd name="T92" fmla="*/ 191 w 352"/>
                <a:gd name="T93" fmla="*/ 484 h 498"/>
                <a:gd name="T94" fmla="*/ 225 w 352"/>
                <a:gd name="T95" fmla="*/ 476 h 498"/>
                <a:gd name="T96" fmla="*/ 264 w 352"/>
                <a:gd name="T97" fmla="*/ 473 h 498"/>
                <a:gd name="T98" fmla="*/ 273 w 352"/>
                <a:gd name="T99" fmla="*/ 467 h 498"/>
                <a:gd name="T100" fmla="*/ 285 w 352"/>
                <a:gd name="T101" fmla="*/ 432 h 498"/>
                <a:gd name="T102" fmla="*/ 308 w 352"/>
                <a:gd name="T103" fmla="*/ 400 h 498"/>
                <a:gd name="T104" fmla="*/ 275 w 352"/>
                <a:gd name="T105" fmla="*/ 367 h 498"/>
                <a:gd name="T106" fmla="*/ 256 w 352"/>
                <a:gd name="T107" fmla="*/ 330 h 498"/>
                <a:gd name="T108" fmla="*/ 239 w 352"/>
                <a:gd name="T109" fmla="*/ 300 h 498"/>
                <a:gd name="T110" fmla="*/ 252 w 352"/>
                <a:gd name="T111" fmla="*/ 300 h 498"/>
                <a:gd name="T112" fmla="*/ 277 w 352"/>
                <a:gd name="T113" fmla="*/ 288 h 498"/>
                <a:gd name="T114" fmla="*/ 308 w 352"/>
                <a:gd name="T115" fmla="*/ 273 h 498"/>
                <a:gd name="T116" fmla="*/ 321 w 352"/>
                <a:gd name="T117" fmla="*/ 254 h 498"/>
                <a:gd name="T118" fmla="*/ 342 w 352"/>
                <a:gd name="T119" fmla="*/ 265 h 498"/>
                <a:gd name="T120" fmla="*/ 348 w 352"/>
                <a:gd name="T121" fmla="*/ 22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 h="498">
                  <a:moveTo>
                    <a:pt x="339" y="215"/>
                  </a:moveTo>
                  <a:lnTo>
                    <a:pt x="340" y="215"/>
                  </a:lnTo>
                  <a:lnTo>
                    <a:pt x="340" y="211"/>
                  </a:lnTo>
                  <a:lnTo>
                    <a:pt x="337" y="207"/>
                  </a:lnTo>
                  <a:lnTo>
                    <a:pt x="337" y="205"/>
                  </a:lnTo>
                  <a:lnTo>
                    <a:pt x="335" y="202"/>
                  </a:lnTo>
                  <a:lnTo>
                    <a:pt x="333" y="202"/>
                  </a:lnTo>
                  <a:lnTo>
                    <a:pt x="333" y="200"/>
                  </a:lnTo>
                  <a:lnTo>
                    <a:pt x="337" y="194"/>
                  </a:lnTo>
                  <a:lnTo>
                    <a:pt x="337" y="192"/>
                  </a:lnTo>
                  <a:lnTo>
                    <a:pt x="337" y="190"/>
                  </a:lnTo>
                  <a:lnTo>
                    <a:pt x="339" y="186"/>
                  </a:lnTo>
                  <a:lnTo>
                    <a:pt x="339" y="182"/>
                  </a:lnTo>
                  <a:lnTo>
                    <a:pt x="337" y="182"/>
                  </a:lnTo>
                  <a:lnTo>
                    <a:pt x="337" y="181"/>
                  </a:lnTo>
                  <a:lnTo>
                    <a:pt x="337" y="177"/>
                  </a:lnTo>
                  <a:lnTo>
                    <a:pt x="337" y="175"/>
                  </a:lnTo>
                  <a:lnTo>
                    <a:pt x="337" y="173"/>
                  </a:lnTo>
                  <a:lnTo>
                    <a:pt x="333" y="171"/>
                  </a:lnTo>
                  <a:lnTo>
                    <a:pt x="331" y="171"/>
                  </a:lnTo>
                  <a:lnTo>
                    <a:pt x="331" y="169"/>
                  </a:lnTo>
                  <a:lnTo>
                    <a:pt x="331" y="165"/>
                  </a:lnTo>
                  <a:lnTo>
                    <a:pt x="329" y="163"/>
                  </a:lnTo>
                  <a:lnTo>
                    <a:pt x="331" y="157"/>
                  </a:lnTo>
                  <a:lnTo>
                    <a:pt x="333" y="156"/>
                  </a:lnTo>
                  <a:lnTo>
                    <a:pt x="331" y="154"/>
                  </a:lnTo>
                  <a:lnTo>
                    <a:pt x="333" y="152"/>
                  </a:lnTo>
                  <a:lnTo>
                    <a:pt x="331" y="150"/>
                  </a:lnTo>
                  <a:lnTo>
                    <a:pt x="329" y="148"/>
                  </a:lnTo>
                  <a:lnTo>
                    <a:pt x="327" y="146"/>
                  </a:lnTo>
                  <a:lnTo>
                    <a:pt x="325" y="144"/>
                  </a:lnTo>
                  <a:lnTo>
                    <a:pt x="321" y="140"/>
                  </a:lnTo>
                  <a:lnTo>
                    <a:pt x="319" y="138"/>
                  </a:lnTo>
                  <a:lnTo>
                    <a:pt x="317" y="136"/>
                  </a:lnTo>
                  <a:lnTo>
                    <a:pt x="316" y="136"/>
                  </a:lnTo>
                  <a:lnTo>
                    <a:pt x="314" y="136"/>
                  </a:lnTo>
                  <a:lnTo>
                    <a:pt x="314" y="132"/>
                  </a:lnTo>
                  <a:lnTo>
                    <a:pt x="314" y="131"/>
                  </a:lnTo>
                  <a:lnTo>
                    <a:pt x="314" y="129"/>
                  </a:lnTo>
                  <a:lnTo>
                    <a:pt x="314" y="127"/>
                  </a:lnTo>
                  <a:lnTo>
                    <a:pt x="316" y="127"/>
                  </a:lnTo>
                  <a:lnTo>
                    <a:pt x="317" y="125"/>
                  </a:lnTo>
                  <a:lnTo>
                    <a:pt x="319" y="123"/>
                  </a:lnTo>
                  <a:lnTo>
                    <a:pt x="321" y="123"/>
                  </a:lnTo>
                  <a:lnTo>
                    <a:pt x="321" y="121"/>
                  </a:lnTo>
                  <a:lnTo>
                    <a:pt x="323" y="115"/>
                  </a:lnTo>
                  <a:lnTo>
                    <a:pt x="321" y="111"/>
                  </a:lnTo>
                  <a:lnTo>
                    <a:pt x="323" y="111"/>
                  </a:lnTo>
                  <a:lnTo>
                    <a:pt x="323" y="109"/>
                  </a:lnTo>
                  <a:lnTo>
                    <a:pt x="323" y="111"/>
                  </a:lnTo>
                  <a:lnTo>
                    <a:pt x="323" y="109"/>
                  </a:lnTo>
                  <a:lnTo>
                    <a:pt x="325" y="107"/>
                  </a:lnTo>
                  <a:lnTo>
                    <a:pt x="323" y="106"/>
                  </a:lnTo>
                  <a:lnTo>
                    <a:pt x="323" y="102"/>
                  </a:lnTo>
                  <a:lnTo>
                    <a:pt x="321" y="98"/>
                  </a:lnTo>
                  <a:lnTo>
                    <a:pt x="321" y="96"/>
                  </a:lnTo>
                  <a:lnTo>
                    <a:pt x="321" y="94"/>
                  </a:lnTo>
                  <a:lnTo>
                    <a:pt x="321" y="92"/>
                  </a:lnTo>
                  <a:lnTo>
                    <a:pt x="319" y="90"/>
                  </a:lnTo>
                  <a:lnTo>
                    <a:pt x="319" y="88"/>
                  </a:lnTo>
                  <a:lnTo>
                    <a:pt x="319" y="84"/>
                  </a:lnTo>
                  <a:lnTo>
                    <a:pt x="317" y="83"/>
                  </a:lnTo>
                  <a:lnTo>
                    <a:pt x="317" y="81"/>
                  </a:lnTo>
                  <a:lnTo>
                    <a:pt x="316" y="79"/>
                  </a:lnTo>
                  <a:lnTo>
                    <a:pt x="319" y="79"/>
                  </a:lnTo>
                  <a:lnTo>
                    <a:pt x="316" y="75"/>
                  </a:lnTo>
                  <a:lnTo>
                    <a:pt x="314" y="77"/>
                  </a:lnTo>
                  <a:lnTo>
                    <a:pt x="312" y="77"/>
                  </a:lnTo>
                  <a:lnTo>
                    <a:pt x="314" y="81"/>
                  </a:lnTo>
                  <a:lnTo>
                    <a:pt x="310" y="77"/>
                  </a:lnTo>
                  <a:lnTo>
                    <a:pt x="310" y="79"/>
                  </a:lnTo>
                  <a:lnTo>
                    <a:pt x="310" y="77"/>
                  </a:lnTo>
                  <a:lnTo>
                    <a:pt x="306" y="75"/>
                  </a:lnTo>
                  <a:lnTo>
                    <a:pt x="304" y="73"/>
                  </a:lnTo>
                  <a:lnTo>
                    <a:pt x="302" y="71"/>
                  </a:lnTo>
                  <a:lnTo>
                    <a:pt x="300" y="71"/>
                  </a:lnTo>
                  <a:lnTo>
                    <a:pt x="300" y="69"/>
                  </a:lnTo>
                  <a:lnTo>
                    <a:pt x="300" y="67"/>
                  </a:lnTo>
                  <a:lnTo>
                    <a:pt x="302" y="65"/>
                  </a:lnTo>
                  <a:lnTo>
                    <a:pt x="304" y="65"/>
                  </a:lnTo>
                  <a:lnTo>
                    <a:pt x="302" y="63"/>
                  </a:lnTo>
                  <a:lnTo>
                    <a:pt x="302" y="61"/>
                  </a:lnTo>
                  <a:lnTo>
                    <a:pt x="298" y="59"/>
                  </a:lnTo>
                  <a:lnTo>
                    <a:pt x="298" y="58"/>
                  </a:lnTo>
                  <a:lnTo>
                    <a:pt x="300" y="56"/>
                  </a:lnTo>
                  <a:lnTo>
                    <a:pt x="300" y="54"/>
                  </a:lnTo>
                  <a:lnTo>
                    <a:pt x="298" y="52"/>
                  </a:lnTo>
                  <a:lnTo>
                    <a:pt x="296" y="52"/>
                  </a:lnTo>
                  <a:lnTo>
                    <a:pt x="296" y="50"/>
                  </a:lnTo>
                  <a:lnTo>
                    <a:pt x="294" y="52"/>
                  </a:lnTo>
                  <a:lnTo>
                    <a:pt x="292" y="52"/>
                  </a:lnTo>
                  <a:lnTo>
                    <a:pt x="289" y="52"/>
                  </a:lnTo>
                  <a:lnTo>
                    <a:pt x="289" y="54"/>
                  </a:lnTo>
                  <a:lnTo>
                    <a:pt x="289" y="56"/>
                  </a:lnTo>
                  <a:lnTo>
                    <a:pt x="287" y="56"/>
                  </a:lnTo>
                  <a:lnTo>
                    <a:pt x="287" y="54"/>
                  </a:lnTo>
                  <a:lnTo>
                    <a:pt x="287" y="52"/>
                  </a:lnTo>
                  <a:lnTo>
                    <a:pt x="287" y="50"/>
                  </a:lnTo>
                  <a:lnTo>
                    <a:pt x="285" y="50"/>
                  </a:lnTo>
                  <a:lnTo>
                    <a:pt x="283" y="48"/>
                  </a:lnTo>
                  <a:lnTo>
                    <a:pt x="281" y="44"/>
                  </a:lnTo>
                  <a:lnTo>
                    <a:pt x="279" y="44"/>
                  </a:lnTo>
                  <a:lnTo>
                    <a:pt x="277" y="44"/>
                  </a:lnTo>
                  <a:lnTo>
                    <a:pt x="279" y="44"/>
                  </a:lnTo>
                  <a:lnTo>
                    <a:pt x="277" y="44"/>
                  </a:lnTo>
                  <a:lnTo>
                    <a:pt x="275" y="46"/>
                  </a:lnTo>
                  <a:lnTo>
                    <a:pt x="273" y="44"/>
                  </a:lnTo>
                  <a:lnTo>
                    <a:pt x="271" y="44"/>
                  </a:lnTo>
                  <a:lnTo>
                    <a:pt x="271" y="42"/>
                  </a:lnTo>
                  <a:lnTo>
                    <a:pt x="273" y="40"/>
                  </a:lnTo>
                  <a:lnTo>
                    <a:pt x="273" y="38"/>
                  </a:lnTo>
                  <a:lnTo>
                    <a:pt x="273" y="36"/>
                  </a:lnTo>
                  <a:lnTo>
                    <a:pt x="271" y="34"/>
                  </a:lnTo>
                  <a:lnTo>
                    <a:pt x="271" y="33"/>
                  </a:lnTo>
                  <a:lnTo>
                    <a:pt x="269" y="33"/>
                  </a:lnTo>
                  <a:lnTo>
                    <a:pt x="267" y="34"/>
                  </a:lnTo>
                  <a:lnTo>
                    <a:pt x="266" y="36"/>
                  </a:lnTo>
                  <a:lnTo>
                    <a:pt x="266" y="40"/>
                  </a:lnTo>
                  <a:lnTo>
                    <a:pt x="264" y="40"/>
                  </a:lnTo>
                  <a:lnTo>
                    <a:pt x="264" y="36"/>
                  </a:lnTo>
                  <a:lnTo>
                    <a:pt x="262" y="38"/>
                  </a:lnTo>
                  <a:lnTo>
                    <a:pt x="262" y="36"/>
                  </a:lnTo>
                  <a:lnTo>
                    <a:pt x="262" y="38"/>
                  </a:lnTo>
                  <a:lnTo>
                    <a:pt x="262" y="36"/>
                  </a:lnTo>
                  <a:lnTo>
                    <a:pt x="260" y="36"/>
                  </a:lnTo>
                  <a:lnTo>
                    <a:pt x="260" y="38"/>
                  </a:lnTo>
                  <a:lnTo>
                    <a:pt x="260" y="36"/>
                  </a:lnTo>
                  <a:lnTo>
                    <a:pt x="258" y="36"/>
                  </a:lnTo>
                  <a:lnTo>
                    <a:pt x="256" y="38"/>
                  </a:lnTo>
                  <a:lnTo>
                    <a:pt x="256" y="36"/>
                  </a:lnTo>
                  <a:lnTo>
                    <a:pt x="254" y="36"/>
                  </a:lnTo>
                  <a:lnTo>
                    <a:pt x="256" y="38"/>
                  </a:lnTo>
                  <a:lnTo>
                    <a:pt x="254" y="38"/>
                  </a:lnTo>
                  <a:lnTo>
                    <a:pt x="252" y="40"/>
                  </a:lnTo>
                  <a:lnTo>
                    <a:pt x="252" y="42"/>
                  </a:lnTo>
                  <a:lnTo>
                    <a:pt x="250" y="42"/>
                  </a:lnTo>
                  <a:lnTo>
                    <a:pt x="252" y="44"/>
                  </a:lnTo>
                  <a:lnTo>
                    <a:pt x="250" y="44"/>
                  </a:lnTo>
                  <a:lnTo>
                    <a:pt x="248" y="44"/>
                  </a:lnTo>
                  <a:lnTo>
                    <a:pt x="248" y="42"/>
                  </a:lnTo>
                  <a:lnTo>
                    <a:pt x="248" y="40"/>
                  </a:lnTo>
                  <a:lnTo>
                    <a:pt x="248" y="38"/>
                  </a:lnTo>
                  <a:lnTo>
                    <a:pt x="250" y="38"/>
                  </a:lnTo>
                  <a:lnTo>
                    <a:pt x="250" y="36"/>
                  </a:lnTo>
                  <a:lnTo>
                    <a:pt x="252" y="36"/>
                  </a:lnTo>
                  <a:lnTo>
                    <a:pt x="252" y="34"/>
                  </a:lnTo>
                  <a:lnTo>
                    <a:pt x="254" y="36"/>
                  </a:lnTo>
                  <a:lnTo>
                    <a:pt x="258" y="34"/>
                  </a:lnTo>
                  <a:lnTo>
                    <a:pt x="256" y="34"/>
                  </a:lnTo>
                  <a:lnTo>
                    <a:pt x="258" y="34"/>
                  </a:lnTo>
                  <a:lnTo>
                    <a:pt x="258" y="33"/>
                  </a:lnTo>
                  <a:lnTo>
                    <a:pt x="256" y="33"/>
                  </a:lnTo>
                  <a:lnTo>
                    <a:pt x="258" y="33"/>
                  </a:lnTo>
                  <a:lnTo>
                    <a:pt x="260" y="33"/>
                  </a:lnTo>
                  <a:lnTo>
                    <a:pt x="262" y="34"/>
                  </a:lnTo>
                  <a:lnTo>
                    <a:pt x="264" y="34"/>
                  </a:lnTo>
                  <a:lnTo>
                    <a:pt x="264" y="33"/>
                  </a:lnTo>
                  <a:lnTo>
                    <a:pt x="266" y="33"/>
                  </a:lnTo>
                  <a:lnTo>
                    <a:pt x="266" y="34"/>
                  </a:lnTo>
                  <a:lnTo>
                    <a:pt x="267" y="33"/>
                  </a:lnTo>
                  <a:lnTo>
                    <a:pt x="262" y="33"/>
                  </a:lnTo>
                  <a:lnTo>
                    <a:pt x="258" y="31"/>
                  </a:lnTo>
                  <a:lnTo>
                    <a:pt x="254" y="31"/>
                  </a:lnTo>
                  <a:lnTo>
                    <a:pt x="254" y="29"/>
                  </a:lnTo>
                  <a:lnTo>
                    <a:pt x="250" y="34"/>
                  </a:lnTo>
                  <a:lnTo>
                    <a:pt x="250" y="36"/>
                  </a:lnTo>
                  <a:lnTo>
                    <a:pt x="248" y="40"/>
                  </a:lnTo>
                  <a:lnTo>
                    <a:pt x="246" y="42"/>
                  </a:lnTo>
                  <a:lnTo>
                    <a:pt x="244" y="44"/>
                  </a:lnTo>
                  <a:lnTo>
                    <a:pt x="242" y="44"/>
                  </a:lnTo>
                  <a:lnTo>
                    <a:pt x="242" y="46"/>
                  </a:lnTo>
                  <a:lnTo>
                    <a:pt x="241" y="46"/>
                  </a:lnTo>
                  <a:lnTo>
                    <a:pt x="241" y="48"/>
                  </a:lnTo>
                  <a:lnTo>
                    <a:pt x="239" y="50"/>
                  </a:lnTo>
                  <a:lnTo>
                    <a:pt x="241" y="50"/>
                  </a:lnTo>
                  <a:lnTo>
                    <a:pt x="239" y="52"/>
                  </a:lnTo>
                  <a:lnTo>
                    <a:pt x="239" y="54"/>
                  </a:lnTo>
                  <a:lnTo>
                    <a:pt x="241" y="54"/>
                  </a:lnTo>
                  <a:lnTo>
                    <a:pt x="241" y="56"/>
                  </a:lnTo>
                  <a:lnTo>
                    <a:pt x="239" y="56"/>
                  </a:lnTo>
                  <a:lnTo>
                    <a:pt x="239" y="54"/>
                  </a:lnTo>
                  <a:lnTo>
                    <a:pt x="239" y="52"/>
                  </a:lnTo>
                  <a:lnTo>
                    <a:pt x="239" y="50"/>
                  </a:lnTo>
                  <a:lnTo>
                    <a:pt x="237" y="50"/>
                  </a:lnTo>
                  <a:lnTo>
                    <a:pt x="235" y="50"/>
                  </a:lnTo>
                  <a:lnTo>
                    <a:pt x="231" y="52"/>
                  </a:lnTo>
                  <a:lnTo>
                    <a:pt x="227" y="52"/>
                  </a:lnTo>
                  <a:lnTo>
                    <a:pt x="223" y="52"/>
                  </a:lnTo>
                  <a:lnTo>
                    <a:pt x="221" y="54"/>
                  </a:lnTo>
                  <a:lnTo>
                    <a:pt x="219" y="56"/>
                  </a:lnTo>
                  <a:lnTo>
                    <a:pt x="218" y="56"/>
                  </a:lnTo>
                  <a:lnTo>
                    <a:pt x="218" y="58"/>
                  </a:lnTo>
                  <a:lnTo>
                    <a:pt x="221" y="54"/>
                  </a:lnTo>
                  <a:lnTo>
                    <a:pt x="221" y="56"/>
                  </a:lnTo>
                  <a:lnTo>
                    <a:pt x="219" y="58"/>
                  </a:lnTo>
                  <a:lnTo>
                    <a:pt x="219" y="59"/>
                  </a:lnTo>
                  <a:lnTo>
                    <a:pt x="218" y="59"/>
                  </a:lnTo>
                  <a:lnTo>
                    <a:pt x="218" y="61"/>
                  </a:lnTo>
                  <a:lnTo>
                    <a:pt x="218" y="63"/>
                  </a:lnTo>
                  <a:lnTo>
                    <a:pt x="218" y="65"/>
                  </a:lnTo>
                  <a:lnTo>
                    <a:pt x="218" y="67"/>
                  </a:lnTo>
                  <a:lnTo>
                    <a:pt x="216" y="69"/>
                  </a:lnTo>
                  <a:lnTo>
                    <a:pt x="216" y="67"/>
                  </a:lnTo>
                  <a:lnTo>
                    <a:pt x="214" y="67"/>
                  </a:lnTo>
                  <a:lnTo>
                    <a:pt x="214" y="65"/>
                  </a:lnTo>
                  <a:lnTo>
                    <a:pt x="212" y="65"/>
                  </a:lnTo>
                  <a:lnTo>
                    <a:pt x="212" y="63"/>
                  </a:lnTo>
                  <a:lnTo>
                    <a:pt x="210" y="65"/>
                  </a:lnTo>
                  <a:lnTo>
                    <a:pt x="208" y="65"/>
                  </a:lnTo>
                  <a:lnTo>
                    <a:pt x="208" y="63"/>
                  </a:lnTo>
                  <a:lnTo>
                    <a:pt x="208" y="61"/>
                  </a:lnTo>
                  <a:lnTo>
                    <a:pt x="206" y="61"/>
                  </a:lnTo>
                  <a:lnTo>
                    <a:pt x="206" y="59"/>
                  </a:lnTo>
                  <a:lnTo>
                    <a:pt x="204" y="59"/>
                  </a:lnTo>
                  <a:lnTo>
                    <a:pt x="202" y="59"/>
                  </a:lnTo>
                  <a:lnTo>
                    <a:pt x="198" y="61"/>
                  </a:lnTo>
                  <a:lnTo>
                    <a:pt x="196" y="61"/>
                  </a:lnTo>
                  <a:lnTo>
                    <a:pt x="194" y="63"/>
                  </a:lnTo>
                  <a:lnTo>
                    <a:pt x="194" y="65"/>
                  </a:lnTo>
                  <a:lnTo>
                    <a:pt x="198" y="67"/>
                  </a:lnTo>
                  <a:lnTo>
                    <a:pt x="196" y="67"/>
                  </a:lnTo>
                  <a:lnTo>
                    <a:pt x="194" y="65"/>
                  </a:lnTo>
                  <a:lnTo>
                    <a:pt x="194" y="67"/>
                  </a:lnTo>
                  <a:lnTo>
                    <a:pt x="193" y="69"/>
                  </a:lnTo>
                  <a:lnTo>
                    <a:pt x="191" y="71"/>
                  </a:lnTo>
                  <a:lnTo>
                    <a:pt x="193" y="67"/>
                  </a:lnTo>
                  <a:lnTo>
                    <a:pt x="191" y="67"/>
                  </a:lnTo>
                  <a:lnTo>
                    <a:pt x="193" y="67"/>
                  </a:lnTo>
                  <a:lnTo>
                    <a:pt x="193" y="65"/>
                  </a:lnTo>
                  <a:lnTo>
                    <a:pt x="194" y="61"/>
                  </a:lnTo>
                  <a:lnTo>
                    <a:pt x="193" y="61"/>
                  </a:lnTo>
                  <a:lnTo>
                    <a:pt x="191" y="61"/>
                  </a:lnTo>
                  <a:lnTo>
                    <a:pt x="191" y="59"/>
                  </a:lnTo>
                  <a:lnTo>
                    <a:pt x="191" y="58"/>
                  </a:lnTo>
                  <a:lnTo>
                    <a:pt x="193" y="56"/>
                  </a:lnTo>
                  <a:lnTo>
                    <a:pt x="193" y="54"/>
                  </a:lnTo>
                  <a:lnTo>
                    <a:pt x="193" y="56"/>
                  </a:lnTo>
                  <a:lnTo>
                    <a:pt x="194" y="56"/>
                  </a:lnTo>
                  <a:lnTo>
                    <a:pt x="198" y="52"/>
                  </a:lnTo>
                  <a:lnTo>
                    <a:pt x="202" y="50"/>
                  </a:lnTo>
                  <a:lnTo>
                    <a:pt x="202" y="48"/>
                  </a:lnTo>
                  <a:lnTo>
                    <a:pt x="202" y="42"/>
                  </a:lnTo>
                  <a:lnTo>
                    <a:pt x="202" y="38"/>
                  </a:lnTo>
                  <a:lnTo>
                    <a:pt x="204" y="36"/>
                  </a:lnTo>
                  <a:lnTo>
                    <a:pt x="204" y="34"/>
                  </a:lnTo>
                  <a:lnTo>
                    <a:pt x="206" y="34"/>
                  </a:lnTo>
                  <a:lnTo>
                    <a:pt x="206" y="33"/>
                  </a:lnTo>
                  <a:lnTo>
                    <a:pt x="206" y="34"/>
                  </a:lnTo>
                  <a:lnTo>
                    <a:pt x="210" y="34"/>
                  </a:lnTo>
                  <a:lnTo>
                    <a:pt x="208" y="29"/>
                  </a:lnTo>
                  <a:lnTo>
                    <a:pt x="204" y="27"/>
                  </a:lnTo>
                  <a:lnTo>
                    <a:pt x="202" y="27"/>
                  </a:lnTo>
                  <a:lnTo>
                    <a:pt x="200" y="27"/>
                  </a:lnTo>
                  <a:lnTo>
                    <a:pt x="198" y="29"/>
                  </a:lnTo>
                  <a:lnTo>
                    <a:pt x="200" y="31"/>
                  </a:lnTo>
                  <a:lnTo>
                    <a:pt x="200" y="33"/>
                  </a:lnTo>
                  <a:lnTo>
                    <a:pt x="200" y="31"/>
                  </a:lnTo>
                  <a:lnTo>
                    <a:pt x="202" y="31"/>
                  </a:lnTo>
                  <a:lnTo>
                    <a:pt x="202" y="33"/>
                  </a:lnTo>
                  <a:lnTo>
                    <a:pt x="202" y="34"/>
                  </a:lnTo>
                  <a:lnTo>
                    <a:pt x="202" y="36"/>
                  </a:lnTo>
                  <a:lnTo>
                    <a:pt x="200" y="36"/>
                  </a:lnTo>
                  <a:lnTo>
                    <a:pt x="196" y="34"/>
                  </a:lnTo>
                  <a:lnTo>
                    <a:pt x="193" y="40"/>
                  </a:lnTo>
                  <a:lnTo>
                    <a:pt x="189" y="40"/>
                  </a:lnTo>
                  <a:lnTo>
                    <a:pt x="187" y="40"/>
                  </a:lnTo>
                  <a:lnTo>
                    <a:pt x="185" y="36"/>
                  </a:lnTo>
                  <a:lnTo>
                    <a:pt x="179" y="34"/>
                  </a:lnTo>
                  <a:lnTo>
                    <a:pt x="177" y="33"/>
                  </a:lnTo>
                  <a:lnTo>
                    <a:pt x="173" y="31"/>
                  </a:lnTo>
                  <a:lnTo>
                    <a:pt x="173" y="33"/>
                  </a:lnTo>
                  <a:lnTo>
                    <a:pt x="171" y="33"/>
                  </a:lnTo>
                  <a:lnTo>
                    <a:pt x="169" y="36"/>
                  </a:lnTo>
                  <a:lnTo>
                    <a:pt x="169" y="38"/>
                  </a:lnTo>
                  <a:lnTo>
                    <a:pt x="169" y="40"/>
                  </a:lnTo>
                  <a:lnTo>
                    <a:pt x="168" y="40"/>
                  </a:lnTo>
                  <a:lnTo>
                    <a:pt x="168" y="38"/>
                  </a:lnTo>
                  <a:lnTo>
                    <a:pt x="169" y="36"/>
                  </a:lnTo>
                  <a:lnTo>
                    <a:pt x="169" y="34"/>
                  </a:lnTo>
                  <a:lnTo>
                    <a:pt x="169" y="33"/>
                  </a:lnTo>
                  <a:lnTo>
                    <a:pt x="169" y="31"/>
                  </a:lnTo>
                  <a:lnTo>
                    <a:pt x="168" y="29"/>
                  </a:lnTo>
                  <a:lnTo>
                    <a:pt x="162" y="31"/>
                  </a:lnTo>
                  <a:lnTo>
                    <a:pt x="160" y="31"/>
                  </a:lnTo>
                  <a:lnTo>
                    <a:pt x="158" y="31"/>
                  </a:lnTo>
                  <a:lnTo>
                    <a:pt x="158" y="29"/>
                  </a:lnTo>
                  <a:lnTo>
                    <a:pt x="162" y="27"/>
                  </a:lnTo>
                  <a:lnTo>
                    <a:pt x="164" y="27"/>
                  </a:lnTo>
                  <a:lnTo>
                    <a:pt x="164" y="25"/>
                  </a:lnTo>
                  <a:lnTo>
                    <a:pt x="164" y="19"/>
                  </a:lnTo>
                  <a:lnTo>
                    <a:pt x="166" y="17"/>
                  </a:lnTo>
                  <a:lnTo>
                    <a:pt x="162" y="17"/>
                  </a:lnTo>
                  <a:lnTo>
                    <a:pt x="162" y="15"/>
                  </a:lnTo>
                  <a:lnTo>
                    <a:pt x="166" y="15"/>
                  </a:lnTo>
                  <a:lnTo>
                    <a:pt x="164" y="13"/>
                  </a:lnTo>
                  <a:lnTo>
                    <a:pt x="164" y="11"/>
                  </a:lnTo>
                  <a:lnTo>
                    <a:pt x="162" y="10"/>
                  </a:lnTo>
                  <a:lnTo>
                    <a:pt x="160" y="8"/>
                  </a:lnTo>
                  <a:lnTo>
                    <a:pt x="160" y="10"/>
                  </a:lnTo>
                  <a:lnTo>
                    <a:pt x="158" y="11"/>
                  </a:lnTo>
                  <a:lnTo>
                    <a:pt x="158" y="10"/>
                  </a:lnTo>
                  <a:lnTo>
                    <a:pt x="158" y="8"/>
                  </a:lnTo>
                  <a:lnTo>
                    <a:pt x="152" y="6"/>
                  </a:lnTo>
                  <a:lnTo>
                    <a:pt x="150" y="6"/>
                  </a:lnTo>
                  <a:lnTo>
                    <a:pt x="150" y="4"/>
                  </a:lnTo>
                  <a:lnTo>
                    <a:pt x="148" y="2"/>
                  </a:lnTo>
                  <a:lnTo>
                    <a:pt x="144" y="6"/>
                  </a:lnTo>
                  <a:lnTo>
                    <a:pt x="143" y="6"/>
                  </a:lnTo>
                  <a:lnTo>
                    <a:pt x="139" y="8"/>
                  </a:lnTo>
                  <a:lnTo>
                    <a:pt x="137" y="6"/>
                  </a:lnTo>
                  <a:lnTo>
                    <a:pt x="137" y="4"/>
                  </a:lnTo>
                  <a:lnTo>
                    <a:pt x="133" y="4"/>
                  </a:lnTo>
                  <a:lnTo>
                    <a:pt x="129" y="4"/>
                  </a:lnTo>
                  <a:lnTo>
                    <a:pt x="127" y="2"/>
                  </a:lnTo>
                  <a:lnTo>
                    <a:pt x="125" y="2"/>
                  </a:lnTo>
                  <a:lnTo>
                    <a:pt x="123" y="2"/>
                  </a:lnTo>
                  <a:lnTo>
                    <a:pt x="121" y="2"/>
                  </a:lnTo>
                  <a:lnTo>
                    <a:pt x="120" y="2"/>
                  </a:lnTo>
                  <a:lnTo>
                    <a:pt x="118" y="2"/>
                  </a:lnTo>
                  <a:lnTo>
                    <a:pt x="116" y="0"/>
                  </a:lnTo>
                  <a:lnTo>
                    <a:pt x="116" y="2"/>
                  </a:lnTo>
                  <a:lnTo>
                    <a:pt x="116" y="8"/>
                  </a:lnTo>
                  <a:lnTo>
                    <a:pt x="118" y="8"/>
                  </a:lnTo>
                  <a:lnTo>
                    <a:pt x="118" y="10"/>
                  </a:lnTo>
                  <a:lnTo>
                    <a:pt x="118" y="11"/>
                  </a:lnTo>
                  <a:lnTo>
                    <a:pt x="118" y="13"/>
                  </a:lnTo>
                  <a:lnTo>
                    <a:pt x="120" y="13"/>
                  </a:lnTo>
                  <a:lnTo>
                    <a:pt x="120" y="17"/>
                  </a:lnTo>
                  <a:lnTo>
                    <a:pt x="121" y="17"/>
                  </a:lnTo>
                  <a:lnTo>
                    <a:pt x="121" y="19"/>
                  </a:lnTo>
                  <a:lnTo>
                    <a:pt x="121" y="21"/>
                  </a:lnTo>
                  <a:lnTo>
                    <a:pt x="123" y="19"/>
                  </a:lnTo>
                  <a:lnTo>
                    <a:pt x="125" y="23"/>
                  </a:lnTo>
                  <a:lnTo>
                    <a:pt x="125" y="25"/>
                  </a:lnTo>
                  <a:lnTo>
                    <a:pt x="127" y="29"/>
                  </a:lnTo>
                  <a:lnTo>
                    <a:pt x="127" y="31"/>
                  </a:lnTo>
                  <a:lnTo>
                    <a:pt x="125" y="31"/>
                  </a:lnTo>
                  <a:lnTo>
                    <a:pt x="123" y="33"/>
                  </a:lnTo>
                  <a:lnTo>
                    <a:pt x="121" y="33"/>
                  </a:lnTo>
                  <a:lnTo>
                    <a:pt x="116" y="33"/>
                  </a:lnTo>
                  <a:lnTo>
                    <a:pt x="114" y="34"/>
                  </a:lnTo>
                  <a:lnTo>
                    <a:pt x="116" y="34"/>
                  </a:lnTo>
                  <a:lnTo>
                    <a:pt x="114" y="36"/>
                  </a:lnTo>
                  <a:lnTo>
                    <a:pt x="112" y="38"/>
                  </a:lnTo>
                  <a:lnTo>
                    <a:pt x="114" y="40"/>
                  </a:lnTo>
                  <a:lnTo>
                    <a:pt x="116" y="42"/>
                  </a:lnTo>
                  <a:lnTo>
                    <a:pt x="116" y="40"/>
                  </a:lnTo>
                  <a:lnTo>
                    <a:pt x="118" y="40"/>
                  </a:lnTo>
                  <a:lnTo>
                    <a:pt x="120" y="40"/>
                  </a:lnTo>
                  <a:lnTo>
                    <a:pt x="121" y="40"/>
                  </a:lnTo>
                  <a:lnTo>
                    <a:pt x="121" y="42"/>
                  </a:lnTo>
                  <a:lnTo>
                    <a:pt x="121" y="44"/>
                  </a:lnTo>
                  <a:lnTo>
                    <a:pt x="120" y="48"/>
                  </a:lnTo>
                  <a:lnTo>
                    <a:pt x="120" y="50"/>
                  </a:lnTo>
                  <a:lnTo>
                    <a:pt x="121" y="52"/>
                  </a:lnTo>
                  <a:lnTo>
                    <a:pt x="123" y="52"/>
                  </a:lnTo>
                  <a:lnTo>
                    <a:pt x="125" y="52"/>
                  </a:lnTo>
                  <a:lnTo>
                    <a:pt x="127" y="54"/>
                  </a:lnTo>
                  <a:lnTo>
                    <a:pt x="127" y="56"/>
                  </a:lnTo>
                  <a:lnTo>
                    <a:pt x="125" y="58"/>
                  </a:lnTo>
                  <a:lnTo>
                    <a:pt x="123" y="56"/>
                  </a:lnTo>
                  <a:lnTo>
                    <a:pt x="121" y="56"/>
                  </a:lnTo>
                  <a:lnTo>
                    <a:pt x="121" y="58"/>
                  </a:lnTo>
                  <a:lnTo>
                    <a:pt x="121" y="59"/>
                  </a:lnTo>
                  <a:lnTo>
                    <a:pt x="123" y="65"/>
                  </a:lnTo>
                  <a:lnTo>
                    <a:pt x="125" y="65"/>
                  </a:lnTo>
                  <a:lnTo>
                    <a:pt x="127" y="65"/>
                  </a:lnTo>
                  <a:lnTo>
                    <a:pt x="129" y="67"/>
                  </a:lnTo>
                  <a:lnTo>
                    <a:pt x="133" y="67"/>
                  </a:lnTo>
                  <a:lnTo>
                    <a:pt x="135" y="67"/>
                  </a:lnTo>
                  <a:lnTo>
                    <a:pt x="139" y="69"/>
                  </a:lnTo>
                  <a:lnTo>
                    <a:pt x="139" y="71"/>
                  </a:lnTo>
                  <a:lnTo>
                    <a:pt x="141" y="73"/>
                  </a:lnTo>
                  <a:lnTo>
                    <a:pt x="141" y="75"/>
                  </a:lnTo>
                  <a:lnTo>
                    <a:pt x="141" y="77"/>
                  </a:lnTo>
                  <a:lnTo>
                    <a:pt x="143" y="79"/>
                  </a:lnTo>
                  <a:lnTo>
                    <a:pt x="144" y="79"/>
                  </a:lnTo>
                  <a:lnTo>
                    <a:pt x="144" y="83"/>
                  </a:lnTo>
                  <a:lnTo>
                    <a:pt x="146" y="84"/>
                  </a:lnTo>
                  <a:lnTo>
                    <a:pt x="146" y="86"/>
                  </a:lnTo>
                  <a:lnTo>
                    <a:pt x="150" y="88"/>
                  </a:lnTo>
                  <a:lnTo>
                    <a:pt x="152" y="88"/>
                  </a:lnTo>
                  <a:lnTo>
                    <a:pt x="156" y="90"/>
                  </a:lnTo>
                  <a:lnTo>
                    <a:pt x="154" y="92"/>
                  </a:lnTo>
                  <a:lnTo>
                    <a:pt x="152" y="90"/>
                  </a:lnTo>
                  <a:lnTo>
                    <a:pt x="146" y="88"/>
                  </a:lnTo>
                  <a:lnTo>
                    <a:pt x="144" y="86"/>
                  </a:lnTo>
                  <a:lnTo>
                    <a:pt x="144" y="83"/>
                  </a:lnTo>
                  <a:lnTo>
                    <a:pt x="143" y="81"/>
                  </a:lnTo>
                  <a:lnTo>
                    <a:pt x="141" y="79"/>
                  </a:lnTo>
                  <a:lnTo>
                    <a:pt x="139" y="75"/>
                  </a:lnTo>
                  <a:lnTo>
                    <a:pt x="139" y="73"/>
                  </a:lnTo>
                  <a:lnTo>
                    <a:pt x="137" y="71"/>
                  </a:lnTo>
                  <a:lnTo>
                    <a:pt x="135" y="69"/>
                  </a:lnTo>
                  <a:lnTo>
                    <a:pt x="133" y="69"/>
                  </a:lnTo>
                  <a:lnTo>
                    <a:pt x="129" y="69"/>
                  </a:lnTo>
                  <a:lnTo>
                    <a:pt x="127" y="69"/>
                  </a:lnTo>
                  <a:lnTo>
                    <a:pt x="125" y="69"/>
                  </a:lnTo>
                  <a:lnTo>
                    <a:pt x="121" y="71"/>
                  </a:lnTo>
                  <a:lnTo>
                    <a:pt x="118" y="71"/>
                  </a:lnTo>
                  <a:lnTo>
                    <a:pt x="114" y="67"/>
                  </a:lnTo>
                  <a:lnTo>
                    <a:pt x="114" y="65"/>
                  </a:lnTo>
                  <a:lnTo>
                    <a:pt x="112" y="67"/>
                  </a:lnTo>
                  <a:lnTo>
                    <a:pt x="110" y="69"/>
                  </a:lnTo>
                  <a:lnTo>
                    <a:pt x="108" y="75"/>
                  </a:lnTo>
                  <a:lnTo>
                    <a:pt x="106" y="79"/>
                  </a:lnTo>
                  <a:lnTo>
                    <a:pt x="106" y="81"/>
                  </a:lnTo>
                  <a:lnTo>
                    <a:pt x="106" y="83"/>
                  </a:lnTo>
                  <a:lnTo>
                    <a:pt x="108" y="84"/>
                  </a:lnTo>
                  <a:lnTo>
                    <a:pt x="108" y="86"/>
                  </a:lnTo>
                  <a:lnTo>
                    <a:pt x="108" y="88"/>
                  </a:lnTo>
                  <a:lnTo>
                    <a:pt x="110" y="90"/>
                  </a:lnTo>
                  <a:lnTo>
                    <a:pt x="108" y="90"/>
                  </a:lnTo>
                  <a:lnTo>
                    <a:pt x="108" y="88"/>
                  </a:lnTo>
                  <a:lnTo>
                    <a:pt x="102" y="84"/>
                  </a:lnTo>
                  <a:lnTo>
                    <a:pt x="100" y="84"/>
                  </a:lnTo>
                  <a:lnTo>
                    <a:pt x="100" y="83"/>
                  </a:lnTo>
                  <a:lnTo>
                    <a:pt x="98" y="84"/>
                  </a:lnTo>
                  <a:lnTo>
                    <a:pt x="96" y="88"/>
                  </a:lnTo>
                  <a:lnTo>
                    <a:pt x="96" y="90"/>
                  </a:lnTo>
                  <a:lnTo>
                    <a:pt x="100" y="88"/>
                  </a:lnTo>
                  <a:lnTo>
                    <a:pt x="100" y="90"/>
                  </a:lnTo>
                  <a:lnTo>
                    <a:pt x="100" y="92"/>
                  </a:lnTo>
                  <a:lnTo>
                    <a:pt x="100" y="96"/>
                  </a:lnTo>
                  <a:lnTo>
                    <a:pt x="98" y="98"/>
                  </a:lnTo>
                  <a:lnTo>
                    <a:pt x="96" y="96"/>
                  </a:lnTo>
                  <a:lnTo>
                    <a:pt x="95" y="94"/>
                  </a:lnTo>
                  <a:lnTo>
                    <a:pt x="93" y="94"/>
                  </a:lnTo>
                  <a:lnTo>
                    <a:pt x="91" y="92"/>
                  </a:lnTo>
                  <a:lnTo>
                    <a:pt x="91" y="90"/>
                  </a:lnTo>
                  <a:lnTo>
                    <a:pt x="93" y="90"/>
                  </a:lnTo>
                  <a:lnTo>
                    <a:pt x="95" y="88"/>
                  </a:lnTo>
                  <a:lnTo>
                    <a:pt x="95" y="86"/>
                  </a:lnTo>
                  <a:lnTo>
                    <a:pt x="93" y="81"/>
                  </a:lnTo>
                  <a:lnTo>
                    <a:pt x="91" y="81"/>
                  </a:lnTo>
                  <a:lnTo>
                    <a:pt x="91" y="79"/>
                  </a:lnTo>
                  <a:lnTo>
                    <a:pt x="91" y="77"/>
                  </a:lnTo>
                  <a:lnTo>
                    <a:pt x="87" y="77"/>
                  </a:lnTo>
                  <a:lnTo>
                    <a:pt x="83" y="77"/>
                  </a:lnTo>
                  <a:lnTo>
                    <a:pt x="81" y="77"/>
                  </a:lnTo>
                  <a:lnTo>
                    <a:pt x="79" y="77"/>
                  </a:lnTo>
                  <a:lnTo>
                    <a:pt x="73" y="79"/>
                  </a:lnTo>
                  <a:lnTo>
                    <a:pt x="71" y="79"/>
                  </a:lnTo>
                  <a:lnTo>
                    <a:pt x="70" y="77"/>
                  </a:lnTo>
                  <a:lnTo>
                    <a:pt x="66" y="77"/>
                  </a:lnTo>
                  <a:lnTo>
                    <a:pt x="62" y="79"/>
                  </a:lnTo>
                  <a:lnTo>
                    <a:pt x="60" y="81"/>
                  </a:lnTo>
                  <a:lnTo>
                    <a:pt x="56" y="84"/>
                  </a:lnTo>
                  <a:lnTo>
                    <a:pt x="56" y="86"/>
                  </a:lnTo>
                  <a:lnTo>
                    <a:pt x="58" y="86"/>
                  </a:lnTo>
                  <a:lnTo>
                    <a:pt x="56" y="88"/>
                  </a:lnTo>
                  <a:lnTo>
                    <a:pt x="54" y="88"/>
                  </a:lnTo>
                  <a:lnTo>
                    <a:pt x="52" y="98"/>
                  </a:lnTo>
                  <a:lnTo>
                    <a:pt x="52" y="100"/>
                  </a:lnTo>
                  <a:lnTo>
                    <a:pt x="56" y="100"/>
                  </a:lnTo>
                  <a:lnTo>
                    <a:pt x="58" y="100"/>
                  </a:lnTo>
                  <a:lnTo>
                    <a:pt x="62" y="100"/>
                  </a:lnTo>
                  <a:lnTo>
                    <a:pt x="64" y="102"/>
                  </a:lnTo>
                  <a:lnTo>
                    <a:pt x="60" y="102"/>
                  </a:lnTo>
                  <a:lnTo>
                    <a:pt x="60" y="104"/>
                  </a:lnTo>
                  <a:lnTo>
                    <a:pt x="58" y="104"/>
                  </a:lnTo>
                  <a:lnTo>
                    <a:pt x="58" y="107"/>
                  </a:lnTo>
                  <a:lnTo>
                    <a:pt x="58" y="109"/>
                  </a:lnTo>
                  <a:lnTo>
                    <a:pt x="56" y="109"/>
                  </a:lnTo>
                  <a:lnTo>
                    <a:pt x="56" y="111"/>
                  </a:lnTo>
                  <a:lnTo>
                    <a:pt x="58" y="113"/>
                  </a:lnTo>
                  <a:lnTo>
                    <a:pt x="58" y="115"/>
                  </a:lnTo>
                  <a:lnTo>
                    <a:pt x="58" y="121"/>
                  </a:lnTo>
                  <a:lnTo>
                    <a:pt x="56" y="125"/>
                  </a:lnTo>
                  <a:lnTo>
                    <a:pt x="52" y="131"/>
                  </a:lnTo>
                  <a:lnTo>
                    <a:pt x="52" y="132"/>
                  </a:lnTo>
                  <a:lnTo>
                    <a:pt x="50" y="142"/>
                  </a:lnTo>
                  <a:lnTo>
                    <a:pt x="50" y="144"/>
                  </a:lnTo>
                  <a:lnTo>
                    <a:pt x="48" y="144"/>
                  </a:lnTo>
                  <a:lnTo>
                    <a:pt x="46" y="144"/>
                  </a:lnTo>
                  <a:lnTo>
                    <a:pt x="45" y="142"/>
                  </a:lnTo>
                  <a:lnTo>
                    <a:pt x="39" y="142"/>
                  </a:lnTo>
                  <a:lnTo>
                    <a:pt x="37" y="144"/>
                  </a:lnTo>
                  <a:lnTo>
                    <a:pt x="39" y="144"/>
                  </a:lnTo>
                  <a:lnTo>
                    <a:pt x="37" y="146"/>
                  </a:lnTo>
                  <a:lnTo>
                    <a:pt x="39" y="148"/>
                  </a:lnTo>
                  <a:lnTo>
                    <a:pt x="37" y="148"/>
                  </a:lnTo>
                  <a:lnTo>
                    <a:pt x="37" y="150"/>
                  </a:lnTo>
                  <a:lnTo>
                    <a:pt x="37" y="152"/>
                  </a:lnTo>
                  <a:lnTo>
                    <a:pt x="39" y="154"/>
                  </a:lnTo>
                  <a:lnTo>
                    <a:pt x="43" y="154"/>
                  </a:lnTo>
                  <a:lnTo>
                    <a:pt x="46" y="156"/>
                  </a:lnTo>
                  <a:lnTo>
                    <a:pt x="48" y="154"/>
                  </a:lnTo>
                  <a:lnTo>
                    <a:pt x="48" y="156"/>
                  </a:lnTo>
                  <a:lnTo>
                    <a:pt x="48" y="157"/>
                  </a:lnTo>
                  <a:lnTo>
                    <a:pt x="50" y="159"/>
                  </a:lnTo>
                  <a:lnTo>
                    <a:pt x="50" y="161"/>
                  </a:lnTo>
                  <a:lnTo>
                    <a:pt x="48" y="167"/>
                  </a:lnTo>
                  <a:lnTo>
                    <a:pt x="50" y="169"/>
                  </a:lnTo>
                  <a:lnTo>
                    <a:pt x="48" y="171"/>
                  </a:lnTo>
                  <a:lnTo>
                    <a:pt x="46" y="171"/>
                  </a:lnTo>
                  <a:lnTo>
                    <a:pt x="45" y="173"/>
                  </a:lnTo>
                  <a:lnTo>
                    <a:pt x="43" y="175"/>
                  </a:lnTo>
                  <a:lnTo>
                    <a:pt x="43" y="177"/>
                  </a:lnTo>
                  <a:lnTo>
                    <a:pt x="41" y="177"/>
                  </a:lnTo>
                  <a:lnTo>
                    <a:pt x="39" y="177"/>
                  </a:lnTo>
                  <a:lnTo>
                    <a:pt x="39" y="179"/>
                  </a:lnTo>
                  <a:lnTo>
                    <a:pt x="37" y="181"/>
                  </a:lnTo>
                  <a:lnTo>
                    <a:pt x="35" y="181"/>
                  </a:lnTo>
                  <a:lnTo>
                    <a:pt x="35" y="182"/>
                  </a:lnTo>
                  <a:lnTo>
                    <a:pt x="37" y="182"/>
                  </a:lnTo>
                  <a:lnTo>
                    <a:pt x="41" y="186"/>
                  </a:lnTo>
                  <a:lnTo>
                    <a:pt x="41" y="188"/>
                  </a:lnTo>
                  <a:lnTo>
                    <a:pt x="39" y="188"/>
                  </a:lnTo>
                  <a:lnTo>
                    <a:pt x="37" y="190"/>
                  </a:lnTo>
                  <a:lnTo>
                    <a:pt x="35" y="192"/>
                  </a:lnTo>
                  <a:lnTo>
                    <a:pt x="35" y="190"/>
                  </a:lnTo>
                  <a:lnTo>
                    <a:pt x="33" y="190"/>
                  </a:lnTo>
                  <a:lnTo>
                    <a:pt x="31" y="192"/>
                  </a:lnTo>
                  <a:lnTo>
                    <a:pt x="29" y="192"/>
                  </a:lnTo>
                  <a:lnTo>
                    <a:pt x="27" y="192"/>
                  </a:lnTo>
                  <a:lnTo>
                    <a:pt x="25" y="194"/>
                  </a:lnTo>
                  <a:lnTo>
                    <a:pt x="25" y="192"/>
                  </a:lnTo>
                  <a:lnTo>
                    <a:pt x="23" y="192"/>
                  </a:lnTo>
                  <a:lnTo>
                    <a:pt x="23" y="194"/>
                  </a:lnTo>
                  <a:lnTo>
                    <a:pt x="21" y="194"/>
                  </a:lnTo>
                  <a:lnTo>
                    <a:pt x="20" y="192"/>
                  </a:lnTo>
                  <a:lnTo>
                    <a:pt x="18" y="192"/>
                  </a:lnTo>
                  <a:lnTo>
                    <a:pt x="16" y="192"/>
                  </a:lnTo>
                  <a:lnTo>
                    <a:pt x="14" y="190"/>
                  </a:lnTo>
                  <a:lnTo>
                    <a:pt x="12" y="190"/>
                  </a:lnTo>
                  <a:lnTo>
                    <a:pt x="14" y="192"/>
                  </a:lnTo>
                  <a:lnTo>
                    <a:pt x="16" y="194"/>
                  </a:lnTo>
                  <a:lnTo>
                    <a:pt x="12" y="192"/>
                  </a:lnTo>
                  <a:lnTo>
                    <a:pt x="10" y="192"/>
                  </a:lnTo>
                  <a:lnTo>
                    <a:pt x="8" y="194"/>
                  </a:lnTo>
                  <a:lnTo>
                    <a:pt x="6" y="194"/>
                  </a:lnTo>
                  <a:lnTo>
                    <a:pt x="8" y="196"/>
                  </a:lnTo>
                  <a:lnTo>
                    <a:pt x="8" y="198"/>
                  </a:lnTo>
                  <a:lnTo>
                    <a:pt x="6" y="200"/>
                  </a:lnTo>
                  <a:lnTo>
                    <a:pt x="8" y="200"/>
                  </a:lnTo>
                  <a:lnTo>
                    <a:pt x="10" y="202"/>
                  </a:lnTo>
                  <a:lnTo>
                    <a:pt x="10" y="204"/>
                  </a:lnTo>
                  <a:lnTo>
                    <a:pt x="12" y="205"/>
                  </a:lnTo>
                  <a:lnTo>
                    <a:pt x="10" y="209"/>
                  </a:lnTo>
                  <a:lnTo>
                    <a:pt x="14" y="211"/>
                  </a:lnTo>
                  <a:lnTo>
                    <a:pt x="14" y="213"/>
                  </a:lnTo>
                  <a:lnTo>
                    <a:pt x="16" y="217"/>
                  </a:lnTo>
                  <a:lnTo>
                    <a:pt x="14" y="221"/>
                  </a:lnTo>
                  <a:lnTo>
                    <a:pt x="16" y="223"/>
                  </a:lnTo>
                  <a:lnTo>
                    <a:pt x="14" y="223"/>
                  </a:lnTo>
                  <a:lnTo>
                    <a:pt x="16" y="225"/>
                  </a:lnTo>
                  <a:lnTo>
                    <a:pt x="12" y="227"/>
                  </a:lnTo>
                  <a:lnTo>
                    <a:pt x="10" y="230"/>
                  </a:lnTo>
                  <a:lnTo>
                    <a:pt x="8" y="232"/>
                  </a:lnTo>
                  <a:lnTo>
                    <a:pt x="8" y="236"/>
                  </a:lnTo>
                  <a:lnTo>
                    <a:pt x="12" y="236"/>
                  </a:lnTo>
                  <a:lnTo>
                    <a:pt x="10" y="236"/>
                  </a:lnTo>
                  <a:lnTo>
                    <a:pt x="12" y="238"/>
                  </a:lnTo>
                  <a:lnTo>
                    <a:pt x="8" y="238"/>
                  </a:lnTo>
                  <a:lnTo>
                    <a:pt x="8" y="240"/>
                  </a:lnTo>
                  <a:lnTo>
                    <a:pt x="6" y="242"/>
                  </a:lnTo>
                  <a:lnTo>
                    <a:pt x="4" y="242"/>
                  </a:lnTo>
                  <a:lnTo>
                    <a:pt x="4" y="244"/>
                  </a:lnTo>
                  <a:lnTo>
                    <a:pt x="2" y="246"/>
                  </a:lnTo>
                  <a:lnTo>
                    <a:pt x="2" y="242"/>
                  </a:lnTo>
                  <a:lnTo>
                    <a:pt x="0" y="244"/>
                  </a:lnTo>
                  <a:lnTo>
                    <a:pt x="0" y="246"/>
                  </a:lnTo>
                  <a:lnTo>
                    <a:pt x="0" y="248"/>
                  </a:lnTo>
                  <a:lnTo>
                    <a:pt x="2" y="248"/>
                  </a:lnTo>
                  <a:lnTo>
                    <a:pt x="6" y="248"/>
                  </a:lnTo>
                  <a:lnTo>
                    <a:pt x="4" y="250"/>
                  </a:lnTo>
                  <a:lnTo>
                    <a:pt x="6" y="252"/>
                  </a:lnTo>
                  <a:lnTo>
                    <a:pt x="6" y="254"/>
                  </a:lnTo>
                  <a:lnTo>
                    <a:pt x="8" y="254"/>
                  </a:lnTo>
                  <a:lnTo>
                    <a:pt x="6" y="255"/>
                  </a:lnTo>
                  <a:lnTo>
                    <a:pt x="8" y="255"/>
                  </a:lnTo>
                  <a:lnTo>
                    <a:pt x="6" y="257"/>
                  </a:lnTo>
                  <a:lnTo>
                    <a:pt x="4" y="257"/>
                  </a:lnTo>
                  <a:lnTo>
                    <a:pt x="4" y="259"/>
                  </a:lnTo>
                  <a:lnTo>
                    <a:pt x="4" y="261"/>
                  </a:lnTo>
                  <a:lnTo>
                    <a:pt x="2" y="259"/>
                  </a:lnTo>
                  <a:lnTo>
                    <a:pt x="2" y="261"/>
                  </a:lnTo>
                  <a:lnTo>
                    <a:pt x="4" y="261"/>
                  </a:lnTo>
                  <a:lnTo>
                    <a:pt x="4" y="263"/>
                  </a:lnTo>
                  <a:lnTo>
                    <a:pt x="4" y="265"/>
                  </a:lnTo>
                  <a:lnTo>
                    <a:pt x="6" y="265"/>
                  </a:lnTo>
                  <a:lnTo>
                    <a:pt x="8" y="265"/>
                  </a:lnTo>
                  <a:lnTo>
                    <a:pt x="8" y="269"/>
                  </a:lnTo>
                  <a:lnTo>
                    <a:pt x="10" y="271"/>
                  </a:lnTo>
                  <a:lnTo>
                    <a:pt x="10" y="273"/>
                  </a:lnTo>
                  <a:lnTo>
                    <a:pt x="12" y="273"/>
                  </a:lnTo>
                  <a:lnTo>
                    <a:pt x="14" y="273"/>
                  </a:lnTo>
                  <a:lnTo>
                    <a:pt x="12" y="275"/>
                  </a:lnTo>
                  <a:lnTo>
                    <a:pt x="10" y="277"/>
                  </a:lnTo>
                  <a:lnTo>
                    <a:pt x="10" y="279"/>
                  </a:lnTo>
                  <a:lnTo>
                    <a:pt x="10" y="280"/>
                  </a:lnTo>
                  <a:lnTo>
                    <a:pt x="12" y="280"/>
                  </a:lnTo>
                  <a:lnTo>
                    <a:pt x="14" y="280"/>
                  </a:lnTo>
                  <a:lnTo>
                    <a:pt x="16" y="282"/>
                  </a:lnTo>
                  <a:lnTo>
                    <a:pt x="16" y="284"/>
                  </a:lnTo>
                  <a:lnTo>
                    <a:pt x="16" y="286"/>
                  </a:lnTo>
                  <a:lnTo>
                    <a:pt x="16" y="288"/>
                  </a:lnTo>
                  <a:lnTo>
                    <a:pt x="16" y="290"/>
                  </a:lnTo>
                  <a:lnTo>
                    <a:pt x="18" y="292"/>
                  </a:lnTo>
                  <a:lnTo>
                    <a:pt x="16" y="292"/>
                  </a:lnTo>
                  <a:lnTo>
                    <a:pt x="16" y="294"/>
                  </a:lnTo>
                  <a:lnTo>
                    <a:pt x="14" y="292"/>
                  </a:lnTo>
                  <a:lnTo>
                    <a:pt x="14" y="294"/>
                  </a:lnTo>
                  <a:lnTo>
                    <a:pt x="12" y="294"/>
                  </a:lnTo>
                  <a:lnTo>
                    <a:pt x="12" y="296"/>
                  </a:lnTo>
                  <a:lnTo>
                    <a:pt x="10" y="296"/>
                  </a:lnTo>
                  <a:lnTo>
                    <a:pt x="8" y="296"/>
                  </a:lnTo>
                  <a:lnTo>
                    <a:pt x="8" y="298"/>
                  </a:lnTo>
                  <a:lnTo>
                    <a:pt x="8" y="300"/>
                  </a:lnTo>
                  <a:lnTo>
                    <a:pt x="8" y="302"/>
                  </a:lnTo>
                  <a:lnTo>
                    <a:pt x="6" y="302"/>
                  </a:lnTo>
                  <a:lnTo>
                    <a:pt x="6" y="303"/>
                  </a:lnTo>
                  <a:lnTo>
                    <a:pt x="6" y="305"/>
                  </a:lnTo>
                  <a:lnTo>
                    <a:pt x="4" y="307"/>
                  </a:lnTo>
                  <a:lnTo>
                    <a:pt x="4" y="311"/>
                  </a:lnTo>
                  <a:lnTo>
                    <a:pt x="6" y="313"/>
                  </a:lnTo>
                  <a:lnTo>
                    <a:pt x="8" y="315"/>
                  </a:lnTo>
                  <a:lnTo>
                    <a:pt x="8" y="319"/>
                  </a:lnTo>
                  <a:lnTo>
                    <a:pt x="10" y="321"/>
                  </a:lnTo>
                  <a:lnTo>
                    <a:pt x="12" y="323"/>
                  </a:lnTo>
                  <a:lnTo>
                    <a:pt x="14" y="325"/>
                  </a:lnTo>
                  <a:lnTo>
                    <a:pt x="16" y="327"/>
                  </a:lnTo>
                  <a:lnTo>
                    <a:pt x="18" y="325"/>
                  </a:lnTo>
                  <a:lnTo>
                    <a:pt x="20" y="327"/>
                  </a:lnTo>
                  <a:lnTo>
                    <a:pt x="18" y="330"/>
                  </a:lnTo>
                  <a:lnTo>
                    <a:pt x="16" y="334"/>
                  </a:lnTo>
                  <a:lnTo>
                    <a:pt x="14" y="338"/>
                  </a:lnTo>
                  <a:lnTo>
                    <a:pt x="12" y="340"/>
                  </a:lnTo>
                  <a:lnTo>
                    <a:pt x="12" y="342"/>
                  </a:lnTo>
                  <a:lnTo>
                    <a:pt x="10" y="344"/>
                  </a:lnTo>
                  <a:lnTo>
                    <a:pt x="12" y="348"/>
                  </a:lnTo>
                  <a:lnTo>
                    <a:pt x="14" y="348"/>
                  </a:lnTo>
                  <a:lnTo>
                    <a:pt x="16" y="350"/>
                  </a:lnTo>
                  <a:lnTo>
                    <a:pt x="18" y="352"/>
                  </a:lnTo>
                  <a:lnTo>
                    <a:pt x="20" y="357"/>
                  </a:lnTo>
                  <a:lnTo>
                    <a:pt x="21" y="359"/>
                  </a:lnTo>
                  <a:lnTo>
                    <a:pt x="21" y="361"/>
                  </a:lnTo>
                  <a:lnTo>
                    <a:pt x="21" y="363"/>
                  </a:lnTo>
                  <a:lnTo>
                    <a:pt x="23" y="363"/>
                  </a:lnTo>
                  <a:lnTo>
                    <a:pt x="23" y="365"/>
                  </a:lnTo>
                  <a:lnTo>
                    <a:pt x="25" y="365"/>
                  </a:lnTo>
                  <a:lnTo>
                    <a:pt x="25" y="367"/>
                  </a:lnTo>
                  <a:lnTo>
                    <a:pt x="25" y="369"/>
                  </a:lnTo>
                  <a:lnTo>
                    <a:pt x="27" y="369"/>
                  </a:lnTo>
                  <a:lnTo>
                    <a:pt x="29" y="369"/>
                  </a:lnTo>
                  <a:lnTo>
                    <a:pt x="29" y="367"/>
                  </a:lnTo>
                  <a:lnTo>
                    <a:pt x="29" y="369"/>
                  </a:lnTo>
                  <a:lnTo>
                    <a:pt x="31" y="369"/>
                  </a:lnTo>
                  <a:lnTo>
                    <a:pt x="33" y="369"/>
                  </a:lnTo>
                  <a:lnTo>
                    <a:pt x="35" y="371"/>
                  </a:lnTo>
                  <a:lnTo>
                    <a:pt x="37" y="373"/>
                  </a:lnTo>
                  <a:lnTo>
                    <a:pt x="39" y="371"/>
                  </a:lnTo>
                  <a:lnTo>
                    <a:pt x="41" y="371"/>
                  </a:lnTo>
                  <a:lnTo>
                    <a:pt x="43" y="373"/>
                  </a:lnTo>
                  <a:lnTo>
                    <a:pt x="45" y="373"/>
                  </a:lnTo>
                  <a:lnTo>
                    <a:pt x="46" y="373"/>
                  </a:lnTo>
                  <a:lnTo>
                    <a:pt x="48" y="371"/>
                  </a:lnTo>
                  <a:lnTo>
                    <a:pt x="50" y="371"/>
                  </a:lnTo>
                  <a:lnTo>
                    <a:pt x="52" y="371"/>
                  </a:lnTo>
                  <a:lnTo>
                    <a:pt x="54" y="373"/>
                  </a:lnTo>
                  <a:lnTo>
                    <a:pt x="56" y="371"/>
                  </a:lnTo>
                  <a:lnTo>
                    <a:pt x="54" y="373"/>
                  </a:lnTo>
                  <a:lnTo>
                    <a:pt x="56" y="375"/>
                  </a:lnTo>
                  <a:lnTo>
                    <a:pt x="56" y="377"/>
                  </a:lnTo>
                  <a:lnTo>
                    <a:pt x="62" y="378"/>
                  </a:lnTo>
                  <a:lnTo>
                    <a:pt x="64" y="378"/>
                  </a:lnTo>
                  <a:lnTo>
                    <a:pt x="66" y="378"/>
                  </a:lnTo>
                  <a:lnTo>
                    <a:pt x="68" y="377"/>
                  </a:lnTo>
                  <a:lnTo>
                    <a:pt x="70" y="378"/>
                  </a:lnTo>
                  <a:lnTo>
                    <a:pt x="71" y="378"/>
                  </a:lnTo>
                  <a:lnTo>
                    <a:pt x="73" y="378"/>
                  </a:lnTo>
                  <a:lnTo>
                    <a:pt x="73" y="380"/>
                  </a:lnTo>
                  <a:lnTo>
                    <a:pt x="81" y="382"/>
                  </a:lnTo>
                  <a:lnTo>
                    <a:pt x="83" y="384"/>
                  </a:lnTo>
                  <a:lnTo>
                    <a:pt x="83" y="386"/>
                  </a:lnTo>
                  <a:lnTo>
                    <a:pt x="81" y="388"/>
                  </a:lnTo>
                  <a:lnTo>
                    <a:pt x="77" y="396"/>
                  </a:lnTo>
                  <a:lnTo>
                    <a:pt x="73" y="398"/>
                  </a:lnTo>
                  <a:lnTo>
                    <a:pt x="73" y="400"/>
                  </a:lnTo>
                  <a:lnTo>
                    <a:pt x="71" y="401"/>
                  </a:lnTo>
                  <a:lnTo>
                    <a:pt x="70" y="403"/>
                  </a:lnTo>
                  <a:lnTo>
                    <a:pt x="66" y="405"/>
                  </a:lnTo>
                  <a:lnTo>
                    <a:pt x="66" y="411"/>
                  </a:lnTo>
                  <a:lnTo>
                    <a:pt x="62" y="419"/>
                  </a:lnTo>
                  <a:lnTo>
                    <a:pt x="62" y="426"/>
                  </a:lnTo>
                  <a:lnTo>
                    <a:pt x="60" y="426"/>
                  </a:lnTo>
                  <a:lnTo>
                    <a:pt x="60" y="428"/>
                  </a:lnTo>
                  <a:lnTo>
                    <a:pt x="58" y="430"/>
                  </a:lnTo>
                  <a:lnTo>
                    <a:pt x="54" y="438"/>
                  </a:lnTo>
                  <a:lnTo>
                    <a:pt x="54" y="442"/>
                  </a:lnTo>
                  <a:lnTo>
                    <a:pt x="54" y="444"/>
                  </a:lnTo>
                  <a:lnTo>
                    <a:pt x="56" y="446"/>
                  </a:lnTo>
                  <a:lnTo>
                    <a:pt x="56" y="450"/>
                  </a:lnTo>
                  <a:lnTo>
                    <a:pt x="54" y="450"/>
                  </a:lnTo>
                  <a:lnTo>
                    <a:pt x="54" y="451"/>
                  </a:lnTo>
                  <a:lnTo>
                    <a:pt x="54" y="453"/>
                  </a:lnTo>
                  <a:lnTo>
                    <a:pt x="54" y="455"/>
                  </a:lnTo>
                  <a:lnTo>
                    <a:pt x="52" y="459"/>
                  </a:lnTo>
                  <a:lnTo>
                    <a:pt x="52" y="461"/>
                  </a:lnTo>
                  <a:lnTo>
                    <a:pt x="52" y="463"/>
                  </a:lnTo>
                  <a:lnTo>
                    <a:pt x="52" y="465"/>
                  </a:lnTo>
                  <a:lnTo>
                    <a:pt x="50" y="467"/>
                  </a:lnTo>
                  <a:lnTo>
                    <a:pt x="54" y="473"/>
                  </a:lnTo>
                  <a:lnTo>
                    <a:pt x="56" y="475"/>
                  </a:lnTo>
                  <a:lnTo>
                    <a:pt x="58" y="476"/>
                  </a:lnTo>
                  <a:lnTo>
                    <a:pt x="60" y="475"/>
                  </a:lnTo>
                  <a:lnTo>
                    <a:pt x="62" y="475"/>
                  </a:lnTo>
                  <a:lnTo>
                    <a:pt x="62" y="473"/>
                  </a:lnTo>
                  <a:lnTo>
                    <a:pt x="66" y="475"/>
                  </a:lnTo>
                  <a:lnTo>
                    <a:pt x="66" y="476"/>
                  </a:lnTo>
                  <a:lnTo>
                    <a:pt x="68" y="476"/>
                  </a:lnTo>
                  <a:lnTo>
                    <a:pt x="71" y="476"/>
                  </a:lnTo>
                  <a:lnTo>
                    <a:pt x="73" y="476"/>
                  </a:lnTo>
                  <a:lnTo>
                    <a:pt x="79" y="473"/>
                  </a:lnTo>
                  <a:lnTo>
                    <a:pt x="83" y="475"/>
                  </a:lnTo>
                  <a:lnTo>
                    <a:pt x="83" y="476"/>
                  </a:lnTo>
                  <a:lnTo>
                    <a:pt x="85" y="476"/>
                  </a:lnTo>
                  <a:lnTo>
                    <a:pt x="91" y="476"/>
                  </a:lnTo>
                  <a:lnTo>
                    <a:pt x="91" y="475"/>
                  </a:lnTo>
                  <a:lnTo>
                    <a:pt x="93" y="473"/>
                  </a:lnTo>
                  <a:lnTo>
                    <a:pt x="95" y="475"/>
                  </a:lnTo>
                  <a:lnTo>
                    <a:pt x="96" y="475"/>
                  </a:lnTo>
                  <a:lnTo>
                    <a:pt x="96" y="473"/>
                  </a:lnTo>
                  <a:lnTo>
                    <a:pt x="96" y="471"/>
                  </a:lnTo>
                  <a:lnTo>
                    <a:pt x="93" y="471"/>
                  </a:lnTo>
                  <a:lnTo>
                    <a:pt x="91" y="471"/>
                  </a:lnTo>
                  <a:lnTo>
                    <a:pt x="89" y="469"/>
                  </a:lnTo>
                  <a:lnTo>
                    <a:pt x="91" y="467"/>
                  </a:lnTo>
                  <a:lnTo>
                    <a:pt x="91" y="465"/>
                  </a:lnTo>
                  <a:lnTo>
                    <a:pt x="91" y="463"/>
                  </a:lnTo>
                  <a:lnTo>
                    <a:pt x="93" y="463"/>
                  </a:lnTo>
                  <a:lnTo>
                    <a:pt x="95" y="463"/>
                  </a:lnTo>
                  <a:lnTo>
                    <a:pt x="95" y="461"/>
                  </a:lnTo>
                  <a:lnTo>
                    <a:pt x="96" y="461"/>
                  </a:lnTo>
                  <a:lnTo>
                    <a:pt x="96" y="463"/>
                  </a:lnTo>
                  <a:lnTo>
                    <a:pt x="98" y="463"/>
                  </a:lnTo>
                  <a:lnTo>
                    <a:pt x="102" y="465"/>
                  </a:lnTo>
                  <a:lnTo>
                    <a:pt x="100" y="467"/>
                  </a:lnTo>
                  <a:lnTo>
                    <a:pt x="100" y="469"/>
                  </a:lnTo>
                  <a:lnTo>
                    <a:pt x="104" y="471"/>
                  </a:lnTo>
                  <a:lnTo>
                    <a:pt x="104" y="469"/>
                  </a:lnTo>
                  <a:lnTo>
                    <a:pt x="106" y="469"/>
                  </a:lnTo>
                  <a:lnTo>
                    <a:pt x="106" y="471"/>
                  </a:lnTo>
                  <a:lnTo>
                    <a:pt x="108" y="473"/>
                  </a:lnTo>
                  <a:lnTo>
                    <a:pt x="108" y="471"/>
                  </a:lnTo>
                  <a:lnTo>
                    <a:pt x="110" y="469"/>
                  </a:lnTo>
                  <a:lnTo>
                    <a:pt x="112" y="467"/>
                  </a:lnTo>
                  <a:lnTo>
                    <a:pt x="116" y="469"/>
                  </a:lnTo>
                  <a:lnTo>
                    <a:pt x="120" y="471"/>
                  </a:lnTo>
                  <a:lnTo>
                    <a:pt x="118" y="471"/>
                  </a:lnTo>
                  <a:lnTo>
                    <a:pt x="120" y="471"/>
                  </a:lnTo>
                  <a:lnTo>
                    <a:pt x="120" y="469"/>
                  </a:lnTo>
                  <a:lnTo>
                    <a:pt x="120" y="467"/>
                  </a:lnTo>
                  <a:lnTo>
                    <a:pt x="114" y="465"/>
                  </a:lnTo>
                  <a:lnTo>
                    <a:pt x="114" y="463"/>
                  </a:lnTo>
                  <a:lnTo>
                    <a:pt x="116" y="463"/>
                  </a:lnTo>
                  <a:lnTo>
                    <a:pt x="121" y="465"/>
                  </a:lnTo>
                  <a:lnTo>
                    <a:pt x="121" y="467"/>
                  </a:lnTo>
                  <a:lnTo>
                    <a:pt x="123" y="469"/>
                  </a:lnTo>
                  <a:lnTo>
                    <a:pt x="125" y="471"/>
                  </a:lnTo>
                  <a:lnTo>
                    <a:pt x="129" y="471"/>
                  </a:lnTo>
                  <a:lnTo>
                    <a:pt x="131" y="471"/>
                  </a:lnTo>
                  <a:lnTo>
                    <a:pt x="133" y="473"/>
                  </a:lnTo>
                  <a:lnTo>
                    <a:pt x="133" y="475"/>
                  </a:lnTo>
                  <a:lnTo>
                    <a:pt x="135" y="476"/>
                  </a:lnTo>
                  <a:lnTo>
                    <a:pt x="137" y="476"/>
                  </a:lnTo>
                  <a:lnTo>
                    <a:pt x="139" y="478"/>
                  </a:lnTo>
                  <a:lnTo>
                    <a:pt x="141" y="478"/>
                  </a:lnTo>
                  <a:lnTo>
                    <a:pt x="143" y="476"/>
                  </a:lnTo>
                  <a:lnTo>
                    <a:pt x="144" y="476"/>
                  </a:lnTo>
                  <a:lnTo>
                    <a:pt x="146" y="476"/>
                  </a:lnTo>
                  <a:lnTo>
                    <a:pt x="144" y="478"/>
                  </a:lnTo>
                  <a:lnTo>
                    <a:pt x="146" y="480"/>
                  </a:lnTo>
                  <a:lnTo>
                    <a:pt x="152" y="480"/>
                  </a:lnTo>
                  <a:lnTo>
                    <a:pt x="152" y="484"/>
                  </a:lnTo>
                  <a:lnTo>
                    <a:pt x="154" y="484"/>
                  </a:lnTo>
                  <a:lnTo>
                    <a:pt x="158" y="488"/>
                  </a:lnTo>
                  <a:lnTo>
                    <a:pt x="156" y="488"/>
                  </a:lnTo>
                  <a:lnTo>
                    <a:pt x="156" y="492"/>
                  </a:lnTo>
                  <a:lnTo>
                    <a:pt x="160" y="490"/>
                  </a:lnTo>
                  <a:lnTo>
                    <a:pt x="164" y="490"/>
                  </a:lnTo>
                  <a:lnTo>
                    <a:pt x="162" y="496"/>
                  </a:lnTo>
                  <a:lnTo>
                    <a:pt x="160" y="498"/>
                  </a:lnTo>
                  <a:lnTo>
                    <a:pt x="162" y="498"/>
                  </a:lnTo>
                  <a:lnTo>
                    <a:pt x="168" y="496"/>
                  </a:lnTo>
                  <a:lnTo>
                    <a:pt x="173" y="488"/>
                  </a:lnTo>
                  <a:lnTo>
                    <a:pt x="171" y="482"/>
                  </a:lnTo>
                  <a:lnTo>
                    <a:pt x="171" y="478"/>
                  </a:lnTo>
                  <a:lnTo>
                    <a:pt x="173" y="478"/>
                  </a:lnTo>
                  <a:lnTo>
                    <a:pt x="173" y="480"/>
                  </a:lnTo>
                  <a:lnTo>
                    <a:pt x="177" y="482"/>
                  </a:lnTo>
                  <a:lnTo>
                    <a:pt x="177" y="480"/>
                  </a:lnTo>
                  <a:lnTo>
                    <a:pt x="181" y="480"/>
                  </a:lnTo>
                  <a:lnTo>
                    <a:pt x="185" y="482"/>
                  </a:lnTo>
                  <a:lnTo>
                    <a:pt x="189" y="482"/>
                  </a:lnTo>
                  <a:lnTo>
                    <a:pt x="191" y="482"/>
                  </a:lnTo>
                  <a:lnTo>
                    <a:pt x="189" y="484"/>
                  </a:lnTo>
                  <a:lnTo>
                    <a:pt x="191" y="484"/>
                  </a:lnTo>
                  <a:lnTo>
                    <a:pt x="193" y="488"/>
                  </a:lnTo>
                  <a:lnTo>
                    <a:pt x="193" y="490"/>
                  </a:lnTo>
                  <a:lnTo>
                    <a:pt x="198" y="488"/>
                  </a:lnTo>
                  <a:lnTo>
                    <a:pt x="200" y="488"/>
                  </a:lnTo>
                  <a:lnTo>
                    <a:pt x="202" y="486"/>
                  </a:lnTo>
                  <a:lnTo>
                    <a:pt x="202" y="488"/>
                  </a:lnTo>
                  <a:lnTo>
                    <a:pt x="204" y="488"/>
                  </a:lnTo>
                  <a:lnTo>
                    <a:pt x="206" y="486"/>
                  </a:lnTo>
                  <a:lnTo>
                    <a:pt x="210" y="486"/>
                  </a:lnTo>
                  <a:lnTo>
                    <a:pt x="210" y="484"/>
                  </a:lnTo>
                  <a:lnTo>
                    <a:pt x="210" y="482"/>
                  </a:lnTo>
                  <a:lnTo>
                    <a:pt x="212" y="482"/>
                  </a:lnTo>
                  <a:lnTo>
                    <a:pt x="218" y="480"/>
                  </a:lnTo>
                  <a:lnTo>
                    <a:pt x="218" y="478"/>
                  </a:lnTo>
                  <a:lnTo>
                    <a:pt x="219" y="476"/>
                  </a:lnTo>
                  <a:lnTo>
                    <a:pt x="221" y="476"/>
                  </a:lnTo>
                  <a:lnTo>
                    <a:pt x="225" y="476"/>
                  </a:lnTo>
                  <a:lnTo>
                    <a:pt x="229" y="478"/>
                  </a:lnTo>
                  <a:lnTo>
                    <a:pt x="229" y="476"/>
                  </a:lnTo>
                  <a:lnTo>
                    <a:pt x="235" y="475"/>
                  </a:lnTo>
                  <a:lnTo>
                    <a:pt x="237" y="475"/>
                  </a:lnTo>
                  <a:lnTo>
                    <a:pt x="242" y="476"/>
                  </a:lnTo>
                  <a:lnTo>
                    <a:pt x="242" y="475"/>
                  </a:lnTo>
                  <a:lnTo>
                    <a:pt x="242" y="471"/>
                  </a:lnTo>
                  <a:lnTo>
                    <a:pt x="244" y="467"/>
                  </a:lnTo>
                  <a:lnTo>
                    <a:pt x="244" y="471"/>
                  </a:lnTo>
                  <a:lnTo>
                    <a:pt x="248" y="471"/>
                  </a:lnTo>
                  <a:lnTo>
                    <a:pt x="250" y="471"/>
                  </a:lnTo>
                  <a:lnTo>
                    <a:pt x="252" y="471"/>
                  </a:lnTo>
                  <a:lnTo>
                    <a:pt x="254" y="473"/>
                  </a:lnTo>
                  <a:lnTo>
                    <a:pt x="256" y="476"/>
                  </a:lnTo>
                  <a:lnTo>
                    <a:pt x="258" y="475"/>
                  </a:lnTo>
                  <a:lnTo>
                    <a:pt x="260" y="473"/>
                  </a:lnTo>
                  <a:lnTo>
                    <a:pt x="264" y="473"/>
                  </a:lnTo>
                  <a:lnTo>
                    <a:pt x="266" y="473"/>
                  </a:lnTo>
                  <a:lnTo>
                    <a:pt x="266" y="475"/>
                  </a:lnTo>
                  <a:lnTo>
                    <a:pt x="267" y="478"/>
                  </a:lnTo>
                  <a:lnTo>
                    <a:pt x="266" y="480"/>
                  </a:lnTo>
                  <a:lnTo>
                    <a:pt x="267" y="482"/>
                  </a:lnTo>
                  <a:lnTo>
                    <a:pt x="269" y="482"/>
                  </a:lnTo>
                  <a:lnTo>
                    <a:pt x="275" y="486"/>
                  </a:lnTo>
                  <a:lnTo>
                    <a:pt x="277" y="486"/>
                  </a:lnTo>
                  <a:lnTo>
                    <a:pt x="279" y="484"/>
                  </a:lnTo>
                  <a:lnTo>
                    <a:pt x="277" y="478"/>
                  </a:lnTo>
                  <a:lnTo>
                    <a:pt x="279" y="475"/>
                  </a:lnTo>
                  <a:lnTo>
                    <a:pt x="279" y="471"/>
                  </a:lnTo>
                  <a:lnTo>
                    <a:pt x="275" y="469"/>
                  </a:lnTo>
                  <a:lnTo>
                    <a:pt x="275" y="471"/>
                  </a:lnTo>
                  <a:lnTo>
                    <a:pt x="271" y="471"/>
                  </a:lnTo>
                  <a:lnTo>
                    <a:pt x="271" y="469"/>
                  </a:lnTo>
                  <a:lnTo>
                    <a:pt x="273" y="467"/>
                  </a:lnTo>
                  <a:lnTo>
                    <a:pt x="271" y="467"/>
                  </a:lnTo>
                  <a:lnTo>
                    <a:pt x="275" y="461"/>
                  </a:lnTo>
                  <a:lnTo>
                    <a:pt x="271" y="453"/>
                  </a:lnTo>
                  <a:lnTo>
                    <a:pt x="269" y="453"/>
                  </a:lnTo>
                  <a:lnTo>
                    <a:pt x="269" y="450"/>
                  </a:lnTo>
                  <a:lnTo>
                    <a:pt x="267" y="448"/>
                  </a:lnTo>
                  <a:lnTo>
                    <a:pt x="266" y="446"/>
                  </a:lnTo>
                  <a:lnTo>
                    <a:pt x="266" y="444"/>
                  </a:lnTo>
                  <a:lnTo>
                    <a:pt x="266" y="442"/>
                  </a:lnTo>
                  <a:lnTo>
                    <a:pt x="267" y="442"/>
                  </a:lnTo>
                  <a:lnTo>
                    <a:pt x="269" y="440"/>
                  </a:lnTo>
                  <a:lnTo>
                    <a:pt x="269" y="438"/>
                  </a:lnTo>
                  <a:lnTo>
                    <a:pt x="273" y="438"/>
                  </a:lnTo>
                  <a:lnTo>
                    <a:pt x="275" y="436"/>
                  </a:lnTo>
                  <a:lnTo>
                    <a:pt x="277" y="434"/>
                  </a:lnTo>
                  <a:lnTo>
                    <a:pt x="283" y="432"/>
                  </a:lnTo>
                  <a:lnTo>
                    <a:pt x="285" y="432"/>
                  </a:lnTo>
                  <a:lnTo>
                    <a:pt x="289" y="430"/>
                  </a:lnTo>
                  <a:lnTo>
                    <a:pt x="291" y="426"/>
                  </a:lnTo>
                  <a:lnTo>
                    <a:pt x="292" y="423"/>
                  </a:lnTo>
                  <a:lnTo>
                    <a:pt x="294" y="417"/>
                  </a:lnTo>
                  <a:lnTo>
                    <a:pt x="292" y="413"/>
                  </a:lnTo>
                  <a:lnTo>
                    <a:pt x="294" y="413"/>
                  </a:lnTo>
                  <a:lnTo>
                    <a:pt x="296" y="411"/>
                  </a:lnTo>
                  <a:lnTo>
                    <a:pt x="298" y="413"/>
                  </a:lnTo>
                  <a:lnTo>
                    <a:pt x="300" y="413"/>
                  </a:lnTo>
                  <a:lnTo>
                    <a:pt x="304" y="417"/>
                  </a:lnTo>
                  <a:lnTo>
                    <a:pt x="306" y="413"/>
                  </a:lnTo>
                  <a:lnTo>
                    <a:pt x="308" y="413"/>
                  </a:lnTo>
                  <a:lnTo>
                    <a:pt x="308" y="411"/>
                  </a:lnTo>
                  <a:lnTo>
                    <a:pt x="310" y="403"/>
                  </a:lnTo>
                  <a:lnTo>
                    <a:pt x="308" y="403"/>
                  </a:lnTo>
                  <a:lnTo>
                    <a:pt x="310" y="400"/>
                  </a:lnTo>
                  <a:lnTo>
                    <a:pt x="308" y="400"/>
                  </a:lnTo>
                  <a:lnTo>
                    <a:pt x="308" y="398"/>
                  </a:lnTo>
                  <a:lnTo>
                    <a:pt x="306" y="396"/>
                  </a:lnTo>
                  <a:lnTo>
                    <a:pt x="304" y="392"/>
                  </a:lnTo>
                  <a:lnTo>
                    <a:pt x="302" y="392"/>
                  </a:lnTo>
                  <a:lnTo>
                    <a:pt x="300" y="390"/>
                  </a:lnTo>
                  <a:lnTo>
                    <a:pt x="296" y="386"/>
                  </a:lnTo>
                  <a:lnTo>
                    <a:pt x="294" y="388"/>
                  </a:lnTo>
                  <a:lnTo>
                    <a:pt x="291" y="386"/>
                  </a:lnTo>
                  <a:lnTo>
                    <a:pt x="291" y="382"/>
                  </a:lnTo>
                  <a:lnTo>
                    <a:pt x="289" y="378"/>
                  </a:lnTo>
                  <a:lnTo>
                    <a:pt x="287" y="377"/>
                  </a:lnTo>
                  <a:lnTo>
                    <a:pt x="283" y="378"/>
                  </a:lnTo>
                  <a:lnTo>
                    <a:pt x="281" y="377"/>
                  </a:lnTo>
                  <a:lnTo>
                    <a:pt x="283" y="375"/>
                  </a:lnTo>
                  <a:lnTo>
                    <a:pt x="279" y="373"/>
                  </a:lnTo>
                  <a:lnTo>
                    <a:pt x="277" y="369"/>
                  </a:lnTo>
                  <a:lnTo>
                    <a:pt x="275" y="367"/>
                  </a:lnTo>
                  <a:lnTo>
                    <a:pt x="273" y="363"/>
                  </a:lnTo>
                  <a:lnTo>
                    <a:pt x="269" y="363"/>
                  </a:lnTo>
                  <a:lnTo>
                    <a:pt x="269" y="365"/>
                  </a:lnTo>
                  <a:lnTo>
                    <a:pt x="266" y="363"/>
                  </a:lnTo>
                  <a:lnTo>
                    <a:pt x="266" y="361"/>
                  </a:lnTo>
                  <a:lnTo>
                    <a:pt x="262" y="357"/>
                  </a:lnTo>
                  <a:lnTo>
                    <a:pt x="260" y="353"/>
                  </a:lnTo>
                  <a:lnTo>
                    <a:pt x="260" y="352"/>
                  </a:lnTo>
                  <a:lnTo>
                    <a:pt x="260" y="350"/>
                  </a:lnTo>
                  <a:lnTo>
                    <a:pt x="258" y="346"/>
                  </a:lnTo>
                  <a:lnTo>
                    <a:pt x="256" y="344"/>
                  </a:lnTo>
                  <a:lnTo>
                    <a:pt x="256" y="340"/>
                  </a:lnTo>
                  <a:lnTo>
                    <a:pt x="252" y="340"/>
                  </a:lnTo>
                  <a:lnTo>
                    <a:pt x="250" y="336"/>
                  </a:lnTo>
                  <a:lnTo>
                    <a:pt x="254" y="334"/>
                  </a:lnTo>
                  <a:lnTo>
                    <a:pt x="254" y="330"/>
                  </a:lnTo>
                  <a:lnTo>
                    <a:pt x="256" y="330"/>
                  </a:lnTo>
                  <a:lnTo>
                    <a:pt x="256" y="328"/>
                  </a:lnTo>
                  <a:lnTo>
                    <a:pt x="256" y="327"/>
                  </a:lnTo>
                  <a:lnTo>
                    <a:pt x="254" y="325"/>
                  </a:lnTo>
                  <a:lnTo>
                    <a:pt x="254" y="323"/>
                  </a:lnTo>
                  <a:lnTo>
                    <a:pt x="250" y="321"/>
                  </a:lnTo>
                  <a:lnTo>
                    <a:pt x="248" y="319"/>
                  </a:lnTo>
                  <a:lnTo>
                    <a:pt x="246" y="315"/>
                  </a:lnTo>
                  <a:lnTo>
                    <a:pt x="244" y="315"/>
                  </a:lnTo>
                  <a:lnTo>
                    <a:pt x="242" y="313"/>
                  </a:lnTo>
                  <a:lnTo>
                    <a:pt x="242" y="311"/>
                  </a:lnTo>
                  <a:lnTo>
                    <a:pt x="242" y="309"/>
                  </a:lnTo>
                  <a:lnTo>
                    <a:pt x="242" y="305"/>
                  </a:lnTo>
                  <a:lnTo>
                    <a:pt x="241" y="305"/>
                  </a:lnTo>
                  <a:lnTo>
                    <a:pt x="239" y="305"/>
                  </a:lnTo>
                  <a:lnTo>
                    <a:pt x="239" y="303"/>
                  </a:lnTo>
                  <a:lnTo>
                    <a:pt x="241" y="303"/>
                  </a:lnTo>
                  <a:lnTo>
                    <a:pt x="239" y="300"/>
                  </a:lnTo>
                  <a:lnTo>
                    <a:pt x="241" y="302"/>
                  </a:lnTo>
                  <a:lnTo>
                    <a:pt x="241" y="300"/>
                  </a:lnTo>
                  <a:lnTo>
                    <a:pt x="242" y="300"/>
                  </a:lnTo>
                  <a:lnTo>
                    <a:pt x="242" y="302"/>
                  </a:lnTo>
                  <a:lnTo>
                    <a:pt x="242" y="303"/>
                  </a:lnTo>
                  <a:lnTo>
                    <a:pt x="244" y="303"/>
                  </a:lnTo>
                  <a:lnTo>
                    <a:pt x="244" y="305"/>
                  </a:lnTo>
                  <a:lnTo>
                    <a:pt x="244" y="307"/>
                  </a:lnTo>
                  <a:lnTo>
                    <a:pt x="246" y="307"/>
                  </a:lnTo>
                  <a:lnTo>
                    <a:pt x="246" y="309"/>
                  </a:lnTo>
                  <a:lnTo>
                    <a:pt x="248" y="309"/>
                  </a:lnTo>
                  <a:lnTo>
                    <a:pt x="248" y="307"/>
                  </a:lnTo>
                  <a:lnTo>
                    <a:pt x="248" y="305"/>
                  </a:lnTo>
                  <a:lnTo>
                    <a:pt x="248" y="303"/>
                  </a:lnTo>
                  <a:lnTo>
                    <a:pt x="250" y="302"/>
                  </a:lnTo>
                  <a:lnTo>
                    <a:pt x="250" y="300"/>
                  </a:lnTo>
                  <a:lnTo>
                    <a:pt x="252" y="300"/>
                  </a:lnTo>
                  <a:lnTo>
                    <a:pt x="252" y="298"/>
                  </a:lnTo>
                  <a:lnTo>
                    <a:pt x="254" y="298"/>
                  </a:lnTo>
                  <a:lnTo>
                    <a:pt x="254" y="296"/>
                  </a:lnTo>
                  <a:lnTo>
                    <a:pt x="256" y="294"/>
                  </a:lnTo>
                  <a:lnTo>
                    <a:pt x="258" y="294"/>
                  </a:lnTo>
                  <a:lnTo>
                    <a:pt x="260" y="294"/>
                  </a:lnTo>
                  <a:lnTo>
                    <a:pt x="262" y="294"/>
                  </a:lnTo>
                  <a:lnTo>
                    <a:pt x="264" y="292"/>
                  </a:lnTo>
                  <a:lnTo>
                    <a:pt x="266" y="292"/>
                  </a:lnTo>
                  <a:lnTo>
                    <a:pt x="267" y="290"/>
                  </a:lnTo>
                  <a:lnTo>
                    <a:pt x="267" y="292"/>
                  </a:lnTo>
                  <a:lnTo>
                    <a:pt x="269" y="294"/>
                  </a:lnTo>
                  <a:lnTo>
                    <a:pt x="271" y="294"/>
                  </a:lnTo>
                  <a:lnTo>
                    <a:pt x="273" y="292"/>
                  </a:lnTo>
                  <a:lnTo>
                    <a:pt x="275" y="288"/>
                  </a:lnTo>
                  <a:lnTo>
                    <a:pt x="275" y="286"/>
                  </a:lnTo>
                  <a:lnTo>
                    <a:pt x="277" y="288"/>
                  </a:lnTo>
                  <a:lnTo>
                    <a:pt x="277" y="286"/>
                  </a:lnTo>
                  <a:lnTo>
                    <a:pt x="279" y="288"/>
                  </a:lnTo>
                  <a:lnTo>
                    <a:pt x="283" y="286"/>
                  </a:lnTo>
                  <a:lnTo>
                    <a:pt x="285" y="282"/>
                  </a:lnTo>
                  <a:lnTo>
                    <a:pt x="287" y="282"/>
                  </a:lnTo>
                  <a:lnTo>
                    <a:pt x="287" y="280"/>
                  </a:lnTo>
                  <a:lnTo>
                    <a:pt x="289" y="279"/>
                  </a:lnTo>
                  <a:lnTo>
                    <a:pt x="292" y="280"/>
                  </a:lnTo>
                  <a:lnTo>
                    <a:pt x="294" y="280"/>
                  </a:lnTo>
                  <a:lnTo>
                    <a:pt x="294" y="279"/>
                  </a:lnTo>
                  <a:lnTo>
                    <a:pt x="294" y="275"/>
                  </a:lnTo>
                  <a:lnTo>
                    <a:pt x="296" y="275"/>
                  </a:lnTo>
                  <a:lnTo>
                    <a:pt x="298" y="273"/>
                  </a:lnTo>
                  <a:lnTo>
                    <a:pt x="300" y="273"/>
                  </a:lnTo>
                  <a:lnTo>
                    <a:pt x="302" y="273"/>
                  </a:lnTo>
                  <a:lnTo>
                    <a:pt x="306" y="273"/>
                  </a:lnTo>
                  <a:lnTo>
                    <a:pt x="308" y="273"/>
                  </a:lnTo>
                  <a:lnTo>
                    <a:pt x="308" y="271"/>
                  </a:lnTo>
                  <a:lnTo>
                    <a:pt x="310" y="269"/>
                  </a:lnTo>
                  <a:lnTo>
                    <a:pt x="312" y="267"/>
                  </a:lnTo>
                  <a:lnTo>
                    <a:pt x="314" y="267"/>
                  </a:lnTo>
                  <a:lnTo>
                    <a:pt x="314" y="265"/>
                  </a:lnTo>
                  <a:lnTo>
                    <a:pt x="316" y="265"/>
                  </a:lnTo>
                  <a:lnTo>
                    <a:pt x="319" y="265"/>
                  </a:lnTo>
                  <a:lnTo>
                    <a:pt x="321" y="261"/>
                  </a:lnTo>
                  <a:lnTo>
                    <a:pt x="323" y="261"/>
                  </a:lnTo>
                  <a:lnTo>
                    <a:pt x="325" y="261"/>
                  </a:lnTo>
                  <a:lnTo>
                    <a:pt x="327" y="259"/>
                  </a:lnTo>
                  <a:lnTo>
                    <a:pt x="327" y="257"/>
                  </a:lnTo>
                  <a:lnTo>
                    <a:pt x="325" y="257"/>
                  </a:lnTo>
                  <a:lnTo>
                    <a:pt x="323" y="257"/>
                  </a:lnTo>
                  <a:lnTo>
                    <a:pt x="323" y="255"/>
                  </a:lnTo>
                  <a:lnTo>
                    <a:pt x="321" y="255"/>
                  </a:lnTo>
                  <a:lnTo>
                    <a:pt x="321" y="254"/>
                  </a:lnTo>
                  <a:lnTo>
                    <a:pt x="321" y="252"/>
                  </a:lnTo>
                  <a:lnTo>
                    <a:pt x="323" y="250"/>
                  </a:lnTo>
                  <a:lnTo>
                    <a:pt x="323" y="252"/>
                  </a:lnTo>
                  <a:lnTo>
                    <a:pt x="325" y="252"/>
                  </a:lnTo>
                  <a:lnTo>
                    <a:pt x="327" y="254"/>
                  </a:lnTo>
                  <a:lnTo>
                    <a:pt x="331" y="254"/>
                  </a:lnTo>
                  <a:lnTo>
                    <a:pt x="333" y="254"/>
                  </a:lnTo>
                  <a:lnTo>
                    <a:pt x="335" y="255"/>
                  </a:lnTo>
                  <a:lnTo>
                    <a:pt x="335" y="257"/>
                  </a:lnTo>
                  <a:lnTo>
                    <a:pt x="333" y="259"/>
                  </a:lnTo>
                  <a:lnTo>
                    <a:pt x="337" y="259"/>
                  </a:lnTo>
                  <a:lnTo>
                    <a:pt x="337" y="261"/>
                  </a:lnTo>
                  <a:lnTo>
                    <a:pt x="337" y="263"/>
                  </a:lnTo>
                  <a:lnTo>
                    <a:pt x="339" y="269"/>
                  </a:lnTo>
                  <a:lnTo>
                    <a:pt x="340" y="269"/>
                  </a:lnTo>
                  <a:lnTo>
                    <a:pt x="342" y="267"/>
                  </a:lnTo>
                  <a:lnTo>
                    <a:pt x="342" y="265"/>
                  </a:lnTo>
                  <a:lnTo>
                    <a:pt x="342" y="263"/>
                  </a:lnTo>
                  <a:lnTo>
                    <a:pt x="344" y="263"/>
                  </a:lnTo>
                  <a:lnTo>
                    <a:pt x="342" y="263"/>
                  </a:lnTo>
                  <a:lnTo>
                    <a:pt x="344" y="261"/>
                  </a:lnTo>
                  <a:lnTo>
                    <a:pt x="348" y="255"/>
                  </a:lnTo>
                  <a:lnTo>
                    <a:pt x="348" y="254"/>
                  </a:lnTo>
                  <a:lnTo>
                    <a:pt x="348" y="252"/>
                  </a:lnTo>
                  <a:lnTo>
                    <a:pt x="348" y="248"/>
                  </a:lnTo>
                  <a:lnTo>
                    <a:pt x="350" y="246"/>
                  </a:lnTo>
                  <a:lnTo>
                    <a:pt x="350" y="244"/>
                  </a:lnTo>
                  <a:lnTo>
                    <a:pt x="350" y="238"/>
                  </a:lnTo>
                  <a:lnTo>
                    <a:pt x="352" y="236"/>
                  </a:lnTo>
                  <a:lnTo>
                    <a:pt x="350" y="234"/>
                  </a:lnTo>
                  <a:lnTo>
                    <a:pt x="348" y="232"/>
                  </a:lnTo>
                  <a:lnTo>
                    <a:pt x="348" y="230"/>
                  </a:lnTo>
                  <a:lnTo>
                    <a:pt x="348" y="229"/>
                  </a:lnTo>
                  <a:lnTo>
                    <a:pt x="348" y="223"/>
                  </a:lnTo>
                  <a:lnTo>
                    <a:pt x="342" y="221"/>
                  </a:lnTo>
                  <a:lnTo>
                    <a:pt x="340" y="219"/>
                  </a:lnTo>
                  <a:lnTo>
                    <a:pt x="339" y="219"/>
                  </a:lnTo>
                  <a:lnTo>
                    <a:pt x="339" y="215"/>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14" name="Freeform 302"/>
            <p:cNvSpPr>
              <a:spLocks/>
            </p:cNvSpPr>
            <p:nvPr/>
          </p:nvSpPr>
          <p:spPr bwMode="auto">
            <a:xfrm>
              <a:off x="2300" y="2323"/>
              <a:ext cx="352" cy="421"/>
            </a:xfrm>
            <a:custGeom>
              <a:avLst/>
              <a:gdLst>
                <a:gd name="T0" fmla="*/ 54 w 352"/>
                <a:gd name="T1" fmla="*/ 11 h 421"/>
                <a:gd name="T2" fmla="*/ 58 w 352"/>
                <a:gd name="T3" fmla="*/ 30 h 421"/>
                <a:gd name="T4" fmla="*/ 50 w 352"/>
                <a:gd name="T5" fmla="*/ 65 h 421"/>
                <a:gd name="T6" fmla="*/ 37 w 352"/>
                <a:gd name="T7" fmla="*/ 71 h 421"/>
                <a:gd name="T8" fmla="*/ 50 w 352"/>
                <a:gd name="T9" fmla="*/ 84 h 421"/>
                <a:gd name="T10" fmla="*/ 39 w 352"/>
                <a:gd name="T11" fmla="*/ 102 h 421"/>
                <a:gd name="T12" fmla="*/ 35 w 352"/>
                <a:gd name="T13" fmla="*/ 113 h 421"/>
                <a:gd name="T14" fmla="*/ 20 w 352"/>
                <a:gd name="T15" fmla="*/ 115 h 421"/>
                <a:gd name="T16" fmla="*/ 6 w 352"/>
                <a:gd name="T17" fmla="*/ 117 h 421"/>
                <a:gd name="T18" fmla="*/ 14 w 352"/>
                <a:gd name="T19" fmla="*/ 136 h 421"/>
                <a:gd name="T20" fmla="*/ 12 w 352"/>
                <a:gd name="T21" fmla="*/ 159 h 421"/>
                <a:gd name="T22" fmla="*/ 0 w 352"/>
                <a:gd name="T23" fmla="*/ 167 h 421"/>
                <a:gd name="T24" fmla="*/ 8 w 352"/>
                <a:gd name="T25" fmla="*/ 178 h 421"/>
                <a:gd name="T26" fmla="*/ 6 w 352"/>
                <a:gd name="T27" fmla="*/ 188 h 421"/>
                <a:gd name="T28" fmla="*/ 10 w 352"/>
                <a:gd name="T29" fmla="*/ 203 h 421"/>
                <a:gd name="T30" fmla="*/ 16 w 352"/>
                <a:gd name="T31" fmla="*/ 217 h 421"/>
                <a:gd name="T32" fmla="*/ 6 w 352"/>
                <a:gd name="T33" fmla="*/ 225 h 421"/>
                <a:gd name="T34" fmla="*/ 14 w 352"/>
                <a:gd name="T35" fmla="*/ 248 h 421"/>
                <a:gd name="T36" fmla="*/ 12 w 352"/>
                <a:gd name="T37" fmla="*/ 271 h 421"/>
                <a:gd name="T38" fmla="*/ 25 w 352"/>
                <a:gd name="T39" fmla="*/ 288 h 421"/>
                <a:gd name="T40" fmla="*/ 37 w 352"/>
                <a:gd name="T41" fmla="*/ 296 h 421"/>
                <a:gd name="T42" fmla="*/ 56 w 352"/>
                <a:gd name="T43" fmla="*/ 294 h 421"/>
                <a:gd name="T44" fmla="*/ 73 w 352"/>
                <a:gd name="T45" fmla="*/ 301 h 421"/>
                <a:gd name="T46" fmla="*/ 70 w 352"/>
                <a:gd name="T47" fmla="*/ 326 h 421"/>
                <a:gd name="T48" fmla="*/ 54 w 352"/>
                <a:gd name="T49" fmla="*/ 367 h 421"/>
                <a:gd name="T50" fmla="*/ 52 w 352"/>
                <a:gd name="T51" fmla="*/ 388 h 421"/>
                <a:gd name="T52" fmla="*/ 68 w 352"/>
                <a:gd name="T53" fmla="*/ 399 h 421"/>
                <a:gd name="T54" fmla="*/ 95 w 352"/>
                <a:gd name="T55" fmla="*/ 398 h 421"/>
                <a:gd name="T56" fmla="*/ 93 w 352"/>
                <a:gd name="T57" fmla="*/ 386 h 421"/>
                <a:gd name="T58" fmla="*/ 104 w 352"/>
                <a:gd name="T59" fmla="*/ 392 h 421"/>
                <a:gd name="T60" fmla="*/ 120 w 352"/>
                <a:gd name="T61" fmla="*/ 394 h 421"/>
                <a:gd name="T62" fmla="*/ 129 w 352"/>
                <a:gd name="T63" fmla="*/ 394 h 421"/>
                <a:gd name="T64" fmla="*/ 146 w 352"/>
                <a:gd name="T65" fmla="*/ 399 h 421"/>
                <a:gd name="T66" fmla="*/ 164 w 352"/>
                <a:gd name="T67" fmla="*/ 413 h 421"/>
                <a:gd name="T68" fmla="*/ 177 w 352"/>
                <a:gd name="T69" fmla="*/ 405 h 421"/>
                <a:gd name="T70" fmla="*/ 198 w 352"/>
                <a:gd name="T71" fmla="*/ 411 h 421"/>
                <a:gd name="T72" fmla="*/ 218 w 352"/>
                <a:gd name="T73" fmla="*/ 403 h 421"/>
                <a:gd name="T74" fmla="*/ 242 w 352"/>
                <a:gd name="T75" fmla="*/ 398 h 421"/>
                <a:gd name="T76" fmla="*/ 260 w 352"/>
                <a:gd name="T77" fmla="*/ 396 h 421"/>
                <a:gd name="T78" fmla="*/ 279 w 352"/>
                <a:gd name="T79" fmla="*/ 407 h 421"/>
                <a:gd name="T80" fmla="*/ 275 w 352"/>
                <a:gd name="T81" fmla="*/ 384 h 421"/>
                <a:gd name="T82" fmla="*/ 269 w 352"/>
                <a:gd name="T83" fmla="*/ 361 h 421"/>
                <a:gd name="T84" fmla="*/ 292 w 352"/>
                <a:gd name="T85" fmla="*/ 336 h 421"/>
                <a:gd name="T86" fmla="*/ 308 w 352"/>
                <a:gd name="T87" fmla="*/ 326 h 421"/>
                <a:gd name="T88" fmla="*/ 291 w 352"/>
                <a:gd name="T89" fmla="*/ 309 h 421"/>
                <a:gd name="T90" fmla="*/ 273 w 352"/>
                <a:gd name="T91" fmla="*/ 286 h 421"/>
                <a:gd name="T92" fmla="*/ 256 w 352"/>
                <a:gd name="T93" fmla="*/ 267 h 421"/>
                <a:gd name="T94" fmla="*/ 254 w 352"/>
                <a:gd name="T95" fmla="*/ 246 h 421"/>
                <a:gd name="T96" fmla="*/ 239 w 352"/>
                <a:gd name="T97" fmla="*/ 228 h 421"/>
                <a:gd name="T98" fmla="*/ 244 w 352"/>
                <a:gd name="T99" fmla="*/ 228 h 421"/>
                <a:gd name="T100" fmla="*/ 252 w 352"/>
                <a:gd name="T101" fmla="*/ 223 h 421"/>
                <a:gd name="T102" fmla="*/ 267 w 352"/>
                <a:gd name="T103" fmla="*/ 213 h 421"/>
                <a:gd name="T104" fmla="*/ 283 w 352"/>
                <a:gd name="T105" fmla="*/ 209 h 421"/>
                <a:gd name="T106" fmla="*/ 298 w 352"/>
                <a:gd name="T107" fmla="*/ 196 h 421"/>
                <a:gd name="T108" fmla="*/ 316 w 352"/>
                <a:gd name="T109" fmla="*/ 188 h 421"/>
                <a:gd name="T110" fmla="*/ 321 w 352"/>
                <a:gd name="T111" fmla="*/ 178 h 421"/>
                <a:gd name="T112" fmla="*/ 335 w 352"/>
                <a:gd name="T113" fmla="*/ 180 h 421"/>
                <a:gd name="T114" fmla="*/ 344 w 352"/>
                <a:gd name="T115" fmla="*/ 186 h 421"/>
                <a:gd name="T116" fmla="*/ 352 w 352"/>
                <a:gd name="T117" fmla="*/ 15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2" h="421">
                  <a:moveTo>
                    <a:pt x="71" y="2"/>
                  </a:moveTo>
                  <a:lnTo>
                    <a:pt x="70" y="0"/>
                  </a:lnTo>
                  <a:lnTo>
                    <a:pt x="66" y="0"/>
                  </a:lnTo>
                  <a:lnTo>
                    <a:pt x="62" y="2"/>
                  </a:lnTo>
                  <a:lnTo>
                    <a:pt x="60" y="4"/>
                  </a:lnTo>
                  <a:lnTo>
                    <a:pt x="56" y="7"/>
                  </a:lnTo>
                  <a:lnTo>
                    <a:pt x="56" y="9"/>
                  </a:lnTo>
                  <a:lnTo>
                    <a:pt x="58" y="9"/>
                  </a:lnTo>
                  <a:lnTo>
                    <a:pt x="56" y="11"/>
                  </a:lnTo>
                  <a:lnTo>
                    <a:pt x="54" y="11"/>
                  </a:lnTo>
                  <a:lnTo>
                    <a:pt x="52" y="21"/>
                  </a:lnTo>
                  <a:lnTo>
                    <a:pt x="52" y="23"/>
                  </a:lnTo>
                  <a:lnTo>
                    <a:pt x="56" y="23"/>
                  </a:lnTo>
                  <a:lnTo>
                    <a:pt x="58" y="23"/>
                  </a:lnTo>
                  <a:lnTo>
                    <a:pt x="62" y="23"/>
                  </a:lnTo>
                  <a:lnTo>
                    <a:pt x="64" y="25"/>
                  </a:lnTo>
                  <a:lnTo>
                    <a:pt x="60" y="25"/>
                  </a:lnTo>
                  <a:lnTo>
                    <a:pt x="60" y="27"/>
                  </a:lnTo>
                  <a:lnTo>
                    <a:pt x="58" y="27"/>
                  </a:lnTo>
                  <a:lnTo>
                    <a:pt x="58" y="30"/>
                  </a:lnTo>
                  <a:lnTo>
                    <a:pt x="58" y="32"/>
                  </a:lnTo>
                  <a:lnTo>
                    <a:pt x="56" y="32"/>
                  </a:lnTo>
                  <a:lnTo>
                    <a:pt x="56" y="34"/>
                  </a:lnTo>
                  <a:lnTo>
                    <a:pt x="58" y="36"/>
                  </a:lnTo>
                  <a:lnTo>
                    <a:pt x="58" y="38"/>
                  </a:lnTo>
                  <a:lnTo>
                    <a:pt x="58" y="44"/>
                  </a:lnTo>
                  <a:lnTo>
                    <a:pt x="56" y="48"/>
                  </a:lnTo>
                  <a:lnTo>
                    <a:pt x="52" y="54"/>
                  </a:lnTo>
                  <a:lnTo>
                    <a:pt x="52" y="55"/>
                  </a:lnTo>
                  <a:lnTo>
                    <a:pt x="50" y="65"/>
                  </a:lnTo>
                  <a:lnTo>
                    <a:pt x="50" y="67"/>
                  </a:lnTo>
                  <a:lnTo>
                    <a:pt x="48" y="67"/>
                  </a:lnTo>
                  <a:lnTo>
                    <a:pt x="46" y="67"/>
                  </a:lnTo>
                  <a:lnTo>
                    <a:pt x="45" y="65"/>
                  </a:lnTo>
                  <a:lnTo>
                    <a:pt x="39" y="65"/>
                  </a:lnTo>
                  <a:lnTo>
                    <a:pt x="37" y="67"/>
                  </a:lnTo>
                  <a:lnTo>
                    <a:pt x="39" y="67"/>
                  </a:lnTo>
                  <a:lnTo>
                    <a:pt x="37" y="69"/>
                  </a:lnTo>
                  <a:lnTo>
                    <a:pt x="39" y="71"/>
                  </a:lnTo>
                  <a:lnTo>
                    <a:pt x="37" y="71"/>
                  </a:lnTo>
                  <a:lnTo>
                    <a:pt x="37" y="73"/>
                  </a:lnTo>
                  <a:lnTo>
                    <a:pt x="37" y="75"/>
                  </a:lnTo>
                  <a:lnTo>
                    <a:pt x="39" y="77"/>
                  </a:lnTo>
                  <a:lnTo>
                    <a:pt x="43" y="77"/>
                  </a:lnTo>
                  <a:lnTo>
                    <a:pt x="46" y="79"/>
                  </a:lnTo>
                  <a:lnTo>
                    <a:pt x="48" y="77"/>
                  </a:lnTo>
                  <a:lnTo>
                    <a:pt x="48" y="79"/>
                  </a:lnTo>
                  <a:lnTo>
                    <a:pt x="48" y="80"/>
                  </a:lnTo>
                  <a:lnTo>
                    <a:pt x="50" y="82"/>
                  </a:lnTo>
                  <a:lnTo>
                    <a:pt x="50" y="84"/>
                  </a:lnTo>
                  <a:lnTo>
                    <a:pt x="48" y="90"/>
                  </a:lnTo>
                  <a:lnTo>
                    <a:pt x="50" y="92"/>
                  </a:lnTo>
                  <a:lnTo>
                    <a:pt x="48" y="94"/>
                  </a:lnTo>
                  <a:lnTo>
                    <a:pt x="46" y="94"/>
                  </a:lnTo>
                  <a:lnTo>
                    <a:pt x="45" y="96"/>
                  </a:lnTo>
                  <a:lnTo>
                    <a:pt x="43" y="98"/>
                  </a:lnTo>
                  <a:lnTo>
                    <a:pt x="43" y="100"/>
                  </a:lnTo>
                  <a:lnTo>
                    <a:pt x="41" y="100"/>
                  </a:lnTo>
                  <a:lnTo>
                    <a:pt x="39" y="100"/>
                  </a:lnTo>
                  <a:lnTo>
                    <a:pt x="39" y="102"/>
                  </a:lnTo>
                  <a:lnTo>
                    <a:pt x="37" y="104"/>
                  </a:lnTo>
                  <a:lnTo>
                    <a:pt x="35" y="104"/>
                  </a:lnTo>
                  <a:lnTo>
                    <a:pt x="35" y="105"/>
                  </a:lnTo>
                  <a:lnTo>
                    <a:pt x="37" y="105"/>
                  </a:lnTo>
                  <a:lnTo>
                    <a:pt x="41" y="109"/>
                  </a:lnTo>
                  <a:lnTo>
                    <a:pt x="41" y="111"/>
                  </a:lnTo>
                  <a:lnTo>
                    <a:pt x="39" y="111"/>
                  </a:lnTo>
                  <a:lnTo>
                    <a:pt x="37" y="113"/>
                  </a:lnTo>
                  <a:lnTo>
                    <a:pt x="35" y="115"/>
                  </a:lnTo>
                  <a:lnTo>
                    <a:pt x="35" y="113"/>
                  </a:lnTo>
                  <a:lnTo>
                    <a:pt x="33" y="113"/>
                  </a:lnTo>
                  <a:lnTo>
                    <a:pt x="31" y="115"/>
                  </a:lnTo>
                  <a:lnTo>
                    <a:pt x="29" y="115"/>
                  </a:lnTo>
                  <a:lnTo>
                    <a:pt x="27" y="115"/>
                  </a:lnTo>
                  <a:lnTo>
                    <a:pt x="25" y="117"/>
                  </a:lnTo>
                  <a:lnTo>
                    <a:pt x="25" y="115"/>
                  </a:lnTo>
                  <a:lnTo>
                    <a:pt x="23" y="115"/>
                  </a:lnTo>
                  <a:lnTo>
                    <a:pt x="23" y="117"/>
                  </a:lnTo>
                  <a:lnTo>
                    <a:pt x="21" y="117"/>
                  </a:lnTo>
                  <a:lnTo>
                    <a:pt x="20" y="115"/>
                  </a:lnTo>
                  <a:lnTo>
                    <a:pt x="18" y="115"/>
                  </a:lnTo>
                  <a:lnTo>
                    <a:pt x="16" y="115"/>
                  </a:lnTo>
                  <a:lnTo>
                    <a:pt x="14" y="113"/>
                  </a:lnTo>
                  <a:lnTo>
                    <a:pt x="12" y="113"/>
                  </a:lnTo>
                  <a:lnTo>
                    <a:pt x="14" y="115"/>
                  </a:lnTo>
                  <a:lnTo>
                    <a:pt x="16" y="117"/>
                  </a:lnTo>
                  <a:lnTo>
                    <a:pt x="12" y="115"/>
                  </a:lnTo>
                  <a:lnTo>
                    <a:pt x="10" y="115"/>
                  </a:lnTo>
                  <a:lnTo>
                    <a:pt x="8" y="117"/>
                  </a:lnTo>
                  <a:lnTo>
                    <a:pt x="6" y="117"/>
                  </a:lnTo>
                  <a:lnTo>
                    <a:pt x="8" y="119"/>
                  </a:lnTo>
                  <a:lnTo>
                    <a:pt x="8" y="121"/>
                  </a:lnTo>
                  <a:lnTo>
                    <a:pt x="6" y="123"/>
                  </a:lnTo>
                  <a:lnTo>
                    <a:pt x="8" y="123"/>
                  </a:lnTo>
                  <a:lnTo>
                    <a:pt x="10" y="125"/>
                  </a:lnTo>
                  <a:lnTo>
                    <a:pt x="10" y="127"/>
                  </a:lnTo>
                  <a:lnTo>
                    <a:pt x="12" y="128"/>
                  </a:lnTo>
                  <a:lnTo>
                    <a:pt x="10" y="132"/>
                  </a:lnTo>
                  <a:lnTo>
                    <a:pt x="14" y="134"/>
                  </a:lnTo>
                  <a:lnTo>
                    <a:pt x="14" y="136"/>
                  </a:lnTo>
                  <a:lnTo>
                    <a:pt x="16" y="140"/>
                  </a:lnTo>
                  <a:lnTo>
                    <a:pt x="14" y="144"/>
                  </a:lnTo>
                  <a:lnTo>
                    <a:pt x="16" y="146"/>
                  </a:lnTo>
                  <a:lnTo>
                    <a:pt x="14" y="146"/>
                  </a:lnTo>
                  <a:lnTo>
                    <a:pt x="16" y="148"/>
                  </a:lnTo>
                  <a:lnTo>
                    <a:pt x="12" y="150"/>
                  </a:lnTo>
                  <a:lnTo>
                    <a:pt x="10" y="153"/>
                  </a:lnTo>
                  <a:lnTo>
                    <a:pt x="8" y="155"/>
                  </a:lnTo>
                  <a:lnTo>
                    <a:pt x="8" y="159"/>
                  </a:lnTo>
                  <a:lnTo>
                    <a:pt x="12" y="159"/>
                  </a:lnTo>
                  <a:lnTo>
                    <a:pt x="10" y="159"/>
                  </a:lnTo>
                  <a:lnTo>
                    <a:pt x="12" y="161"/>
                  </a:lnTo>
                  <a:lnTo>
                    <a:pt x="8" y="161"/>
                  </a:lnTo>
                  <a:lnTo>
                    <a:pt x="8" y="163"/>
                  </a:lnTo>
                  <a:lnTo>
                    <a:pt x="6" y="165"/>
                  </a:lnTo>
                  <a:lnTo>
                    <a:pt x="4" y="165"/>
                  </a:lnTo>
                  <a:lnTo>
                    <a:pt x="4" y="167"/>
                  </a:lnTo>
                  <a:lnTo>
                    <a:pt x="2" y="169"/>
                  </a:lnTo>
                  <a:lnTo>
                    <a:pt x="2" y="165"/>
                  </a:lnTo>
                  <a:lnTo>
                    <a:pt x="0" y="167"/>
                  </a:lnTo>
                  <a:lnTo>
                    <a:pt x="0" y="169"/>
                  </a:lnTo>
                  <a:lnTo>
                    <a:pt x="0" y="171"/>
                  </a:lnTo>
                  <a:lnTo>
                    <a:pt x="2" y="171"/>
                  </a:lnTo>
                  <a:lnTo>
                    <a:pt x="6" y="171"/>
                  </a:lnTo>
                  <a:lnTo>
                    <a:pt x="4" y="173"/>
                  </a:lnTo>
                  <a:lnTo>
                    <a:pt x="6" y="175"/>
                  </a:lnTo>
                  <a:lnTo>
                    <a:pt x="6" y="177"/>
                  </a:lnTo>
                  <a:lnTo>
                    <a:pt x="8" y="177"/>
                  </a:lnTo>
                  <a:lnTo>
                    <a:pt x="6" y="178"/>
                  </a:lnTo>
                  <a:lnTo>
                    <a:pt x="8" y="178"/>
                  </a:lnTo>
                  <a:lnTo>
                    <a:pt x="6" y="180"/>
                  </a:lnTo>
                  <a:lnTo>
                    <a:pt x="4" y="180"/>
                  </a:lnTo>
                  <a:lnTo>
                    <a:pt x="4" y="182"/>
                  </a:lnTo>
                  <a:lnTo>
                    <a:pt x="4" y="184"/>
                  </a:lnTo>
                  <a:lnTo>
                    <a:pt x="2" y="182"/>
                  </a:lnTo>
                  <a:lnTo>
                    <a:pt x="2" y="184"/>
                  </a:lnTo>
                  <a:lnTo>
                    <a:pt x="4" y="184"/>
                  </a:lnTo>
                  <a:lnTo>
                    <a:pt x="4" y="186"/>
                  </a:lnTo>
                  <a:lnTo>
                    <a:pt x="4" y="188"/>
                  </a:lnTo>
                  <a:lnTo>
                    <a:pt x="6" y="188"/>
                  </a:lnTo>
                  <a:lnTo>
                    <a:pt x="8" y="188"/>
                  </a:lnTo>
                  <a:lnTo>
                    <a:pt x="8" y="192"/>
                  </a:lnTo>
                  <a:lnTo>
                    <a:pt x="10" y="194"/>
                  </a:lnTo>
                  <a:lnTo>
                    <a:pt x="10" y="196"/>
                  </a:lnTo>
                  <a:lnTo>
                    <a:pt x="12" y="196"/>
                  </a:lnTo>
                  <a:lnTo>
                    <a:pt x="14" y="196"/>
                  </a:lnTo>
                  <a:lnTo>
                    <a:pt x="12" y="198"/>
                  </a:lnTo>
                  <a:lnTo>
                    <a:pt x="10" y="200"/>
                  </a:lnTo>
                  <a:lnTo>
                    <a:pt x="10" y="202"/>
                  </a:lnTo>
                  <a:lnTo>
                    <a:pt x="10" y="203"/>
                  </a:lnTo>
                  <a:lnTo>
                    <a:pt x="12" y="203"/>
                  </a:lnTo>
                  <a:lnTo>
                    <a:pt x="14" y="203"/>
                  </a:lnTo>
                  <a:lnTo>
                    <a:pt x="16" y="205"/>
                  </a:lnTo>
                  <a:lnTo>
                    <a:pt x="16" y="207"/>
                  </a:lnTo>
                  <a:lnTo>
                    <a:pt x="16" y="209"/>
                  </a:lnTo>
                  <a:lnTo>
                    <a:pt x="16" y="211"/>
                  </a:lnTo>
                  <a:lnTo>
                    <a:pt x="16" y="213"/>
                  </a:lnTo>
                  <a:lnTo>
                    <a:pt x="18" y="215"/>
                  </a:lnTo>
                  <a:lnTo>
                    <a:pt x="16" y="215"/>
                  </a:lnTo>
                  <a:lnTo>
                    <a:pt x="16" y="217"/>
                  </a:lnTo>
                  <a:lnTo>
                    <a:pt x="14" y="215"/>
                  </a:lnTo>
                  <a:lnTo>
                    <a:pt x="14" y="217"/>
                  </a:lnTo>
                  <a:lnTo>
                    <a:pt x="12" y="217"/>
                  </a:lnTo>
                  <a:lnTo>
                    <a:pt x="12" y="219"/>
                  </a:lnTo>
                  <a:lnTo>
                    <a:pt x="10" y="219"/>
                  </a:lnTo>
                  <a:lnTo>
                    <a:pt x="8" y="219"/>
                  </a:lnTo>
                  <a:lnTo>
                    <a:pt x="8" y="221"/>
                  </a:lnTo>
                  <a:lnTo>
                    <a:pt x="8" y="223"/>
                  </a:lnTo>
                  <a:lnTo>
                    <a:pt x="8" y="225"/>
                  </a:lnTo>
                  <a:lnTo>
                    <a:pt x="6" y="225"/>
                  </a:lnTo>
                  <a:lnTo>
                    <a:pt x="6" y="226"/>
                  </a:lnTo>
                  <a:lnTo>
                    <a:pt x="6" y="228"/>
                  </a:lnTo>
                  <a:lnTo>
                    <a:pt x="4" y="230"/>
                  </a:lnTo>
                  <a:lnTo>
                    <a:pt x="4" y="234"/>
                  </a:lnTo>
                  <a:lnTo>
                    <a:pt x="6" y="236"/>
                  </a:lnTo>
                  <a:lnTo>
                    <a:pt x="8" y="238"/>
                  </a:lnTo>
                  <a:lnTo>
                    <a:pt x="8" y="242"/>
                  </a:lnTo>
                  <a:lnTo>
                    <a:pt x="10" y="244"/>
                  </a:lnTo>
                  <a:lnTo>
                    <a:pt x="12" y="246"/>
                  </a:lnTo>
                  <a:lnTo>
                    <a:pt x="14" y="248"/>
                  </a:lnTo>
                  <a:lnTo>
                    <a:pt x="16" y="250"/>
                  </a:lnTo>
                  <a:lnTo>
                    <a:pt x="18" y="248"/>
                  </a:lnTo>
                  <a:lnTo>
                    <a:pt x="20" y="250"/>
                  </a:lnTo>
                  <a:lnTo>
                    <a:pt x="18" y="253"/>
                  </a:lnTo>
                  <a:lnTo>
                    <a:pt x="16" y="257"/>
                  </a:lnTo>
                  <a:lnTo>
                    <a:pt x="14" y="261"/>
                  </a:lnTo>
                  <a:lnTo>
                    <a:pt x="12" y="263"/>
                  </a:lnTo>
                  <a:lnTo>
                    <a:pt x="12" y="265"/>
                  </a:lnTo>
                  <a:lnTo>
                    <a:pt x="10" y="267"/>
                  </a:lnTo>
                  <a:lnTo>
                    <a:pt x="12" y="271"/>
                  </a:lnTo>
                  <a:lnTo>
                    <a:pt x="14" y="271"/>
                  </a:lnTo>
                  <a:lnTo>
                    <a:pt x="16" y="273"/>
                  </a:lnTo>
                  <a:lnTo>
                    <a:pt x="18" y="275"/>
                  </a:lnTo>
                  <a:lnTo>
                    <a:pt x="20" y="280"/>
                  </a:lnTo>
                  <a:lnTo>
                    <a:pt x="21" y="282"/>
                  </a:lnTo>
                  <a:lnTo>
                    <a:pt x="21" y="284"/>
                  </a:lnTo>
                  <a:lnTo>
                    <a:pt x="21" y="286"/>
                  </a:lnTo>
                  <a:lnTo>
                    <a:pt x="23" y="286"/>
                  </a:lnTo>
                  <a:lnTo>
                    <a:pt x="23" y="288"/>
                  </a:lnTo>
                  <a:lnTo>
                    <a:pt x="25" y="288"/>
                  </a:lnTo>
                  <a:lnTo>
                    <a:pt x="25" y="290"/>
                  </a:lnTo>
                  <a:lnTo>
                    <a:pt x="25" y="292"/>
                  </a:lnTo>
                  <a:lnTo>
                    <a:pt x="27" y="292"/>
                  </a:lnTo>
                  <a:lnTo>
                    <a:pt x="29" y="292"/>
                  </a:lnTo>
                  <a:lnTo>
                    <a:pt x="29" y="290"/>
                  </a:lnTo>
                  <a:lnTo>
                    <a:pt x="29" y="292"/>
                  </a:lnTo>
                  <a:lnTo>
                    <a:pt x="31" y="292"/>
                  </a:lnTo>
                  <a:lnTo>
                    <a:pt x="33" y="292"/>
                  </a:lnTo>
                  <a:lnTo>
                    <a:pt x="35" y="294"/>
                  </a:lnTo>
                  <a:lnTo>
                    <a:pt x="37" y="296"/>
                  </a:lnTo>
                  <a:lnTo>
                    <a:pt x="39" y="294"/>
                  </a:lnTo>
                  <a:lnTo>
                    <a:pt x="41" y="294"/>
                  </a:lnTo>
                  <a:lnTo>
                    <a:pt x="43" y="296"/>
                  </a:lnTo>
                  <a:lnTo>
                    <a:pt x="45" y="296"/>
                  </a:lnTo>
                  <a:lnTo>
                    <a:pt x="46" y="296"/>
                  </a:lnTo>
                  <a:lnTo>
                    <a:pt x="48" y="294"/>
                  </a:lnTo>
                  <a:lnTo>
                    <a:pt x="50" y="294"/>
                  </a:lnTo>
                  <a:lnTo>
                    <a:pt x="52" y="294"/>
                  </a:lnTo>
                  <a:lnTo>
                    <a:pt x="54" y="296"/>
                  </a:lnTo>
                  <a:lnTo>
                    <a:pt x="56" y="294"/>
                  </a:lnTo>
                  <a:lnTo>
                    <a:pt x="54" y="296"/>
                  </a:lnTo>
                  <a:lnTo>
                    <a:pt x="56" y="298"/>
                  </a:lnTo>
                  <a:lnTo>
                    <a:pt x="56" y="300"/>
                  </a:lnTo>
                  <a:lnTo>
                    <a:pt x="62" y="301"/>
                  </a:lnTo>
                  <a:lnTo>
                    <a:pt x="64" y="301"/>
                  </a:lnTo>
                  <a:lnTo>
                    <a:pt x="66" y="301"/>
                  </a:lnTo>
                  <a:lnTo>
                    <a:pt x="68" y="300"/>
                  </a:lnTo>
                  <a:lnTo>
                    <a:pt x="70" y="301"/>
                  </a:lnTo>
                  <a:lnTo>
                    <a:pt x="71" y="301"/>
                  </a:lnTo>
                  <a:lnTo>
                    <a:pt x="73" y="301"/>
                  </a:lnTo>
                  <a:lnTo>
                    <a:pt x="73" y="303"/>
                  </a:lnTo>
                  <a:lnTo>
                    <a:pt x="81" y="305"/>
                  </a:lnTo>
                  <a:lnTo>
                    <a:pt x="83" y="307"/>
                  </a:lnTo>
                  <a:lnTo>
                    <a:pt x="83" y="309"/>
                  </a:lnTo>
                  <a:lnTo>
                    <a:pt x="81" y="311"/>
                  </a:lnTo>
                  <a:lnTo>
                    <a:pt x="77" y="319"/>
                  </a:lnTo>
                  <a:lnTo>
                    <a:pt x="73" y="321"/>
                  </a:lnTo>
                  <a:lnTo>
                    <a:pt x="73" y="323"/>
                  </a:lnTo>
                  <a:lnTo>
                    <a:pt x="71" y="324"/>
                  </a:lnTo>
                  <a:lnTo>
                    <a:pt x="70" y="326"/>
                  </a:lnTo>
                  <a:lnTo>
                    <a:pt x="66" y="328"/>
                  </a:lnTo>
                  <a:lnTo>
                    <a:pt x="66" y="334"/>
                  </a:lnTo>
                  <a:lnTo>
                    <a:pt x="62" y="342"/>
                  </a:lnTo>
                  <a:lnTo>
                    <a:pt x="62" y="349"/>
                  </a:lnTo>
                  <a:lnTo>
                    <a:pt x="60" y="349"/>
                  </a:lnTo>
                  <a:lnTo>
                    <a:pt x="60" y="351"/>
                  </a:lnTo>
                  <a:lnTo>
                    <a:pt x="58" y="353"/>
                  </a:lnTo>
                  <a:lnTo>
                    <a:pt x="54" y="361"/>
                  </a:lnTo>
                  <a:lnTo>
                    <a:pt x="54" y="365"/>
                  </a:lnTo>
                  <a:lnTo>
                    <a:pt x="54" y="367"/>
                  </a:lnTo>
                  <a:lnTo>
                    <a:pt x="56" y="369"/>
                  </a:lnTo>
                  <a:lnTo>
                    <a:pt x="56" y="373"/>
                  </a:lnTo>
                  <a:lnTo>
                    <a:pt x="54" y="373"/>
                  </a:lnTo>
                  <a:lnTo>
                    <a:pt x="54" y="374"/>
                  </a:lnTo>
                  <a:lnTo>
                    <a:pt x="54" y="376"/>
                  </a:lnTo>
                  <a:lnTo>
                    <a:pt x="54" y="378"/>
                  </a:lnTo>
                  <a:lnTo>
                    <a:pt x="52" y="382"/>
                  </a:lnTo>
                  <a:lnTo>
                    <a:pt x="52" y="384"/>
                  </a:lnTo>
                  <a:lnTo>
                    <a:pt x="52" y="386"/>
                  </a:lnTo>
                  <a:lnTo>
                    <a:pt x="52" y="388"/>
                  </a:lnTo>
                  <a:lnTo>
                    <a:pt x="50" y="390"/>
                  </a:lnTo>
                  <a:lnTo>
                    <a:pt x="54" y="396"/>
                  </a:lnTo>
                  <a:lnTo>
                    <a:pt x="56" y="398"/>
                  </a:lnTo>
                  <a:lnTo>
                    <a:pt x="58" y="399"/>
                  </a:lnTo>
                  <a:lnTo>
                    <a:pt x="60" y="398"/>
                  </a:lnTo>
                  <a:lnTo>
                    <a:pt x="62" y="398"/>
                  </a:lnTo>
                  <a:lnTo>
                    <a:pt x="62" y="396"/>
                  </a:lnTo>
                  <a:lnTo>
                    <a:pt x="66" y="398"/>
                  </a:lnTo>
                  <a:lnTo>
                    <a:pt x="66" y="399"/>
                  </a:lnTo>
                  <a:lnTo>
                    <a:pt x="68" y="399"/>
                  </a:lnTo>
                  <a:lnTo>
                    <a:pt x="71" y="399"/>
                  </a:lnTo>
                  <a:lnTo>
                    <a:pt x="73" y="399"/>
                  </a:lnTo>
                  <a:lnTo>
                    <a:pt x="79" y="396"/>
                  </a:lnTo>
                  <a:lnTo>
                    <a:pt x="83" y="398"/>
                  </a:lnTo>
                  <a:lnTo>
                    <a:pt x="83" y="399"/>
                  </a:lnTo>
                  <a:lnTo>
                    <a:pt x="85" y="399"/>
                  </a:lnTo>
                  <a:lnTo>
                    <a:pt x="91" y="399"/>
                  </a:lnTo>
                  <a:lnTo>
                    <a:pt x="91" y="398"/>
                  </a:lnTo>
                  <a:lnTo>
                    <a:pt x="93" y="396"/>
                  </a:lnTo>
                  <a:lnTo>
                    <a:pt x="95" y="398"/>
                  </a:lnTo>
                  <a:lnTo>
                    <a:pt x="96" y="398"/>
                  </a:lnTo>
                  <a:lnTo>
                    <a:pt x="96" y="396"/>
                  </a:lnTo>
                  <a:lnTo>
                    <a:pt x="96" y="394"/>
                  </a:lnTo>
                  <a:lnTo>
                    <a:pt x="93" y="394"/>
                  </a:lnTo>
                  <a:lnTo>
                    <a:pt x="91" y="394"/>
                  </a:lnTo>
                  <a:lnTo>
                    <a:pt x="89" y="392"/>
                  </a:lnTo>
                  <a:lnTo>
                    <a:pt x="91" y="390"/>
                  </a:lnTo>
                  <a:lnTo>
                    <a:pt x="91" y="388"/>
                  </a:lnTo>
                  <a:lnTo>
                    <a:pt x="91" y="386"/>
                  </a:lnTo>
                  <a:lnTo>
                    <a:pt x="93" y="386"/>
                  </a:lnTo>
                  <a:lnTo>
                    <a:pt x="95" y="386"/>
                  </a:lnTo>
                  <a:lnTo>
                    <a:pt x="95" y="384"/>
                  </a:lnTo>
                  <a:lnTo>
                    <a:pt x="96" y="384"/>
                  </a:lnTo>
                  <a:lnTo>
                    <a:pt x="96" y="386"/>
                  </a:lnTo>
                  <a:lnTo>
                    <a:pt x="98" y="386"/>
                  </a:lnTo>
                  <a:lnTo>
                    <a:pt x="102" y="388"/>
                  </a:lnTo>
                  <a:lnTo>
                    <a:pt x="100" y="390"/>
                  </a:lnTo>
                  <a:lnTo>
                    <a:pt x="100" y="392"/>
                  </a:lnTo>
                  <a:lnTo>
                    <a:pt x="104" y="394"/>
                  </a:lnTo>
                  <a:lnTo>
                    <a:pt x="104" y="392"/>
                  </a:lnTo>
                  <a:lnTo>
                    <a:pt x="106" y="392"/>
                  </a:lnTo>
                  <a:lnTo>
                    <a:pt x="106" y="394"/>
                  </a:lnTo>
                  <a:lnTo>
                    <a:pt x="108" y="396"/>
                  </a:lnTo>
                  <a:lnTo>
                    <a:pt x="108" y="394"/>
                  </a:lnTo>
                  <a:lnTo>
                    <a:pt x="110" y="392"/>
                  </a:lnTo>
                  <a:lnTo>
                    <a:pt x="112" y="390"/>
                  </a:lnTo>
                  <a:lnTo>
                    <a:pt x="116" y="392"/>
                  </a:lnTo>
                  <a:lnTo>
                    <a:pt x="120" y="394"/>
                  </a:lnTo>
                  <a:lnTo>
                    <a:pt x="118" y="394"/>
                  </a:lnTo>
                  <a:lnTo>
                    <a:pt x="120" y="394"/>
                  </a:lnTo>
                  <a:lnTo>
                    <a:pt x="120" y="392"/>
                  </a:lnTo>
                  <a:lnTo>
                    <a:pt x="120" y="390"/>
                  </a:lnTo>
                  <a:lnTo>
                    <a:pt x="114" y="388"/>
                  </a:lnTo>
                  <a:lnTo>
                    <a:pt x="114" y="386"/>
                  </a:lnTo>
                  <a:lnTo>
                    <a:pt x="116" y="386"/>
                  </a:lnTo>
                  <a:lnTo>
                    <a:pt x="121" y="388"/>
                  </a:lnTo>
                  <a:lnTo>
                    <a:pt x="121" y="390"/>
                  </a:lnTo>
                  <a:lnTo>
                    <a:pt x="123" y="392"/>
                  </a:lnTo>
                  <a:lnTo>
                    <a:pt x="125" y="394"/>
                  </a:lnTo>
                  <a:lnTo>
                    <a:pt x="129" y="394"/>
                  </a:lnTo>
                  <a:lnTo>
                    <a:pt x="131" y="394"/>
                  </a:lnTo>
                  <a:lnTo>
                    <a:pt x="133" y="396"/>
                  </a:lnTo>
                  <a:lnTo>
                    <a:pt x="133" y="398"/>
                  </a:lnTo>
                  <a:lnTo>
                    <a:pt x="135" y="399"/>
                  </a:lnTo>
                  <a:lnTo>
                    <a:pt x="137" y="399"/>
                  </a:lnTo>
                  <a:lnTo>
                    <a:pt x="139" y="401"/>
                  </a:lnTo>
                  <a:lnTo>
                    <a:pt x="141" y="401"/>
                  </a:lnTo>
                  <a:lnTo>
                    <a:pt x="143" y="399"/>
                  </a:lnTo>
                  <a:lnTo>
                    <a:pt x="144" y="399"/>
                  </a:lnTo>
                  <a:lnTo>
                    <a:pt x="146" y="399"/>
                  </a:lnTo>
                  <a:lnTo>
                    <a:pt x="144" y="401"/>
                  </a:lnTo>
                  <a:lnTo>
                    <a:pt x="146" y="403"/>
                  </a:lnTo>
                  <a:lnTo>
                    <a:pt x="152" y="403"/>
                  </a:lnTo>
                  <a:lnTo>
                    <a:pt x="152" y="407"/>
                  </a:lnTo>
                  <a:lnTo>
                    <a:pt x="154" y="407"/>
                  </a:lnTo>
                  <a:lnTo>
                    <a:pt x="158" y="411"/>
                  </a:lnTo>
                  <a:lnTo>
                    <a:pt x="156" y="411"/>
                  </a:lnTo>
                  <a:lnTo>
                    <a:pt x="156" y="415"/>
                  </a:lnTo>
                  <a:lnTo>
                    <a:pt x="160" y="413"/>
                  </a:lnTo>
                  <a:lnTo>
                    <a:pt x="164" y="413"/>
                  </a:lnTo>
                  <a:lnTo>
                    <a:pt x="162" y="419"/>
                  </a:lnTo>
                  <a:lnTo>
                    <a:pt x="160" y="421"/>
                  </a:lnTo>
                  <a:lnTo>
                    <a:pt x="162" y="421"/>
                  </a:lnTo>
                  <a:lnTo>
                    <a:pt x="168" y="419"/>
                  </a:lnTo>
                  <a:lnTo>
                    <a:pt x="173" y="411"/>
                  </a:lnTo>
                  <a:lnTo>
                    <a:pt x="171" y="405"/>
                  </a:lnTo>
                  <a:lnTo>
                    <a:pt x="171" y="401"/>
                  </a:lnTo>
                  <a:lnTo>
                    <a:pt x="173" y="401"/>
                  </a:lnTo>
                  <a:lnTo>
                    <a:pt x="173" y="403"/>
                  </a:lnTo>
                  <a:lnTo>
                    <a:pt x="177" y="405"/>
                  </a:lnTo>
                  <a:lnTo>
                    <a:pt x="177" y="403"/>
                  </a:lnTo>
                  <a:lnTo>
                    <a:pt x="181" y="403"/>
                  </a:lnTo>
                  <a:lnTo>
                    <a:pt x="185" y="405"/>
                  </a:lnTo>
                  <a:lnTo>
                    <a:pt x="189" y="405"/>
                  </a:lnTo>
                  <a:lnTo>
                    <a:pt x="191" y="405"/>
                  </a:lnTo>
                  <a:lnTo>
                    <a:pt x="189" y="407"/>
                  </a:lnTo>
                  <a:lnTo>
                    <a:pt x="191" y="407"/>
                  </a:lnTo>
                  <a:lnTo>
                    <a:pt x="193" y="411"/>
                  </a:lnTo>
                  <a:lnTo>
                    <a:pt x="193" y="413"/>
                  </a:lnTo>
                  <a:lnTo>
                    <a:pt x="198" y="411"/>
                  </a:lnTo>
                  <a:lnTo>
                    <a:pt x="200" y="411"/>
                  </a:lnTo>
                  <a:lnTo>
                    <a:pt x="202" y="409"/>
                  </a:lnTo>
                  <a:lnTo>
                    <a:pt x="202" y="411"/>
                  </a:lnTo>
                  <a:lnTo>
                    <a:pt x="204" y="411"/>
                  </a:lnTo>
                  <a:lnTo>
                    <a:pt x="206" y="409"/>
                  </a:lnTo>
                  <a:lnTo>
                    <a:pt x="210" y="409"/>
                  </a:lnTo>
                  <a:lnTo>
                    <a:pt x="210" y="407"/>
                  </a:lnTo>
                  <a:lnTo>
                    <a:pt x="210" y="405"/>
                  </a:lnTo>
                  <a:lnTo>
                    <a:pt x="212" y="405"/>
                  </a:lnTo>
                  <a:lnTo>
                    <a:pt x="218" y="403"/>
                  </a:lnTo>
                  <a:lnTo>
                    <a:pt x="218" y="401"/>
                  </a:lnTo>
                  <a:lnTo>
                    <a:pt x="219" y="399"/>
                  </a:lnTo>
                  <a:lnTo>
                    <a:pt x="221" y="399"/>
                  </a:lnTo>
                  <a:lnTo>
                    <a:pt x="225" y="399"/>
                  </a:lnTo>
                  <a:lnTo>
                    <a:pt x="229" y="401"/>
                  </a:lnTo>
                  <a:lnTo>
                    <a:pt x="229" y="399"/>
                  </a:lnTo>
                  <a:lnTo>
                    <a:pt x="235" y="398"/>
                  </a:lnTo>
                  <a:lnTo>
                    <a:pt x="237" y="398"/>
                  </a:lnTo>
                  <a:lnTo>
                    <a:pt x="242" y="399"/>
                  </a:lnTo>
                  <a:lnTo>
                    <a:pt x="242" y="398"/>
                  </a:lnTo>
                  <a:lnTo>
                    <a:pt x="242" y="394"/>
                  </a:lnTo>
                  <a:lnTo>
                    <a:pt x="244" y="390"/>
                  </a:lnTo>
                  <a:lnTo>
                    <a:pt x="244" y="394"/>
                  </a:lnTo>
                  <a:lnTo>
                    <a:pt x="248" y="394"/>
                  </a:lnTo>
                  <a:lnTo>
                    <a:pt x="250" y="394"/>
                  </a:lnTo>
                  <a:lnTo>
                    <a:pt x="252" y="394"/>
                  </a:lnTo>
                  <a:lnTo>
                    <a:pt x="254" y="396"/>
                  </a:lnTo>
                  <a:lnTo>
                    <a:pt x="256" y="399"/>
                  </a:lnTo>
                  <a:lnTo>
                    <a:pt x="258" y="398"/>
                  </a:lnTo>
                  <a:lnTo>
                    <a:pt x="260" y="396"/>
                  </a:lnTo>
                  <a:lnTo>
                    <a:pt x="264" y="396"/>
                  </a:lnTo>
                  <a:lnTo>
                    <a:pt x="266" y="396"/>
                  </a:lnTo>
                  <a:lnTo>
                    <a:pt x="266" y="398"/>
                  </a:lnTo>
                  <a:lnTo>
                    <a:pt x="267" y="401"/>
                  </a:lnTo>
                  <a:lnTo>
                    <a:pt x="266" y="403"/>
                  </a:lnTo>
                  <a:lnTo>
                    <a:pt x="267" y="405"/>
                  </a:lnTo>
                  <a:lnTo>
                    <a:pt x="269" y="405"/>
                  </a:lnTo>
                  <a:lnTo>
                    <a:pt x="275" y="409"/>
                  </a:lnTo>
                  <a:lnTo>
                    <a:pt x="277" y="409"/>
                  </a:lnTo>
                  <a:lnTo>
                    <a:pt x="279" y="407"/>
                  </a:lnTo>
                  <a:lnTo>
                    <a:pt x="277" y="401"/>
                  </a:lnTo>
                  <a:lnTo>
                    <a:pt x="279" y="398"/>
                  </a:lnTo>
                  <a:lnTo>
                    <a:pt x="279" y="394"/>
                  </a:lnTo>
                  <a:lnTo>
                    <a:pt x="275" y="392"/>
                  </a:lnTo>
                  <a:lnTo>
                    <a:pt x="275" y="394"/>
                  </a:lnTo>
                  <a:lnTo>
                    <a:pt x="271" y="394"/>
                  </a:lnTo>
                  <a:lnTo>
                    <a:pt x="271" y="392"/>
                  </a:lnTo>
                  <a:lnTo>
                    <a:pt x="273" y="390"/>
                  </a:lnTo>
                  <a:lnTo>
                    <a:pt x="271" y="390"/>
                  </a:lnTo>
                  <a:lnTo>
                    <a:pt x="275" y="384"/>
                  </a:lnTo>
                  <a:lnTo>
                    <a:pt x="271" y="376"/>
                  </a:lnTo>
                  <a:lnTo>
                    <a:pt x="269" y="376"/>
                  </a:lnTo>
                  <a:lnTo>
                    <a:pt x="269" y="373"/>
                  </a:lnTo>
                  <a:lnTo>
                    <a:pt x="267" y="371"/>
                  </a:lnTo>
                  <a:lnTo>
                    <a:pt x="266" y="369"/>
                  </a:lnTo>
                  <a:lnTo>
                    <a:pt x="266" y="367"/>
                  </a:lnTo>
                  <a:lnTo>
                    <a:pt x="266" y="365"/>
                  </a:lnTo>
                  <a:lnTo>
                    <a:pt x="267" y="365"/>
                  </a:lnTo>
                  <a:lnTo>
                    <a:pt x="269" y="363"/>
                  </a:lnTo>
                  <a:lnTo>
                    <a:pt x="269" y="361"/>
                  </a:lnTo>
                  <a:lnTo>
                    <a:pt x="273" y="361"/>
                  </a:lnTo>
                  <a:lnTo>
                    <a:pt x="275" y="359"/>
                  </a:lnTo>
                  <a:lnTo>
                    <a:pt x="277" y="357"/>
                  </a:lnTo>
                  <a:lnTo>
                    <a:pt x="283" y="355"/>
                  </a:lnTo>
                  <a:lnTo>
                    <a:pt x="285" y="355"/>
                  </a:lnTo>
                  <a:lnTo>
                    <a:pt x="289" y="353"/>
                  </a:lnTo>
                  <a:lnTo>
                    <a:pt x="291" y="349"/>
                  </a:lnTo>
                  <a:lnTo>
                    <a:pt x="292" y="346"/>
                  </a:lnTo>
                  <a:lnTo>
                    <a:pt x="294" y="340"/>
                  </a:lnTo>
                  <a:lnTo>
                    <a:pt x="292" y="336"/>
                  </a:lnTo>
                  <a:lnTo>
                    <a:pt x="294" y="336"/>
                  </a:lnTo>
                  <a:lnTo>
                    <a:pt x="296" y="334"/>
                  </a:lnTo>
                  <a:lnTo>
                    <a:pt x="298" y="336"/>
                  </a:lnTo>
                  <a:lnTo>
                    <a:pt x="300" y="336"/>
                  </a:lnTo>
                  <a:lnTo>
                    <a:pt x="304" y="340"/>
                  </a:lnTo>
                  <a:lnTo>
                    <a:pt x="306" y="336"/>
                  </a:lnTo>
                  <a:lnTo>
                    <a:pt x="308" y="336"/>
                  </a:lnTo>
                  <a:lnTo>
                    <a:pt x="308" y="334"/>
                  </a:lnTo>
                  <a:lnTo>
                    <a:pt x="310" y="326"/>
                  </a:lnTo>
                  <a:lnTo>
                    <a:pt x="308" y="326"/>
                  </a:lnTo>
                  <a:lnTo>
                    <a:pt x="310" y="323"/>
                  </a:lnTo>
                  <a:lnTo>
                    <a:pt x="308" y="323"/>
                  </a:lnTo>
                  <a:lnTo>
                    <a:pt x="308" y="321"/>
                  </a:lnTo>
                  <a:lnTo>
                    <a:pt x="306" y="319"/>
                  </a:lnTo>
                  <a:lnTo>
                    <a:pt x="304" y="315"/>
                  </a:lnTo>
                  <a:lnTo>
                    <a:pt x="302" y="315"/>
                  </a:lnTo>
                  <a:lnTo>
                    <a:pt x="300" y="313"/>
                  </a:lnTo>
                  <a:lnTo>
                    <a:pt x="296" y="309"/>
                  </a:lnTo>
                  <a:lnTo>
                    <a:pt x="294" y="311"/>
                  </a:lnTo>
                  <a:lnTo>
                    <a:pt x="291" y="309"/>
                  </a:lnTo>
                  <a:lnTo>
                    <a:pt x="291" y="305"/>
                  </a:lnTo>
                  <a:lnTo>
                    <a:pt x="289" y="301"/>
                  </a:lnTo>
                  <a:lnTo>
                    <a:pt x="287" y="300"/>
                  </a:lnTo>
                  <a:lnTo>
                    <a:pt x="283" y="301"/>
                  </a:lnTo>
                  <a:lnTo>
                    <a:pt x="281" y="300"/>
                  </a:lnTo>
                  <a:lnTo>
                    <a:pt x="283" y="298"/>
                  </a:lnTo>
                  <a:lnTo>
                    <a:pt x="279" y="296"/>
                  </a:lnTo>
                  <a:lnTo>
                    <a:pt x="277" y="292"/>
                  </a:lnTo>
                  <a:lnTo>
                    <a:pt x="275" y="290"/>
                  </a:lnTo>
                  <a:lnTo>
                    <a:pt x="273" y="286"/>
                  </a:lnTo>
                  <a:lnTo>
                    <a:pt x="269" y="286"/>
                  </a:lnTo>
                  <a:lnTo>
                    <a:pt x="269" y="288"/>
                  </a:lnTo>
                  <a:lnTo>
                    <a:pt x="266" y="286"/>
                  </a:lnTo>
                  <a:lnTo>
                    <a:pt x="266" y="284"/>
                  </a:lnTo>
                  <a:lnTo>
                    <a:pt x="262" y="280"/>
                  </a:lnTo>
                  <a:lnTo>
                    <a:pt x="260" y="276"/>
                  </a:lnTo>
                  <a:lnTo>
                    <a:pt x="260" y="275"/>
                  </a:lnTo>
                  <a:lnTo>
                    <a:pt x="260" y="273"/>
                  </a:lnTo>
                  <a:lnTo>
                    <a:pt x="258" y="269"/>
                  </a:lnTo>
                  <a:lnTo>
                    <a:pt x="256" y="267"/>
                  </a:lnTo>
                  <a:lnTo>
                    <a:pt x="256" y="263"/>
                  </a:lnTo>
                  <a:lnTo>
                    <a:pt x="252" y="263"/>
                  </a:lnTo>
                  <a:lnTo>
                    <a:pt x="250" y="259"/>
                  </a:lnTo>
                  <a:lnTo>
                    <a:pt x="254" y="257"/>
                  </a:lnTo>
                  <a:lnTo>
                    <a:pt x="254" y="253"/>
                  </a:lnTo>
                  <a:lnTo>
                    <a:pt x="256" y="253"/>
                  </a:lnTo>
                  <a:lnTo>
                    <a:pt x="256" y="251"/>
                  </a:lnTo>
                  <a:lnTo>
                    <a:pt x="256" y="250"/>
                  </a:lnTo>
                  <a:lnTo>
                    <a:pt x="254" y="248"/>
                  </a:lnTo>
                  <a:lnTo>
                    <a:pt x="254" y="246"/>
                  </a:lnTo>
                  <a:lnTo>
                    <a:pt x="250" y="244"/>
                  </a:lnTo>
                  <a:lnTo>
                    <a:pt x="248" y="242"/>
                  </a:lnTo>
                  <a:lnTo>
                    <a:pt x="246" y="238"/>
                  </a:lnTo>
                  <a:lnTo>
                    <a:pt x="244" y="238"/>
                  </a:lnTo>
                  <a:lnTo>
                    <a:pt x="242" y="236"/>
                  </a:lnTo>
                  <a:lnTo>
                    <a:pt x="242" y="234"/>
                  </a:lnTo>
                  <a:lnTo>
                    <a:pt x="242" y="232"/>
                  </a:lnTo>
                  <a:lnTo>
                    <a:pt x="242" y="228"/>
                  </a:lnTo>
                  <a:lnTo>
                    <a:pt x="241" y="228"/>
                  </a:lnTo>
                  <a:lnTo>
                    <a:pt x="239" y="228"/>
                  </a:lnTo>
                  <a:lnTo>
                    <a:pt x="239" y="226"/>
                  </a:lnTo>
                  <a:lnTo>
                    <a:pt x="241" y="226"/>
                  </a:lnTo>
                  <a:lnTo>
                    <a:pt x="239" y="223"/>
                  </a:lnTo>
                  <a:lnTo>
                    <a:pt x="241" y="225"/>
                  </a:lnTo>
                  <a:lnTo>
                    <a:pt x="241" y="223"/>
                  </a:lnTo>
                  <a:lnTo>
                    <a:pt x="242" y="223"/>
                  </a:lnTo>
                  <a:lnTo>
                    <a:pt x="242" y="225"/>
                  </a:lnTo>
                  <a:lnTo>
                    <a:pt x="242" y="226"/>
                  </a:lnTo>
                  <a:lnTo>
                    <a:pt x="244" y="226"/>
                  </a:lnTo>
                  <a:lnTo>
                    <a:pt x="244" y="228"/>
                  </a:lnTo>
                  <a:lnTo>
                    <a:pt x="244" y="230"/>
                  </a:lnTo>
                  <a:lnTo>
                    <a:pt x="246" y="230"/>
                  </a:lnTo>
                  <a:lnTo>
                    <a:pt x="246" y="232"/>
                  </a:lnTo>
                  <a:lnTo>
                    <a:pt x="248" y="232"/>
                  </a:lnTo>
                  <a:lnTo>
                    <a:pt x="248" y="230"/>
                  </a:lnTo>
                  <a:lnTo>
                    <a:pt x="248" y="228"/>
                  </a:lnTo>
                  <a:lnTo>
                    <a:pt x="248" y="226"/>
                  </a:lnTo>
                  <a:lnTo>
                    <a:pt x="250" y="225"/>
                  </a:lnTo>
                  <a:lnTo>
                    <a:pt x="250" y="223"/>
                  </a:lnTo>
                  <a:lnTo>
                    <a:pt x="252" y="223"/>
                  </a:lnTo>
                  <a:lnTo>
                    <a:pt x="252" y="221"/>
                  </a:lnTo>
                  <a:lnTo>
                    <a:pt x="254" y="221"/>
                  </a:lnTo>
                  <a:lnTo>
                    <a:pt x="254" y="219"/>
                  </a:lnTo>
                  <a:lnTo>
                    <a:pt x="256" y="217"/>
                  </a:lnTo>
                  <a:lnTo>
                    <a:pt x="258" y="217"/>
                  </a:lnTo>
                  <a:lnTo>
                    <a:pt x="260" y="217"/>
                  </a:lnTo>
                  <a:lnTo>
                    <a:pt x="262" y="217"/>
                  </a:lnTo>
                  <a:lnTo>
                    <a:pt x="264" y="215"/>
                  </a:lnTo>
                  <a:lnTo>
                    <a:pt x="266" y="215"/>
                  </a:lnTo>
                  <a:lnTo>
                    <a:pt x="267" y="213"/>
                  </a:lnTo>
                  <a:lnTo>
                    <a:pt x="267" y="215"/>
                  </a:lnTo>
                  <a:lnTo>
                    <a:pt x="269" y="217"/>
                  </a:lnTo>
                  <a:lnTo>
                    <a:pt x="271" y="217"/>
                  </a:lnTo>
                  <a:lnTo>
                    <a:pt x="273" y="215"/>
                  </a:lnTo>
                  <a:lnTo>
                    <a:pt x="275" y="211"/>
                  </a:lnTo>
                  <a:lnTo>
                    <a:pt x="275" y="209"/>
                  </a:lnTo>
                  <a:lnTo>
                    <a:pt x="277" y="211"/>
                  </a:lnTo>
                  <a:lnTo>
                    <a:pt x="277" y="209"/>
                  </a:lnTo>
                  <a:lnTo>
                    <a:pt x="279" y="211"/>
                  </a:lnTo>
                  <a:lnTo>
                    <a:pt x="283" y="209"/>
                  </a:lnTo>
                  <a:lnTo>
                    <a:pt x="285" y="205"/>
                  </a:lnTo>
                  <a:lnTo>
                    <a:pt x="287" y="205"/>
                  </a:lnTo>
                  <a:lnTo>
                    <a:pt x="287" y="203"/>
                  </a:lnTo>
                  <a:lnTo>
                    <a:pt x="289" y="202"/>
                  </a:lnTo>
                  <a:lnTo>
                    <a:pt x="292" y="203"/>
                  </a:lnTo>
                  <a:lnTo>
                    <a:pt x="294" y="203"/>
                  </a:lnTo>
                  <a:lnTo>
                    <a:pt x="294" y="202"/>
                  </a:lnTo>
                  <a:lnTo>
                    <a:pt x="294" y="198"/>
                  </a:lnTo>
                  <a:lnTo>
                    <a:pt x="296" y="198"/>
                  </a:lnTo>
                  <a:lnTo>
                    <a:pt x="298" y="196"/>
                  </a:lnTo>
                  <a:lnTo>
                    <a:pt x="300" y="196"/>
                  </a:lnTo>
                  <a:lnTo>
                    <a:pt x="302" y="196"/>
                  </a:lnTo>
                  <a:lnTo>
                    <a:pt x="306" y="196"/>
                  </a:lnTo>
                  <a:lnTo>
                    <a:pt x="308" y="196"/>
                  </a:lnTo>
                  <a:lnTo>
                    <a:pt x="308" y="194"/>
                  </a:lnTo>
                  <a:lnTo>
                    <a:pt x="310" y="192"/>
                  </a:lnTo>
                  <a:lnTo>
                    <a:pt x="312" y="190"/>
                  </a:lnTo>
                  <a:lnTo>
                    <a:pt x="314" y="190"/>
                  </a:lnTo>
                  <a:lnTo>
                    <a:pt x="314" y="188"/>
                  </a:lnTo>
                  <a:lnTo>
                    <a:pt x="316" y="188"/>
                  </a:lnTo>
                  <a:lnTo>
                    <a:pt x="319" y="188"/>
                  </a:lnTo>
                  <a:lnTo>
                    <a:pt x="321" y="184"/>
                  </a:lnTo>
                  <a:lnTo>
                    <a:pt x="323" y="184"/>
                  </a:lnTo>
                  <a:lnTo>
                    <a:pt x="325" y="184"/>
                  </a:lnTo>
                  <a:lnTo>
                    <a:pt x="327" y="182"/>
                  </a:lnTo>
                  <a:lnTo>
                    <a:pt x="327" y="180"/>
                  </a:lnTo>
                  <a:lnTo>
                    <a:pt x="325" y="180"/>
                  </a:lnTo>
                  <a:lnTo>
                    <a:pt x="323" y="180"/>
                  </a:lnTo>
                  <a:lnTo>
                    <a:pt x="323" y="178"/>
                  </a:lnTo>
                  <a:lnTo>
                    <a:pt x="321" y="178"/>
                  </a:lnTo>
                  <a:lnTo>
                    <a:pt x="321" y="177"/>
                  </a:lnTo>
                  <a:lnTo>
                    <a:pt x="321" y="175"/>
                  </a:lnTo>
                  <a:lnTo>
                    <a:pt x="323" y="173"/>
                  </a:lnTo>
                  <a:lnTo>
                    <a:pt x="323" y="175"/>
                  </a:lnTo>
                  <a:lnTo>
                    <a:pt x="325" y="175"/>
                  </a:lnTo>
                  <a:lnTo>
                    <a:pt x="327" y="177"/>
                  </a:lnTo>
                  <a:lnTo>
                    <a:pt x="331" y="177"/>
                  </a:lnTo>
                  <a:lnTo>
                    <a:pt x="333" y="177"/>
                  </a:lnTo>
                  <a:lnTo>
                    <a:pt x="335" y="178"/>
                  </a:lnTo>
                  <a:lnTo>
                    <a:pt x="335" y="180"/>
                  </a:lnTo>
                  <a:lnTo>
                    <a:pt x="333" y="182"/>
                  </a:lnTo>
                  <a:lnTo>
                    <a:pt x="337" y="182"/>
                  </a:lnTo>
                  <a:lnTo>
                    <a:pt x="337" y="184"/>
                  </a:lnTo>
                  <a:lnTo>
                    <a:pt x="337" y="186"/>
                  </a:lnTo>
                  <a:lnTo>
                    <a:pt x="339" y="192"/>
                  </a:lnTo>
                  <a:lnTo>
                    <a:pt x="340" y="192"/>
                  </a:lnTo>
                  <a:lnTo>
                    <a:pt x="342" y="190"/>
                  </a:lnTo>
                  <a:lnTo>
                    <a:pt x="342" y="188"/>
                  </a:lnTo>
                  <a:lnTo>
                    <a:pt x="342" y="186"/>
                  </a:lnTo>
                  <a:lnTo>
                    <a:pt x="344" y="186"/>
                  </a:lnTo>
                  <a:lnTo>
                    <a:pt x="342" y="186"/>
                  </a:lnTo>
                  <a:lnTo>
                    <a:pt x="344" y="184"/>
                  </a:lnTo>
                  <a:lnTo>
                    <a:pt x="348" y="178"/>
                  </a:lnTo>
                  <a:lnTo>
                    <a:pt x="348" y="177"/>
                  </a:lnTo>
                  <a:lnTo>
                    <a:pt x="348" y="175"/>
                  </a:lnTo>
                  <a:lnTo>
                    <a:pt x="348" y="171"/>
                  </a:lnTo>
                  <a:lnTo>
                    <a:pt x="350" y="169"/>
                  </a:lnTo>
                  <a:lnTo>
                    <a:pt x="350" y="167"/>
                  </a:lnTo>
                  <a:lnTo>
                    <a:pt x="350" y="161"/>
                  </a:lnTo>
                  <a:lnTo>
                    <a:pt x="352" y="159"/>
                  </a:lnTo>
                  <a:lnTo>
                    <a:pt x="350" y="157"/>
                  </a:lnTo>
                  <a:lnTo>
                    <a:pt x="348" y="155"/>
                  </a:lnTo>
                  <a:lnTo>
                    <a:pt x="348" y="153"/>
                  </a:lnTo>
                  <a:lnTo>
                    <a:pt x="348" y="152"/>
                  </a:lnTo>
                  <a:lnTo>
                    <a:pt x="348" y="146"/>
                  </a:lnTo>
                  <a:lnTo>
                    <a:pt x="342" y="144"/>
                  </a:lnTo>
                  <a:lnTo>
                    <a:pt x="340" y="142"/>
                  </a:lnTo>
                  <a:lnTo>
                    <a:pt x="339" y="142"/>
                  </a:lnTo>
                  <a:lnTo>
                    <a:pt x="339" y="138"/>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15" name="Freeform 303"/>
            <p:cNvSpPr>
              <a:spLocks/>
            </p:cNvSpPr>
            <p:nvPr/>
          </p:nvSpPr>
          <p:spPr bwMode="auto">
            <a:xfrm>
              <a:off x="2371" y="2246"/>
              <a:ext cx="269" cy="215"/>
            </a:xfrm>
            <a:custGeom>
              <a:avLst/>
              <a:gdLst>
                <a:gd name="T0" fmla="*/ 262 w 269"/>
                <a:gd name="T1" fmla="*/ 202 h 215"/>
                <a:gd name="T2" fmla="*/ 266 w 269"/>
                <a:gd name="T3" fmla="*/ 182 h 215"/>
                <a:gd name="T4" fmla="*/ 260 w 269"/>
                <a:gd name="T5" fmla="*/ 169 h 215"/>
                <a:gd name="T6" fmla="*/ 260 w 269"/>
                <a:gd name="T7" fmla="*/ 150 h 215"/>
                <a:gd name="T8" fmla="*/ 245 w 269"/>
                <a:gd name="T9" fmla="*/ 136 h 215"/>
                <a:gd name="T10" fmla="*/ 246 w 269"/>
                <a:gd name="T11" fmla="*/ 125 h 215"/>
                <a:gd name="T12" fmla="*/ 252 w 269"/>
                <a:gd name="T13" fmla="*/ 109 h 215"/>
                <a:gd name="T14" fmla="*/ 250 w 269"/>
                <a:gd name="T15" fmla="*/ 96 h 215"/>
                <a:gd name="T16" fmla="*/ 246 w 269"/>
                <a:gd name="T17" fmla="*/ 81 h 215"/>
                <a:gd name="T18" fmla="*/ 239 w 269"/>
                <a:gd name="T19" fmla="*/ 77 h 215"/>
                <a:gd name="T20" fmla="*/ 229 w 269"/>
                <a:gd name="T21" fmla="*/ 69 h 215"/>
                <a:gd name="T22" fmla="*/ 227 w 269"/>
                <a:gd name="T23" fmla="*/ 58 h 215"/>
                <a:gd name="T24" fmla="*/ 221 w 269"/>
                <a:gd name="T25" fmla="*/ 52 h 215"/>
                <a:gd name="T26" fmla="*/ 216 w 269"/>
                <a:gd name="T27" fmla="*/ 50 h 215"/>
                <a:gd name="T28" fmla="*/ 206 w 269"/>
                <a:gd name="T29" fmla="*/ 44 h 215"/>
                <a:gd name="T30" fmla="*/ 202 w 269"/>
                <a:gd name="T31" fmla="*/ 36 h 215"/>
                <a:gd name="T32" fmla="*/ 193 w 269"/>
                <a:gd name="T33" fmla="*/ 40 h 215"/>
                <a:gd name="T34" fmla="*/ 189 w 269"/>
                <a:gd name="T35" fmla="*/ 38 h 215"/>
                <a:gd name="T36" fmla="*/ 183 w 269"/>
                <a:gd name="T37" fmla="*/ 38 h 215"/>
                <a:gd name="T38" fmla="*/ 177 w 269"/>
                <a:gd name="T39" fmla="*/ 42 h 215"/>
                <a:gd name="T40" fmla="*/ 183 w 269"/>
                <a:gd name="T41" fmla="*/ 36 h 215"/>
                <a:gd name="T42" fmla="*/ 189 w 269"/>
                <a:gd name="T43" fmla="*/ 33 h 215"/>
                <a:gd name="T44" fmla="*/ 191 w 269"/>
                <a:gd name="T45" fmla="*/ 33 h 215"/>
                <a:gd name="T46" fmla="*/ 175 w 269"/>
                <a:gd name="T47" fmla="*/ 42 h 215"/>
                <a:gd name="T48" fmla="*/ 170 w 269"/>
                <a:gd name="T49" fmla="*/ 50 h 215"/>
                <a:gd name="T50" fmla="*/ 168 w 269"/>
                <a:gd name="T51" fmla="*/ 52 h 215"/>
                <a:gd name="T52" fmla="*/ 150 w 269"/>
                <a:gd name="T53" fmla="*/ 54 h 215"/>
                <a:gd name="T54" fmla="*/ 148 w 269"/>
                <a:gd name="T55" fmla="*/ 59 h 215"/>
                <a:gd name="T56" fmla="*/ 145 w 269"/>
                <a:gd name="T57" fmla="*/ 67 h 215"/>
                <a:gd name="T58" fmla="*/ 137 w 269"/>
                <a:gd name="T59" fmla="*/ 63 h 215"/>
                <a:gd name="T60" fmla="*/ 125 w 269"/>
                <a:gd name="T61" fmla="*/ 61 h 215"/>
                <a:gd name="T62" fmla="*/ 122 w 269"/>
                <a:gd name="T63" fmla="*/ 69 h 215"/>
                <a:gd name="T64" fmla="*/ 122 w 269"/>
                <a:gd name="T65" fmla="*/ 61 h 215"/>
                <a:gd name="T66" fmla="*/ 123 w 269"/>
                <a:gd name="T67" fmla="*/ 56 h 215"/>
                <a:gd name="T68" fmla="*/ 133 w 269"/>
                <a:gd name="T69" fmla="*/ 34 h 215"/>
                <a:gd name="T70" fmla="*/ 131 w 269"/>
                <a:gd name="T71" fmla="*/ 27 h 215"/>
                <a:gd name="T72" fmla="*/ 131 w 269"/>
                <a:gd name="T73" fmla="*/ 33 h 215"/>
                <a:gd name="T74" fmla="*/ 116 w 269"/>
                <a:gd name="T75" fmla="*/ 40 h 215"/>
                <a:gd name="T76" fmla="*/ 98 w 269"/>
                <a:gd name="T77" fmla="*/ 36 h 215"/>
                <a:gd name="T78" fmla="*/ 98 w 269"/>
                <a:gd name="T79" fmla="*/ 33 h 215"/>
                <a:gd name="T80" fmla="*/ 91 w 269"/>
                <a:gd name="T81" fmla="*/ 27 h 215"/>
                <a:gd name="T82" fmla="*/ 95 w 269"/>
                <a:gd name="T83" fmla="*/ 15 h 215"/>
                <a:gd name="T84" fmla="*/ 87 w 269"/>
                <a:gd name="T85" fmla="*/ 10 h 215"/>
                <a:gd name="T86" fmla="*/ 72 w 269"/>
                <a:gd name="T87" fmla="*/ 6 h 215"/>
                <a:gd name="T88" fmla="*/ 54 w 269"/>
                <a:gd name="T89" fmla="*/ 2 h 215"/>
                <a:gd name="T90" fmla="*/ 45 w 269"/>
                <a:gd name="T91" fmla="*/ 8 h 215"/>
                <a:gd name="T92" fmla="*/ 50 w 269"/>
                <a:gd name="T93" fmla="*/ 17 h 215"/>
                <a:gd name="T94" fmla="*/ 56 w 269"/>
                <a:gd name="T95" fmla="*/ 31 h 215"/>
                <a:gd name="T96" fmla="*/ 43 w 269"/>
                <a:gd name="T97" fmla="*/ 36 h 215"/>
                <a:gd name="T98" fmla="*/ 50 w 269"/>
                <a:gd name="T99" fmla="*/ 40 h 215"/>
                <a:gd name="T100" fmla="*/ 54 w 269"/>
                <a:gd name="T101" fmla="*/ 52 h 215"/>
                <a:gd name="T102" fmla="*/ 50 w 269"/>
                <a:gd name="T103" fmla="*/ 59 h 215"/>
                <a:gd name="T104" fmla="*/ 68 w 269"/>
                <a:gd name="T105" fmla="*/ 69 h 215"/>
                <a:gd name="T106" fmla="*/ 73 w 269"/>
                <a:gd name="T107" fmla="*/ 83 h 215"/>
                <a:gd name="T108" fmla="*/ 81 w 269"/>
                <a:gd name="T109" fmla="*/ 90 h 215"/>
                <a:gd name="T110" fmla="*/ 68 w 269"/>
                <a:gd name="T111" fmla="*/ 73 h 215"/>
                <a:gd name="T112" fmla="*/ 50 w 269"/>
                <a:gd name="T113" fmla="*/ 71 h 215"/>
                <a:gd name="T114" fmla="*/ 35 w 269"/>
                <a:gd name="T115" fmla="*/ 79 h 215"/>
                <a:gd name="T116" fmla="*/ 37 w 269"/>
                <a:gd name="T117" fmla="*/ 90 h 215"/>
                <a:gd name="T118" fmla="*/ 25 w 269"/>
                <a:gd name="T119" fmla="*/ 90 h 215"/>
                <a:gd name="T120" fmla="*/ 24 w 269"/>
                <a:gd name="T121" fmla="*/ 94 h 215"/>
                <a:gd name="T122" fmla="*/ 22 w 269"/>
                <a:gd name="T123" fmla="*/ 81 h 215"/>
                <a:gd name="T124" fmla="*/ 8 w 269"/>
                <a:gd name="T125" fmla="*/ 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9" h="215">
                  <a:moveTo>
                    <a:pt x="268" y="215"/>
                  </a:moveTo>
                  <a:lnTo>
                    <a:pt x="269" y="215"/>
                  </a:lnTo>
                  <a:lnTo>
                    <a:pt x="269" y="211"/>
                  </a:lnTo>
                  <a:lnTo>
                    <a:pt x="266" y="207"/>
                  </a:lnTo>
                  <a:lnTo>
                    <a:pt x="266" y="205"/>
                  </a:lnTo>
                  <a:lnTo>
                    <a:pt x="264" y="202"/>
                  </a:lnTo>
                  <a:lnTo>
                    <a:pt x="262" y="202"/>
                  </a:lnTo>
                  <a:lnTo>
                    <a:pt x="262" y="200"/>
                  </a:lnTo>
                  <a:lnTo>
                    <a:pt x="266" y="194"/>
                  </a:lnTo>
                  <a:lnTo>
                    <a:pt x="266" y="192"/>
                  </a:lnTo>
                  <a:lnTo>
                    <a:pt x="266" y="190"/>
                  </a:lnTo>
                  <a:lnTo>
                    <a:pt x="268" y="186"/>
                  </a:lnTo>
                  <a:lnTo>
                    <a:pt x="268" y="182"/>
                  </a:lnTo>
                  <a:lnTo>
                    <a:pt x="266" y="182"/>
                  </a:lnTo>
                  <a:lnTo>
                    <a:pt x="266" y="181"/>
                  </a:lnTo>
                  <a:lnTo>
                    <a:pt x="266" y="177"/>
                  </a:lnTo>
                  <a:lnTo>
                    <a:pt x="266" y="175"/>
                  </a:lnTo>
                  <a:lnTo>
                    <a:pt x="266" y="173"/>
                  </a:lnTo>
                  <a:lnTo>
                    <a:pt x="262" y="171"/>
                  </a:lnTo>
                  <a:lnTo>
                    <a:pt x="260" y="171"/>
                  </a:lnTo>
                  <a:lnTo>
                    <a:pt x="260" y="169"/>
                  </a:lnTo>
                  <a:lnTo>
                    <a:pt x="260" y="165"/>
                  </a:lnTo>
                  <a:lnTo>
                    <a:pt x="258" y="163"/>
                  </a:lnTo>
                  <a:lnTo>
                    <a:pt x="260" y="157"/>
                  </a:lnTo>
                  <a:lnTo>
                    <a:pt x="262" y="156"/>
                  </a:lnTo>
                  <a:lnTo>
                    <a:pt x="260" y="154"/>
                  </a:lnTo>
                  <a:lnTo>
                    <a:pt x="262" y="152"/>
                  </a:lnTo>
                  <a:lnTo>
                    <a:pt x="260" y="150"/>
                  </a:lnTo>
                  <a:lnTo>
                    <a:pt x="258" y="148"/>
                  </a:lnTo>
                  <a:lnTo>
                    <a:pt x="256" y="146"/>
                  </a:lnTo>
                  <a:lnTo>
                    <a:pt x="254" y="144"/>
                  </a:lnTo>
                  <a:lnTo>
                    <a:pt x="250" y="140"/>
                  </a:lnTo>
                  <a:lnTo>
                    <a:pt x="248" y="138"/>
                  </a:lnTo>
                  <a:lnTo>
                    <a:pt x="246" y="136"/>
                  </a:lnTo>
                  <a:lnTo>
                    <a:pt x="245" y="136"/>
                  </a:lnTo>
                  <a:lnTo>
                    <a:pt x="243" y="136"/>
                  </a:lnTo>
                  <a:lnTo>
                    <a:pt x="243" y="132"/>
                  </a:lnTo>
                  <a:lnTo>
                    <a:pt x="243" y="131"/>
                  </a:lnTo>
                  <a:lnTo>
                    <a:pt x="243" y="129"/>
                  </a:lnTo>
                  <a:lnTo>
                    <a:pt x="243" y="127"/>
                  </a:lnTo>
                  <a:lnTo>
                    <a:pt x="245" y="127"/>
                  </a:lnTo>
                  <a:lnTo>
                    <a:pt x="246" y="125"/>
                  </a:lnTo>
                  <a:lnTo>
                    <a:pt x="248" y="123"/>
                  </a:lnTo>
                  <a:lnTo>
                    <a:pt x="250" y="123"/>
                  </a:lnTo>
                  <a:lnTo>
                    <a:pt x="250" y="121"/>
                  </a:lnTo>
                  <a:lnTo>
                    <a:pt x="252" y="115"/>
                  </a:lnTo>
                  <a:lnTo>
                    <a:pt x="250" y="111"/>
                  </a:lnTo>
                  <a:lnTo>
                    <a:pt x="252" y="111"/>
                  </a:lnTo>
                  <a:lnTo>
                    <a:pt x="252" y="109"/>
                  </a:lnTo>
                  <a:lnTo>
                    <a:pt x="252" y="111"/>
                  </a:lnTo>
                  <a:lnTo>
                    <a:pt x="252" y="109"/>
                  </a:lnTo>
                  <a:lnTo>
                    <a:pt x="254" y="107"/>
                  </a:lnTo>
                  <a:lnTo>
                    <a:pt x="252" y="106"/>
                  </a:lnTo>
                  <a:lnTo>
                    <a:pt x="252" y="102"/>
                  </a:lnTo>
                  <a:lnTo>
                    <a:pt x="250" y="98"/>
                  </a:lnTo>
                  <a:lnTo>
                    <a:pt x="250" y="96"/>
                  </a:lnTo>
                  <a:lnTo>
                    <a:pt x="250" y="94"/>
                  </a:lnTo>
                  <a:lnTo>
                    <a:pt x="250" y="92"/>
                  </a:lnTo>
                  <a:lnTo>
                    <a:pt x="248" y="90"/>
                  </a:lnTo>
                  <a:lnTo>
                    <a:pt x="248" y="88"/>
                  </a:lnTo>
                  <a:lnTo>
                    <a:pt x="248" y="84"/>
                  </a:lnTo>
                  <a:lnTo>
                    <a:pt x="246" y="83"/>
                  </a:lnTo>
                  <a:lnTo>
                    <a:pt x="246" y="81"/>
                  </a:lnTo>
                  <a:lnTo>
                    <a:pt x="245" y="79"/>
                  </a:lnTo>
                  <a:lnTo>
                    <a:pt x="248" y="79"/>
                  </a:lnTo>
                  <a:lnTo>
                    <a:pt x="245" y="75"/>
                  </a:lnTo>
                  <a:lnTo>
                    <a:pt x="243" y="77"/>
                  </a:lnTo>
                  <a:lnTo>
                    <a:pt x="241" y="77"/>
                  </a:lnTo>
                  <a:lnTo>
                    <a:pt x="243" y="81"/>
                  </a:lnTo>
                  <a:lnTo>
                    <a:pt x="239" y="77"/>
                  </a:lnTo>
                  <a:lnTo>
                    <a:pt x="239" y="79"/>
                  </a:lnTo>
                  <a:lnTo>
                    <a:pt x="239" y="77"/>
                  </a:lnTo>
                  <a:lnTo>
                    <a:pt x="235" y="75"/>
                  </a:lnTo>
                  <a:lnTo>
                    <a:pt x="233" y="73"/>
                  </a:lnTo>
                  <a:lnTo>
                    <a:pt x="231" y="71"/>
                  </a:lnTo>
                  <a:lnTo>
                    <a:pt x="229" y="71"/>
                  </a:lnTo>
                  <a:lnTo>
                    <a:pt x="229" y="69"/>
                  </a:lnTo>
                  <a:lnTo>
                    <a:pt x="229" y="67"/>
                  </a:lnTo>
                  <a:lnTo>
                    <a:pt x="231" y="65"/>
                  </a:lnTo>
                  <a:lnTo>
                    <a:pt x="233" y="65"/>
                  </a:lnTo>
                  <a:lnTo>
                    <a:pt x="231" y="63"/>
                  </a:lnTo>
                  <a:lnTo>
                    <a:pt x="231" y="61"/>
                  </a:lnTo>
                  <a:lnTo>
                    <a:pt x="227" y="59"/>
                  </a:lnTo>
                  <a:lnTo>
                    <a:pt x="227" y="58"/>
                  </a:lnTo>
                  <a:lnTo>
                    <a:pt x="229" y="56"/>
                  </a:lnTo>
                  <a:lnTo>
                    <a:pt x="229" y="54"/>
                  </a:lnTo>
                  <a:lnTo>
                    <a:pt x="227" y="52"/>
                  </a:lnTo>
                  <a:lnTo>
                    <a:pt x="225" y="52"/>
                  </a:lnTo>
                  <a:lnTo>
                    <a:pt x="225" y="50"/>
                  </a:lnTo>
                  <a:lnTo>
                    <a:pt x="223" y="52"/>
                  </a:lnTo>
                  <a:lnTo>
                    <a:pt x="221" y="52"/>
                  </a:lnTo>
                  <a:lnTo>
                    <a:pt x="218" y="52"/>
                  </a:lnTo>
                  <a:lnTo>
                    <a:pt x="218" y="54"/>
                  </a:lnTo>
                  <a:lnTo>
                    <a:pt x="218" y="56"/>
                  </a:lnTo>
                  <a:lnTo>
                    <a:pt x="216" y="56"/>
                  </a:lnTo>
                  <a:lnTo>
                    <a:pt x="216" y="54"/>
                  </a:lnTo>
                  <a:lnTo>
                    <a:pt x="216" y="52"/>
                  </a:lnTo>
                  <a:lnTo>
                    <a:pt x="216" y="50"/>
                  </a:lnTo>
                  <a:lnTo>
                    <a:pt x="214" y="50"/>
                  </a:lnTo>
                  <a:lnTo>
                    <a:pt x="212" y="48"/>
                  </a:lnTo>
                  <a:lnTo>
                    <a:pt x="210" y="44"/>
                  </a:lnTo>
                  <a:lnTo>
                    <a:pt x="208" y="44"/>
                  </a:lnTo>
                  <a:lnTo>
                    <a:pt x="206" y="44"/>
                  </a:lnTo>
                  <a:lnTo>
                    <a:pt x="208" y="44"/>
                  </a:lnTo>
                  <a:lnTo>
                    <a:pt x="206" y="44"/>
                  </a:lnTo>
                  <a:lnTo>
                    <a:pt x="204" y="46"/>
                  </a:lnTo>
                  <a:lnTo>
                    <a:pt x="202" y="44"/>
                  </a:lnTo>
                  <a:lnTo>
                    <a:pt x="200" y="44"/>
                  </a:lnTo>
                  <a:lnTo>
                    <a:pt x="200" y="42"/>
                  </a:lnTo>
                  <a:lnTo>
                    <a:pt x="202" y="40"/>
                  </a:lnTo>
                  <a:lnTo>
                    <a:pt x="202" y="38"/>
                  </a:lnTo>
                  <a:lnTo>
                    <a:pt x="202" y="36"/>
                  </a:lnTo>
                  <a:lnTo>
                    <a:pt x="200" y="34"/>
                  </a:lnTo>
                  <a:lnTo>
                    <a:pt x="200" y="33"/>
                  </a:lnTo>
                  <a:lnTo>
                    <a:pt x="198" y="33"/>
                  </a:lnTo>
                  <a:lnTo>
                    <a:pt x="196" y="34"/>
                  </a:lnTo>
                  <a:lnTo>
                    <a:pt x="195" y="36"/>
                  </a:lnTo>
                  <a:lnTo>
                    <a:pt x="195" y="40"/>
                  </a:lnTo>
                  <a:lnTo>
                    <a:pt x="193" y="40"/>
                  </a:lnTo>
                  <a:lnTo>
                    <a:pt x="193" y="36"/>
                  </a:lnTo>
                  <a:lnTo>
                    <a:pt x="191" y="38"/>
                  </a:lnTo>
                  <a:lnTo>
                    <a:pt x="191" y="36"/>
                  </a:lnTo>
                  <a:lnTo>
                    <a:pt x="191" y="38"/>
                  </a:lnTo>
                  <a:lnTo>
                    <a:pt x="191" y="36"/>
                  </a:lnTo>
                  <a:lnTo>
                    <a:pt x="189" y="36"/>
                  </a:lnTo>
                  <a:lnTo>
                    <a:pt x="189" y="38"/>
                  </a:lnTo>
                  <a:lnTo>
                    <a:pt x="189" y="36"/>
                  </a:lnTo>
                  <a:lnTo>
                    <a:pt x="187" y="36"/>
                  </a:lnTo>
                  <a:lnTo>
                    <a:pt x="185" y="38"/>
                  </a:lnTo>
                  <a:lnTo>
                    <a:pt x="185" y="36"/>
                  </a:lnTo>
                  <a:lnTo>
                    <a:pt x="183" y="36"/>
                  </a:lnTo>
                  <a:lnTo>
                    <a:pt x="185" y="38"/>
                  </a:lnTo>
                  <a:lnTo>
                    <a:pt x="183" y="38"/>
                  </a:lnTo>
                  <a:lnTo>
                    <a:pt x="181" y="40"/>
                  </a:lnTo>
                  <a:lnTo>
                    <a:pt x="181" y="42"/>
                  </a:lnTo>
                  <a:lnTo>
                    <a:pt x="179" y="42"/>
                  </a:lnTo>
                  <a:lnTo>
                    <a:pt x="181" y="44"/>
                  </a:lnTo>
                  <a:lnTo>
                    <a:pt x="179" y="44"/>
                  </a:lnTo>
                  <a:lnTo>
                    <a:pt x="177" y="44"/>
                  </a:lnTo>
                  <a:lnTo>
                    <a:pt x="177" y="42"/>
                  </a:lnTo>
                  <a:lnTo>
                    <a:pt x="177" y="40"/>
                  </a:lnTo>
                  <a:lnTo>
                    <a:pt x="177" y="38"/>
                  </a:lnTo>
                  <a:lnTo>
                    <a:pt x="179" y="38"/>
                  </a:lnTo>
                  <a:lnTo>
                    <a:pt x="179" y="36"/>
                  </a:lnTo>
                  <a:lnTo>
                    <a:pt x="181" y="36"/>
                  </a:lnTo>
                  <a:lnTo>
                    <a:pt x="181" y="34"/>
                  </a:lnTo>
                  <a:lnTo>
                    <a:pt x="183" y="36"/>
                  </a:lnTo>
                  <a:lnTo>
                    <a:pt x="187" y="34"/>
                  </a:lnTo>
                  <a:lnTo>
                    <a:pt x="185" y="34"/>
                  </a:lnTo>
                  <a:lnTo>
                    <a:pt x="187" y="34"/>
                  </a:lnTo>
                  <a:lnTo>
                    <a:pt x="187" y="33"/>
                  </a:lnTo>
                  <a:lnTo>
                    <a:pt x="185" y="33"/>
                  </a:lnTo>
                  <a:lnTo>
                    <a:pt x="187" y="33"/>
                  </a:lnTo>
                  <a:lnTo>
                    <a:pt x="189" y="33"/>
                  </a:lnTo>
                  <a:lnTo>
                    <a:pt x="191" y="34"/>
                  </a:lnTo>
                  <a:lnTo>
                    <a:pt x="193" y="34"/>
                  </a:lnTo>
                  <a:lnTo>
                    <a:pt x="193" y="33"/>
                  </a:lnTo>
                  <a:lnTo>
                    <a:pt x="195" y="33"/>
                  </a:lnTo>
                  <a:lnTo>
                    <a:pt x="195" y="34"/>
                  </a:lnTo>
                  <a:lnTo>
                    <a:pt x="196" y="33"/>
                  </a:lnTo>
                  <a:lnTo>
                    <a:pt x="191" y="33"/>
                  </a:lnTo>
                  <a:lnTo>
                    <a:pt x="187" y="31"/>
                  </a:lnTo>
                  <a:lnTo>
                    <a:pt x="183" y="31"/>
                  </a:lnTo>
                  <a:lnTo>
                    <a:pt x="183" y="29"/>
                  </a:lnTo>
                  <a:lnTo>
                    <a:pt x="179" y="34"/>
                  </a:lnTo>
                  <a:lnTo>
                    <a:pt x="179" y="36"/>
                  </a:lnTo>
                  <a:lnTo>
                    <a:pt x="177" y="40"/>
                  </a:lnTo>
                  <a:lnTo>
                    <a:pt x="175" y="42"/>
                  </a:lnTo>
                  <a:lnTo>
                    <a:pt x="173" y="44"/>
                  </a:lnTo>
                  <a:lnTo>
                    <a:pt x="171" y="44"/>
                  </a:lnTo>
                  <a:lnTo>
                    <a:pt x="171" y="46"/>
                  </a:lnTo>
                  <a:lnTo>
                    <a:pt x="170" y="46"/>
                  </a:lnTo>
                  <a:lnTo>
                    <a:pt x="170" y="48"/>
                  </a:lnTo>
                  <a:lnTo>
                    <a:pt x="168" y="50"/>
                  </a:lnTo>
                  <a:lnTo>
                    <a:pt x="170" y="50"/>
                  </a:lnTo>
                  <a:lnTo>
                    <a:pt x="168" y="52"/>
                  </a:lnTo>
                  <a:lnTo>
                    <a:pt x="168" y="54"/>
                  </a:lnTo>
                  <a:lnTo>
                    <a:pt x="170" y="54"/>
                  </a:lnTo>
                  <a:lnTo>
                    <a:pt x="170" y="56"/>
                  </a:lnTo>
                  <a:lnTo>
                    <a:pt x="168" y="56"/>
                  </a:lnTo>
                  <a:lnTo>
                    <a:pt x="168" y="54"/>
                  </a:lnTo>
                  <a:lnTo>
                    <a:pt x="168" y="52"/>
                  </a:lnTo>
                  <a:lnTo>
                    <a:pt x="168" y="50"/>
                  </a:lnTo>
                  <a:lnTo>
                    <a:pt x="166" y="50"/>
                  </a:lnTo>
                  <a:lnTo>
                    <a:pt x="164" y="50"/>
                  </a:lnTo>
                  <a:lnTo>
                    <a:pt x="160" y="52"/>
                  </a:lnTo>
                  <a:lnTo>
                    <a:pt x="156" y="52"/>
                  </a:lnTo>
                  <a:lnTo>
                    <a:pt x="152" y="52"/>
                  </a:lnTo>
                  <a:lnTo>
                    <a:pt x="150" y="54"/>
                  </a:lnTo>
                  <a:lnTo>
                    <a:pt x="148" y="56"/>
                  </a:lnTo>
                  <a:lnTo>
                    <a:pt x="147" y="56"/>
                  </a:lnTo>
                  <a:lnTo>
                    <a:pt x="147" y="58"/>
                  </a:lnTo>
                  <a:lnTo>
                    <a:pt x="150" y="54"/>
                  </a:lnTo>
                  <a:lnTo>
                    <a:pt x="150" y="56"/>
                  </a:lnTo>
                  <a:lnTo>
                    <a:pt x="148" y="58"/>
                  </a:lnTo>
                  <a:lnTo>
                    <a:pt x="148" y="59"/>
                  </a:lnTo>
                  <a:lnTo>
                    <a:pt x="147" y="59"/>
                  </a:lnTo>
                  <a:lnTo>
                    <a:pt x="147" y="61"/>
                  </a:lnTo>
                  <a:lnTo>
                    <a:pt x="147" y="63"/>
                  </a:lnTo>
                  <a:lnTo>
                    <a:pt x="147" y="65"/>
                  </a:lnTo>
                  <a:lnTo>
                    <a:pt x="147" y="67"/>
                  </a:lnTo>
                  <a:lnTo>
                    <a:pt x="145" y="69"/>
                  </a:lnTo>
                  <a:lnTo>
                    <a:pt x="145" y="67"/>
                  </a:lnTo>
                  <a:lnTo>
                    <a:pt x="143" y="67"/>
                  </a:lnTo>
                  <a:lnTo>
                    <a:pt x="143" y="65"/>
                  </a:lnTo>
                  <a:lnTo>
                    <a:pt x="141" y="65"/>
                  </a:lnTo>
                  <a:lnTo>
                    <a:pt x="141" y="63"/>
                  </a:lnTo>
                  <a:lnTo>
                    <a:pt x="139" y="65"/>
                  </a:lnTo>
                  <a:lnTo>
                    <a:pt x="137" y="65"/>
                  </a:lnTo>
                  <a:lnTo>
                    <a:pt x="137" y="63"/>
                  </a:lnTo>
                  <a:lnTo>
                    <a:pt x="137" y="61"/>
                  </a:lnTo>
                  <a:lnTo>
                    <a:pt x="135" y="61"/>
                  </a:lnTo>
                  <a:lnTo>
                    <a:pt x="135" y="59"/>
                  </a:lnTo>
                  <a:lnTo>
                    <a:pt x="133" y="59"/>
                  </a:lnTo>
                  <a:lnTo>
                    <a:pt x="131" y="59"/>
                  </a:lnTo>
                  <a:lnTo>
                    <a:pt x="127" y="61"/>
                  </a:lnTo>
                  <a:lnTo>
                    <a:pt x="125" y="61"/>
                  </a:lnTo>
                  <a:lnTo>
                    <a:pt x="123" y="63"/>
                  </a:lnTo>
                  <a:lnTo>
                    <a:pt x="123" y="65"/>
                  </a:lnTo>
                  <a:lnTo>
                    <a:pt x="127" y="67"/>
                  </a:lnTo>
                  <a:lnTo>
                    <a:pt x="125" y="67"/>
                  </a:lnTo>
                  <a:lnTo>
                    <a:pt x="123" y="65"/>
                  </a:lnTo>
                  <a:lnTo>
                    <a:pt x="123" y="67"/>
                  </a:lnTo>
                  <a:lnTo>
                    <a:pt x="122" y="69"/>
                  </a:lnTo>
                  <a:lnTo>
                    <a:pt x="120" y="71"/>
                  </a:lnTo>
                  <a:lnTo>
                    <a:pt x="122" y="67"/>
                  </a:lnTo>
                  <a:lnTo>
                    <a:pt x="120" y="67"/>
                  </a:lnTo>
                  <a:lnTo>
                    <a:pt x="122" y="67"/>
                  </a:lnTo>
                  <a:lnTo>
                    <a:pt x="122" y="65"/>
                  </a:lnTo>
                  <a:lnTo>
                    <a:pt x="123" y="61"/>
                  </a:lnTo>
                  <a:lnTo>
                    <a:pt x="122" y="61"/>
                  </a:lnTo>
                  <a:lnTo>
                    <a:pt x="120" y="61"/>
                  </a:lnTo>
                  <a:lnTo>
                    <a:pt x="120" y="59"/>
                  </a:lnTo>
                  <a:lnTo>
                    <a:pt x="120" y="58"/>
                  </a:lnTo>
                  <a:lnTo>
                    <a:pt x="122" y="56"/>
                  </a:lnTo>
                  <a:lnTo>
                    <a:pt x="122" y="54"/>
                  </a:lnTo>
                  <a:lnTo>
                    <a:pt x="122" y="56"/>
                  </a:lnTo>
                  <a:lnTo>
                    <a:pt x="123" y="56"/>
                  </a:lnTo>
                  <a:lnTo>
                    <a:pt x="127" y="52"/>
                  </a:lnTo>
                  <a:lnTo>
                    <a:pt x="131" y="50"/>
                  </a:lnTo>
                  <a:lnTo>
                    <a:pt x="131" y="48"/>
                  </a:lnTo>
                  <a:lnTo>
                    <a:pt x="131" y="42"/>
                  </a:lnTo>
                  <a:lnTo>
                    <a:pt x="131" y="38"/>
                  </a:lnTo>
                  <a:lnTo>
                    <a:pt x="133" y="36"/>
                  </a:lnTo>
                  <a:lnTo>
                    <a:pt x="133" y="34"/>
                  </a:lnTo>
                  <a:lnTo>
                    <a:pt x="135" y="34"/>
                  </a:lnTo>
                  <a:lnTo>
                    <a:pt x="135" y="33"/>
                  </a:lnTo>
                  <a:lnTo>
                    <a:pt x="135" y="34"/>
                  </a:lnTo>
                  <a:lnTo>
                    <a:pt x="139" y="34"/>
                  </a:lnTo>
                  <a:lnTo>
                    <a:pt x="137" y="29"/>
                  </a:lnTo>
                  <a:lnTo>
                    <a:pt x="133" y="27"/>
                  </a:lnTo>
                  <a:lnTo>
                    <a:pt x="131" y="27"/>
                  </a:lnTo>
                  <a:lnTo>
                    <a:pt x="129" y="27"/>
                  </a:lnTo>
                  <a:lnTo>
                    <a:pt x="127" y="29"/>
                  </a:lnTo>
                  <a:lnTo>
                    <a:pt x="129" y="31"/>
                  </a:lnTo>
                  <a:lnTo>
                    <a:pt x="129" y="33"/>
                  </a:lnTo>
                  <a:lnTo>
                    <a:pt x="129" y="31"/>
                  </a:lnTo>
                  <a:lnTo>
                    <a:pt x="131" y="31"/>
                  </a:lnTo>
                  <a:lnTo>
                    <a:pt x="131" y="33"/>
                  </a:lnTo>
                  <a:lnTo>
                    <a:pt x="131" y="34"/>
                  </a:lnTo>
                  <a:lnTo>
                    <a:pt x="131" y="36"/>
                  </a:lnTo>
                  <a:lnTo>
                    <a:pt x="129" y="36"/>
                  </a:lnTo>
                  <a:lnTo>
                    <a:pt x="125" y="34"/>
                  </a:lnTo>
                  <a:lnTo>
                    <a:pt x="122" y="40"/>
                  </a:lnTo>
                  <a:lnTo>
                    <a:pt x="118" y="40"/>
                  </a:lnTo>
                  <a:lnTo>
                    <a:pt x="116" y="40"/>
                  </a:lnTo>
                  <a:lnTo>
                    <a:pt x="114" y="36"/>
                  </a:lnTo>
                  <a:lnTo>
                    <a:pt x="108" y="34"/>
                  </a:lnTo>
                  <a:lnTo>
                    <a:pt x="106" y="33"/>
                  </a:lnTo>
                  <a:lnTo>
                    <a:pt x="102" y="31"/>
                  </a:lnTo>
                  <a:lnTo>
                    <a:pt x="102" y="33"/>
                  </a:lnTo>
                  <a:lnTo>
                    <a:pt x="100" y="33"/>
                  </a:lnTo>
                  <a:lnTo>
                    <a:pt x="98" y="36"/>
                  </a:lnTo>
                  <a:lnTo>
                    <a:pt x="98" y="38"/>
                  </a:lnTo>
                  <a:lnTo>
                    <a:pt x="98" y="40"/>
                  </a:lnTo>
                  <a:lnTo>
                    <a:pt x="97" y="40"/>
                  </a:lnTo>
                  <a:lnTo>
                    <a:pt x="97" y="38"/>
                  </a:lnTo>
                  <a:lnTo>
                    <a:pt x="98" y="36"/>
                  </a:lnTo>
                  <a:lnTo>
                    <a:pt x="98" y="34"/>
                  </a:lnTo>
                  <a:lnTo>
                    <a:pt x="98" y="33"/>
                  </a:lnTo>
                  <a:lnTo>
                    <a:pt x="98" y="31"/>
                  </a:lnTo>
                  <a:lnTo>
                    <a:pt x="97" y="29"/>
                  </a:lnTo>
                  <a:lnTo>
                    <a:pt x="91" y="31"/>
                  </a:lnTo>
                  <a:lnTo>
                    <a:pt x="89" y="31"/>
                  </a:lnTo>
                  <a:lnTo>
                    <a:pt x="87" y="31"/>
                  </a:lnTo>
                  <a:lnTo>
                    <a:pt x="87" y="29"/>
                  </a:lnTo>
                  <a:lnTo>
                    <a:pt x="91" y="27"/>
                  </a:lnTo>
                  <a:lnTo>
                    <a:pt x="93" y="27"/>
                  </a:lnTo>
                  <a:lnTo>
                    <a:pt x="93" y="25"/>
                  </a:lnTo>
                  <a:lnTo>
                    <a:pt x="93" y="19"/>
                  </a:lnTo>
                  <a:lnTo>
                    <a:pt x="95" y="17"/>
                  </a:lnTo>
                  <a:lnTo>
                    <a:pt x="91" y="17"/>
                  </a:lnTo>
                  <a:lnTo>
                    <a:pt x="91" y="15"/>
                  </a:lnTo>
                  <a:lnTo>
                    <a:pt x="95" y="15"/>
                  </a:lnTo>
                  <a:lnTo>
                    <a:pt x="93" y="13"/>
                  </a:lnTo>
                  <a:lnTo>
                    <a:pt x="93" y="11"/>
                  </a:lnTo>
                  <a:lnTo>
                    <a:pt x="91" y="10"/>
                  </a:lnTo>
                  <a:lnTo>
                    <a:pt x="89" y="8"/>
                  </a:lnTo>
                  <a:lnTo>
                    <a:pt x="89" y="10"/>
                  </a:lnTo>
                  <a:lnTo>
                    <a:pt x="87" y="11"/>
                  </a:lnTo>
                  <a:lnTo>
                    <a:pt x="87" y="10"/>
                  </a:lnTo>
                  <a:lnTo>
                    <a:pt x="87" y="8"/>
                  </a:lnTo>
                  <a:lnTo>
                    <a:pt x="81" y="6"/>
                  </a:lnTo>
                  <a:lnTo>
                    <a:pt x="79" y="6"/>
                  </a:lnTo>
                  <a:lnTo>
                    <a:pt x="79" y="4"/>
                  </a:lnTo>
                  <a:lnTo>
                    <a:pt x="77" y="2"/>
                  </a:lnTo>
                  <a:lnTo>
                    <a:pt x="73" y="6"/>
                  </a:lnTo>
                  <a:lnTo>
                    <a:pt x="72" y="6"/>
                  </a:lnTo>
                  <a:lnTo>
                    <a:pt x="68" y="8"/>
                  </a:lnTo>
                  <a:lnTo>
                    <a:pt x="66" y="6"/>
                  </a:lnTo>
                  <a:lnTo>
                    <a:pt x="66" y="4"/>
                  </a:lnTo>
                  <a:lnTo>
                    <a:pt x="62" y="4"/>
                  </a:lnTo>
                  <a:lnTo>
                    <a:pt x="58" y="4"/>
                  </a:lnTo>
                  <a:lnTo>
                    <a:pt x="56" y="2"/>
                  </a:lnTo>
                  <a:lnTo>
                    <a:pt x="54" y="2"/>
                  </a:lnTo>
                  <a:lnTo>
                    <a:pt x="52" y="2"/>
                  </a:lnTo>
                  <a:lnTo>
                    <a:pt x="50" y="2"/>
                  </a:lnTo>
                  <a:lnTo>
                    <a:pt x="49" y="2"/>
                  </a:lnTo>
                  <a:lnTo>
                    <a:pt x="47" y="2"/>
                  </a:lnTo>
                  <a:lnTo>
                    <a:pt x="45" y="0"/>
                  </a:lnTo>
                  <a:lnTo>
                    <a:pt x="45" y="2"/>
                  </a:lnTo>
                  <a:lnTo>
                    <a:pt x="45" y="8"/>
                  </a:lnTo>
                  <a:lnTo>
                    <a:pt x="47" y="8"/>
                  </a:lnTo>
                  <a:lnTo>
                    <a:pt x="47" y="10"/>
                  </a:lnTo>
                  <a:lnTo>
                    <a:pt x="47" y="11"/>
                  </a:lnTo>
                  <a:lnTo>
                    <a:pt x="47" y="13"/>
                  </a:lnTo>
                  <a:lnTo>
                    <a:pt x="49" y="13"/>
                  </a:lnTo>
                  <a:lnTo>
                    <a:pt x="49" y="17"/>
                  </a:lnTo>
                  <a:lnTo>
                    <a:pt x="50" y="17"/>
                  </a:lnTo>
                  <a:lnTo>
                    <a:pt x="50" y="19"/>
                  </a:lnTo>
                  <a:lnTo>
                    <a:pt x="50" y="21"/>
                  </a:lnTo>
                  <a:lnTo>
                    <a:pt x="52" y="19"/>
                  </a:lnTo>
                  <a:lnTo>
                    <a:pt x="54" y="23"/>
                  </a:lnTo>
                  <a:lnTo>
                    <a:pt x="54" y="25"/>
                  </a:lnTo>
                  <a:lnTo>
                    <a:pt x="56" y="29"/>
                  </a:lnTo>
                  <a:lnTo>
                    <a:pt x="56" y="31"/>
                  </a:lnTo>
                  <a:lnTo>
                    <a:pt x="54" y="31"/>
                  </a:lnTo>
                  <a:lnTo>
                    <a:pt x="52" y="33"/>
                  </a:lnTo>
                  <a:lnTo>
                    <a:pt x="50" y="33"/>
                  </a:lnTo>
                  <a:lnTo>
                    <a:pt x="45" y="33"/>
                  </a:lnTo>
                  <a:lnTo>
                    <a:pt x="43" y="34"/>
                  </a:lnTo>
                  <a:lnTo>
                    <a:pt x="45" y="34"/>
                  </a:lnTo>
                  <a:lnTo>
                    <a:pt x="43" y="36"/>
                  </a:lnTo>
                  <a:lnTo>
                    <a:pt x="41" y="38"/>
                  </a:lnTo>
                  <a:lnTo>
                    <a:pt x="43" y="40"/>
                  </a:lnTo>
                  <a:lnTo>
                    <a:pt x="45" y="42"/>
                  </a:lnTo>
                  <a:lnTo>
                    <a:pt x="45" y="40"/>
                  </a:lnTo>
                  <a:lnTo>
                    <a:pt x="47" y="40"/>
                  </a:lnTo>
                  <a:lnTo>
                    <a:pt x="49" y="40"/>
                  </a:lnTo>
                  <a:lnTo>
                    <a:pt x="50" y="40"/>
                  </a:lnTo>
                  <a:lnTo>
                    <a:pt x="50" y="42"/>
                  </a:lnTo>
                  <a:lnTo>
                    <a:pt x="50" y="44"/>
                  </a:lnTo>
                  <a:lnTo>
                    <a:pt x="49" y="48"/>
                  </a:lnTo>
                  <a:lnTo>
                    <a:pt x="49" y="50"/>
                  </a:lnTo>
                  <a:lnTo>
                    <a:pt x="50" y="52"/>
                  </a:lnTo>
                  <a:lnTo>
                    <a:pt x="52" y="52"/>
                  </a:lnTo>
                  <a:lnTo>
                    <a:pt x="54" y="52"/>
                  </a:lnTo>
                  <a:lnTo>
                    <a:pt x="56" y="54"/>
                  </a:lnTo>
                  <a:lnTo>
                    <a:pt x="56" y="56"/>
                  </a:lnTo>
                  <a:lnTo>
                    <a:pt x="54" y="58"/>
                  </a:lnTo>
                  <a:lnTo>
                    <a:pt x="52" y="56"/>
                  </a:lnTo>
                  <a:lnTo>
                    <a:pt x="50" y="56"/>
                  </a:lnTo>
                  <a:lnTo>
                    <a:pt x="50" y="58"/>
                  </a:lnTo>
                  <a:lnTo>
                    <a:pt x="50" y="59"/>
                  </a:lnTo>
                  <a:lnTo>
                    <a:pt x="52" y="65"/>
                  </a:lnTo>
                  <a:lnTo>
                    <a:pt x="54" y="65"/>
                  </a:lnTo>
                  <a:lnTo>
                    <a:pt x="56" y="65"/>
                  </a:lnTo>
                  <a:lnTo>
                    <a:pt x="58" y="67"/>
                  </a:lnTo>
                  <a:lnTo>
                    <a:pt x="62" y="67"/>
                  </a:lnTo>
                  <a:lnTo>
                    <a:pt x="64" y="67"/>
                  </a:lnTo>
                  <a:lnTo>
                    <a:pt x="68" y="69"/>
                  </a:lnTo>
                  <a:lnTo>
                    <a:pt x="68" y="71"/>
                  </a:lnTo>
                  <a:lnTo>
                    <a:pt x="70" y="73"/>
                  </a:lnTo>
                  <a:lnTo>
                    <a:pt x="70" y="75"/>
                  </a:lnTo>
                  <a:lnTo>
                    <a:pt x="70" y="77"/>
                  </a:lnTo>
                  <a:lnTo>
                    <a:pt x="72" y="79"/>
                  </a:lnTo>
                  <a:lnTo>
                    <a:pt x="73" y="79"/>
                  </a:lnTo>
                  <a:lnTo>
                    <a:pt x="73" y="83"/>
                  </a:lnTo>
                  <a:lnTo>
                    <a:pt x="75" y="84"/>
                  </a:lnTo>
                  <a:lnTo>
                    <a:pt x="75" y="86"/>
                  </a:lnTo>
                  <a:lnTo>
                    <a:pt x="79" y="88"/>
                  </a:lnTo>
                  <a:lnTo>
                    <a:pt x="81" y="88"/>
                  </a:lnTo>
                  <a:lnTo>
                    <a:pt x="85" y="90"/>
                  </a:lnTo>
                  <a:lnTo>
                    <a:pt x="83" y="92"/>
                  </a:lnTo>
                  <a:lnTo>
                    <a:pt x="81" y="90"/>
                  </a:lnTo>
                  <a:lnTo>
                    <a:pt x="75" y="88"/>
                  </a:lnTo>
                  <a:lnTo>
                    <a:pt x="73" y="86"/>
                  </a:lnTo>
                  <a:lnTo>
                    <a:pt x="73" y="83"/>
                  </a:lnTo>
                  <a:lnTo>
                    <a:pt x="72" y="81"/>
                  </a:lnTo>
                  <a:lnTo>
                    <a:pt x="70" y="79"/>
                  </a:lnTo>
                  <a:lnTo>
                    <a:pt x="68" y="75"/>
                  </a:lnTo>
                  <a:lnTo>
                    <a:pt x="68" y="73"/>
                  </a:lnTo>
                  <a:lnTo>
                    <a:pt x="66" y="71"/>
                  </a:lnTo>
                  <a:lnTo>
                    <a:pt x="64" y="69"/>
                  </a:lnTo>
                  <a:lnTo>
                    <a:pt x="62" y="69"/>
                  </a:lnTo>
                  <a:lnTo>
                    <a:pt x="58" y="69"/>
                  </a:lnTo>
                  <a:lnTo>
                    <a:pt x="56" y="69"/>
                  </a:lnTo>
                  <a:lnTo>
                    <a:pt x="54" y="69"/>
                  </a:lnTo>
                  <a:lnTo>
                    <a:pt x="50" y="71"/>
                  </a:lnTo>
                  <a:lnTo>
                    <a:pt x="47" y="71"/>
                  </a:lnTo>
                  <a:lnTo>
                    <a:pt x="43" y="67"/>
                  </a:lnTo>
                  <a:lnTo>
                    <a:pt x="43" y="65"/>
                  </a:lnTo>
                  <a:lnTo>
                    <a:pt x="41" y="67"/>
                  </a:lnTo>
                  <a:lnTo>
                    <a:pt x="39" y="69"/>
                  </a:lnTo>
                  <a:lnTo>
                    <a:pt x="37" y="75"/>
                  </a:lnTo>
                  <a:lnTo>
                    <a:pt x="35" y="79"/>
                  </a:lnTo>
                  <a:lnTo>
                    <a:pt x="35" y="81"/>
                  </a:lnTo>
                  <a:lnTo>
                    <a:pt x="35" y="83"/>
                  </a:lnTo>
                  <a:lnTo>
                    <a:pt x="37" y="84"/>
                  </a:lnTo>
                  <a:lnTo>
                    <a:pt x="37" y="86"/>
                  </a:lnTo>
                  <a:lnTo>
                    <a:pt x="37" y="88"/>
                  </a:lnTo>
                  <a:lnTo>
                    <a:pt x="39" y="90"/>
                  </a:lnTo>
                  <a:lnTo>
                    <a:pt x="37" y="90"/>
                  </a:lnTo>
                  <a:lnTo>
                    <a:pt x="37" y="88"/>
                  </a:lnTo>
                  <a:lnTo>
                    <a:pt x="31" y="84"/>
                  </a:lnTo>
                  <a:lnTo>
                    <a:pt x="29" y="84"/>
                  </a:lnTo>
                  <a:lnTo>
                    <a:pt x="29" y="83"/>
                  </a:lnTo>
                  <a:lnTo>
                    <a:pt x="27" y="84"/>
                  </a:lnTo>
                  <a:lnTo>
                    <a:pt x="25" y="88"/>
                  </a:lnTo>
                  <a:lnTo>
                    <a:pt x="25" y="90"/>
                  </a:lnTo>
                  <a:lnTo>
                    <a:pt x="29" y="88"/>
                  </a:lnTo>
                  <a:lnTo>
                    <a:pt x="29" y="90"/>
                  </a:lnTo>
                  <a:lnTo>
                    <a:pt x="29" y="92"/>
                  </a:lnTo>
                  <a:lnTo>
                    <a:pt x="29" y="96"/>
                  </a:lnTo>
                  <a:lnTo>
                    <a:pt x="27" y="98"/>
                  </a:lnTo>
                  <a:lnTo>
                    <a:pt x="25" y="96"/>
                  </a:lnTo>
                  <a:lnTo>
                    <a:pt x="24" y="94"/>
                  </a:lnTo>
                  <a:lnTo>
                    <a:pt x="22" y="94"/>
                  </a:lnTo>
                  <a:lnTo>
                    <a:pt x="20" y="92"/>
                  </a:lnTo>
                  <a:lnTo>
                    <a:pt x="20" y="90"/>
                  </a:lnTo>
                  <a:lnTo>
                    <a:pt x="22" y="90"/>
                  </a:lnTo>
                  <a:lnTo>
                    <a:pt x="24" y="88"/>
                  </a:lnTo>
                  <a:lnTo>
                    <a:pt x="24" y="86"/>
                  </a:lnTo>
                  <a:lnTo>
                    <a:pt x="22" y="81"/>
                  </a:lnTo>
                  <a:lnTo>
                    <a:pt x="20" y="81"/>
                  </a:lnTo>
                  <a:lnTo>
                    <a:pt x="20" y="79"/>
                  </a:lnTo>
                  <a:lnTo>
                    <a:pt x="20" y="77"/>
                  </a:lnTo>
                  <a:lnTo>
                    <a:pt x="16" y="77"/>
                  </a:lnTo>
                  <a:lnTo>
                    <a:pt x="12" y="77"/>
                  </a:lnTo>
                  <a:lnTo>
                    <a:pt x="10" y="77"/>
                  </a:lnTo>
                  <a:lnTo>
                    <a:pt x="8" y="77"/>
                  </a:lnTo>
                  <a:lnTo>
                    <a:pt x="2" y="79"/>
                  </a:lnTo>
                  <a:lnTo>
                    <a:pt x="0" y="79"/>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16" name="Freeform 304"/>
            <p:cNvSpPr>
              <a:spLocks/>
            </p:cNvSpPr>
            <p:nvPr/>
          </p:nvSpPr>
          <p:spPr bwMode="auto">
            <a:xfrm>
              <a:off x="2575" y="2263"/>
              <a:ext cx="23" cy="29"/>
            </a:xfrm>
            <a:custGeom>
              <a:avLst/>
              <a:gdLst>
                <a:gd name="T0" fmla="*/ 0 w 23"/>
                <a:gd name="T1" fmla="*/ 23 h 29"/>
                <a:gd name="T2" fmla="*/ 2 w 23"/>
                <a:gd name="T3" fmla="*/ 25 h 29"/>
                <a:gd name="T4" fmla="*/ 2 w 23"/>
                <a:gd name="T5" fmla="*/ 25 h 29"/>
                <a:gd name="T6" fmla="*/ 8 w 23"/>
                <a:gd name="T7" fmla="*/ 27 h 29"/>
                <a:gd name="T8" fmla="*/ 12 w 23"/>
                <a:gd name="T9" fmla="*/ 29 h 29"/>
                <a:gd name="T10" fmla="*/ 12 w 23"/>
                <a:gd name="T11" fmla="*/ 21 h 29"/>
                <a:gd name="T12" fmla="*/ 17 w 23"/>
                <a:gd name="T13" fmla="*/ 21 h 29"/>
                <a:gd name="T14" fmla="*/ 21 w 23"/>
                <a:gd name="T15" fmla="*/ 21 h 29"/>
                <a:gd name="T16" fmla="*/ 21 w 23"/>
                <a:gd name="T17" fmla="*/ 21 h 29"/>
                <a:gd name="T18" fmla="*/ 23 w 23"/>
                <a:gd name="T19" fmla="*/ 19 h 29"/>
                <a:gd name="T20" fmla="*/ 19 w 23"/>
                <a:gd name="T21" fmla="*/ 19 h 29"/>
                <a:gd name="T22" fmla="*/ 17 w 23"/>
                <a:gd name="T23" fmla="*/ 14 h 29"/>
                <a:gd name="T24" fmla="*/ 19 w 23"/>
                <a:gd name="T25" fmla="*/ 12 h 29"/>
                <a:gd name="T26" fmla="*/ 19 w 23"/>
                <a:gd name="T27" fmla="*/ 6 h 29"/>
                <a:gd name="T28" fmla="*/ 10 w 23"/>
                <a:gd name="T29" fmla="*/ 4 h 29"/>
                <a:gd name="T30" fmla="*/ 12 w 23"/>
                <a:gd name="T31" fmla="*/ 0 h 29"/>
                <a:gd name="T32" fmla="*/ 8 w 23"/>
                <a:gd name="T33" fmla="*/ 0 h 29"/>
                <a:gd name="T34" fmla="*/ 4 w 23"/>
                <a:gd name="T35" fmla="*/ 2 h 29"/>
                <a:gd name="T36" fmla="*/ 2 w 23"/>
                <a:gd name="T37" fmla="*/ 6 h 29"/>
                <a:gd name="T38" fmla="*/ 4 w 23"/>
                <a:gd name="T39" fmla="*/ 2 h 29"/>
                <a:gd name="T40" fmla="*/ 4 w 23"/>
                <a:gd name="T41" fmla="*/ 8 h 29"/>
                <a:gd name="T42" fmla="*/ 8 w 23"/>
                <a:gd name="T43" fmla="*/ 4 h 29"/>
                <a:gd name="T44" fmla="*/ 10 w 23"/>
                <a:gd name="T45" fmla="*/ 8 h 29"/>
                <a:gd name="T46" fmla="*/ 14 w 23"/>
                <a:gd name="T47" fmla="*/ 6 h 29"/>
                <a:gd name="T48" fmla="*/ 14 w 23"/>
                <a:gd name="T49" fmla="*/ 12 h 29"/>
                <a:gd name="T50" fmla="*/ 10 w 23"/>
                <a:gd name="T51" fmla="*/ 10 h 29"/>
                <a:gd name="T52" fmla="*/ 8 w 23"/>
                <a:gd name="T53" fmla="*/ 6 h 29"/>
                <a:gd name="T54" fmla="*/ 4 w 23"/>
                <a:gd name="T55" fmla="*/ 8 h 29"/>
                <a:gd name="T56" fmla="*/ 2 w 23"/>
                <a:gd name="T57" fmla="*/ 10 h 29"/>
                <a:gd name="T58" fmla="*/ 4 w 23"/>
                <a:gd name="T59" fmla="*/ 12 h 29"/>
                <a:gd name="T60" fmla="*/ 4 w 23"/>
                <a:gd name="T61" fmla="*/ 14 h 29"/>
                <a:gd name="T62" fmla="*/ 2 w 23"/>
                <a:gd name="T63" fmla="*/ 16 h 29"/>
                <a:gd name="T64" fmla="*/ 4 w 23"/>
                <a:gd name="T65" fmla="*/ 17 h 29"/>
                <a:gd name="T66" fmla="*/ 4 w 23"/>
                <a:gd name="T67" fmla="*/ 19 h 29"/>
                <a:gd name="T68" fmla="*/ 0 w 23"/>
                <a:gd name="T69" fmla="*/ 2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29">
                  <a:moveTo>
                    <a:pt x="0" y="21"/>
                  </a:moveTo>
                  <a:lnTo>
                    <a:pt x="0" y="23"/>
                  </a:lnTo>
                  <a:lnTo>
                    <a:pt x="2" y="23"/>
                  </a:lnTo>
                  <a:lnTo>
                    <a:pt x="2" y="25"/>
                  </a:lnTo>
                  <a:lnTo>
                    <a:pt x="0" y="25"/>
                  </a:lnTo>
                  <a:lnTo>
                    <a:pt x="2" y="25"/>
                  </a:lnTo>
                  <a:lnTo>
                    <a:pt x="4" y="25"/>
                  </a:lnTo>
                  <a:lnTo>
                    <a:pt x="8" y="27"/>
                  </a:lnTo>
                  <a:lnTo>
                    <a:pt x="10" y="29"/>
                  </a:lnTo>
                  <a:lnTo>
                    <a:pt x="12" y="29"/>
                  </a:lnTo>
                  <a:lnTo>
                    <a:pt x="12" y="23"/>
                  </a:lnTo>
                  <a:lnTo>
                    <a:pt x="12" y="21"/>
                  </a:lnTo>
                  <a:lnTo>
                    <a:pt x="14" y="21"/>
                  </a:lnTo>
                  <a:lnTo>
                    <a:pt x="17" y="21"/>
                  </a:lnTo>
                  <a:lnTo>
                    <a:pt x="21" y="23"/>
                  </a:lnTo>
                  <a:lnTo>
                    <a:pt x="21" y="21"/>
                  </a:lnTo>
                  <a:lnTo>
                    <a:pt x="21" y="23"/>
                  </a:lnTo>
                  <a:lnTo>
                    <a:pt x="21" y="21"/>
                  </a:lnTo>
                  <a:lnTo>
                    <a:pt x="23" y="21"/>
                  </a:lnTo>
                  <a:lnTo>
                    <a:pt x="23" y="19"/>
                  </a:lnTo>
                  <a:lnTo>
                    <a:pt x="21" y="19"/>
                  </a:lnTo>
                  <a:lnTo>
                    <a:pt x="19" y="19"/>
                  </a:lnTo>
                  <a:lnTo>
                    <a:pt x="17" y="17"/>
                  </a:lnTo>
                  <a:lnTo>
                    <a:pt x="17" y="14"/>
                  </a:lnTo>
                  <a:lnTo>
                    <a:pt x="16" y="14"/>
                  </a:lnTo>
                  <a:lnTo>
                    <a:pt x="19" y="12"/>
                  </a:lnTo>
                  <a:lnTo>
                    <a:pt x="19" y="8"/>
                  </a:lnTo>
                  <a:lnTo>
                    <a:pt x="19" y="6"/>
                  </a:lnTo>
                  <a:lnTo>
                    <a:pt x="12" y="6"/>
                  </a:lnTo>
                  <a:lnTo>
                    <a:pt x="10" y="4"/>
                  </a:lnTo>
                  <a:lnTo>
                    <a:pt x="10" y="2"/>
                  </a:lnTo>
                  <a:lnTo>
                    <a:pt x="12" y="0"/>
                  </a:lnTo>
                  <a:lnTo>
                    <a:pt x="10" y="0"/>
                  </a:lnTo>
                  <a:lnTo>
                    <a:pt x="8" y="0"/>
                  </a:lnTo>
                  <a:lnTo>
                    <a:pt x="6" y="0"/>
                  </a:lnTo>
                  <a:lnTo>
                    <a:pt x="4" y="2"/>
                  </a:lnTo>
                  <a:lnTo>
                    <a:pt x="4" y="4"/>
                  </a:lnTo>
                  <a:lnTo>
                    <a:pt x="2" y="6"/>
                  </a:lnTo>
                  <a:lnTo>
                    <a:pt x="4" y="4"/>
                  </a:lnTo>
                  <a:lnTo>
                    <a:pt x="4" y="2"/>
                  </a:lnTo>
                  <a:lnTo>
                    <a:pt x="6" y="2"/>
                  </a:lnTo>
                  <a:lnTo>
                    <a:pt x="4" y="8"/>
                  </a:lnTo>
                  <a:lnTo>
                    <a:pt x="8" y="6"/>
                  </a:lnTo>
                  <a:lnTo>
                    <a:pt x="8" y="4"/>
                  </a:lnTo>
                  <a:lnTo>
                    <a:pt x="10" y="6"/>
                  </a:lnTo>
                  <a:lnTo>
                    <a:pt x="10" y="8"/>
                  </a:lnTo>
                  <a:lnTo>
                    <a:pt x="12" y="8"/>
                  </a:lnTo>
                  <a:lnTo>
                    <a:pt x="14" y="6"/>
                  </a:lnTo>
                  <a:lnTo>
                    <a:pt x="14" y="8"/>
                  </a:lnTo>
                  <a:lnTo>
                    <a:pt x="14" y="12"/>
                  </a:lnTo>
                  <a:lnTo>
                    <a:pt x="12" y="12"/>
                  </a:lnTo>
                  <a:lnTo>
                    <a:pt x="10" y="10"/>
                  </a:lnTo>
                  <a:lnTo>
                    <a:pt x="8" y="10"/>
                  </a:lnTo>
                  <a:lnTo>
                    <a:pt x="8" y="6"/>
                  </a:lnTo>
                  <a:lnTo>
                    <a:pt x="6" y="8"/>
                  </a:lnTo>
                  <a:lnTo>
                    <a:pt x="4" y="8"/>
                  </a:lnTo>
                  <a:lnTo>
                    <a:pt x="0" y="8"/>
                  </a:lnTo>
                  <a:lnTo>
                    <a:pt x="2" y="10"/>
                  </a:lnTo>
                  <a:lnTo>
                    <a:pt x="4" y="10"/>
                  </a:lnTo>
                  <a:lnTo>
                    <a:pt x="4" y="12"/>
                  </a:lnTo>
                  <a:lnTo>
                    <a:pt x="6" y="14"/>
                  </a:lnTo>
                  <a:lnTo>
                    <a:pt x="4" y="14"/>
                  </a:lnTo>
                  <a:lnTo>
                    <a:pt x="2" y="14"/>
                  </a:lnTo>
                  <a:lnTo>
                    <a:pt x="2" y="16"/>
                  </a:lnTo>
                  <a:lnTo>
                    <a:pt x="6" y="17"/>
                  </a:lnTo>
                  <a:lnTo>
                    <a:pt x="4" y="17"/>
                  </a:lnTo>
                  <a:lnTo>
                    <a:pt x="6" y="19"/>
                  </a:lnTo>
                  <a:lnTo>
                    <a:pt x="4" y="19"/>
                  </a:lnTo>
                  <a:lnTo>
                    <a:pt x="2" y="19"/>
                  </a:lnTo>
                  <a:lnTo>
                    <a:pt x="0" y="2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17" name="Freeform 305"/>
            <p:cNvSpPr>
              <a:spLocks/>
            </p:cNvSpPr>
            <p:nvPr/>
          </p:nvSpPr>
          <p:spPr bwMode="auto">
            <a:xfrm>
              <a:off x="2598" y="2296"/>
              <a:ext cx="18" cy="21"/>
            </a:xfrm>
            <a:custGeom>
              <a:avLst/>
              <a:gdLst>
                <a:gd name="T0" fmla="*/ 0 w 18"/>
                <a:gd name="T1" fmla="*/ 0 h 21"/>
                <a:gd name="T2" fmla="*/ 2 w 18"/>
                <a:gd name="T3" fmla="*/ 0 h 21"/>
                <a:gd name="T4" fmla="*/ 4 w 18"/>
                <a:gd name="T5" fmla="*/ 2 h 21"/>
                <a:gd name="T6" fmla="*/ 6 w 18"/>
                <a:gd name="T7" fmla="*/ 4 h 21"/>
                <a:gd name="T8" fmla="*/ 8 w 18"/>
                <a:gd name="T9" fmla="*/ 6 h 21"/>
                <a:gd name="T10" fmla="*/ 10 w 18"/>
                <a:gd name="T11" fmla="*/ 8 h 21"/>
                <a:gd name="T12" fmla="*/ 14 w 18"/>
                <a:gd name="T13" fmla="*/ 11 h 21"/>
                <a:gd name="T14" fmla="*/ 14 w 18"/>
                <a:gd name="T15" fmla="*/ 13 h 21"/>
                <a:gd name="T16" fmla="*/ 18 w 18"/>
                <a:gd name="T17" fmla="*/ 15 h 21"/>
                <a:gd name="T18" fmla="*/ 16 w 18"/>
                <a:gd name="T19" fmla="*/ 15 h 21"/>
                <a:gd name="T20" fmla="*/ 16 w 18"/>
                <a:gd name="T21" fmla="*/ 17 h 21"/>
                <a:gd name="T22" fmla="*/ 12 w 18"/>
                <a:gd name="T23" fmla="*/ 19 h 21"/>
                <a:gd name="T24" fmla="*/ 10 w 18"/>
                <a:gd name="T25" fmla="*/ 19 h 21"/>
                <a:gd name="T26" fmla="*/ 8 w 18"/>
                <a:gd name="T27" fmla="*/ 19 h 21"/>
                <a:gd name="T28" fmla="*/ 6 w 18"/>
                <a:gd name="T29" fmla="*/ 21 h 21"/>
                <a:gd name="T30" fmla="*/ 6 w 18"/>
                <a:gd name="T31" fmla="*/ 19 h 21"/>
                <a:gd name="T32" fmla="*/ 6 w 18"/>
                <a:gd name="T33" fmla="*/ 21 h 21"/>
                <a:gd name="T34" fmla="*/ 4 w 18"/>
                <a:gd name="T35" fmla="*/ 21 h 21"/>
                <a:gd name="T36" fmla="*/ 4 w 18"/>
                <a:gd name="T37" fmla="*/ 19 h 21"/>
                <a:gd name="T38" fmla="*/ 6 w 18"/>
                <a:gd name="T39" fmla="*/ 17 h 21"/>
                <a:gd name="T40" fmla="*/ 8 w 18"/>
                <a:gd name="T41" fmla="*/ 15 h 21"/>
                <a:gd name="T42" fmla="*/ 6 w 18"/>
                <a:gd name="T43" fmla="*/ 15 h 21"/>
                <a:gd name="T44" fmla="*/ 6 w 18"/>
                <a:gd name="T45" fmla="*/ 13 h 21"/>
                <a:gd name="T46" fmla="*/ 6 w 18"/>
                <a:gd name="T47" fmla="*/ 11 h 21"/>
                <a:gd name="T48" fmla="*/ 8 w 18"/>
                <a:gd name="T49" fmla="*/ 11 h 21"/>
                <a:gd name="T50" fmla="*/ 8 w 18"/>
                <a:gd name="T51" fmla="*/ 13 h 21"/>
                <a:gd name="T52" fmla="*/ 8 w 18"/>
                <a:gd name="T53" fmla="*/ 15 h 21"/>
                <a:gd name="T54" fmla="*/ 8 w 18"/>
                <a:gd name="T55" fmla="*/ 13 h 21"/>
                <a:gd name="T56" fmla="*/ 10 w 18"/>
                <a:gd name="T57" fmla="*/ 13 h 21"/>
                <a:gd name="T58" fmla="*/ 12 w 18"/>
                <a:gd name="T59" fmla="*/ 11 h 21"/>
                <a:gd name="T60" fmla="*/ 12 w 18"/>
                <a:gd name="T61" fmla="*/ 9 h 21"/>
                <a:gd name="T62" fmla="*/ 10 w 18"/>
                <a:gd name="T63" fmla="*/ 9 h 21"/>
                <a:gd name="T64" fmla="*/ 10 w 18"/>
                <a:gd name="T65" fmla="*/ 8 h 21"/>
                <a:gd name="T66" fmla="*/ 8 w 18"/>
                <a:gd name="T67" fmla="*/ 6 h 21"/>
                <a:gd name="T68" fmla="*/ 6 w 18"/>
                <a:gd name="T69" fmla="*/ 8 h 21"/>
                <a:gd name="T70" fmla="*/ 6 w 18"/>
                <a:gd name="T71" fmla="*/ 6 h 21"/>
                <a:gd name="T72" fmla="*/ 6 w 18"/>
                <a:gd name="T73" fmla="*/ 8 h 21"/>
                <a:gd name="T74" fmla="*/ 6 w 18"/>
                <a:gd name="T75" fmla="*/ 9 h 21"/>
                <a:gd name="T76" fmla="*/ 4 w 18"/>
                <a:gd name="T77" fmla="*/ 9 h 21"/>
                <a:gd name="T78" fmla="*/ 6 w 18"/>
                <a:gd name="T79" fmla="*/ 6 h 21"/>
                <a:gd name="T80" fmla="*/ 4 w 18"/>
                <a:gd name="T81" fmla="*/ 6 h 21"/>
                <a:gd name="T82" fmla="*/ 2 w 18"/>
                <a:gd name="T83" fmla="*/ 9 h 21"/>
                <a:gd name="T84" fmla="*/ 0 w 18"/>
                <a:gd name="T85" fmla="*/ 9 h 21"/>
                <a:gd name="T86" fmla="*/ 2 w 18"/>
                <a:gd name="T87" fmla="*/ 6 h 21"/>
                <a:gd name="T88" fmla="*/ 2 w 18"/>
                <a:gd name="T89" fmla="*/ 4 h 21"/>
                <a:gd name="T90" fmla="*/ 0 w 18"/>
                <a:gd name="T91" fmla="*/ 2 h 21"/>
                <a:gd name="T92" fmla="*/ 0 w 18"/>
                <a:gd name="T9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 h="21">
                  <a:moveTo>
                    <a:pt x="0" y="0"/>
                  </a:moveTo>
                  <a:lnTo>
                    <a:pt x="2" y="0"/>
                  </a:lnTo>
                  <a:lnTo>
                    <a:pt x="4" y="2"/>
                  </a:lnTo>
                  <a:lnTo>
                    <a:pt x="6" y="4"/>
                  </a:lnTo>
                  <a:lnTo>
                    <a:pt x="8" y="6"/>
                  </a:lnTo>
                  <a:lnTo>
                    <a:pt x="10" y="8"/>
                  </a:lnTo>
                  <a:lnTo>
                    <a:pt x="14" y="11"/>
                  </a:lnTo>
                  <a:lnTo>
                    <a:pt x="14" y="13"/>
                  </a:lnTo>
                  <a:lnTo>
                    <a:pt x="18" y="15"/>
                  </a:lnTo>
                  <a:lnTo>
                    <a:pt x="16" y="15"/>
                  </a:lnTo>
                  <a:lnTo>
                    <a:pt x="16" y="17"/>
                  </a:lnTo>
                  <a:lnTo>
                    <a:pt x="12" y="19"/>
                  </a:lnTo>
                  <a:lnTo>
                    <a:pt x="10" y="19"/>
                  </a:lnTo>
                  <a:lnTo>
                    <a:pt x="8" y="19"/>
                  </a:lnTo>
                  <a:lnTo>
                    <a:pt x="6" y="21"/>
                  </a:lnTo>
                  <a:lnTo>
                    <a:pt x="6" y="19"/>
                  </a:lnTo>
                  <a:lnTo>
                    <a:pt x="6" y="21"/>
                  </a:lnTo>
                  <a:lnTo>
                    <a:pt x="4" y="21"/>
                  </a:lnTo>
                  <a:lnTo>
                    <a:pt x="4" y="19"/>
                  </a:lnTo>
                  <a:lnTo>
                    <a:pt x="6" y="17"/>
                  </a:lnTo>
                  <a:lnTo>
                    <a:pt x="8" y="15"/>
                  </a:lnTo>
                  <a:lnTo>
                    <a:pt x="6" y="15"/>
                  </a:lnTo>
                  <a:lnTo>
                    <a:pt x="6" y="13"/>
                  </a:lnTo>
                  <a:lnTo>
                    <a:pt x="6" y="11"/>
                  </a:lnTo>
                  <a:lnTo>
                    <a:pt x="8" y="11"/>
                  </a:lnTo>
                  <a:lnTo>
                    <a:pt x="8" y="13"/>
                  </a:lnTo>
                  <a:lnTo>
                    <a:pt x="8" y="15"/>
                  </a:lnTo>
                  <a:lnTo>
                    <a:pt x="8" y="13"/>
                  </a:lnTo>
                  <a:lnTo>
                    <a:pt x="10" y="13"/>
                  </a:lnTo>
                  <a:lnTo>
                    <a:pt x="12" y="11"/>
                  </a:lnTo>
                  <a:lnTo>
                    <a:pt x="12" y="9"/>
                  </a:lnTo>
                  <a:lnTo>
                    <a:pt x="10" y="9"/>
                  </a:lnTo>
                  <a:lnTo>
                    <a:pt x="10" y="8"/>
                  </a:lnTo>
                  <a:lnTo>
                    <a:pt x="8" y="6"/>
                  </a:lnTo>
                  <a:lnTo>
                    <a:pt x="6" y="8"/>
                  </a:lnTo>
                  <a:lnTo>
                    <a:pt x="6" y="6"/>
                  </a:lnTo>
                  <a:lnTo>
                    <a:pt x="6" y="8"/>
                  </a:lnTo>
                  <a:lnTo>
                    <a:pt x="6" y="9"/>
                  </a:lnTo>
                  <a:lnTo>
                    <a:pt x="4" y="9"/>
                  </a:lnTo>
                  <a:lnTo>
                    <a:pt x="6" y="6"/>
                  </a:lnTo>
                  <a:lnTo>
                    <a:pt x="4" y="6"/>
                  </a:lnTo>
                  <a:lnTo>
                    <a:pt x="2" y="9"/>
                  </a:lnTo>
                  <a:lnTo>
                    <a:pt x="0" y="9"/>
                  </a:lnTo>
                  <a:lnTo>
                    <a:pt x="2" y="6"/>
                  </a:lnTo>
                  <a:lnTo>
                    <a:pt x="2" y="4"/>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18" name="Freeform 306"/>
            <p:cNvSpPr>
              <a:spLocks/>
            </p:cNvSpPr>
            <p:nvPr/>
          </p:nvSpPr>
          <p:spPr bwMode="auto">
            <a:xfrm>
              <a:off x="2402" y="2236"/>
              <a:ext cx="8" cy="20"/>
            </a:xfrm>
            <a:custGeom>
              <a:avLst/>
              <a:gdLst>
                <a:gd name="T0" fmla="*/ 0 w 8"/>
                <a:gd name="T1" fmla="*/ 20 h 20"/>
                <a:gd name="T2" fmla="*/ 2 w 8"/>
                <a:gd name="T3" fmla="*/ 8 h 20"/>
                <a:gd name="T4" fmla="*/ 6 w 8"/>
                <a:gd name="T5" fmla="*/ 0 h 20"/>
                <a:gd name="T6" fmla="*/ 8 w 8"/>
                <a:gd name="T7" fmla="*/ 0 h 20"/>
                <a:gd name="T8" fmla="*/ 8 w 8"/>
                <a:gd name="T9" fmla="*/ 2 h 20"/>
                <a:gd name="T10" fmla="*/ 6 w 8"/>
                <a:gd name="T11" fmla="*/ 4 h 20"/>
                <a:gd name="T12" fmla="*/ 6 w 8"/>
                <a:gd name="T13" fmla="*/ 10 h 20"/>
                <a:gd name="T14" fmla="*/ 6 w 8"/>
                <a:gd name="T15" fmla="*/ 12 h 20"/>
                <a:gd name="T16" fmla="*/ 8 w 8"/>
                <a:gd name="T17" fmla="*/ 12 h 20"/>
                <a:gd name="T18" fmla="*/ 8 w 8"/>
                <a:gd name="T19" fmla="*/ 14 h 20"/>
                <a:gd name="T20" fmla="*/ 6 w 8"/>
                <a:gd name="T21" fmla="*/ 14 h 20"/>
                <a:gd name="T22" fmla="*/ 4 w 8"/>
                <a:gd name="T23" fmla="*/ 12 h 20"/>
                <a:gd name="T24" fmla="*/ 4 w 8"/>
                <a:gd name="T25" fmla="*/ 14 h 20"/>
                <a:gd name="T26" fmla="*/ 2 w 8"/>
                <a:gd name="T27" fmla="*/ 14 h 20"/>
                <a:gd name="T28" fmla="*/ 2 w 8"/>
                <a:gd name="T29" fmla="*/ 20 h 20"/>
                <a:gd name="T30" fmla="*/ 0 w 8"/>
                <a:gd name="T3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20">
                  <a:moveTo>
                    <a:pt x="0" y="20"/>
                  </a:moveTo>
                  <a:lnTo>
                    <a:pt x="2" y="8"/>
                  </a:lnTo>
                  <a:lnTo>
                    <a:pt x="6" y="0"/>
                  </a:lnTo>
                  <a:lnTo>
                    <a:pt x="8" y="0"/>
                  </a:lnTo>
                  <a:lnTo>
                    <a:pt x="8" y="2"/>
                  </a:lnTo>
                  <a:lnTo>
                    <a:pt x="6" y="4"/>
                  </a:lnTo>
                  <a:lnTo>
                    <a:pt x="6" y="10"/>
                  </a:lnTo>
                  <a:lnTo>
                    <a:pt x="6" y="12"/>
                  </a:lnTo>
                  <a:lnTo>
                    <a:pt x="8" y="12"/>
                  </a:lnTo>
                  <a:lnTo>
                    <a:pt x="8" y="14"/>
                  </a:lnTo>
                  <a:lnTo>
                    <a:pt x="6" y="14"/>
                  </a:lnTo>
                  <a:lnTo>
                    <a:pt x="4" y="12"/>
                  </a:lnTo>
                  <a:lnTo>
                    <a:pt x="4" y="14"/>
                  </a:lnTo>
                  <a:lnTo>
                    <a:pt x="2" y="14"/>
                  </a:lnTo>
                  <a:lnTo>
                    <a:pt x="2" y="20"/>
                  </a:lnTo>
                  <a:lnTo>
                    <a:pt x="0" y="2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19" name="Freeform 307"/>
            <p:cNvSpPr>
              <a:spLocks/>
            </p:cNvSpPr>
            <p:nvPr/>
          </p:nvSpPr>
          <p:spPr bwMode="auto">
            <a:xfrm>
              <a:off x="2406" y="2256"/>
              <a:ext cx="8" cy="5"/>
            </a:xfrm>
            <a:custGeom>
              <a:avLst/>
              <a:gdLst>
                <a:gd name="T0" fmla="*/ 0 w 8"/>
                <a:gd name="T1" fmla="*/ 3 h 5"/>
                <a:gd name="T2" fmla="*/ 4 w 8"/>
                <a:gd name="T3" fmla="*/ 5 h 5"/>
                <a:gd name="T4" fmla="*/ 4 w 8"/>
                <a:gd name="T5" fmla="*/ 3 h 5"/>
                <a:gd name="T6" fmla="*/ 6 w 8"/>
                <a:gd name="T7" fmla="*/ 5 h 5"/>
                <a:gd name="T8" fmla="*/ 8 w 8"/>
                <a:gd name="T9" fmla="*/ 3 h 5"/>
                <a:gd name="T10" fmla="*/ 8 w 8"/>
                <a:gd name="T11" fmla="*/ 1 h 5"/>
                <a:gd name="T12" fmla="*/ 8 w 8"/>
                <a:gd name="T13" fmla="*/ 0 h 5"/>
                <a:gd name="T14" fmla="*/ 6 w 8"/>
                <a:gd name="T15" fmla="*/ 0 h 5"/>
                <a:gd name="T16" fmla="*/ 4 w 8"/>
                <a:gd name="T17" fmla="*/ 0 h 5"/>
                <a:gd name="T18" fmla="*/ 2 w 8"/>
                <a:gd name="T19" fmla="*/ 0 h 5"/>
                <a:gd name="T20" fmla="*/ 0 w 8"/>
                <a:gd name="T21" fmla="*/ 1 h 5"/>
                <a:gd name="T22" fmla="*/ 0 w 8"/>
                <a:gd name="T2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0" y="3"/>
                  </a:moveTo>
                  <a:lnTo>
                    <a:pt x="4" y="5"/>
                  </a:lnTo>
                  <a:lnTo>
                    <a:pt x="4" y="3"/>
                  </a:lnTo>
                  <a:lnTo>
                    <a:pt x="6" y="5"/>
                  </a:lnTo>
                  <a:lnTo>
                    <a:pt x="8" y="3"/>
                  </a:lnTo>
                  <a:lnTo>
                    <a:pt x="8" y="1"/>
                  </a:lnTo>
                  <a:lnTo>
                    <a:pt x="8" y="0"/>
                  </a:lnTo>
                  <a:lnTo>
                    <a:pt x="6" y="0"/>
                  </a:lnTo>
                  <a:lnTo>
                    <a:pt x="4" y="0"/>
                  </a:lnTo>
                  <a:lnTo>
                    <a:pt x="2" y="0"/>
                  </a:lnTo>
                  <a:lnTo>
                    <a:pt x="0" y="1"/>
                  </a:lnTo>
                  <a:lnTo>
                    <a:pt x="0" y="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0" name="Freeform 308"/>
            <p:cNvSpPr>
              <a:spLocks/>
            </p:cNvSpPr>
            <p:nvPr/>
          </p:nvSpPr>
          <p:spPr bwMode="auto">
            <a:xfrm>
              <a:off x="2420" y="2271"/>
              <a:ext cx="5" cy="4"/>
            </a:xfrm>
            <a:custGeom>
              <a:avLst/>
              <a:gdLst>
                <a:gd name="T0" fmla="*/ 0 w 5"/>
                <a:gd name="T1" fmla="*/ 2 h 4"/>
                <a:gd name="T2" fmla="*/ 3 w 5"/>
                <a:gd name="T3" fmla="*/ 0 h 4"/>
                <a:gd name="T4" fmla="*/ 5 w 5"/>
                <a:gd name="T5" fmla="*/ 0 h 4"/>
                <a:gd name="T6" fmla="*/ 5 w 5"/>
                <a:gd name="T7" fmla="*/ 2 h 4"/>
                <a:gd name="T8" fmla="*/ 5 w 5"/>
                <a:gd name="T9" fmla="*/ 4 h 4"/>
                <a:gd name="T10" fmla="*/ 3 w 5"/>
                <a:gd name="T11" fmla="*/ 4 h 4"/>
                <a:gd name="T12" fmla="*/ 1 w 5"/>
                <a:gd name="T13" fmla="*/ 4 h 4"/>
                <a:gd name="T14" fmla="*/ 0 w 5"/>
                <a:gd name="T15" fmla="*/ 4 h 4"/>
                <a:gd name="T16" fmla="*/ 1 w 5"/>
                <a:gd name="T17" fmla="*/ 2 h 4"/>
                <a:gd name="T18" fmla="*/ 0 w 5"/>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0" y="2"/>
                  </a:moveTo>
                  <a:lnTo>
                    <a:pt x="3" y="0"/>
                  </a:lnTo>
                  <a:lnTo>
                    <a:pt x="5" y="0"/>
                  </a:lnTo>
                  <a:lnTo>
                    <a:pt x="5" y="2"/>
                  </a:lnTo>
                  <a:lnTo>
                    <a:pt x="5" y="4"/>
                  </a:lnTo>
                  <a:lnTo>
                    <a:pt x="3" y="4"/>
                  </a:lnTo>
                  <a:lnTo>
                    <a:pt x="1" y="4"/>
                  </a:lnTo>
                  <a:lnTo>
                    <a:pt x="0" y="4"/>
                  </a:lnTo>
                  <a:lnTo>
                    <a:pt x="1" y="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1" name="Freeform 309"/>
            <p:cNvSpPr>
              <a:spLocks/>
            </p:cNvSpPr>
            <p:nvPr/>
          </p:nvSpPr>
          <p:spPr bwMode="auto">
            <a:xfrm>
              <a:off x="2512" y="2305"/>
              <a:ext cx="6" cy="6"/>
            </a:xfrm>
            <a:custGeom>
              <a:avLst/>
              <a:gdLst>
                <a:gd name="T0" fmla="*/ 0 w 6"/>
                <a:gd name="T1" fmla="*/ 2 h 6"/>
                <a:gd name="T2" fmla="*/ 2 w 6"/>
                <a:gd name="T3" fmla="*/ 4 h 6"/>
                <a:gd name="T4" fmla="*/ 4 w 6"/>
                <a:gd name="T5" fmla="*/ 2 h 6"/>
                <a:gd name="T6" fmla="*/ 4 w 6"/>
                <a:gd name="T7" fmla="*/ 6 h 6"/>
                <a:gd name="T8" fmla="*/ 6 w 6"/>
                <a:gd name="T9" fmla="*/ 4 h 6"/>
                <a:gd name="T10" fmla="*/ 6 w 6"/>
                <a:gd name="T11" fmla="*/ 2 h 6"/>
                <a:gd name="T12" fmla="*/ 6 w 6"/>
                <a:gd name="T13" fmla="*/ 0 h 6"/>
                <a:gd name="T14" fmla="*/ 4 w 6"/>
                <a:gd name="T15" fmla="*/ 0 h 6"/>
                <a:gd name="T16" fmla="*/ 2 w 6"/>
                <a:gd name="T17" fmla="*/ 2 h 6"/>
                <a:gd name="T18" fmla="*/ 0 w 6"/>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0" y="2"/>
                  </a:moveTo>
                  <a:lnTo>
                    <a:pt x="2" y="4"/>
                  </a:lnTo>
                  <a:lnTo>
                    <a:pt x="4" y="2"/>
                  </a:lnTo>
                  <a:lnTo>
                    <a:pt x="4" y="6"/>
                  </a:lnTo>
                  <a:lnTo>
                    <a:pt x="6" y="4"/>
                  </a:lnTo>
                  <a:lnTo>
                    <a:pt x="6" y="2"/>
                  </a:lnTo>
                  <a:lnTo>
                    <a:pt x="6" y="0"/>
                  </a:lnTo>
                  <a:lnTo>
                    <a:pt x="4" y="0"/>
                  </a:lnTo>
                  <a:lnTo>
                    <a:pt x="2" y="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2" name="Freeform 310"/>
            <p:cNvSpPr>
              <a:spLocks/>
            </p:cNvSpPr>
            <p:nvPr/>
          </p:nvSpPr>
          <p:spPr bwMode="auto">
            <a:xfrm>
              <a:off x="2402" y="2257"/>
              <a:ext cx="4" cy="8"/>
            </a:xfrm>
            <a:custGeom>
              <a:avLst/>
              <a:gdLst>
                <a:gd name="T0" fmla="*/ 0 w 4"/>
                <a:gd name="T1" fmla="*/ 2 h 8"/>
                <a:gd name="T2" fmla="*/ 2 w 4"/>
                <a:gd name="T3" fmla="*/ 2 h 8"/>
                <a:gd name="T4" fmla="*/ 2 w 4"/>
                <a:gd name="T5" fmla="*/ 0 h 8"/>
                <a:gd name="T6" fmla="*/ 2 w 4"/>
                <a:gd name="T7" fmla="*/ 2 h 8"/>
                <a:gd name="T8" fmla="*/ 4 w 4"/>
                <a:gd name="T9" fmla="*/ 6 h 8"/>
                <a:gd name="T10" fmla="*/ 4 w 4"/>
                <a:gd name="T11" fmla="*/ 8 h 8"/>
                <a:gd name="T12" fmla="*/ 2 w 4"/>
                <a:gd name="T13" fmla="*/ 8 h 8"/>
                <a:gd name="T14" fmla="*/ 0 w 4"/>
                <a:gd name="T15" fmla="*/ 6 h 8"/>
                <a:gd name="T16" fmla="*/ 0 w 4"/>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2"/>
                  </a:moveTo>
                  <a:lnTo>
                    <a:pt x="2" y="2"/>
                  </a:lnTo>
                  <a:lnTo>
                    <a:pt x="2" y="0"/>
                  </a:lnTo>
                  <a:lnTo>
                    <a:pt x="2" y="2"/>
                  </a:lnTo>
                  <a:lnTo>
                    <a:pt x="4" y="6"/>
                  </a:lnTo>
                  <a:lnTo>
                    <a:pt x="4" y="8"/>
                  </a:lnTo>
                  <a:lnTo>
                    <a:pt x="2" y="8"/>
                  </a:lnTo>
                  <a:lnTo>
                    <a:pt x="0" y="6"/>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3" name="Freeform 311"/>
            <p:cNvSpPr>
              <a:spLocks/>
            </p:cNvSpPr>
            <p:nvPr/>
          </p:nvSpPr>
          <p:spPr bwMode="auto">
            <a:xfrm>
              <a:off x="2412" y="2269"/>
              <a:ext cx="6" cy="4"/>
            </a:xfrm>
            <a:custGeom>
              <a:avLst/>
              <a:gdLst>
                <a:gd name="T0" fmla="*/ 0 w 6"/>
                <a:gd name="T1" fmla="*/ 2 h 4"/>
                <a:gd name="T2" fmla="*/ 2 w 6"/>
                <a:gd name="T3" fmla="*/ 0 h 4"/>
                <a:gd name="T4" fmla="*/ 4 w 6"/>
                <a:gd name="T5" fmla="*/ 0 h 4"/>
                <a:gd name="T6" fmla="*/ 6 w 6"/>
                <a:gd name="T7" fmla="*/ 0 h 4"/>
                <a:gd name="T8" fmla="*/ 6 w 6"/>
                <a:gd name="T9" fmla="*/ 2 h 4"/>
                <a:gd name="T10" fmla="*/ 4 w 6"/>
                <a:gd name="T11" fmla="*/ 4 h 4"/>
                <a:gd name="T12" fmla="*/ 2 w 6"/>
                <a:gd name="T13" fmla="*/ 4 h 4"/>
                <a:gd name="T14" fmla="*/ 0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2"/>
                  </a:moveTo>
                  <a:lnTo>
                    <a:pt x="2" y="0"/>
                  </a:lnTo>
                  <a:lnTo>
                    <a:pt x="4" y="0"/>
                  </a:lnTo>
                  <a:lnTo>
                    <a:pt x="6" y="0"/>
                  </a:lnTo>
                  <a:lnTo>
                    <a:pt x="6" y="2"/>
                  </a:lnTo>
                  <a:lnTo>
                    <a:pt x="4" y="4"/>
                  </a:lnTo>
                  <a:lnTo>
                    <a:pt x="2" y="4"/>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4" name="Freeform 312"/>
            <p:cNvSpPr>
              <a:spLocks/>
            </p:cNvSpPr>
            <p:nvPr/>
          </p:nvSpPr>
          <p:spPr bwMode="auto">
            <a:xfrm>
              <a:off x="2358" y="2321"/>
              <a:ext cx="8" cy="2"/>
            </a:xfrm>
            <a:custGeom>
              <a:avLst/>
              <a:gdLst>
                <a:gd name="T0" fmla="*/ 0 w 8"/>
                <a:gd name="T1" fmla="*/ 0 h 2"/>
                <a:gd name="T2" fmla="*/ 2 w 8"/>
                <a:gd name="T3" fmla="*/ 0 h 2"/>
                <a:gd name="T4" fmla="*/ 8 w 8"/>
                <a:gd name="T5" fmla="*/ 0 h 2"/>
                <a:gd name="T6" fmla="*/ 6 w 8"/>
                <a:gd name="T7" fmla="*/ 0 h 2"/>
                <a:gd name="T8" fmla="*/ 4 w 8"/>
                <a:gd name="T9" fmla="*/ 2 h 2"/>
                <a:gd name="T10" fmla="*/ 2 w 8"/>
                <a:gd name="T11" fmla="*/ 2 h 2"/>
                <a:gd name="T12" fmla="*/ 0 w 8"/>
                <a:gd name="T13" fmla="*/ 2 h 2"/>
                <a:gd name="T14" fmla="*/ 0 w 8"/>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
                  <a:moveTo>
                    <a:pt x="0" y="0"/>
                  </a:moveTo>
                  <a:lnTo>
                    <a:pt x="2" y="0"/>
                  </a:lnTo>
                  <a:lnTo>
                    <a:pt x="8" y="0"/>
                  </a:lnTo>
                  <a:lnTo>
                    <a:pt x="6" y="0"/>
                  </a:lnTo>
                  <a:lnTo>
                    <a:pt x="4" y="2"/>
                  </a:lnTo>
                  <a:lnTo>
                    <a:pt x="2" y="2"/>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5" name="Freeform 313"/>
            <p:cNvSpPr>
              <a:spLocks/>
            </p:cNvSpPr>
            <p:nvPr/>
          </p:nvSpPr>
          <p:spPr bwMode="auto">
            <a:xfrm>
              <a:off x="2341" y="2327"/>
              <a:ext cx="5" cy="3"/>
            </a:xfrm>
            <a:custGeom>
              <a:avLst/>
              <a:gdLst>
                <a:gd name="T0" fmla="*/ 0 w 5"/>
                <a:gd name="T1" fmla="*/ 0 h 3"/>
                <a:gd name="T2" fmla="*/ 2 w 5"/>
                <a:gd name="T3" fmla="*/ 0 h 3"/>
                <a:gd name="T4" fmla="*/ 5 w 5"/>
                <a:gd name="T5" fmla="*/ 0 h 3"/>
                <a:gd name="T6" fmla="*/ 4 w 5"/>
                <a:gd name="T7" fmla="*/ 2 h 3"/>
                <a:gd name="T8" fmla="*/ 2 w 5"/>
                <a:gd name="T9" fmla="*/ 2 h 3"/>
                <a:gd name="T10" fmla="*/ 4 w 5"/>
                <a:gd name="T11" fmla="*/ 3 h 3"/>
                <a:gd name="T12" fmla="*/ 2 w 5"/>
                <a:gd name="T13" fmla="*/ 3 h 3"/>
                <a:gd name="T14" fmla="*/ 0 w 5"/>
                <a:gd name="T15" fmla="*/ 2 h 3"/>
                <a:gd name="T16" fmla="*/ 0 w 5"/>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
                  <a:moveTo>
                    <a:pt x="0" y="0"/>
                  </a:moveTo>
                  <a:lnTo>
                    <a:pt x="2" y="0"/>
                  </a:lnTo>
                  <a:lnTo>
                    <a:pt x="5" y="0"/>
                  </a:lnTo>
                  <a:lnTo>
                    <a:pt x="4" y="2"/>
                  </a:lnTo>
                  <a:lnTo>
                    <a:pt x="2" y="2"/>
                  </a:lnTo>
                  <a:lnTo>
                    <a:pt x="4" y="3"/>
                  </a:lnTo>
                  <a:lnTo>
                    <a:pt x="2" y="3"/>
                  </a:ln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6" name="Freeform 314"/>
            <p:cNvSpPr>
              <a:spLocks/>
            </p:cNvSpPr>
            <p:nvPr/>
          </p:nvSpPr>
          <p:spPr bwMode="auto">
            <a:xfrm>
              <a:off x="2573" y="2267"/>
              <a:ext cx="2" cy="10"/>
            </a:xfrm>
            <a:custGeom>
              <a:avLst/>
              <a:gdLst>
                <a:gd name="T0" fmla="*/ 0 w 2"/>
                <a:gd name="T1" fmla="*/ 10 h 10"/>
                <a:gd name="T2" fmla="*/ 0 w 2"/>
                <a:gd name="T3" fmla="*/ 8 h 10"/>
                <a:gd name="T4" fmla="*/ 2 w 2"/>
                <a:gd name="T5" fmla="*/ 6 h 10"/>
                <a:gd name="T6" fmla="*/ 2 w 2"/>
                <a:gd name="T7" fmla="*/ 2 h 10"/>
                <a:gd name="T8" fmla="*/ 2 w 2"/>
                <a:gd name="T9" fmla="*/ 0 h 10"/>
                <a:gd name="T10" fmla="*/ 0 w 2"/>
                <a:gd name="T11" fmla="*/ 2 h 10"/>
                <a:gd name="T12" fmla="*/ 0 w 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0" y="10"/>
                  </a:moveTo>
                  <a:lnTo>
                    <a:pt x="0" y="8"/>
                  </a:lnTo>
                  <a:lnTo>
                    <a:pt x="2" y="6"/>
                  </a:lnTo>
                  <a:lnTo>
                    <a:pt x="2" y="2"/>
                  </a:lnTo>
                  <a:lnTo>
                    <a:pt x="2" y="0"/>
                  </a:lnTo>
                  <a:lnTo>
                    <a:pt x="0" y="2"/>
                  </a:lnTo>
                  <a:lnTo>
                    <a:pt x="0" y="1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7" name="Freeform 315"/>
            <p:cNvSpPr>
              <a:spLocks/>
            </p:cNvSpPr>
            <p:nvPr/>
          </p:nvSpPr>
          <p:spPr bwMode="auto">
            <a:xfrm>
              <a:off x="2370" y="2319"/>
              <a:ext cx="5" cy="2"/>
            </a:xfrm>
            <a:custGeom>
              <a:avLst/>
              <a:gdLst>
                <a:gd name="T0" fmla="*/ 0 w 5"/>
                <a:gd name="T1" fmla="*/ 2 h 2"/>
                <a:gd name="T2" fmla="*/ 1 w 5"/>
                <a:gd name="T3" fmla="*/ 2 h 2"/>
                <a:gd name="T4" fmla="*/ 1 w 5"/>
                <a:gd name="T5" fmla="*/ 0 h 2"/>
                <a:gd name="T6" fmla="*/ 5 w 5"/>
                <a:gd name="T7" fmla="*/ 0 h 2"/>
                <a:gd name="T8" fmla="*/ 5 w 5"/>
                <a:gd name="T9" fmla="*/ 2 h 2"/>
                <a:gd name="T10" fmla="*/ 5 w 5"/>
                <a:gd name="T11" fmla="*/ 0 h 2"/>
                <a:gd name="T12" fmla="*/ 1 w 5"/>
                <a:gd name="T13" fmla="*/ 0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lnTo>
                    <a:pt x="1" y="2"/>
                  </a:lnTo>
                  <a:lnTo>
                    <a:pt x="1" y="0"/>
                  </a:lnTo>
                  <a:lnTo>
                    <a:pt x="5" y="0"/>
                  </a:lnTo>
                  <a:lnTo>
                    <a:pt x="5" y="2"/>
                  </a:lnTo>
                  <a:lnTo>
                    <a:pt x="5" y="0"/>
                  </a:lnTo>
                  <a:lnTo>
                    <a:pt x="1"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8" name="Freeform 316"/>
            <p:cNvSpPr>
              <a:spLocks/>
            </p:cNvSpPr>
            <p:nvPr/>
          </p:nvSpPr>
          <p:spPr bwMode="auto">
            <a:xfrm>
              <a:off x="2575" y="2275"/>
              <a:ext cx="4" cy="4"/>
            </a:xfrm>
            <a:custGeom>
              <a:avLst/>
              <a:gdLst>
                <a:gd name="T0" fmla="*/ 0 w 4"/>
                <a:gd name="T1" fmla="*/ 4 h 4"/>
                <a:gd name="T2" fmla="*/ 4 w 4"/>
                <a:gd name="T3" fmla="*/ 2 h 4"/>
                <a:gd name="T4" fmla="*/ 4 w 4"/>
                <a:gd name="T5" fmla="*/ 0 h 4"/>
                <a:gd name="T6" fmla="*/ 2 w 4"/>
                <a:gd name="T7" fmla="*/ 0 h 4"/>
                <a:gd name="T8" fmla="*/ 0 w 4"/>
                <a:gd name="T9" fmla="*/ 0 h 4"/>
                <a:gd name="T10" fmla="*/ 0 w 4"/>
                <a:gd name="T11" fmla="*/ 2 h 4"/>
                <a:gd name="T12" fmla="*/ 0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4"/>
                  </a:moveTo>
                  <a:lnTo>
                    <a:pt x="4" y="2"/>
                  </a:lnTo>
                  <a:lnTo>
                    <a:pt x="4" y="0"/>
                  </a:lnTo>
                  <a:lnTo>
                    <a:pt x="2" y="0"/>
                  </a:lnTo>
                  <a:lnTo>
                    <a:pt x="0" y="0"/>
                  </a:lnTo>
                  <a:lnTo>
                    <a:pt x="0" y="2"/>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29" name="Freeform 317"/>
            <p:cNvSpPr>
              <a:spLocks/>
            </p:cNvSpPr>
            <p:nvPr/>
          </p:nvSpPr>
          <p:spPr bwMode="auto">
            <a:xfrm>
              <a:off x="2377" y="2317"/>
              <a:ext cx="6" cy="2"/>
            </a:xfrm>
            <a:custGeom>
              <a:avLst/>
              <a:gdLst>
                <a:gd name="T0" fmla="*/ 0 w 6"/>
                <a:gd name="T1" fmla="*/ 2 h 2"/>
                <a:gd name="T2" fmla="*/ 2 w 6"/>
                <a:gd name="T3" fmla="*/ 2 h 2"/>
                <a:gd name="T4" fmla="*/ 4 w 6"/>
                <a:gd name="T5" fmla="*/ 2 h 2"/>
                <a:gd name="T6" fmla="*/ 6 w 6"/>
                <a:gd name="T7" fmla="*/ 2 h 2"/>
                <a:gd name="T8" fmla="*/ 4 w 6"/>
                <a:gd name="T9" fmla="*/ 0 h 2"/>
                <a:gd name="T10" fmla="*/ 0 w 6"/>
                <a:gd name="T11" fmla="*/ 0 h 2"/>
                <a:gd name="T12" fmla="*/ 0 w 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0" y="2"/>
                  </a:moveTo>
                  <a:lnTo>
                    <a:pt x="2" y="2"/>
                  </a:lnTo>
                  <a:lnTo>
                    <a:pt x="4" y="2"/>
                  </a:lnTo>
                  <a:lnTo>
                    <a:pt x="6" y="2"/>
                  </a:lnTo>
                  <a:lnTo>
                    <a:pt x="4" y="0"/>
                  </a:lnTo>
                  <a:lnTo>
                    <a:pt x="0" y="0"/>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30" name="Freeform 318"/>
            <p:cNvSpPr>
              <a:spLocks/>
            </p:cNvSpPr>
            <p:nvPr/>
          </p:nvSpPr>
          <p:spPr bwMode="auto">
            <a:xfrm>
              <a:off x="2348" y="2323"/>
              <a:ext cx="8" cy="2"/>
            </a:xfrm>
            <a:custGeom>
              <a:avLst/>
              <a:gdLst>
                <a:gd name="T0" fmla="*/ 0 w 8"/>
                <a:gd name="T1" fmla="*/ 0 h 2"/>
                <a:gd name="T2" fmla="*/ 0 w 8"/>
                <a:gd name="T3" fmla="*/ 2 h 2"/>
                <a:gd name="T4" fmla="*/ 2 w 8"/>
                <a:gd name="T5" fmla="*/ 0 h 2"/>
                <a:gd name="T6" fmla="*/ 8 w 8"/>
                <a:gd name="T7" fmla="*/ 0 h 2"/>
                <a:gd name="T8" fmla="*/ 6 w 8"/>
                <a:gd name="T9" fmla="*/ 0 h 2"/>
                <a:gd name="T10" fmla="*/ 4 w 8"/>
                <a:gd name="T11" fmla="*/ 0 h 2"/>
                <a:gd name="T12" fmla="*/ 0 w 8"/>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8" h="2">
                  <a:moveTo>
                    <a:pt x="0" y="0"/>
                  </a:moveTo>
                  <a:lnTo>
                    <a:pt x="0" y="2"/>
                  </a:lnTo>
                  <a:lnTo>
                    <a:pt x="2" y="0"/>
                  </a:lnTo>
                  <a:lnTo>
                    <a:pt x="8" y="0"/>
                  </a:lnTo>
                  <a:lnTo>
                    <a:pt x="6" y="0"/>
                  </a:lnTo>
                  <a:lnTo>
                    <a:pt x="4" y="0"/>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31" name="Freeform 319"/>
            <p:cNvSpPr>
              <a:spLocks/>
            </p:cNvSpPr>
            <p:nvPr/>
          </p:nvSpPr>
          <p:spPr bwMode="auto">
            <a:xfrm>
              <a:off x="2383" y="2317"/>
              <a:ext cx="6" cy="2"/>
            </a:xfrm>
            <a:custGeom>
              <a:avLst/>
              <a:gdLst>
                <a:gd name="T0" fmla="*/ 0 w 6"/>
                <a:gd name="T1" fmla="*/ 0 h 2"/>
                <a:gd name="T2" fmla="*/ 2 w 6"/>
                <a:gd name="T3" fmla="*/ 0 h 2"/>
                <a:gd name="T4" fmla="*/ 4 w 6"/>
                <a:gd name="T5" fmla="*/ 0 h 2"/>
                <a:gd name="T6" fmla="*/ 6 w 6"/>
                <a:gd name="T7" fmla="*/ 0 h 2"/>
                <a:gd name="T8" fmla="*/ 4 w 6"/>
                <a:gd name="T9" fmla="*/ 0 h 2"/>
                <a:gd name="T10" fmla="*/ 2 w 6"/>
                <a:gd name="T11" fmla="*/ 0 h 2"/>
                <a:gd name="T12" fmla="*/ 2 w 6"/>
                <a:gd name="T13" fmla="*/ 2 h 2"/>
                <a:gd name="T14" fmla="*/ 0 w 6"/>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0" y="0"/>
                  </a:moveTo>
                  <a:lnTo>
                    <a:pt x="2" y="0"/>
                  </a:lnTo>
                  <a:lnTo>
                    <a:pt x="4" y="0"/>
                  </a:lnTo>
                  <a:lnTo>
                    <a:pt x="6" y="0"/>
                  </a:lnTo>
                  <a:lnTo>
                    <a:pt x="4" y="0"/>
                  </a:lnTo>
                  <a:lnTo>
                    <a:pt x="2" y="0"/>
                  </a:lnTo>
                  <a:lnTo>
                    <a:pt x="2"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32" name="Rectangle 320"/>
            <p:cNvSpPr>
              <a:spLocks noChangeArrowheads="1"/>
            </p:cNvSpPr>
            <p:nvPr/>
          </p:nvSpPr>
          <p:spPr bwMode="auto">
            <a:xfrm>
              <a:off x="2408" y="2275"/>
              <a:ext cx="2" cy="2"/>
            </a:xfrm>
            <a:prstGeom prst="rect">
              <a:avLst/>
            </a:prstGeom>
            <a:grpFill/>
            <a:ln w="3175">
              <a:solidFill>
                <a:schemeClr val="bg2"/>
              </a:solidFill>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533" name="Freeform 321"/>
            <p:cNvSpPr>
              <a:spLocks/>
            </p:cNvSpPr>
            <p:nvPr/>
          </p:nvSpPr>
          <p:spPr bwMode="auto">
            <a:xfrm>
              <a:off x="2348" y="2325"/>
              <a:ext cx="1"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34" name="Freeform 322"/>
            <p:cNvSpPr>
              <a:spLocks/>
            </p:cNvSpPr>
            <p:nvPr/>
          </p:nvSpPr>
          <p:spPr bwMode="auto">
            <a:xfrm>
              <a:off x="2404" y="2305"/>
              <a:ext cx="2" cy="2"/>
            </a:xfrm>
            <a:custGeom>
              <a:avLst/>
              <a:gdLst>
                <a:gd name="T0" fmla="*/ 0 w 2"/>
                <a:gd name="T1" fmla="*/ 2 h 2"/>
                <a:gd name="T2" fmla="*/ 2 w 2"/>
                <a:gd name="T3" fmla="*/ 0 h 2"/>
                <a:gd name="T4" fmla="*/ 2 w 2"/>
                <a:gd name="T5" fmla="*/ 2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2" y="2"/>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35" name="Freeform 323"/>
            <p:cNvSpPr>
              <a:spLocks/>
            </p:cNvSpPr>
            <p:nvPr/>
          </p:nvSpPr>
          <p:spPr bwMode="auto">
            <a:xfrm>
              <a:off x="2389" y="2290"/>
              <a:ext cx="1"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36" name="Freeform 324"/>
            <p:cNvSpPr>
              <a:spLocks/>
            </p:cNvSpPr>
            <p:nvPr/>
          </p:nvSpPr>
          <p:spPr bwMode="auto">
            <a:xfrm>
              <a:off x="2279" y="2707"/>
              <a:ext cx="192" cy="131"/>
            </a:xfrm>
            <a:custGeom>
              <a:avLst/>
              <a:gdLst>
                <a:gd name="T0" fmla="*/ 18 w 192"/>
                <a:gd name="T1" fmla="*/ 85 h 131"/>
                <a:gd name="T2" fmla="*/ 29 w 192"/>
                <a:gd name="T3" fmla="*/ 83 h 131"/>
                <a:gd name="T4" fmla="*/ 39 w 192"/>
                <a:gd name="T5" fmla="*/ 92 h 131"/>
                <a:gd name="T6" fmla="*/ 35 w 192"/>
                <a:gd name="T7" fmla="*/ 102 h 131"/>
                <a:gd name="T8" fmla="*/ 44 w 192"/>
                <a:gd name="T9" fmla="*/ 115 h 131"/>
                <a:gd name="T10" fmla="*/ 50 w 192"/>
                <a:gd name="T11" fmla="*/ 123 h 131"/>
                <a:gd name="T12" fmla="*/ 67 w 192"/>
                <a:gd name="T13" fmla="*/ 117 h 131"/>
                <a:gd name="T14" fmla="*/ 81 w 192"/>
                <a:gd name="T15" fmla="*/ 117 h 131"/>
                <a:gd name="T16" fmla="*/ 92 w 192"/>
                <a:gd name="T17" fmla="*/ 106 h 131"/>
                <a:gd name="T18" fmla="*/ 106 w 192"/>
                <a:gd name="T19" fmla="*/ 87 h 131"/>
                <a:gd name="T20" fmla="*/ 114 w 192"/>
                <a:gd name="T21" fmla="*/ 110 h 131"/>
                <a:gd name="T22" fmla="*/ 121 w 192"/>
                <a:gd name="T23" fmla="*/ 117 h 131"/>
                <a:gd name="T24" fmla="*/ 131 w 192"/>
                <a:gd name="T25" fmla="*/ 129 h 131"/>
                <a:gd name="T26" fmla="*/ 137 w 192"/>
                <a:gd name="T27" fmla="*/ 110 h 131"/>
                <a:gd name="T28" fmla="*/ 141 w 192"/>
                <a:gd name="T29" fmla="*/ 94 h 131"/>
                <a:gd name="T30" fmla="*/ 148 w 192"/>
                <a:gd name="T31" fmla="*/ 85 h 131"/>
                <a:gd name="T32" fmla="*/ 156 w 192"/>
                <a:gd name="T33" fmla="*/ 98 h 131"/>
                <a:gd name="T34" fmla="*/ 169 w 192"/>
                <a:gd name="T35" fmla="*/ 92 h 131"/>
                <a:gd name="T36" fmla="*/ 173 w 192"/>
                <a:gd name="T37" fmla="*/ 98 h 131"/>
                <a:gd name="T38" fmla="*/ 179 w 192"/>
                <a:gd name="T39" fmla="*/ 98 h 131"/>
                <a:gd name="T40" fmla="*/ 175 w 192"/>
                <a:gd name="T41" fmla="*/ 85 h 131"/>
                <a:gd name="T42" fmla="*/ 183 w 192"/>
                <a:gd name="T43" fmla="*/ 79 h 131"/>
                <a:gd name="T44" fmla="*/ 190 w 192"/>
                <a:gd name="T45" fmla="*/ 77 h 131"/>
                <a:gd name="T46" fmla="*/ 190 w 192"/>
                <a:gd name="T47" fmla="*/ 62 h 131"/>
                <a:gd name="T48" fmla="*/ 190 w 192"/>
                <a:gd name="T49" fmla="*/ 56 h 131"/>
                <a:gd name="T50" fmla="*/ 185 w 192"/>
                <a:gd name="T51" fmla="*/ 58 h 131"/>
                <a:gd name="T52" fmla="*/ 181 w 192"/>
                <a:gd name="T53" fmla="*/ 63 h 131"/>
                <a:gd name="T54" fmla="*/ 173 w 192"/>
                <a:gd name="T55" fmla="*/ 63 h 131"/>
                <a:gd name="T56" fmla="*/ 171 w 192"/>
                <a:gd name="T57" fmla="*/ 60 h 131"/>
                <a:gd name="T58" fmla="*/ 167 w 192"/>
                <a:gd name="T59" fmla="*/ 52 h 131"/>
                <a:gd name="T60" fmla="*/ 162 w 192"/>
                <a:gd name="T61" fmla="*/ 52 h 131"/>
                <a:gd name="T62" fmla="*/ 154 w 192"/>
                <a:gd name="T63" fmla="*/ 50 h 131"/>
                <a:gd name="T64" fmla="*/ 152 w 192"/>
                <a:gd name="T65" fmla="*/ 46 h 131"/>
                <a:gd name="T66" fmla="*/ 154 w 192"/>
                <a:gd name="T67" fmla="*/ 37 h 131"/>
                <a:gd name="T68" fmla="*/ 160 w 192"/>
                <a:gd name="T69" fmla="*/ 29 h 131"/>
                <a:gd name="T70" fmla="*/ 158 w 192"/>
                <a:gd name="T71" fmla="*/ 23 h 131"/>
                <a:gd name="T72" fmla="*/ 152 w 192"/>
                <a:gd name="T73" fmla="*/ 23 h 131"/>
                <a:gd name="T74" fmla="*/ 148 w 192"/>
                <a:gd name="T75" fmla="*/ 17 h 131"/>
                <a:gd name="T76" fmla="*/ 142 w 192"/>
                <a:gd name="T77" fmla="*/ 14 h 131"/>
                <a:gd name="T78" fmla="*/ 133 w 192"/>
                <a:gd name="T79" fmla="*/ 6 h 131"/>
                <a:gd name="T80" fmla="*/ 127 w 192"/>
                <a:gd name="T81" fmla="*/ 8 h 131"/>
                <a:gd name="T82" fmla="*/ 123 w 192"/>
                <a:gd name="T83" fmla="*/ 4 h 131"/>
                <a:gd name="T84" fmla="*/ 116 w 192"/>
                <a:gd name="T85" fmla="*/ 2 h 131"/>
                <a:gd name="T86" fmla="*/ 110 w 192"/>
                <a:gd name="T87" fmla="*/ 8 h 131"/>
                <a:gd name="T88" fmla="*/ 117 w 192"/>
                <a:gd name="T89" fmla="*/ 14 h 131"/>
                <a:gd name="T90" fmla="*/ 108 w 192"/>
                <a:gd name="T91" fmla="*/ 15 h 131"/>
                <a:gd name="T92" fmla="*/ 94 w 192"/>
                <a:gd name="T93" fmla="*/ 15 h 131"/>
                <a:gd name="T94" fmla="*/ 83 w 192"/>
                <a:gd name="T95" fmla="*/ 12 h 131"/>
                <a:gd name="T96" fmla="*/ 77 w 192"/>
                <a:gd name="T97" fmla="*/ 14 h 131"/>
                <a:gd name="T98" fmla="*/ 69 w 192"/>
                <a:gd name="T99" fmla="*/ 17 h 131"/>
                <a:gd name="T100" fmla="*/ 60 w 192"/>
                <a:gd name="T101" fmla="*/ 21 h 131"/>
                <a:gd name="T102" fmla="*/ 48 w 192"/>
                <a:gd name="T103" fmla="*/ 17 h 131"/>
                <a:gd name="T104" fmla="*/ 52 w 192"/>
                <a:gd name="T105" fmla="*/ 25 h 131"/>
                <a:gd name="T106" fmla="*/ 46 w 192"/>
                <a:gd name="T107" fmla="*/ 33 h 131"/>
                <a:gd name="T108" fmla="*/ 37 w 192"/>
                <a:gd name="T109" fmla="*/ 42 h 131"/>
                <a:gd name="T110" fmla="*/ 25 w 192"/>
                <a:gd name="T111" fmla="*/ 56 h 131"/>
                <a:gd name="T112" fmla="*/ 10 w 192"/>
                <a:gd name="T113" fmla="*/ 77 h 131"/>
                <a:gd name="T114" fmla="*/ 8 w 192"/>
                <a:gd name="T115" fmla="*/ 92 h 131"/>
                <a:gd name="T116" fmla="*/ 4 w 192"/>
                <a:gd name="T117" fmla="*/ 102 h 131"/>
                <a:gd name="T118" fmla="*/ 12 w 192"/>
                <a:gd name="T119" fmla="*/ 94 h 131"/>
                <a:gd name="T120" fmla="*/ 119 w 192"/>
                <a:gd name="T121" fmla="*/ 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 h="131">
                  <a:moveTo>
                    <a:pt x="12" y="94"/>
                  </a:moveTo>
                  <a:lnTo>
                    <a:pt x="14" y="90"/>
                  </a:lnTo>
                  <a:lnTo>
                    <a:pt x="12" y="90"/>
                  </a:lnTo>
                  <a:lnTo>
                    <a:pt x="14" y="88"/>
                  </a:lnTo>
                  <a:lnTo>
                    <a:pt x="18" y="85"/>
                  </a:lnTo>
                  <a:lnTo>
                    <a:pt x="19" y="87"/>
                  </a:lnTo>
                  <a:lnTo>
                    <a:pt x="21" y="85"/>
                  </a:lnTo>
                  <a:lnTo>
                    <a:pt x="23" y="85"/>
                  </a:lnTo>
                  <a:lnTo>
                    <a:pt x="25" y="83"/>
                  </a:lnTo>
                  <a:lnTo>
                    <a:pt x="29" y="83"/>
                  </a:lnTo>
                  <a:lnTo>
                    <a:pt x="31" y="83"/>
                  </a:lnTo>
                  <a:lnTo>
                    <a:pt x="35" y="83"/>
                  </a:lnTo>
                  <a:lnTo>
                    <a:pt x="39" y="85"/>
                  </a:lnTo>
                  <a:lnTo>
                    <a:pt x="37" y="90"/>
                  </a:lnTo>
                  <a:lnTo>
                    <a:pt x="39" y="92"/>
                  </a:lnTo>
                  <a:lnTo>
                    <a:pt x="39" y="94"/>
                  </a:lnTo>
                  <a:lnTo>
                    <a:pt x="39" y="96"/>
                  </a:lnTo>
                  <a:lnTo>
                    <a:pt x="37" y="98"/>
                  </a:lnTo>
                  <a:lnTo>
                    <a:pt x="37" y="100"/>
                  </a:lnTo>
                  <a:lnTo>
                    <a:pt x="35" y="102"/>
                  </a:lnTo>
                  <a:lnTo>
                    <a:pt x="41" y="104"/>
                  </a:lnTo>
                  <a:lnTo>
                    <a:pt x="39" y="110"/>
                  </a:lnTo>
                  <a:lnTo>
                    <a:pt x="41" y="110"/>
                  </a:lnTo>
                  <a:lnTo>
                    <a:pt x="44" y="113"/>
                  </a:lnTo>
                  <a:lnTo>
                    <a:pt x="44" y="115"/>
                  </a:lnTo>
                  <a:lnTo>
                    <a:pt x="46" y="119"/>
                  </a:lnTo>
                  <a:lnTo>
                    <a:pt x="44" y="119"/>
                  </a:lnTo>
                  <a:lnTo>
                    <a:pt x="46" y="119"/>
                  </a:lnTo>
                  <a:lnTo>
                    <a:pt x="48" y="123"/>
                  </a:lnTo>
                  <a:lnTo>
                    <a:pt x="50" y="123"/>
                  </a:lnTo>
                  <a:lnTo>
                    <a:pt x="52" y="123"/>
                  </a:lnTo>
                  <a:lnTo>
                    <a:pt x="58" y="119"/>
                  </a:lnTo>
                  <a:lnTo>
                    <a:pt x="60" y="119"/>
                  </a:lnTo>
                  <a:lnTo>
                    <a:pt x="64" y="119"/>
                  </a:lnTo>
                  <a:lnTo>
                    <a:pt x="67" y="117"/>
                  </a:lnTo>
                  <a:lnTo>
                    <a:pt x="69" y="119"/>
                  </a:lnTo>
                  <a:lnTo>
                    <a:pt x="71" y="117"/>
                  </a:lnTo>
                  <a:lnTo>
                    <a:pt x="75" y="119"/>
                  </a:lnTo>
                  <a:lnTo>
                    <a:pt x="81" y="121"/>
                  </a:lnTo>
                  <a:lnTo>
                    <a:pt x="81" y="117"/>
                  </a:lnTo>
                  <a:lnTo>
                    <a:pt x="87" y="115"/>
                  </a:lnTo>
                  <a:lnTo>
                    <a:pt x="87" y="111"/>
                  </a:lnTo>
                  <a:lnTo>
                    <a:pt x="89" y="111"/>
                  </a:lnTo>
                  <a:lnTo>
                    <a:pt x="92" y="108"/>
                  </a:lnTo>
                  <a:lnTo>
                    <a:pt x="92" y="106"/>
                  </a:lnTo>
                  <a:lnTo>
                    <a:pt x="91" y="100"/>
                  </a:lnTo>
                  <a:lnTo>
                    <a:pt x="91" y="98"/>
                  </a:lnTo>
                  <a:lnTo>
                    <a:pt x="100" y="92"/>
                  </a:lnTo>
                  <a:lnTo>
                    <a:pt x="104" y="87"/>
                  </a:lnTo>
                  <a:lnTo>
                    <a:pt x="106" y="87"/>
                  </a:lnTo>
                  <a:lnTo>
                    <a:pt x="108" y="90"/>
                  </a:lnTo>
                  <a:lnTo>
                    <a:pt x="106" y="100"/>
                  </a:lnTo>
                  <a:lnTo>
                    <a:pt x="108" y="100"/>
                  </a:lnTo>
                  <a:lnTo>
                    <a:pt x="110" y="102"/>
                  </a:lnTo>
                  <a:lnTo>
                    <a:pt x="114" y="110"/>
                  </a:lnTo>
                  <a:lnTo>
                    <a:pt x="117" y="111"/>
                  </a:lnTo>
                  <a:lnTo>
                    <a:pt x="121" y="110"/>
                  </a:lnTo>
                  <a:lnTo>
                    <a:pt x="123" y="111"/>
                  </a:lnTo>
                  <a:lnTo>
                    <a:pt x="123" y="113"/>
                  </a:lnTo>
                  <a:lnTo>
                    <a:pt x="121" y="117"/>
                  </a:lnTo>
                  <a:lnTo>
                    <a:pt x="127" y="123"/>
                  </a:lnTo>
                  <a:lnTo>
                    <a:pt x="127" y="127"/>
                  </a:lnTo>
                  <a:lnTo>
                    <a:pt x="125" y="129"/>
                  </a:lnTo>
                  <a:lnTo>
                    <a:pt x="129" y="131"/>
                  </a:lnTo>
                  <a:lnTo>
                    <a:pt x="131" y="129"/>
                  </a:lnTo>
                  <a:lnTo>
                    <a:pt x="131" y="125"/>
                  </a:lnTo>
                  <a:lnTo>
                    <a:pt x="131" y="123"/>
                  </a:lnTo>
                  <a:lnTo>
                    <a:pt x="129" y="117"/>
                  </a:lnTo>
                  <a:lnTo>
                    <a:pt x="129" y="115"/>
                  </a:lnTo>
                  <a:lnTo>
                    <a:pt x="137" y="110"/>
                  </a:lnTo>
                  <a:lnTo>
                    <a:pt x="137" y="108"/>
                  </a:lnTo>
                  <a:lnTo>
                    <a:pt x="139" y="106"/>
                  </a:lnTo>
                  <a:lnTo>
                    <a:pt x="141" y="102"/>
                  </a:lnTo>
                  <a:lnTo>
                    <a:pt x="142" y="98"/>
                  </a:lnTo>
                  <a:lnTo>
                    <a:pt x="141" y="94"/>
                  </a:lnTo>
                  <a:lnTo>
                    <a:pt x="141" y="90"/>
                  </a:lnTo>
                  <a:lnTo>
                    <a:pt x="141" y="88"/>
                  </a:lnTo>
                  <a:lnTo>
                    <a:pt x="142" y="87"/>
                  </a:lnTo>
                  <a:lnTo>
                    <a:pt x="146" y="85"/>
                  </a:lnTo>
                  <a:lnTo>
                    <a:pt x="148" y="85"/>
                  </a:lnTo>
                  <a:lnTo>
                    <a:pt x="150" y="87"/>
                  </a:lnTo>
                  <a:lnTo>
                    <a:pt x="150" y="88"/>
                  </a:lnTo>
                  <a:lnTo>
                    <a:pt x="148" y="92"/>
                  </a:lnTo>
                  <a:lnTo>
                    <a:pt x="154" y="98"/>
                  </a:lnTo>
                  <a:lnTo>
                    <a:pt x="156" y="98"/>
                  </a:lnTo>
                  <a:lnTo>
                    <a:pt x="158" y="98"/>
                  </a:lnTo>
                  <a:lnTo>
                    <a:pt x="162" y="98"/>
                  </a:lnTo>
                  <a:lnTo>
                    <a:pt x="162" y="94"/>
                  </a:lnTo>
                  <a:lnTo>
                    <a:pt x="164" y="92"/>
                  </a:lnTo>
                  <a:lnTo>
                    <a:pt x="169" y="92"/>
                  </a:lnTo>
                  <a:lnTo>
                    <a:pt x="171" y="92"/>
                  </a:lnTo>
                  <a:lnTo>
                    <a:pt x="173" y="92"/>
                  </a:lnTo>
                  <a:lnTo>
                    <a:pt x="171" y="94"/>
                  </a:lnTo>
                  <a:lnTo>
                    <a:pt x="173" y="96"/>
                  </a:lnTo>
                  <a:lnTo>
                    <a:pt x="173" y="98"/>
                  </a:lnTo>
                  <a:lnTo>
                    <a:pt x="173" y="102"/>
                  </a:lnTo>
                  <a:lnTo>
                    <a:pt x="175" y="104"/>
                  </a:lnTo>
                  <a:lnTo>
                    <a:pt x="177" y="104"/>
                  </a:lnTo>
                  <a:lnTo>
                    <a:pt x="179" y="102"/>
                  </a:lnTo>
                  <a:lnTo>
                    <a:pt x="179" y="98"/>
                  </a:lnTo>
                  <a:lnTo>
                    <a:pt x="177" y="96"/>
                  </a:lnTo>
                  <a:lnTo>
                    <a:pt x="179" y="92"/>
                  </a:lnTo>
                  <a:lnTo>
                    <a:pt x="179" y="90"/>
                  </a:lnTo>
                  <a:lnTo>
                    <a:pt x="173" y="88"/>
                  </a:lnTo>
                  <a:lnTo>
                    <a:pt x="175" y="85"/>
                  </a:lnTo>
                  <a:lnTo>
                    <a:pt x="175" y="83"/>
                  </a:lnTo>
                  <a:lnTo>
                    <a:pt x="175" y="81"/>
                  </a:lnTo>
                  <a:lnTo>
                    <a:pt x="177" y="79"/>
                  </a:lnTo>
                  <a:lnTo>
                    <a:pt x="181" y="77"/>
                  </a:lnTo>
                  <a:lnTo>
                    <a:pt x="183" y="79"/>
                  </a:lnTo>
                  <a:lnTo>
                    <a:pt x="185" y="83"/>
                  </a:lnTo>
                  <a:lnTo>
                    <a:pt x="189" y="83"/>
                  </a:lnTo>
                  <a:lnTo>
                    <a:pt x="192" y="83"/>
                  </a:lnTo>
                  <a:lnTo>
                    <a:pt x="192" y="79"/>
                  </a:lnTo>
                  <a:lnTo>
                    <a:pt x="190" y="77"/>
                  </a:lnTo>
                  <a:lnTo>
                    <a:pt x="192" y="71"/>
                  </a:lnTo>
                  <a:lnTo>
                    <a:pt x="190" y="67"/>
                  </a:lnTo>
                  <a:lnTo>
                    <a:pt x="192" y="65"/>
                  </a:lnTo>
                  <a:lnTo>
                    <a:pt x="192" y="63"/>
                  </a:lnTo>
                  <a:lnTo>
                    <a:pt x="190" y="62"/>
                  </a:lnTo>
                  <a:lnTo>
                    <a:pt x="192" y="62"/>
                  </a:lnTo>
                  <a:lnTo>
                    <a:pt x="192" y="60"/>
                  </a:lnTo>
                  <a:lnTo>
                    <a:pt x="192" y="58"/>
                  </a:lnTo>
                  <a:lnTo>
                    <a:pt x="190" y="58"/>
                  </a:lnTo>
                  <a:lnTo>
                    <a:pt x="190" y="56"/>
                  </a:lnTo>
                  <a:lnTo>
                    <a:pt x="189" y="56"/>
                  </a:lnTo>
                  <a:lnTo>
                    <a:pt x="189" y="54"/>
                  </a:lnTo>
                  <a:lnTo>
                    <a:pt x="187" y="56"/>
                  </a:lnTo>
                  <a:lnTo>
                    <a:pt x="187" y="58"/>
                  </a:lnTo>
                  <a:lnTo>
                    <a:pt x="185" y="58"/>
                  </a:lnTo>
                  <a:lnTo>
                    <a:pt x="185" y="60"/>
                  </a:lnTo>
                  <a:lnTo>
                    <a:pt x="183" y="60"/>
                  </a:lnTo>
                  <a:lnTo>
                    <a:pt x="181" y="60"/>
                  </a:lnTo>
                  <a:lnTo>
                    <a:pt x="181" y="62"/>
                  </a:lnTo>
                  <a:lnTo>
                    <a:pt x="181" y="63"/>
                  </a:lnTo>
                  <a:lnTo>
                    <a:pt x="179" y="63"/>
                  </a:lnTo>
                  <a:lnTo>
                    <a:pt x="177" y="63"/>
                  </a:lnTo>
                  <a:lnTo>
                    <a:pt x="177" y="65"/>
                  </a:lnTo>
                  <a:lnTo>
                    <a:pt x="175" y="63"/>
                  </a:lnTo>
                  <a:lnTo>
                    <a:pt x="173" y="63"/>
                  </a:lnTo>
                  <a:lnTo>
                    <a:pt x="173" y="62"/>
                  </a:lnTo>
                  <a:lnTo>
                    <a:pt x="175" y="62"/>
                  </a:lnTo>
                  <a:lnTo>
                    <a:pt x="173" y="62"/>
                  </a:lnTo>
                  <a:lnTo>
                    <a:pt x="173" y="60"/>
                  </a:lnTo>
                  <a:lnTo>
                    <a:pt x="171" y="60"/>
                  </a:lnTo>
                  <a:lnTo>
                    <a:pt x="169" y="60"/>
                  </a:lnTo>
                  <a:lnTo>
                    <a:pt x="167" y="58"/>
                  </a:lnTo>
                  <a:lnTo>
                    <a:pt x="167" y="56"/>
                  </a:lnTo>
                  <a:lnTo>
                    <a:pt x="167" y="54"/>
                  </a:lnTo>
                  <a:lnTo>
                    <a:pt x="167" y="52"/>
                  </a:lnTo>
                  <a:lnTo>
                    <a:pt x="165" y="52"/>
                  </a:lnTo>
                  <a:lnTo>
                    <a:pt x="165" y="54"/>
                  </a:lnTo>
                  <a:lnTo>
                    <a:pt x="165" y="52"/>
                  </a:lnTo>
                  <a:lnTo>
                    <a:pt x="164" y="52"/>
                  </a:lnTo>
                  <a:lnTo>
                    <a:pt x="162" y="52"/>
                  </a:lnTo>
                  <a:lnTo>
                    <a:pt x="162" y="50"/>
                  </a:lnTo>
                  <a:lnTo>
                    <a:pt x="160" y="50"/>
                  </a:lnTo>
                  <a:lnTo>
                    <a:pt x="158" y="50"/>
                  </a:lnTo>
                  <a:lnTo>
                    <a:pt x="156" y="50"/>
                  </a:lnTo>
                  <a:lnTo>
                    <a:pt x="154" y="50"/>
                  </a:lnTo>
                  <a:lnTo>
                    <a:pt x="152" y="50"/>
                  </a:lnTo>
                  <a:lnTo>
                    <a:pt x="150" y="50"/>
                  </a:lnTo>
                  <a:lnTo>
                    <a:pt x="150" y="48"/>
                  </a:lnTo>
                  <a:lnTo>
                    <a:pt x="152" y="48"/>
                  </a:lnTo>
                  <a:lnTo>
                    <a:pt x="152" y="46"/>
                  </a:lnTo>
                  <a:lnTo>
                    <a:pt x="152" y="44"/>
                  </a:lnTo>
                  <a:lnTo>
                    <a:pt x="152" y="42"/>
                  </a:lnTo>
                  <a:lnTo>
                    <a:pt x="152" y="40"/>
                  </a:lnTo>
                  <a:lnTo>
                    <a:pt x="152" y="38"/>
                  </a:lnTo>
                  <a:lnTo>
                    <a:pt x="154" y="37"/>
                  </a:lnTo>
                  <a:lnTo>
                    <a:pt x="154" y="35"/>
                  </a:lnTo>
                  <a:lnTo>
                    <a:pt x="156" y="33"/>
                  </a:lnTo>
                  <a:lnTo>
                    <a:pt x="156" y="31"/>
                  </a:lnTo>
                  <a:lnTo>
                    <a:pt x="158" y="29"/>
                  </a:lnTo>
                  <a:lnTo>
                    <a:pt x="160" y="29"/>
                  </a:lnTo>
                  <a:lnTo>
                    <a:pt x="160" y="27"/>
                  </a:lnTo>
                  <a:lnTo>
                    <a:pt x="158" y="27"/>
                  </a:lnTo>
                  <a:lnTo>
                    <a:pt x="158" y="25"/>
                  </a:lnTo>
                  <a:lnTo>
                    <a:pt x="160" y="25"/>
                  </a:lnTo>
                  <a:lnTo>
                    <a:pt x="158" y="23"/>
                  </a:lnTo>
                  <a:lnTo>
                    <a:pt x="156" y="23"/>
                  </a:lnTo>
                  <a:lnTo>
                    <a:pt x="156" y="21"/>
                  </a:lnTo>
                  <a:lnTo>
                    <a:pt x="154" y="21"/>
                  </a:lnTo>
                  <a:lnTo>
                    <a:pt x="154" y="23"/>
                  </a:lnTo>
                  <a:lnTo>
                    <a:pt x="152" y="23"/>
                  </a:lnTo>
                  <a:lnTo>
                    <a:pt x="152" y="21"/>
                  </a:lnTo>
                  <a:lnTo>
                    <a:pt x="150" y="21"/>
                  </a:lnTo>
                  <a:lnTo>
                    <a:pt x="150" y="19"/>
                  </a:lnTo>
                  <a:lnTo>
                    <a:pt x="148" y="19"/>
                  </a:lnTo>
                  <a:lnTo>
                    <a:pt x="148" y="17"/>
                  </a:lnTo>
                  <a:lnTo>
                    <a:pt x="148" y="15"/>
                  </a:lnTo>
                  <a:lnTo>
                    <a:pt x="146" y="15"/>
                  </a:lnTo>
                  <a:lnTo>
                    <a:pt x="146" y="14"/>
                  </a:lnTo>
                  <a:lnTo>
                    <a:pt x="144" y="14"/>
                  </a:lnTo>
                  <a:lnTo>
                    <a:pt x="142" y="14"/>
                  </a:lnTo>
                  <a:lnTo>
                    <a:pt x="142" y="12"/>
                  </a:lnTo>
                  <a:lnTo>
                    <a:pt x="141" y="12"/>
                  </a:lnTo>
                  <a:lnTo>
                    <a:pt x="141" y="10"/>
                  </a:lnTo>
                  <a:lnTo>
                    <a:pt x="137" y="8"/>
                  </a:lnTo>
                  <a:lnTo>
                    <a:pt x="133" y="6"/>
                  </a:lnTo>
                  <a:lnTo>
                    <a:pt x="131" y="8"/>
                  </a:lnTo>
                  <a:lnTo>
                    <a:pt x="129" y="10"/>
                  </a:lnTo>
                  <a:lnTo>
                    <a:pt x="129" y="12"/>
                  </a:lnTo>
                  <a:lnTo>
                    <a:pt x="127" y="10"/>
                  </a:lnTo>
                  <a:lnTo>
                    <a:pt x="127" y="8"/>
                  </a:lnTo>
                  <a:lnTo>
                    <a:pt x="125" y="8"/>
                  </a:lnTo>
                  <a:lnTo>
                    <a:pt x="125" y="10"/>
                  </a:lnTo>
                  <a:lnTo>
                    <a:pt x="121" y="8"/>
                  </a:lnTo>
                  <a:lnTo>
                    <a:pt x="121" y="6"/>
                  </a:lnTo>
                  <a:lnTo>
                    <a:pt x="123" y="4"/>
                  </a:lnTo>
                  <a:lnTo>
                    <a:pt x="119" y="2"/>
                  </a:lnTo>
                  <a:lnTo>
                    <a:pt x="117" y="2"/>
                  </a:lnTo>
                  <a:lnTo>
                    <a:pt x="117" y="0"/>
                  </a:lnTo>
                  <a:lnTo>
                    <a:pt x="116" y="0"/>
                  </a:lnTo>
                  <a:lnTo>
                    <a:pt x="116" y="2"/>
                  </a:lnTo>
                  <a:lnTo>
                    <a:pt x="114" y="2"/>
                  </a:lnTo>
                  <a:lnTo>
                    <a:pt x="112" y="2"/>
                  </a:lnTo>
                  <a:lnTo>
                    <a:pt x="112" y="4"/>
                  </a:lnTo>
                  <a:lnTo>
                    <a:pt x="112" y="6"/>
                  </a:lnTo>
                  <a:lnTo>
                    <a:pt x="110" y="8"/>
                  </a:lnTo>
                  <a:lnTo>
                    <a:pt x="112" y="10"/>
                  </a:lnTo>
                  <a:lnTo>
                    <a:pt x="114" y="10"/>
                  </a:lnTo>
                  <a:lnTo>
                    <a:pt x="117" y="10"/>
                  </a:lnTo>
                  <a:lnTo>
                    <a:pt x="117" y="12"/>
                  </a:lnTo>
                  <a:lnTo>
                    <a:pt x="117" y="14"/>
                  </a:lnTo>
                  <a:lnTo>
                    <a:pt x="116" y="14"/>
                  </a:lnTo>
                  <a:lnTo>
                    <a:pt x="114" y="12"/>
                  </a:lnTo>
                  <a:lnTo>
                    <a:pt x="112" y="14"/>
                  </a:lnTo>
                  <a:lnTo>
                    <a:pt x="112" y="15"/>
                  </a:lnTo>
                  <a:lnTo>
                    <a:pt x="108" y="15"/>
                  </a:lnTo>
                  <a:lnTo>
                    <a:pt x="106" y="15"/>
                  </a:lnTo>
                  <a:lnTo>
                    <a:pt x="104" y="15"/>
                  </a:lnTo>
                  <a:lnTo>
                    <a:pt x="104" y="14"/>
                  </a:lnTo>
                  <a:lnTo>
                    <a:pt x="100" y="12"/>
                  </a:lnTo>
                  <a:lnTo>
                    <a:pt x="94" y="15"/>
                  </a:lnTo>
                  <a:lnTo>
                    <a:pt x="92" y="15"/>
                  </a:lnTo>
                  <a:lnTo>
                    <a:pt x="89" y="15"/>
                  </a:lnTo>
                  <a:lnTo>
                    <a:pt x="87" y="15"/>
                  </a:lnTo>
                  <a:lnTo>
                    <a:pt x="87" y="14"/>
                  </a:lnTo>
                  <a:lnTo>
                    <a:pt x="83" y="12"/>
                  </a:lnTo>
                  <a:lnTo>
                    <a:pt x="83" y="14"/>
                  </a:lnTo>
                  <a:lnTo>
                    <a:pt x="81" y="14"/>
                  </a:lnTo>
                  <a:lnTo>
                    <a:pt x="79" y="14"/>
                  </a:lnTo>
                  <a:lnTo>
                    <a:pt x="79" y="15"/>
                  </a:lnTo>
                  <a:lnTo>
                    <a:pt x="77" y="14"/>
                  </a:lnTo>
                  <a:lnTo>
                    <a:pt x="75" y="12"/>
                  </a:lnTo>
                  <a:lnTo>
                    <a:pt x="73" y="14"/>
                  </a:lnTo>
                  <a:lnTo>
                    <a:pt x="71" y="15"/>
                  </a:lnTo>
                  <a:lnTo>
                    <a:pt x="71" y="17"/>
                  </a:lnTo>
                  <a:lnTo>
                    <a:pt x="69" y="17"/>
                  </a:lnTo>
                  <a:lnTo>
                    <a:pt x="67" y="19"/>
                  </a:lnTo>
                  <a:lnTo>
                    <a:pt x="67" y="21"/>
                  </a:lnTo>
                  <a:lnTo>
                    <a:pt x="66" y="23"/>
                  </a:lnTo>
                  <a:lnTo>
                    <a:pt x="64" y="21"/>
                  </a:lnTo>
                  <a:lnTo>
                    <a:pt x="60" y="21"/>
                  </a:lnTo>
                  <a:lnTo>
                    <a:pt x="58" y="19"/>
                  </a:lnTo>
                  <a:lnTo>
                    <a:pt x="58" y="17"/>
                  </a:lnTo>
                  <a:lnTo>
                    <a:pt x="56" y="17"/>
                  </a:lnTo>
                  <a:lnTo>
                    <a:pt x="52" y="17"/>
                  </a:lnTo>
                  <a:lnTo>
                    <a:pt x="48" y="17"/>
                  </a:lnTo>
                  <a:lnTo>
                    <a:pt x="48" y="19"/>
                  </a:lnTo>
                  <a:lnTo>
                    <a:pt x="44" y="25"/>
                  </a:lnTo>
                  <a:lnTo>
                    <a:pt x="46" y="25"/>
                  </a:lnTo>
                  <a:lnTo>
                    <a:pt x="50" y="23"/>
                  </a:lnTo>
                  <a:lnTo>
                    <a:pt x="52" y="25"/>
                  </a:lnTo>
                  <a:lnTo>
                    <a:pt x="50" y="27"/>
                  </a:lnTo>
                  <a:lnTo>
                    <a:pt x="48" y="29"/>
                  </a:lnTo>
                  <a:lnTo>
                    <a:pt x="46" y="29"/>
                  </a:lnTo>
                  <a:lnTo>
                    <a:pt x="46" y="31"/>
                  </a:lnTo>
                  <a:lnTo>
                    <a:pt x="46" y="33"/>
                  </a:lnTo>
                  <a:lnTo>
                    <a:pt x="44" y="35"/>
                  </a:lnTo>
                  <a:lnTo>
                    <a:pt x="42" y="37"/>
                  </a:lnTo>
                  <a:lnTo>
                    <a:pt x="42" y="38"/>
                  </a:lnTo>
                  <a:lnTo>
                    <a:pt x="39" y="40"/>
                  </a:lnTo>
                  <a:lnTo>
                    <a:pt x="37" y="42"/>
                  </a:lnTo>
                  <a:lnTo>
                    <a:pt x="35" y="44"/>
                  </a:lnTo>
                  <a:lnTo>
                    <a:pt x="31" y="48"/>
                  </a:lnTo>
                  <a:lnTo>
                    <a:pt x="25" y="50"/>
                  </a:lnTo>
                  <a:lnTo>
                    <a:pt x="23" y="52"/>
                  </a:lnTo>
                  <a:lnTo>
                    <a:pt x="25" y="56"/>
                  </a:lnTo>
                  <a:lnTo>
                    <a:pt x="23" y="58"/>
                  </a:lnTo>
                  <a:lnTo>
                    <a:pt x="23" y="62"/>
                  </a:lnTo>
                  <a:lnTo>
                    <a:pt x="19" y="65"/>
                  </a:lnTo>
                  <a:lnTo>
                    <a:pt x="10" y="73"/>
                  </a:lnTo>
                  <a:lnTo>
                    <a:pt x="10" y="77"/>
                  </a:lnTo>
                  <a:lnTo>
                    <a:pt x="8" y="81"/>
                  </a:lnTo>
                  <a:lnTo>
                    <a:pt x="8" y="83"/>
                  </a:lnTo>
                  <a:lnTo>
                    <a:pt x="10" y="87"/>
                  </a:lnTo>
                  <a:lnTo>
                    <a:pt x="8" y="90"/>
                  </a:lnTo>
                  <a:lnTo>
                    <a:pt x="8" y="92"/>
                  </a:lnTo>
                  <a:lnTo>
                    <a:pt x="8" y="96"/>
                  </a:lnTo>
                  <a:lnTo>
                    <a:pt x="6" y="96"/>
                  </a:lnTo>
                  <a:lnTo>
                    <a:pt x="2" y="96"/>
                  </a:lnTo>
                  <a:lnTo>
                    <a:pt x="0" y="100"/>
                  </a:lnTo>
                  <a:lnTo>
                    <a:pt x="4" y="102"/>
                  </a:lnTo>
                  <a:lnTo>
                    <a:pt x="6" y="100"/>
                  </a:lnTo>
                  <a:lnTo>
                    <a:pt x="8" y="100"/>
                  </a:lnTo>
                  <a:lnTo>
                    <a:pt x="10" y="100"/>
                  </a:lnTo>
                  <a:lnTo>
                    <a:pt x="14" y="94"/>
                  </a:lnTo>
                  <a:lnTo>
                    <a:pt x="12" y="94"/>
                  </a:lnTo>
                  <a:lnTo>
                    <a:pt x="119" y="8"/>
                  </a:lnTo>
                  <a:lnTo>
                    <a:pt x="119" y="6"/>
                  </a:lnTo>
                  <a:lnTo>
                    <a:pt x="121" y="6"/>
                  </a:lnTo>
                  <a:lnTo>
                    <a:pt x="121" y="8"/>
                  </a:lnTo>
                  <a:lnTo>
                    <a:pt x="119" y="8"/>
                  </a:lnTo>
                  <a:lnTo>
                    <a:pt x="12" y="9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37" name="Freeform 325"/>
            <p:cNvSpPr>
              <a:spLocks/>
            </p:cNvSpPr>
            <p:nvPr/>
          </p:nvSpPr>
          <p:spPr bwMode="auto">
            <a:xfrm>
              <a:off x="2279" y="2707"/>
              <a:ext cx="192" cy="131"/>
            </a:xfrm>
            <a:custGeom>
              <a:avLst/>
              <a:gdLst>
                <a:gd name="T0" fmla="*/ 18 w 192"/>
                <a:gd name="T1" fmla="*/ 85 h 131"/>
                <a:gd name="T2" fmla="*/ 29 w 192"/>
                <a:gd name="T3" fmla="*/ 83 h 131"/>
                <a:gd name="T4" fmla="*/ 39 w 192"/>
                <a:gd name="T5" fmla="*/ 92 h 131"/>
                <a:gd name="T6" fmla="*/ 35 w 192"/>
                <a:gd name="T7" fmla="*/ 102 h 131"/>
                <a:gd name="T8" fmla="*/ 44 w 192"/>
                <a:gd name="T9" fmla="*/ 115 h 131"/>
                <a:gd name="T10" fmla="*/ 50 w 192"/>
                <a:gd name="T11" fmla="*/ 123 h 131"/>
                <a:gd name="T12" fmla="*/ 67 w 192"/>
                <a:gd name="T13" fmla="*/ 117 h 131"/>
                <a:gd name="T14" fmla="*/ 81 w 192"/>
                <a:gd name="T15" fmla="*/ 117 h 131"/>
                <a:gd name="T16" fmla="*/ 92 w 192"/>
                <a:gd name="T17" fmla="*/ 106 h 131"/>
                <a:gd name="T18" fmla="*/ 106 w 192"/>
                <a:gd name="T19" fmla="*/ 87 h 131"/>
                <a:gd name="T20" fmla="*/ 114 w 192"/>
                <a:gd name="T21" fmla="*/ 110 h 131"/>
                <a:gd name="T22" fmla="*/ 121 w 192"/>
                <a:gd name="T23" fmla="*/ 117 h 131"/>
                <a:gd name="T24" fmla="*/ 131 w 192"/>
                <a:gd name="T25" fmla="*/ 129 h 131"/>
                <a:gd name="T26" fmla="*/ 137 w 192"/>
                <a:gd name="T27" fmla="*/ 110 h 131"/>
                <a:gd name="T28" fmla="*/ 141 w 192"/>
                <a:gd name="T29" fmla="*/ 94 h 131"/>
                <a:gd name="T30" fmla="*/ 148 w 192"/>
                <a:gd name="T31" fmla="*/ 85 h 131"/>
                <a:gd name="T32" fmla="*/ 156 w 192"/>
                <a:gd name="T33" fmla="*/ 98 h 131"/>
                <a:gd name="T34" fmla="*/ 169 w 192"/>
                <a:gd name="T35" fmla="*/ 92 h 131"/>
                <a:gd name="T36" fmla="*/ 173 w 192"/>
                <a:gd name="T37" fmla="*/ 98 h 131"/>
                <a:gd name="T38" fmla="*/ 179 w 192"/>
                <a:gd name="T39" fmla="*/ 98 h 131"/>
                <a:gd name="T40" fmla="*/ 175 w 192"/>
                <a:gd name="T41" fmla="*/ 85 h 131"/>
                <a:gd name="T42" fmla="*/ 183 w 192"/>
                <a:gd name="T43" fmla="*/ 79 h 131"/>
                <a:gd name="T44" fmla="*/ 190 w 192"/>
                <a:gd name="T45" fmla="*/ 77 h 131"/>
                <a:gd name="T46" fmla="*/ 190 w 192"/>
                <a:gd name="T47" fmla="*/ 62 h 131"/>
                <a:gd name="T48" fmla="*/ 190 w 192"/>
                <a:gd name="T49" fmla="*/ 56 h 131"/>
                <a:gd name="T50" fmla="*/ 185 w 192"/>
                <a:gd name="T51" fmla="*/ 58 h 131"/>
                <a:gd name="T52" fmla="*/ 181 w 192"/>
                <a:gd name="T53" fmla="*/ 63 h 131"/>
                <a:gd name="T54" fmla="*/ 173 w 192"/>
                <a:gd name="T55" fmla="*/ 63 h 131"/>
                <a:gd name="T56" fmla="*/ 171 w 192"/>
                <a:gd name="T57" fmla="*/ 60 h 131"/>
                <a:gd name="T58" fmla="*/ 167 w 192"/>
                <a:gd name="T59" fmla="*/ 52 h 131"/>
                <a:gd name="T60" fmla="*/ 162 w 192"/>
                <a:gd name="T61" fmla="*/ 52 h 131"/>
                <a:gd name="T62" fmla="*/ 154 w 192"/>
                <a:gd name="T63" fmla="*/ 50 h 131"/>
                <a:gd name="T64" fmla="*/ 152 w 192"/>
                <a:gd name="T65" fmla="*/ 46 h 131"/>
                <a:gd name="T66" fmla="*/ 154 w 192"/>
                <a:gd name="T67" fmla="*/ 37 h 131"/>
                <a:gd name="T68" fmla="*/ 160 w 192"/>
                <a:gd name="T69" fmla="*/ 29 h 131"/>
                <a:gd name="T70" fmla="*/ 158 w 192"/>
                <a:gd name="T71" fmla="*/ 23 h 131"/>
                <a:gd name="T72" fmla="*/ 152 w 192"/>
                <a:gd name="T73" fmla="*/ 23 h 131"/>
                <a:gd name="T74" fmla="*/ 148 w 192"/>
                <a:gd name="T75" fmla="*/ 17 h 131"/>
                <a:gd name="T76" fmla="*/ 142 w 192"/>
                <a:gd name="T77" fmla="*/ 14 h 131"/>
                <a:gd name="T78" fmla="*/ 133 w 192"/>
                <a:gd name="T79" fmla="*/ 6 h 131"/>
                <a:gd name="T80" fmla="*/ 127 w 192"/>
                <a:gd name="T81" fmla="*/ 8 h 131"/>
                <a:gd name="T82" fmla="*/ 123 w 192"/>
                <a:gd name="T83" fmla="*/ 4 h 131"/>
                <a:gd name="T84" fmla="*/ 116 w 192"/>
                <a:gd name="T85" fmla="*/ 2 h 131"/>
                <a:gd name="T86" fmla="*/ 110 w 192"/>
                <a:gd name="T87" fmla="*/ 8 h 131"/>
                <a:gd name="T88" fmla="*/ 117 w 192"/>
                <a:gd name="T89" fmla="*/ 14 h 131"/>
                <a:gd name="T90" fmla="*/ 108 w 192"/>
                <a:gd name="T91" fmla="*/ 15 h 131"/>
                <a:gd name="T92" fmla="*/ 94 w 192"/>
                <a:gd name="T93" fmla="*/ 15 h 131"/>
                <a:gd name="T94" fmla="*/ 83 w 192"/>
                <a:gd name="T95" fmla="*/ 12 h 131"/>
                <a:gd name="T96" fmla="*/ 77 w 192"/>
                <a:gd name="T97" fmla="*/ 14 h 131"/>
                <a:gd name="T98" fmla="*/ 69 w 192"/>
                <a:gd name="T99" fmla="*/ 17 h 131"/>
                <a:gd name="T100" fmla="*/ 60 w 192"/>
                <a:gd name="T101" fmla="*/ 21 h 131"/>
                <a:gd name="T102" fmla="*/ 48 w 192"/>
                <a:gd name="T103" fmla="*/ 17 h 131"/>
                <a:gd name="T104" fmla="*/ 52 w 192"/>
                <a:gd name="T105" fmla="*/ 25 h 131"/>
                <a:gd name="T106" fmla="*/ 46 w 192"/>
                <a:gd name="T107" fmla="*/ 33 h 131"/>
                <a:gd name="T108" fmla="*/ 37 w 192"/>
                <a:gd name="T109" fmla="*/ 42 h 131"/>
                <a:gd name="T110" fmla="*/ 25 w 192"/>
                <a:gd name="T111" fmla="*/ 56 h 131"/>
                <a:gd name="T112" fmla="*/ 10 w 192"/>
                <a:gd name="T113" fmla="*/ 77 h 131"/>
                <a:gd name="T114" fmla="*/ 8 w 192"/>
                <a:gd name="T115" fmla="*/ 92 h 131"/>
                <a:gd name="T116" fmla="*/ 4 w 192"/>
                <a:gd name="T117" fmla="*/ 102 h 131"/>
                <a:gd name="T118" fmla="*/ 12 w 192"/>
                <a:gd name="T119" fmla="*/ 9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 h="131">
                  <a:moveTo>
                    <a:pt x="12" y="94"/>
                  </a:moveTo>
                  <a:lnTo>
                    <a:pt x="14" y="90"/>
                  </a:lnTo>
                  <a:lnTo>
                    <a:pt x="12" y="90"/>
                  </a:lnTo>
                  <a:lnTo>
                    <a:pt x="14" y="88"/>
                  </a:lnTo>
                  <a:lnTo>
                    <a:pt x="18" y="85"/>
                  </a:lnTo>
                  <a:lnTo>
                    <a:pt x="19" y="87"/>
                  </a:lnTo>
                  <a:lnTo>
                    <a:pt x="21" y="85"/>
                  </a:lnTo>
                  <a:lnTo>
                    <a:pt x="23" y="85"/>
                  </a:lnTo>
                  <a:lnTo>
                    <a:pt x="25" y="83"/>
                  </a:lnTo>
                  <a:lnTo>
                    <a:pt x="29" y="83"/>
                  </a:lnTo>
                  <a:lnTo>
                    <a:pt x="31" y="83"/>
                  </a:lnTo>
                  <a:lnTo>
                    <a:pt x="35" y="83"/>
                  </a:lnTo>
                  <a:lnTo>
                    <a:pt x="39" y="85"/>
                  </a:lnTo>
                  <a:lnTo>
                    <a:pt x="37" y="90"/>
                  </a:lnTo>
                  <a:lnTo>
                    <a:pt x="39" y="92"/>
                  </a:lnTo>
                  <a:lnTo>
                    <a:pt x="39" y="94"/>
                  </a:lnTo>
                  <a:lnTo>
                    <a:pt x="39" y="96"/>
                  </a:lnTo>
                  <a:lnTo>
                    <a:pt x="37" y="98"/>
                  </a:lnTo>
                  <a:lnTo>
                    <a:pt x="37" y="100"/>
                  </a:lnTo>
                  <a:lnTo>
                    <a:pt x="35" y="102"/>
                  </a:lnTo>
                  <a:lnTo>
                    <a:pt x="41" y="104"/>
                  </a:lnTo>
                  <a:lnTo>
                    <a:pt x="39" y="110"/>
                  </a:lnTo>
                  <a:lnTo>
                    <a:pt x="41" y="110"/>
                  </a:lnTo>
                  <a:lnTo>
                    <a:pt x="44" y="113"/>
                  </a:lnTo>
                  <a:lnTo>
                    <a:pt x="44" y="115"/>
                  </a:lnTo>
                  <a:lnTo>
                    <a:pt x="46" y="119"/>
                  </a:lnTo>
                  <a:lnTo>
                    <a:pt x="44" y="119"/>
                  </a:lnTo>
                  <a:lnTo>
                    <a:pt x="46" y="119"/>
                  </a:lnTo>
                  <a:lnTo>
                    <a:pt x="48" y="123"/>
                  </a:lnTo>
                  <a:lnTo>
                    <a:pt x="50" y="123"/>
                  </a:lnTo>
                  <a:lnTo>
                    <a:pt x="52" y="123"/>
                  </a:lnTo>
                  <a:lnTo>
                    <a:pt x="58" y="119"/>
                  </a:lnTo>
                  <a:lnTo>
                    <a:pt x="60" y="119"/>
                  </a:lnTo>
                  <a:lnTo>
                    <a:pt x="64" y="119"/>
                  </a:lnTo>
                  <a:lnTo>
                    <a:pt x="67" y="117"/>
                  </a:lnTo>
                  <a:lnTo>
                    <a:pt x="69" y="119"/>
                  </a:lnTo>
                  <a:lnTo>
                    <a:pt x="71" y="117"/>
                  </a:lnTo>
                  <a:lnTo>
                    <a:pt x="75" y="119"/>
                  </a:lnTo>
                  <a:lnTo>
                    <a:pt x="81" y="121"/>
                  </a:lnTo>
                  <a:lnTo>
                    <a:pt x="81" y="117"/>
                  </a:lnTo>
                  <a:lnTo>
                    <a:pt x="87" y="115"/>
                  </a:lnTo>
                  <a:lnTo>
                    <a:pt x="87" y="111"/>
                  </a:lnTo>
                  <a:lnTo>
                    <a:pt x="89" y="111"/>
                  </a:lnTo>
                  <a:lnTo>
                    <a:pt x="92" y="108"/>
                  </a:lnTo>
                  <a:lnTo>
                    <a:pt x="92" y="106"/>
                  </a:lnTo>
                  <a:lnTo>
                    <a:pt x="91" y="100"/>
                  </a:lnTo>
                  <a:lnTo>
                    <a:pt x="91" y="98"/>
                  </a:lnTo>
                  <a:lnTo>
                    <a:pt x="100" y="92"/>
                  </a:lnTo>
                  <a:lnTo>
                    <a:pt x="104" y="87"/>
                  </a:lnTo>
                  <a:lnTo>
                    <a:pt x="106" y="87"/>
                  </a:lnTo>
                  <a:lnTo>
                    <a:pt x="108" y="90"/>
                  </a:lnTo>
                  <a:lnTo>
                    <a:pt x="106" y="100"/>
                  </a:lnTo>
                  <a:lnTo>
                    <a:pt x="108" y="100"/>
                  </a:lnTo>
                  <a:lnTo>
                    <a:pt x="110" y="102"/>
                  </a:lnTo>
                  <a:lnTo>
                    <a:pt x="114" y="110"/>
                  </a:lnTo>
                  <a:lnTo>
                    <a:pt x="117" y="111"/>
                  </a:lnTo>
                  <a:lnTo>
                    <a:pt x="121" y="110"/>
                  </a:lnTo>
                  <a:lnTo>
                    <a:pt x="123" y="111"/>
                  </a:lnTo>
                  <a:lnTo>
                    <a:pt x="123" y="113"/>
                  </a:lnTo>
                  <a:lnTo>
                    <a:pt x="121" y="117"/>
                  </a:lnTo>
                  <a:lnTo>
                    <a:pt x="127" y="123"/>
                  </a:lnTo>
                  <a:lnTo>
                    <a:pt x="127" y="127"/>
                  </a:lnTo>
                  <a:lnTo>
                    <a:pt x="125" y="129"/>
                  </a:lnTo>
                  <a:lnTo>
                    <a:pt x="129" y="131"/>
                  </a:lnTo>
                  <a:lnTo>
                    <a:pt x="131" y="129"/>
                  </a:lnTo>
                  <a:lnTo>
                    <a:pt x="131" y="125"/>
                  </a:lnTo>
                  <a:lnTo>
                    <a:pt x="131" y="123"/>
                  </a:lnTo>
                  <a:lnTo>
                    <a:pt x="129" y="117"/>
                  </a:lnTo>
                  <a:lnTo>
                    <a:pt x="129" y="115"/>
                  </a:lnTo>
                  <a:lnTo>
                    <a:pt x="137" y="110"/>
                  </a:lnTo>
                  <a:lnTo>
                    <a:pt x="137" y="108"/>
                  </a:lnTo>
                  <a:lnTo>
                    <a:pt x="139" y="106"/>
                  </a:lnTo>
                  <a:lnTo>
                    <a:pt x="141" y="102"/>
                  </a:lnTo>
                  <a:lnTo>
                    <a:pt x="142" y="98"/>
                  </a:lnTo>
                  <a:lnTo>
                    <a:pt x="141" y="94"/>
                  </a:lnTo>
                  <a:lnTo>
                    <a:pt x="141" y="90"/>
                  </a:lnTo>
                  <a:lnTo>
                    <a:pt x="141" y="88"/>
                  </a:lnTo>
                  <a:lnTo>
                    <a:pt x="142" y="87"/>
                  </a:lnTo>
                  <a:lnTo>
                    <a:pt x="146" y="85"/>
                  </a:lnTo>
                  <a:lnTo>
                    <a:pt x="148" y="85"/>
                  </a:lnTo>
                  <a:lnTo>
                    <a:pt x="150" y="87"/>
                  </a:lnTo>
                  <a:lnTo>
                    <a:pt x="150" y="88"/>
                  </a:lnTo>
                  <a:lnTo>
                    <a:pt x="148" y="92"/>
                  </a:lnTo>
                  <a:lnTo>
                    <a:pt x="154" y="98"/>
                  </a:lnTo>
                  <a:lnTo>
                    <a:pt x="156" y="98"/>
                  </a:lnTo>
                  <a:lnTo>
                    <a:pt x="158" y="98"/>
                  </a:lnTo>
                  <a:lnTo>
                    <a:pt x="162" y="98"/>
                  </a:lnTo>
                  <a:lnTo>
                    <a:pt x="162" y="94"/>
                  </a:lnTo>
                  <a:lnTo>
                    <a:pt x="164" y="92"/>
                  </a:lnTo>
                  <a:lnTo>
                    <a:pt x="169" y="92"/>
                  </a:lnTo>
                  <a:lnTo>
                    <a:pt x="171" y="92"/>
                  </a:lnTo>
                  <a:lnTo>
                    <a:pt x="173" y="92"/>
                  </a:lnTo>
                  <a:lnTo>
                    <a:pt x="171" y="94"/>
                  </a:lnTo>
                  <a:lnTo>
                    <a:pt x="173" y="96"/>
                  </a:lnTo>
                  <a:lnTo>
                    <a:pt x="173" y="98"/>
                  </a:lnTo>
                  <a:lnTo>
                    <a:pt x="173" y="102"/>
                  </a:lnTo>
                  <a:lnTo>
                    <a:pt x="175" y="104"/>
                  </a:lnTo>
                  <a:lnTo>
                    <a:pt x="177" y="104"/>
                  </a:lnTo>
                  <a:lnTo>
                    <a:pt x="179" y="102"/>
                  </a:lnTo>
                  <a:lnTo>
                    <a:pt x="179" y="98"/>
                  </a:lnTo>
                  <a:lnTo>
                    <a:pt x="177" y="96"/>
                  </a:lnTo>
                  <a:lnTo>
                    <a:pt x="179" y="92"/>
                  </a:lnTo>
                  <a:lnTo>
                    <a:pt x="179" y="90"/>
                  </a:lnTo>
                  <a:lnTo>
                    <a:pt x="173" y="88"/>
                  </a:lnTo>
                  <a:lnTo>
                    <a:pt x="175" y="85"/>
                  </a:lnTo>
                  <a:lnTo>
                    <a:pt x="175" y="83"/>
                  </a:lnTo>
                  <a:lnTo>
                    <a:pt x="175" y="81"/>
                  </a:lnTo>
                  <a:lnTo>
                    <a:pt x="177" y="79"/>
                  </a:lnTo>
                  <a:lnTo>
                    <a:pt x="181" y="77"/>
                  </a:lnTo>
                  <a:lnTo>
                    <a:pt x="183" y="79"/>
                  </a:lnTo>
                  <a:lnTo>
                    <a:pt x="185" y="83"/>
                  </a:lnTo>
                  <a:lnTo>
                    <a:pt x="189" y="83"/>
                  </a:lnTo>
                  <a:lnTo>
                    <a:pt x="192" y="83"/>
                  </a:lnTo>
                  <a:lnTo>
                    <a:pt x="192" y="79"/>
                  </a:lnTo>
                  <a:lnTo>
                    <a:pt x="190" y="77"/>
                  </a:lnTo>
                  <a:lnTo>
                    <a:pt x="192" y="71"/>
                  </a:lnTo>
                  <a:lnTo>
                    <a:pt x="190" y="67"/>
                  </a:lnTo>
                  <a:lnTo>
                    <a:pt x="192" y="65"/>
                  </a:lnTo>
                  <a:lnTo>
                    <a:pt x="192" y="63"/>
                  </a:lnTo>
                  <a:lnTo>
                    <a:pt x="190" y="62"/>
                  </a:lnTo>
                  <a:lnTo>
                    <a:pt x="192" y="62"/>
                  </a:lnTo>
                  <a:lnTo>
                    <a:pt x="192" y="60"/>
                  </a:lnTo>
                  <a:lnTo>
                    <a:pt x="192" y="58"/>
                  </a:lnTo>
                  <a:lnTo>
                    <a:pt x="190" y="58"/>
                  </a:lnTo>
                  <a:lnTo>
                    <a:pt x="190" y="56"/>
                  </a:lnTo>
                  <a:lnTo>
                    <a:pt x="189" y="56"/>
                  </a:lnTo>
                  <a:lnTo>
                    <a:pt x="189" y="54"/>
                  </a:lnTo>
                  <a:lnTo>
                    <a:pt x="187" y="56"/>
                  </a:lnTo>
                  <a:lnTo>
                    <a:pt x="187" y="58"/>
                  </a:lnTo>
                  <a:lnTo>
                    <a:pt x="185" y="58"/>
                  </a:lnTo>
                  <a:lnTo>
                    <a:pt x="185" y="60"/>
                  </a:lnTo>
                  <a:lnTo>
                    <a:pt x="183" y="60"/>
                  </a:lnTo>
                  <a:lnTo>
                    <a:pt x="181" y="60"/>
                  </a:lnTo>
                  <a:lnTo>
                    <a:pt x="181" y="62"/>
                  </a:lnTo>
                  <a:lnTo>
                    <a:pt x="181" y="63"/>
                  </a:lnTo>
                  <a:lnTo>
                    <a:pt x="179" y="63"/>
                  </a:lnTo>
                  <a:lnTo>
                    <a:pt x="177" y="63"/>
                  </a:lnTo>
                  <a:lnTo>
                    <a:pt x="177" y="65"/>
                  </a:lnTo>
                  <a:lnTo>
                    <a:pt x="175" y="63"/>
                  </a:lnTo>
                  <a:lnTo>
                    <a:pt x="173" y="63"/>
                  </a:lnTo>
                  <a:lnTo>
                    <a:pt x="173" y="62"/>
                  </a:lnTo>
                  <a:lnTo>
                    <a:pt x="175" y="62"/>
                  </a:lnTo>
                  <a:lnTo>
                    <a:pt x="173" y="62"/>
                  </a:lnTo>
                  <a:lnTo>
                    <a:pt x="173" y="60"/>
                  </a:lnTo>
                  <a:lnTo>
                    <a:pt x="171" y="60"/>
                  </a:lnTo>
                  <a:lnTo>
                    <a:pt x="169" y="60"/>
                  </a:lnTo>
                  <a:lnTo>
                    <a:pt x="167" y="58"/>
                  </a:lnTo>
                  <a:lnTo>
                    <a:pt x="167" y="56"/>
                  </a:lnTo>
                  <a:lnTo>
                    <a:pt x="167" y="54"/>
                  </a:lnTo>
                  <a:lnTo>
                    <a:pt x="167" y="52"/>
                  </a:lnTo>
                  <a:lnTo>
                    <a:pt x="165" y="52"/>
                  </a:lnTo>
                  <a:lnTo>
                    <a:pt x="165" y="54"/>
                  </a:lnTo>
                  <a:lnTo>
                    <a:pt x="165" y="52"/>
                  </a:lnTo>
                  <a:lnTo>
                    <a:pt x="164" y="52"/>
                  </a:lnTo>
                  <a:lnTo>
                    <a:pt x="162" y="52"/>
                  </a:lnTo>
                  <a:lnTo>
                    <a:pt x="162" y="50"/>
                  </a:lnTo>
                  <a:lnTo>
                    <a:pt x="160" y="50"/>
                  </a:lnTo>
                  <a:lnTo>
                    <a:pt x="158" y="50"/>
                  </a:lnTo>
                  <a:lnTo>
                    <a:pt x="156" y="50"/>
                  </a:lnTo>
                  <a:lnTo>
                    <a:pt x="154" y="50"/>
                  </a:lnTo>
                  <a:lnTo>
                    <a:pt x="152" y="50"/>
                  </a:lnTo>
                  <a:lnTo>
                    <a:pt x="150" y="50"/>
                  </a:lnTo>
                  <a:lnTo>
                    <a:pt x="150" y="48"/>
                  </a:lnTo>
                  <a:lnTo>
                    <a:pt x="152" y="48"/>
                  </a:lnTo>
                  <a:lnTo>
                    <a:pt x="152" y="46"/>
                  </a:lnTo>
                  <a:lnTo>
                    <a:pt x="152" y="44"/>
                  </a:lnTo>
                  <a:lnTo>
                    <a:pt x="152" y="42"/>
                  </a:lnTo>
                  <a:lnTo>
                    <a:pt x="152" y="40"/>
                  </a:lnTo>
                  <a:lnTo>
                    <a:pt x="152" y="38"/>
                  </a:lnTo>
                  <a:lnTo>
                    <a:pt x="154" y="37"/>
                  </a:lnTo>
                  <a:lnTo>
                    <a:pt x="154" y="35"/>
                  </a:lnTo>
                  <a:lnTo>
                    <a:pt x="156" y="33"/>
                  </a:lnTo>
                  <a:lnTo>
                    <a:pt x="156" y="31"/>
                  </a:lnTo>
                  <a:lnTo>
                    <a:pt x="158" y="29"/>
                  </a:lnTo>
                  <a:lnTo>
                    <a:pt x="160" y="29"/>
                  </a:lnTo>
                  <a:lnTo>
                    <a:pt x="160" y="27"/>
                  </a:lnTo>
                  <a:lnTo>
                    <a:pt x="158" y="27"/>
                  </a:lnTo>
                  <a:lnTo>
                    <a:pt x="158" y="25"/>
                  </a:lnTo>
                  <a:lnTo>
                    <a:pt x="160" y="25"/>
                  </a:lnTo>
                  <a:lnTo>
                    <a:pt x="158" y="23"/>
                  </a:lnTo>
                  <a:lnTo>
                    <a:pt x="156" y="23"/>
                  </a:lnTo>
                  <a:lnTo>
                    <a:pt x="156" y="21"/>
                  </a:lnTo>
                  <a:lnTo>
                    <a:pt x="154" y="21"/>
                  </a:lnTo>
                  <a:lnTo>
                    <a:pt x="154" y="23"/>
                  </a:lnTo>
                  <a:lnTo>
                    <a:pt x="152" y="23"/>
                  </a:lnTo>
                  <a:lnTo>
                    <a:pt x="152" y="21"/>
                  </a:lnTo>
                  <a:lnTo>
                    <a:pt x="150" y="21"/>
                  </a:lnTo>
                  <a:lnTo>
                    <a:pt x="150" y="19"/>
                  </a:lnTo>
                  <a:lnTo>
                    <a:pt x="148" y="19"/>
                  </a:lnTo>
                  <a:lnTo>
                    <a:pt x="148" y="17"/>
                  </a:lnTo>
                  <a:lnTo>
                    <a:pt x="148" y="15"/>
                  </a:lnTo>
                  <a:lnTo>
                    <a:pt x="146" y="15"/>
                  </a:lnTo>
                  <a:lnTo>
                    <a:pt x="146" y="14"/>
                  </a:lnTo>
                  <a:lnTo>
                    <a:pt x="144" y="14"/>
                  </a:lnTo>
                  <a:lnTo>
                    <a:pt x="142" y="14"/>
                  </a:lnTo>
                  <a:lnTo>
                    <a:pt x="142" y="12"/>
                  </a:lnTo>
                  <a:lnTo>
                    <a:pt x="141" y="12"/>
                  </a:lnTo>
                  <a:lnTo>
                    <a:pt x="141" y="10"/>
                  </a:lnTo>
                  <a:lnTo>
                    <a:pt x="137" y="8"/>
                  </a:lnTo>
                  <a:lnTo>
                    <a:pt x="133" y="6"/>
                  </a:lnTo>
                  <a:lnTo>
                    <a:pt x="131" y="8"/>
                  </a:lnTo>
                  <a:lnTo>
                    <a:pt x="129" y="10"/>
                  </a:lnTo>
                  <a:lnTo>
                    <a:pt x="129" y="12"/>
                  </a:lnTo>
                  <a:lnTo>
                    <a:pt x="127" y="10"/>
                  </a:lnTo>
                  <a:lnTo>
                    <a:pt x="127" y="8"/>
                  </a:lnTo>
                  <a:lnTo>
                    <a:pt x="125" y="8"/>
                  </a:lnTo>
                  <a:lnTo>
                    <a:pt x="125" y="10"/>
                  </a:lnTo>
                  <a:lnTo>
                    <a:pt x="121" y="8"/>
                  </a:lnTo>
                  <a:lnTo>
                    <a:pt x="121" y="6"/>
                  </a:lnTo>
                  <a:lnTo>
                    <a:pt x="123" y="4"/>
                  </a:lnTo>
                  <a:lnTo>
                    <a:pt x="119" y="2"/>
                  </a:lnTo>
                  <a:lnTo>
                    <a:pt x="117" y="2"/>
                  </a:lnTo>
                  <a:lnTo>
                    <a:pt x="117" y="0"/>
                  </a:lnTo>
                  <a:lnTo>
                    <a:pt x="116" y="0"/>
                  </a:lnTo>
                  <a:lnTo>
                    <a:pt x="116" y="2"/>
                  </a:lnTo>
                  <a:lnTo>
                    <a:pt x="114" y="2"/>
                  </a:lnTo>
                  <a:lnTo>
                    <a:pt x="112" y="2"/>
                  </a:lnTo>
                  <a:lnTo>
                    <a:pt x="112" y="4"/>
                  </a:lnTo>
                  <a:lnTo>
                    <a:pt x="112" y="6"/>
                  </a:lnTo>
                  <a:lnTo>
                    <a:pt x="110" y="8"/>
                  </a:lnTo>
                  <a:lnTo>
                    <a:pt x="112" y="10"/>
                  </a:lnTo>
                  <a:lnTo>
                    <a:pt x="114" y="10"/>
                  </a:lnTo>
                  <a:lnTo>
                    <a:pt x="117" y="10"/>
                  </a:lnTo>
                  <a:lnTo>
                    <a:pt x="117" y="12"/>
                  </a:lnTo>
                  <a:lnTo>
                    <a:pt x="117" y="14"/>
                  </a:lnTo>
                  <a:lnTo>
                    <a:pt x="116" y="14"/>
                  </a:lnTo>
                  <a:lnTo>
                    <a:pt x="114" y="12"/>
                  </a:lnTo>
                  <a:lnTo>
                    <a:pt x="112" y="14"/>
                  </a:lnTo>
                  <a:lnTo>
                    <a:pt x="112" y="15"/>
                  </a:lnTo>
                  <a:lnTo>
                    <a:pt x="108" y="15"/>
                  </a:lnTo>
                  <a:lnTo>
                    <a:pt x="106" y="15"/>
                  </a:lnTo>
                  <a:lnTo>
                    <a:pt x="104" y="15"/>
                  </a:lnTo>
                  <a:lnTo>
                    <a:pt x="104" y="14"/>
                  </a:lnTo>
                  <a:lnTo>
                    <a:pt x="100" y="12"/>
                  </a:lnTo>
                  <a:lnTo>
                    <a:pt x="94" y="15"/>
                  </a:lnTo>
                  <a:lnTo>
                    <a:pt x="92" y="15"/>
                  </a:lnTo>
                  <a:lnTo>
                    <a:pt x="89" y="15"/>
                  </a:lnTo>
                  <a:lnTo>
                    <a:pt x="87" y="15"/>
                  </a:lnTo>
                  <a:lnTo>
                    <a:pt x="87" y="14"/>
                  </a:lnTo>
                  <a:lnTo>
                    <a:pt x="83" y="12"/>
                  </a:lnTo>
                  <a:lnTo>
                    <a:pt x="83" y="14"/>
                  </a:lnTo>
                  <a:lnTo>
                    <a:pt x="81" y="14"/>
                  </a:lnTo>
                  <a:lnTo>
                    <a:pt x="79" y="14"/>
                  </a:lnTo>
                  <a:lnTo>
                    <a:pt x="79" y="15"/>
                  </a:lnTo>
                  <a:lnTo>
                    <a:pt x="77" y="14"/>
                  </a:lnTo>
                  <a:lnTo>
                    <a:pt x="75" y="12"/>
                  </a:lnTo>
                  <a:lnTo>
                    <a:pt x="73" y="14"/>
                  </a:lnTo>
                  <a:lnTo>
                    <a:pt x="71" y="15"/>
                  </a:lnTo>
                  <a:lnTo>
                    <a:pt x="71" y="17"/>
                  </a:lnTo>
                  <a:lnTo>
                    <a:pt x="69" y="17"/>
                  </a:lnTo>
                  <a:lnTo>
                    <a:pt x="67" y="19"/>
                  </a:lnTo>
                  <a:lnTo>
                    <a:pt x="67" y="21"/>
                  </a:lnTo>
                  <a:lnTo>
                    <a:pt x="66" y="23"/>
                  </a:lnTo>
                  <a:lnTo>
                    <a:pt x="64" y="21"/>
                  </a:lnTo>
                  <a:lnTo>
                    <a:pt x="60" y="21"/>
                  </a:lnTo>
                  <a:lnTo>
                    <a:pt x="58" y="19"/>
                  </a:lnTo>
                  <a:lnTo>
                    <a:pt x="58" y="17"/>
                  </a:lnTo>
                  <a:lnTo>
                    <a:pt x="56" y="17"/>
                  </a:lnTo>
                  <a:lnTo>
                    <a:pt x="52" y="17"/>
                  </a:lnTo>
                  <a:lnTo>
                    <a:pt x="48" y="17"/>
                  </a:lnTo>
                  <a:lnTo>
                    <a:pt x="48" y="19"/>
                  </a:lnTo>
                  <a:lnTo>
                    <a:pt x="44" y="25"/>
                  </a:lnTo>
                  <a:lnTo>
                    <a:pt x="46" y="25"/>
                  </a:lnTo>
                  <a:lnTo>
                    <a:pt x="50" y="23"/>
                  </a:lnTo>
                  <a:lnTo>
                    <a:pt x="52" y="25"/>
                  </a:lnTo>
                  <a:lnTo>
                    <a:pt x="50" y="27"/>
                  </a:lnTo>
                  <a:lnTo>
                    <a:pt x="48" y="29"/>
                  </a:lnTo>
                  <a:lnTo>
                    <a:pt x="46" y="29"/>
                  </a:lnTo>
                  <a:lnTo>
                    <a:pt x="46" y="31"/>
                  </a:lnTo>
                  <a:lnTo>
                    <a:pt x="46" y="33"/>
                  </a:lnTo>
                  <a:lnTo>
                    <a:pt x="44" y="35"/>
                  </a:lnTo>
                  <a:lnTo>
                    <a:pt x="42" y="37"/>
                  </a:lnTo>
                  <a:lnTo>
                    <a:pt x="42" y="38"/>
                  </a:lnTo>
                  <a:lnTo>
                    <a:pt x="39" y="40"/>
                  </a:lnTo>
                  <a:lnTo>
                    <a:pt x="37" y="42"/>
                  </a:lnTo>
                  <a:lnTo>
                    <a:pt x="35" y="44"/>
                  </a:lnTo>
                  <a:lnTo>
                    <a:pt x="31" y="48"/>
                  </a:lnTo>
                  <a:lnTo>
                    <a:pt x="25" y="50"/>
                  </a:lnTo>
                  <a:lnTo>
                    <a:pt x="23" y="52"/>
                  </a:lnTo>
                  <a:lnTo>
                    <a:pt x="25" y="56"/>
                  </a:lnTo>
                  <a:lnTo>
                    <a:pt x="23" y="58"/>
                  </a:lnTo>
                  <a:lnTo>
                    <a:pt x="23" y="62"/>
                  </a:lnTo>
                  <a:lnTo>
                    <a:pt x="19" y="65"/>
                  </a:lnTo>
                  <a:lnTo>
                    <a:pt x="10" y="73"/>
                  </a:lnTo>
                  <a:lnTo>
                    <a:pt x="10" y="77"/>
                  </a:lnTo>
                  <a:lnTo>
                    <a:pt x="8" y="81"/>
                  </a:lnTo>
                  <a:lnTo>
                    <a:pt x="8" y="83"/>
                  </a:lnTo>
                  <a:lnTo>
                    <a:pt x="10" y="87"/>
                  </a:lnTo>
                  <a:lnTo>
                    <a:pt x="8" y="90"/>
                  </a:lnTo>
                  <a:lnTo>
                    <a:pt x="8" y="92"/>
                  </a:lnTo>
                  <a:lnTo>
                    <a:pt x="8" y="96"/>
                  </a:lnTo>
                  <a:lnTo>
                    <a:pt x="6" y="96"/>
                  </a:lnTo>
                  <a:lnTo>
                    <a:pt x="2" y="96"/>
                  </a:lnTo>
                  <a:lnTo>
                    <a:pt x="0" y="100"/>
                  </a:lnTo>
                  <a:lnTo>
                    <a:pt x="4" y="102"/>
                  </a:lnTo>
                  <a:lnTo>
                    <a:pt x="6" y="100"/>
                  </a:lnTo>
                  <a:lnTo>
                    <a:pt x="8" y="100"/>
                  </a:lnTo>
                  <a:lnTo>
                    <a:pt x="10" y="100"/>
                  </a:lnTo>
                  <a:lnTo>
                    <a:pt x="14" y="94"/>
                  </a:lnTo>
                  <a:lnTo>
                    <a:pt x="12" y="9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38" name="Rectangle 326"/>
            <p:cNvSpPr>
              <a:spLocks noChangeArrowheads="1"/>
            </p:cNvSpPr>
            <p:nvPr/>
          </p:nvSpPr>
          <p:spPr bwMode="auto">
            <a:xfrm>
              <a:off x="2398" y="2713"/>
              <a:ext cx="2" cy="2"/>
            </a:xfrm>
            <a:prstGeom prst="rect">
              <a:avLst/>
            </a:prstGeom>
            <a:grpFill/>
            <a:ln w="3175">
              <a:solidFill>
                <a:schemeClr val="bg2"/>
              </a:solidFill>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539" name="Freeform 327"/>
            <p:cNvSpPr>
              <a:spLocks/>
            </p:cNvSpPr>
            <p:nvPr/>
          </p:nvSpPr>
          <p:spPr bwMode="auto">
            <a:xfrm>
              <a:off x="1589" y="2870"/>
              <a:ext cx="554" cy="511"/>
            </a:xfrm>
            <a:custGeom>
              <a:avLst/>
              <a:gdLst>
                <a:gd name="T0" fmla="*/ 23 w 554"/>
                <a:gd name="T1" fmla="*/ 339 h 511"/>
                <a:gd name="T2" fmla="*/ 48 w 554"/>
                <a:gd name="T3" fmla="*/ 302 h 511"/>
                <a:gd name="T4" fmla="*/ 35 w 554"/>
                <a:gd name="T5" fmla="*/ 262 h 511"/>
                <a:gd name="T6" fmla="*/ 66 w 554"/>
                <a:gd name="T7" fmla="*/ 252 h 511"/>
                <a:gd name="T8" fmla="*/ 71 w 554"/>
                <a:gd name="T9" fmla="*/ 231 h 511"/>
                <a:gd name="T10" fmla="*/ 81 w 554"/>
                <a:gd name="T11" fmla="*/ 191 h 511"/>
                <a:gd name="T12" fmla="*/ 102 w 554"/>
                <a:gd name="T13" fmla="*/ 169 h 511"/>
                <a:gd name="T14" fmla="*/ 110 w 554"/>
                <a:gd name="T15" fmla="*/ 144 h 511"/>
                <a:gd name="T16" fmla="*/ 95 w 554"/>
                <a:gd name="T17" fmla="*/ 123 h 511"/>
                <a:gd name="T18" fmla="*/ 68 w 554"/>
                <a:gd name="T19" fmla="*/ 123 h 511"/>
                <a:gd name="T20" fmla="*/ 48 w 554"/>
                <a:gd name="T21" fmla="*/ 116 h 511"/>
                <a:gd name="T22" fmla="*/ 35 w 554"/>
                <a:gd name="T23" fmla="*/ 98 h 511"/>
                <a:gd name="T24" fmla="*/ 12 w 554"/>
                <a:gd name="T25" fmla="*/ 91 h 511"/>
                <a:gd name="T26" fmla="*/ 14 w 554"/>
                <a:gd name="T27" fmla="*/ 81 h 511"/>
                <a:gd name="T28" fmla="*/ 16 w 554"/>
                <a:gd name="T29" fmla="*/ 71 h 511"/>
                <a:gd name="T30" fmla="*/ 14 w 554"/>
                <a:gd name="T31" fmla="*/ 64 h 511"/>
                <a:gd name="T32" fmla="*/ 14 w 554"/>
                <a:gd name="T33" fmla="*/ 50 h 511"/>
                <a:gd name="T34" fmla="*/ 6 w 554"/>
                <a:gd name="T35" fmla="*/ 39 h 511"/>
                <a:gd name="T36" fmla="*/ 12 w 554"/>
                <a:gd name="T37" fmla="*/ 27 h 511"/>
                <a:gd name="T38" fmla="*/ 27 w 554"/>
                <a:gd name="T39" fmla="*/ 18 h 511"/>
                <a:gd name="T40" fmla="*/ 54 w 554"/>
                <a:gd name="T41" fmla="*/ 20 h 511"/>
                <a:gd name="T42" fmla="*/ 58 w 554"/>
                <a:gd name="T43" fmla="*/ 14 h 511"/>
                <a:gd name="T44" fmla="*/ 70 w 554"/>
                <a:gd name="T45" fmla="*/ 6 h 511"/>
                <a:gd name="T46" fmla="*/ 89 w 554"/>
                <a:gd name="T47" fmla="*/ 8 h 511"/>
                <a:gd name="T48" fmla="*/ 125 w 554"/>
                <a:gd name="T49" fmla="*/ 23 h 511"/>
                <a:gd name="T50" fmla="*/ 160 w 554"/>
                <a:gd name="T51" fmla="*/ 31 h 511"/>
                <a:gd name="T52" fmla="*/ 193 w 554"/>
                <a:gd name="T53" fmla="*/ 45 h 511"/>
                <a:gd name="T54" fmla="*/ 231 w 554"/>
                <a:gd name="T55" fmla="*/ 58 h 511"/>
                <a:gd name="T56" fmla="*/ 252 w 554"/>
                <a:gd name="T57" fmla="*/ 56 h 511"/>
                <a:gd name="T58" fmla="*/ 271 w 554"/>
                <a:gd name="T59" fmla="*/ 64 h 511"/>
                <a:gd name="T60" fmla="*/ 294 w 554"/>
                <a:gd name="T61" fmla="*/ 66 h 511"/>
                <a:gd name="T62" fmla="*/ 327 w 554"/>
                <a:gd name="T63" fmla="*/ 79 h 511"/>
                <a:gd name="T64" fmla="*/ 354 w 554"/>
                <a:gd name="T65" fmla="*/ 89 h 511"/>
                <a:gd name="T66" fmla="*/ 369 w 554"/>
                <a:gd name="T67" fmla="*/ 110 h 511"/>
                <a:gd name="T68" fmla="*/ 402 w 554"/>
                <a:gd name="T69" fmla="*/ 125 h 511"/>
                <a:gd name="T70" fmla="*/ 438 w 554"/>
                <a:gd name="T71" fmla="*/ 131 h 511"/>
                <a:gd name="T72" fmla="*/ 469 w 554"/>
                <a:gd name="T73" fmla="*/ 143 h 511"/>
                <a:gd name="T74" fmla="*/ 483 w 554"/>
                <a:gd name="T75" fmla="*/ 156 h 511"/>
                <a:gd name="T76" fmla="*/ 523 w 554"/>
                <a:gd name="T77" fmla="*/ 169 h 511"/>
                <a:gd name="T78" fmla="*/ 552 w 554"/>
                <a:gd name="T79" fmla="*/ 181 h 511"/>
                <a:gd name="T80" fmla="*/ 540 w 554"/>
                <a:gd name="T81" fmla="*/ 208 h 511"/>
                <a:gd name="T82" fmla="*/ 494 w 554"/>
                <a:gd name="T83" fmla="*/ 237 h 511"/>
                <a:gd name="T84" fmla="*/ 442 w 554"/>
                <a:gd name="T85" fmla="*/ 244 h 511"/>
                <a:gd name="T86" fmla="*/ 431 w 554"/>
                <a:gd name="T87" fmla="*/ 266 h 511"/>
                <a:gd name="T88" fmla="*/ 421 w 554"/>
                <a:gd name="T89" fmla="*/ 269 h 511"/>
                <a:gd name="T90" fmla="*/ 385 w 554"/>
                <a:gd name="T91" fmla="*/ 308 h 511"/>
                <a:gd name="T92" fmla="*/ 375 w 554"/>
                <a:gd name="T93" fmla="*/ 377 h 511"/>
                <a:gd name="T94" fmla="*/ 371 w 554"/>
                <a:gd name="T95" fmla="*/ 394 h 511"/>
                <a:gd name="T96" fmla="*/ 346 w 554"/>
                <a:gd name="T97" fmla="*/ 410 h 511"/>
                <a:gd name="T98" fmla="*/ 327 w 554"/>
                <a:gd name="T99" fmla="*/ 440 h 511"/>
                <a:gd name="T100" fmla="*/ 319 w 554"/>
                <a:gd name="T101" fmla="*/ 456 h 511"/>
                <a:gd name="T102" fmla="*/ 292 w 554"/>
                <a:gd name="T103" fmla="*/ 454 h 511"/>
                <a:gd name="T104" fmla="*/ 266 w 554"/>
                <a:gd name="T105" fmla="*/ 487 h 511"/>
                <a:gd name="T106" fmla="*/ 242 w 554"/>
                <a:gd name="T107" fmla="*/ 488 h 511"/>
                <a:gd name="T108" fmla="*/ 212 w 554"/>
                <a:gd name="T109" fmla="*/ 488 h 511"/>
                <a:gd name="T110" fmla="*/ 177 w 554"/>
                <a:gd name="T111" fmla="*/ 483 h 511"/>
                <a:gd name="T112" fmla="*/ 135 w 554"/>
                <a:gd name="T113" fmla="*/ 485 h 511"/>
                <a:gd name="T114" fmla="*/ 93 w 554"/>
                <a:gd name="T115" fmla="*/ 496 h 511"/>
                <a:gd name="T116" fmla="*/ 58 w 554"/>
                <a:gd name="T117" fmla="*/ 498 h 511"/>
                <a:gd name="T118" fmla="*/ 48 w 554"/>
                <a:gd name="T119" fmla="*/ 471 h 511"/>
                <a:gd name="T120" fmla="*/ 45 w 554"/>
                <a:gd name="T121" fmla="*/ 448 h 511"/>
                <a:gd name="T122" fmla="*/ 0 w 554"/>
                <a:gd name="T123" fmla="*/ 414 h 511"/>
                <a:gd name="T124" fmla="*/ 12 w 554"/>
                <a:gd name="T125" fmla="*/ 379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4" h="511">
                  <a:moveTo>
                    <a:pt x="39" y="360"/>
                  </a:moveTo>
                  <a:lnTo>
                    <a:pt x="37" y="358"/>
                  </a:lnTo>
                  <a:lnTo>
                    <a:pt x="35" y="358"/>
                  </a:lnTo>
                  <a:lnTo>
                    <a:pt x="33" y="360"/>
                  </a:lnTo>
                  <a:lnTo>
                    <a:pt x="31" y="360"/>
                  </a:lnTo>
                  <a:lnTo>
                    <a:pt x="29" y="360"/>
                  </a:lnTo>
                  <a:lnTo>
                    <a:pt x="27" y="356"/>
                  </a:lnTo>
                  <a:lnTo>
                    <a:pt x="29" y="354"/>
                  </a:lnTo>
                  <a:lnTo>
                    <a:pt x="27" y="352"/>
                  </a:lnTo>
                  <a:lnTo>
                    <a:pt x="27" y="348"/>
                  </a:lnTo>
                  <a:lnTo>
                    <a:pt x="25" y="344"/>
                  </a:lnTo>
                  <a:lnTo>
                    <a:pt x="25" y="342"/>
                  </a:lnTo>
                  <a:lnTo>
                    <a:pt x="23" y="340"/>
                  </a:lnTo>
                  <a:lnTo>
                    <a:pt x="23" y="339"/>
                  </a:lnTo>
                  <a:lnTo>
                    <a:pt x="25" y="339"/>
                  </a:lnTo>
                  <a:lnTo>
                    <a:pt x="23" y="339"/>
                  </a:lnTo>
                  <a:lnTo>
                    <a:pt x="25" y="335"/>
                  </a:lnTo>
                  <a:lnTo>
                    <a:pt x="25" y="333"/>
                  </a:lnTo>
                  <a:lnTo>
                    <a:pt x="27" y="331"/>
                  </a:lnTo>
                  <a:lnTo>
                    <a:pt x="29" y="329"/>
                  </a:lnTo>
                  <a:lnTo>
                    <a:pt x="27" y="327"/>
                  </a:lnTo>
                  <a:lnTo>
                    <a:pt x="29" y="323"/>
                  </a:lnTo>
                  <a:lnTo>
                    <a:pt x="35" y="319"/>
                  </a:lnTo>
                  <a:lnTo>
                    <a:pt x="37" y="319"/>
                  </a:lnTo>
                  <a:lnTo>
                    <a:pt x="39" y="319"/>
                  </a:lnTo>
                  <a:lnTo>
                    <a:pt x="41" y="317"/>
                  </a:lnTo>
                  <a:lnTo>
                    <a:pt x="43" y="316"/>
                  </a:lnTo>
                  <a:lnTo>
                    <a:pt x="43" y="314"/>
                  </a:lnTo>
                  <a:lnTo>
                    <a:pt x="48" y="310"/>
                  </a:lnTo>
                  <a:lnTo>
                    <a:pt x="48" y="308"/>
                  </a:lnTo>
                  <a:lnTo>
                    <a:pt x="48" y="304"/>
                  </a:lnTo>
                  <a:lnTo>
                    <a:pt x="48" y="302"/>
                  </a:lnTo>
                  <a:lnTo>
                    <a:pt x="46" y="300"/>
                  </a:lnTo>
                  <a:lnTo>
                    <a:pt x="43" y="300"/>
                  </a:lnTo>
                  <a:lnTo>
                    <a:pt x="41" y="300"/>
                  </a:lnTo>
                  <a:lnTo>
                    <a:pt x="43" y="296"/>
                  </a:lnTo>
                  <a:lnTo>
                    <a:pt x="41" y="296"/>
                  </a:lnTo>
                  <a:lnTo>
                    <a:pt x="39" y="294"/>
                  </a:lnTo>
                  <a:lnTo>
                    <a:pt x="39" y="289"/>
                  </a:lnTo>
                  <a:lnTo>
                    <a:pt x="37" y="283"/>
                  </a:lnTo>
                  <a:lnTo>
                    <a:pt x="39" y="275"/>
                  </a:lnTo>
                  <a:lnTo>
                    <a:pt x="35" y="273"/>
                  </a:lnTo>
                  <a:lnTo>
                    <a:pt x="35" y="271"/>
                  </a:lnTo>
                  <a:lnTo>
                    <a:pt x="33" y="269"/>
                  </a:lnTo>
                  <a:lnTo>
                    <a:pt x="33" y="267"/>
                  </a:lnTo>
                  <a:lnTo>
                    <a:pt x="31" y="266"/>
                  </a:lnTo>
                  <a:lnTo>
                    <a:pt x="31" y="262"/>
                  </a:lnTo>
                  <a:lnTo>
                    <a:pt x="35" y="262"/>
                  </a:lnTo>
                  <a:lnTo>
                    <a:pt x="35" y="264"/>
                  </a:lnTo>
                  <a:lnTo>
                    <a:pt x="41" y="266"/>
                  </a:lnTo>
                  <a:lnTo>
                    <a:pt x="43" y="266"/>
                  </a:lnTo>
                  <a:lnTo>
                    <a:pt x="45" y="266"/>
                  </a:lnTo>
                  <a:lnTo>
                    <a:pt x="48" y="266"/>
                  </a:lnTo>
                  <a:lnTo>
                    <a:pt x="50" y="266"/>
                  </a:lnTo>
                  <a:lnTo>
                    <a:pt x="52" y="267"/>
                  </a:lnTo>
                  <a:lnTo>
                    <a:pt x="56" y="267"/>
                  </a:lnTo>
                  <a:lnTo>
                    <a:pt x="58" y="264"/>
                  </a:lnTo>
                  <a:lnTo>
                    <a:pt x="58" y="262"/>
                  </a:lnTo>
                  <a:lnTo>
                    <a:pt x="60" y="262"/>
                  </a:lnTo>
                  <a:lnTo>
                    <a:pt x="60" y="258"/>
                  </a:lnTo>
                  <a:lnTo>
                    <a:pt x="62" y="258"/>
                  </a:lnTo>
                  <a:lnTo>
                    <a:pt x="62" y="256"/>
                  </a:lnTo>
                  <a:lnTo>
                    <a:pt x="64" y="256"/>
                  </a:lnTo>
                  <a:lnTo>
                    <a:pt x="66" y="252"/>
                  </a:lnTo>
                  <a:lnTo>
                    <a:pt x="66" y="250"/>
                  </a:lnTo>
                  <a:lnTo>
                    <a:pt x="68" y="248"/>
                  </a:lnTo>
                  <a:lnTo>
                    <a:pt x="68" y="246"/>
                  </a:lnTo>
                  <a:lnTo>
                    <a:pt x="68" y="244"/>
                  </a:lnTo>
                  <a:lnTo>
                    <a:pt x="66" y="242"/>
                  </a:lnTo>
                  <a:lnTo>
                    <a:pt x="66" y="241"/>
                  </a:lnTo>
                  <a:lnTo>
                    <a:pt x="64" y="241"/>
                  </a:lnTo>
                  <a:lnTo>
                    <a:pt x="62" y="239"/>
                  </a:lnTo>
                  <a:lnTo>
                    <a:pt x="64" y="235"/>
                  </a:lnTo>
                  <a:lnTo>
                    <a:pt x="62" y="233"/>
                  </a:lnTo>
                  <a:lnTo>
                    <a:pt x="64" y="233"/>
                  </a:lnTo>
                  <a:lnTo>
                    <a:pt x="64" y="231"/>
                  </a:lnTo>
                  <a:lnTo>
                    <a:pt x="66" y="231"/>
                  </a:lnTo>
                  <a:lnTo>
                    <a:pt x="68" y="229"/>
                  </a:lnTo>
                  <a:lnTo>
                    <a:pt x="70" y="231"/>
                  </a:lnTo>
                  <a:lnTo>
                    <a:pt x="71" y="231"/>
                  </a:lnTo>
                  <a:lnTo>
                    <a:pt x="71" y="227"/>
                  </a:lnTo>
                  <a:lnTo>
                    <a:pt x="75" y="225"/>
                  </a:lnTo>
                  <a:lnTo>
                    <a:pt x="75" y="223"/>
                  </a:lnTo>
                  <a:lnTo>
                    <a:pt x="75" y="221"/>
                  </a:lnTo>
                  <a:lnTo>
                    <a:pt x="75" y="218"/>
                  </a:lnTo>
                  <a:lnTo>
                    <a:pt x="75" y="216"/>
                  </a:lnTo>
                  <a:lnTo>
                    <a:pt x="77" y="214"/>
                  </a:lnTo>
                  <a:lnTo>
                    <a:pt x="77" y="212"/>
                  </a:lnTo>
                  <a:lnTo>
                    <a:pt x="77" y="210"/>
                  </a:lnTo>
                  <a:lnTo>
                    <a:pt x="79" y="206"/>
                  </a:lnTo>
                  <a:lnTo>
                    <a:pt x="79" y="204"/>
                  </a:lnTo>
                  <a:lnTo>
                    <a:pt x="79" y="200"/>
                  </a:lnTo>
                  <a:lnTo>
                    <a:pt x="79" y="198"/>
                  </a:lnTo>
                  <a:lnTo>
                    <a:pt x="81" y="196"/>
                  </a:lnTo>
                  <a:lnTo>
                    <a:pt x="81" y="193"/>
                  </a:lnTo>
                  <a:lnTo>
                    <a:pt x="81" y="191"/>
                  </a:lnTo>
                  <a:lnTo>
                    <a:pt x="81" y="189"/>
                  </a:lnTo>
                  <a:lnTo>
                    <a:pt x="79" y="187"/>
                  </a:lnTo>
                  <a:lnTo>
                    <a:pt x="79" y="181"/>
                  </a:lnTo>
                  <a:lnTo>
                    <a:pt x="81" y="183"/>
                  </a:lnTo>
                  <a:lnTo>
                    <a:pt x="83" y="183"/>
                  </a:lnTo>
                  <a:lnTo>
                    <a:pt x="85" y="183"/>
                  </a:lnTo>
                  <a:lnTo>
                    <a:pt x="87" y="179"/>
                  </a:lnTo>
                  <a:lnTo>
                    <a:pt x="87" y="177"/>
                  </a:lnTo>
                  <a:lnTo>
                    <a:pt x="91" y="175"/>
                  </a:lnTo>
                  <a:lnTo>
                    <a:pt x="93" y="173"/>
                  </a:lnTo>
                  <a:lnTo>
                    <a:pt x="95" y="171"/>
                  </a:lnTo>
                  <a:lnTo>
                    <a:pt x="96" y="171"/>
                  </a:lnTo>
                  <a:lnTo>
                    <a:pt x="96" y="173"/>
                  </a:lnTo>
                  <a:lnTo>
                    <a:pt x="100" y="171"/>
                  </a:lnTo>
                  <a:lnTo>
                    <a:pt x="102" y="171"/>
                  </a:lnTo>
                  <a:lnTo>
                    <a:pt x="102" y="169"/>
                  </a:lnTo>
                  <a:lnTo>
                    <a:pt x="104" y="169"/>
                  </a:lnTo>
                  <a:lnTo>
                    <a:pt x="104" y="168"/>
                  </a:lnTo>
                  <a:lnTo>
                    <a:pt x="106" y="168"/>
                  </a:lnTo>
                  <a:lnTo>
                    <a:pt x="108" y="164"/>
                  </a:lnTo>
                  <a:lnTo>
                    <a:pt x="110" y="164"/>
                  </a:lnTo>
                  <a:lnTo>
                    <a:pt x="110" y="166"/>
                  </a:lnTo>
                  <a:lnTo>
                    <a:pt x="112" y="166"/>
                  </a:lnTo>
                  <a:lnTo>
                    <a:pt x="112" y="164"/>
                  </a:lnTo>
                  <a:lnTo>
                    <a:pt x="112" y="162"/>
                  </a:lnTo>
                  <a:lnTo>
                    <a:pt x="114" y="160"/>
                  </a:lnTo>
                  <a:lnTo>
                    <a:pt x="119" y="154"/>
                  </a:lnTo>
                  <a:lnTo>
                    <a:pt x="119" y="152"/>
                  </a:lnTo>
                  <a:lnTo>
                    <a:pt x="118" y="152"/>
                  </a:lnTo>
                  <a:lnTo>
                    <a:pt x="118" y="148"/>
                  </a:lnTo>
                  <a:lnTo>
                    <a:pt x="116" y="146"/>
                  </a:lnTo>
                  <a:lnTo>
                    <a:pt x="110" y="144"/>
                  </a:lnTo>
                  <a:lnTo>
                    <a:pt x="106" y="146"/>
                  </a:lnTo>
                  <a:lnTo>
                    <a:pt x="104" y="143"/>
                  </a:lnTo>
                  <a:lnTo>
                    <a:pt x="106" y="143"/>
                  </a:lnTo>
                  <a:lnTo>
                    <a:pt x="104" y="141"/>
                  </a:lnTo>
                  <a:lnTo>
                    <a:pt x="106" y="139"/>
                  </a:lnTo>
                  <a:lnTo>
                    <a:pt x="110" y="133"/>
                  </a:lnTo>
                  <a:lnTo>
                    <a:pt x="108" y="131"/>
                  </a:lnTo>
                  <a:lnTo>
                    <a:pt x="110" y="129"/>
                  </a:lnTo>
                  <a:lnTo>
                    <a:pt x="108" y="127"/>
                  </a:lnTo>
                  <a:lnTo>
                    <a:pt x="106" y="127"/>
                  </a:lnTo>
                  <a:lnTo>
                    <a:pt x="100" y="127"/>
                  </a:lnTo>
                  <a:lnTo>
                    <a:pt x="100" y="125"/>
                  </a:lnTo>
                  <a:lnTo>
                    <a:pt x="98" y="123"/>
                  </a:lnTo>
                  <a:lnTo>
                    <a:pt x="96" y="123"/>
                  </a:lnTo>
                  <a:lnTo>
                    <a:pt x="96" y="125"/>
                  </a:lnTo>
                  <a:lnTo>
                    <a:pt x="95" y="123"/>
                  </a:lnTo>
                  <a:lnTo>
                    <a:pt x="91" y="123"/>
                  </a:lnTo>
                  <a:lnTo>
                    <a:pt x="91" y="121"/>
                  </a:lnTo>
                  <a:lnTo>
                    <a:pt x="89" y="121"/>
                  </a:lnTo>
                  <a:lnTo>
                    <a:pt x="87" y="123"/>
                  </a:lnTo>
                  <a:lnTo>
                    <a:pt x="83" y="121"/>
                  </a:lnTo>
                  <a:lnTo>
                    <a:pt x="83" y="120"/>
                  </a:lnTo>
                  <a:lnTo>
                    <a:pt x="79" y="120"/>
                  </a:lnTo>
                  <a:lnTo>
                    <a:pt x="79" y="125"/>
                  </a:lnTo>
                  <a:lnTo>
                    <a:pt x="77" y="125"/>
                  </a:lnTo>
                  <a:lnTo>
                    <a:pt x="75" y="125"/>
                  </a:lnTo>
                  <a:lnTo>
                    <a:pt x="73" y="125"/>
                  </a:lnTo>
                  <a:lnTo>
                    <a:pt x="71" y="125"/>
                  </a:lnTo>
                  <a:lnTo>
                    <a:pt x="70" y="125"/>
                  </a:lnTo>
                  <a:lnTo>
                    <a:pt x="70" y="127"/>
                  </a:lnTo>
                  <a:lnTo>
                    <a:pt x="68" y="127"/>
                  </a:lnTo>
                  <a:lnTo>
                    <a:pt x="68" y="123"/>
                  </a:lnTo>
                  <a:lnTo>
                    <a:pt x="66" y="121"/>
                  </a:lnTo>
                  <a:lnTo>
                    <a:pt x="64" y="123"/>
                  </a:lnTo>
                  <a:lnTo>
                    <a:pt x="60" y="123"/>
                  </a:lnTo>
                  <a:lnTo>
                    <a:pt x="60" y="121"/>
                  </a:lnTo>
                  <a:lnTo>
                    <a:pt x="62" y="121"/>
                  </a:lnTo>
                  <a:lnTo>
                    <a:pt x="62" y="120"/>
                  </a:lnTo>
                  <a:lnTo>
                    <a:pt x="60" y="120"/>
                  </a:lnTo>
                  <a:lnTo>
                    <a:pt x="58" y="118"/>
                  </a:lnTo>
                  <a:lnTo>
                    <a:pt x="56" y="118"/>
                  </a:lnTo>
                  <a:lnTo>
                    <a:pt x="54" y="118"/>
                  </a:lnTo>
                  <a:lnTo>
                    <a:pt x="52" y="118"/>
                  </a:lnTo>
                  <a:lnTo>
                    <a:pt x="50" y="118"/>
                  </a:lnTo>
                  <a:lnTo>
                    <a:pt x="50" y="120"/>
                  </a:lnTo>
                  <a:lnTo>
                    <a:pt x="48" y="120"/>
                  </a:lnTo>
                  <a:lnTo>
                    <a:pt x="48" y="114"/>
                  </a:lnTo>
                  <a:lnTo>
                    <a:pt x="48" y="116"/>
                  </a:lnTo>
                  <a:lnTo>
                    <a:pt x="46" y="118"/>
                  </a:lnTo>
                  <a:lnTo>
                    <a:pt x="45" y="116"/>
                  </a:lnTo>
                  <a:lnTo>
                    <a:pt x="43" y="120"/>
                  </a:lnTo>
                  <a:lnTo>
                    <a:pt x="41" y="120"/>
                  </a:lnTo>
                  <a:lnTo>
                    <a:pt x="37" y="120"/>
                  </a:lnTo>
                  <a:lnTo>
                    <a:pt x="37" y="116"/>
                  </a:lnTo>
                  <a:lnTo>
                    <a:pt x="35" y="114"/>
                  </a:lnTo>
                  <a:lnTo>
                    <a:pt x="35" y="112"/>
                  </a:lnTo>
                  <a:lnTo>
                    <a:pt x="37" y="110"/>
                  </a:lnTo>
                  <a:lnTo>
                    <a:pt x="39" y="106"/>
                  </a:lnTo>
                  <a:lnTo>
                    <a:pt x="41" y="106"/>
                  </a:lnTo>
                  <a:lnTo>
                    <a:pt x="43" y="104"/>
                  </a:lnTo>
                  <a:lnTo>
                    <a:pt x="41" y="102"/>
                  </a:lnTo>
                  <a:lnTo>
                    <a:pt x="39" y="102"/>
                  </a:lnTo>
                  <a:lnTo>
                    <a:pt x="39" y="98"/>
                  </a:lnTo>
                  <a:lnTo>
                    <a:pt x="35" y="98"/>
                  </a:lnTo>
                  <a:lnTo>
                    <a:pt x="31" y="100"/>
                  </a:lnTo>
                  <a:lnTo>
                    <a:pt x="29" y="100"/>
                  </a:lnTo>
                  <a:lnTo>
                    <a:pt x="27" y="98"/>
                  </a:lnTo>
                  <a:lnTo>
                    <a:pt x="23" y="98"/>
                  </a:lnTo>
                  <a:lnTo>
                    <a:pt x="18" y="98"/>
                  </a:lnTo>
                  <a:lnTo>
                    <a:pt x="18" y="100"/>
                  </a:lnTo>
                  <a:lnTo>
                    <a:pt x="16" y="102"/>
                  </a:lnTo>
                  <a:lnTo>
                    <a:pt x="12" y="102"/>
                  </a:lnTo>
                  <a:lnTo>
                    <a:pt x="12" y="106"/>
                  </a:lnTo>
                  <a:lnTo>
                    <a:pt x="8" y="106"/>
                  </a:lnTo>
                  <a:lnTo>
                    <a:pt x="6" y="108"/>
                  </a:lnTo>
                  <a:lnTo>
                    <a:pt x="8" y="91"/>
                  </a:lnTo>
                  <a:lnTo>
                    <a:pt x="8" y="93"/>
                  </a:lnTo>
                  <a:lnTo>
                    <a:pt x="10" y="91"/>
                  </a:lnTo>
                  <a:lnTo>
                    <a:pt x="10" y="93"/>
                  </a:lnTo>
                  <a:lnTo>
                    <a:pt x="12" y="91"/>
                  </a:lnTo>
                  <a:lnTo>
                    <a:pt x="10" y="89"/>
                  </a:lnTo>
                  <a:lnTo>
                    <a:pt x="12" y="89"/>
                  </a:lnTo>
                  <a:lnTo>
                    <a:pt x="12" y="87"/>
                  </a:lnTo>
                  <a:lnTo>
                    <a:pt x="14" y="87"/>
                  </a:lnTo>
                  <a:lnTo>
                    <a:pt x="16" y="87"/>
                  </a:lnTo>
                  <a:lnTo>
                    <a:pt x="18" y="85"/>
                  </a:lnTo>
                  <a:lnTo>
                    <a:pt x="20" y="85"/>
                  </a:lnTo>
                  <a:lnTo>
                    <a:pt x="21" y="83"/>
                  </a:lnTo>
                  <a:lnTo>
                    <a:pt x="20" y="83"/>
                  </a:lnTo>
                  <a:lnTo>
                    <a:pt x="18" y="83"/>
                  </a:lnTo>
                  <a:lnTo>
                    <a:pt x="16" y="83"/>
                  </a:lnTo>
                  <a:lnTo>
                    <a:pt x="14" y="85"/>
                  </a:lnTo>
                  <a:lnTo>
                    <a:pt x="14" y="83"/>
                  </a:lnTo>
                  <a:lnTo>
                    <a:pt x="12" y="83"/>
                  </a:lnTo>
                  <a:lnTo>
                    <a:pt x="14" y="79"/>
                  </a:lnTo>
                  <a:lnTo>
                    <a:pt x="14" y="81"/>
                  </a:lnTo>
                  <a:lnTo>
                    <a:pt x="14" y="79"/>
                  </a:lnTo>
                  <a:lnTo>
                    <a:pt x="16" y="79"/>
                  </a:lnTo>
                  <a:lnTo>
                    <a:pt x="18" y="79"/>
                  </a:lnTo>
                  <a:lnTo>
                    <a:pt x="20" y="77"/>
                  </a:lnTo>
                  <a:lnTo>
                    <a:pt x="23" y="75"/>
                  </a:lnTo>
                  <a:lnTo>
                    <a:pt x="23" y="73"/>
                  </a:lnTo>
                  <a:lnTo>
                    <a:pt x="20" y="75"/>
                  </a:lnTo>
                  <a:lnTo>
                    <a:pt x="18" y="75"/>
                  </a:lnTo>
                  <a:lnTo>
                    <a:pt x="16" y="75"/>
                  </a:lnTo>
                  <a:lnTo>
                    <a:pt x="14" y="73"/>
                  </a:lnTo>
                  <a:lnTo>
                    <a:pt x="14" y="71"/>
                  </a:lnTo>
                  <a:lnTo>
                    <a:pt x="14" y="70"/>
                  </a:lnTo>
                  <a:lnTo>
                    <a:pt x="16" y="70"/>
                  </a:lnTo>
                  <a:lnTo>
                    <a:pt x="16" y="68"/>
                  </a:lnTo>
                  <a:lnTo>
                    <a:pt x="18" y="68"/>
                  </a:lnTo>
                  <a:lnTo>
                    <a:pt x="16" y="71"/>
                  </a:lnTo>
                  <a:lnTo>
                    <a:pt x="18" y="71"/>
                  </a:lnTo>
                  <a:lnTo>
                    <a:pt x="20" y="64"/>
                  </a:lnTo>
                  <a:lnTo>
                    <a:pt x="23" y="64"/>
                  </a:lnTo>
                  <a:lnTo>
                    <a:pt x="23" y="60"/>
                  </a:lnTo>
                  <a:lnTo>
                    <a:pt x="21" y="60"/>
                  </a:lnTo>
                  <a:lnTo>
                    <a:pt x="21" y="58"/>
                  </a:lnTo>
                  <a:lnTo>
                    <a:pt x="20" y="58"/>
                  </a:lnTo>
                  <a:lnTo>
                    <a:pt x="20" y="60"/>
                  </a:lnTo>
                  <a:lnTo>
                    <a:pt x="21" y="60"/>
                  </a:lnTo>
                  <a:lnTo>
                    <a:pt x="20" y="60"/>
                  </a:lnTo>
                  <a:lnTo>
                    <a:pt x="20" y="62"/>
                  </a:lnTo>
                  <a:lnTo>
                    <a:pt x="18" y="62"/>
                  </a:lnTo>
                  <a:lnTo>
                    <a:pt x="18" y="60"/>
                  </a:lnTo>
                  <a:lnTo>
                    <a:pt x="16" y="62"/>
                  </a:lnTo>
                  <a:lnTo>
                    <a:pt x="14" y="62"/>
                  </a:lnTo>
                  <a:lnTo>
                    <a:pt x="14" y="64"/>
                  </a:lnTo>
                  <a:lnTo>
                    <a:pt x="12" y="64"/>
                  </a:lnTo>
                  <a:lnTo>
                    <a:pt x="10" y="66"/>
                  </a:lnTo>
                  <a:lnTo>
                    <a:pt x="10" y="62"/>
                  </a:lnTo>
                  <a:lnTo>
                    <a:pt x="10" y="60"/>
                  </a:lnTo>
                  <a:lnTo>
                    <a:pt x="14" y="54"/>
                  </a:lnTo>
                  <a:lnTo>
                    <a:pt x="16" y="52"/>
                  </a:lnTo>
                  <a:lnTo>
                    <a:pt x="18" y="52"/>
                  </a:lnTo>
                  <a:lnTo>
                    <a:pt x="18" y="50"/>
                  </a:lnTo>
                  <a:lnTo>
                    <a:pt x="20" y="50"/>
                  </a:lnTo>
                  <a:lnTo>
                    <a:pt x="20" y="48"/>
                  </a:lnTo>
                  <a:lnTo>
                    <a:pt x="18" y="48"/>
                  </a:lnTo>
                  <a:lnTo>
                    <a:pt x="18" y="50"/>
                  </a:lnTo>
                  <a:lnTo>
                    <a:pt x="16" y="50"/>
                  </a:lnTo>
                  <a:lnTo>
                    <a:pt x="16" y="48"/>
                  </a:lnTo>
                  <a:lnTo>
                    <a:pt x="14" y="48"/>
                  </a:lnTo>
                  <a:lnTo>
                    <a:pt x="14" y="50"/>
                  </a:lnTo>
                  <a:lnTo>
                    <a:pt x="12" y="50"/>
                  </a:lnTo>
                  <a:lnTo>
                    <a:pt x="12" y="52"/>
                  </a:lnTo>
                  <a:lnTo>
                    <a:pt x="10" y="50"/>
                  </a:lnTo>
                  <a:lnTo>
                    <a:pt x="10" y="48"/>
                  </a:lnTo>
                  <a:lnTo>
                    <a:pt x="10" y="46"/>
                  </a:lnTo>
                  <a:lnTo>
                    <a:pt x="12" y="46"/>
                  </a:lnTo>
                  <a:lnTo>
                    <a:pt x="12" y="45"/>
                  </a:lnTo>
                  <a:lnTo>
                    <a:pt x="10" y="45"/>
                  </a:lnTo>
                  <a:lnTo>
                    <a:pt x="10" y="43"/>
                  </a:lnTo>
                  <a:lnTo>
                    <a:pt x="12" y="41"/>
                  </a:lnTo>
                  <a:lnTo>
                    <a:pt x="10" y="39"/>
                  </a:lnTo>
                  <a:lnTo>
                    <a:pt x="10" y="37"/>
                  </a:lnTo>
                  <a:lnTo>
                    <a:pt x="10" y="39"/>
                  </a:lnTo>
                  <a:lnTo>
                    <a:pt x="8" y="39"/>
                  </a:lnTo>
                  <a:lnTo>
                    <a:pt x="8" y="37"/>
                  </a:lnTo>
                  <a:lnTo>
                    <a:pt x="6" y="39"/>
                  </a:lnTo>
                  <a:lnTo>
                    <a:pt x="4" y="41"/>
                  </a:lnTo>
                  <a:lnTo>
                    <a:pt x="4" y="39"/>
                  </a:lnTo>
                  <a:lnTo>
                    <a:pt x="6" y="39"/>
                  </a:lnTo>
                  <a:lnTo>
                    <a:pt x="4" y="37"/>
                  </a:lnTo>
                  <a:lnTo>
                    <a:pt x="8" y="33"/>
                  </a:lnTo>
                  <a:lnTo>
                    <a:pt x="6" y="33"/>
                  </a:lnTo>
                  <a:lnTo>
                    <a:pt x="6" y="31"/>
                  </a:lnTo>
                  <a:lnTo>
                    <a:pt x="6" y="29"/>
                  </a:lnTo>
                  <a:lnTo>
                    <a:pt x="8" y="29"/>
                  </a:lnTo>
                  <a:lnTo>
                    <a:pt x="10" y="29"/>
                  </a:lnTo>
                  <a:lnTo>
                    <a:pt x="10" y="27"/>
                  </a:lnTo>
                  <a:lnTo>
                    <a:pt x="12" y="29"/>
                  </a:lnTo>
                  <a:lnTo>
                    <a:pt x="12" y="27"/>
                  </a:lnTo>
                  <a:lnTo>
                    <a:pt x="14" y="27"/>
                  </a:lnTo>
                  <a:lnTo>
                    <a:pt x="14" y="25"/>
                  </a:lnTo>
                  <a:lnTo>
                    <a:pt x="12" y="27"/>
                  </a:lnTo>
                  <a:lnTo>
                    <a:pt x="12" y="25"/>
                  </a:lnTo>
                  <a:lnTo>
                    <a:pt x="12" y="23"/>
                  </a:lnTo>
                  <a:lnTo>
                    <a:pt x="14" y="23"/>
                  </a:lnTo>
                  <a:lnTo>
                    <a:pt x="16" y="22"/>
                  </a:lnTo>
                  <a:lnTo>
                    <a:pt x="20" y="23"/>
                  </a:lnTo>
                  <a:lnTo>
                    <a:pt x="21" y="23"/>
                  </a:lnTo>
                  <a:lnTo>
                    <a:pt x="21" y="22"/>
                  </a:lnTo>
                  <a:lnTo>
                    <a:pt x="21" y="23"/>
                  </a:lnTo>
                  <a:lnTo>
                    <a:pt x="23" y="22"/>
                  </a:lnTo>
                  <a:lnTo>
                    <a:pt x="25" y="22"/>
                  </a:lnTo>
                  <a:lnTo>
                    <a:pt x="25" y="20"/>
                  </a:lnTo>
                  <a:lnTo>
                    <a:pt x="23" y="20"/>
                  </a:lnTo>
                  <a:lnTo>
                    <a:pt x="25" y="18"/>
                  </a:lnTo>
                  <a:lnTo>
                    <a:pt x="25" y="20"/>
                  </a:lnTo>
                  <a:lnTo>
                    <a:pt x="27" y="20"/>
                  </a:lnTo>
                  <a:lnTo>
                    <a:pt x="27" y="18"/>
                  </a:lnTo>
                  <a:lnTo>
                    <a:pt x="29" y="18"/>
                  </a:lnTo>
                  <a:lnTo>
                    <a:pt x="31" y="16"/>
                  </a:lnTo>
                  <a:lnTo>
                    <a:pt x="31" y="18"/>
                  </a:lnTo>
                  <a:lnTo>
                    <a:pt x="33" y="18"/>
                  </a:lnTo>
                  <a:lnTo>
                    <a:pt x="33" y="20"/>
                  </a:lnTo>
                  <a:lnTo>
                    <a:pt x="35" y="22"/>
                  </a:lnTo>
                  <a:lnTo>
                    <a:pt x="41" y="22"/>
                  </a:lnTo>
                  <a:lnTo>
                    <a:pt x="43" y="22"/>
                  </a:lnTo>
                  <a:lnTo>
                    <a:pt x="45" y="22"/>
                  </a:lnTo>
                  <a:lnTo>
                    <a:pt x="46" y="20"/>
                  </a:lnTo>
                  <a:lnTo>
                    <a:pt x="48" y="20"/>
                  </a:lnTo>
                  <a:lnTo>
                    <a:pt x="50" y="18"/>
                  </a:lnTo>
                  <a:lnTo>
                    <a:pt x="50" y="20"/>
                  </a:lnTo>
                  <a:lnTo>
                    <a:pt x="50" y="22"/>
                  </a:lnTo>
                  <a:lnTo>
                    <a:pt x="52" y="22"/>
                  </a:lnTo>
                  <a:lnTo>
                    <a:pt x="54" y="20"/>
                  </a:lnTo>
                  <a:lnTo>
                    <a:pt x="52" y="20"/>
                  </a:lnTo>
                  <a:lnTo>
                    <a:pt x="52" y="18"/>
                  </a:lnTo>
                  <a:lnTo>
                    <a:pt x="56" y="18"/>
                  </a:lnTo>
                  <a:lnTo>
                    <a:pt x="56" y="20"/>
                  </a:lnTo>
                  <a:lnTo>
                    <a:pt x="58" y="23"/>
                  </a:lnTo>
                  <a:lnTo>
                    <a:pt x="58" y="20"/>
                  </a:lnTo>
                  <a:lnTo>
                    <a:pt x="60" y="20"/>
                  </a:lnTo>
                  <a:lnTo>
                    <a:pt x="62" y="20"/>
                  </a:lnTo>
                  <a:lnTo>
                    <a:pt x="60" y="18"/>
                  </a:lnTo>
                  <a:lnTo>
                    <a:pt x="58" y="18"/>
                  </a:lnTo>
                  <a:lnTo>
                    <a:pt x="56" y="16"/>
                  </a:lnTo>
                  <a:lnTo>
                    <a:pt x="58" y="16"/>
                  </a:lnTo>
                  <a:lnTo>
                    <a:pt x="60" y="16"/>
                  </a:lnTo>
                  <a:lnTo>
                    <a:pt x="60" y="14"/>
                  </a:lnTo>
                  <a:lnTo>
                    <a:pt x="60" y="16"/>
                  </a:lnTo>
                  <a:lnTo>
                    <a:pt x="58" y="14"/>
                  </a:lnTo>
                  <a:lnTo>
                    <a:pt x="58" y="16"/>
                  </a:lnTo>
                  <a:lnTo>
                    <a:pt x="56" y="14"/>
                  </a:lnTo>
                  <a:lnTo>
                    <a:pt x="54" y="14"/>
                  </a:lnTo>
                  <a:lnTo>
                    <a:pt x="56" y="14"/>
                  </a:lnTo>
                  <a:lnTo>
                    <a:pt x="54" y="12"/>
                  </a:lnTo>
                  <a:lnTo>
                    <a:pt x="56" y="10"/>
                  </a:lnTo>
                  <a:lnTo>
                    <a:pt x="58" y="10"/>
                  </a:lnTo>
                  <a:lnTo>
                    <a:pt x="56" y="8"/>
                  </a:lnTo>
                  <a:lnTo>
                    <a:pt x="58" y="8"/>
                  </a:lnTo>
                  <a:lnTo>
                    <a:pt x="60" y="10"/>
                  </a:lnTo>
                  <a:lnTo>
                    <a:pt x="62" y="8"/>
                  </a:lnTo>
                  <a:lnTo>
                    <a:pt x="64" y="6"/>
                  </a:lnTo>
                  <a:lnTo>
                    <a:pt x="66" y="6"/>
                  </a:lnTo>
                  <a:lnTo>
                    <a:pt x="68" y="4"/>
                  </a:lnTo>
                  <a:lnTo>
                    <a:pt x="68" y="6"/>
                  </a:lnTo>
                  <a:lnTo>
                    <a:pt x="70" y="6"/>
                  </a:lnTo>
                  <a:lnTo>
                    <a:pt x="70" y="4"/>
                  </a:lnTo>
                  <a:lnTo>
                    <a:pt x="70" y="2"/>
                  </a:lnTo>
                  <a:lnTo>
                    <a:pt x="71" y="2"/>
                  </a:lnTo>
                  <a:lnTo>
                    <a:pt x="73" y="2"/>
                  </a:lnTo>
                  <a:lnTo>
                    <a:pt x="77" y="0"/>
                  </a:lnTo>
                  <a:lnTo>
                    <a:pt x="79" y="0"/>
                  </a:lnTo>
                  <a:lnTo>
                    <a:pt x="79" y="2"/>
                  </a:lnTo>
                  <a:lnTo>
                    <a:pt x="79" y="4"/>
                  </a:lnTo>
                  <a:lnTo>
                    <a:pt x="83" y="2"/>
                  </a:lnTo>
                  <a:lnTo>
                    <a:pt x="85" y="2"/>
                  </a:lnTo>
                  <a:lnTo>
                    <a:pt x="87" y="0"/>
                  </a:lnTo>
                  <a:lnTo>
                    <a:pt x="89" y="2"/>
                  </a:lnTo>
                  <a:lnTo>
                    <a:pt x="87" y="4"/>
                  </a:lnTo>
                  <a:lnTo>
                    <a:pt x="89" y="4"/>
                  </a:lnTo>
                  <a:lnTo>
                    <a:pt x="89" y="6"/>
                  </a:lnTo>
                  <a:lnTo>
                    <a:pt x="89" y="8"/>
                  </a:lnTo>
                  <a:lnTo>
                    <a:pt x="91" y="6"/>
                  </a:lnTo>
                  <a:lnTo>
                    <a:pt x="93" y="6"/>
                  </a:lnTo>
                  <a:lnTo>
                    <a:pt x="95" y="8"/>
                  </a:lnTo>
                  <a:lnTo>
                    <a:pt x="100" y="12"/>
                  </a:lnTo>
                  <a:lnTo>
                    <a:pt x="100" y="14"/>
                  </a:lnTo>
                  <a:lnTo>
                    <a:pt x="102" y="18"/>
                  </a:lnTo>
                  <a:lnTo>
                    <a:pt x="102" y="20"/>
                  </a:lnTo>
                  <a:lnTo>
                    <a:pt x="102" y="22"/>
                  </a:lnTo>
                  <a:lnTo>
                    <a:pt x="104" y="20"/>
                  </a:lnTo>
                  <a:lnTo>
                    <a:pt x="112" y="22"/>
                  </a:lnTo>
                  <a:lnTo>
                    <a:pt x="114" y="22"/>
                  </a:lnTo>
                  <a:lnTo>
                    <a:pt x="116" y="22"/>
                  </a:lnTo>
                  <a:lnTo>
                    <a:pt x="119" y="23"/>
                  </a:lnTo>
                  <a:lnTo>
                    <a:pt x="121" y="23"/>
                  </a:lnTo>
                  <a:lnTo>
                    <a:pt x="123" y="23"/>
                  </a:lnTo>
                  <a:lnTo>
                    <a:pt x="125" y="23"/>
                  </a:lnTo>
                  <a:lnTo>
                    <a:pt x="125" y="25"/>
                  </a:lnTo>
                  <a:lnTo>
                    <a:pt x="127" y="25"/>
                  </a:lnTo>
                  <a:lnTo>
                    <a:pt x="129" y="25"/>
                  </a:lnTo>
                  <a:lnTo>
                    <a:pt x="131" y="25"/>
                  </a:lnTo>
                  <a:lnTo>
                    <a:pt x="133" y="27"/>
                  </a:lnTo>
                  <a:lnTo>
                    <a:pt x="137" y="27"/>
                  </a:lnTo>
                  <a:lnTo>
                    <a:pt x="139" y="27"/>
                  </a:lnTo>
                  <a:lnTo>
                    <a:pt x="141" y="29"/>
                  </a:lnTo>
                  <a:lnTo>
                    <a:pt x="146" y="27"/>
                  </a:lnTo>
                  <a:lnTo>
                    <a:pt x="148" y="29"/>
                  </a:lnTo>
                  <a:lnTo>
                    <a:pt x="150" y="29"/>
                  </a:lnTo>
                  <a:lnTo>
                    <a:pt x="150" y="31"/>
                  </a:lnTo>
                  <a:lnTo>
                    <a:pt x="154" y="31"/>
                  </a:lnTo>
                  <a:lnTo>
                    <a:pt x="156" y="29"/>
                  </a:lnTo>
                  <a:lnTo>
                    <a:pt x="158" y="31"/>
                  </a:lnTo>
                  <a:lnTo>
                    <a:pt x="160" y="31"/>
                  </a:lnTo>
                  <a:lnTo>
                    <a:pt x="160" y="29"/>
                  </a:lnTo>
                  <a:lnTo>
                    <a:pt x="164" y="27"/>
                  </a:lnTo>
                  <a:lnTo>
                    <a:pt x="166" y="29"/>
                  </a:lnTo>
                  <a:lnTo>
                    <a:pt x="166" y="31"/>
                  </a:lnTo>
                  <a:lnTo>
                    <a:pt x="168" y="33"/>
                  </a:lnTo>
                  <a:lnTo>
                    <a:pt x="169" y="33"/>
                  </a:lnTo>
                  <a:lnTo>
                    <a:pt x="169" y="35"/>
                  </a:lnTo>
                  <a:lnTo>
                    <a:pt x="171" y="35"/>
                  </a:lnTo>
                  <a:lnTo>
                    <a:pt x="173" y="35"/>
                  </a:lnTo>
                  <a:lnTo>
                    <a:pt x="175" y="37"/>
                  </a:lnTo>
                  <a:lnTo>
                    <a:pt x="183" y="37"/>
                  </a:lnTo>
                  <a:lnTo>
                    <a:pt x="181" y="41"/>
                  </a:lnTo>
                  <a:lnTo>
                    <a:pt x="183" y="39"/>
                  </a:lnTo>
                  <a:lnTo>
                    <a:pt x="187" y="39"/>
                  </a:lnTo>
                  <a:lnTo>
                    <a:pt x="191" y="45"/>
                  </a:lnTo>
                  <a:lnTo>
                    <a:pt x="193" y="45"/>
                  </a:lnTo>
                  <a:lnTo>
                    <a:pt x="194" y="45"/>
                  </a:lnTo>
                  <a:lnTo>
                    <a:pt x="196" y="46"/>
                  </a:lnTo>
                  <a:lnTo>
                    <a:pt x="200" y="46"/>
                  </a:lnTo>
                  <a:lnTo>
                    <a:pt x="204" y="50"/>
                  </a:lnTo>
                  <a:lnTo>
                    <a:pt x="208" y="50"/>
                  </a:lnTo>
                  <a:lnTo>
                    <a:pt x="212" y="52"/>
                  </a:lnTo>
                  <a:lnTo>
                    <a:pt x="216" y="54"/>
                  </a:lnTo>
                  <a:lnTo>
                    <a:pt x="217" y="54"/>
                  </a:lnTo>
                  <a:lnTo>
                    <a:pt x="217" y="56"/>
                  </a:lnTo>
                  <a:lnTo>
                    <a:pt x="219" y="56"/>
                  </a:lnTo>
                  <a:lnTo>
                    <a:pt x="221" y="56"/>
                  </a:lnTo>
                  <a:lnTo>
                    <a:pt x="223" y="56"/>
                  </a:lnTo>
                  <a:lnTo>
                    <a:pt x="225" y="56"/>
                  </a:lnTo>
                  <a:lnTo>
                    <a:pt x="225" y="58"/>
                  </a:lnTo>
                  <a:lnTo>
                    <a:pt x="227" y="56"/>
                  </a:lnTo>
                  <a:lnTo>
                    <a:pt x="231" y="58"/>
                  </a:lnTo>
                  <a:lnTo>
                    <a:pt x="235" y="56"/>
                  </a:lnTo>
                  <a:lnTo>
                    <a:pt x="237" y="56"/>
                  </a:lnTo>
                  <a:lnTo>
                    <a:pt x="239" y="58"/>
                  </a:lnTo>
                  <a:lnTo>
                    <a:pt x="239" y="56"/>
                  </a:lnTo>
                  <a:lnTo>
                    <a:pt x="241" y="56"/>
                  </a:lnTo>
                  <a:lnTo>
                    <a:pt x="244" y="54"/>
                  </a:lnTo>
                  <a:lnTo>
                    <a:pt x="246" y="56"/>
                  </a:lnTo>
                  <a:lnTo>
                    <a:pt x="248" y="54"/>
                  </a:lnTo>
                  <a:lnTo>
                    <a:pt x="248" y="56"/>
                  </a:lnTo>
                  <a:lnTo>
                    <a:pt x="250" y="56"/>
                  </a:lnTo>
                  <a:lnTo>
                    <a:pt x="248" y="58"/>
                  </a:lnTo>
                  <a:lnTo>
                    <a:pt x="246" y="58"/>
                  </a:lnTo>
                  <a:lnTo>
                    <a:pt x="246" y="60"/>
                  </a:lnTo>
                  <a:lnTo>
                    <a:pt x="248" y="60"/>
                  </a:lnTo>
                  <a:lnTo>
                    <a:pt x="248" y="58"/>
                  </a:lnTo>
                  <a:lnTo>
                    <a:pt x="252" y="56"/>
                  </a:lnTo>
                  <a:lnTo>
                    <a:pt x="254" y="56"/>
                  </a:lnTo>
                  <a:lnTo>
                    <a:pt x="256" y="56"/>
                  </a:lnTo>
                  <a:lnTo>
                    <a:pt x="256" y="58"/>
                  </a:lnTo>
                  <a:lnTo>
                    <a:pt x="256" y="56"/>
                  </a:lnTo>
                  <a:lnTo>
                    <a:pt x="258" y="56"/>
                  </a:lnTo>
                  <a:lnTo>
                    <a:pt x="260" y="56"/>
                  </a:lnTo>
                  <a:lnTo>
                    <a:pt x="260" y="58"/>
                  </a:lnTo>
                  <a:lnTo>
                    <a:pt x="262" y="58"/>
                  </a:lnTo>
                  <a:lnTo>
                    <a:pt x="264" y="60"/>
                  </a:lnTo>
                  <a:lnTo>
                    <a:pt x="262" y="60"/>
                  </a:lnTo>
                  <a:lnTo>
                    <a:pt x="262" y="62"/>
                  </a:lnTo>
                  <a:lnTo>
                    <a:pt x="264" y="62"/>
                  </a:lnTo>
                  <a:lnTo>
                    <a:pt x="269" y="64"/>
                  </a:lnTo>
                  <a:lnTo>
                    <a:pt x="267" y="64"/>
                  </a:lnTo>
                  <a:lnTo>
                    <a:pt x="269" y="64"/>
                  </a:lnTo>
                  <a:lnTo>
                    <a:pt x="271" y="64"/>
                  </a:lnTo>
                  <a:lnTo>
                    <a:pt x="273" y="66"/>
                  </a:lnTo>
                  <a:lnTo>
                    <a:pt x="273" y="68"/>
                  </a:lnTo>
                  <a:lnTo>
                    <a:pt x="275" y="70"/>
                  </a:lnTo>
                  <a:lnTo>
                    <a:pt x="277" y="70"/>
                  </a:lnTo>
                  <a:lnTo>
                    <a:pt x="279" y="70"/>
                  </a:lnTo>
                  <a:lnTo>
                    <a:pt x="281" y="70"/>
                  </a:lnTo>
                  <a:lnTo>
                    <a:pt x="281" y="71"/>
                  </a:lnTo>
                  <a:lnTo>
                    <a:pt x="283" y="73"/>
                  </a:lnTo>
                  <a:lnTo>
                    <a:pt x="281" y="70"/>
                  </a:lnTo>
                  <a:lnTo>
                    <a:pt x="283" y="70"/>
                  </a:lnTo>
                  <a:lnTo>
                    <a:pt x="283" y="68"/>
                  </a:lnTo>
                  <a:lnTo>
                    <a:pt x="287" y="66"/>
                  </a:lnTo>
                  <a:lnTo>
                    <a:pt x="289" y="66"/>
                  </a:lnTo>
                  <a:lnTo>
                    <a:pt x="291" y="68"/>
                  </a:lnTo>
                  <a:lnTo>
                    <a:pt x="292" y="68"/>
                  </a:lnTo>
                  <a:lnTo>
                    <a:pt x="294" y="66"/>
                  </a:lnTo>
                  <a:lnTo>
                    <a:pt x="294" y="68"/>
                  </a:lnTo>
                  <a:lnTo>
                    <a:pt x="296" y="70"/>
                  </a:lnTo>
                  <a:lnTo>
                    <a:pt x="298" y="70"/>
                  </a:lnTo>
                  <a:lnTo>
                    <a:pt x="298" y="71"/>
                  </a:lnTo>
                  <a:lnTo>
                    <a:pt x="300" y="71"/>
                  </a:lnTo>
                  <a:lnTo>
                    <a:pt x="306" y="71"/>
                  </a:lnTo>
                  <a:lnTo>
                    <a:pt x="306" y="73"/>
                  </a:lnTo>
                  <a:lnTo>
                    <a:pt x="308" y="75"/>
                  </a:lnTo>
                  <a:lnTo>
                    <a:pt x="310" y="77"/>
                  </a:lnTo>
                  <a:lnTo>
                    <a:pt x="312" y="77"/>
                  </a:lnTo>
                  <a:lnTo>
                    <a:pt x="314" y="77"/>
                  </a:lnTo>
                  <a:lnTo>
                    <a:pt x="319" y="77"/>
                  </a:lnTo>
                  <a:lnTo>
                    <a:pt x="319" y="79"/>
                  </a:lnTo>
                  <a:lnTo>
                    <a:pt x="321" y="81"/>
                  </a:lnTo>
                  <a:lnTo>
                    <a:pt x="323" y="79"/>
                  </a:lnTo>
                  <a:lnTo>
                    <a:pt x="327" y="79"/>
                  </a:lnTo>
                  <a:lnTo>
                    <a:pt x="329" y="79"/>
                  </a:lnTo>
                  <a:lnTo>
                    <a:pt x="331" y="79"/>
                  </a:lnTo>
                  <a:lnTo>
                    <a:pt x="333" y="79"/>
                  </a:lnTo>
                  <a:lnTo>
                    <a:pt x="333" y="77"/>
                  </a:lnTo>
                  <a:lnTo>
                    <a:pt x="337" y="75"/>
                  </a:lnTo>
                  <a:lnTo>
                    <a:pt x="337" y="77"/>
                  </a:lnTo>
                  <a:lnTo>
                    <a:pt x="337" y="79"/>
                  </a:lnTo>
                  <a:lnTo>
                    <a:pt x="339" y="79"/>
                  </a:lnTo>
                  <a:lnTo>
                    <a:pt x="339" y="81"/>
                  </a:lnTo>
                  <a:lnTo>
                    <a:pt x="340" y="83"/>
                  </a:lnTo>
                  <a:lnTo>
                    <a:pt x="342" y="83"/>
                  </a:lnTo>
                  <a:lnTo>
                    <a:pt x="342" y="85"/>
                  </a:lnTo>
                  <a:lnTo>
                    <a:pt x="344" y="87"/>
                  </a:lnTo>
                  <a:lnTo>
                    <a:pt x="346" y="85"/>
                  </a:lnTo>
                  <a:lnTo>
                    <a:pt x="352" y="87"/>
                  </a:lnTo>
                  <a:lnTo>
                    <a:pt x="354" y="89"/>
                  </a:lnTo>
                  <a:lnTo>
                    <a:pt x="350" y="96"/>
                  </a:lnTo>
                  <a:lnTo>
                    <a:pt x="348" y="98"/>
                  </a:lnTo>
                  <a:lnTo>
                    <a:pt x="348" y="100"/>
                  </a:lnTo>
                  <a:lnTo>
                    <a:pt x="348" y="102"/>
                  </a:lnTo>
                  <a:lnTo>
                    <a:pt x="352" y="102"/>
                  </a:lnTo>
                  <a:lnTo>
                    <a:pt x="354" y="98"/>
                  </a:lnTo>
                  <a:lnTo>
                    <a:pt x="356" y="98"/>
                  </a:lnTo>
                  <a:lnTo>
                    <a:pt x="356" y="102"/>
                  </a:lnTo>
                  <a:lnTo>
                    <a:pt x="358" y="102"/>
                  </a:lnTo>
                  <a:lnTo>
                    <a:pt x="362" y="104"/>
                  </a:lnTo>
                  <a:lnTo>
                    <a:pt x="362" y="106"/>
                  </a:lnTo>
                  <a:lnTo>
                    <a:pt x="364" y="106"/>
                  </a:lnTo>
                  <a:lnTo>
                    <a:pt x="365" y="108"/>
                  </a:lnTo>
                  <a:lnTo>
                    <a:pt x="367" y="108"/>
                  </a:lnTo>
                  <a:lnTo>
                    <a:pt x="367" y="110"/>
                  </a:lnTo>
                  <a:lnTo>
                    <a:pt x="369" y="110"/>
                  </a:lnTo>
                  <a:lnTo>
                    <a:pt x="371" y="110"/>
                  </a:lnTo>
                  <a:lnTo>
                    <a:pt x="373" y="112"/>
                  </a:lnTo>
                  <a:lnTo>
                    <a:pt x="377" y="112"/>
                  </a:lnTo>
                  <a:lnTo>
                    <a:pt x="379" y="112"/>
                  </a:lnTo>
                  <a:lnTo>
                    <a:pt x="379" y="114"/>
                  </a:lnTo>
                  <a:lnTo>
                    <a:pt x="379" y="116"/>
                  </a:lnTo>
                  <a:lnTo>
                    <a:pt x="381" y="118"/>
                  </a:lnTo>
                  <a:lnTo>
                    <a:pt x="381" y="120"/>
                  </a:lnTo>
                  <a:lnTo>
                    <a:pt x="383" y="121"/>
                  </a:lnTo>
                  <a:lnTo>
                    <a:pt x="385" y="123"/>
                  </a:lnTo>
                  <a:lnTo>
                    <a:pt x="387" y="123"/>
                  </a:lnTo>
                  <a:lnTo>
                    <a:pt x="389" y="121"/>
                  </a:lnTo>
                  <a:lnTo>
                    <a:pt x="392" y="123"/>
                  </a:lnTo>
                  <a:lnTo>
                    <a:pt x="396" y="121"/>
                  </a:lnTo>
                  <a:lnTo>
                    <a:pt x="400" y="125"/>
                  </a:lnTo>
                  <a:lnTo>
                    <a:pt x="402" y="125"/>
                  </a:lnTo>
                  <a:lnTo>
                    <a:pt x="404" y="129"/>
                  </a:lnTo>
                  <a:lnTo>
                    <a:pt x="406" y="131"/>
                  </a:lnTo>
                  <a:lnTo>
                    <a:pt x="408" y="133"/>
                  </a:lnTo>
                  <a:lnTo>
                    <a:pt x="417" y="131"/>
                  </a:lnTo>
                  <a:lnTo>
                    <a:pt x="419" y="133"/>
                  </a:lnTo>
                  <a:lnTo>
                    <a:pt x="421" y="133"/>
                  </a:lnTo>
                  <a:lnTo>
                    <a:pt x="421" y="135"/>
                  </a:lnTo>
                  <a:lnTo>
                    <a:pt x="421" y="137"/>
                  </a:lnTo>
                  <a:lnTo>
                    <a:pt x="425" y="133"/>
                  </a:lnTo>
                  <a:lnTo>
                    <a:pt x="427" y="137"/>
                  </a:lnTo>
                  <a:lnTo>
                    <a:pt x="431" y="135"/>
                  </a:lnTo>
                  <a:lnTo>
                    <a:pt x="437" y="137"/>
                  </a:lnTo>
                  <a:lnTo>
                    <a:pt x="438" y="137"/>
                  </a:lnTo>
                  <a:lnTo>
                    <a:pt x="438" y="135"/>
                  </a:lnTo>
                  <a:lnTo>
                    <a:pt x="438" y="133"/>
                  </a:lnTo>
                  <a:lnTo>
                    <a:pt x="438" y="131"/>
                  </a:lnTo>
                  <a:lnTo>
                    <a:pt x="440" y="131"/>
                  </a:lnTo>
                  <a:lnTo>
                    <a:pt x="440" y="127"/>
                  </a:lnTo>
                  <a:lnTo>
                    <a:pt x="442" y="129"/>
                  </a:lnTo>
                  <a:lnTo>
                    <a:pt x="448" y="129"/>
                  </a:lnTo>
                  <a:lnTo>
                    <a:pt x="450" y="133"/>
                  </a:lnTo>
                  <a:lnTo>
                    <a:pt x="452" y="133"/>
                  </a:lnTo>
                  <a:lnTo>
                    <a:pt x="454" y="133"/>
                  </a:lnTo>
                  <a:lnTo>
                    <a:pt x="458" y="135"/>
                  </a:lnTo>
                  <a:lnTo>
                    <a:pt x="460" y="135"/>
                  </a:lnTo>
                  <a:lnTo>
                    <a:pt x="460" y="139"/>
                  </a:lnTo>
                  <a:lnTo>
                    <a:pt x="462" y="139"/>
                  </a:lnTo>
                  <a:lnTo>
                    <a:pt x="463" y="139"/>
                  </a:lnTo>
                  <a:lnTo>
                    <a:pt x="465" y="139"/>
                  </a:lnTo>
                  <a:lnTo>
                    <a:pt x="469" y="139"/>
                  </a:lnTo>
                  <a:lnTo>
                    <a:pt x="469" y="141"/>
                  </a:lnTo>
                  <a:lnTo>
                    <a:pt x="469" y="143"/>
                  </a:lnTo>
                  <a:lnTo>
                    <a:pt x="471" y="148"/>
                  </a:lnTo>
                  <a:lnTo>
                    <a:pt x="473" y="148"/>
                  </a:lnTo>
                  <a:lnTo>
                    <a:pt x="473" y="150"/>
                  </a:lnTo>
                  <a:lnTo>
                    <a:pt x="471" y="150"/>
                  </a:lnTo>
                  <a:lnTo>
                    <a:pt x="471" y="152"/>
                  </a:lnTo>
                  <a:lnTo>
                    <a:pt x="473" y="152"/>
                  </a:lnTo>
                  <a:lnTo>
                    <a:pt x="473" y="154"/>
                  </a:lnTo>
                  <a:lnTo>
                    <a:pt x="471" y="154"/>
                  </a:lnTo>
                  <a:lnTo>
                    <a:pt x="471" y="156"/>
                  </a:lnTo>
                  <a:lnTo>
                    <a:pt x="471" y="158"/>
                  </a:lnTo>
                  <a:lnTo>
                    <a:pt x="475" y="160"/>
                  </a:lnTo>
                  <a:lnTo>
                    <a:pt x="477" y="160"/>
                  </a:lnTo>
                  <a:lnTo>
                    <a:pt x="477" y="158"/>
                  </a:lnTo>
                  <a:lnTo>
                    <a:pt x="479" y="158"/>
                  </a:lnTo>
                  <a:lnTo>
                    <a:pt x="481" y="158"/>
                  </a:lnTo>
                  <a:lnTo>
                    <a:pt x="483" y="156"/>
                  </a:lnTo>
                  <a:lnTo>
                    <a:pt x="485" y="156"/>
                  </a:lnTo>
                  <a:lnTo>
                    <a:pt x="488" y="158"/>
                  </a:lnTo>
                  <a:lnTo>
                    <a:pt x="492" y="160"/>
                  </a:lnTo>
                  <a:lnTo>
                    <a:pt x="492" y="162"/>
                  </a:lnTo>
                  <a:lnTo>
                    <a:pt x="494" y="164"/>
                  </a:lnTo>
                  <a:lnTo>
                    <a:pt x="494" y="166"/>
                  </a:lnTo>
                  <a:lnTo>
                    <a:pt x="498" y="166"/>
                  </a:lnTo>
                  <a:lnTo>
                    <a:pt x="502" y="164"/>
                  </a:lnTo>
                  <a:lnTo>
                    <a:pt x="506" y="164"/>
                  </a:lnTo>
                  <a:lnTo>
                    <a:pt x="508" y="164"/>
                  </a:lnTo>
                  <a:lnTo>
                    <a:pt x="512" y="166"/>
                  </a:lnTo>
                  <a:lnTo>
                    <a:pt x="513" y="166"/>
                  </a:lnTo>
                  <a:lnTo>
                    <a:pt x="515" y="168"/>
                  </a:lnTo>
                  <a:lnTo>
                    <a:pt x="517" y="168"/>
                  </a:lnTo>
                  <a:lnTo>
                    <a:pt x="519" y="168"/>
                  </a:lnTo>
                  <a:lnTo>
                    <a:pt x="523" y="169"/>
                  </a:lnTo>
                  <a:lnTo>
                    <a:pt x="527" y="166"/>
                  </a:lnTo>
                  <a:lnTo>
                    <a:pt x="533" y="166"/>
                  </a:lnTo>
                  <a:lnTo>
                    <a:pt x="535" y="164"/>
                  </a:lnTo>
                  <a:lnTo>
                    <a:pt x="536" y="166"/>
                  </a:lnTo>
                  <a:lnTo>
                    <a:pt x="538" y="164"/>
                  </a:lnTo>
                  <a:lnTo>
                    <a:pt x="542" y="164"/>
                  </a:lnTo>
                  <a:lnTo>
                    <a:pt x="544" y="168"/>
                  </a:lnTo>
                  <a:lnTo>
                    <a:pt x="546" y="168"/>
                  </a:lnTo>
                  <a:lnTo>
                    <a:pt x="548" y="168"/>
                  </a:lnTo>
                  <a:lnTo>
                    <a:pt x="548" y="173"/>
                  </a:lnTo>
                  <a:lnTo>
                    <a:pt x="548" y="175"/>
                  </a:lnTo>
                  <a:lnTo>
                    <a:pt x="550" y="175"/>
                  </a:lnTo>
                  <a:lnTo>
                    <a:pt x="554" y="177"/>
                  </a:lnTo>
                  <a:lnTo>
                    <a:pt x="552" y="177"/>
                  </a:lnTo>
                  <a:lnTo>
                    <a:pt x="552" y="179"/>
                  </a:lnTo>
                  <a:lnTo>
                    <a:pt x="552" y="181"/>
                  </a:lnTo>
                  <a:lnTo>
                    <a:pt x="550" y="181"/>
                  </a:lnTo>
                  <a:lnTo>
                    <a:pt x="548" y="181"/>
                  </a:lnTo>
                  <a:lnTo>
                    <a:pt x="546" y="181"/>
                  </a:lnTo>
                  <a:lnTo>
                    <a:pt x="544" y="183"/>
                  </a:lnTo>
                  <a:lnTo>
                    <a:pt x="544" y="189"/>
                  </a:lnTo>
                  <a:lnTo>
                    <a:pt x="546" y="191"/>
                  </a:lnTo>
                  <a:lnTo>
                    <a:pt x="548" y="194"/>
                  </a:lnTo>
                  <a:lnTo>
                    <a:pt x="546" y="194"/>
                  </a:lnTo>
                  <a:lnTo>
                    <a:pt x="546" y="198"/>
                  </a:lnTo>
                  <a:lnTo>
                    <a:pt x="548" y="200"/>
                  </a:lnTo>
                  <a:lnTo>
                    <a:pt x="548" y="202"/>
                  </a:lnTo>
                  <a:lnTo>
                    <a:pt x="546" y="204"/>
                  </a:lnTo>
                  <a:lnTo>
                    <a:pt x="544" y="206"/>
                  </a:lnTo>
                  <a:lnTo>
                    <a:pt x="542" y="208"/>
                  </a:lnTo>
                  <a:lnTo>
                    <a:pt x="542" y="206"/>
                  </a:lnTo>
                  <a:lnTo>
                    <a:pt x="540" y="208"/>
                  </a:lnTo>
                  <a:lnTo>
                    <a:pt x="538" y="210"/>
                  </a:lnTo>
                  <a:lnTo>
                    <a:pt x="536" y="212"/>
                  </a:lnTo>
                  <a:lnTo>
                    <a:pt x="536" y="210"/>
                  </a:lnTo>
                  <a:lnTo>
                    <a:pt x="535" y="212"/>
                  </a:lnTo>
                  <a:lnTo>
                    <a:pt x="533" y="214"/>
                  </a:lnTo>
                  <a:lnTo>
                    <a:pt x="531" y="216"/>
                  </a:lnTo>
                  <a:lnTo>
                    <a:pt x="527" y="216"/>
                  </a:lnTo>
                  <a:lnTo>
                    <a:pt x="525" y="218"/>
                  </a:lnTo>
                  <a:lnTo>
                    <a:pt x="517" y="219"/>
                  </a:lnTo>
                  <a:lnTo>
                    <a:pt x="510" y="223"/>
                  </a:lnTo>
                  <a:lnTo>
                    <a:pt x="506" y="225"/>
                  </a:lnTo>
                  <a:lnTo>
                    <a:pt x="500" y="227"/>
                  </a:lnTo>
                  <a:lnTo>
                    <a:pt x="500" y="229"/>
                  </a:lnTo>
                  <a:lnTo>
                    <a:pt x="498" y="231"/>
                  </a:lnTo>
                  <a:lnTo>
                    <a:pt x="496" y="233"/>
                  </a:lnTo>
                  <a:lnTo>
                    <a:pt x="494" y="237"/>
                  </a:lnTo>
                  <a:lnTo>
                    <a:pt x="492" y="239"/>
                  </a:lnTo>
                  <a:lnTo>
                    <a:pt x="490" y="239"/>
                  </a:lnTo>
                  <a:lnTo>
                    <a:pt x="485" y="239"/>
                  </a:lnTo>
                  <a:lnTo>
                    <a:pt x="481" y="239"/>
                  </a:lnTo>
                  <a:lnTo>
                    <a:pt x="479" y="239"/>
                  </a:lnTo>
                  <a:lnTo>
                    <a:pt x="477" y="239"/>
                  </a:lnTo>
                  <a:lnTo>
                    <a:pt x="469" y="241"/>
                  </a:lnTo>
                  <a:lnTo>
                    <a:pt x="463" y="241"/>
                  </a:lnTo>
                  <a:lnTo>
                    <a:pt x="458" y="242"/>
                  </a:lnTo>
                  <a:lnTo>
                    <a:pt x="454" y="242"/>
                  </a:lnTo>
                  <a:lnTo>
                    <a:pt x="452" y="244"/>
                  </a:lnTo>
                  <a:lnTo>
                    <a:pt x="450" y="242"/>
                  </a:lnTo>
                  <a:lnTo>
                    <a:pt x="450" y="244"/>
                  </a:lnTo>
                  <a:lnTo>
                    <a:pt x="446" y="246"/>
                  </a:lnTo>
                  <a:lnTo>
                    <a:pt x="446" y="244"/>
                  </a:lnTo>
                  <a:lnTo>
                    <a:pt x="442" y="244"/>
                  </a:lnTo>
                  <a:lnTo>
                    <a:pt x="440" y="246"/>
                  </a:lnTo>
                  <a:lnTo>
                    <a:pt x="437" y="248"/>
                  </a:lnTo>
                  <a:lnTo>
                    <a:pt x="433" y="250"/>
                  </a:lnTo>
                  <a:lnTo>
                    <a:pt x="433" y="254"/>
                  </a:lnTo>
                  <a:lnTo>
                    <a:pt x="431" y="254"/>
                  </a:lnTo>
                  <a:lnTo>
                    <a:pt x="429" y="256"/>
                  </a:lnTo>
                  <a:lnTo>
                    <a:pt x="427" y="256"/>
                  </a:lnTo>
                  <a:lnTo>
                    <a:pt x="427" y="258"/>
                  </a:lnTo>
                  <a:lnTo>
                    <a:pt x="425" y="260"/>
                  </a:lnTo>
                  <a:lnTo>
                    <a:pt x="425" y="262"/>
                  </a:lnTo>
                  <a:lnTo>
                    <a:pt x="427" y="262"/>
                  </a:lnTo>
                  <a:lnTo>
                    <a:pt x="429" y="262"/>
                  </a:lnTo>
                  <a:lnTo>
                    <a:pt x="427" y="260"/>
                  </a:lnTo>
                  <a:lnTo>
                    <a:pt x="429" y="260"/>
                  </a:lnTo>
                  <a:lnTo>
                    <a:pt x="431" y="264"/>
                  </a:lnTo>
                  <a:lnTo>
                    <a:pt x="431" y="266"/>
                  </a:lnTo>
                  <a:lnTo>
                    <a:pt x="433" y="266"/>
                  </a:lnTo>
                  <a:lnTo>
                    <a:pt x="429" y="267"/>
                  </a:lnTo>
                  <a:lnTo>
                    <a:pt x="427" y="269"/>
                  </a:lnTo>
                  <a:lnTo>
                    <a:pt x="425" y="269"/>
                  </a:lnTo>
                  <a:lnTo>
                    <a:pt x="423" y="273"/>
                  </a:lnTo>
                  <a:lnTo>
                    <a:pt x="421" y="275"/>
                  </a:lnTo>
                  <a:lnTo>
                    <a:pt x="419" y="275"/>
                  </a:lnTo>
                  <a:lnTo>
                    <a:pt x="419" y="273"/>
                  </a:lnTo>
                  <a:lnTo>
                    <a:pt x="419" y="271"/>
                  </a:lnTo>
                  <a:lnTo>
                    <a:pt x="419" y="273"/>
                  </a:lnTo>
                  <a:lnTo>
                    <a:pt x="421" y="271"/>
                  </a:lnTo>
                  <a:lnTo>
                    <a:pt x="423" y="273"/>
                  </a:lnTo>
                  <a:lnTo>
                    <a:pt x="423" y="271"/>
                  </a:lnTo>
                  <a:lnTo>
                    <a:pt x="425" y="269"/>
                  </a:lnTo>
                  <a:lnTo>
                    <a:pt x="423" y="269"/>
                  </a:lnTo>
                  <a:lnTo>
                    <a:pt x="421" y="269"/>
                  </a:lnTo>
                  <a:lnTo>
                    <a:pt x="419" y="269"/>
                  </a:lnTo>
                  <a:lnTo>
                    <a:pt x="415" y="273"/>
                  </a:lnTo>
                  <a:lnTo>
                    <a:pt x="414" y="275"/>
                  </a:lnTo>
                  <a:lnTo>
                    <a:pt x="412" y="277"/>
                  </a:lnTo>
                  <a:lnTo>
                    <a:pt x="412" y="279"/>
                  </a:lnTo>
                  <a:lnTo>
                    <a:pt x="408" y="285"/>
                  </a:lnTo>
                  <a:lnTo>
                    <a:pt x="406" y="287"/>
                  </a:lnTo>
                  <a:lnTo>
                    <a:pt x="402" y="291"/>
                  </a:lnTo>
                  <a:lnTo>
                    <a:pt x="400" y="292"/>
                  </a:lnTo>
                  <a:lnTo>
                    <a:pt x="396" y="296"/>
                  </a:lnTo>
                  <a:lnTo>
                    <a:pt x="394" y="298"/>
                  </a:lnTo>
                  <a:lnTo>
                    <a:pt x="392" y="300"/>
                  </a:lnTo>
                  <a:lnTo>
                    <a:pt x="390" y="302"/>
                  </a:lnTo>
                  <a:lnTo>
                    <a:pt x="389" y="304"/>
                  </a:lnTo>
                  <a:lnTo>
                    <a:pt x="387" y="304"/>
                  </a:lnTo>
                  <a:lnTo>
                    <a:pt x="385" y="308"/>
                  </a:lnTo>
                  <a:lnTo>
                    <a:pt x="385" y="310"/>
                  </a:lnTo>
                  <a:lnTo>
                    <a:pt x="381" y="314"/>
                  </a:lnTo>
                  <a:lnTo>
                    <a:pt x="379" y="314"/>
                  </a:lnTo>
                  <a:lnTo>
                    <a:pt x="375" y="319"/>
                  </a:lnTo>
                  <a:lnTo>
                    <a:pt x="373" y="321"/>
                  </a:lnTo>
                  <a:lnTo>
                    <a:pt x="371" y="325"/>
                  </a:lnTo>
                  <a:lnTo>
                    <a:pt x="371" y="327"/>
                  </a:lnTo>
                  <a:lnTo>
                    <a:pt x="369" y="329"/>
                  </a:lnTo>
                  <a:lnTo>
                    <a:pt x="367" y="333"/>
                  </a:lnTo>
                  <a:lnTo>
                    <a:pt x="365" y="337"/>
                  </a:lnTo>
                  <a:lnTo>
                    <a:pt x="364" y="340"/>
                  </a:lnTo>
                  <a:lnTo>
                    <a:pt x="367" y="356"/>
                  </a:lnTo>
                  <a:lnTo>
                    <a:pt x="365" y="358"/>
                  </a:lnTo>
                  <a:lnTo>
                    <a:pt x="367" y="365"/>
                  </a:lnTo>
                  <a:lnTo>
                    <a:pt x="371" y="373"/>
                  </a:lnTo>
                  <a:lnTo>
                    <a:pt x="375" y="377"/>
                  </a:lnTo>
                  <a:lnTo>
                    <a:pt x="375" y="379"/>
                  </a:lnTo>
                  <a:lnTo>
                    <a:pt x="379" y="379"/>
                  </a:lnTo>
                  <a:lnTo>
                    <a:pt x="383" y="381"/>
                  </a:lnTo>
                  <a:lnTo>
                    <a:pt x="383" y="383"/>
                  </a:lnTo>
                  <a:lnTo>
                    <a:pt x="383" y="385"/>
                  </a:lnTo>
                  <a:lnTo>
                    <a:pt x="383" y="387"/>
                  </a:lnTo>
                  <a:lnTo>
                    <a:pt x="385" y="387"/>
                  </a:lnTo>
                  <a:lnTo>
                    <a:pt x="385" y="389"/>
                  </a:lnTo>
                  <a:lnTo>
                    <a:pt x="383" y="389"/>
                  </a:lnTo>
                  <a:lnTo>
                    <a:pt x="381" y="390"/>
                  </a:lnTo>
                  <a:lnTo>
                    <a:pt x="379" y="390"/>
                  </a:lnTo>
                  <a:lnTo>
                    <a:pt x="377" y="392"/>
                  </a:lnTo>
                  <a:lnTo>
                    <a:pt x="377" y="394"/>
                  </a:lnTo>
                  <a:lnTo>
                    <a:pt x="375" y="394"/>
                  </a:lnTo>
                  <a:lnTo>
                    <a:pt x="373" y="394"/>
                  </a:lnTo>
                  <a:lnTo>
                    <a:pt x="371" y="394"/>
                  </a:lnTo>
                  <a:lnTo>
                    <a:pt x="369" y="396"/>
                  </a:lnTo>
                  <a:lnTo>
                    <a:pt x="369" y="398"/>
                  </a:lnTo>
                  <a:lnTo>
                    <a:pt x="369" y="400"/>
                  </a:lnTo>
                  <a:lnTo>
                    <a:pt x="367" y="400"/>
                  </a:lnTo>
                  <a:lnTo>
                    <a:pt x="364" y="398"/>
                  </a:lnTo>
                  <a:lnTo>
                    <a:pt x="364" y="400"/>
                  </a:lnTo>
                  <a:lnTo>
                    <a:pt x="362" y="400"/>
                  </a:lnTo>
                  <a:lnTo>
                    <a:pt x="360" y="400"/>
                  </a:lnTo>
                  <a:lnTo>
                    <a:pt x="358" y="400"/>
                  </a:lnTo>
                  <a:lnTo>
                    <a:pt x="354" y="404"/>
                  </a:lnTo>
                  <a:lnTo>
                    <a:pt x="352" y="404"/>
                  </a:lnTo>
                  <a:lnTo>
                    <a:pt x="352" y="406"/>
                  </a:lnTo>
                  <a:lnTo>
                    <a:pt x="352" y="408"/>
                  </a:lnTo>
                  <a:lnTo>
                    <a:pt x="350" y="410"/>
                  </a:lnTo>
                  <a:lnTo>
                    <a:pt x="350" y="408"/>
                  </a:lnTo>
                  <a:lnTo>
                    <a:pt x="346" y="410"/>
                  </a:lnTo>
                  <a:lnTo>
                    <a:pt x="344" y="412"/>
                  </a:lnTo>
                  <a:lnTo>
                    <a:pt x="344" y="414"/>
                  </a:lnTo>
                  <a:lnTo>
                    <a:pt x="344" y="415"/>
                  </a:lnTo>
                  <a:lnTo>
                    <a:pt x="344" y="417"/>
                  </a:lnTo>
                  <a:lnTo>
                    <a:pt x="340" y="417"/>
                  </a:lnTo>
                  <a:lnTo>
                    <a:pt x="339" y="419"/>
                  </a:lnTo>
                  <a:lnTo>
                    <a:pt x="337" y="421"/>
                  </a:lnTo>
                  <a:lnTo>
                    <a:pt x="337" y="425"/>
                  </a:lnTo>
                  <a:lnTo>
                    <a:pt x="337" y="427"/>
                  </a:lnTo>
                  <a:lnTo>
                    <a:pt x="337" y="431"/>
                  </a:lnTo>
                  <a:lnTo>
                    <a:pt x="335" y="431"/>
                  </a:lnTo>
                  <a:lnTo>
                    <a:pt x="333" y="433"/>
                  </a:lnTo>
                  <a:lnTo>
                    <a:pt x="331" y="435"/>
                  </a:lnTo>
                  <a:lnTo>
                    <a:pt x="329" y="438"/>
                  </a:lnTo>
                  <a:lnTo>
                    <a:pt x="329" y="440"/>
                  </a:lnTo>
                  <a:lnTo>
                    <a:pt x="327" y="440"/>
                  </a:lnTo>
                  <a:lnTo>
                    <a:pt x="325" y="442"/>
                  </a:lnTo>
                  <a:lnTo>
                    <a:pt x="325" y="444"/>
                  </a:lnTo>
                  <a:lnTo>
                    <a:pt x="323" y="446"/>
                  </a:lnTo>
                  <a:lnTo>
                    <a:pt x="325" y="448"/>
                  </a:lnTo>
                  <a:lnTo>
                    <a:pt x="329" y="450"/>
                  </a:lnTo>
                  <a:lnTo>
                    <a:pt x="329" y="446"/>
                  </a:lnTo>
                  <a:lnTo>
                    <a:pt x="329" y="444"/>
                  </a:lnTo>
                  <a:lnTo>
                    <a:pt x="329" y="446"/>
                  </a:lnTo>
                  <a:lnTo>
                    <a:pt x="329" y="448"/>
                  </a:lnTo>
                  <a:lnTo>
                    <a:pt x="331" y="450"/>
                  </a:lnTo>
                  <a:lnTo>
                    <a:pt x="331" y="452"/>
                  </a:lnTo>
                  <a:lnTo>
                    <a:pt x="329" y="454"/>
                  </a:lnTo>
                  <a:lnTo>
                    <a:pt x="327" y="454"/>
                  </a:lnTo>
                  <a:lnTo>
                    <a:pt x="325" y="454"/>
                  </a:lnTo>
                  <a:lnTo>
                    <a:pt x="323" y="454"/>
                  </a:lnTo>
                  <a:lnTo>
                    <a:pt x="319" y="456"/>
                  </a:lnTo>
                  <a:lnTo>
                    <a:pt x="317" y="454"/>
                  </a:lnTo>
                  <a:lnTo>
                    <a:pt x="317" y="452"/>
                  </a:lnTo>
                  <a:lnTo>
                    <a:pt x="315" y="452"/>
                  </a:lnTo>
                  <a:lnTo>
                    <a:pt x="315" y="454"/>
                  </a:lnTo>
                  <a:lnTo>
                    <a:pt x="312" y="452"/>
                  </a:lnTo>
                  <a:lnTo>
                    <a:pt x="310" y="452"/>
                  </a:lnTo>
                  <a:lnTo>
                    <a:pt x="310" y="454"/>
                  </a:lnTo>
                  <a:lnTo>
                    <a:pt x="306" y="454"/>
                  </a:lnTo>
                  <a:lnTo>
                    <a:pt x="308" y="452"/>
                  </a:lnTo>
                  <a:lnTo>
                    <a:pt x="306" y="452"/>
                  </a:lnTo>
                  <a:lnTo>
                    <a:pt x="304" y="452"/>
                  </a:lnTo>
                  <a:lnTo>
                    <a:pt x="302" y="452"/>
                  </a:lnTo>
                  <a:lnTo>
                    <a:pt x="300" y="452"/>
                  </a:lnTo>
                  <a:lnTo>
                    <a:pt x="298" y="452"/>
                  </a:lnTo>
                  <a:lnTo>
                    <a:pt x="294" y="454"/>
                  </a:lnTo>
                  <a:lnTo>
                    <a:pt x="292" y="454"/>
                  </a:lnTo>
                  <a:lnTo>
                    <a:pt x="292" y="456"/>
                  </a:lnTo>
                  <a:lnTo>
                    <a:pt x="291" y="458"/>
                  </a:lnTo>
                  <a:lnTo>
                    <a:pt x="291" y="460"/>
                  </a:lnTo>
                  <a:lnTo>
                    <a:pt x="291" y="458"/>
                  </a:lnTo>
                  <a:lnTo>
                    <a:pt x="289" y="458"/>
                  </a:lnTo>
                  <a:lnTo>
                    <a:pt x="287" y="460"/>
                  </a:lnTo>
                  <a:lnTo>
                    <a:pt x="285" y="460"/>
                  </a:lnTo>
                  <a:lnTo>
                    <a:pt x="283" y="462"/>
                  </a:lnTo>
                  <a:lnTo>
                    <a:pt x="281" y="462"/>
                  </a:lnTo>
                  <a:lnTo>
                    <a:pt x="279" y="465"/>
                  </a:lnTo>
                  <a:lnTo>
                    <a:pt x="273" y="469"/>
                  </a:lnTo>
                  <a:lnTo>
                    <a:pt x="271" y="475"/>
                  </a:lnTo>
                  <a:lnTo>
                    <a:pt x="269" y="477"/>
                  </a:lnTo>
                  <a:lnTo>
                    <a:pt x="267" y="481"/>
                  </a:lnTo>
                  <a:lnTo>
                    <a:pt x="266" y="485"/>
                  </a:lnTo>
                  <a:lnTo>
                    <a:pt x="266" y="487"/>
                  </a:lnTo>
                  <a:lnTo>
                    <a:pt x="264" y="487"/>
                  </a:lnTo>
                  <a:lnTo>
                    <a:pt x="262" y="488"/>
                  </a:lnTo>
                  <a:lnTo>
                    <a:pt x="260" y="488"/>
                  </a:lnTo>
                  <a:lnTo>
                    <a:pt x="260" y="490"/>
                  </a:lnTo>
                  <a:lnTo>
                    <a:pt x="260" y="492"/>
                  </a:lnTo>
                  <a:lnTo>
                    <a:pt x="258" y="492"/>
                  </a:lnTo>
                  <a:lnTo>
                    <a:pt x="256" y="494"/>
                  </a:lnTo>
                  <a:lnTo>
                    <a:pt x="256" y="496"/>
                  </a:lnTo>
                  <a:lnTo>
                    <a:pt x="254" y="496"/>
                  </a:lnTo>
                  <a:lnTo>
                    <a:pt x="252" y="496"/>
                  </a:lnTo>
                  <a:lnTo>
                    <a:pt x="252" y="498"/>
                  </a:lnTo>
                  <a:lnTo>
                    <a:pt x="250" y="498"/>
                  </a:lnTo>
                  <a:lnTo>
                    <a:pt x="248" y="498"/>
                  </a:lnTo>
                  <a:lnTo>
                    <a:pt x="246" y="492"/>
                  </a:lnTo>
                  <a:lnTo>
                    <a:pt x="244" y="490"/>
                  </a:lnTo>
                  <a:lnTo>
                    <a:pt x="242" y="488"/>
                  </a:lnTo>
                  <a:lnTo>
                    <a:pt x="241" y="488"/>
                  </a:lnTo>
                  <a:lnTo>
                    <a:pt x="239" y="490"/>
                  </a:lnTo>
                  <a:lnTo>
                    <a:pt x="237" y="488"/>
                  </a:lnTo>
                  <a:lnTo>
                    <a:pt x="235" y="488"/>
                  </a:lnTo>
                  <a:lnTo>
                    <a:pt x="231" y="488"/>
                  </a:lnTo>
                  <a:lnTo>
                    <a:pt x="231" y="490"/>
                  </a:lnTo>
                  <a:lnTo>
                    <a:pt x="229" y="490"/>
                  </a:lnTo>
                  <a:lnTo>
                    <a:pt x="227" y="494"/>
                  </a:lnTo>
                  <a:lnTo>
                    <a:pt x="225" y="494"/>
                  </a:lnTo>
                  <a:lnTo>
                    <a:pt x="223" y="496"/>
                  </a:lnTo>
                  <a:lnTo>
                    <a:pt x="219" y="494"/>
                  </a:lnTo>
                  <a:lnTo>
                    <a:pt x="217" y="492"/>
                  </a:lnTo>
                  <a:lnTo>
                    <a:pt x="216" y="494"/>
                  </a:lnTo>
                  <a:lnTo>
                    <a:pt x="216" y="490"/>
                  </a:lnTo>
                  <a:lnTo>
                    <a:pt x="214" y="490"/>
                  </a:lnTo>
                  <a:lnTo>
                    <a:pt x="212" y="488"/>
                  </a:lnTo>
                  <a:lnTo>
                    <a:pt x="210" y="490"/>
                  </a:lnTo>
                  <a:lnTo>
                    <a:pt x="208" y="488"/>
                  </a:lnTo>
                  <a:lnTo>
                    <a:pt x="206" y="488"/>
                  </a:lnTo>
                  <a:lnTo>
                    <a:pt x="204" y="488"/>
                  </a:lnTo>
                  <a:lnTo>
                    <a:pt x="202" y="488"/>
                  </a:lnTo>
                  <a:lnTo>
                    <a:pt x="198" y="487"/>
                  </a:lnTo>
                  <a:lnTo>
                    <a:pt x="193" y="487"/>
                  </a:lnTo>
                  <a:lnTo>
                    <a:pt x="191" y="488"/>
                  </a:lnTo>
                  <a:lnTo>
                    <a:pt x="189" y="488"/>
                  </a:lnTo>
                  <a:lnTo>
                    <a:pt x="185" y="488"/>
                  </a:lnTo>
                  <a:lnTo>
                    <a:pt x="185" y="487"/>
                  </a:lnTo>
                  <a:lnTo>
                    <a:pt x="183" y="487"/>
                  </a:lnTo>
                  <a:lnTo>
                    <a:pt x="181" y="487"/>
                  </a:lnTo>
                  <a:lnTo>
                    <a:pt x="181" y="485"/>
                  </a:lnTo>
                  <a:lnTo>
                    <a:pt x="179" y="485"/>
                  </a:lnTo>
                  <a:lnTo>
                    <a:pt x="177" y="483"/>
                  </a:lnTo>
                  <a:lnTo>
                    <a:pt x="175" y="485"/>
                  </a:lnTo>
                  <a:lnTo>
                    <a:pt x="173" y="485"/>
                  </a:lnTo>
                  <a:lnTo>
                    <a:pt x="173" y="483"/>
                  </a:lnTo>
                  <a:lnTo>
                    <a:pt x="171" y="483"/>
                  </a:lnTo>
                  <a:lnTo>
                    <a:pt x="168" y="481"/>
                  </a:lnTo>
                  <a:lnTo>
                    <a:pt x="166" y="481"/>
                  </a:lnTo>
                  <a:lnTo>
                    <a:pt x="164" y="481"/>
                  </a:lnTo>
                  <a:lnTo>
                    <a:pt x="158" y="479"/>
                  </a:lnTo>
                  <a:lnTo>
                    <a:pt x="156" y="481"/>
                  </a:lnTo>
                  <a:lnTo>
                    <a:pt x="152" y="481"/>
                  </a:lnTo>
                  <a:lnTo>
                    <a:pt x="148" y="481"/>
                  </a:lnTo>
                  <a:lnTo>
                    <a:pt x="143" y="479"/>
                  </a:lnTo>
                  <a:lnTo>
                    <a:pt x="139" y="479"/>
                  </a:lnTo>
                  <a:lnTo>
                    <a:pt x="139" y="481"/>
                  </a:lnTo>
                  <a:lnTo>
                    <a:pt x="135" y="483"/>
                  </a:lnTo>
                  <a:lnTo>
                    <a:pt x="135" y="485"/>
                  </a:lnTo>
                  <a:lnTo>
                    <a:pt x="133" y="485"/>
                  </a:lnTo>
                  <a:lnTo>
                    <a:pt x="129" y="487"/>
                  </a:lnTo>
                  <a:lnTo>
                    <a:pt x="127" y="488"/>
                  </a:lnTo>
                  <a:lnTo>
                    <a:pt x="125" y="488"/>
                  </a:lnTo>
                  <a:lnTo>
                    <a:pt x="123" y="490"/>
                  </a:lnTo>
                  <a:lnTo>
                    <a:pt x="121" y="488"/>
                  </a:lnTo>
                  <a:lnTo>
                    <a:pt x="116" y="487"/>
                  </a:lnTo>
                  <a:lnTo>
                    <a:pt x="114" y="487"/>
                  </a:lnTo>
                  <a:lnTo>
                    <a:pt x="108" y="488"/>
                  </a:lnTo>
                  <a:lnTo>
                    <a:pt x="106" y="487"/>
                  </a:lnTo>
                  <a:lnTo>
                    <a:pt x="106" y="488"/>
                  </a:lnTo>
                  <a:lnTo>
                    <a:pt x="102" y="488"/>
                  </a:lnTo>
                  <a:lnTo>
                    <a:pt x="100" y="490"/>
                  </a:lnTo>
                  <a:lnTo>
                    <a:pt x="95" y="494"/>
                  </a:lnTo>
                  <a:lnTo>
                    <a:pt x="95" y="496"/>
                  </a:lnTo>
                  <a:lnTo>
                    <a:pt x="93" y="496"/>
                  </a:lnTo>
                  <a:lnTo>
                    <a:pt x="91" y="500"/>
                  </a:lnTo>
                  <a:lnTo>
                    <a:pt x="89" y="500"/>
                  </a:lnTo>
                  <a:lnTo>
                    <a:pt x="87" y="508"/>
                  </a:lnTo>
                  <a:lnTo>
                    <a:pt x="85" y="508"/>
                  </a:lnTo>
                  <a:lnTo>
                    <a:pt x="85" y="506"/>
                  </a:lnTo>
                  <a:lnTo>
                    <a:pt x="83" y="504"/>
                  </a:lnTo>
                  <a:lnTo>
                    <a:pt x="81" y="510"/>
                  </a:lnTo>
                  <a:lnTo>
                    <a:pt x="79" y="511"/>
                  </a:lnTo>
                  <a:lnTo>
                    <a:pt x="77" y="511"/>
                  </a:lnTo>
                  <a:lnTo>
                    <a:pt x="70" y="511"/>
                  </a:lnTo>
                  <a:lnTo>
                    <a:pt x="70" y="510"/>
                  </a:lnTo>
                  <a:lnTo>
                    <a:pt x="66" y="508"/>
                  </a:lnTo>
                  <a:lnTo>
                    <a:pt x="64" y="506"/>
                  </a:lnTo>
                  <a:lnTo>
                    <a:pt x="62" y="506"/>
                  </a:lnTo>
                  <a:lnTo>
                    <a:pt x="60" y="502"/>
                  </a:lnTo>
                  <a:lnTo>
                    <a:pt x="58" y="498"/>
                  </a:lnTo>
                  <a:lnTo>
                    <a:pt x="54" y="496"/>
                  </a:lnTo>
                  <a:lnTo>
                    <a:pt x="52" y="496"/>
                  </a:lnTo>
                  <a:lnTo>
                    <a:pt x="50" y="492"/>
                  </a:lnTo>
                  <a:lnTo>
                    <a:pt x="50" y="490"/>
                  </a:lnTo>
                  <a:lnTo>
                    <a:pt x="50" y="488"/>
                  </a:lnTo>
                  <a:lnTo>
                    <a:pt x="48" y="487"/>
                  </a:lnTo>
                  <a:lnTo>
                    <a:pt x="48" y="483"/>
                  </a:lnTo>
                  <a:lnTo>
                    <a:pt x="46" y="481"/>
                  </a:lnTo>
                  <a:lnTo>
                    <a:pt x="48" y="479"/>
                  </a:lnTo>
                  <a:lnTo>
                    <a:pt x="46" y="481"/>
                  </a:lnTo>
                  <a:lnTo>
                    <a:pt x="45" y="471"/>
                  </a:lnTo>
                  <a:lnTo>
                    <a:pt x="43" y="471"/>
                  </a:lnTo>
                  <a:lnTo>
                    <a:pt x="45" y="469"/>
                  </a:lnTo>
                  <a:lnTo>
                    <a:pt x="46" y="469"/>
                  </a:lnTo>
                  <a:lnTo>
                    <a:pt x="46" y="473"/>
                  </a:lnTo>
                  <a:lnTo>
                    <a:pt x="48" y="471"/>
                  </a:lnTo>
                  <a:lnTo>
                    <a:pt x="48" y="469"/>
                  </a:lnTo>
                  <a:lnTo>
                    <a:pt x="48" y="467"/>
                  </a:lnTo>
                  <a:lnTo>
                    <a:pt x="46" y="467"/>
                  </a:lnTo>
                  <a:lnTo>
                    <a:pt x="46" y="465"/>
                  </a:lnTo>
                  <a:lnTo>
                    <a:pt x="45" y="463"/>
                  </a:lnTo>
                  <a:lnTo>
                    <a:pt x="43" y="465"/>
                  </a:lnTo>
                  <a:lnTo>
                    <a:pt x="41" y="463"/>
                  </a:lnTo>
                  <a:lnTo>
                    <a:pt x="43" y="462"/>
                  </a:lnTo>
                  <a:lnTo>
                    <a:pt x="41" y="458"/>
                  </a:lnTo>
                  <a:lnTo>
                    <a:pt x="41" y="456"/>
                  </a:lnTo>
                  <a:lnTo>
                    <a:pt x="43" y="456"/>
                  </a:lnTo>
                  <a:lnTo>
                    <a:pt x="43" y="454"/>
                  </a:lnTo>
                  <a:lnTo>
                    <a:pt x="45" y="454"/>
                  </a:lnTo>
                  <a:lnTo>
                    <a:pt x="46" y="454"/>
                  </a:lnTo>
                  <a:lnTo>
                    <a:pt x="45" y="452"/>
                  </a:lnTo>
                  <a:lnTo>
                    <a:pt x="45" y="448"/>
                  </a:lnTo>
                  <a:lnTo>
                    <a:pt x="43" y="442"/>
                  </a:lnTo>
                  <a:lnTo>
                    <a:pt x="41" y="440"/>
                  </a:lnTo>
                  <a:lnTo>
                    <a:pt x="33" y="431"/>
                  </a:lnTo>
                  <a:lnTo>
                    <a:pt x="29" y="427"/>
                  </a:lnTo>
                  <a:lnTo>
                    <a:pt x="27" y="425"/>
                  </a:lnTo>
                  <a:lnTo>
                    <a:pt x="25" y="423"/>
                  </a:lnTo>
                  <a:lnTo>
                    <a:pt x="25" y="419"/>
                  </a:lnTo>
                  <a:lnTo>
                    <a:pt x="23" y="421"/>
                  </a:lnTo>
                  <a:lnTo>
                    <a:pt x="23" y="423"/>
                  </a:lnTo>
                  <a:lnTo>
                    <a:pt x="20" y="419"/>
                  </a:lnTo>
                  <a:lnTo>
                    <a:pt x="18" y="419"/>
                  </a:lnTo>
                  <a:lnTo>
                    <a:pt x="6" y="417"/>
                  </a:lnTo>
                  <a:lnTo>
                    <a:pt x="2" y="419"/>
                  </a:lnTo>
                  <a:lnTo>
                    <a:pt x="0" y="417"/>
                  </a:lnTo>
                  <a:lnTo>
                    <a:pt x="2" y="414"/>
                  </a:lnTo>
                  <a:lnTo>
                    <a:pt x="0" y="414"/>
                  </a:lnTo>
                  <a:lnTo>
                    <a:pt x="0" y="412"/>
                  </a:lnTo>
                  <a:lnTo>
                    <a:pt x="0" y="410"/>
                  </a:lnTo>
                  <a:lnTo>
                    <a:pt x="2" y="406"/>
                  </a:lnTo>
                  <a:lnTo>
                    <a:pt x="2" y="404"/>
                  </a:lnTo>
                  <a:lnTo>
                    <a:pt x="0" y="402"/>
                  </a:lnTo>
                  <a:lnTo>
                    <a:pt x="2" y="402"/>
                  </a:lnTo>
                  <a:lnTo>
                    <a:pt x="2" y="396"/>
                  </a:lnTo>
                  <a:lnTo>
                    <a:pt x="0" y="396"/>
                  </a:lnTo>
                  <a:lnTo>
                    <a:pt x="0" y="394"/>
                  </a:lnTo>
                  <a:lnTo>
                    <a:pt x="0" y="392"/>
                  </a:lnTo>
                  <a:lnTo>
                    <a:pt x="2" y="392"/>
                  </a:lnTo>
                  <a:lnTo>
                    <a:pt x="2" y="390"/>
                  </a:lnTo>
                  <a:lnTo>
                    <a:pt x="6" y="387"/>
                  </a:lnTo>
                  <a:lnTo>
                    <a:pt x="6" y="385"/>
                  </a:lnTo>
                  <a:lnTo>
                    <a:pt x="8" y="383"/>
                  </a:lnTo>
                  <a:lnTo>
                    <a:pt x="12" y="379"/>
                  </a:lnTo>
                  <a:lnTo>
                    <a:pt x="16" y="377"/>
                  </a:lnTo>
                  <a:lnTo>
                    <a:pt x="16" y="375"/>
                  </a:lnTo>
                  <a:lnTo>
                    <a:pt x="18" y="373"/>
                  </a:lnTo>
                  <a:lnTo>
                    <a:pt x="18" y="371"/>
                  </a:lnTo>
                  <a:lnTo>
                    <a:pt x="20" y="369"/>
                  </a:lnTo>
                  <a:lnTo>
                    <a:pt x="21" y="369"/>
                  </a:lnTo>
                  <a:lnTo>
                    <a:pt x="23" y="369"/>
                  </a:lnTo>
                  <a:lnTo>
                    <a:pt x="25" y="367"/>
                  </a:lnTo>
                  <a:lnTo>
                    <a:pt x="27" y="367"/>
                  </a:lnTo>
                  <a:lnTo>
                    <a:pt x="29" y="369"/>
                  </a:lnTo>
                  <a:lnTo>
                    <a:pt x="31" y="369"/>
                  </a:lnTo>
                  <a:lnTo>
                    <a:pt x="33" y="364"/>
                  </a:lnTo>
                  <a:lnTo>
                    <a:pt x="35" y="364"/>
                  </a:lnTo>
                  <a:lnTo>
                    <a:pt x="35" y="362"/>
                  </a:lnTo>
                  <a:lnTo>
                    <a:pt x="39" y="36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40" name="Freeform 328"/>
            <p:cNvSpPr>
              <a:spLocks/>
            </p:cNvSpPr>
            <p:nvPr/>
          </p:nvSpPr>
          <p:spPr bwMode="auto">
            <a:xfrm>
              <a:off x="1589" y="2905"/>
              <a:ext cx="554" cy="476"/>
            </a:xfrm>
            <a:custGeom>
              <a:avLst/>
              <a:gdLst>
                <a:gd name="T0" fmla="*/ 196 w 554"/>
                <a:gd name="T1" fmla="*/ 11 h 476"/>
                <a:gd name="T2" fmla="*/ 223 w 554"/>
                <a:gd name="T3" fmla="*/ 21 h 476"/>
                <a:gd name="T4" fmla="*/ 244 w 554"/>
                <a:gd name="T5" fmla="*/ 19 h 476"/>
                <a:gd name="T6" fmla="*/ 252 w 554"/>
                <a:gd name="T7" fmla="*/ 21 h 476"/>
                <a:gd name="T8" fmla="*/ 262 w 554"/>
                <a:gd name="T9" fmla="*/ 25 h 476"/>
                <a:gd name="T10" fmla="*/ 277 w 554"/>
                <a:gd name="T11" fmla="*/ 35 h 476"/>
                <a:gd name="T12" fmla="*/ 291 w 554"/>
                <a:gd name="T13" fmla="*/ 33 h 476"/>
                <a:gd name="T14" fmla="*/ 308 w 554"/>
                <a:gd name="T15" fmla="*/ 40 h 476"/>
                <a:gd name="T16" fmla="*/ 331 w 554"/>
                <a:gd name="T17" fmla="*/ 44 h 476"/>
                <a:gd name="T18" fmla="*/ 342 w 554"/>
                <a:gd name="T19" fmla="*/ 50 h 476"/>
                <a:gd name="T20" fmla="*/ 354 w 554"/>
                <a:gd name="T21" fmla="*/ 63 h 476"/>
                <a:gd name="T22" fmla="*/ 369 w 554"/>
                <a:gd name="T23" fmla="*/ 75 h 476"/>
                <a:gd name="T24" fmla="*/ 385 w 554"/>
                <a:gd name="T25" fmla="*/ 88 h 476"/>
                <a:gd name="T26" fmla="*/ 417 w 554"/>
                <a:gd name="T27" fmla="*/ 96 h 476"/>
                <a:gd name="T28" fmla="*/ 438 w 554"/>
                <a:gd name="T29" fmla="*/ 100 h 476"/>
                <a:gd name="T30" fmla="*/ 458 w 554"/>
                <a:gd name="T31" fmla="*/ 100 h 476"/>
                <a:gd name="T32" fmla="*/ 473 w 554"/>
                <a:gd name="T33" fmla="*/ 113 h 476"/>
                <a:gd name="T34" fmla="*/ 477 w 554"/>
                <a:gd name="T35" fmla="*/ 125 h 476"/>
                <a:gd name="T36" fmla="*/ 494 w 554"/>
                <a:gd name="T37" fmla="*/ 131 h 476"/>
                <a:gd name="T38" fmla="*/ 523 w 554"/>
                <a:gd name="T39" fmla="*/ 134 h 476"/>
                <a:gd name="T40" fmla="*/ 548 w 554"/>
                <a:gd name="T41" fmla="*/ 138 h 476"/>
                <a:gd name="T42" fmla="*/ 544 w 554"/>
                <a:gd name="T43" fmla="*/ 148 h 476"/>
                <a:gd name="T44" fmla="*/ 542 w 554"/>
                <a:gd name="T45" fmla="*/ 173 h 476"/>
                <a:gd name="T46" fmla="*/ 525 w 554"/>
                <a:gd name="T47" fmla="*/ 183 h 476"/>
                <a:gd name="T48" fmla="*/ 490 w 554"/>
                <a:gd name="T49" fmla="*/ 204 h 476"/>
                <a:gd name="T50" fmla="*/ 450 w 554"/>
                <a:gd name="T51" fmla="*/ 207 h 476"/>
                <a:gd name="T52" fmla="*/ 429 w 554"/>
                <a:gd name="T53" fmla="*/ 221 h 476"/>
                <a:gd name="T54" fmla="*/ 431 w 554"/>
                <a:gd name="T55" fmla="*/ 231 h 476"/>
                <a:gd name="T56" fmla="*/ 419 w 554"/>
                <a:gd name="T57" fmla="*/ 238 h 476"/>
                <a:gd name="T58" fmla="*/ 412 w 554"/>
                <a:gd name="T59" fmla="*/ 242 h 476"/>
                <a:gd name="T60" fmla="*/ 389 w 554"/>
                <a:gd name="T61" fmla="*/ 269 h 476"/>
                <a:gd name="T62" fmla="*/ 369 w 554"/>
                <a:gd name="T63" fmla="*/ 294 h 476"/>
                <a:gd name="T64" fmla="*/ 379 w 554"/>
                <a:gd name="T65" fmla="*/ 344 h 476"/>
                <a:gd name="T66" fmla="*/ 377 w 554"/>
                <a:gd name="T67" fmla="*/ 357 h 476"/>
                <a:gd name="T68" fmla="*/ 364 w 554"/>
                <a:gd name="T69" fmla="*/ 365 h 476"/>
                <a:gd name="T70" fmla="*/ 346 w 554"/>
                <a:gd name="T71" fmla="*/ 375 h 476"/>
                <a:gd name="T72" fmla="*/ 337 w 554"/>
                <a:gd name="T73" fmla="*/ 396 h 476"/>
                <a:gd name="T74" fmla="*/ 325 w 554"/>
                <a:gd name="T75" fmla="*/ 413 h 476"/>
                <a:gd name="T76" fmla="*/ 325 w 554"/>
                <a:gd name="T77" fmla="*/ 419 h 476"/>
                <a:gd name="T78" fmla="*/ 306 w 554"/>
                <a:gd name="T79" fmla="*/ 419 h 476"/>
                <a:gd name="T80" fmla="*/ 291 w 554"/>
                <a:gd name="T81" fmla="*/ 423 h 476"/>
                <a:gd name="T82" fmla="*/ 271 w 554"/>
                <a:gd name="T83" fmla="*/ 440 h 476"/>
                <a:gd name="T84" fmla="*/ 258 w 554"/>
                <a:gd name="T85" fmla="*/ 457 h 476"/>
                <a:gd name="T86" fmla="*/ 242 w 554"/>
                <a:gd name="T87" fmla="*/ 453 h 476"/>
                <a:gd name="T88" fmla="*/ 223 w 554"/>
                <a:gd name="T89" fmla="*/ 461 h 476"/>
                <a:gd name="T90" fmla="*/ 204 w 554"/>
                <a:gd name="T91" fmla="*/ 453 h 476"/>
                <a:gd name="T92" fmla="*/ 181 w 554"/>
                <a:gd name="T93" fmla="*/ 450 h 476"/>
                <a:gd name="T94" fmla="*/ 158 w 554"/>
                <a:gd name="T95" fmla="*/ 444 h 476"/>
                <a:gd name="T96" fmla="*/ 129 w 554"/>
                <a:gd name="T97" fmla="*/ 452 h 476"/>
                <a:gd name="T98" fmla="*/ 102 w 554"/>
                <a:gd name="T99" fmla="*/ 453 h 476"/>
                <a:gd name="T100" fmla="*/ 83 w 554"/>
                <a:gd name="T101" fmla="*/ 469 h 476"/>
                <a:gd name="T102" fmla="*/ 58 w 554"/>
                <a:gd name="T103" fmla="*/ 463 h 476"/>
                <a:gd name="T104" fmla="*/ 46 w 554"/>
                <a:gd name="T105" fmla="*/ 446 h 476"/>
                <a:gd name="T106" fmla="*/ 46 w 554"/>
                <a:gd name="T107" fmla="*/ 430 h 476"/>
                <a:gd name="T108" fmla="*/ 46 w 554"/>
                <a:gd name="T109" fmla="*/ 419 h 476"/>
                <a:gd name="T110" fmla="*/ 23 w 554"/>
                <a:gd name="T111" fmla="*/ 386 h 476"/>
                <a:gd name="T112" fmla="*/ 0 w 554"/>
                <a:gd name="T113" fmla="*/ 375 h 476"/>
                <a:gd name="T114" fmla="*/ 2 w 554"/>
                <a:gd name="T115" fmla="*/ 355 h 476"/>
                <a:gd name="T116" fmla="*/ 21 w 554"/>
                <a:gd name="T117" fmla="*/ 33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4" h="476">
                  <a:moveTo>
                    <a:pt x="173" y="0"/>
                  </a:moveTo>
                  <a:lnTo>
                    <a:pt x="175" y="2"/>
                  </a:lnTo>
                  <a:lnTo>
                    <a:pt x="183" y="2"/>
                  </a:lnTo>
                  <a:lnTo>
                    <a:pt x="181" y="6"/>
                  </a:lnTo>
                  <a:lnTo>
                    <a:pt x="183" y="4"/>
                  </a:lnTo>
                  <a:lnTo>
                    <a:pt x="187" y="4"/>
                  </a:lnTo>
                  <a:lnTo>
                    <a:pt x="191" y="10"/>
                  </a:lnTo>
                  <a:lnTo>
                    <a:pt x="193" y="10"/>
                  </a:lnTo>
                  <a:lnTo>
                    <a:pt x="194" y="10"/>
                  </a:lnTo>
                  <a:lnTo>
                    <a:pt x="196" y="11"/>
                  </a:lnTo>
                  <a:lnTo>
                    <a:pt x="200" y="11"/>
                  </a:lnTo>
                  <a:lnTo>
                    <a:pt x="204" y="15"/>
                  </a:lnTo>
                  <a:lnTo>
                    <a:pt x="208" y="15"/>
                  </a:lnTo>
                  <a:lnTo>
                    <a:pt x="212" y="17"/>
                  </a:lnTo>
                  <a:lnTo>
                    <a:pt x="216" y="19"/>
                  </a:lnTo>
                  <a:lnTo>
                    <a:pt x="217" y="19"/>
                  </a:lnTo>
                  <a:lnTo>
                    <a:pt x="217" y="21"/>
                  </a:lnTo>
                  <a:lnTo>
                    <a:pt x="219" y="21"/>
                  </a:lnTo>
                  <a:lnTo>
                    <a:pt x="221" y="21"/>
                  </a:lnTo>
                  <a:lnTo>
                    <a:pt x="223" y="21"/>
                  </a:lnTo>
                  <a:lnTo>
                    <a:pt x="225" y="21"/>
                  </a:lnTo>
                  <a:lnTo>
                    <a:pt x="225" y="23"/>
                  </a:lnTo>
                  <a:lnTo>
                    <a:pt x="227" y="21"/>
                  </a:lnTo>
                  <a:lnTo>
                    <a:pt x="231" y="23"/>
                  </a:lnTo>
                  <a:lnTo>
                    <a:pt x="235" y="21"/>
                  </a:lnTo>
                  <a:lnTo>
                    <a:pt x="237" y="21"/>
                  </a:lnTo>
                  <a:lnTo>
                    <a:pt x="239" y="23"/>
                  </a:lnTo>
                  <a:lnTo>
                    <a:pt x="239" y="21"/>
                  </a:lnTo>
                  <a:lnTo>
                    <a:pt x="241" y="21"/>
                  </a:lnTo>
                  <a:lnTo>
                    <a:pt x="244" y="19"/>
                  </a:lnTo>
                  <a:lnTo>
                    <a:pt x="246" y="21"/>
                  </a:lnTo>
                  <a:lnTo>
                    <a:pt x="248" y="19"/>
                  </a:lnTo>
                  <a:lnTo>
                    <a:pt x="248" y="21"/>
                  </a:lnTo>
                  <a:lnTo>
                    <a:pt x="250" y="21"/>
                  </a:lnTo>
                  <a:lnTo>
                    <a:pt x="248" y="23"/>
                  </a:lnTo>
                  <a:lnTo>
                    <a:pt x="246" y="23"/>
                  </a:lnTo>
                  <a:lnTo>
                    <a:pt x="246" y="25"/>
                  </a:lnTo>
                  <a:lnTo>
                    <a:pt x="248" y="25"/>
                  </a:lnTo>
                  <a:lnTo>
                    <a:pt x="248" y="23"/>
                  </a:lnTo>
                  <a:lnTo>
                    <a:pt x="252" y="21"/>
                  </a:lnTo>
                  <a:lnTo>
                    <a:pt x="254" y="21"/>
                  </a:lnTo>
                  <a:lnTo>
                    <a:pt x="256" y="21"/>
                  </a:lnTo>
                  <a:lnTo>
                    <a:pt x="256" y="23"/>
                  </a:lnTo>
                  <a:lnTo>
                    <a:pt x="256" y="21"/>
                  </a:lnTo>
                  <a:lnTo>
                    <a:pt x="258" y="21"/>
                  </a:lnTo>
                  <a:lnTo>
                    <a:pt x="260" y="21"/>
                  </a:lnTo>
                  <a:lnTo>
                    <a:pt x="260" y="23"/>
                  </a:lnTo>
                  <a:lnTo>
                    <a:pt x="262" y="23"/>
                  </a:lnTo>
                  <a:lnTo>
                    <a:pt x="264" y="25"/>
                  </a:lnTo>
                  <a:lnTo>
                    <a:pt x="262" y="25"/>
                  </a:lnTo>
                  <a:lnTo>
                    <a:pt x="262" y="27"/>
                  </a:lnTo>
                  <a:lnTo>
                    <a:pt x="264" y="27"/>
                  </a:lnTo>
                  <a:lnTo>
                    <a:pt x="269" y="29"/>
                  </a:lnTo>
                  <a:lnTo>
                    <a:pt x="267" y="29"/>
                  </a:lnTo>
                  <a:lnTo>
                    <a:pt x="269" y="29"/>
                  </a:lnTo>
                  <a:lnTo>
                    <a:pt x="271" y="29"/>
                  </a:lnTo>
                  <a:lnTo>
                    <a:pt x="273" y="31"/>
                  </a:lnTo>
                  <a:lnTo>
                    <a:pt x="273" y="33"/>
                  </a:lnTo>
                  <a:lnTo>
                    <a:pt x="275" y="35"/>
                  </a:lnTo>
                  <a:lnTo>
                    <a:pt x="277" y="35"/>
                  </a:lnTo>
                  <a:lnTo>
                    <a:pt x="279" y="35"/>
                  </a:lnTo>
                  <a:lnTo>
                    <a:pt x="281" y="35"/>
                  </a:lnTo>
                  <a:lnTo>
                    <a:pt x="281" y="36"/>
                  </a:lnTo>
                  <a:lnTo>
                    <a:pt x="283" y="38"/>
                  </a:lnTo>
                  <a:lnTo>
                    <a:pt x="281" y="35"/>
                  </a:lnTo>
                  <a:lnTo>
                    <a:pt x="283" y="35"/>
                  </a:lnTo>
                  <a:lnTo>
                    <a:pt x="283" y="33"/>
                  </a:lnTo>
                  <a:lnTo>
                    <a:pt x="287" y="31"/>
                  </a:lnTo>
                  <a:lnTo>
                    <a:pt x="289" y="31"/>
                  </a:lnTo>
                  <a:lnTo>
                    <a:pt x="291" y="33"/>
                  </a:lnTo>
                  <a:lnTo>
                    <a:pt x="292" y="33"/>
                  </a:lnTo>
                  <a:lnTo>
                    <a:pt x="294" y="31"/>
                  </a:lnTo>
                  <a:lnTo>
                    <a:pt x="294" y="33"/>
                  </a:lnTo>
                  <a:lnTo>
                    <a:pt x="296" y="35"/>
                  </a:lnTo>
                  <a:lnTo>
                    <a:pt x="298" y="35"/>
                  </a:lnTo>
                  <a:lnTo>
                    <a:pt x="298" y="36"/>
                  </a:lnTo>
                  <a:lnTo>
                    <a:pt x="300" y="36"/>
                  </a:lnTo>
                  <a:lnTo>
                    <a:pt x="306" y="36"/>
                  </a:lnTo>
                  <a:lnTo>
                    <a:pt x="306" y="38"/>
                  </a:lnTo>
                  <a:lnTo>
                    <a:pt x="308" y="40"/>
                  </a:lnTo>
                  <a:lnTo>
                    <a:pt x="310" y="42"/>
                  </a:lnTo>
                  <a:lnTo>
                    <a:pt x="312" y="42"/>
                  </a:lnTo>
                  <a:lnTo>
                    <a:pt x="314" y="42"/>
                  </a:lnTo>
                  <a:lnTo>
                    <a:pt x="319" y="42"/>
                  </a:lnTo>
                  <a:lnTo>
                    <a:pt x="319" y="44"/>
                  </a:lnTo>
                  <a:lnTo>
                    <a:pt x="321" y="46"/>
                  </a:lnTo>
                  <a:lnTo>
                    <a:pt x="323" y="44"/>
                  </a:lnTo>
                  <a:lnTo>
                    <a:pt x="327" y="44"/>
                  </a:lnTo>
                  <a:lnTo>
                    <a:pt x="329" y="44"/>
                  </a:lnTo>
                  <a:lnTo>
                    <a:pt x="331" y="44"/>
                  </a:lnTo>
                  <a:lnTo>
                    <a:pt x="333" y="44"/>
                  </a:lnTo>
                  <a:lnTo>
                    <a:pt x="333" y="42"/>
                  </a:lnTo>
                  <a:lnTo>
                    <a:pt x="337" y="40"/>
                  </a:lnTo>
                  <a:lnTo>
                    <a:pt x="337" y="42"/>
                  </a:lnTo>
                  <a:lnTo>
                    <a:pt x="337" y="44"/>
                  </a:lnTo>
                  <a:lnTo>
                    <a:pt x="339" y="44"/>
                  </a:lnTo>
                  <a:lnTo>
                    <a:pt x="339" y="46"/>
                  </a:lnTo>
                  <a:lnTo>
                    <a:pt x="340" y="48"/>
                  </a:lnTo>
                  <a:lnTo>
                    <a:pt x="342" y="48"/>
                  </a:lnTo>
                  <a:lnTo>
                    <a:pt x="342" y="50"/>
                  </a:lnTo>
                  <a:lnTo>
                    <a:pt x="344" y="52"/>
                  </a:lnTo>
                  <a:lnTo>
                    <a:pt x="346" y="50"/>
                  </a:lnTo>
                  <a:lnTo>
                    <a:pt x="352" y="52"/>
                  </a:lnTo>
                  <a:lnTo>
                    <a:pt x="354" y="54"/>
                  </a:lnTo>
                  <a:lnTo>
                    <a:pt x="350" y="61"/>
                  </a:lnTo>
                  <a:lnTo>
                    <a:pt x="348" y="63"/>
                  </a:lnTo>
                  <a:lnTo>
                    <a:pt x="348" y="65"/>
                  </a:lnTo>
                  <a:lnTo>
                    <a:pt x="348" y="67"/>
                  </a:lnTo>
                  <a:lnTo>
                    <a:pt x="352" y="67"/>
                  </a:lnTo>
                  <a:lnTo>
                    <a:pt x="354" y="63"/>
                  </a:lnTo>
                  <a:lnTo>
                    <a:pt x="356" y="63"/>
                  </a:lnTo>
                  <a:lnTo>
                    <a:pt x="356" y="67"/>
                  </a:lnTo>
                  <a:lnTo>
                    <a:pt x="358" y="67"/>
                  </a:lnTo>
                  <a:lnTo>
                    <a:pt x="362" y="69"/>
                  </a:lnTo>
                  <a:lnTo>
                    <a:pt x="362" y="71"/>
                  </a:lnTo>
                  <a:lnTo>
                    <a:pt x="364" y="71"/>
                  </a:lnTo>
                  <a:lnTo>
                    <a:pt x="365" y="73"/>
                  </a:lnTo>
                  <a:lnTo>
                    <a:pt x="367" y="73"/>
                  </a:lnTo>
                  <a:lnTo>
                    <a:pt x="367" y="75"/>
                  </a:lnTo>
                  <a:lnTo>
                    <a:pt x="369" y="75"/>
                  </a:lnTo>
                  <a:lnTo>
                    <a:pt x="371" y="75"/>
                  </a:lnTo>
                  <a:lnTo>
                    <a:pt x="373" y="77"/>
                  </a:lnTo>
                  <a:lnTo>
                    <a:pt x="377" y="77"/>
                  </a:lnTo>
                  <a:lnTo>
                    <a:pt x="379" y="77"/>
                  </a:lnTo>
                  <a:lnTo>
                    <a:pt x="379" y="79"/>
                  </a:lnTo>
                  <a:lnTo>
                    <a:pt x="379" y="81"/>
                  </a:lnTo>
                  <a:lnTo>
                    <a:pt x="381" y="83"/>
                  </a:lnTo>
                  <a:lnTo>
                    <a:pt x="381" y="85"/>
                  </a:lnTo>
                  <a:lnTo>
                    <a:pt x="383" y="86"/>
                  </a:lnTo>
                  <a:lnTo>
                    <a:pt x="385" y="88"/>
                  </a:lnTo>
                  <a:lnTo>
                    <a:pt x="387" y="88"/>
                  </a:lnTo>
                  <a:lnTo>
                    <a:pt x="389" y="86"/>
                  </a:lnTo>
                  <a:lnTo>
                    <a:pt x="392" y="88"/>
                  </a:lnTo>
                  <a:lnTo>
                    <a:pt x="396" y="86"/>
                  </a:lnTo>
                  <a:lnTo>
                    <a:pt x="400" y="90"/>
                  </a:lnTo>
                  <a:lnTo>
                    <a:pt x="402" y="90"/>
                  </a:lnTo>
                  <a:lnTo>
                    <a:pt x="404" y="94"/>
                  </a:lnTo>
                  <a:lnTo>
                    <a:pt x="406" y="96"/>
                  </a:lnTo>
                  <a:lnTo>
                    <a:pt x="408" y="98"/>
                  </a:lnTo>
                  <a:lnTo>
                    <a:pt x="417" y="96"/>
                  </a:lnTo>
                  <a:lnTo>
                    <a:pt x="419" y="98"/>
                  </a:lnTo>
                  <a:lnTo>
                    <a:pt x="421" y="98"/>
                  </a:lnTo>
                  <a:lnTo>
                    <a:pt x="421" y="100"/>
                  </a:lnTo>
                  <a:lnTo>
                    <a:pt x="421" y="102"/>
                  </a:lnTo>
                  <a:lnTo>
                    <a:pt x="425" y="98"/>
                  </a:lnTo>
                  <a:lnTo>
                    <a:pt x="427" y="102"/>
                  </a:lnTo>
                  <a:lnTo>
                    <a:pt x="431" y="100"/>
                  </a:lnTo>
                  <a:lnTo>
                    <a:pt x="437" y="102"/>
                  </a:lnTo>
                  <a:lnTo>
                    <a:pt x="438" y="102"/>
                  </a:lnTo>
                  <a:lnTo>
                    <a:pt x="438" y="100"/>
                  </a:lnTo>
                  <a:lnTo>
                    <a:pt x="438" y="98"/>
                  </a:lnTo>
                  <a:lnTo>
                    <a:pt x="438" y="96"/>
                  </a:lnTo>
                  <a:lnTo>
                    <a:pt x="440" y="96"/>
                  </a:lnTo>
                  <a:lnTo>
                    <a:pt x="440" y="92"/>
                  </a:lnTo>
                  <a:lnTo>
                    <a:pt x="442" y="94"/>
                  </a:lnTo>
                  <a:lnTo>
                    <a:pt x="448" y="94"/>
                  </a:lnTo>
                  <a:lnTo>
                    <a:pt x="450" y="98"/>
                  </a:lnTo>
                  <a:lnTo>
                    <a:pt x="452" y="98"/>
                  </a:lnTo>
                  <a:lnTo>
                    <a:pt x="454" y="98"/>
                  </a:lnTo>
                  <a:lnTo>
                    <a:pt x="458" y="100"/>
                  </a:lnTo>
                  <a:lnTo>
                    <a:pt x="460" y="100"/>
                  </a:lnTo>
                  <a:lnTo>
                    <a:pt x="460" y="104"/>
                  </a:lnTo>
                  <a:lnTo>
                    <a:pt x="462" y="104"/>
                  </a:lnTo>
                  <a:lnTo>
                    <a:pt x="463" y="104"/>
                  </a:lnTo>
                  <a:lnTo>
                    <a:pt x="465" y="104"/>
                  </a:lnTo>
                  <a:lnTo>
                    <a:pt x="469" y="104"/>
                  </a:lnTo>
                  <a:lnTo>
                    <a:pt x="469" y="106"/>
                  </a:lnTo>
                  <a:lnTo>
                    <a:pt x="469" y="108"/>
                  </a:lnTo>
                  <a:lnTo>
                    <a:pt x="471" y="113"/>
                  </a:lnTo>
                  <a:lnTo>
                    <a:pt x="473" y="113"/>
                  </a:lnTo>
                  <a:lnTo>
                    <a:pt x="473" y="115"/>
                  </a:lnTo>
                  <a:lnTo>
                    <a:pt x="471" y="115"/>
                  </a:lnTo>
                  <a:lnTo>
                    <a:pt x="471" y="117"/>
                  </a:lnTo>
                  <a:lnTo>
                    <a:pt x="473" y="117"/>
                  </a:lnTo>
                  <a:lnTo>
                    <a:pt x="473" y="119"/>
                  </a:lnTo>
                  <a:lnTo>
                    <a:pt x="471" y="119"/>
                  </a:lnTo>
                  <a:lnTo>
                    <a:pt x="471" y="121"/>
                  </a:lnTo>
                  <a:lnTo>
                    <a:pt x="471" y="123"/>
                  </a:lnTo>
                  <a:lnTo>
                    <a:pt x="475" y="125"/>
                  </a:lnTo>
                  <a:lnTo>
                    <a:pt x="477" y="125"/>
                  </a:lnTo>
                  <a:lnTo>
                    <a:pt x="477" y="123"/>
                  </a:lnTo>
                  <a:lnTo>
                    <a:pt x="479" y="123"/>
                  </a:lnTo>
                  <a:lnTo>
                    <a:pt x="481" y="123"/>
                  </a:lnTo>
                  <a:lnTo>
                    <a:pt x="483" y="121"/>
                  </a:lnTo>
                  <a:lnTo>
                    <a:pt x="485" y="121"/>
                  </a:lnTo>
                  <a:lnTo>
                    <a:pt x="488" y="123"/>
                  </a:lnTo>
                  <a:lnTo>
                    <a:pt x="492" y="125"/>
                  </a:lnTo>
                  <a:lnTo>
                    <a:pt x="492" y="127"/>
                  </a:lnTo>
                  <a:lnTo>
                    <a:pt x="494" y="129"/>
                  </a:lnTo>
                  <a:lnTo>
                    <a:pt x="494" y="131"/>
                  </a:lnTo>
                  <a:lnTo>
                    <a:pt x="498" y="131"/>
                  </a:lnTo>
                  <a:lnTo>
                    <a:pt x="502" y="129"/>
                  </a:lnTo>
                  <a:lnTo>
                    <a:pt x="506" y="129"/>
                  </a:lnTo>
                  <a:lnTo>
                    <a:pt x="508" y="129"/>
                  </a:lnTo>
                  <a:lnTo>
                    <a:pt x="512" y="131"/>
                  </a:lnTo>
                  <a:lnTo>
                    <a:pt x="513" y="131"/>
                  </a:lnTo>
                  <a:lnTo>
                    <a:pt x="515" y="133"/>
                  </a:lnTo>
                  <a:lnTo>
                    <a:pt x="517" y="133"/>
                  </a:lnTo>
                  <a:lnTo>
                    <a:pt x="519" y="133"/>
                  </a:lnTo>
                  <a:lnTo>
                    <a:pt x="523" y="134"/>
                  </a:lnTo>
                  <a:lnTo>
                    <a:pt x="527" y="131"/>
                  </a:lnTo>
                  <a:lnTo>
                    <a:pt x="533" y="131"/>
                  </a:lnTo>
                  <a:lnTo>
                    <a:pt x="535" y="129"/>
                  </a:lnTo>
                  <a:lnTo>
                    <a:pt x="536" y="131"/>
                  </a:lnTo>
                  <a:lnTo>
                    <a:pt x="538" y="129"/>
                  </a:lnTo>
                  <a:lnTo>
                    <a:pt x="542" y="129"/>
                  </a:lnTo>
                  <a:lnTo>
                    <a:pt x="544" y="133"/>
                  </a:lnTo>
                  <a:lnTo>
                    <a:pt x="546" y="133"/>
                  </a:lnTo>
                  <a:lnTo>
                    <a:pt x="548" y="133"/>
                  </a:lnTo>
                  <a:lnTo>
                    <a:pt x="548" y="138"/>
                  </a:lnTo>
                  <a:lnTo>
                    <a:pt x="548" y="140"/>
                  </a:lnTo>
                  <a:lnTo>
                    <a:pt x="550" y="140"/>
                  </a:lnTo>
                  <a:lnTo>
                    <a:pt x="554" y="142"/>
                  </a:lnTo>
                  <a:lnTo>
                    <a:pt x="552" y="142"/>
                  </a:lnTo>
                  <a:lnTo>
                    <a:pt x="552" y="144"/>
                  </a:lnTo>
                  <a:lnTo>
                    <a:pt x="552" y="146"/>
                  </a:lnTo>
                  <a:lnTo>
                    <a:pt x="550" y="146"/>
                  </a:lnTo>
                  <a:lnTo>
                    <a:pt x="548" y="146"/>
                  </a:lnTo>
                  <a:lnTo>
                    <a:pt x="546" y="146"/>
                  </a:lnTo>
                  <a:lnTo>
                    <a:pt x="544" y="148"/>
                  </a:lnTo>
                  <a:lnTo>
                    <a:pt x="544" y="154"/>
                  </a:lnTo>
                  <a:lnTo>
                    <a:pt x="546" y="156"/>
                  </a:lnTo>
                  <a:lnTo>
                    <a:pt x="548" y="159"/>
                  </a:lnTo>
                  <a:lnTo>
                    <a:pt x="546" y="159"/>
                  </a:lnTo>
                  <a:lnTo>
                    <a:pt x="546" y="163"/>
                  </a:lnTo>
                  <a:lnTo>
                    <a:pt x="548" y="165"/>
                  </a:lnTo>
                  <a:lnTo>
                    <a:pt x="548" y="167"/>
                  </a:lnTo>
                  <a:lnTo>
                    <a:pt x="546" y="169"/>
                  </a:lnTo>
                  <a:lnTo>
                    <a:pt x="544" y="171"/>
                  </a:lnTo>
                  <a:lnTo>
                    <a:pt x="542" y="173"/>
                  </a:lnTo>
                  <a:lnTo>
                    <a:pt x="542" y="171"/>
                  </a:lnTo>
                  <a:lnTo>
                    <a:pt x="540" y="173"/>
                  </a:lnTo>
                  <a:lnTo>
                    <a:pt x="538" y="175"/>
                  </a:lnTo>
                  <a:lnTo>
                    <a:pt x="536" y="177"/>
                  </a:lnTo>
                  <a:lnTo>
                    <a:pt x="536" y="175"/>
                  </a:lnTo>
                  <a:lnTo>
                    <a:pt x="535" y="177"/>
                  </a:lnTo>
                  <a:lnTo>
                    <a:pt x="533" y="179"/>
                  </a:lnTo>
                  <a:lnTo>
                    <a:pt x="531" y="181"/>
                  </a:lnTo>
                  <a:lnTo>
                    <a:pt x="527" y="181"/>
                  </a:lnTo>
                  <a:lnTo>
                    <a:pt x="525" y="183"/>
                  </a:lnTo>
                  <a:lnTo>
                    <a:pt x="517" y="184"/>
                  </a:lnTo>
                  <a:lnTo>
                    <a:pt x="510" y="188"/>
                  </a:lnTo>
                  <a:lnTo>
                    <a:pt x="506" y="190"/>
                  </a:lnTo>
                  <a:lnTo>
                    <a:pt x="500" y="192"/>
                  </a:lnTo>
                  <a:lnTo>
                    <a:pt x="500" y="194"/>
                  </a:lnTo>
                  <a:lnTo>
                    <a:pt x="498" y="196"/>
                  </a:lnTo>
                  <a:lnTo>
                    <a:pt x="496" y="198"/>
                  </a:lnTo>
                  <a:lnTo>
                    <a:pt x="494" y="202"/>
                  </a:lnTo>
                  <a:lnTo>
                    <a:pt x="492" y="204"/>
                  </a:lnTo>
                  <a:lnTo>
                    <a:pt x="490" y="204"/>
                  </a:lnTo>
                  <a:lnTo>
                    <a:pt x="485" y="204"/>
                  </a:lnTo>
                  <a:lnTo>
                    <a:pt x="481" y="204"/>
                  </a:lnTo>
                  <a:lnTo>
                    <a:pt x="479" y="204"/>
                  </a:lnTo>
                  <a:lnTo>
                    <a:pt x="477" y="204"/>
                  </a:lnTo>
                  <a:lnTo>
                    <a:pt x="469" y="206"/>
                  </a:lnTo>
                  <a:lnTo>
                    <a:pt x="463" y="206"/>
                  </a:lnTo>
                  <a:lnTo>
                    <a:pt x="458" y="207"/>
                  </a:lnTo>
                  <a:lnTo>
                    <a:pt x="454" y="207"/>
                  </a:lnTo>
                  <a:lnTo>
                    <a:pt x="452" y="209"/>
                  </a:lnTo>
                  <a:lnTo>
                    <a:pt x="450" y="207"/>
                  </a:lnTo>
                  <a:lnTo>
                    <a:pt x="450" y="209"/>
                  </a:lnTo>
                  <a:lnTo>
                    <a:pt x="446" y="211"/>
                  </a:lnTo>
                  <a:lnTo>
                    <a:pt x="446" y="209"/>
                  </a:lnTo>
                  <a:lnTo>
                    <a:pt x="442" y="209"/>
                  </a:lnTo>
                  <a:lnTo>
                    <a:pt x="440" y="211"/>
                  </a:lnTo>
                  <a:lnTo>
                    <a:pt x="437" y="213"/>
                  </a:lnTo>
                  <a:lnTo>
                    <a:pt x="433" y="215"/>
                  </a:lnTo>
                  <a:lnTo>
                    <a:pt x="433" y="219"/>
                  </a:lnTo>
                  <a:lnTo>
                    <a:pt x="431" y="219"/>
                  </a:lnTo>
                  <a:lnTo>
                    <a:pt x="429" y="221"/>
                  </a:lnTo>
                  <a:lnTo>
                    <a:pt x="427" y="221"/>
                  </a:lnTo>
                  <a:lnTo>
                    <a:pt x="427" y="223"/>
                  </a:lnTo>
                  <a:lnTo>
                    <a:pt x="425" y="225"/>
                  </a:lnTo>
                  <a:lnTo>
                    <a:pt x="425" y="227"/>
                  </a:lnTo>
                  <a:lnTo>
                    <a:pt x="427" y="227"/>
                  </a:lnTo>
                  <a:lnTo>
                    <a:pt x="429" y="227"/>
                  </a:lnTo>
                  <a:lnTo>
                    <a:pt x="427" y="225"/>
                  </a:lnTo>
                  <a:lnTo>
                    <a:pt x="429" y="225"/>
                  </a:lnTo>
                  <a:lnTo>
                    <a:pt x="431" y="229"/>
                  </a:lnTo>
                  <a:lnTo>
                    <a:pt x="431" y="231"/>
                  </a:lnTo>
                  <a:lnTo>
                    <a:pt x="433" y="231"/>
                  </a:lnTo>
                  <a:lnTo>
                    <a:pt x="429" y="232"/>
                  </a:lnTo>
                  <a:lnTo>
                    <a:pt x="427" y="234"/>
                  </a:lnTo>
                  <a:lnTo>
                    <a:pt x="425" y="234"/>
                  </a:lnTo>
                  <a:lnTo>
                    <a:pt x="423" y="238"/>
                  </a:lnTo>
                  <a:lnTo>
                    <a:pt x="421" y="240"/>
                  </a:lnTo>
                  <a:lnTo>
                    <a:pt x="419" y="240"/>
                  </a:lnTo>
                  <a:lnTo>
                    <a:pt x="419" y="238"/>
                  </a:lnTo>
                  <a:lnTo>
                    <a:pt x="419" y="236"/>
                  </a:lnTo>
                  <a:lnTo>
                    <a:pt x="419" y="238"/>
                  </a:lnTo>
                  <a:lnTo>
                    <a:pt x="421" y="236"/>
                  </a:lnTo>
                  <a:lnTo>
                    <a:pt x="423" y="238"/>
                  </a:lnTo>
                  <a:lnTo>
                    <a:pt x="423" y="236"/>
                  </a:lnTo>
                  <a:lnTo>
                    <a:pt x="425" y="234"/>
                  </a:lnTo>
                  <a:lnTo>
                    <a:pt x="423" y="234"/>
                  </a:lnTo>
                  <a:lnTo>
                    <a:pt x="421" y="234"/>
                  </a:lnTo>
                  <a:lnTo>
                    <a:pt x="419" y="234"/>
                  </a:lnTo>
                  <a:lnTo>
                    <a:pt x="415" y="238"/>
                  </a:lnTo>
                  <a:lnTo>
                    <a:pt x="414" y="240"/>
                  </a:lnTo>
                  <a:lnTo>
                    <a:pt x="412" y="242"/>
                  </a:lnTo>
                  <a:lnTo>
                    <a:pt x="412" y="244"/>
                  </a:lnTo>
                  <a:lnTo>
                    <a:pt x="408" y="250"/>
                  </a:lnTo>
                  <a:lnTo>
                    <a:pt x="406" y="252"/>
                  </a:lnTo>
                  <a:lnTo>
                    <a:pt x="402" y="256"/>
                  </a:lnTo>
                  <a:lnTo>
                    <a:pt x="400" y="257"/>
                  </a:lnTo>
                  <a:lnTo>
                    <a:pt x="396" y="261"/>
                  </a:lnTo>
                  <a:lnTo>
                    <a:pt x="394" y="263"/>
                  </a:lnTo>
                  <a:lnTo>
                    <a:pt x="392" y="265"/>
                  </a:lnTo>
                  <a:lnTo>
                    <a:pt x="390" y="267"/>
                  </a:lnTo>
                  <a:lnTo>
                    <a:pt x="389" y="269"/>
                  </a:lnTo>
                  <a:lnTo>
                    <a:pt x="387" y="269"/>
                  </a:lnTo>
                  <a:lnTo>
                    <a:pt x="385" y="273"/>
                  </a:lnTo>
                  <a:lnTo>
                    <a:pt x="385" y="275"/>
                  </a:lnTo>
                  <a:lnTo>
                    <a:pt x="381" y="279"/>
                  </a:lnTo>
                  <a:lnTo>
                    <a:pt x="379" y="279"/>
                  </a:lnTo>
                  <a:lnTo>
                    <a:pt x="375" y="284"/>
                  </a:lnTo>
                  <a:lnTo>
                    <a:pt x="373" y="286"/>
                  </a:lnTo>
                  <a:lnTo>
                    <a:pt x="371" y="290"/>
                  </a:lnTo>
                  <a:lnTo>
                    <a:pt x="371" y="292"/>
                  </a:lnTo>
                  <a:lnTo>
                    <a:pt x="369" y="294"/>
                  </a:lnTo>
                  <a:lnTo>
                    <a:pt x="367" y="298"/>
                  </a:lnTo>
                  <a:lnTo>
                    <a:pt x="365" y="302"/>
                  </a:lnTo>
                  <a:lnTo>
                    <a:pt x="364" y="305"/>
                  </a:lnTo>
                  <a:lnTo>
                    <a:pt x="367" y="321"/>
                  </a:lnTo>
                  <a:lnTo>
                    <a:pt x="365" y="323"/>
                  </a:lnTo>
                  <a:lnTo>
                    <a:pt x="367" y="330"/>
                  </a:lnTo>
                  <a:lnTo>
                    <a:pt x="371" y="338"/>
                  </a:lnTo>
                  <a:lnTo>
                    <a:pt x="375" y="342"/>
                  </a:lnTo>
                  <a:lnTo>
                    <a:pt x="375" y="344"/>
                  </a:lnTo>
                  <a:lnTo>
                    <a:pt x="379" y="344"/>
                  </a:lnTo>
                  <a:lnTo>
                    <a:pt x="383" y="346"/>
                  </a:lnTo>
                  <a:lnTo>
                    <a:pt x="383" y="348"/>
                  </a:lnTo>
                  <a:lnTo>
                    <a:pt x="383" y="350"/>
                  </a:lnTo>
                  <a:lnTo>
                    <a:pt x="383" y="352"/>
                  </a:lnTo>
                  <a:lnTo>
                    <a:pt x="385" y="352"/>
                  </a:lnTo>
                  <a:lnTo>
                    <a:pt x="385" y="354"/>
                  </a:lnTo>
                  <a:lnTo>
                    <a:pt x="383" y="354"/>
                  </a:lnTo>
                  <a:lnTo>
                    <a:pt x="381" y="355"/>
                  </a:lnTo>
                  <a:lnTo>
                    <a:pt x="379" y="355"/>
                  </a:lnTo>
                  <a:lnTo>
                    <a:pt x="377" y="357"/>
                  </a:lnTo>
                  <a:lnTo>
                    <a:pt x="377" y="359"/>
                  </a:lnTo>
                  <a:lnTo>
                    <a:pt x="375" y="359"/>
                  </a:lnTo>
                  <a:lnTo>
                    <a:pt x="373" y="359"/>
                  </a:lnTo>
                  <a:lnTo>
                    <a:pt x="371" y="359"/>
                  </a:lnTo>
                  <a:lnTo>
                    <a:pt x="369" y="361"/>
                  </a:lnTo>
                  <a:lnTo>
                    <a:pt x="369" y="363"/>
                  </a:lnTo>
                  <a:lnTo>
                    <a:pt x="369" y="365"/>
                  </a:lnTo>
                  <a:lnTo>
                    <a:pt x="367" y="365"/>
                  </a:lnTo>
                  <a:lnTo>
                    <a:pt x="364" y="363"/>
                  </a:lnTo>
                  <a:lnTo>
                    <a:pt x="364" y="365"/>
                  </a:lnTo>
                  <a:lnTo>
                    <a:pt x="362" y="365"/>
                  </a:lnTo>
                  <a:lnTo>
                    <a:pt x="360" y="365"/>
                  </a:lnTo>
                  <a:lnTo>
                    <a:pt x="358" y="365"/>
                  </a:lnTo>
                  <a:lnTo>
                    <a:pt x="354" y="369"/>
                  </a:lnTo>
                  <a:lnTo>
                    <a:pt x="352" y="369"/>
                  </a:lnTo>
                  <a:lnTo>
                    <a:pt x="352" y="371"/>
                  </a:lnTo>
                  <a:lnTo>
                    <a:pt x="352" y="373"/>
                  </a:lnTo>
                  <a:lnTo>
                    <a:pt x="350" y="375"/>
                  </a:lnTo>
                  <a:lnTo>
                    <a:pt x="350" y="373"/>
                  </a:lnTo>
                  <a:lnTo>
                    <a:pt x="346" y="375"/>
                  </a:lnTo>
                  <a:lnTo>
                    <a:pt x="344" y="377"/>
                  </a:lnTo>
                  <a:lnTo>
                    <a:pt x="344" y="379"/>
                  </a:lnTo>
                  <a:lnTo>
                    <a:pt x="344" y="380"/>
                  </a:lnTo>
                  <a:lnTo>
                    <a:pt x="344" y="382"/>
                  </a:lnTo>
                  <a:lnTo>
                    <a:pt x="340" y="382"/>
                  </a:lnTo>
                  <a:lnTo>
                    <a:pt x="339" y="384"/>
                  </a:lnTo>
                  <a:lnTo>
                    <a:pt x="337" y="386"/>
                  </a:lnTo>
                  <a:lnTo>
                    <a:pt x="337" y="390"/>
                  </a:lnTo>
                  <a:lnTo>
                    <a:pt x="337" y="392"/>
                  </a:lnTo>
                  <a:lnTo>
                    <a:pt x="337" y="396"/>
                  </a:lnTo>
                  <a:lnTo>
                    <a:pt x="335" y="396"/>
                  </a:lnTo>
                  <a:lnTo>
                    <a:pt x="333" y="398"/>
                  </a:lnTo>
                  <a:lnTo>
                    <a:pt x="331" y="400"/>
                  </a:lnTo>
                  <a:lnTo>
                    <a:pt x="329" y="403"/>
                  </a:lnTo>
                  <a:lnTo>
                    <a:pt x="329" y="405"/>
                  </a:lnTo>
                  <a:lnTo>
                    <a:pt x="327" y="405"/>
                  </a:lnTo>
                  <a:lnTo>
                    <a:pt x="325" y="407"/>
                  </a:lnTo>
                  <a:lnTo>
                    <a:pt x="325" y="409"/>
                  </a:lnTo>
                  <a:lnTo>
                    <a:pt x="323" y="411"/>
                  </a:lnTo>
                  <a:lnTo>
                    <a:pt x="325" y="413"/>
                  </a:lnTo>
                  <a:lnTo>
                    <a:pt x="329" y="415"/>
                  </a:lnTo>
                  <a:lnTo>
                    <a:pt x="329" y="411"/>
                  </a:lnTo>
                  <a:lnTo>
                    <a:pt x="329" y="409"/>
                  </a:lnTo>
                  <a:lnTo>
                    <a:pt x="329" y="411"/>
                  </a:lnTo>
                  <a:lnTo>
                    <a:pt x="329" y="413"/>
                  </a:lnTo>
                  <a:lnTo>
                    <a:pt x="331" y="415"/>
                  </a:lnTo>
                  <a:lnTo>
                    <a:pt x="331" y="417"/>
                  </a:lnTo>
                  <a:lnTo>
                    <a:pt x="329" y="419"/>
                  </a:lnTo>
                  <a:lnTo>
                    <a:pt x="327" y="419"/>
                  </a:lnTo>
                  <a:lnTo>
                    <a:pt x="325" y="419"/>
                  </a:lnTo>
                  <a:lnTo>
                    <a:pt x="323" y="419"/>
                  </a:lnTo>
                  <a:lnTo>
                    <a:pt x="319" y="421"/>
                  </a:lnTo>
                  <a:lnTo>
                    <a:pt x="317" y="419"/>
                  </a:lnTo>
                  <a:lnTo>
                    <a:pt x="317" y="417"/>
                  </a:lnTo>
                  <a:lnTo>
                    <a:pt x="315" y="417"/>
                  </a:lnTo>
                  <a:lnTo>
                    <a:pt x="315" y="419"/>
                  </a:lnTo>
                  <a:lnTo>
                    <a:pt x="312" y="417"/>
                  </a:lnTo>
                  <a:lnTo>
                    <a:pt x="310" y="417"/>
                  </a:lnTo>
                  <a:lnTo>
                    <a:pt x="310" y="419"/>
                  </a:lnTo>
                  <a:lnTo>
                    <a:pt x="306" y="419"/>
                  </a:lnTo>
                  <a:lnTo>
                    <a:pt x="308" y="417"/>
                  </a:lnTo>
                  <a:lnTo>
                    <a:pt x="306" y="417"/>
                  </a:lnTo>
                  <a:lnTo>
                    <a:pt x="304" y="417"/>
                  </a:lnTo>
                  <a:lnTo>
                    <a:pt x="302" y="417"/>
                  </a:lnTo>
                  <a:lnTo>
                    <a:pt x="300" y="417"/>
                  </a:lnTo>
                  <a:lnTo>
                    <a:pt x="298" y="417"/>
                  </a:lnTo>
                  <a:lnTo>
                    <a:pt x="294" y="419"/>
                  </a:lnTo>
                  <a:lnTo>
                    <a:pt x="292" y="419"/>
                  </a:lnTo>
                  <a:lnTo>
                    <a:pt x="292" y="421"/>
                  </a:lnTo>
                  <a:lnTo>
                    <a:pt x="291" y="423"/>
                  </a:lnTo>
                  <a:lnTo>
                    <a:pt x="291" y="425"/>
                  </a:lnTo>
                  <a:lnTo>
                    <a:pt x="291" y="423"/>
                  </a:lnTo>
                  <a:lnTo>
                    <a:pt x="289" y="423"/>
                  </a:lnTo>
                  <a:lnTo>
                    <a:pt x="287" y="425"/>
                  </a:lnTo>
                  <a:lnTo>
                    <a:pt x="285" y="425"/>
                  </a:lnTo>
                  <a:lnTo>
                    <a:pt x="283" y="427"/>
                  </a:lnTo>
                  <a:lnTo>
                    <a:pt x="281" y="427"/>
                  </a:lnTo>
                  <a:lnTo>
                    <a:pt x="279" y="430"/>
                  </a:lnTo>
                  <a:lnTo>
                    <a:pt x="273" y="434"/>
                  </a:lnTo>
                  <a:lnTo>
                    <a:pt x="271" y="440"/>
                  </a:lnTo>
                  <a:lnTo>
                    <a:pt x="269" y="442"/>
                  </a:lnTo>
                  <a:lnTo>
                    <a:pt x="267" y="446"/>
                  </a:lnTo>
                  <a:lnTo>
                    <a:pt x="266" y="450"/>
                  </a:lnTo>
                  <a:lnTo>
                    <a:pt x="266" y="452"/>
                  </a:lnTo>
                  <a:lnTo>
                    <a:pt x="264" y="452"/>
                  </a:lnTo>
                  <a:lnTo>
                    <a:pt x="262" y="453"/>
                  </a:lnTo>
                  <a:lnTo>
                    <a:pt x="260" y="453"/>
                  </a:lnTo>
                  <a:lnTo>
                    <a:pt x="260" y="455"/>
                  </a:lnTo>
                  <a:lnTo>
                    <a:pt x="260" y="457"/>
                  </a:lnTo>
                  <a:lnTo>
                    <a:pt x="258" y="457"/>
                  </a:lnTo>
                  <a:lnTo>
                    <a:pt x="256" y="459"/>
                  </a:lnTo>
                  <a:lnTo>
                    <a:pt x="256" y="461"/>
                  </a:lnTo>
                  <a:lnTo>
                    <a:pt x="254" y="461"/>
                  </a:lnTo>
                  <a:lnTo>
                    <a:pt x="252" y="461"/>
                  </a:lnTo>
                  <a:lnTo>
                    <a:pt x="252" y="463"/>
                  </a:lnTo>
                  <a:lnTo>
                    <a:pt x="250" y="463"/>
                  </a:lnTo>
                  <a:lnTo>
                    <a:pt x="248" y="463"/>
                  </a:lnTo>
                  <a:lnTo>
                    <a:pt x="246" y="457"/>
                  </a:lnTo>
                  <a:lnTo>
                    <a:pt x="244" y="455"/>
                  </a:lnTo>
                  <a:lnTo>
                    <a:pt x="242" y="453"/>
                  </a:lnTo>
                  <a:lnTo>
                    <a:pt x="241" y="453"/>
                  </a:lnTo>
                  <a:lnTo>
                    <a:pt x="239" y="455"/>
                  </a:lnTo>
                  <a:lnTo>
                    <a:pt x="237" y="453"/>
                  </a:lnTo>
                  <a:lnTo>
                    <a:pt x="235" y="453"/>
                  </a:lnTo>
                  <a:lnTo>
                    <a:pt x="231" y="453"/>
                  </a:lnTo>
                  <a:lnTo>
                    <a:pt x="231" y="455"/>
                  </a:lnTo>
                  <a:lnTo>
                    <a:pt x="229" y="455"/>
                  </a:lnTo>
                  <a:lnTo>
                    <a:pt x="227" y="459"/>
                  </a:lnTo>
                  <a:lnTo>
                    <a:pt x="225" y="459"/>
                  </a:lnTo>
                  <a:lnTo>
                    <a:pt x="223" y="461"/>
                  </a:lnTo>
                  <a:lnTo>
                    <a:pt x="219" y="459"/>
                  </a:lnTo>
                  <a:lnTo>
                    <a:pt x="217" y="457"/>
                  </a:lnTo>
                  <a:lnTo>
                    <a:pt x="216" y="459"/>
                  </a:lnTo>
                  <a:lnTo>
                    <a:pt x="216" y="455"/>
                  </a:lnTo>
                  <a:lnTo>
                    <a:pt x="214" y="455"/>
                  </a:lnTo>
                  <a:lnTo>
                    <a:pt x="212" y="453"/>
                  </a:lnTo>
                  <a:lnTo>
                    <a:pt x="210" y="455"/>
                  </a:lnTo>
                  <a:lnTo>
                    <a:pt x="208" y="453"/>
                  </a:lnTo>
                  <a:lnTo>
                    <a:pt x="206" y="453"/>
                  </a:lnTo>
                  <a:lnTo>
                    <a:pt x="204" y="453"/>
                  </a:lnTo>
                  <a:lnTo>
                    <a:pt x="202" y="453"/>
                  </a:lnTo>
                  <a:lnTo>
                    <a:pt x="198" y="452"/>
                  </a:lnTo>
                  <a:lnTo>
                    <a:pt x="193" y="452"/>
                  </a:lnTo>
                  <a:lnTo>
                    <a:pt x="191" y="453"/>
                  </a:lnTo>
                  <a:lnTo>
                    <a:pt x="189" y="453"/>
                  </a:lnTo>
                  <a:lnTo>
                    <a:pt x="185" y="453"/>
                  </a:lnTo>
                  <a:lnTo>
                    <a:pt x="185" y="452"/>
                  </a:lnTo>
                  <a:lnTo>
                    <a:pt x="183" y="452"/>
                  </a:lnTo>
                  <a:lnTo>
                    <a:pt x="181" y="452"/>
                  </a:lnTo>
                  <a:lnTo>
                    <a:pt x="181" y="450"/>
                  </a:lnTo>
                  <a:lnTo>
                    <a:pt x="179" y="450"/>
                  </a:lnTo>
                  <a:lnTo>
                    <a:pt x="177" y="448"/>
                  </a:lnTo>
                  <a:lnTo>
                    <a:pt x="175" y="450"/>
                  </a:lnTo>
                  <a:lnTo>
                    <a:pt x="173" y="450"/>
                  </a:lnTo>
                  <a:lnTo>
                    <a:pt x="173" y="448"/>
                  </a:lnTo>
                  <a:lnTo>
                    <a:pt x="171" y="448"/>
                  </a:lnTo>
                  <a:lnTo>
                    <a:pt x="168" y="446"/>
                  </a:lnTo>
                  <a:lnTo>
                    <a:pt x="166" y="446"/>
                  </a:lnTo>
                  <a:lnTo>
                    <a:pt x="164" y="446"/>
                  </a:lnTo>
                  <a:lnTo>
                    <a:pt x="158" y="444"/>
                  </a:lnTo>
                  <a:lnTo>
                    <a:pt x="156" y="446"/>
                  </a:lnTo>
                  <a:lnTo>
                    <a:pt x="152" y="446"/>
                  </a:lnTo>
                  <a:lnTo>
                    <a:pt x="148" y="446"/>
                  </a:lnTo>
                  <a:lnTo>
                    <a:pt x="143" y="444"/>
                  </a:lnTo>
                  <a:lnTo>
                    <a:pt x="139" y="444"/>
                  </a:lnTo>
                  <a:lnTo>
                    <a:pt x="139" y="446"/>
                  </a:lnTo>
                  <a:lnTo>
                    <a:pt x="135" y="448"/>
                  </a:lnTo>
                  <a:lnTo>
                    <a:pt x="135" y="450"/>
                  </a:lnTo>
                  <a:lnTo>
                    <a:pt x="133" y="450"/>
                  </a:lnTo>
                  <a:lnTo>
                    <a:pt x="129" y="452"/>
                  </a:lnTo>
                  <a:lnTo>
                    <a:pt x="127" y="453"/>
                  </a:lnTo>
                  <a:lnTo>
                    <a:pt x="125" y="453"/>
                  </a:lnTo>
                  <a:lnTo>
                    <a:pt x="123" y="455"/>
                  </a:lnTo>
                  <a:lnTo>
                    <a:pt x="121" y="453"/>
                  </a:lnTo>
                  <a:lnTo>
                    <a:pt x="116" y="452"/>
                  </a:lnTo>
                  <a:lnTo>
                    <a:pt x="114" y="452"/>
                  </a:lnTo>
                  <a:lnTo>
                    <a:pt x="108" y="453"/>
                  </a:lnTo>
                  <a:lnTo>
                    <a:pt x="106" y="452"/>
                  </a:lnTo>
                  <a:lnTo>
                    <a:pt x="106" y="453"/>
                  </a:lnTo>
                  <a:lnTo>
                    <a:pt x="102" y="453"/>
                  </a:lnTo>
                  <a:lnTo>
                    <a:pt x="100" y="455"/>
                  </a:lnTo>
                  <a:lnTo>
                    <a:pt x="95" y="459"/>
                  </a:lnTo>
                  <a:lnTo>
                    <a:pt x="95" y="461"/>
                  </a:lnTo>
                  <a:lnTo>
                    <a:pt x="93" y="461"/>
                  </a:lnTo>
                  <a:lnTo>
                    <a:pt x="91" y="465"/>
                  </a:lnTo>
                  <a:lnTo>
                    <a:pt x="89" y="465"/>
                  </a:lnTo>
                  <a:lnTo>
                    <a:pt x="87" y="473"/>
                  </a:lnTo>
                  <a:lnTo>
                    <a:pt x="85" y="473"/>
                  </a:lnTo>
                  <a:lnTo>
                    <a:pt x="85" y="471"/>
                  </a:lnTo>
                  <a:lnTo>
                    <a:pt x="83" y="469"/>
                  </a:lnTo>
                  <a:lnTo>
                    <a:pt x="81" y="475"/>
                  </a:lnTo>
                  <a:lnTo>
                    <a:pt x="79" y="476"/>
                  </a:lnTo>
                  <a:lnTo>
                    <a:pt x="77" y="476"/>
                  </a:lnTo>
                  <a:lnTo>
                    <a:pt x="70" y="476"/>
                  </a:lnTo>
                  <a:lnTo>
                    <a:pt x="70" y="475"/>
                  </a:lnTo>
                  <a:lnTo>
                    <a:pt x="66" y="473"/>
                  </a:lnTo>
                  <a:lnTo>
                    <a:pt x="64" y="471"/>
                  </a:lnTo>
                  <a:lnTo>
                    <a:pt x="62" y="471"/>
                  </a:lnTo>
                  <a:lnTo>
                    <a:pt x="60" y="467"/>
                  </a:lnTo>
                  <a:lnTo>
                    <a:pt x="58" y="463"/>
                  </a:lnTo>
                  <a:lnTo>
                    <a:pt x="54" y="461"/>
                  </a:lnTo>
                  <a:lnTo>
                    <a:pt x="52" y="461"/>
                  </a:lnTo>
                  <a:lnTo>
                    <a:pt x="50" y="457"/>
                  </a:lnTo>
                  <a:lnTo>
                    <a:pt x="50" y="455"/>
                  </a:lnTo>
                  <a:lnTo>
                    <a:pt x="50" y="453"/>
                  </a:lnTo>
                  <a:lnTo>
                    <a:pt x="48" y="452"/>
                  </a:lnTo>
                  <a:lnTo>
                    <a:pt x="48" y="448"/>
                  </a:lnTo>
                  <a:lnTo>
                    <a:pt x="46" y="446"/>
                  </a:lnTo>
                  <a:lnTo>
                    <a:pt x="48" y="444"/>
                  </a:lnTo>
                  <a:lnTo>
                    <a:pt x="46" y="446"/>
                  </a:lnTo>
                  <a:lnTo>
                    <a:pt x="45" y="436"/>
                  </a:lnTo>
                  <a:lnTo>
                    <a:pt x="43" y="436"/>
                  </a:lnTo>
                  <a:lnTo>
                    <a:pt x="45" y="434"/>
                  </a:lnTo>
                  <a:lnTo>
                    <a:pt x="46" y="434"/>
                  </a:lnTo>
                  <a:lnTo>
                    <a:pt x="46" y="438"/>
                  </a:lnTo>
                  <a:lnTo>
                    <a:pt x="48" y="436"/>
                  </a:lnTo>
                  <a:lnTo>
                    <a:pt x="48" y="434"/>
                  </a:lnTo>
                  <a:lnTo>
                    <a:pt x="48" y="432"/>
                  </a:lnTo>
                  <a:lnTo>
                    <a:pt x="46" y="432"/>
                  </a:lnTo>
                  <a:lnTo>
                    <a:pt x="46" y="430"/>
                  </a:lnTo>
                  <a:lnTo>
                    <a:pt x="45" y="428"/>
                  </a:lnTo>
                  <a:lnTo>
                    <a:pt x="43" y="430"/>
                  </a:lnTo>
                  <a:lnTo>
                    <a:pt x="41" y="428"/>
                  </a:lnTo>
                  <a:lnTo>
                    <a:pt x="43" y="427"/>
                  </a:lnTo>
                  <a:lnTo>
                    <a:pt x="41" y="423"/>
                  </a:lnTo>
                  <a:lnTo>
                    <a:pt x="41" y="421"/>
                  </a:lnTo>
                  <a:lnTo>
                    <a:pt x="43" y="421"/>
                  </a:lnTo>
                  <a:lnTo>
                    <a:pt x="43" y="419"/>
                  </a:lnTo>
                  <a:lnTo>
                    <a:pt x="45" y="419"/>
                  </a:lnTo>
                  <a:lnTo>
                    <a:pt x="46" y="419"/>
                  </a:lnTo>
                  <a:lnTo>
                    <a:pt x="45" y="417"/>
                  </a:lnTo>
                  <a:lnTo>
                    <a:pt x="45" y="413"/>
                  </a:lnTo>
                  <a:lnTo>
                    <a:pt x="43" y="407"/>
                  </a:lnTo>
                  <a:lnTo>
                    <a:pt x="41" y="405"/>
                  </a:lnTo>
                  <a:lnTo>
                    <a:pt x="33" y="396"/>
                  </a:lnTo>
                  <a:lnTo>
                    <a:pt x="29" y="392"/>
                  </a:lnTo>
                  <a:lnTo>
                    <a:pt x="27" y="390"/>
                  </a:lnTo>
                  <a:lnTo>
                    <a:pt x="25" y="388"/>
                  </a:lnTo>
                  <a:lnTo>
                    <a:pt x="25" y="384"/>
                  </a:lnTo>
                  <a:lnTo>
                    <a:pt x="23" y="386"/>
                  </a:lnTo>
                  <a:lnTo>
                    <a:pt x="23" y="388"/>
                  </a:lnTo>
                  <a:lnTo>
                    <a:pt x="20" y="384"/>
                  </a:lnTo>
                  <a:lnTo>
                    <a:pt x="18" y="384"/>
                  </a:lnTo>
                  <a:lnTo>
                    <a:pt x="6" y="382"/>
                  </a:lnTo>
                  <a:lnTo>
                    <a:pt x="2" y="384"/>
                  </a:lnTo>
                  <a:lnTo>
                    <a:pt x="0" y="382"/>
                  </a:lnTo>
                  <a:lnTo>
                    <a:pt x="2" y="379"/>
                  </a:lnTo>
                  <a:lnTo>
                    <a:pt x="0" y="379"/>
                  </a:lnTo>
                  <a:lnTo>
                    <a:pt x="0" y="377"/>
                  </a:lnTo>
                  <a:lnTo>
                    <a:pt x="0" y="375"/>
                  </a:lnTo>
                  <a:lnTo>
                    <a:pt x="2" y="371"/>
                  </a:lnTo>
                  <a:lnTo>
                    <a:pt x="2" y="369"/>
                  </a:lnTo>
                  <a:lnTo>
                    <a:pt x="0" y="367"/>
                  </a:lnTo>
                  <a:lnTo>
                    <a:pt x="2" y="367"/>
                  </a:lnTo>
                  <a:lnTo>
                    <a:pt x="2" y="361"/>
                  </a:lnTo>
                  <a:lnTo>
                    <a:pt x="0" y="361"/>
                  </a:lnTo>
                  <a:lnTo>
                    <a:pt x="0" y="359"/>
                  </a:lnTo>
                  <a:lnTo>
                    <a:pt x="0" y="357"/>
                  </a:lnTo>
                  <a:lnTo>
                    <a:pt x="2" y="357"/>
                  </a:lnTo>
                  <a:lnTo>
                    <a:pt x="2" y="355"/>
                  </a:lnTo>
                  <a:lnTo>
                    <a:pt x="6" y="352"/>
                  </a:lnTo>
                  <a:lnTo>
                    <a:pt x="6" y="350"/>
                  </a:lnTo>
                  <a:lnTo>
                    <a:pt x="8" y="348"/>
                  </a:lnTo>
                  <a:lnTo>
                    <a:pt x="12" y="344"/>
                  </a:lnTo>
                  <a:lnTo>
                    <a:pt x="16" y="342"/>
                  </a:lnTo>
                  <a:lnTo>
                    <a:pt x="16" y="340"/>
                  </a:lnTo>
                  <a:lnTo>
                    <a:pt x="18" y="338"/>
                  </a:lnTo>
                  <a:lnTo>
                    <a:pt x="18" y="336"/>
                  </a:lnTo>
                  <a:lnTo>
                    <a:pt x="20" y="334"/>
                  </a:lnTo>
                  <a:lnTo>
                    <a:pt x="21" y="334"/>
                  </a:lnTo>
                  <a:lnTo>
                    <a:pt x="23" y="334"/>
                  </a:lnTo>
                  <a:lnTo>
                    <a:pt x="25" y="332"/>
                  </a:lnTo>
                  <a:lnTo>
                    <a:pt x="27" y="332"/>
                  </a:lnTo>
                  <a:lnTo>
                    <a:pt x="29" y="334"/>
                  </a:lnTo>
                  <a:lnTo>
                    <a:pt x="31" y="334"/>
                  </a:lnTo>
                  <a:lnTo>
                    <a:pt x="33" y="329"/>
                  </a:lnTo>
                  <a:lnTo>
                    <a:pt x="35" y="329"/>
                  </a:lnTo>
                  <a:lnTo>
                    <a:pt x="35" y="327"/>
                  </a:lnTo>
                  <a:lnTo>
                    <a:pt x="39" y="325"/>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41" name="Freeform 329"/>
            <p:cNvSpPr>
              <a:spLocks/>
            </p:cNvSpPr>
            <p:nvPr/>
          </p:nvSpPr>
          <p:spPr bwMode="auto">
            <a:xfrm>
              <a:off x="1593" y="2870"/>
              <a:ext cx="169" cy="360"/>
            </a:xfrm>
            <a:custGeom>
              <a:avLst/>
              <a:gdLst>
                <a:gd name="T0" fmla="*/ 23 w 169"/>
                <a:gd name="T1" fmla="*/ 356 h 360"/>
                <a:gd name="T2" fmla="*/ 19 w 169"/>
                <a:gd name="T3" fmla="*/ 339 h 360"/>
                <a:gd name="T4" fmla="*/ 23 w 169"/>
                <a:gd name="T5" fmla="*/ 327 h 360"/>
                <a:gd name="T6" fmla="*/ 39 w 169"/>
                <a:gd name="T7" fmla="*/ 314 h 360"/>
                <a:gd name="T8" fmla="*/ 37 w 169"/>
                <a:gd name="T9" fmla="*/ 300 h 360"/>
                <a:gd name="T10" fmla="*/ 31 w 169"/>
                <a:gd name="T11" fmla="*/ 273 h 360"/>
                <a:gd name="T12" fmla="*/ 31 w 169"/>
                <a:gd name="T13" fmla="*/ 264 h 360"/>
                <a:gd name="T14" fmla="*/ 52 w 169"/>
                <a:gd name="T15" fmla="*/ 267 h 360"/>
                <a:gd name="T16" fmla="*/ 60 w 169"/>
                <a:gd name="T17" fmla="*/ 256 h 360"/>
                <a:gd name="T18" fmla="*/ 62 w 169"/>
                <a:gd name="T19" fmla="*/ 241 h 360"/>
                <a:gd name="T20" fmla="*/ 62 w 169"/>
                <a:gd name="T21" fmla="*/ 231 h 360"/>
                <a:gd name="T22" fmla="*/ 71 w 169"/>
                <a:gd name="T23" fmla="*/ 221 h 360"/>
                <a:gd name="T24" fmla="*/ 75 w 169"/>
                <a:gd name="T25" fmla="*/ 204 h 360"/>
                <a:gd name="T26" fmla="*/ 75 w 169"/>
                <a:gd name="T27" fmla="*/ 187 h 360"/>
                <a:gd name="T28" fmla="*/ 87 w 169"/>
                <a:gd name="T29" fmla="*/ 175 h 360"/>
                <a:gd name="T30" fmla="*/ 98 w 169"/>
                <a:gd name="T31" fmla="*/ 169 h 360"/>
                <a:gd name="T32" fmla="*/ 108 w 169"/>
                <a:gd name="T33" fmla="*/ 166 h 360"/>
                <a:gd name="T34" fmla="*/ 114 w 169"/>
                <a:gd name="T35" fmla="*/ 148 h 360"/>
                <a:gd name="T36" fmla="*/ 102 w 169"/>
                <a:gd name="T37" fmla="*/ 139 h 360"/>
                <a:gd name="T38" fmla="*/ 96 w 169"/>
                <a:gd name="T39" fmla="*/ 125 h 360"/>
                <a:gd name="T40" fmla="*/ 85 w 169"/>
                <a:gd name="T41" fmla="*/ 121 h 360"/>
                <a:gd name="T42" fmla="*/ 71 w 169"/>
                <a:gd name="T43" fmla="*/ 125 h 360"/>
                <a:gd name="T44" fmla="*/ 62 w 169"/>
                <a:gd name="T45" fmla="*/ 121 h 360"/>
                <a:gd name="T46" fmla="*/ 54 w 169"/>
                <a:gd name="T47" fmla="*/ 118 h 360"/>
                <a:gd name="T48" fmla="*/ 44 w 169"/>
                <a:gd name="T49" fmla="*/ 114 h 360"/>
                <a:gd name="T50" fmla="*/ 33 w 169"/>
                <a:gd name="T51" fmla="*/ 116 h 360"/>
                <a:gd name="T52" fmla="*/ 37 w 169"/>
                <a:gd name="T53" fmla="*/ 102 h 360"/>
                <a:gd name="T54" fmla="*/ 19 w 169"/>
                <a:gd name="T55" fmla="*/ 98 h 360"/>
                <a:gd name="T56" fmla="*/ 2 w 169"/>
                <a:gd name="T57" fmla="*/ 108 h 360"/>
                <a:gd name="T58" fmla="*/ 8 w 169"/>
                <a:gd name="T59" fmla="*/ 89 h 360"/>
                <a:gd name="T60" fmla="*/ 16 w 169"/>
                <a:gd name="T61" fmla="*/ 83 h 360"/>
                <a:gd name="T62" fmla="*/ 10 w 169"/>
                <a:gd name="T63" fmla="*/ 81 h 360"/>
                <a:gd name="T64" fmla="*/ 16 w 169"/>
                <a:gd name="T65" fmla="*/ 75 h 360"/>
                <a:gd name="T66" fmla="*/ 12 w 169"/>
                <a:gd name="T67" fmla="*/ 68 h 360"/>
                <a:gd name="T68" fmla="*/ 17 w 169"/>
                <a:gd name="T69" fmla="*/ 60 h 360"/>
                <a:gd name="T70" fmla="*/ 14 w 169"/>
                <a:gd name="T71" fmla="*/ 62 h 360"/>
                <a:gd name="T72" fmla="*/ 6 w 169"/>
                <a:gd name="T73" fmla="*/ 62 h 360"/>
                <a:gd name="T74" fmla="*/ 16 w 169"/>
                <a:gd name="T75" fmla="*/ 48 h 360"/>
                <a:gd name="T76" fmla="*/ 8 w 169"/>
                <a:gd name="T77" fmla="*/ 50 h 360"/>
                <a:gd name="T78" fmla="*/ 6 w 169"/>
                <a:gd name="T79" fmla="*/ 45 h 360"/>
                <a:gd name="T80" fmla="*/ 4 w 169"/>
                <a:gd name="T81" fmla="*/ 37 h 360"/>
                <a:gd name="T82" fmla="*/ 2 w 169"/>
                <a:gd name="T83" fmla="*/ 33 h 360"/>
                <a:gd name="T84" fmla="*/ 8 w 169"/>
                <a:gd name="T85" fmla="*/ 27 h 360"/>
                <a:gd name="T86" fmla="*/ 12 w 169"/>
                <a:gd name="T87" fmla="*/ 22 h 360"/>
                <a:gd name="T88" fmla="*/ 21 w 169"/>
                <a:gd name="T89" fmla="*/ 20 h 360"/>
                <a:gd name="T90" fmla="*/ 27 w 169"/>
                <a:gd name="T91" fmla="*/ 16 h 360"/>
                <a:gd name="T92" fmla="*/ 41 w 169"/>
                <a:gd name="T93" fmla="*/ 22 h 360"/>
                <a:gd name="T94" fmla="*/ 50 w 169"/>
                <a:gd name="T95" fmla="*/ 20 h 360"/>
                <a:gd name="T96" fmla="*/ 56 w 169"/>
                <a:gd name="T97" fmla="*/ 20 h 360"/>
                <a:gd name="T98" fmla="*/ 56 w 169"/>
                <a:gd name="T99" fmla="*/ 14 h 360"/>
                <a:gd name="T100" fmla="*/ 50 w 169"/>
                <a:gd name="T101" fmla="*/ 12 h 360"/>
                <a:gd name="T102" fmla="*/ 60 w 169"/>
                <a:gd name="T103" fmla="*/ 6 h 360"/>
                <a:gd name="T104" fmla="*/ 67 w 169"/>
                <a:gd name="T105" fmla="*/ 2 h 360"/>
                <a:gd name="T106" fmla="*/ 81 w 169"/>
                <a:gd name="T107" fmla="*/ 2 h 360"/>
                <a:gd name="T108" fmla="*/ 87 w 169"/>
                <a:gd name="T109" fmla="*/ 6 h 360"/>
                <a:gd name="T110" fmla="*/ 98 w 169"/>
                <a:gd name="T111" fmla="*/ 22 h 360"/>
                <a:gd name="T112" fmla="*/ 119 w 169"/>
                <a:gd name="T113" fmla="*/ 23 h 360"/>
                <a:gd name="T114" fmla="*/ 133 w 169"/>
                <a:gd name="T115" fmla="*/ 27 h 360"/>
                <a:gd name="T116" fmla="*/ 150 w 169"/>
                <a:gd name="T117" fmla="*/ 31 h 360"/>
                <a:gd name="T118" fmla="*/ 162 w 169"/>
                <a:gd name="T119" fmla="*/ 3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9" h="360">
                  <a:moveTo>
                    <a:pt x="35" y="360"/>
                  </a:moveTo>
                  <a:lnTo>
                    <a:pt x="33" y="358"/>
                  </a:lnTo>
                  <a:lnTo>
                    <a:pt x="31" y="358"/>
                  </a:lnTo>
                  <a:lnTo>
                    <a:pt x="29" y="360"/>
                  </a:lnTo>
                  <a:lnTo>
                    <a:pt x="27" y="360"/>
                  </a:lnTo>
                  <a:lnTo>
                    <a:pt x="25" y="360"/>
                  </a:lnTo>
                  <a:lnTo>
                    <a:pt x="23" y="356"/>
                  </a:lnTo>
                  <a:lnTo>
                    <a:pt x="25" y="354"/>
                  </a:lnTo>
                  <a:lnTo>
                    <a:pt x="23" y="352"/>
                  </a:lnTo>
                  <a:lnTo>
                    <a:pt x="23" y="348"/>
                  </a:lnTo>
                  <a:lnTo>
                    <a:pt x="21" y="344"/>
                  </a:lnTo>
                  <a:lnTo>
                    <a:pt x="21" y="342"/>
                  </a:lnTo>
                  <a:lnTo>
                    <a:pt x="19" y="340"/>
                  </a:lnTo>
                  <a:lnTo>
                    <a:pt x="19" y="339"/>
                  </a:lnTo>
                  <a:lnTo>
                    <a:pt x="21" y="339"/>
                  </a:lnTo>
                  <a:lnTo>
                    <a:pt x="19" y="339"/>
                  </a:lnTo>
                  <a:lnTo>
                    <a:pt x="21" y="335"/>
                  </a:lnTo>
                  <a:lnTo>
                    <a:pt x="21" y="333"/>
                  </a:lnTo>
                  <a:lnTo>
                    <a:pt x="23" y="331"/>
                  </a:lnTo>
                  <a:lnTo>
                    <a:pt x="25" y="329"/>
                  </a:lnTo>
                  <a:lnTo>
                    <a:pt x="23" y="327"/>
                  </a:lnTo>
                  <a:lnTo>
                    <a:pt x="25" y="323"/>
                  </a:lnTo>
                  <a:lnTo>
                    <a:pt x="31" y="319"/>
                  </a:lnTo>
                  <a:lnTo>
                    <a:pt x="33" y="319"/>
                  </a:lnTo>
                  <a:lnTo>
                    <a:pt x="35" y="319"/>
                  </a:lnTo>
                  <a:lnTo>
                    <a:pt x="37" y="317"/>
                  </a:lnTo>
                  <a:lnTo>
                    <a:pt x="39" y="316"/>
                  </a:lnTo>
                  <a:lnTo>
                    <a:pt x="39" y="314"/>
                  </a:lnTo>
                  <a:lnTo>
                    <a:pt x="44" y="310"/>
                  </a:lnTo>
                  <a:lnTo>
                    <a:pt x="44" y="308"/>
                  </a:lnTo>
                  <a:lnTo>
                    <a:pt x="44" y="304"/>
                  </a:lnTo>
                  <a:lnTo>
                    <a:pt x="44" y="302"/>
                  </a:lnTo>
                  <a:lnTo>
                    <a:pt x="42" y="300"/>
                  </a:lnTo>
                  <a:lnTo>
                    <a:pt x="39" y="300"/>
                  </a:lnTo>
                  <a:lnTo>
                    <a:pt x="37" y="300"/>
                  </a:lnTo>
                  <a:lnTo>
                    <a:pt x="39" y="296"/>
                  </a:lnTo>
                  <a:lnTo>
                    <a:pt x="37" y="296"/>
                  </a:lnTo>
                  <a:lnTo>
                    <a:pt x="35" y="294"/>
                  </a:lnTo>
                  <a:lnTo>
                    <a:pt x="35" y="289"/>
                  </a:lnTo>
                  <a:lnTo>
                    <a:pt x="33" y="283"/>
                  </a:lnTo>
                  <a:lnTo>
                    <a:pt x="35" y="275"/>
                  </a:lnTo>
                  <a:lnTo>
                    <a:pt x="31" y="273"/>
                  </a:lnTo>
                  <a:lnTo>
                    <a:pt x="31" y="271"/>
                  </a:lnTo>
                  <a:lnTo>
                    <a:pt x="29" y="269"/>
                  </a:lnTo>
                  <a:lnTo>
                    <a:pt x="29" y="267"/>
                  </a:lnTo>
                  <a:lnTo>
                    <a:pt x="27" y="266"/>
                  </a:lnTo>
                  <a:lnTo>
                    <a:pt x="27" y="262"/>
                  </a:lnTo>
                  <a:lnTo>
                    <a:pt x="31" y="262"/>
                  </a:lnTo>
                  <a:lnTo>
                    <a:pt x="31" y="264"/>
                  </a:lnTo>
                  <a:lnTo>
                    <a:pt x="37" y="266"/>
                  </a:lnTo>
                  <a:lnTo>
                    <a:pt x="39" y="266"/>
                  </a:lnTo>
                  <a:lnTo>
                    <a:pt x="41" y="266"/>
                  </a:lnTo>
                  <a:lnTo>
                    <a:pt x="44" y="266"/>
                  </a:lnTo>
                  <a:lnTo>
                    <a:pt x="46" y="266"/>
                  </a:lnTo>
                  <a:lnTo>
                    <a:pt x="48" y="267"/>
                  </a:lnTo>
                  <a:lnTo>
                    <a:pt x="52" y="267"/>
                  </a:lnTo>
                  <a:lnTo>
                    <a:pt x="54" y="264"/>
                  </a:lnTo>
                  <a:lnTo>
                    <a:pt x="54" y="262"/>
                  </a:lnTo>
                  <a:lnTo>
                    <a:pt x="56" y="262"/>
                  </a:lnTo>
                  <a:lnTo>
                    <a:pt x="56" y="258"/>
                  </a:lnTo>
                  <a:lnTo>
                    <a:pt x="58" y="258"/>
                  </a:lnTo>
                  <a:lnTo>
                    <a:pt x="58" y="256"/>
                  </a:lnTo>
                  <a:lnTo>
                    <a:pt x="60" y="256"/>
                  </a:lnTo>
                  <a:lnTo>
                    <a:pt x="62" y="252"/>
                  </a:lnTo>
                  <a:lnTo>
                    <a:pt x="62" y="250"/>
                  </a:lnTo>
                  <a:lnTo>
                    <a:pt x="64" y="248"/>
                  </a:lnTo>
                  <a:lnTo>
                    <a:pt x="64" y="246"/>
                  </a:lnTo>
                  <a:lnTo>
                    <a:pt x="64" y="244"/>
                  </a:lnTo>
                  <a:lnTo>
                    <a:pt x="62" y="242"/>
                  </a:lnTo>
                  <a:lnTo>
                    <a:pt x="62" y="241"/>
                  </a:lnTo>
                  <a:lnTo>
                    <a:pt x="60" y="241"/>
                  </a:lnTo>
                  <a:lnTo>
                    <a:pt x="58" y="239"/>
                  </a:lnTo>
                  <a:lnTo>
                    <a:pt x="60" y="235"/>
                  </a:lnTo>
                  <a:lnTo>
                    <a:pt x="58" y="233"/>
                  </a:lnTo>
                  <a:lnTo>
                    <a:pt x="60" y="233"/>
                  </a:lnTo>
                  <a:lnTo>
                    <a:pt x="60" y="231"/>
                  </a:lnTo>
                  <a:lnTo>
                    <a:pt x="62" y="231"/>
                  </a:lnTo>
                  <a:lnTo>
                    <a:pt x="64" y="229"/>
                  </a:lnTo>
                  <a:lnTo>
                    <a:pt x="66" y="231"/>
                  </a:lnTo>
                  <a:lnTo>
                    <a:pt x="67" y="231"/>
                  </a:lnTo>
                  <a:lnTo>
                    <a:pt x="67" y="227"/>
                  </a:lnTo>
                  <a:lnTo>
                    <a:pt x="71" y="225"/>
                  </a:lnTo>
                  <a:lnTo>
                    <a:pt x="71" y="223"/>
                  </a:lnTo>
                  <a:lnTo>
                    <a:pt x="71" y="221"/>
                  </a:lnTo>
                  <a:lnTo>
                    <a:pt x="71" y="218"/>
                  </a:lnTo>
                  <a:lnTo>
                    <a:pt x="71" y="216"/>
                  </a:lnTo>
                  <a:lnTo>
                    <a:pt x="73" y="214"/>
                  </a:lnTo>
                  <a:lnTo>
                    <a:pt x="73" y="212"/>
                  </a:lnTo>
                  <a:lnTo>
                    <a:pt x="73" y="210"/>
                  </a:lnTo>
                  <a:lnTo>
                    <a:pt x="75" y="206"/>
                  </a:lnTo>
                  <a:lnTo>
                    <a:pt x="75" y="204"/>
                  </a:lnTo>
                  <a:lnTo>
                    <a:pt x="75" y="200"/>
                  </a:lnTo>
                  <a:lnTo>
                    <a:pt x="75" y="198"/>
                  </a:lnTo>
                  <a:lnTo>
                    <a:pt x="77" y="196"/>
                  </a:lnTo>
                  <a:lnTo>
                    <a:pt x="77" y="193"/>
                  </a:lnTo>
                  <a:lnTo>
                    <a:pt x="77" y="191"/>
                  </a:lnTo>
                  <a:lnTo>
                    <a:pt x="77" y="189"/>
                  </a:lnTo>
                  <a:lnTo>
                    <a:pt x="75" y="187"/>
                  </a:lnTo>
                  <a:lnTo>
                    <a:pt x="75" y="181"/>
                  </a:lnTo>
                  <a:lnTo>
                    <a:pt x="77" y="183"/>
                  </a:lnTo>
                  <a:lnTo>
                    <a:pt x="79" y="183"/>
                  </a:lnTo>
                  <a:lnTo>
                    <a:pt x="81" y="183"/>
                  </a:lnTo>
                  <a:lnTo>
                    <a:pt x="83" y="179"/>
                  </a:lnTo>
                  <a:lnTo>
                    <a:pt x="83" y="177"/>
                  </a:lnTo>
                  <a:lnTo>
                    <a:pt x="87" y="175"/>
                  </a:lnTo>
                  <a:lnTo>
                    <a:pt x="89" y="173"/>
                  </a:lnTo>
                  <a:lnTo>
                    <a:pt x="91" y="171"/>
                  </a:lnTo>
                  <a:lnTo>
                    <a:pt x="92" y="171"/>
                  </a:lnTo>
                  <a:lnTo>
                    <a:pt x="92" y="173"/>
                  </a:lnTo>
                  <a:lnTo>
                    <a:pt x="96" y="171"/>
                  </a:lnTo>
                  <a:lnTo>
                    <a:pt x="98" y="171"/>
                  </a:lnTo>
                  <a:lnTo>
                    <a:pt x="98" y="169"/>
                  </a:lnTo>
                  <a:lnTo>
                    <a:pt x="100" y="169"/>
                  </a:lnTo>
                  <a:lnTo>
                    <a:pt x="100" y="168"/>
                  </a:lnTo>
                  <a:lnTo>
                    <a:pt x="102" y="168"/>
                  </a:lnTo>
                  <a:lnTo>
                    <a:pt x="104" y="164"/>
                  </a:lnTo>
                  <a:lnTo>
                    <a:pt x="106" y="164"/>
                  </a:lnTo>
                  <a:lnTo>
                    <a:pt x="106" y="166"/>
                  </a:lnTo>
                  <a:lnTo>
                    <a:pt x="108" y="166"/>
                  </a:lnTo>
                  <a:lnTo>
                    <a:pt x="108" y="164"/>
                  </a:lnTo>
                  <a:lnTo>
                    <a:pt x="108" y="162"/>
                  </a:lnTo>
                  <a:lnTo>
                    <a:pt x="110" y="160"/>
                  </a:lnTo>
                  <a:lnTo>
                    <a:pt x="115" y="154"/>
                  </a:lnTo>
                  <a:lnTo>
                    <a:pt x="115" y="152"/>
                  </a:lnTo>
                  <a:lnTo>
                    <a:pt x="114" y="152"/>
                  </a:lnTo>
                  <a:lnTo>
                    <a:pt x="114" y="148"/>
                  </a:lnTo>
                  <a:lnTo>
                    <a:pt x="112" y="146"/>
                  </a:lnTo>
                  <a:lnTo>
                    <a:pt x="106" y="144"/>
                  </a:lnTo>
                  <a:lnTo>
                    <a:pt x="102" y="146"/>
                  </a:lnTo>
                  <a:lnTo>
                    <a:pt x="100" y="143"/>
                  </a:lnTo>
                  <a:lnTo>
                    <a:pt x="102" y="143"/>
                  </a:lnTo>
                  <a:lnTo>
                    <a:pt x="100" y="141"/>
                  </a:lnTo>
                  <a:lnTo>
                    <a:pt x="102" y="139"/>
                  </a:lnTo>
                  <a:lnTo>
                    <a:pt x="106" y="133"/>
                  </a:lnTo>
                  <a:lnTo>
                    <a:pt x="104" y="131"/>
                  </a:lnTo>
                  <a:lnTo>
                    <a:pt x="106" y="129"/>
                  </a:lnTo>
                  <a:lnTo>
                    <a:pt x="104" y="127"/>
                  </a:lnTo>
                  <a:lnTo>
                    <a:pt x="102" y="127"/>
                  </a:lnTo>
                  <a:lnTo>
                    <a:pt x="96" y="127"/>
                  </a:lnTo>
                  <a:lnTo>
                    <a:pt x="96" y="125"/>
                  </a:lnTo>
                  <a:lnTo>
                    <a:pt x="94" y="123"/>
                  </a:lnTo>
                  <a:lnTo>
                    <a:pt x="92" y="123"/>
                  </a:lnTo>
                  <a:lnTo>
                    <a:pt x="92" y="125"/>
                  </a:lnTo>
                  <a:lnTo>
                    <a:pt x="91" y="123"/>
                  </a:lnTo>
                  <a:lnTo>
                    <a:pt x="87" y="123"/>
                  </a:lnTo>
                  <a:lnTo>
                    <a:pt x="87" y="121"/>
                  </a:lnTo>
                  <a:lnTo>
                    <a:pt x="85" y="121"/>
                  </a:lnTo>
                  <a:lnTo>
                    <a:pt x="83" y="123"/>
                  </a:lnTo>
                  <a:lnTo>
                    <a:pt x="79" y="121"/>
                  </a:lnTo>
                  <a:lnTo>
                    <a:pt x="79" y="120"/>
                  </a:lnTo>
                  <a:lnTo>
                    <a:pt x="75" y="120"/>
                  </a:lnTo>
                  <a:lnTo>
                    <a:pt x="75" y="125"/>
                  </a:lnTo>
                  <a:lnTo>
                    <a:pt x="73" y="125"/>
                  </a:lnTo>
                  <a:lnTo>
                    <a:pt x="71" y="125"/>
                  </a:lnTo>
                  <a:lnTo>
                    <a:pt x="69" y="125"/>
                  </a:lnTo>
                  <a:lnTo>
                    <a:pt x="67" y="125"/>
                  </a:lnTo>
                  <a:lnTo>
                    <a:pt x="66" y="125"/>
                  </a:lnTo>
                  <a:lnTo>
                    <a:pt x="66" y="127"/>
                  </a:lnTo>
                  <a:lnTo>
                    <a:pt x="64" y="127"/>
                  </a:lnTo>
                  <a:lnTo>
                    <a:pt x="64" y="123"/>
                  </a:lnTo>
                  <a:lnTo>
                    <a:pt x="62" y="121"/>
                  </a:lnTo>
                  <a:lnTo>
                    <a:pt x="60" y="123"/>
                  </a:lnTo>
                  <a:lnTo>
                    <a:pt x="56" y="123"/>
                  </a:lnTo>
                  <a:lnTo>
                    <a:pt x="56" y="121"/>
                  </a:lnTo>
                  <a:lnTo>
                    <a:pt x="58" y="121"/>
                  </a:lnTo>
                  <a:lnTo>
                    <a:pt x="58" y="120"/>
                  </a:lnTo>
                  <a:lnTo>
                    <a:pt x="56" y="120"/>
                  </a:lnTo>
                  <a:lnTo>
                    <a:pt x="54" y="118"/>
                  </a:lnTo>
                  <a:lnTo>
                    <a:pt x="52" y="118"/>
                  </a:lnTo>
                  <a:lnTo>
                    <a:pt x="50" y="118"/>
                  </a:lnTo>
                  <a:lnTo>
                    <a:pt x="48" y="118"/>
                  </a:lnTo>
                  <a:lnTo>
                    <a:pt x="46" y="118"/>
                  </a:lnTo>
                  <a:lnTo>
                    <a:pt x="46" y="120"/>
                  </a:lnTo>
                  <a:lnTo>
                    <a:pt x="44" y="120"/>
                  </a:lnTo>
                  <a:lnTo>
                    <a:pt x="44" y="114"/>
                  </a:lnTo>
                  <a:lnTo>
                    <a:pt x="44" y="116"/>
                  </a:lnTo>
                  <a:lnTo>
                    <a:pt x="42" y="118"/>
                  </a:lnTo>
                  <a:lnTo>
                    <a:pt x="41" y="116"/>
                  </a:lnTo>
                  <a:lnTo>
                    <a:pt x="39" y="120"/>
                  </a:lnTo>
                  <a:lnTo>
                    <a:pt x="37" y="120"/>
                  </a:lnTo>
                  <a:lnTo>
                    <a:pt x="33" y="120"/>
                  </a:lnTo>
                  <a:lnTo>
                    <a:pt x="33" y="116"/>
                  </a:lnTo>
                  <a:lnTo>
                    <a:pt x="31" y="114"/>
                  </a:lnTo>
                  <a:lnTo>
                    <a:pt x="31" y="112"/>
                  </a:lnTo>
                  <a:lnTo>
                    <a:pt x="33" y="110"/>
                  </a:lnTo>
                  <a:lnTo>
                    <a:pt x="35" y="106"/>
                  </a:lnTo>
                  <a:lnTo>
                    <a:pt x="37" y="106"/>
                  </a:lnTo>
                  <a:lnTo>
                    <a:pt x="39" y="104"/>
                  </a:lnTo>
                  <a:lnTo>
                    <a:pt x="37" y="102"/>
                  </a:lnTo>
                  <a:lnTo>
                    <a:pt x="35" y="102"/>
                  </a:lnTo>
                  <a:lnTo>
                    <a:pt x="35" y="98"/>
                  </a:lnTo>
                  <a:lnTo>
                    <a:pt x="31" y="98"/>
                  </a:lnTo>
                  <a:lnTo>
                    <a:pt x="27" y="100"/>
                  </a:lnTo>
                  <a:lnTo>
                    <a:pt x="25" y="100"/>
                  </a:lnTo>
                  <a:lnTo>
                    <a:pt x="23" y="98"/>
                  </a:lnTo>
                  <a:lnTo>
                    <a:pt x="19" y="98"/>
                  </a:lnTo>
                  <a:lnTo>
                    <a:pt x="14" y="98"/>
                  </a:lnTo>
                  <a:lnTo>
                    <a:pt x="14" y="100"/>
                  </a:lnTo>
                  <a:lnTo>
                    <a:pt x="12" y="102"/>
                  </a:lnTo>
                  <a:lnTo>
                    <a:pt x="8" y="102"/>
                  </a:lnTo>
                  <a:lnTo>
                    <a:pt x="8" y="106"/>
                  </a:lnTo>
                  <a:lnTo>
                    <a:pt x="4" y="106"/>
                  </a:lnTo>
                  <a:lnTo>
                    <a:pt x="2" y="108"/>
                  </a:lnTo>
                  <a:lnTo>
                    <a:pt x="4" y="91"/>
                  </a:lnTo>
                  <a:lnTo>
                    <a:pt x="4" y="93"/>
                  </a:lnTo>
                  <a:lnTo>
                    <a:pt x="6" y="91"/>
                  </a:lnTo>
                  <a:lnTo>
                    <a:pt x="6" y="93"/>
                  </a:lnTo>
                  <a:lnTo>
                    <a:pt x="8" y="91"/>
                  </a:lnTo>
                  <a:lnTo>
                    <a:pt x="6" y="89"/>
                  </a:lnTo>
                  <a:lnTo>
                    <a:pt x="8" y="89"/>
                  </a:lnTo>
                  <a:lnTo>
                    <a:pt x="8" y="87"/>
                  </a:lnTo>
                  <a:lnTo>
                    <a:pt x="10" y="87"/>
                  </a:lnTo>
                  <a:lnTo>
                    <a:pt x="12" y="87"/>
                  </a:lnTo>
                  <a:lnTo>
                    <a:pt x="14" y="85"/>
                  </a:lnTo>
                  <a:lnTo>
                    <a:pt x="16" y="85"/>
                  </a:lnTo>
                  <a:lnTo>
                    <a:pt x="17" y="83"/>
                  </a:lnTo>
                  <a:lnTo>
                    <a:pt x="16" y="83"/>
                  </a:lnTo>
                  <a:lnTo>
                    <a:pt x="14" y="83"/>
                  </a:lnTo>
                  <a:lnTo>
                    <a:pt x="12" y="83"/>
                  </a:lnTo>
                  <a:lnTo>
                    <a:pt x="10" y="85"/>
                  </a:lnTo>
                  <a:lnTo>
                    <a:pt x="10" y="83"/>
                  </a:lnTo>
                  <a:lnTo>
                    <a:pt x="8" y="83"/>
                  </a:lnTo>
                  <a:lnTo>
                    <a:pt x="10" y="79"/>
                  </a:lnTo>
                  <a:lnTo>
                    <a:pt x="10" y="81"/>
                  </a:lnTo>
                  <a:lnTo>
                    <a:pt x="10" y="79"/>
                  </a:lnTo>
                  <a:lnTo>
                    <a:pt x="12" y="79"/>
                  </a:lnTo>
                  <a:lnTo>
                    <a:pt x="14" y="79"/>
                  </a:lnTo>
                  <a:lnTo>
                    <a:pt x="16" y="77"/>
                  </a:lnTo>
                  <a:lnTo>
                    <a:pt x="19" y="75"/>
                  </a:lnTo>
                  <a:lnTo>
                    <a:pt x="19" y="73"/>
                  </a:lnTo>
                  <a:lnTo>
                    <a:pt x="16" y="75"/>
                  </a:lnTo>
                  <a:lnTo>
                    <a:pt x="14" y="75"/>
                  </a:lnTo>
                  <a:lnTo>
                    <a:pt x="12" y="75"/>
                  </a:lnTo>
                  <a:lnTo>
                    <a:pt x="10" y="73"/>
                  </a:lnTo>
                  <a:lnTo>
                    <a:pt x="10" y="71"/>
                  </a:lnTo>
                  <a:lnTo>
                    <a:pt x="10" y="70"/>
                  </a:lnTo>
                  <a:lnTo>
                    <a:pt x="12" y="70"/>
                  </a:lnTo>
                  <a:lnTo>
                    <a:pt x="12" y="68"/>
                  </a:lnTo>
                  <a:lnTo>
                    <a:pt x="14" y="68"/>
                  </a:lnTo>
                  <a:lnTo>
                    <a:pt x="12" y="71"/>
                  </a:lnTo>
                  <a:lnTo>
                    <a:pt x="14" y="71"/>
                  </a:lnTo>
                  <a:lnTo>
                    <a:pt x="16" y="64"/>
                  </a:lnTo>
                  <a:lnTo>
                    <a:pt x="19" y="64"/>
                  </a:lnTo>
                  <a:lnTo>
                    <a:pt x="19" y="60"/>
                  </a:lnTo>
                  <a:lnTo>
                    <a:pt x="17" y="60"/>
                  </a:lnTo>
                  <a:lnTo>
                    <a:pt x="17" y="58"/>
                  </a:lnTo>
                  <a:lnTo>
                    <a:pt x="16" y="58"/>
                  </a:lnTo>
                  <a:lnTo>
                    <a:pt x="16" y="60"/>
                  </a:lnTo>
                  <a:lnTo>
                    <a:pt x="17" y="60"/>
                  </a:lnTo>
                  <a:lnTo>
                    <a:pt x="16" y="60"/>
                  </a:lnTo>
                  <a:lnTo>
                    <a:pt x="16" y="62"/>
                  </a:lnTo>
                  <a:lnTo>
                    <a:pt x="14" y="62"/>
                  </a:lnTo>
                  <a:lnTo>
                    <a:pt x="14" y="60"/>
                  </a:lnTo>
                  <a:lnTo>
                    <a:pt x="12" y="62"/>
                  </a:lnTo>
                  <a:lnTo>
                    <a:pt x="10" y="62"/>
                  </a:lnTo>
                  <a:lnTo>
                    <a:pt x="10" y="64"/>
                  </a:lnTo>
                  <a:lnTo>
                    <a:pt x="8" y="64"/>
                  </a:lnTo>
                  <a:lnTo>
                    <a:pt x="6" y="66"/>
                  </a:lnTo>
                  <a:lnTo>
                    <a:pt x="6" y="62"/>
                  </a:lnTo>
                  <a:lnTo>
                    <a:pt x="6" y="60"/>
                  </a:lnTo>
                  <a:lnTo>
                    <a:pt x="10" y="54"/>
                  </a:lnTo>
                  <a:lnTo>
                    <a:pt x="12" y="52"/>
                  </a:lnTo>
                  <a:lnTo>
                    <a:pt x="14" y="52"/>
                  </a:lnTo>
                  <a:lnTo>
                    <a:pt x="14" y="50"/>
                  </a:lnTo>
                  <a:lnTo>
                    <a:pt x="16" y="50"/>
                  </a:lnTo>
                  <a:lnTo>
                    <a:pt x="16" y="48"/>
                  </a:lnTo>
                  <a:lnTo>
                    <a:pt x="14" y="48"/>
                  </a:lnTo>
                  <a:lnTo>
                    <a:pt x="14" y="50"/>
                  </a:lnTo>
                  <a:lnTo>
                    <a:pt x="12" y="50"/>
                  </a:lnTo>
                  <a:lnTo>
                    <a:pt x="12" y="48"/>
                  </a:lnTo>
                  <a:lnTo>
                    <a:pt x="10" y="48"/>
                  </a:lnTo>
                  <a:lnTo>
                    <a:pt x="10" y="50"/>
                  </a:lnTo>
                  <a:lnTo>
                    <a:pt x="8" y="50"/>
                  </a:lnTo>
                  <a:lnTo>
                    <a:pt x="8" y="52"/>
                  </a:lnTo>
                  <a:lnTo>
                    <a:pt x="6" y="50"/>
                  </a:lnTo>
                  <a:lnTo>
                    <a:pt x="6" y="48"/>
                  </a:lnTo>
                  <a:lnTo>
                    <a:pt x="6" y="46"/>
                  </a:lnTo>
                  <a:lnTo>
                    <a:pt x="8" y="46"/>
                  </a:lnTo>
                  <a:lnTo>
                    <a:pt x="8" y="45"/>
                  </a:lnTo>
                  <a:lnTo>
                    <a:pt x="6" y="45"/>
                  </a:lnTo>
                  <a:lnTo>
                    <a:pt x="6" y="43"/>
                  </a:lnTo>
                  <a:lnTo>
                    <a:pt x="8" y="41"/>
                  </a:lnTo>
                  <a:lnTo>
                    <a:pt x="6" y="39"/>
                  </a:lnTo>
                  <a:lnTo>
                    <a:pt x="6" y="37"/>
                  </a:lnTo>
                  <a:lnTo>
                    <a:pt x="6" y="39"/>
                  </a:lnTo>
                  <a:lnTo>
                    <a:pt x="4" y="39"/>
                  </a:lnTo>
                  <a:lnTo>
                    <a:pt x="4" y="37"/>
                  </a:lnTo>
                  <a:lnTo>
                    <a:pt x="2" y="39"/>
                  </a:lnTo>
                  <a:lnTo>
                    <a:pt x="0" y="41"/>
                  </a:lnTo>
                  <a:lnTo>
                    <a:pt x="0" y="39"/>
                  </a:lnTo>
                  <a:lnTo>
                    <a:pt x="2" y="39"/>
                  </a:lnTo>
                  <a:lnTo>
                    <a:pt x="0" y="37"/>
                  </a:lnTo>
                  <a:lnTo>
                    <a:pt x="4" y="33"/>
                  </a:lnTo>
                  <a:lnTo>
                    <a:pt x="2" y="33"/>
                  </a:lnTo>
                  <a:lnTo>
                    <a:pt x="2" y="31"/>
                  </a:lnTo>
                  <a:lnTo>
                    <a:pt x="2" y="29"/>
                  </a:lnTo>
                  <a:lnTo>
                    <a:pt x="4" y="29"/>
                  </a:lnTo>
                  <a:lnTo>
                    <a:pt x="6" y="29"/>
                  </a:lnTo>
                  <a:lnTo>
                    <a:pt x="6" y="27"/>
                  </a:lnTo>
                  <a:lnTo>
                    <a:pt x="8" y="29"/>
                  </a:lnTo>
                  <a:lnTo>
                    <a:pt x="8" y="27"/>
                  </a:lnTo>
                  <a:lnTo>
                    <a:pt x="10" y="27"/>
                  </a:lnTo>
                  <a:lnTo>
                    <a:pt x="10" y="25"/>
                  </a:lnTo>
                  <a:lnTo>
                    <a:pt x="8" y="27"/>
                  </a:lnTo>
                  <a:lnTo>
                    <a:pt x="8" y="25"/>
                  </a:lnTo>
                  <a:lnTo>
                    <a:pt x="8" y="23"/>
                  </a:lnTo>
                  <a:lnTo>
                    <a:pt x="10" y="23"/>
                  </a:lnTo>
                  <a:lnTo>
                    <a:pt x="12" y="22"/>
                  </a:lnTo>
                  <a:lnTo>
                    <a:pt x="16" y="23"/>
                  </a:lnTo>
                  <a:lnTo>
                    <a:pt x="17" y="23"/>
                  </a:lnTo>
                  <a:lnTo>
                    <a:pt x="17" y="22"/>
                  </a:lnTo>
                  <a:lnTo>
                    <a:pt x="17" y="23"/>
                  </a:lnTo>
                  <a:lnTo>
                    <a:pt x="19" y="22"/>
                  </a:lnTo>
                  <a:lnTo>
                    <a:pt x="21" y="22"/>
                  </a:lnTo>
                  <a:lnTo>
                    <a:pt x="21" y="20"/>
                  </a:lnTo>
                  <a:lnTo>
                    <a:pt x="19" y="20"/>
                  </a:lnTo>
                  <a:lnTo>
                    <a:pt x="21" y="18"/>
                  </a:lnTo>
                  <a:lnTo>
                    <a:pt x="21" y="20"/>
                  </a:lnTo>
                  <a:lnTo>
                    <a:pt x="23" y="20"/>
                  </a:lnTo>
                  <a:lnTo>
                    <a:pt x="23" y="18"/>
                  </a:lnTo>
                  <a:lnTo>
                    <a:pt x="25" y="18"/>
                  </a:lnTo>
                  <a:lnTo>
                    <a:pt x="27" y="16"/>
                  </a:lnTo>
                  <a:lnTo>
                    <a:pt x="27" y="18"/>
                  </a:lnTo>
                  <a:lnTo>
                    <a:pt x="29" y="18"/>
                  </a:lnTo>
                  <a:lnTo>
                    <a:pt x="29" y="20"/>
                  </a:lnTo>
                  <a:lnTo>
                    <a:pt x="31" y="22"/>
                  </a:lnTo>
                  <a:lnTo>
                    <a:pt x="37" y="22"/>
                  </a:lnTo>
                  <a:lnTo>
                    <a:pt x="39" y="22"/>
                  </a:lnTo>
                  <a:lnTo>
                    <a:pt x="41" y="22"/>
                  </a:lnTo>
                  <a:lnTo>
                    <a:pt x="42" y="20"/>
                  </a:lnTo>
                  <a:lnTo>
                    <a:pt x="44" y="20"/>
                  </a:lnTo>
                  <a:lnTo>
                    <a:pt x="46" y="18"/>
                  </a:lnTo>
                  <a:lnTo>
                    <a:pt x="46" y="20"/>
                  </a:lnTo>
                  <a:lnTo>
                    <a:pt x="46" y="22"/>
                  </a:lnTo>
                  <a:lnTo>
                    <a:pt x="48" y="22"/>
                  </a:lnTo>
                  <a:lnTo>
                    <a:pt x="50" y="20"/>
                  </a:lnTo>
                  <a:lnTo>
                    <a:pt x="48" y="20"/>
                  </a:lnTo>
                  <a:lnTo>
                    <a:pt x="48" y="18"/>
                  </a:lnTo>
                  <a:lnTo>
                    <a:pt x="52" y="18"/>
                  </a:lnTo>
                  <a:lnTo>
                    <a:pt x="52" y="20"/>
                  </a:lnTo>
                  <a:lnTo>
                    <a:pt x="54" y="23"/>
                  </a:lnTo>
                  <a:lnTo>
                    <a:pt x="54" y="20"/>
                  </a:lnTo>
                  <a:lnTo>
                    <a:pt x="56" y="20"/>
                  </a:lnTo>
                  <a:lnTo>
                    <a:pt x="58" y="20"/>
                  </a:lnTo>
                  <a:lnTo>
                    <a:pt x="56" y="18"/>
                  </a:lnTo>
                  <a:lnTo>
                    <a:pt x="54" y="18"/>
                  </a:lnTo>
                  <a:lnTo>
                    <a:pt x="52" y="16"/>
                  </a:lnTo>
                  <a:lnTo>
                    <a:pt x="54" y="16"/>
                  </a:lnTo>
                  <a:lnTo>
                    <a:pt x="56" y="16"/>
                  </a:lnTo>
                  <a:lnTo>
                    <a:pt x="56" y="14"/>
                  </a:lnTo>
                  <a:lnTo>
                    <a:pt x="56" y="16"/>
                  </a:lnTo>
                  <a:lnTo>
                    <a:pt x="54" y="14"/>
                  </a:lnTo>
                  <a:lnTo>
                    <a:pt x="54" y="16"/>
                  </a:lnTo>
                  <a:lnTo>
                    <a:pt x="52" y="14"/>
                  </a:lnTo>
                  <a:lnTo>
                    <a:pt x="50" y="14"/>
                  </a:lnTo>
                  <a:lnTo>
                    <a:pt x="52" y="14"/>
                  </a:lnTo>
                  <a:lnTo>
                    <a:pt x="50" y="12"/>
                  </a:lnTo>
                  <a:lnTo>
                    <a:pt x="52" y="10"/>
                  </a:lnTo>
                  <a:lnTo>
                    <a:pt x="54" y="10"/>
                  </a:lnTo>
                  <a:lnTo>
                    <a:pt x="52" y="8"/>
                  </a:lnTo>
                  <a:lnTo>
                    <a:pt x="54" y="8"/>
                  </a:lnTo>
                  <a:lnTo>
                    <a:pt x="56" y="10"/>
                  </a:lnTo>
                  <a:lnTo>
                    <a:pt x="58" y="8"/>
                  </a:lnTo>
                  <a:lnTo>
                    <a:pt x="60" y="6"/>
                  </a:lnTo>
                  <a:lnTo>
                    <a:pt x="62" y="6"/>
                  </a:lnTo>
                  <a:lnTo>
                    <a:pt x="64" y="4"/>
                  </a:lnTo>
                  <a:lnTo>
                    <a:pt x="64" y="6"/>
                  </a:lnTo>
                  <a:lnTo>
                    <a:pt x="66" y="6"/>
                  </a:lnTo>
                  <a:lnTo>
                    <a:pt x="66" y="4"/>
                  </a:lnTo>
                  <a:lnTo>
                    <a:pt x="66" y="2"/>
                  </a:lnTo>
                  <a:lnTo>
                    <a:pt x="67" y="2"/>
                  </a:lnTo>
                  <a:lnTo>
                    <a:pt x="69" y="2"/>
                  </a:lnTo>
                  <a:lnTo>
                    <a:pt x="73" y="0"/>
                  </a:lnTo>
                  <a:lnTo>
                    <a:pt x="75" y="0"/>
                  </a:lnTo>
                  <a:lnTo>
                    <a:pt x="75" y="2"/>
                  </a:lnTo>
                  <a:lnTo>
                    <a:pt x="75" y="4"/>
                  </a:lnTo>
                  <a:lnTo>
                    <a:pt x="79" y="2"/>
                  </a:lnTo>
                  <a:lnTo>
                    <a:pt x="81" y="2"/>
                  </a:lnTo>
                  <a:lnTo>
                    <a:pt x="83" y="0"/>
                  </a:lnTo>
                  <a:lnTo>
                    <a:pt x="85" y="2"/>
                  </a:lnTo>
                  <a:lnTo>
                    <a:pt x="83" y="4"/>
                  </a:lnTo>
                  <a:lnTo>
                    <a:pt x="85" y="4"/>
                  </a:lnTo>
                  <a:lnTo>
                    <a:pt x="85" y="6"/>
                  </a:lnTo>
                  <a:lnTo>
                    <a:pt x="85" y="8"/>
                  </a:lnTo>
                  <a:lnTo>
                    <a:pt x="87" y="6"/>
                  </a:lnTo>
                  <a:lnTo>
                    <a:pt x="89" y="6"/>
                  </a:lnTo>
                  <a:lnTo>
                    <a:pt x="91" y="8"/>
                  </a:lnTo>
                  <a:lnTo>
                    <a:pt x="96" y="12"/>
                  </a:lnTo>
                  <a:lnTo>
                    <a:pt x="96" y="14"/>
                  </a:lnTo>
                  <a:lnTo>
                    <a:pt x="98" y="18"/>
                  </a:lnTo>
                  <a:lnTo>
                    <a:pt x="98" y="20"/>
                  </a:lnTo>
                  <a:lnTo>
                    <a:pt x="98" y="22"/>
                  </a:lnTo>
                  <a:lnTo>
                    <a:pt x="100" y="20"/>
                  </a:lnTo>
                  <a:lnTo>
                    <a:pt x="108" y="22"/>
                  </a:lnTo>
                  <a:lnTo>
                    <a:pt x="110" y="22"/>
                  </a:lnTo>
                  <a:lnTo>
                    <a:pt x="112" y="22"/>
                  </a:lnTo>
                  <a:lnTo>
                    <a:pt x="115" y="23"/>
                  </a:lnTo>
                  <a:lnTo>
                    <a:pt x="117" y="23"/>
                  </a:lnTo>
                  <a:lnTo>
                    <a:pt x="119" y="23"/>
                  </a:lnTo>
                  <a:lnTo>
                    <a:pt x="121" y="23"/>
                  </a:lnTo>
                  <a:lnTo>
                    <a:pt x="121" y="25"/>
                  </a:lnTo>
                  <a:lnTo>
                    <a:pt x="123" y="25"/>
                  </a:lnTo>
                  <a:lnTo>
                    <a:pt x="125" y="25"/>
                  </a:lnTo>
                  <a:lnTo>
                    <a:pt x="127" y="25"/>
                  </a:lnTo>
                  <a:lnTo>
                    <a:pt x="129" y="27"/>
                  </a:lnTo>
                  <a:lnTo>
                    <a:pt x="133" y="27"/>
                  </a:lnTo>
                  <a:lnTo>
                    <a:pt x="135" y="27"/>
                  </a:lnTo>
                  <a:lnTo>
                    <a:pt x="137" y="29"/>
                  </a:lnTo>
                  <a:lnTo>
                    <a:pt x="142" y="27"/>
                  </a:lnTo>
                  <a:lnTo>
                    <a:pt x="144" y="29"/>
                  </a:lnTo>
                  <a:lnTo>
                    <a:pt x="146" y="29"/>
                  </a:lnTo>
                  <a:lnTo>
                    <a:pt x="146" y="31"/>
                  </a:lnTo>
                  <a:lnTo>
                    <a:pt x="150" y="31"/>
                  </a:lnTo>
                  <a:lnTo>
                    <a:pt x="152" y="29"/>
                  </a:lnTo>
                  <a:lnTo>
                    <a:pt x="154" y="31"/>
                  </a:lnTo>
                  <a:lnTo>
                    <a:pt x="156" y="31"/>
                  </a:lnTo>
                  <a:lnTo>
                    <a:pt x="156" y="29"/>
                  </a:lnTo>
                  <a:lnTo>
                    <a:pt x="160" y="27"/>
                  </a:lnTo>
                  <a:lnTo>
                    <a:pt x="162" y="29"/>
                  </a:lnTo>
                  <a:lnTo>
                    <a:pt x="162" y="31"/>
                  </a:lnTo>
                  <a:lnTo>
                    <a:pt x="164" y="33"/>
                  </a:lnTo>
                  <a:lnTo>
                    <a:pt x="165" y="33"/>
                  </a:lnTo>
                  <a:lnTo>
                    <a:pt x="165" y="35"/>
                  </a:lnTo>
                  <a:lnTo>
                    <a:pt x="167" y="35"/>
                  </a:lnTo>
                  <a:lnTo>
                    <a:pt x="169" y="35"/>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42" name="Freeform 330"/>
            <p:cNvSpPr>
              <a:spLocks/>
            </p:cNvSpPr>
            <p:nvPr/>
          </p:nvSpPr>
          <p:spPr bwMode="auto">
            <a:xfrm>
              <a:off x="2079" y="3197"/>
              <a:ext cx="54" cy="44"/>
            </a:xfrm>
            <a:custGeom>
              <a:avLst/>
              <a:gdLst>
                <a:gd name="T0" fmla="*/ 0 w 54"/>
                <a:gd name="T1" fmla="*/ 19 h 44"/>
                <a:gd name="T2" fmla="*/ 4 w 54"/>
                <a:gd name="T3" fmla="*/ 17 h 44"/>
                <a:gd name="T4" fmla="*/ 10 w 54"/>
                <a:gd name="T5" fmla="*/ 12 h 44"/>
                <a:gd name="T6" fmla="*/ 14 w 54"/>
                <a:gd name="T7" fmla="*/ 12 h 44"/>
                <a:gd name="T8" fmla="*/ 23 w 54"/>
                <a:gd name="T9" fmla="*/ 4 h 44"/>
                <a:gd name="T10" fmla="*/ 27 w 54"/>
                <a:gd name="T11" fmla="*/ 4 h 44"/>
                <a:gd name="T12" fmla="*/ 31 w 54"/>
                <a:gd name="T13" fmla="*/ 0 h 44"/>
                <a:gd name="T14" fmla="*/ 33 w 54"/>
                <a:gd name="T15" fmla="*/ 2 h 44"/>
                <a:gd name="T16" fmla="*/ 35 w 54"/>
                <a:gd name="T17" fmla="*/ 0 h 44"/>
                <a:gd name="T18" fmla="*/ 37 w 54"/>
                <a:gd name="T19" fmla="*/ 2 h 44"/>
                <a:gd name="T20" fmla="*/ 39 w 54"/>
                <a:gd name="T21" fmla="*/ 0 h 44"/>
                <a:gd name="T22" fmla="*/ 39 w 54"/>
                <a:gd name="T23" fmla="*/ 2 h 44"/>
                <a:gd name="T24" fmla="*/ 41 w 54"/>
                <a:gd name="T25" fmla="*/ 0 h 44"/>
                <a:gd name="T26" fmla="*/ 43 w 54"/>
                <a:gd name="T27" fmla="*/ 0 h 44"/>
                <a:gd name="T28" fmla="*/ 43 w 54"/>
                <a:gd name="T29" fmla="*/ 2 h 44"/>
                <a:gd name="T30" fmla="*/ 37 w 54"/>
                <a:gd name="T31" fmla="*/ 4 h 44"/>
                <a:gd name="T32" fmla="*/ 37 w 54"/>
                <a:gd name="T33" fmla="*/ 6 h 44"/>
                <a:gd name="T34" fmla="*/ 43 w 54"/>
                <a:gd name="T35" fmla="*/ 4 h 44"/>
                <a:gd name="T36" fmla="*/ 43 w 54"/>
                <a:gd name="T37" fmla="*/ 6 h 44"/>
                <a:gd name="T38" fmla="*/ 41 w 54"/>
                <a:gd name="T39" fmla="*/ 8 h 44"/>
                <a:gd name="T40" fmla="*/ 39 w 54"/>
                <a:gd name="T41" fmla="*/ 8 h 44"/>
                <a:gd name="T42" fmla="*/ 39 w 54"/>
                <a:gd name="T43" fmla="*/ 10 h 44"/>
                <a:gd name="T44" fmla="*/ 39 w 54"/>
                <a:gd name="T45" fmla="*/ 12 h 44"/>
                <a:gd name="T46" fmla="*/ 45 w 54"/>
                <a:gd name="T47" fmla="*/ 15 h 44"/>
                <a:gd name="T48" fmla="*/ 46 w 54"/>
                <a:gd name="T49" fmla="*/ 13 h 44"/>
                <a:gd name="T50" fmla="*/ 48 w 54"/>
                <a:gd name="T51" fmla="*/ 12 h 44"/>
                <a:gd name="T52" fmla="*/ 54 w 54"/>
                <a:gd name="T53" fmla="*/ 15 h 44"/>
                <a:gd name="T54" fmla="*/ 52 w 54"/>
                <a:gd name="T55" fmla="*/ 21 h 44"/>
                <a:gd name="T56" fmla="*/ 50 w 54"/>
                <a:gd name="T57" fmla="*/ 21 h 44"/>
                <a:gd name="T58" fmla="*/ 48 w 54"/>
                <a:gd name="T59" fmla="*/ 23 h 44"/>
                <a:gd name="T60" fmla="*/ 50 w 54"/>
                <a:gd name="T61" fmla="*/ 25 h 44"/>
                <a:gd name="T62" fmla="*/ 48 w 54"/>
                <a:gd name="T63" fmla="*/ 25 h 44"/>
                <a:gd name="T64" fmla="*/ 46 w 54"/>
                <a:gd name="T65" fmla="*/ 27 h 44"/>
                <a:gd name="T66" fmla="*/ 43 w 54"/>
                <a:gd name="T67" fmla="*/ 31 h 44"/>
                <a:gd name="T68" fmla="*/ 43 w 54"/>
                <a:gd name="T69" fmla="*/ 37 h 44"/>
                <a:gd name="T70" fmla="*/ 37 w 54"/>
                <a:gd name="T71" fmla="*/ 40 h 44"/>
                <a:gd name="T72" fmla="*/ 35 w 54"/>
                <a:gd name="T73" fmla="*/ 40 h 44"/>
                <a:gd name="T74" fmla="*/ 31 w 54"/>
                <a:gd name="T75" fmla="*/ 44 h 44"/>
                <a:gd name="T76" fmla="*/ 29 w 54"/>
                <a:gd name="T77" fmla="*/ 40 h 44"/>
                <a:gd name="T78" fmla="*/ 27 w 54"/>
                <a:gd name="T79" fmla="*/ 40 h 44"/>
                <a:gd name="T80" fmla="*/ 29 w 54"/>
                <a:gd name="T81" fmla="*/ 38 h 44"/>
                <a:gd name="T82" fmla="*/ 27 w 54"/>
                <a:gd name="T83" fmla="*/ 37 h 44"/>
                <a:gd name="T84" fmla="*/ 23 w 54"/>
                <a:gd name="T85" fmla="*/ 37 h 44"/>
                <a:gd name="T86" fmla="*/ 22 w 54"/>
                <a:gd name="T87" fmla="*/ 37 h 44"/>
                <a:gd name="T88" fmla="*/ 18 w 54"/>
                <a:gd name="T89" fmla="*/ 33 h 44"/>
                <a:gd name="T90" fmla="*/ 18 w 54"/>
                <a:gd name="T91" fmla="*/ 29 h 44"/>
                <a:gd name="T92" fmla="*/ 20 w 54"/>
                <a:gd name="T93" fmla="*/ 27 h 44"/>
                <a:gd name="T94" fmla="*/ 18 w 54"/>
                <a:gd name="T95" fmla="*/ 25 h 44"/>
                <a:gd name="T96" fmla="*/ 16 w 54"/>
                <a:gd name="T97" fmla="*/ 23 h 44"/>
                <a:gd name="T98" fmla="*/ 12 w 54"/>
                <a:gd name="T99" fmla="*/ 23 h 44"/>
                <a:gd name="T100" fmla="*/ 8 w 54"/>
                <a:gd name="T101" fmla="*/ 25 h 44"/>
                <a:gd name="T102" fmla="*/ 8 w 54"/>
                <a:gd name="T103" fmla="*/ 29 h 44"/>
                <a:gd name="T104" fmla="*/ 6 w 54"/>
                <a:gd name="T105" fmla="*/ 27 h 44"/>
                <a:gd name="T106" fmla="*/ 6 w 54"/>
                <a:gd name="T107" fmla="*/ 25 h 44"/>
                <a:gd name="T108" fmla="*/ 4 w 54"/>
                <a:gd name="T109" fmla="*/ 23 h 44"/>
                <a:gd name="T110" fmla="*/ 2 w 54"/>
                <a:gd name="T111" fmla="*/ 23 h 44"/>
                <a:gd name="T112" fmla="*/ 0 w 54"/>
                <a:gd name="T113" fmla="*/ 23 h 44"/>
                <a:gd name="T114" fmla="*/ 2 w 54"/>
                <a:gd name="T115" fmla="*/ 21 h 44"/>
                <a:gd name="T116" fmla="*/ 0 w 54"/>
                <a:gd name="T117" fmla="*/ 21 h 44"/>
                <a:gd name="T118" fmla="*/ 0 w 54"/>
                <a:gd name="T119"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44">
                  <a:moveTo>
                    <a:pt x="0" y="19"/>
                  </a:moveTo>
                  <a:lnTo>
                    <a:pt x="4" y="17"/>
                  </a:lnTo>
                  <a:lnTo>
                    <a:pt x="10" y="12"/>
                  </a:lnTo>
                  <a:lnTo>
                    <a:pt x="14" y="12"/>
                  </a:lnTo>
                  <a:lnTo>
                    <a:pt x="23" y="4"/>
                  </a:lnTo>
                  <a:lnTo>
                    <a:pt x="27" y="4"/>
                  </a:lnTo>
                  <a:lnTo>
                    <a:pt x="31" y="0"/>
                  </a:lnTo>
                  <a:lnTo>
                    <a:pt x="33" y="2"/>
                  </a:lnTo>
                  <a:lnTo>
                    <a:pt x="35" y="0"/>
                  </a:lnTo>
                  <a:lnTo>
                    <a:pt x="37" y="2"/>
                  </a:lnTo>
                  <a:lnTo>
                    <a:pt x="39" y="0"/>
                  </a:lnTo>
                  <a:lnTo>
                    <a:pt x="39" y="2"/>
                  </a:lnTo>
                  <a:lnTo>
                    <a:pt x="41" y="0"/>
                  </a:lnTo>
                  <a:lnTo>
                    <a:pt x="43" y="0"/>
                  </a:lnTo>
                  <a:lnTo>
                    <a:pt x="43" y="2"/>
                  </a:lnTo>
                  <a:lnTo>
                    <a:pt x="37" y="4"/>
                  </a:lnTo>
                  <a:lnTo>
                    <a:pt x="37" y="6"/>
                  </a:lnTo>
                  <a:lnTo>
                    <a:pt x="43" y="4"/>
                  </a:lnTo>
                  <a:lnTo>
                    <a:pt x="43" y="6"/>
                  </a:lnTo>
                  <a:lnTo>
                    <a:pt x="41" y="8"/>
                  </a:lnTo>
                  <a:lnTo>
                    <a:pt x="39" y="8"/>
                  </a:lnTo>
                  <a:lnTo>
                    <a:pt x="39" y="10"/>
                  </a:lnTo>
                  <a:lnTo>
                    <a:pt x="39" y="12"/>
                  </a:lnTo>
                  <a:lnTo>
                    <a:pt x="45" y="15"/>
                  </a:lnTo>
                  <a:lnTo>
                    <a:pt x="46" y="13"/>
                  </a:lnTo>
                  <a:lnTo>
                    <a:pt x="48" y="12"/>
                  </a:lnTo>
                  <a:lnTo>
                    <a:pt x="54" y="15"/>
                  </a:lnTo>
                  <a:lnTo>
                    <a:pt x="52" y="21"/>
                  </a:lnTo>
                  <a:lnTo>
                    <a:pt x="50" y="21"/>
                  </a:lnTo>
                  <a:lnTo>
                    <a:pt x="48" y="23"/>
                  </a:lnTo>
                  <a:lnTo>
                    <a:pt x="50" y="25"/>
                  </a:lnTo>
                  <a:lnTo>
                    <a:pt x="48" y="25"/>
                  </a:lnTo>
                  <a:lnTo>
                    <a:pt x="46" y="27"/>
                  </a:lnTo>
                  <a:lnTo>
                    <a:pt x="43" y="31"/>
                  </a:lnTo>
                  <a:lnTo>
                    <a:pt x="43" y="37"/>
                  </a:lnTo>
                  <a:lnTo>
                    <a:pt x="37" y="40"/>
                  </a:lnTo>
                  <a:lnTo>
                    <a:pt x="35" y="40"/>
                  </a:lnTo>
                  <a:lnTo>
                    <a:pt x="31" y="44"/>
                  </a:lnTo>
                  <a:lnTo>
                    <a:pt x="29" y="40"/>
                  </a:lnTo>
                  <a:lnTo>
                    <a:pt x="27" y="40"/>
                  </a:lnTo>
                  <a:lnTo>
                    <a:pt x="29" y="38"/>
                  </a:lnTo>
                  <a:lnTo>
                    <a:pt x="27" y="37"/>
                  </a:lnTo>
                  <a:lnTo>
                    <a:pt x="23" y="37"/>
                  </a:lnTo>
                  <a:lnTo>
                    <a:pt x="22" y="37"/>
                  </a:lnTo>
                  <a:lnTo>
                    <a:pt x="18" y="33"/>
                  </a:lnTo>
                  <a:lnTo>
                    <a:pt x="18" y="29"/>
                  </a:lnTo>
                  <a:lnTo>
                    <a:pt x="20" y="27"/>
                  </a:lnTo>
                  <a:lnTo>
                    <a:pt x="18" y="25"/>
                  </a:lnTo>
                  <a:lnTo>
                    <a:pt x="16" y="23"/>
                  </a:lnTo>
                  <a:lnTo>
                    <a:pt x="12" y="23"/>
                  </a:lnTo>
                  <a:lnTo>
                    <a:pt x="8" y="25"/>
                  </a:lnTo>
                  <a:lnTo>
                    <a:pt x="8" y="29"/>
                  </a:lnTo>
                  <a:lnTo>
                    <a:pt x="6" y="27"/>
                  </a:lnTo>
                  <a:lnTo>
                    <a:pt x="6" y="25"/>
                  </a:lnTo>
                  <a:lnTo>
                    <a:pt x="4" y="23"/>
                  </a:lnTo>
                  <a:lnTo>
                    <a:pt x="2" y="23"/>
                  </a:lnTo>
                  <a:lnTo>
                    <a:pt x="0" y="23"/>
                  </a:lnTo>
                  <a:lnTo>
                    <a:pt x="2" y="21"/>
                  </a:lnTo>
                  <a:lnTo>
                    <a:pt x="0" y="21"/>
                  </a:lnTo>
                  <a:lnTo>
                    <a:pt x="0" y="19"/>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43" name="Freeform 331"/>
            <p:cNvSpPr>
              <a:spLocks/>
            </p:cNvSpPr>
            <p:nvPr/>
          </p:nvSpPr>
          <p:spPr bwMode="auto">
            <a:xfrm>
              <a:off x="967" y="3672"/>
              <a:ext cx="46" cy="25"/>
            </a:xfrm>
            <a:custGeom>
              <a:avLst/>
              <a:gdLst>
                <a:gd name="T0" fmla="*/ 0 w 46"/>
                <a:gd name="T1" fmla="*/ 2 h 25"/>
                <a:gd name="T2" fmla="*/ 2 w 46"/>
                <a:gd name="T3" fmla="*/ 0 h 25"/>
                <a:gd name="T4" fmla="*/ 4 w 46"/>
                <a:gd name="T5" fmla="*/ 2 h 25"/>
                <a:gd name="T6" fmla="*/ 9 w 46"/>
                <a:gd name="T7" fmla="*/ 3 h 25"/>
                <a:gd name="T8" fmla="*/ 13 w 46"/>
                <a:gd name="T9" fmla="*/ 3 h 25"/>
                <a:gd name="T10" fmla="*/ 21 w 46"/>
                <a:gd name="T11" fmla="*/ 3 h 25"/>
                <a:gd name="T12" fmla="*/ 29 w 46"/>
                <a:gd name="T13" fmla="*/ 2 h 25"/>
                <a:gd name="T14" fmla="*/ 30 w 46"/>
                <a:gd name="T15" fmla="*/ 0 h 25"/>
                <a:gd name="T16" fmla="*/ 36 w 46"/>
                <a:gd name="T17" fmla="*/ 0 h 25"/>
                <a:gd name="T18" fmla="*/ 40 w 46"/>
                <a:gd name="T19" fmla="*/ 2 h 25"/>
                <a:gd name="T20" fmla="*/ 44 w 46"/>
                <a:gd name="T21" fmla="*/ 2 h 25"/>
                <a:gd name="T22" fmla="*/ 46 w 46"/>
                <a:gd name="T23" fmla="*/ 3 h 25"/>
                <a:gd name="T24" fmla="*/ 44 w 46"/>
                <a:gd name="T25" fmla="*/ 5 h 25"/>
                <a:gd name="T26" fmla="*/ 36 w 46"/>
                <a:gd name="T27" fmla="*/ 7 h 25"/>
                <a:gd name="T28" fmla="*/ 29 w 46"/>
                <a:gd name="T29" fmla="*/ 11 h 25"/>
                <a:gd name="T30" fmla="*/ 27 w 46"/>
                <a:gd name="T31" fmla="*/ 13 h 25"/>
                <a:gd name="T32" fmla="*/ 23 w 46"/>
                <a:gd name="T33" fmla="*/ 19 h 25"/>
                <a:gd name="T34" fmla="*/ 21 w 46"/>
                <a:gd name="T35" fmla="*/ 23 h 25"/>
                <a:gd name="T36" fmla="*/ 13 w 46"/>
                <a:gd name="T37" fmla="*/ 25 h 25"/>
                <a:gd name="T38" fmla="*/ 5 w 46"/>
                <a:gd name="T39" fmla="*/ 25 h 25"/>
                <a:gd name="T40" fmla="*/ 5 w 46"/>
                <a:gd name="T41" fmla="*/ 21 h 25"/>
                <a:gd name="T42" fmla="*/ 4 w 46"/>
                <a:gd name="T43" fmla="*/ 19 h 25"/>
                <a:gd name="T44" fmla="*/ 2 w 46"/>
                <a:gd name="T45" fmla="*/ 13 h 25"/>
                <a:gd name="T46" fmla="*/ 2 w 46"/>
                <a:gd name="T47" fmla="*/ 7 h 25"/>
                <a:gd name="T48" fmla="*/ 0 w 46"/>
                <a:gd name="T49"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25">
                  <a:moveTo>
                    <a:pt x="0" y="2"/>
                  </a:moveTo>
                  <a:lnTo>
                    <a:pt x="2" y="0"/>
                  </a:lnTo>
                  <a:lnTo>
                    <a:pt x="4" y="2"/>
                  </a:lnTo>
                  <a:lnTo>
                    <a:pt x="9" y="3"/>
                  </a:lnTo>
                  <a:lnTo>
                    <a:pt x="13" y="3"/>
                  </a:lnTo>
                  <a:lnTo>
                    <a:pt x="21" y="3"/>
                  </a:lnTo>
                  <a:lnTo>
                    <a:pt x="29" y="2"/>
                  </a:lnTo>
                  <a:lnTo>
                    <a:pt x="30" y="0"/>
                  </a:lnTo>
                  <a:lnTo>
                    <a:pt x="36" y="0"/>
                  </a:lnTo>
                  <a:lnTo>
                    <a:pt x="40" y="2"/>
                  </a:lnTo>
                  <a:lnTo>
                    <a:pt x="44" y="2"/>
                  </a:lnTo>
                  <a:lnTo>
                    <a:pt x="46" y="3"/>
                  </a:lnTo>
                  <a:lnTo>
                    <a:pt x="44" y="5"/>
                  </a:lnTo>
                  <a:lnTo>
                    <a:pt x="36" y="7"/>
                  </a:lnTo>
                  <a:lnTo>
                    <a:pt x="29" y="11"/>
                  </a:lnTo>
                  <a:lnTo>
                    <a:pt x="27" y="13"/>
                  </a:lnTo>
                  <a:lnTo>
                    <a:pt x="23" y="19"/>
                  </a:lnTo>
                  <a:lnTo>
                    <a:pt x="21" y="23"/>
                  </a:lnTo>
                  <a:lnTo>
                    <a:pt x="13" y="25"/>
                  </a:lnTo>
                  <a:lnTo>
                    <a:pt x="5" y="25"/>
                  </a:lnTo>
                  <a:lnTo>
                    <a:pt x="5" y="21"/>
                  </a:lnTo>
                  <a:lnTo>
                    <a:pt x="4" y="19"/>
                  </a:lnTo>
                  <a:lnTo>
                    <a:pt x="2" y="13"/>
                  </a:lnTo>
                  <a:lnTo>
                    <a:pt x="2" y="7"/>
                  </a:lnTo>
                  <a:lnTo>
                    <a:pt x="0"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44" name="Freeform 332"/>
            <p:cNvSpPr>
              <a:spLocks/>
            </p:cNvSpPr>
            <p:nvPr/>
          </p:nvSpPr>
          <p:spPr bwMode="auto">
            <a:xfrm>
              <a:off x="1088" y="3704"/>
              <a:ext cx="46" cy="33"/>
            </a:xfrm>
            <a:custGeom>
              <a:avLst/>
              <a:gdLst>
                <a:gd name="T0" fmla="*/ 2 w 46"/>
                <a:gd name="T1" fmla="*/ 27 h 33"/>
                <a:gd name="T2" fmla="*/ 4 w 46"/>
                <a:gd name="T3" fmla="*/ 27 h 33"/>
                <a:gd name="T4" fmla="*/ 11 w 46"/>
                <a:gd name="T5" fmla="*/ 27 h 33"/>
                <a:gd name="T6" fmla="*/ 17 w 46"/>
                <a:gd name="T7" fmla="*/ 25 h 33"/>
                <a:gd name="T8" fmla="*/ 19 w 46"/>
                <a:gd name="T9" fmla="*/ 18 h 33"/>
                <a:gd name="T10" fmla="*/ 29 w 46"/>
                <a:gd name="T11" fmla="*/ 12 h 33"/>
                <a:gd name="T12" fmla="*/ 36 w 46"/>
                <a:gd name="T13" fmla="*/ 2 h 33"/>
                <a:gd name="T14" fmla="*/ 36 w 46"/>
                <a:gd name="T15" fmla="*/ 0 h 33"/>
                <a:gd name="T16" fmla="*/ 42 w 46"/>
                <a:gd name="T17" fmla="*/ 0 h 33"/>
                <a:gd name="T18" fmla="*/ 46 w 46"/>
                <a:gd name="T19" fmla="*/ 2 h 33"/>
                <a:gd name="T20" fmla="*/ 42 w 46"/>
                <a:gd name="T21" fmla="*/ 14 h 33"/>
                <a:gd name="T22" fmla="*/ 40 w 46"/>
                <a:gd name="T23" fmla="*/ 16 h 33"/>
                <a:gd name="T24" fmla="*/ 38 w 46"/>
                <a:gd name="T25" fmla="*/ 21 h 33"/>
                <a:gd name="T26" fmla="*/ 34 w 46"/>
                <a:gd name="T27" fmla="*/ 27 h 33"/>
                <a:gd name="T28" fmla="*/ 29 w 46"/>
                <a:gd name="T29" fmla="*/ 29 h 33"/>
                <a:gd name="T30" fmla="*/ 17 w 46"/>
                <a:gd name="T31" fmla="*/ 29 h 33"/>
                <a:gd name="T32" fmla="*/ 7 w 46"/>
                <a:gd name="T33" fmla="*/ 33 h 33"/>
                <a:gd name="T34" fmla="*/ 2 w 46"/>
                <a:gd name="T35" fmla="*/ 31 h 33"/>
                <a:gd name="T36" fmla="*/ 0 w 46"/>
                <a:gd name="T37" fmla="*/ 29 h 33"/>
                <a:gd name="T38" fmla="*/ 2 w 46"/>
                <a:gd name="T39"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33">
                  <a:moveTo>
                    <a:pt x="2" y="27"/>
                  </a:moveTo>
                  <a:lnTo>
                    <a:pt x="4" y="27"/>
                  </a:lnTo>
                  <a:lnTo>
                    <a:pt x="11" y="27"/>
                  </a:lnTo>
                  <a:lnTo>
                    <a:pt x="17" y="25"/>
                  </a:lnTo>
                  <a:lnTo>
                    <a:pt x="19" y="18"/>
                  </a:lnTo>
                  <a:lnTo>
                    <a:pt x="29" y="12"/>
                  </a:lnTo>
                  <a:lnTo>
                    <a:pt x="36" y="2"/>
                  </a:lnTo>
                  <a:lnTo>
                    <a:pt x="36" y="0"/>
                  </a:lnTo>
                  <a:lnTo>
                    <a:pt x="42" y="0"/>
                  </a:lnTo>
                  <a:lnTo>
                    <a:pt x="46" y="2"/>
                  </a:lnTo>
                  <a:lnTo>
                    <a:pt x="42" y="14"/>
                  </a:lnTo>
                  <a:lnTo>
                    <a:pt x="40" y="16"/>
                  </a:lnTo>
                  <a:lnTo>
                    <a:pt x="38" y="21"/>
                  </a:lnTo>
                  <a:lnTo>
                    <a:pt x="34" y="27"/>
                  </a:lnTo>
                  <a:lnTo>
                    <a:pt x="29" y="29"/>
                  </a:lnTo>
                  <a:lnTo>
                    <a:pt x="17" y="29"/>
                  </a:lnTo>
                  <a:lnTo>
                    <a:pt x="7" y="33"/>
                  </a:lnTo>
                  <a:lnTo>
                    <a:pt x="2" y="31"/>
                  </a:lnTo>
                  <a:lnTo>
                    <a:pt x="0" y="29"/>
                  </a:lnTo>
                  <a:lnTo>
                    <a:pt x="2" y="27"/>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45" name="Freeform 333"/>
            <p:cNvSpPr>
              <a:spLocks/>
            </p:cNvSpPr>
            <p:nvPr/>
          </p:nvSpPr>
          <p:spPr bwMode="auto">
            <a:xfrm>
              <a:off x="1017" y="3708"/>
              <a:ext cx="25" cy="27"/>
            </a:xfrm>
            <a:custGeom>
              <a:avLst/>
              <a:gdLst>
                <a:gd name="T0" fmla="*/ 0 w 25"/>
                <a:gd name="T1" fmla="*/ 12 h 27"/>
                <a:gd name="T2" fmla="*/ 2 w 25"/>
                <a:gd name="T3" fmla="*/ 21 h 27"/>
                <a:gd name="T4" fmla="*/ 7 w 25"/>
                <a:gd name="T5" fmla="*/ 27 h 27"/>
                <a:gd name="T6" fmla="*/ 11 w 25"/>
                <a:gd name="T7" fmla="*/ 25 h 27"/>
                <a:gd name="T8" fmla="*/ 17 w 25"/>
                <a:gd name="T9" fmla="*/ 25 h 27"/>
                <a:gd name="T10" fmla="*/ 21 w 25"/>
                <a:gd name="T11" fmla="*/ 23 h 27"/>
                <a:gd name="T12" fmla="*/ 23 w 25"/>
                <a:gd name="T13" fmla="*/ 17 h 27"/>
                <a:gd name="T14" fmla="*/ 23 w 25"/>
                <a:gd name="T15" fmla="*/ 14 h 27"/>
                <a:gd name="T16" fmla="*/ 23 w 25"/>
                <a:gd name="T17" fmla="*/ 10 h 27"/>
                <a:gd name="T18" fmla="*/ 25 w 25"/>
                <a:gd name="T19" fmla="*/ 4 h 27"/>
                <a:gd name="T20" fmla="*/ 23 w 25"/>
                <a:gd name="T21" fmla="*/ 2 h 27"/>
                <a:gd name="T22" fmla="*/ 19 w 25"/>
                <a:gd name="T23" fmla="*/ 4 h 27"/>
                <a:gd name="T24" fmla="*/ 15 w 25"/>
                <a:gd name="T25" fmla="*/ 0 h 27"/>
                <a:gd name="T26" fmla="*/ 9 w 25"/>
                <a:gd name="T27" fmla="*/ 0 h 27"/>
                <a:gd name="T28" fmla="*/ 7 w 25"/>
                <a:gd name="T29" fmla="*/ 2 h 27"/>
                <a:gd name="T30" fmla="*/ 5 w 25"/>
                <a:gd name="T31" fmla="*/ 4 h 27"/>
                <a:gd name="T32" fmla="*/ 2 w 25"/>
                <a:gd name="T33" fmla="*/ 6 h 27"/>
                <a:gd name="T34" fmla="*/ 0 w 25"/>
                <a:gd name="T3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0" y="12"/>
                  </a:moveTo>
                  <a:lnTo>
                    <a:pt x="2" y="21"/>
                  </a:lnTo>
                  <a:lnTo>
                    <a:pt x="7" y="27"/>
                  </a:lnTo>
                  <a:lnTo>
                    <a:pt x="11" y="25"/>
                  </a:lnTo>
                  <a:lnTo>
                    <a:pt x="17" y="25"/>
                  </a:lnTo>
                  <a:lnTo>
                    <a:pt x="21" y="23"/>
                  </a:lnTo>
                  <a:lnTo>
                    <a:pt x="23" y="17"/>
                  </a:lnTo>
                  <a:lnTo>
                    <a:pt x="23" y="14"/>
                  </a:lnTo>
                  <a:lnTo>
                    <a:pt x="23" y="10"/>
                  </a:lnTo>
                  <a:lnTo>
                    <a:pt x="25" y="4"/>
                  </a:lnTo>
                  <a:lnTo>
                    <a:pt x="23" y="2"/>
                  </a:lnTo>
                  <a:lnTo>
                    <a:pt x="19" y="4"/>
                  </a:lnTo>
                  <a:lnTo>
                    <a:pt x="15" y="0"/>
                  </a:lnTo>
                  <a:lnTo>
                    <a:pt x="9" y="0"/>
                  </a:lnTo>
                  <a:lnTo>
                    <a:pt x="7" y="2"/>
                  </a:lnTo>
                  <a:lnTo>
                    <a:pt x="5" y="4"/>
                  </a:lnTo>
                  <a:lnTo>
                    <a:pt x="2" y="6"/>
                  </a:lnTo>
                  <a:lnTo>
                    <a:pt x="0" y="1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46" name="Freeform 334"/>
            <p:cNvSpPr>
              <a:spLocks/>
            </p:cNvSpPr>
            <p:nvPr/>
          </p:nvSpPr>
          <p:spPr bwMode="auto">
            <a:xfrm>
              <a:off x="1134" y="3683"/>
              <a:ext cx="29" cy="17"/>
            </a:xfrm>
            <a:custGeom>
              <a:avLst/>
              <a:gdLst>
                <a:gd name="T0" fmla="*/ 0 w 29"/>
                <a:gd name="T1" fmla="*/ 12 h 17"/>
                <a:gd name="T2" fmla="*/ 4 w 29"/>
                <a:gd name="T3" fmla="*/ 12 h 17"/>
                <a:gd name="T4" fmla="*/ 4 w 29"/>
                <a:gd name="T5" fmla="*/ 8 h 17"/>
                <a:gd name="T6" fmla="*/ 6 w 29"/>
                <a:gd name="T7" fmla="*/ 6 h 17"/>
                <a:gd name="T8" fmla="*/ 11 w 29"/>
                <a:gd name="T9" fmla="*/ 4 h 17"/>
                <a:gd name="T10" fmla="*/ 19 w 29"/>
                <a:gd name="T11" fmla="*/ 4 h 17"/>
                <a:gd name="T12" fmla="*/ 21 w 29"/>
                <a:gd name="T13" fmla="*/ 4 h 17"/>
                <a:gd name="T14" fmla="*/ 23 w 29"/>
                <a:gd name="T15" fmla="*/ 4 h 17"/>
                <a:gd name="T16" fmla="*/ 25 w 29"/>
                <a:gd name="T17" fmla="*/ 0 h 17"/>
                <a:gd name="T18" fmla="*/ 27 w 29"/>
                <a:gd name="T19" fmla="*/ 0 h 17"/>
                <a:gd name="T20" fmla="*/ 29 w 29"/>
                <a:gd name="T21" fmla="*/ 2 h 17"/>
                <a:gd name="T22" fmla="*/ 29 w 29"/>
                <a:gd name="T23" fmla="*/ 4 h 17"/>
                <a:gd name="T24" fmla="*/ 25 w 29"/>
                <a:gd name="T25" fmla="*/ 6 h 17"/>
                <a:gd name="T26" fmla="*/ 25 w 29"/>
                <a:gd name="T27" fmla="*/ 8 h 17"/>
                <a:gd name="T28" fmla="*/ 23 w 29"/>
                <a:gd name="T29" fmla="*/ 14 h 17"/>
                <a:gd name="T30" fmla="*/ 17 w 29"/>
                <a:gd name="T31" fmla="*/ 16 h 17"/>
                <a:gd name="T32" fmla="*/ 11 w 29"/>
                <a:gd name="T33" fmla="*/ 16 h 17"/>
                <a:gd name="T34" fmla="*/ 8 w 29"/>
                <a:gd name="T35" fmla="*/ 14 h 17"/>
                <a:gd name="T36" fmla="*/ 4 w 29"/>
                <a:gd name="T37" fmla="*/ 17 h 17"/>
                <a:gd name="T38" fmla="*/ 0 w 29"/>
                <a:gd name="T39" fmla="*/ 16 h 17"/>
                <a:gd name="T40" fmla="*/ 0 w 29"/>
                <a:gd name="T4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17">
                  <a:moveTo>
                    <a:pt x="0" y="12"/>
                  </a:moveTo>
                  <a:lnTo>
                    <a:pt x="4" y="12"/>
                  </a:lnTo>
                  <a:lnTo>
                    <a:pt x="4" y="8"/>
                  </a:lnTo>
                  <a:lnTo>
                    <a:pt x="6" y="6"/>
                  </a:lnTo>
                  <a:lnTo>
                    <a:pt x="11" y="4"/>
                  </a:lnTo>
                  <a:lnTo>
                    <a:pt x="19" y="4"/>
                  </a:lnTo>
                  <a:lnTo>
                    <a:pt x="21" y="4"/>
                  </a:lnTo>
                  <a:lnTo>
                    <a:pt x="23" y="4"/>
                  </a:lnTo>
                  <a:lnTo>
                    <a:pt x="25" y="0"/>
                  </a:lnTo>
                  <a:lnTo>
                    <a:pt x="27" y="0"/>
                  </a:lnTo>
                  <a:lnTo>
                    <a:pt x="29" y="2"/>
                  </a:lnTo>
                  <a:lnTo>
                    <a:pt x="29" y="4"/>
                  </a:lnTo>
                  <a:lnTo>
                    <a:pt x="25" y="6"/>
                  </a:lnTo>
                  <a:lnTo>
                    <a:pt x="25" y="8"/>
                  </a:lnTo>
                  <a:lnTo>
                    <a:pt x="23" y="14"/>
                  </a:lnTo>
                  <a:lnTo>
                    <a:pt x="17" y="16"/>
                  </a:lnTo>
                  <a:lnTo>
                    <a:pt x="11" y="16"/>
                  </a:lnTo>
                  <a:lnTo>
                    <a:pt x="8" y="14"/>
                  </a:lnTo>
                  <a:lnTo>
                    <a:pt x="4" y="17"/>
                  </a:lnTo>
                  <a:lnTo>
                    <a:pt x="0" y="16"/>
                  </a:lnTo>
                  <a:lnTo>
                    <a:pt x="0" y="1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47" name="Freeform 335"/>
            <p:cNvSpPr>
              <a:spLocks/>
            </p:cNvSpPr>
            <p:nvPr/>
          </p:nvSpPr>
          <p:spPr bwMode="auto">
            <a:xfrm>
              <a:off x="2150" y="3193"/>
              <a:ext cx="24" cy="17"/>
            </a:xfrm>
            <a:custGeom>
              <a:avLst/>
              <a:gdLst>
                <a:gd name="T0" fmla="*/ 0 w 24"/>
                <a:gd name="T1" fmla="*/ 4 h 17"/>
                <a:gd name="T2" fmla="*/ 2 w 24"/>
                <a:gd name="T3" fmla="*/ 0 h 17"/>
                <a:gd name="T4" fmla="*/ 6 w 24"/>
                <a:gd name="T5" fmla="*/ 0 h 17"/>
                <a:gd name="T6" fmla="*/ 6 w 24"/>
                <a:gd name="T7" fmla="*/ 2 h 17"/>
                <a:gd name="T8" fmla="*/ 6 w 24"/>
                <a:gd name="T9" fmla="*/ 0 h 17"/>
                <a:gd name="T10" fmla="*/ 10 w 24"/>
                <a:gd name="T11" fmla="*/ 2 h 17"/>
                <a:gd name="T12" fmla="*/ 12 w 24"/>
                <a:gd name="T13" fmla="*/ 0 h 17"/>
                <a:gd name="T14" fmla="*/ 12 w 24"/>
                <a:gd name="T15" fmla="*/ 2 h 17"/>
                <a:gd name="T16" fmla="*/ 14 w 24"/>
                <a:gd name="T17" fmla="*/ 0 h 17"/>
                <a:gd name="T18" fmla="*/ 16 w 24"/>
                <a:gd name="T19" fmla="*/ 0 h 17"/>
                <a:gd name="T20" fmla="*/ 14 w 24"/>
                <a:gd name="T21" fmla="*/ 2 h 17"/>
                <a:gd name="T22" fmla="*/ 16 w 24"/>
                <a:gd name="T23" fmla="*/ 2 h 17"/>
                <a:gd name="T24" fmla="*/ 16 w 24"/>
                <a:gd name="T25" fmla="*/ 4 h 17"/>
                <a:gd name="T26" fmla="*/ 18 w 24"/>
                <a:gd name="T27" fmla="*/ 4 h 17"/>
                <a:gd name="T28" fmla="*/ 16 w 24"/>
                <a:gd name="T29" fmla="*/ 2 h 17"/>
                <a:gd name="T30" fmla="*/ 18 w 24"/>
                <a:gd name="T31" fmla="*/ 2 h 17"/>
                <a:gd name="T32" fmla="*/ 18 w 24"/>
                <a:gd name="T33" fmla="*/ 4 h 17"/>
                <a:gd name="T34" fmla="*/ 20 w 24"/>
                <a:gd name="T35" fmla="*/ 4 h 17"/>
                <a:gd name="T36" fmla="*/ 20 w 24"/>
                <a:gd name="T37" fmla="*/ 6 h 17"/>
                <a:gd name="T38" fmla="*/ 22 w 24"/>
                <a:gd name="T39" fmla="*/ 6 h 17"/>
                <a:gd name="T40" fmla="*/ 22 w 24"/>
                <a:gd name="T41" fmla="*/ 8 h 17"/>
                <a:gd name="T42" fmla="*/ 22 w 24"/>
                <a:gd name="T43" fmla="*/ 10 h 17"/>
                <a:gd name="T44" fmla="*/ 22 w 24"/>
                <a:gd name="T45" fmla="*/ 12 h 17"/>
                <a:gd name="T46" fmla="*/ 24 w 24"/>
                <a:gd name="T47" fmla="*/ 14 h 17"/>
                <a:gd name="T48" fmla="*/ 24 w 24"/>
                <a:gd name="T49" fmla="*/ 16 h 17"/>
                <a:gd name="T50" fmla="*/ 24 w 24"/>
                <a:gd name="T51" fmla="*/ 17 h 17"/>
                <a:gd name="T52" fmla="*/ 22 w 24"/>
                <a:gd name="T53" fmla="*/ 17 h 17"/>
                <a:gd name="T54" fmla="*/ 20 w 24"/>
                <a:gd name="T55" fmla="*/ 17 h 17"/>
                <a:gd name="T56" fmla="*/ 18 w 24"/>
                <a:gd name="T57" fmla="*/ 16 h 17"/>
                <a:gd name="T58" fmla="*/ 16 w 24"/>
                <a:gd name="T59" fmla="*/ 16 h 17"/>
                <a:gd name="T60" fmla="*/ 10 w 24"/>
                <a:gd name="T61" fmla="*/ 10 h 17"/>
                <a:gd name="T62" fmla="*/ 8 w 24"/>
                <a:gd name="T63" fmla="*/ 10 h 17"/>
                <a:gd name="T64" fmla="*/ 6 w 24"/>
                <a:gd name="T65" fmla="*/ 8 h 17"/>
                <a:gd name="T66" fmla="*/ 4 w 24"/>
                <a:gd name="T67" fmla="*/ 10 h 17"/>
                <a:gd name="T68" fmla="*/ 2 w 24"/>
                <a:gd name="T69" fmla="*/ 8 h 17"/>
                <a:gd name="T70" fmla="*/ 2 w 24"/>
                <a:gd name="T71" fmla="*/ 10 h 17"/>
                <a:gd name="T72" fmla="*/ 0 w 24"/>
                <a:gd name="T73" fmla="*/ 10 h 17"/>
                <a:gd name="T74" fmla="*/ 0 w 24"/>
                <a:gd name="T75" fmla="*/ 6 h 17"/>
                <a:gd name="T76" fmla="*/ 0 w 24"/>
                <a:gd name="T7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17">
                  <a:moveTo>
                    <a:pt x="0" y="4"/>
                  </a:moveTo>
                  <a:lnTo>
                    <a:pt x="2" y="0"/>
                  </a:lnTo>
                  <a:lnTo>
                    <a:pt x="6" y="0"/>
                  </a:lnTo>
                  <a:lnTo>
                    <a:pt x="6" y="2"/>
                  </a:lnTo>
                  <a:lnTo>
                    <a:pt x="6" y="0"/>
                  </a:lnTo>
                  <a:lnTo>
                    <a:pt x="10" y="2"/>
                  </a:lnTo>
                  <a:lnTo>
                    <a:pt x="12" y="0"/>
                  </a:lnTo>
                  <a:lnTo>
                    <a:pt x="12" y="2"/>
                  </a:lnTo>
                  <a:lnTo>
                    <a:pt x="14" y="0"/>
                  </a:lnTo>
                  <a:lnTo>
                    <a:pt x="16" y="0"/>
                  </a:lnTo>
                  <a:lnTo>
                    <a:pt x="14" y="2"/>
                  </a:lnTo>
                  <a:lnTo>
                    <a:pt x="16" y="2"/>
                  </a:lnTo>
                  <a:lnTo>
                    <a:pt x="16" y="4"/>
                  </a:lnTo>
                  <a:lnTo>
                    <a:pt x="18" y="4"/>
                  </a:lnTo>
                  <a:lnTo>
                    <a:pt x="16" y="2"/>
                  </a:lnTo>
                  <a:lnTo>
                    <a:pt x="18" y="2"/>
                  </a:lnTo>
                  <a:lnTo>
                    <a:pt x="18" y="4"/>
                  </a:lnTo>
                  <a:lnTo>
                    <a:pt x="20" y="4"/>
                  </a:lnTo>
                  <a:lnTo>
                    <a:pt x="20" y="6"/>
                  </a:lnTo>
                  <a:lnTo>
                    <a:pt x="22" y="6"/>
                  </a:lnTo>
                  <a:lnTo>
                    <a:pt x="22" y="8"/>
                  </a:lnTo>
                  <a:lnTo>
                    <a:pt x="22" y="10"/>
                  </a:lnTo>
                  <a:lnTo>
                    <a:pt x="22" y="12"/>
                  </a:lnTo>
                  <a:lnTo>
                    <a:pt x="24" y="14"/>
                  </a:lnTo>
                  <a:lnTo>
                    <a:pt x="24" y="16"/>
                  </a:lnTo>
                  <a:lnTo>
                    <a:pt x="24" y="17"/>
                  </a:lnTo>
                  <a:lnTo>
                    <a:pt x="22" y="17"/>
                  </a:lnTo>
                  <a:lnTo>
                    <a:pt x="20" y="17"/>
                  </a:lnTo>
                  <a:lnTo>
                    <a:pt x="18" y="16"/>
                  </a:lnTo>
                  <a:lnTo>
                    <a:pt x="16" y="16"/>
                  </a:lnTo>
                  <a:lnTo>
                    <a:pt x="10" y="10"/>
                  </a:lnTo>
                  <a:lnTo>
                    <a:pt x="8" y="10"/>
                  </a:lnTo>
                  <a:lnTo>
                    <a:pt x="6" y="8"/>
                  </a:lnTo>
                  <a:lnTo>
                    <a:pt x="4" y="10"/>
                  </a:lnTo>
                  <a:lnTo>
                    <a:pt x="2" y="8"/>
                  </a:lnTo>
                  <a:lnTo>
                    <a:pt x="2" y="10"/>
                  </a:lnTo>
                  <a:lnTo>
                    <a:pt x="0" y="10"/>
                  </a:lnTo>
                  <a:lnTo>
                    <a:pt x="0" y="6"/>
                  </a:lnTo>
                  <a:lnTo>
                    <a:pt x="0" y="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48" name="Freeform 336"/>
            <p:cNvSpPr>
              <a:spLocks/>
            </p:cNvSpPr>
            <p:nvPr/>
          </p:nvSpPr>
          <p:spPr bwMode="auto">
            <a:xfrm>
              <a:off x="921" y="3626"/>
              <a:ext cx="11" cy="23"/>
            </a:xfrm>
            <a:custGeom>
              <a:avLst/>
              <a:gdLst>
                <a:gd name="T0" fmla="*/ 0 w 11"/>
                <a:gd name="T1" fmla="*/ 1 h 23"/>
                <a:gd name="T2" fmla="*/ 0 w 11"/>
                <a:gd name="T3" fmla="*/ 9 h 23"/>
                <a:gd name="T4" fmla="*/ 0 w 11"/>
                <a:gd name="T5" fmla="*/ 17 h 23"/>
                <a:gd name="T6" fmla="*/ 0 w 11"/>
                <a:gd name="T7" fmla="*/ 21 h 23"/>
                <a:gd name="T8" fmla="*/ 2 w 11"/>
                <a:gd name="T9" fmla="*/ 23 h 23"/>
                <a:gd name="T10" fmla="*/ 7 w 11"/>
                <a:gd name="T11" fmla="*/ 17 h 23"/>
                <a:gd name="T12" fmla="*/ 9 w 11"/>
                <a:gd name="T13" fmla="*/ 11 h 23"/>
                <a:gd name="T14" fmla="*/ 11 w 11"/>
                <a:gd name="T15" fmla="*/ 9 h 23"/>
                <a:gd name="T16" fmla="*/ 11 w 11"/>
                <a:gd name="T17" fmla="*/ 1 h 23"/>
                <a:gd name="T18" fmla="*/ 7 w 11"/>
                <a:gd name="T19" fmla="*/ 1 h 23"/>
                <a:gd name="T20" fmla="*/ 5 w 11"/>
                <a:gd name="T21" fmla="*/ 0 h 23"/>
                <a:gd name="T22" fmla="*/ 3 w 11"/>
                <a:gd name="T23" fmla="*/ 0 h 23"/>
                <a:gd name="T24" fmla="*/ 0 w 11"/>
                <a:gd name="T2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3">
                  <a:moveTo>
                    <a:pt x="0" y="1"/>
                  </a:moveTo>
                  <a:lnTo>
                    <a:pt x="0" y="9"/>
                  </a:lnTo>
                  <a:lnTo>
                    <a:pt x="0" y="17"/>
                  </a:lnTo>
                  <a:lnTo>
                    <a:pt x="0" y="21"/>
                  </a:lnTo>
                  <a:lnTo>
                    <a:pt x="2" y="23"/>
                  </a:lnTo>
                  <a:lnTo>
                    <a:pt x="7" y="17"/>
                  </a:lnTo>
                  <a:lnTo>
                    <a:pt x="9" y="11"/>
                  </a:lnTo>
                  <a:lnTo>
                    <a:pt x="11" y="9"/>
                  </a:lnTo>
                  <a:lnTo>
                    <a:pt x="11" y="1"/>
                  </a:lnTo>
                  <a:lnTo>
                    <a:pt x="7" y="1"/>
                  </a:lnTo>
                  <a:lnTo>
                    <a:pt x="5" y="0"/>
                  </a:lnTo>
                  <a:lnTo>
                    <a:pt x="3" y="0"/>
                  </a:lnTo>
                  <a:lnTo>
                    <a:pt x="0" y="1"/>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49" name="Freeform 337"/>
            <p:cNvSpPr>
              <a:spLocks/>
            </p:cNvSpPr>
            <p:nvPr/>
          </p:nvSpPr>
          <p:spPr bwMode="auto">
            <a:xfrm>
              <a:off x="2020" y="3241"/>
              <a:ext cx="21" cy="18"/>
            </a:xfrm>
            <a:custGeom>
              <a:avLst/>
              <a:gdLst>
                <a:gd name="T0" fmla="*/ 0 w 21"/>
                <a:gd name="T1" fmla="*/ 14 h 18"/>
                <a:gd name="T2" fmla="*/ 2 w 21"/>
                <a:gd name="T3" fmla="*/ 10 h 18"/>
                <a:gd name="T4" fmla="*/ 2 w 21"/>
                <a:gd name="T5" fmla="*/ 8 h 18"/>
                <a:gd name="T6" fmla="*/ 6 w 21"/>
                <a:gd name="T7" fmla="*/ 8 h 18"/>
                <a:gd name="T8" fmla="*/ 6 w 21"/>
                <a:gd name="T9" fmla="*/ 4 h 18"/>
                <a:gd name="T10" fmla="*/ 9 w 21"/>
                <a:gd name="T11" fmla="*/ 2 h 18"/>
                <a:gd name="T12" fmla="*/ 9 w 21"/>
                <a:gd name="T13" fmla="*/ 4 h 18"/>
                <a:gd name="T14" fmla="*/ 11 w 21"/>
                <a:gd name="T15" fmla="*/ 2 h 18"/>
                <a:gd name="T16" fmla="*/ 15 w 21"/>
                <a:gd name="T17" fmla="*/ 0 h 18"/>
                <a:gd name="T18" fmla="*/ 15 w 21"/>
                <a:gd name="T19" fmla="*/ 2 h 18"/>
                <a:gd name="T20" fmla="*/ 17 w 21"/>
                <a:gd name="T21" fmla="*/ 0 h 18"/>
                <a:gd name="T22" fmla="*/ 19 w 21"/>
                <a:gd name="T23" fmla="*/ 2 h 18"/>
                <a:gd name="T24" fmla="*/ 21 w 21"/>
                <a:gd name="T25" fmla="*/ 4 h 18"/>
                <a:gd name="T26" fmla="*/ 19 w 21"/>
                <a:gd name="T27" fmla="*/ 4 h 18"/>
                <a:gd name="T28" fmla="*/ 19 w 21"/>
                <a:gd name="T29" fmla="*/ 6 h 18"/>
                <a:gd name="T30" fmla="*/ 21 w 21"/>
                <a:gd name="T31" fmla="*/ 6 h 18"/>
                <a:gd name="T32" fmla="*/ 21 w 21"/>
                <a:gd name="T33" fmla="*/ 8 h 18"/>
                <a:gd name="T34" fmla="*/ 19 w 21"/>
                <a:gd name="T35" fmla="*/ 8 h 18"/>
                <a:gd name="T36" fmla="*/ 19 w 21"/>
                <a:gd name="T37" fmla="*/ 10 h 18"/>
                <a:gd name="T38" fmla="*/ 17 w 21"/>
                <a:gd name="T39" fmla="*/ 10 h 18"/>
                <a:gd name="T40" fmla="*/ 11 w 21"/>
                <a:gd name="T41" fmla="*/ 14 h 18"/>
                <a:gd name="T42" fmla="*/ 9 w 21"/>
                <a:gd name="T43" fmla="*/ 16 h 18"/>
                <a:gd name="T44" fmla="*/ 9 w 21"/>
                <a:gd name="T45" fmla="*/ 18 h 18"/>
                <a:gd name="T46" fmla="*/ 7 w 21"/>
                <a:gd name="T47" fmla="*/ 18 h 18"/>
                <a:gd name="T48" fmla="*/ 7 w 21"/>
                <a:gd name="T49" fmla="*/ 16 h 18"/>
                <a:gd name="T50" fmla="*/ 6 w 21"/>
                <a:gd name="T51" fmla="*/ 16 h 18"/>
                <a:gd name="T52" fmla="*/ 4 w 21"/>
                <a:gd name="T53" fmla="*/ 14 h 18"/>
                <a:gd name="T54" fmla="*/ 2 w 21"/>
                <a:gd name="T55" fmla="*/ 16 h 18"/>
                <a:gd name="T56" fmla="*/ 2 w 21"/>
                <a:gd name="T57" fmla="*/ 14 h 18"/>
                <a:gd name="T58" fmla="*/ 0 w 21"/>
                <a:gd name="T5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18">
                  <a:moveTo>
                    <a:pt x="0" y="14"/>
                  </a:moveTo>
                  <a:lnTo>
                    <a:pt x="2" y="10"/>
                  </a:lnTo>
                  <a:lnTo>
                    <a:pt x="2" y="8"/>
                  </a:lnTo>
                  <a:lnTo>
                    <a:pt x="6" y="8"/>
                  </a:lnTo>
                  <a:lnTo>
                    <a:pt x="6" y="4"/>
                  </a:lnTo>
                  <a:lnTo>
                    <a:pt x="9" y="2"/>
                  </a:lnTo>
                  <a:lnTo>
                    <a:pt x="9" y="4"/>
                  </a:lnTo>
                  <a:lnTo>
                    <a:pt x="11" y="2"/>
                  </a:lnTo>
                  <a:lnTo>
                    <a:pt x="15" y="0"/>
                  </a:lnTo>
                  <a:lnTo>
                    <a:pt x="15" y="2"/>
                  </a:lnTo>
                  <a:lnTo>
                    <a:pt x="17" y="0"/>
                  </a:lnTo>
                  <a:lnTo>
                    <a:pt x="19" y="2"/>
                  </a:lnTo>
                  <a:lnTo>
                    <a:pt x="21" y="4"/>
                  </a:lnTo>
                  <a:lnTo>
                    <a:pt x="19" y="4"/>
                  </a:lnTo>
                  <a:lnTo>
                    <a:pt x="19" y="6"/>
                  </a:lnTo>
                  <a:lnTo>
                    <a:pt x="21" y="6"/>
                  </a:lnTo>
                  <a:lnTo>
                    <a:pt x="21" y="8"/>
                  </a:lnTo>
                  <a:lnTo>
                    <a:pt x="19" y="8"/>
                  </a:lnTo>
                  <a:lnTo>
                    <a:pt x="19" y="10"/>
                  </a:lnTo>
                  <a:lnTo>
                    <a:pt x="17" y="10"/>
                  </a:lnTo>
                  <a:lnTo>
                    <a:pt x="11" y="14"/>
                  </a:lnTo>
                  <a:lnTo>
                    <a:pt x="9" y="16"/>
                  </a:lnTo>
                  <a:lnTo>
                    <a:pt x="9" y="18"/>
                  </a:lnTo>
                  <a:lnTo>
                    <a:pt x="7" y="18"/>
                  </a:lnTo>
                  <a:lnTo>
                    <a:pt x="7" y="16"/>
                  </a:lnTo>
                  <a:lnTo>
                    <a:pt x="6" y="16"/>
                  </a:lnTo>
                  <a:lnTo>
                    <a:pt x="4" y="14"/>
                  </a:lnTo>
                  <a:lnTo>
                    <a:pt x="2" y="16"/>
                  </a:lnTo>
                  <a:lnTo>
                    <a:pt x="2" y="14"/>
                  </a:lnTo>
                  <a:lnTo>
                    <a:pt x="0" y="14"/>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50" name="Freeform 338"/>
            <p:cNvSpPr>
              <a:spLocks/>
            </p:cNvSpPr>
            <p:nvPr/>
          </p:nvSpPr>
          <p:spPr bwMode="auto">
            <a:xfrm>
              <a:off x="940" y="3674"/>
              <a:ext cx="13" cy="13"/>
            </a:xfrm>
            <a:custGeom>
              <a:avLst/>
              <a:gdLst>
                <a:gd name="T0" fmla="*/ 0 w 13"/>
                <a:gd name="T1" fmla="*/ 3 h 13"/>
                <a:gd name="T2" fmla="*/ 4 w 13"/>
                <a:gd name="T3" fmla="*/ 0 h 13"/>
                <a:gd name="T4" fmla="*/ 8 w 13"/>
                <a:gd name="T5" fmla="*/ 0 h 13"/>
                <a:gd name="T6" fmla="*/ 13 w 13"/>
                <a:gd name="T7" fmla="*/ 7 h 13"/>
                <a:gd name="T8" fmla="*/ 13 w 13"/>
                <a:gd name="T9" fmla="*/ 11 h 13"/>
                <a:gd name="T10" fmla="*/ 8 w 13"/>
                <a:gd name="T11" fmla="*/ 13 h 13"/>
                <a:gd name="T12" fmla="*/ 4 w 13"/>
                <a:gd name="T13" fmla="*/ 11 h 13"/>
                <a:gd name="T14" fmla="*/ 0 w 13"/>
                <a:gd name="T15" fmla="*/ 7 h 13"/>
                <a:gd name="T16" fmla="*/ 0 w 13"/>
                <a:gd name="T1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0" y="3"/>
                  </a:moveTo>
                  <a:lnTo>
                    <a:pt x="4" y="0"/>
                  </a:lnTo>
                  <a:lnTo>
                    <a:pt x="8" y="0"/>
                  </a:lnTo>
                  <a:lnTo>
                    <a:pt x="13" y="7"/>
                  </a:lnTo>
                  <a:lnTo>
                    <a:pt x="13" y="11"/>
                  </a:lnTo>
                  <a:lnTo>
                    <a:pt x="8" y="13"/>
                  </a:lnTo>
                  <a:lnTo>
                    <a:pt x="4" y="11"/>
                  </a:lnTo>
                  <a:lnTo>
                    <a:pt x="0" y="7"/>
                  </a:lnTo>
                  <a:lnTo>
                    <a:pt x="0" y="3"/>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51" name="Freeform 339"/>
            <p:cNvSpPr>
              <a:spLocks/>
            </p:cNvSpPr>
            <p:nvPr/>
          </p:nvSpPr>
          <p:spPr bwMode="auto">
            <a:xfrm>
              <a:off x="2026" y="3264"/>
              <a:ext cx="9" cy="8"/>
            </a:xfrm>
            <a:custGeom>
              <a:avLst/>
              <a:gdLst>
                <a:gd name="T0" fmla="*/ 1 w 9"/>
                <a:gd name="T1" fmla="*/ 2 h 8"/>
                <a:gd name="T2" fmla="*/ 0 w 9"/>
                <a:gd name="T3" fmla="*/ 8 h 8"/>
                <a:gd name="T4" fmla="*/ 1 w 9"/>
                <a:gd name="T5" fmla="*/ 6 h 8"/>
                <a:gd name="T6" fmla="*/ 3 w 9"/>
                <a:gd name="T7" fmla="*/ 4 h 8"/>
                <a:gd name="T8" fmla="*/ 7 w 9"/>
                <a:gd name="T9" fmla="*/ 8 h 8"/>
                <a:gd name="T10" fmla="*/ 9 w 9"/>
                <a:gd name="T11" fmla="*/ 8 h 8"/>
                <a:gd name="T12" fmla="*/ 9 w 9"/>
                <a:gd name="T13" fmla="*/ 6 h 8"/>
                <a:gd name="T14" fmla="*/ 7 w 9"/>
                <a:gd name="T15" fmla="*/ 6 h 8"/>
                <a:gd name="T16" fmla="*/ 5 w 9"/>
                <a:gd name="T17" fmla="*/ 4 h 8"/>
                <a:gd name="T18" fmla="*/ 5 w 9"/>
                <a:gd name="T19" fmla="*/ 2 h 8"/>
                <a:gd name="T20" fmla="*/ 3 w 9"/>
                <a:gd name="T21" fmla="*/ 2 h 8"/>
                <a:gd name="T22" fmla="*/ 3 w 9"/>
                <a:gd name="T23" fmla="*/ 0 h 8"/>
                <a:gd name="T24" fmla="*/ 3 w 9"/>
                <a:gd name="T25" fmla="*/ 2 h 8"/>
                <a:gd name="T26" fmla="*/ 1 w 9"/>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8">
                  <a:moveTo>
                    <a:pt x="1" y="2"/>
                  </a:moveTo>
                  <a:lnTo>
                    <a:pt x="0" y="8"/>
                  </a:lnTo>
                  <a:lnTo>
                    <a:pt x="1" y="6"/>
                  </a:lnTo>
                  <a:lnTo>
                    <a:pt x="3" y="4"/>
                  </a:lnTo>
                  <a:lnTo>
                    <a:pt x="7" y="8"/>
                  </a:lnTo>
                  <a:lnTo>
                    <a:pt x="9" y="8"/>
                  </a:lnTo>
                  <a:lnTo>
                    <a:pt x="9" y="6"/>
                  </a:lnTo>
                  <a:lnTo>
                    <a:pt x="7" y="6"/>
                  </a:lnTo>
                  <a:lnTo>
                    <a:pt x="5" y="4"/>
                  </a:lnTo>
                  <a:lnTo>
                    <a:pt x="5" y="2"/>
                  </a:lnTo>
                  <a:lnTo>
                    <a:pt x="3" y="2"/>
                  </a:lnTo>
                  <a:lnTo>
                    <a:pt x="3" y="0"/>
                  </a:lnTo>
                  <a:lnTo>
                    <a:pt x="3" y="2"/>
                  </a:lnTo>
                  <a:lnTo>
                    <a:pt x="1" y="2"/>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grpSp>
      <p:cxnSp>
        <p:nvCxnSpPr>
          <p:cNvPr id="10" name="Straight Connector 9"/>
          <p:cNvCxnSpPr/>
          <p:nvPr/>
        </p:nvCxnSpPr>
        <p:spPr>
          <a:xfrm>
            <a:off x="6974120" y="3860801"/>
            <a:ext cx="0" cy="2084865"/>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6929120" y="3799840"/>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5619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05939001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1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Rectangle 1"/>
          <p:cNvSpPr/>
          <p:nvPr/>
        </p:nvSpPr>
        <p:spPr>
          <a:xfrm>
            <a:off x="1524000" y="1544320"/>
            <a:ext cx="9144000" cy="28956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
        <p:nvSpPr>
          <p:cNvPr id="6" name="Text Placeholder 5"/>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grpSp>
        <p:nvGrpSpPr>
          <p:cNvPr id="17" name="Group 16"/>
          <p:cNvGrpSpPr>
            <a:grpSpLocks noChangeAspect="1"/>
          </p:cNvGrpSpPr>
          <p:nvPr/>
        </p:nvGrpSpPr>
        <p:grpSpPr bwMode="gray">
          <a:xfrm>
            <a:off x="1836669" y="1710693"/>
            <a:ext cx="3388598" cy="1980000"/>
            <a:chOff x="236680" y="1501996"/>
            <a:chExt cx="6583681" cy="3846923"/>
          </a:xfrm>
          <a:solidFill>
            <a:schemeClr val="tx1">
              <a:lumMod val="60000"/>
              <a:lumOff val="40000"/>
            </a:schemeClr>
          </a:solidFill>
        </p:grpSpPr>
        <p:sp>
          <p:nvSpPr>
            <p:cNvPr id="41" name="Freeform 7"/>
            <p:cNvSpPr>
              <a:spLocks noEditPoints="1"/>
            </p:cNvSpPr>
            <p:nvPr/>
          </p:nvSpPr>
          <p:spPr bwMode="gray">
            <a:xfrm>
              <a:off x="800638" y="1560515"/>
              <a:ext cx="1606930" cy="1923462"/>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2" name="Freeform 8"/>
            <p:cNvSpPr>
              <a:spLocks noEditPoints="1"/>
            </p:cNvSpPr>
            <p:nvPr/>
          </p:nvSpPr>
          <p:spPr bwMode="gray">
            <a:xfrm>
              <a:off x="2046913" y="1501996"/>
              <a:ext cx="1091710" cy="1499842"/>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3" name="Freeform 9"/>
            <p:cNvSpPr>
              <a:spLocks noEditPoints="1"/>
            </p:cNvSpPr>
            <p:nvPr/>
          </p:nvSpPr>
          <p:spPr bwMode="gray">
            <a:xfrm>
              <a:off x="236680" y="2527333"/>
              <a:ext cx="1911885" cy="1400617"/>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4" name="Freeform 10"/>
            <p:cNvSpPr>
              <a:spLocks/>
            </p:cNvSpPr>
            <p:nvPr/>
          </p:nvSpPr>
          <p:spPr bwMode="gray">
            <a:xfrm>
              <a:off x="1235095" y="3673524"/>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5" name="Freeform 11"/>
            <p:cNvSpPr>
              <a:spLocks/>
            </p:cNvSpPr>
            <p:nvPr/>
          </p:nvSpPr>
          <p:spPr bwMode="gray">
            <a:xfrm>
              <a:off x="1825508" y="3852894"/>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6" name="Freeform 12"/>
            <p:cNvSpPr>
              <a:spLocks/>
            </p:cNvSpPr>
            <p:nvPr/>
          </p:nvSpPr>
          <p:spPr bwMode="gray">
            <a:xfrm>
              <a:off x="1743352" y="393558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7" name="Freeform 13"/>
            <p:cNvSpPr>
              <a:spLocks/>
            </p:cNvSpPr>
            <p:nvPr/>
          </p:nvSpPr>
          <p:spPr bwMode="gray">
            <a:xfrm>
              <a:off x="1687653" y="394703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8" name="Freeform 14"/>
            <p:cNvSpPr>
              <a:spLocks/>
            </p:cNvSpPr>
            <p:nvPr/>
          </p:nvSpPr>
          <p:spPr bwMode="gray">
            <a:xfrm>
              <a:off x="2926967" y="2753773"/>
              <a:ext cx="193556" cy="123397"/>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9" name="Freeform 15"/>
            <p:cNvSpPr>
              <a:spLocks/>
            </p:cNvSpPr>
            <p:nvPr/>
          </p:nvSpPr>
          <p:spPr bwMode="gray">
            <a:xfrm>
              <a:off x="1726643" y="4005550"/>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16"/>
            <p:cNvSpPr>
              <a:spLocks/>
            </p:cNvSpPr>
            <p:nvPr/>
          </p:nvSpPr>
          <p:spPr bwMode="gray">
            <a:xfrm>
              <a:off x="1740567" y="397883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17"/>
            <p:cNvSpPr>
              <a:spLocks/>
            </p:cNvSpPr>
            <p:nvPr/>
          </p:nvSpPr>
          <p:spPr bwMode="gray">
            <a:xfrm>
              <a:off x="1941085" y="3935582"/>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18"/>
            <p:cNvSpPr>
              <a:spLocks/>
            </p:cNvSpPr>
            <p:nvPr/>
          </p:nvSpPr>
          <p:spPr bwMode="gray">
            <a:xfrm>
              <a:off x="1771202" y="399664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3" name="Freeform 19"/>
            <p:cNvSpPr>
              <a:spLocks/>
            </p:cNvSpPr>
            <p:nvPr/>
          </p:nvSpPr>
          <p:spPr bwMode="gray">
            <a:xfrm>
              <a:off x="2012103" y="391014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20"/>
            <p:cNvSpPr>
              <a:spLocks/>
            </p:cNvSpPr>
            <p:nvPr/>
          </p:nvSpPr>
          <p:spPr bwMode="gray">
            <a:xfrm>
              <a:off x="2058053" y="3910140"/>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21"/>
            <p:cNvSpPr>
              <a:spLocks/>
            </p:cNvSpPr>
            <p:nvPr/>
          </p:nvSpPr>
          <p:spPr bwMode="gray">
            <a:xfrm>
              <a:off x="1804622" y="4061523"/>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22"/>
            <p:cNvSpPr>
              <a:spLocks/>
            </p:cNvSpPr>
            <p:nvPr/>
          </p:nvSpPr>
          <p:spPr bwMode="gray">
            <a:xfrm>
              <a:off x="2144389" y="393431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23"/>
            <p:cNvSpPr>
              <a:spLocks/>
            </p:cNvSpPr>
            <p:nvPr/>
          </p:nvSpPr>
          <p:spPr bwMode="gray">
            <a:xfrm>
              <a:off x="1857536" y="4086966"/>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24"/>
            <p:cNvSpPr>
              <a:spLocks/>
            </p:cNvSpPr>
            <p:nvPr/>
          </p:nvSpPr>
          <p:spPr bwMode="gray">
            <a:xfrm>
              <a:off x="2237685" y="4066612"/>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Freeform 25"/>
            <p:cNvSpPr>
              <a:spLocks/>
            </p:cNvSpPr>
            <p:nvPr/>
          </p:nvSpPr>
          <p:spPr bwMode="gray">
            <a:xfrm>
              <a:off x="2032989" y="4043714"/>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26"/>
            <p:cNvSpPr>
              <a:spLocks/>
            </p:cNvSpPr>
            <p:nvPr/>
          </p:nvSpPr>
          <p:spPr bwMode="gray">
            <a:xfrm>
              <a:off x="1893741" y="422562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7"/>
            <p:cNvSpPr>
              <a:spLocks/>
            </p:cNvSpPr>
            <p:nvPr/>
          </p:nvSpPr>
          <p:spPr bwMode="gray">
            <a:xfrm>
              <a:off x="1928554" y="4039897"/>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Freeform 28"/>
            <p:cNvSpPr>
              <a:spLocks/>
            </p:cNvSpPr>
            <p:nvPr/>
          </p:nvSpPr>
          <p:spPr bwMode="gray">
            <a:xfrm>
              <a:off x="3176222" y="3141772"/>
              <a:ext cx="80764" cy="105587"/>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3" name="Freeform 29"/>
            <p:cNvSpPr>
              <a:spLocks/>
            </p:cNvSpPr>
            <p:nvPr/>
          </p:nvSpPr>
          <p:spPr bwMode="gray">
            <a:xfrm>
              <a:off x="2251610" y="410732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4" name="Freeform 30"/>
            <p:cNvSpPr>
              <a:spLocks noEditPoints="1"/>
            </p:cNvSpPr>
            <p:nvPr/>
          </p:nvSpPr>
          <p:spPr bwMode="gray">
            <a:xfrm>
              <a:off x="3219388" y="3040002"/>
              <a:ext cx="178238" cy="246794"/>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5" name="Freeform 31"/>
            <p:cNvSpPr>
              <a:spLocks/>
            </p:cNvSpPr>
            <p:nvPr/>
          </p:nvSpPr>
          <p:spPr bwMode="gray">
            <a:xfrm>
              <a:off x="2311487" y="414802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Freeform 32"/>
            <p:cNvSpPr>
              <a:spLocks/>
            </p:cNvSpPr>
            <p:nvPr/>
          </p:nvSpPr>
          <p:spPr bwMode="gray">
            <a:xfrm>
              <a:off x="2376934" y="415311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7" name="Freeform 33"/>
            <p:cNvSpPr>
              <a:spLocks noEditPoints="1"/>
            </p:cNvSpPr>
            <p:nvPr/>
          </p:nvSpPr>
          <p:spPr bwMode="gray">
            <a:xfrm>
              <a:off x="3457504" y="1863281"/>
              <a:ext cx="473445" cy="1195803"/>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Freeform 34"/>
            <p:cNvSpPr>
              <a:spLocks/>
            </p:cNvSpPr>
            <p:nvPr/>
          </p:nvSpPr>
          <p:spPr bwMode="gray">
            <a:xfrm>
              <a:off x="1885386" y="4249798"/>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9" name="Freeform 35"/>
            <p:cNvSpPr>
              <a:spLocks/>
            </p:cNvSpPr>
            <p:nvPr/>
          </p:nvSpPr>
          <p:spPr bwMode="gray">
            <a:xfrm>
              <a:off x="3192932" y="3475070"/>
              <a:ext cx="62663" cy="110676"/>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Freeform 36"/>
            <p:cNvSpPr>
              <a:spLocks/>
            </p:cNvSpPr>
            <p:nvPr/>
          </p:nvSpPr>
          <p:spPr bwMode="gray">
            <a:xfrm>
              <a:off x="3431047" y="3195202"/>
              <a:ext cx="66839" cy="71239"/>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Freeform 37"/>
            <p:cNvSpPr>
              <a:spLocks/>
            </p:cNvSpPr>
            <p:nvPr/>
          </p:nvSpPr>
          <p:spPr bwMode="gray">
            <a:xfrm>
              <a:off x="3412944" y="3246086"/>
              <a:ext cx="68233" cy="5215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Freeform 38"/>
            <p:cNvSpPr>
              <a:spLocks noEditPoints="1"/>
            </p:cNvSpPr>
            <p:nvPr/>
          </p:nvSpPr>
          <p:spPr bwMode="gray">
            <a:xfrm>
              <a:off x="3279266" y="3256264"/>
              <a:ext cx="260395" cy="235345"/>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3" name="Freeform 39"/>
            <p:cNvSpPr>
              <a:spLocks/>
            </p:cNvSpPr>
            <p:nvPr/>
          </p:nvSpPr>
          <p:spPr bwMode="gray">
            <a:xfrm>
              <a:off x="3198502" y="3438179"/>
              <a:ext cx="225583" cy="167921"/>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40"/>
            <p:cNvSpPr>
              <a:spLocks noEditPoints="1"/>
            </p:cNvSpPr>
            <p:nvPr/>
          </p:nvSpPr>
          <p:spPr bwMode="gray">
            <a:xfrm>
              <a:off x="3513202" y="3065444"/>
              <a:ext cx="80764" cy="86505"/>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5" name="Freeform 41"/>
            <p:cNvSpPr>
              <a:spLocks/>
            </p:cNvSpPr>
            <p:nvPr/>
          </p:nvSpPr>
          <p:spPr bwMode="gray">
            <a:xfrm>
              <a:off x="3471428" y="3281707"/>
              <a:ext cx="13925" cy="17810"/>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Freeform 42"/>
            <p:cNvSpPr>
              <a:spLocks/>
            </p:cNvSpPr>
            <p:nvPr/>
          </p:nvSpPr>
          <p:spPr bwMode="gray">
            <a:xfrm>
              <a:off x="3567510" y="2643096"/>
              <a:ext cx="235331" cy="496132"/>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Freeform 43"/>
            <p:cNvSpPr>
              <a:spLocks/>
            </p:cNvSpPr>
            <p:nvPr/>
          </p:nvSpPr>
          <p:spPr bwMode="gray">
            <a:xfrm>
              <a:off x="3127484" y="3608644"/>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44"/>
            <p:cNvSpPr>
              <a:spLocks noEditPoints="1"/>
            </p:cNvSpPr>
            <p:nvPr/>
          </p:nvSpPr>
          <p:spPr bwMode="gray">
            <a:xfrm>
              <a:off x="3474213" y="3150676"/>
              <a:ext cx="165706" cy="202269"/>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45"/>
            <p:cNvSpPr>
              <a:spLocks/>
            </p:cNvSpPr>
            <p:nvPr/>
          </p:nvSpPr>
          <p:spPr bwMode="gray">
            <a:xfrm>
              <a:off x="3057860" y="3771477"/>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0" name="Freeform 46"/>
            <p:cNvSpPr>
              <a:spLocks/>
            </p:cNvSpPr>
            <p:nvPr/>
          </p:nvSpPr>
          <p:spPr bwMode="gray">
            <a:xfrm>
              <a:off x="3474213" y="3341497"/>
              <a:ext cx="82157" cy="45796"/>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1" name="Freeform 47"/>
            <p:cNvSpPr>
              <a:spLocks/>
            </p:cNvSpPr>
            <p:nvPr/>
          </p:nvSpPr>
          <p:spPr bwMode="gray">
            <a:xfrm>
              <a:off x="2101222" y="441263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Freeform 48"/>
            <p:cNvSpPr>
              <a:spLocks/>
            </p:cNvSpPr>
            <p:nvPr/>
          </p:nvSpPr>
          <p:spPr bwMode="gray">
            <a:xfrm>
              <a:off x="3745747" y="2599843"/>
              <a:ext cx="192163" cy="399449"/>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3" name="Freeform 49"/>
            <p:cNvSpPr>
              <a:spLocks/>
            </p:cNvSpPr>
            <p:nvPr/>
          </p:nvSpPr>
          <p:spPr bwMode="gray">
            <a:xfrm>
              <a:off x="3538269" y="3312237"/>
              <a:ext cx="143427" cy="63607"/>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Freeform 50"/>
            <p:cNvSpPr>
              <a:spLocks/>
            </p:cNvSpPr>
            <p:nvPr/>
          </p:nvSpPr>
          <p:spPr bwMode="gray">
            <a:xfrm>
              <a:off x="3589790" y="3257537"/>
              <a:ext cx="119754" cy="64879"/>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51"/>
            <p:cNvSpPr>
              <a:spLocks/>
            </p:cNvSpPr>
            <p:nvPr/>
          </p:nvSpPr>
          <p:spPr bwMode="gray">
            <a:xfrm>
              <a:off x="3056467" y="3779109"/>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Freeform 52"/>
            <p:cNvSpPr>
              <a:spLocks noEditPoints="1"/>
            </p:cNvSpPr>
            <p:nvPr/>
          </p:nvSpPr>
          <p:spPr bwMode="gray">
            <a:xfrm>
              <a:off x="3623209" y="3157038"/>
              <a:ext cx="182416" cy="152656"/>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7" name="Freeform 53"/>
            <p:cNvSpPr>
              <a:spLocks/>
            </p:cNvSpPr>
            <p:nvPr/>
          </p:nvSpPr>
          <p:spPr bwMode="gray">
            <a:xfrm>
              <a:off x="3062037" y="4015726"/>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Freeform 54"/>
            <p:cNvSpPr>
              <a:spLocks/>
            </p:cNvSpPr>
            <p:nvPr/>
          </p:nvSpPr>
          <p:spPr bwMode="gray">
            <a:xfrm>
              <a:off x="3049505" y="3964842"/>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9" name="Freeform 55"/>
            <p:cNvSpPr>
              <a:spLocks/>
            </p:cNvSpPr>
            <p:nvPr/>
          </p:nvSpPr>
          <p:spPr bwMode="gray">
            <a:xfrm>
              <a:off x="3747141" y="3056540"/>
              <a:ext cx="132287" cy="72512"/>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Freeform 56"/>
            <p:cNvSpPr>
              <a:spLocks/>
            </p:cNvSpPr>
            <p:nvPr/>
          </p:nvSpPr>
          <p:spPr bwMode="gray">
            <a:xfrm>
              <a:off x="3791701" y="3010742"/>
              <a:ext cx="87727" cy="62335"/>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1" name="Freeform 57"/>
            <p:cNvSpPr>
              <a:spLocks/>
            </p:cNvSpPr>
            <p:nvPr/>
          </p:nvSpPr>
          <p:spPr bwMode="gray">
            <a:xfrm>
              <a:off x="3609285" y="3363123"/>
              <a:ext cx="58484" cy="3562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Freeform 58"/>
            <p:cNvSpPr>
              <a:spLocks/>
            </p:cNvSpPr>
            <p:nvPr/>
          </p:nvSpPr>
          <p:spPr bwMode="gray">
            <a:xfrm>
              <a:off x="3064822" y="4036081"/>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3" name="Freeform 59"/>
            <p:cNvSpPr>
              <a:spLocks noEditPoints="1"/>
            </p:cNvSpPr>
            <p:nvPr/>
          </p:nvSpPr>
          <p:spPr bwMode="gray">
            <a:xfrm>
              <a:off x="3485353" y="3358035"/>
              <a:ext cx="218621" cy="232800"/>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4" name="Freeform 60"/>
            <p:cNvSpPr>
              <a:spLocks/>
            </p:cNvSpPr>
            <p:nvPr/>
          </p:nvSpPr>
          <p:spPr bwMode="gray">
            <a:xfrm>
              <a:off x="3747141" y="3107424"/>
              <a:ext cx="107222" cy="73784"/>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Freeform 61"/>
            <p:cNvSpPr>
              <a:spLocks/>
            </p:cNvSpPr>
            <p:nvPr/>
          </p:nvSpPr>
          <p:spPr bwMode="gray">
            <a:xfrm>
              <a:off x="3209642" y="3583201"/>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Freeform 62"/>
            <p:cNvSpPr>
              <a:spLocks/>
            </p:cNvSpPr>
            <p:nvPr/>
          </p:nvSpPr>
          <p:spPr bwMode="gray">
            <a:xfrm>
              <a:off x="3674732" y="3294428"/>
              <a:ext cx="103044" cy="44525"/>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7" name="Freeform 63"/>
            <p:cNvSpPr>
              <a:spLocks/>
            </p:cNvSpPr>
            <p:nvPr/>
          </p:nvSpPr>
          <p:spPr bwMode="gray">
            <a:xfrm>
              <a:off x="2227938" y="457546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Freeform 64"/>
            <p:cNvSpPr>
              <a:spLocks/>
            </p:cNvSpPr>
            <p:nvPr/>
          </p:nvSpPr>
          <p:spPr bwMode="gray">
            <a:xfrm>
              <a:off x="3662199" y="3321143"/>
              <a:ext cx="123932" cy="69967"/>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9" name="Freeform 65"/>
            <p:cNvSpPr>
              <a:spLocks noEditPoints="1"/>
            </p:cNvSpPr>
            <p:nvPr/>
          </p:nvSpPr>
          <p:spPr bwMode="gray">
            <a:xfrm>
              <a:off x="3613463" y="3372028"/>
              <a:ext cx="107222" cy="97955"/>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0" name="Freeform 66"/>
            <p:cNvSpPr>
              <a:spLocks noEditPoints="1"/>
            </p:cNvSpPr>
            <p:nvPr/>
          </p:nvSpPr>
          <p:spPr bwMode="gray">
            <a:xfrm>
              <a:off x="2021849" y="416202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Freeform 67"/>
            <p:cNvSpPr>
              <a:spLocks/>
            </p:cNvSpPr>
            <p:nvPr/>
          </p:nvSpPr>
          <p:spPr bwMode="gray">
            <a:xfrm>
              <a:off x="3094065" y="4036081"/>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Freeform 68"/>
            <p:cNvSpPr>
              <a:spLocks/>
            </p:cNvSpPr>
            <p:nvPr/>
          </p:nvSpPr>
          <p:spPr bwMode="gray">
            <a:xfrm>
              <a:off x="3145587" y="3818545"/>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3" name="Freeform 69"/>
            <p:cNvSpPr>
              <a:spLocks/>
            </p:cNvSpPr>
            <p:nvPr/>
          </p:nvSpPr>
          <p:spPr bwMode="gray">
            <a:xfrm>
              <a:off x="3653844" y="3402559"/>
              <a:ext cx="69624" cy="62335"/>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Freeform 70"/>
            <p:cNvSpPr>
              <a:spLocks/>
            </p:cNvSpPr>
            <p:nvPr/>
          </p:nvSpPr>
          <p:spPr bwMode="gray">
            <a:xfrm>
              <a:off x="3788916" y="3115057"/>
              <a:ext cx="172668" cy="13739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Freeform 71"/>
            <p:cNvSpPr>
              <a:spLocks/>
            </p:cNvSpPr>
            <p:nvPr/>
          </p:nvSpPr>
          <p:spPr bwMode="gray">
            <a:xfrm>
              <a:off x="3126093" y="4081876"/>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Freeform 72"/>
            <p:cNvSpPr>
              <a:spLocks/>
            </p:cNvSpPr>
            <p:nvPr/>
          </p:nvSpPr>
          <p:spPr bwMode="gray">
            <a:xfrm>
              <a:off x="3503456" y="3579385"/>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7" name="Freeform 73"/>
            <p:cNvSpPr>
              <a:spLocks/>
            </p:cNvSpPr>
            <p:nvPr/>
          </p:nvSpPr>
          <p:spPr bwMode="gray">
            <a:xfrm>
              <a:off x="3702582" y="3443268"/>
              <a:ext cx="34813" cy="38164"/>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Freeform 74"/>
            <p:cNvSpPr>
              <a:spLocks/>
            </p:cNvSpPr>
            <p:nvPr/>
          </p:nvSpPr>
          <p:spPr bwMode="gray">
            <a:xfrm>
              <a:off x="3736002" y="3328776"/>
              <a:ext cx="171276" cy="109403"/>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9" name="Freeform 75"/>
            <p:cNvSpPr>
              <a:spLocks/>
            </p:cNvSpPr>
            <p:nvPr/>
          </p:nvSpPr>
          <p:spPr bwMode="gray">
            <a:xfrm>
              <a:off x="3709543" y="3380933"/>
              <a:ext cx="73803" cy="99226"/>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Freeform 76"/>
            <p:cNvSpPr>
              <a:spLocks/>
            </p:cNvSpPr>
            <p:nvPr/>
          </p:nvSpPr>
          <p:spPr bwMode="gray">
            <a:xfrm>
              <a:off x="3768029" y="3221916"/>
              <a:ext cx="328627" cy="198452"/>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77"/>
            <p:cNvSpPr>
              <a:spLocks/>
            </p:cNvSpPr>
            <p:nvPr/>
          </p:nvSpPr>
          <p:spPr bwMode="gray">
            <a:xfrm>
              <a:off x="3158119" y="4107319"/>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2" name="Freeform 78"/>
            <p:cNvSpPr>
              <a:spLocks noEditPoints="1"/>
            </p:cNvSpPr>
            <p:nvPr/>
          </p:nvSpPr>
          <p:spPr bwMode="gray">
            <a:xfrm>
              <a:off x="3727647" y="2134244"/>
              <a:ext cx="2910298" cy="1361179"/>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3" name="Freeform 79"/>
            <p:cNvSpPr>
              <a:spLocks/>
            </p:cNvSpPr>
            <p:nvPr/>
          </p:nvSpPr>
          <p:spPr bwMode="gray">
            <a:xfrm>
              <a:off x="3265341" y="3994100"/>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4" name="Freeform 80"/>
            <p:cNvSpPr>
              <a:spLocks/>
            </p:cNvSpPr>
            <p:nvPr/>
          </p:nvSpPr>
          <p:spPr bwMode="gray">
            <a:xfrm>
              <a:off x="3717897" y="3464893"/>
              <a:ext cx="32028" cy="66151"/>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5" name="Freeform 81"/>
            <p:cNvSpPr>
              <a:spLocks/>
            </p:cNvSpPr>
            <p:nvPr/>
          </p:nvSpPr>
          <p:spPr bwMode="gray">
            <a:xfrm>
              <a:off x="3740177" y="3469981"/>
              <a:ext cx="44559" cy="3562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6" name="Freeform 82"/>
            <p:cNvSpPr>
              <a:spLocks/>
            </p:cNvSpPr>
            <p:nvPr/>
          </p:nvSpPr>
          <p:spPr bwMode="gray">
            <a:xfrm>
              <a:off x="3211033" y="4070428"/>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7" name="Freeform 83"/>
            <p:cNvSpPr>
              <a:spLocks/>
            </p:cNvSpPr>
            <p:nvPr/>
          </p:nvSpPr>
          <p:spPr bwMode="gray">
            <a:xfrm>
              <a:off x="3772206" y="3425458"/>
              <a:ext cx="112792" cy="71239"/>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8" name="Freeform 84"/>
            <p:cNvSpPr>
              <a:spLocks/>
            </p:cNvSpPr>
            <p:nvPr/>
          </p:nvSpPr>
          <p:spPr bwMode="gray">
            <a:xfrm>
              <a:off x="3851578" y="3324959"/>
              <a:ext cx="62663" cy="72512"/>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Freeform 85"/>
            <p:cNvSpPr>
              <a:spLocks/>
            </p:cNvSpPr>
            <p:nvPr/>
          </p:nvSpPr>
          <p:spPr bwMode="gray">
            <a:xfrm>
              <a:off x="2304525" y="477646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86"/>
            <p:cNvSpPr>
              <a:spLocks/>
            </p:cNvSpPr>
            <p:nvPr/>
          </p:nvSpPr>
          <p:spPr bwMode="gray">
            <a:xfrm>
              <a:off x="3369777" y="3846532"/>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1" name="Freeform 87"/>
            <p:cNvSpPr>
              <a:spLocks noEditPoints="1"/>
            </p:cNvSpPr>
            <p:nvPr/>
          </p:nvSpPr>
          <p:spPr bwMode="gray">
            <a:xfrm>
              <a:off x="3733217" y="3485247"/>
              <a:ext cx="118362" cy="142478"/>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2" name="Freeform 88"/>
            <p:cNvSpPr>
              <a:spLocks/>
            </p:cNvSpPr>
            <p:nvPr/>
          </p:nvSpPr>
          <p:spPr bwMode="gray">
            <a:xfrm>
              <a:off x="3536875" y="3663346"/>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3" name="Freeform 89"/>
            <p:cNvSpPr>
              <a:spLocks/>
            </p:cNvSpPr>
            <p:nvPr/>
          </p:nvSpPr>
          <p:spPr bwMode="gray">
            <a:xfrm>
              <a:off x="3308506" y="4061522"/>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4" name="Freeform 90"/>
            <p:cNvSpPr>
              <a:spLocks/>
            </p:cNvSpPr>
            <p:nvPr/>
          </p:nvSpPr>
          <p:spPr bwMode="gray">
            <a:xfrm>
              <a:off x="3365600" y="4062794"/>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Freeform 91"/>
            <p:cNvSpPr>
              <a:spLocks/>
            </p:cNvSpPr>
            <p:nvPr/>
          </p:nvSpPr>
          <p:spPr bwMode="gray">
            <a:xfrm>
              <a:off x="3382310" y="4041170"/>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6" name="Freeform 92"/>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7" name="Freeform 93"/>
            <p:cNvSpPr>
              <a:spLocks/>
            </p:cNvSpPr>
            <p:nvPr/>
          </p:nvSpPr>
          <p:spPr bwMode="gray">
            <a:xfrm>
              <a:off x="3415729" y="4016999"/>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8" name="Freeform 94"/>
            <p:cNvSpPr>
              <a:spLocks/>
            </p:cNvSpPr>
            <p:nvPr/>
          </p:nvSpPr>
          <p:spPr bwMode="gray">
            <a:xfrm>
              <a:off x="3951837" y="3612460"/>
              <a:ext cx="41775" cy="22898"/>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9" name="Freeform 95"/>
            <p:cNvSpPr>
              <a:spLocks/>
            </p:cNvSpPr>
            <p:nvPr/>
          </p:nvSpPr>
          <p:spPr bwMode="gray">
            <a:xfrm>
              <a:off x="3816766" y="3695149"/>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0" name="Freeform 96"/>
            <p:cNvSpPr>
              <a:spLocks/>
            </p:cNvSpPr>
            <p:nvPr/>
          </p:nvSpPr>
          <p:spPr bwMode="gray">
            <a:xfrm>
              <a:off x="3612070" y="3847805"/>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Freeform 97"/>
            <p:cNvSpPr>
              <a:spLocks/>
            </p:cNvSpPr>
            <p:nvPr/>
          </p:nvSpPr>
          <p:spPr bwMode="gray">
            <a:xfrm>
              <a:off x="3522951" y="4028447"/>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Freeform 98"/>
            <p:cNvSpPr>
              <a:spLocks/>
            </p:cNvSpPr>
            <p:nvPr/>
          </p:nvSpPr>
          <p:spPr bwMode="gray">
            <a:xfrm>
              <a:off x="4096655" y="3440723"/>
              <a:ext cx="122539" cy="57246"/>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Freeform 99"/>
            <p:cNvSpPr>
              <a:spLocks/>
            </p:cNvSpPr>
            <p:nvPr/>
          </p:nvSpPr>
          <p:spPr bwMode="gray">
            <a:xfrm>
              <a:off x="4003359" y="3635359"/>
              <a:ext cx="27850" cy="330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4" name="Freeform 100"/>
            <p:cNvSpPr>
              <a:spLocks/>
            </p:cNvSpPr>
            <p:nvPr/>
          </p:nvSpPr>
          <p:spPr bwMode="gray">
            <a:xfrm>
              <a:off x="4013106" y="3578114"/>
              <a:ext cx="128109" cy="104314"/>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Freeform 101"/>
            <p:cNvSpPr>
              <a:spLocks/>
            </p:cNvSpPr>
            <p:nvPr/>
          </p:nvSpPr>
          <p:spPr bwMode="gray">
            <a:xfrm>
              <a:off x="3988041" y="3664617"/>
              <a:ext cx="27850" cy="71239"/>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6" name="Freeform 102"/>
            <p:cNvSpPr>
              <a:spLocks/>
            </p:cNvSpPr>
            <p:nvPr/>
          </p:nvSpPr>
          <p:spPr bwMode="gray">
            <a:xfrm>
              <a:off x="3527127" y="4210361"/>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Freeform 103"/>
            <p:cNvSpPr>
              <a:spLocks noEditPoints="1"/>
            </p:cNvSpPr>
            <p:nvPr/>
          </p:nvSpPr>
          <p:spPr bwMode="gray">
            <a:xfrm>
              <a:off x="1992608" y="4546204"/>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8" name="Freeform 104"/>
            <p:cNvSpPr>
              <a:spLocks/>
            </p:cNvSpPr>
            <p:nvPr/>
          </p:nvSpPr>
          <p:spPr bwMode="gray">
            <a:xfrm>
              <a:off x="3628779" y="4064067"/>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9" name="Freeform 105"/>
            <p:cNvSpPr>
              <a:spLocks/>
            </p:cNvSpPr>
            <p:nvPr/>
          </p:nvSpPr>
          <p:spPr bwMode="gray">
            <a:xfrm>
              <a:off x="4003359" y="3662074"/>
              <a:ext cx="79372" cy="80144"/>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0" name="Freeform 106"/>
            <p:cNvSpPr>
              <a:spLocks noEditPoints="1"/>
            </p:cNvSpPr>
            <p:nvPr/>
          </p:nvSpPr>
          <p:spPr bwMode="gray">
            <a:xfrm>
              <a:off x="2028813" y="4622531"/>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1" name="Freeform 107"/>
            <p:cNvSpPr>
              <a:spLocks/>
            </p:cNvSpPr>
            <p:nvPr/>
          </p:nvSpPr>
          <p:spPr bwMode="gray">
            <a:xfrm>
              <a:off x="4157925" y="3492880"/>
              <a:ext cx="58484" cy="53430"/>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2" name="Freeform 108"/>
            <p:cNvSpPr>
              <a:spLocks/>
            </p:cNvSpPr>
            <p:nvPr/>
          </p:nvSpPr>
          <p:spPr bwMode="gray">
            <a:xfrm>
              <a:off x="3570295" y="4188737"/>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3" name="Freeform 109"/>
            <p:cNvSpPr>
              <a:spLocks noEditPoints="1"/>
            </p:cNvSpPr>
            <p:nvPr/>
          </p:nvSpPr>
          <p:spPr bwMode="gray">
            <a:xfrm>
              <a:off x="4180206" y="3480159"/>
              <a:ext cx="104437" cy="77601"/>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4" name="Freeform 110"/>
            <p:cNvSpPr>
              <a:spLocks/>
            </p:cNvSpPr>
            <p:nvPr/>
          </p:nvSpPr>
          <p:spPr bwMode="gray">
            <a:xfrm>
              <a:off x="4213625" y="3135411"/>
              <a:ext cx="743588" cy="372734"/>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5" name="Freeform 111"/>
            <p:cNvSpPr>
              <a:spLocks/>
            </p:cNvSpPr>
            <p:nvPr/>
          </p:nvSpPr>
          <p:spPr bwMode="gray">
            <a:xfrm>
              <a:off x="4071590" y="3578114"/>
              <a:ext cx="178238" cy="166649"/>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6" name="Freeform 112"/>
            <p:cNvSpPr>
              <a:spLocks/>
            </p:cNvSpPr>
            <p:nvPr/>
          </p:nvSpPr>
          <p:spPr bwMode="gray">
            <a:xfrm>
              <a:off x="3762460" y="3874519"/>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7" name="Freeform 113"/>
            <p:cNvSpPr>
              <a:spLocks/>
            </p:cNvSpPr>
            <p:nvPr/>
          </p:nvSpPr>
          <p:spPr bwMode="gray">
            <a:xfrm>
              <a:off x="3999181" y="3683699"/>
              <a:ext cx="387111" cy="31040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8" name="Freeform 114"/>
            <p:cNvSpPr>
              <a:spLocks/>
            </p:cNvSpPr>
            <p:nvPr/>
          </p:nvSpPr>
          <p:spPr bwMode="gray">
            <a:xfrm>
              <a:off x="3588398" y="4159476"/>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9" name="Freeform 115"/>
            <p:cNvSpPr>
              <a:spLocks/>
            </p:cNvSpPr>
            <p:nvPr/>
          </p:nvSpPr>
          <p:spPr bwMode="gray">
            <a:xfrm>
              <a:off x="4169066" y="3527228"/>
              <a:ext cx="349514" cy="29131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0" name="Freeform 116"/>
            <p:cNvSpPr>
              <a:spLocks/>
            </p:cNvSpPr>
            <p:nvPr/>
          </p:nvSpPr>
          <p:spPr bwMode="gray">
            <a:xfrm>
              <a:off x="4213625" y="3726951"/>
              <a:ext cx="34813" cy="27987"/>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1" name="Freeform 117"/>
            <p:cNvSpPr>
              <a:spLocks/>
            </p:cNvSpPr>
            <p:nvPr/>
          </p:nvSpPr>
          <p:spPr bwMode="gray">
            <a:xfrm>
              <a:off x="4029816" y="3943214"/>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2" name="Freeform 118"/>
            <p:cNvSpPr>
              <a:spLocks/>
            </p:cNvSpPr>
            <p:nvPr/>
          </p:nvSpPr>
          <p:spPr bwMode="gray">
            <a:xfrm>
              <a:off x="4323631" y="3461077"/>
              <a:ext cx="257610" cy="160289"/>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3" name="Freeform 119"/>
            <p:cNvSpPr>
              <a:spLocks noEditPoints="1"/>
            </p:cNvSpPr>
            <p:nvPr/>
          </p:nvSpPr>
          <p:spPr bwMode="gray">
            <a:xfrm>
              <a:off x="3581435" y="4323583"/>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4" name="Freeform 120"/>
            <p:cNvSpPr>
              <a:spLocks/>
            </p:cNvSpPr>
            <p:nvPr/>
          </p:nvSpPr>
          <p:spPr bwMode="gray">
            <a:xfrm>
              <a:off x="4387686" y="3394926"/>
              <a:ext cx="311917" cy="190819"/>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5" name="Freeform 121"/>
            <p:cNvSpPr>
              <a:spLocks/>
            </p:cNvSpPr>
            <p:nvPr/>
          </p:nvSpPr>
          <p:spPr bwMode="gray">
            <a:xfrm>
              <a:off x="3967155" y="3999187"/>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6" name="Freeform 122"/>
            <p:cNvSpPr>
              <a:spLocks/>
            </p:cNvSpPr>
            <p:nvPr/>
          </p:nvSpPr>
          <p:spPr bwMode="gray">
            <a:xfrm>
              <a:off x="3904492" y="4181102"/>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7" name="Freeform 123"/>
            <p:cNvSpPr>
              <a:spLocks/>
            </p:cNvSpPr>
            <p:nvPr/>
          </p:nvSpPr>
          <p:spPr bwMode="gray">
            <a:xfrm>
              <a:off x="3890567" y="4267607"/>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8" name="Freeform 124"/>
            <p:cNvSpPr>
              <a:spLocks/>
            </p:cNvSpPr>
            <p:nvPr/>
          </p:nvSpPr>
          <p:spPr bwMode="gray">
            <a:xfrm>
              <a:off x="3891960" y="4289235"/>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9" name="Freeform 125"/>
            <p:cNvSpPr>
              <a:spLocks/>
            </p:cNvSpPr>
            <p:nvPr/>
          </p:nvSpPr>
          <p:spPr bwMode="gray">
            <a:xfrm>
              <a:off x="4143999" y="3926678"/>
              <a:ext cx="187986" cy="109403"/>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0" name="Freeform 126"/>
            <p:cNvSpPr>
              <a:spLocks/>
            </p:cNvSpPr>
            <p:nvPr/>
          </p:nvSpPr>
          <p:spPr bwMode="gray">
            <a:xfrm>
              <a:off x="4291604" y="3799463"/>
              <a:ext cx="13925" cy="30532"/>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1" name="Freeform 127"/>
            <p:cNvSpPr>
              <a:spLocks/>
            </p:cNvSpPr>
            <p:nvPr/>
          </p:nvSpPr>
          <p:spPr bwMode="gray">
            <a:xfrm>
              <a:off x="4127290" y="4034807"/>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2" name="Freeform 128"/>
            <p:cNvSpPr>
              <a:spLocks/>
            </p:cNvSpPr>
            <p:nvPr/>
          </p:nvSpPr>
          <p:spPr bwMode="gray">
            <a:xfrm>
              <a:off x="4297174" y="3800735"/>
              <a:ext cx="96082" cy="71239"/>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3" name="Freeform 129"/>
            <p:cNvSpPr>
              <a:spLocks/>
            </p:cNvSpPr>
            <p:nvPr/>
          </p:nvSpPr>
          <p:spPr bwMode="gray">
            <a:xfrm>
              <a:off x="3972725" y="4172197"/>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4" name="Freeform 130"/>
            <p:cNvSpPr>
              <a:spLocks/>
            </p:cNvSpPr>
            <p:nvPr/>
          </p:nvSpPr>
          <p:spPr bwMode="gray">
            <a:xfrm>
              <a:off x="3766636" y="4385917"/>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5" name="Freeform 131"/>
            <p:cNvSpPr>
              <a:spLocks/>
            </p:cNvSpPr>
            <p:nvPr/>
          </p:nvSpPr>
          <p:spPr bwMode="gray">
            <a:xfrm>
              <a:off x="3581435" y="4534755"/>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6" name="Freeform 132"/>
            <p:cNvSpPr>
              <a:spLocks/>
            </p:cNvSpPr>
            <p:nvPr/>
          </p:nvSpPr>
          <p:spPr bwMode="gray">
            <a:xfrm>
              <a:off x="3900315" y="4266336"/>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7" name="Freeform 133"/>
            <p:cNvSpPr>
              <a:spLocks noEditPoints="1"/>
            </p:cNvSpPr>
            <p:nvPr/>
          </p:nvSpPr>
          <p:spPr bwMode="gray">
            <a:xfrm>
              <a:off x="4309706" y="3795647"/>
              <a:ext cx="146212" cy="171738"/>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8" name="Freeform 134"/>
            <p:cNvSpPr>
              <a:spLocks/>
            </p:cNvSpPr>
            <p:nvPr/>
          </p:nvSpPr>
          <p:spPr bwMode="gray">
            <a:xfrm>
              <a:off x="4465665" y="3556486"/>
              <a:ext cx="260395" cy="180642"/>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9" name="Freeform 135"/>
            <p:cNvSpPr>
              <a:spLocks/>
            </p:cNvSpPr>
            <p:nvPr/>
          </p:nvSpPr>
          <p:spPr bwMode="gray">
            <a:xfrm>
              <a:off x="4113365" y="4047528"/>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Freeform 136"/>
            <p:cNvSpPr>
              <a:spLocks/>
            </p:cNvSpPr>
            <p:nvPr/>
          </p:nvSpPr>
          <p:spPr bwMode="gray">
            <a:xfrm>
              <a:off x="4595167" y="3497968"/>
              <a:ext cx="136463" cy="94137"/>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Freeform 137"/>
            <p:cNvSpPr>
              <a:spLocks/>
            </p:cNvSpPr>
            <p:nvPr/>
          </p:nvSpPr>
          <p:spPr bwMode="gray">
            <a:xfrm>
              <a:off x="4628586" y="3450900"/>
              <a:ext cx="199126" cy="8777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Freeform 138"/>
            <p:cNvSpPr>
              <a:spLocks/>
            </p:cNvSpPr>
            <p:nvPr/>
          </p:nvSpPr>
          <p:spPr bwMode="gray">
            <a:xfrm>
              <a:off x="3727647" y="4548748"/>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Freeform 139"/>
            <p:cNvSpPr>
              <a:spLocks/>
            </p:cNvSpPr>
            <p:nvPr/>
          </p:nvSpPr>
          <p:spPr bwMode="gray">
            <a:xfrm>
              <a:off x="3826513" y="4511857"/>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4" name="Freeform 140"/>
            <p:cNvSpPr>
              <a:spLocks/>
            </p:cNvSpPr>
            <p:nvPr/>
          </p:nvSpPr>
          <p:spPr bwMode="gray">
            <a:xfrm>
              <a:off x="4474020" y="3585746"/>
              <a:ext cx="304955" cy="25569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5" name="Freeform 141"/>
            <p:cNvSpPr>
              <a:spLocks/>
            </p:cNvSpPr>
            <p:nvPr/>
          </p:nvSpPr>
          <p:spPr bwMode="gray">
            <a:xfrm>
              <a:off x="3962977" y="4408815"/>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6" name="Freeform 142"/>
            <p:cNvSpPr>
              <a:spLocks noEditPoints="1"/>
            </p:cNvSpPr>
            <p:nvPr/>
          </p:nvSpPr>
          <p:spPr bwMode="gray">
            <a:xfrm>
              <a:off x="3628779" y="4626349"/>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7" name="Freeform 143"/>
            <p:cNvSpPr>
              <a:spLocks/>
            </p:cNvSpPr>
            <p:nvPr/>
          </p:nvSpPr>
          <p:spPr bwMode="gray">
            <a:xfrm>
              <a:off x="3918418" y="4422808"/>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Freeform 144"/>
            <p:cNvSpPr>
              <a:spLocks/>
            </p:cNvSpPr>
            <p:nvPr/>
          </p:nvSpPr>
          <p:spPr bwMode="gray">
            <a:xfrm>
              <a:off x="3859934" y="4747200"/>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Freeform 145"/>
            <p:cNvSpPr>
              <a:spLocks/>
            </p:cNvSpPr>
            <p:nvPr/>
          </p:nvSpPr>
          <p:spPr bwMode="gray">
            <a:xfrm>
              <a:off x="3926773" y="4692500"/>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Freeform 147"/>
            <p:cNvSpPr>
              <a:spLocks/>
            </p:cNvSpPr>
            <p:nvPr/>
          </p:nvSpPr>
          <p:spPr bwMode="gray">
            <a:xfrm>
              <a:off x="4965567" y="3230821"/>
              <a:ext cx="580668" cy="25569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1" name="Freeform 149"/>
            <p:cNvSpPr>
              <a:spLocks/>
            </p:cNvSpPr>
            <p:nvPr/>
          </p:nvSpPr>
          <p:spPr bwMode="gray">
            <a:xfrm>
              <a:off x="4193925" y="4385916"/>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2" name="Freeform 150"/>
            <p:cNvSpPr>
              <a:spLocks/>
            </p:cNvSpPr>
            <p:nvPr/>
          </p:nvSpPr>
          <p:spPr bwMode="gray">
            <a:xfrm>
              <a:off x="4823534" y="3715504"/>
              <a:ext cx="148997" cy="77601"/>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3" name="Freeform 151"/>
            <p:cNvSpPr>
              <a:spLocks/>
            </p:cNvSpPr>
            <p:nvPr/>
          </p:nvSpPr>
          <p:spPr bwMode="gray">
            <a:xfrm>
              <a:off x="4982279" y="3757483"/>
              <a:ext cx="58484" cy="30532"/>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4" name="Freeform 152"/>
            <p:cNvSpPr>
              <a:spLocks/>
            </p:cNvSpPr>
            <p:nvPr/>
          </p:nvSpPr>
          <p:spPr bwMode="gray">
            <a:xfrm>
              <a:off x="4968352" y="3794375"/>
              <a:ext cx="83549" cy="96682"/>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5" name="Freeform 153"/>
            <p:cNvSpPr>
              <a:spLocks/>
            </p:cNvSpPr>
            <p:nvPr/>
          </p:nvSpPr>
          <p:spPr bwMode="gray">
            <a:xfrm>
              <a:off x="4816573" y="4085692"/>
              <a:ext cx="40383" cy="63607"/>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6" name="Freeform 154"/>
            <p:cNvSpPr>
              <a:spLocks/>
            </p:cNvSpPr>
            <p:nvPr/>
          </p:nvSpPr>
          <p:spPr bwMode="gray">
            <a:xfrm>
              <a:off x="5042155" y="3754939"/>
              <a:ext cx="162922" cy="32439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7" name="Freeform 155"/>
            <p:cNvSpPr>
              <a:spLocks/>
            </p:cNvSpPr>
            <p:nvPr/>
          </p:nvSpPr>
          <p:spPr bwMode="gray">
            <a:xfrm>
              <a:off x="5186975" y="3863070"/>
              <a:ext cx="135072" cy="152656"/>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8" name="Freeform 156"/>
            <p:cNvSpPr>
              <a:spLocks/>
            </p:cNvSpPr>
            <p:nvPr/>
          </p:nvSpPr>
          <p:spPr bwMode="gray">
            <a:xfrm>
              <a:off x="5138237" y="3901234"/>
              <a:ext cx="147603" cy="254426"/>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9" name="Freeform 157"/>
            <p:cNvSpPr>
              <a:spLocks/>
            </p:cNvSpPr>
            <p:nvPr/>
          </p:nvSpPr>
          <p:spPr bwMode="gray">
            <a:xfrm>
              <a:off x="5228749" y="4003006"/>
              <a:ext cx="94689" cy="72512"/>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0" name="Freeform 158"/>
            <p:cNvSpPr>
              <a:spLocks/>
            </p:cNvSpPr>
            <p:nvPr/>
          </p:nvSpPr>
          <p:spPr bwMode="gray">
            <a:xfrm>
              <a:off x="5221786" y="3849078"/>
              <a:ext cx="133678" cy="25824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1" name="Freeform 159"/>
            <p:cNvSpPr>
              <a:spLocks noEditPoints="1"/>
            </p:cNvSpPr>
            <p:nvPr/>
          </p:nvSpPr>
          <p:spPr bwMode="gray">
            <a:xfrm>
              <a:off x="5188366" y="4132762"/>
              <a:ext cx="343944" cy="103043"/>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2" name="Freeform 160"/>
            <p:cNvSpPr>
              <a:spLocks noEditPoints="1"/>
            </p:cNvSpPr>
            <p:nvPr/>
          </p:nvSpPr>
          <p:spPr bwMode="gray">
            <a:xfrm>
              <a:off x="5099247" y="4155661"/>
              <a:ext cx="832707" cy="265876"/>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3" name="Freeform 161"/>
            <p:cNvSpPr>
              <a:spLocks/>
            </p:cNvSpPr>
            <p:nvPr/>
          </p:nvSpPr>
          <p:spPr bwMode="gray">
            <a:xfrm>
              <a:off x="5625607" y="3455989"/>
              <a:ext cx="114184" cy="11830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4" name="Freeform 162"/>
            <p:cNvSpPr>
              <a:spLocks/>
            </p:cNvSpPr>
            <p:nvPr/>
          </p:nvSpPr>
          <p:spPr bwMode="gray">
            <a:xfrm>
              <a:off x="5659027" y="3552671"/>
              <a:ext cx="62663" cy="89049"/>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5" name="Freeform 163"/>
            <p:cNvSpPr>
              <a:spLocks/>
            </p:cNvSpPr>
            <p:nvPr/>
          </p:nvSpPr>
          <p:spPr bwMode="gray">
            <a:xfrm>
              <a:off x="5549019" y="3816002"/>
              <a:ext cx="33420" cy="58518"/>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164"/>
            <p:cNvSpPr>
              <a:spLocks/>
            </p:cNvSpPr>
            <p:nvPr/>
          </p:nvSpPr>
          <p:spPr bwMode="gray">
            <a:xfrm>
              <a:off x="5441799" y="4164565"/>
              <a:ext cx="20888" cy="16539"/>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65"/>
            <p:cNvSpPr>
              <a:spLocks noEditPoints="1"/>
            </p:cNvSpPr>
            <p:nvPr/>
          </p:nvSpPr>
          <p:spPr bwMode="gray">
            <a:xfrm>
              <a:off x="5720296" y="3398742"/>
              <a:ext cx="292423" cy="309129"/>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8" name="Freeform 166"/>
            <p:cNvSpPr>
              <a:spLocks noEditPoints="1"/>
            </p:cNvSpPr>
            <p:nvPr/>
          </p:nvSpPr>
          <p:spPr bwMode="gray">
            <a:xfrm>
              <a:off x="5497499" y="3934309"/>
              <a:ext cx="168491" cy="222624"/>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9" name="Freeform 167"/>
            <p:cNvSpPr>
              <a:spLocks noEditPoints="1"/>
            </p:cNvSpPr>
            <p:nvPr/>
          </p:nvSpPr>
          <p:spPr bwMode="gray">
            <a:xfrm>
              <a:off x="5423697" y="4430440"/>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0" name="Freeform 168"/>
            <p:cNvSpPr>
              <a:spLocks noEditPoints="1"/>
            </p:cNvSpPr>
            <p:nvPr/>
          </p:nvSpPr>
          <p:spPr bwMode="gray">
            <a:xfrm>
              <a:off x="5927777" y="4294323"/>
              <a:ext cx="208874" cy="133574"/>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1" name="Freeform 169"/>
            <p:cNvSpPr>
              <a:spLocks noEditPoints="1"/>
            </p:cNvSpPr>
            <p:nvPr/>
          </p:nvSpPr>
          <p:spPr bwMode="gray">
            <a:xfrm>
              <a:off x="6395652" y="4860421"/>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2" name="Freeform 170"/>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3" name="Freeform 6"/>
            <p:cNvSpPr>
              <a:spLocks/>
            </p:cNvSpPr>
            <p:nvPr/>
          </p:nvSpPr>
          <p:spPr bwMode="gray">
            <a:xfrm>
              <a:off x="6637945" y="2645642"/>
              <a:ext cx="182416" cy="184460"/>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4" name="Freeform 22"/>
            <p:cNvSpPr>
              <a:spLocks/>
            </p:cNvSpPr>
            <p:nvPr/>
          </p:nvSpPr>
          <p:spPr bwMode="gray">
            <a:xfrm>
              <a:off x="5339719" y="3907448"/>
              <a:ext cx="43156" cy="32881"/>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5" name="Freeform 13"/>
            <p:cNvSpPr>
              <a:spLocks/>
            </p:cNvSpPr>
            <p:nvPr/>
          </p:nvSpPr>
          <p:spPr bwMode="gray">
            <a:xfrm>
              <a:off x="4604913" y="3592104"/>
              <a:ext cx="533323" cy="523482"/>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6" name="Freeform 23"/>
            <p:cNvSpPr>
              <a:spLocks/>
            </p:cNvSpPr>
            <p:nvPr/>
          </p:nvSpPr>
          <p:spPr bwMode="gray">
            <a:xfrm>
              <a:off x="4707956" y="3192162"/>
              <a:ext cx="1106861" cy="712383"/>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210" name="Rectangle 209">
            <a:extLst>
              <a:ext uri="{FF2B5EF4-FFF2-40B4-BE49-F238E27FC236}">
                <a16:creationId xmlns:a16="http://schemas.microsoft.com/office/drawing/2014/main" id="{19976663-18BF-2F43-BD8B-71D43A575608}"/>
              </a:ext>
            </a:extLst>
          </p:cNvPr>
          <p:cNvSpPr/>
          <p:nvPr/>
        </p:nvSpPr>
        <p:spPr>
          <a:xfrm>
            <a:off x="1828800" y="2742215"/>
            <a:ext cx="2253822" cy="307777"/>
          </a:xfrm>
          <a:prstGeom prst="rect">
            <a:avLst/>
          </a:prstGeom>
        </p:spPr>
        <p:txBody>
          <a:bodyPr wrap="none" lIns="0" tIns="0" rIns="0" bIns="0">
            <a:spAutoFit/>
          </a:bodyPr>
          <a:lstStyle/>
          <a:p>
            <a:r>
              <a:rPr lang="en-US" sz="2000" b="1" cap="all">
                <a:solidFill>
                  <a:srgbClr val="FFFFFF"/>
                </a:solidFill>
                <a:latin typeface="Arial" panose="020B0604020202020204" pitchFamily="34" charset="0"/>
                <a:ea typeface="Roboto" panose="02000000000000000000" pitchFamily="2" charset="0"/>
                <a:cs typeface="Arial" panose="020B0604020202020204" pitchFamily="34" charset="0"/>
              </a:rPr>
              <a:t>Text Goes Here</a:t>
            </a:r>
          </a:p>
        </p:txBody>
      </p:sp>
      <p:sp>
        <p:nvSpPr>
          <p:cNvPr id="211" name="Rectangle 210">
            <a:extLst>
              <a:ext uri="{FF2B5EF4-FFF2-40B4-BE49-F238E27FC236}">
                <a16:creationId xmlns:a16="http://schemas.microsoft.com/office/drawing/2014/main" id="{E1B366C1-2BEE-0843-A828-BAFC8F7820A7}"/>
              </a:ext>
            </a:extLst>
          </p:cNvPr>
          <p:cNvSpPr/>
          <p:nvPr/>
        </p:nvSpPr>
        <p:spPr>
          <a:xfrm>
            <a:off x="1848577" y="3100826"/>
            <a:ext cx="2745547" cy="1206484"/>
          </a:xfrm>
          <a:prstGeom prst="rect">
            <a:avLst/>
          </a:prstGeom>
        </p:spPr>
        <p:txBody>
          <a:bodyPr wrap="square" lIns="0" tIns="0" rIns="0" bIns="0">
            <a:spAutoFit/>
          </a:bodyPr>
          <a:lstStyle/>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Dratat quat ad gui is molup tasioi</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natur acesto dolore noneta huild</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quasit. Sundah avel sequin foryip ais experipdo lorem ipsum.</a:t>
            </a:r>
          </a:p>
        </p:txBody>
      </p:sp>
      <p:sp>
        <p:nvSpPr>
          <p:cNvPr id="212" name="Rectangle 211">
            <a:extLst>
              <a:ext uri="{FF2B5EF4-FFF2-40B4-BE49-F238E27FC236}">
                <a16:creationId xmlns:a16="http://schemas.microsoft.com/office/drawing/2014/main" id="{113FE46C-48CE-B741-AD01-273C8AD6FDE4}"/>
              </a:ext>
            </a:extLst>
          </p:cNvPr>
          <p:cNvSpPr/>
          <p:nvPr/>
        </p:nvSpPr>
        <p:spPr>
          <a:xfrm>
            <a:off x="7381875" y="5112735"/>
            <a:ext cx="508152" cy="215444"/>
          </a:xfrm>
          <a:prstGeom prst="rect">
            <a:avLst/>
          </a:prstGeom>
        </p:spPr>
        <p:txBody>
          <a:bodyPr wrap="none" lIns="0" tIns="0" rIns="0" bIns="0">
            <a:spAutoFit/>
          </a:bodyPr>
          <a:lstStyle/>
          <a:p>
            <a:r>
              <a:rPr lang="en-US" sz="1400" b="1">
                <a:solidFill>
                  <a:schemeClr val="bg2"/>
                </a:solidFill>
                <a:latin typeface="Arial" panose="020B0604020202020204" pitchFamily="34" charset="0"/>
                <a:ea typeface="Roboto" panose="02000000000000000000" pitchFamily="2" charset="0"/>
                <a:cs typeface="Arial" panose="020B0604020202020204" pitchFamily="34" charset="0"/>
              </a:rPr>
              <a:t>Africa</a:t>
            </a:r>
          </a:p>
        </p:txBody>
      </p:sp>
      <p:sp>
        <p:nvSpPr>
          <p:cNvPr id="213" name="Rectangle 212">
            <a:extLst>
              <a:ext uri="{FF2B5EF4-FFF2-40B4-BE49-F238E27FC236}">
                <a16:creationId xmlns:a16="http://schemas.microsoft.com/office/drawing/2014/main" id="{79067EF4-DB2A-2641-91B6-2F2D59CB752C}"/>
              </a:ext>
            </a:extLst>
          </p:cNvPr>
          <p:cNvSpPr/>
          <p:nvPr/>
        </p:nvSpPr>
        <p:spPr>
          <a:xfrm>
            <a:off x="7378700" y="5405774"/>
            <a:ext cx="2745547" cy="553998"/>
          </a:xfrm>
          <a:prstGeom prst="rect">
            <a:avLst/>
          </a:prstGeom>
        </p:spPr>
        <p:txBody>
          <a:bodyPr wrap="square" lIns="0" tIns="0" rIns="0" bIns="0">
            <a:spAutoFit/>
          </a:bodyPr>
          <a:lstStyle/>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Dratat quat ad gui is molup tasioi natur acesto</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natur acesto dolore noneta huilda vel seq uodi.</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Sundah quasitavel sequin.</a:t>
            </a:r>
          </a:p>
        </p:txBody>
      </p:sp>
      <p:grpSp>
        <p:nvGrpSpPr>
          <p:cNvPr id="552" name="Group 551"/>
          <p:cNvGrpSpPr>
            <a:grpSpLocks noChangeAspect="1"/>
          </p:cNvGrpSpPr>
          <p:nvPr/>
        </p:nvGrpSpPr>
        <p:grpSpPr>
          <a:xfrm>
            <a:off x="5899680" y="1455896"/>
            <a:ext cx="3345635" cy="3384000"/>
            <a:chOff x="3805627" y="3569164"/>
            <a:chExt cx="1275313" cy="1289941"/>
          </a:xfrm>
        </p:grpSpPr>
        <p:sp>
          <p:nvSpPr>
            <p:cNvPr id="553" name="Freeform 43"/>
            <p:cNvSpPr>
              <a:spLocks/>
            </p:cNvSpPr>
            <p:nvPr/>
          </p:nvSpPr>
          <p:spPr bwMode="gray">
            <a:xfrm>
              <a:off x="3883606" y="3598423"/>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4" name="Freeform 45"/>
            <p:cNvSpPr>
              <a:spLocks/>
            </p:cNvSpPr>
            <p:nvPr/>
          </p:nvSpPr>
          <p:spPr bwMode="gray">
            <a:xfrm>
              <a:off x="3813982" y="3761256"/>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5" name="Freeform 51"/>
            <p:cNvSpPr>
              <a:spLocks/>
            </p:cNvSpPr>
            <p:nvPr/>
          </p:nvSpPr>
          <p:spPr bwMode="gray">
            <a:xfrm>
              <a:off x="3812589" y="3768888"/>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6" name="Freeform 53"/>
            <p:cNvSpPr>
              <a:spLocks/>
            </p:cNvSpPr>
            <p:nvPr/>
          </p:nvSpPr>
          <p:spPr bwMode="gray">
            <a:xfrm>
              <a:off x="3818159" y="4005505"/>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7" name="Freeform 54"/>
            <p:cNvSpPr>
              <a:spLocks/>
            </p:cNvSpPr>
            <p:nvPr/>
          </p:nvSpPr>
          <p:spPr bwMode="gray">
            <a:xfrm>
              <a:off x="3805627" y="3954621"/>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8" name="Freeform 58"/>
            <p:cNvSpPr>
              <a:spLocks/>
            </p:cNvSpPr>
            <p:nvPr/>
          </p:nvSpPr>
          <p:spPr bwMode="gray">
            <a:xfrm>
              <a:off x="3820944" y="4025860"/>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9" name="Freeform 61"/>
            <p:cNvSpPr>
              <a:spLocks/>
            </p:cNvSpPr>
            <p:nvPr/>
          </p:nvSpPr>
          <p:spPr bwMode="gray">
            <a:xfrm>
              <a:off x="3965764" y="3572980"/>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0" name="Freeform 67"/>
            <p:cNvSpPr>
              <a:spLocks/>
            </p:cNvSpPr>
            <p:nvPr/>
          </p:nvSpPr>
          <p:spPr bwMode="gray">
            <a:xfrm>
              <a:off x="3850187" y="4025860"/>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1" name="Freeform 68"/>
            <p:cNvSpPr>
              <a:spLocks/>
            </p:cNvSpPr>
            <p:nvPr/>
          </p:nvSpPr>
          <p:spPr bwMode="gray">
            <a:xfrm>
              <a:off x="3901709" y="3808324"/>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2" name="Freeform 71"/>
            <p:cNvSpPr>
              <a:spLocks/>
            </p:cNvSpPr>
            <p:nvPr/>
          </p:nvSpPr>
          <p:spPr bwMode="gray">
            <a:xfrm>
              <a:off x="3882215" y="4071655"/>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3" name="Freeform 72"/>
            <p:cNvSpPr>
              <a:spLocks/>
            </p:cNvSpPr>
            <p:nvPr/>
          </p:nvSpPr>
          <p:spPr bwMode="gray">
            <a:xfrm>
              <a:off x="4259578" y="3569164"/>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4" name="Freeform 77"/>
            <p:cNvSpPr>
              <a:spLocks/>
            </p:cNvSpPr>
            <p:nvPr/>
          </p:nvSpPr>
          <p:spPr bwMode="gray">
            <a:xfrm>
              <a:off x="3914241" y="4097098"/>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5" name="Freeform 79"/>
            <p:cNvSpPr>
              <a:spLocks/>
            </p:cNvSpPr>
            <p:nvPr/>
          </p:nvSpPr>
          <p:spPr bwMode="gray">
            <a:xfrm>
              <a:off x="4021463" y="3983879"/>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6" name="Freeform 82"/>
            <p:cNvSpPr>
              <a:spLocks/>
            </p:cNvSpPr>
            <p:nvPr/>
          </p:nvSpPr>
          <p:spPr bwMode="gray">
            <a:xfrm>
              <a:off x="3967155" y="4060207"/>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7" name="Freeform 86"/>
            <p:cNvSpPr>
              <a:spLocks/>
            </p:cNvSpPr>
            <p:nvPr/>
          </p:nvSpPr>
          <p:spPr bwMode="gray">
            <a:xfrm>
              <a:off x="4125899" y="3836311"/>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8" name="Freeform 88"/>
            <p:cNvSpPr>
              <a:spLocks/>
            </p:cNvSpPr>
            <p:nvPr/>
          </p:nvSpPr>
          <p:spPr bwMode="gray">
            <a:xfrm>
              <a:off x="4292997" y="3653125"/>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9" name="Freeform 89"/>
            <p:cNvSpPr>
              <a:spLocks/>
            </p:cNvSpPr>
            <p:nvPr/>
          </p:nvSpPr>
          <p:spPr bwMode="gray">
            <a:xfrm>
              <a:off x="4064628" y="4051301"/>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0" name="Freeform 90"/>
            <p:cNvSpPr>
              <a:spLocks/>
            </p:cNvSpPr>
            <p:nvPr/>
          </p:nvSpPr>
          <p:spPr bwMode="gray">
            <a:xfrm>
              <a:off x="4121722" y="4052573"/>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1" name="Freeform 91"/>
            <p:cNvSpPr>
              <a:spLocks/>
            </p:cNvSpPr>
            <p:nvPr/>
          </p:nvSpPr>
          <p:spPr bwMode="gray">
            <a:xfrm>
              <a:off x="4138432" y="4030949"/>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2" name="Freeform 93"/>
            <p:cNvSpPr>
              <a:spLocks/>
            </p:cNvSpPr>
            <p:nvPr/>
          </p:nvSpPr>
          <p:spPr bwMode="gray">
            <a:xfrm>
              <a:off x="4171851" y="4006778"/>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3" name="Freeform 95"/>
            <p:cNvSpPr>
              <a:spLocks/>
            </p:cNvSpPr>
            <p:nvPr/>
          </p:nvSpPr>
          <p:spPr bwMode="gray">
            <a:xfrm>
              <a:off x="4572888" y="3684928"/>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4" name="Freeform 96"/>
            <p:cNvSpPr>
              <a:spLocks/>
            </p:cNvSpPr>
            <p:nvPr/>
          </p:nvSpPr>
          <p:spPr bwMode="gray">
            <a:xfrm>
              <a:off x="4368192" y="3837584"/>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5" name="Freeform 97"/>
            <p:cNvSpPr>
              <a:spLocks/>
            </p:cNvSpPr>
            <p:nvPr/>
          </p:nvSpPr>
          <p:spPr bwMode="gray">
            <a:xfrm>
              <a:off x="4279073" y="4018226"/>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6" name="Freeform 102"/>
            <p:cNvSpPr>
              <a:spLocks/>
            </p:cNvSpPr>
            <p:nvPr/>
          </p:nvSpPr>
          <p:spPr bwMode="gray">
            <a:xfrm>
              <a:off x="4283249" y="4200140"/>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7" name="Freeform 104"/>
            <p:cNvSpPr>
              <a:spLocks/>
            </p:cNvSpPr>
            <p:nvPr/>
          </p:nvSpPr>
          <p:spPr bwMode="gray">
            <a:xfrm>
              <a:off x="4384901" y="4053846"/>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8" name="Freeform 108"/>
            <p:cNvSpPr>
              <a:spLocks/>
            </p:cNvSpPr>
            <p:nvPr/>
          </p:nvSpPr>
          <p:spPr bwMode="gray">
            <a:xfrm>
              <a:off x="4326417" y="4178516"/>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9" name="Freeform 112"/>
            <p:cNvSpPr>
              <a:spLocks/>
            </p:cNvSpPr>
            <p:nvPr/>
          </p:nvSpPr>
          <p:spPr bwMode="gray">
            <a:xfrm>
              <a:off x="4518582" y="3864298"/>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0" name="Freeform 114"/>
            <p:cNvSpPr>
              <a:spLocks/>
            </p:cNvSpPr>
            <p:nvPr/>
          </p:nvSpPr>
          <p:spPr bwMode="gray">
            <a:xfrm>
              <a:off x="4344520" y="4149255"/>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1" name="Freeform 117"/>
            <p:cNvSpPr>
              <a:spLocks/>
            </p:cNvSpPr>
            <p:nvPr/>
          </p:nvSpPr>
          <p:spPr bwMode="gray">
            <a:xfrm>
              <a:off x="4785938" y="3932993"/>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2" name="Freeform 119"/>
            <p:cNvSpPr>
              <a:spLocks noEditPoints="1"/>
            </p:cNvSpPr>
            <p:nvPr/>
          </p:nvSpPr>
          <p:spPr bwMode="gray">
            <a:xfrm>
              <a:off x="4337557" y="4313362"/>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3" name="Freeform 121"/>
            <p:cNvSpPr>
              <a:spLocks/>
            </p:cNvSpPr>
            <p:nvPr/>
          </p:nvSpPr>
          <p:spPr bwMode="gray">
            <a:xfrm>
              <a:off x="4723277" y="3988966"/>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4" name="Freeform 122"/>
            <p:cNvSpPr>
              <a:spLocks/>
            </p:cNvSpPr>
            <p:nvPr/>
          </p:nvSpPr>
          <p:spPr bwMode="gray">
            <a:xfrm>
              <a:off x="4660614" y="4170881"/>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5" name="Freeform 123"/>
            <p:cNvSpPr>
              <a:spLocks/>
            </p:cNvSpPr>
            <p:nvPr/>
          </p:nvSpPr>
          <p:spPr bwMode="gray">
            <a:xfrm>
              <a:off x="4646689" y="4257386"/>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6" name="Freeform 124"/>
            <p:cNvSpPr>
              <a:spLocks/>
            </p:cNvSpPr>
            <p:nvPr/>
          </p:nvSpPr>
          <p:spPr bwMode="gray">
            <a:xfrm>
              <a:off x="4648082" y="4279014"/>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7" name="Freeform 127"/>
            <p:cNvSpPr>
              <a:spLocks/>
            </p:cNvSpPr>
            <p:nvPr/>
          </p:nvSpPr>
          <p:spPr bwMode="gray">
            <a:xfrm>
              <a:off x="4883412" y="4024586"/>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8" name="Freeform 129"/>
            <p:cNvSpPr>
              <a:spLocks/>
            </p:cNvSpPr>
            <p:nvPr/>
          </p:nvSpPr>
          <p:spPr bwMode="gray">
            <a:xfrm>
              <a:off x="4728847" y="4161976"/>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9" name="Freeform 130"/>
            <p:cNvSpPr>
              <a:spLocks/>
            </p:cNvSpPr>
            <p:nvPr/>
          </p:nvSpPr>
          <p:spPr bwMode="gray">
            <a:xfrm>
              <a:off x="4522758" y="4375696"/>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0" name="Freeform 131"/>
            <p:cNvSpPr>
              <a:spLocks/>
            </p:cNvSpPr>
            <p:nvPr/>
          </p:nvSpPr>
          <p:spPr bwMode="gray">
            <a:xfrm>
              <a:off x="4337557" y="4524534"/>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1" name="Freeform 132"/>
            <p:cNvSpPr>
              <a:spLocks/>
            </p:cNvSpPr>
            <p:nvPr/>
          </p:nvSpPr>
          <p:spPr bwMode="gray">
            <a:xfrm>
              <a:off x="4656437" y="4256115"/>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2" name="Freeform 135"/>
            <p:cNvSpPr>
              <a:spLocks/>
            </p:cNvSpPr>
            <p:nvPr/>
          </p:nvSpPr>
          <p:spPr bwMode="gray">
            <a:xfrm>
              <a:off x="4869487" y="4037307"/>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3" name="Freeform 138"/>
            <p:cNvSpPr>
              <a:spLocks/>
            </p:cNvSpPr>
            <p:nvPr/>
          </p:nvSpPr>
          <p:spPr bwMode="gray">
            <a:xfrm>
              <a:off x="4483769" y="4538527"/>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4" name="Freeform 139"/>
            <p:cNvSpPr>
              <a:spLocks/>
            </p:cNvSpPr>
            <p:nvPr/>
          </p:nvSpPr>
          <p:spPr bwMode="gray">
            <a:xfrm>
              <a:off x="4582635" y="4501636"/>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5" name="Freeform 141"/>
            <p:cNvSpPr>
              <a:spLocks/>
            </p:cNvSpPr>
            <p:nvPr/>
          </p:nvSpPr>
          <p:spPr bwMode="gray">
            <a:xfrm>
              <a:off x="4719099" y="4398594"/>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6" name="Freeform 142"/>
            <p:cNvSpPr>
              <a:spLocks noEditPoints="1"/>
            </p:cNvSpPr>
            <p:nvPr/>
          </p:nvSpPr>
          <p:spPr bwMode="gray">
            <a:xfrm>
              <a:off x="4384901" y="4616128"/>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7" name="Freeform 143"/>
            <p:cNvSpPr>
              <a:spLocks/>
            </p:cNvSpPr>
            <p:nvPr/>
          </p:nvSpPr>
          <p:spPr bwMode="gray">
            <a:xfrm>
              <a:off x="4674540" y="4412587"/>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8" name="Freeform 144"/>
            <p:cNvSpPr>
              <a:spLocks/>
            </p:cNvSpPr>
            <p:nvPr/>
          </p:nvSpPr>
          <p:spPr bwMode="gray">
            <a:xfrm>
              <a:off x="4616056" y="4736979"/>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9" name="Freeform 145"/>
            <p:cNvSpPr>
              <a:spLocks/>
            </p:cNvSpPr>
            <p:nvPr/>
          </p:nvSpPr>
          <p:spPr bwMode="gray">
            <a:xfrm>
              <a:off x="4682895" y="4682279"/>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0" name="Freeform 149"/>
            <p:cNvSpPr>
              <a:spLocks/>
            </p:cNvSpPr>
            <p:nvPr/>
          </p:nvSpPr>
          <p:spPr bwMode="gray">
            <a:xfrm>
              <a:off x="4950047" y="4375695"/>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cxnSp>
        <p:nvCxnSpPr>
          <p:cNvPr id="10" name="Straight Connector 9"/>
          <p:cNvCxnSpPr/>
          <p:nvPr/>
        </p:nvCxnSpPr>
        <p:spPr>
          <a:xfrm>
            <a:off x="6974120" y="2823789"/>
            <a:ext cx="0" cy="3121877"/>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6929120" y="2804415"/>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60449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41675950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1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Rectangle 1"/>
          <p:cNvSpPr/>
          <p:nvPr/>
        </p:nvSpPr>
        <p:spPr>
          <a:xfrm>
            <a:off x="1524000" y="1544320"/>
            <a:ext cx="9144000" cy="28956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
        <p:nvSpPr>
          <p:cNvPr id="8" name="Text Placeholder 7"/>
          <p:cNvSpPr>
            <a:spLocks noGrp="1"/>
          </p:cNvSpPr>
          <p:nvPr>
            <p:ph type="body" sz="quarter" idx="11"/>
          </p:nvPr>
        </p:nvSpPr>
        <p:spPr/>
        <p:txBody>
          <a:bodyPr/>
          <a:lstStyle/>
          <a:p>
            <a:endParaRPr lang="en-US"/>
          </a:p>
        </p:txBody>
      </p:sp>
      <p:sp>
        <p:nvSpPr>
          <p:cNvPr id="7" name="Title 6"/>
          <p:cNvSpPr>
            <a:spLocks noGrp="1"/>
          </p:cNvSpPr>
          <p:nvPr>
            <p:ph type="title"/>
          </p:nvPr>
        </p:nvSpPr>
        <p:spPr/>
        <p:txBody>
          <a:bodyPr/>
          <a:lstStyle/>
          <a:p>
            <a:endParaRPr lang="en-US"/>
          </a:p>
        </p:txBody>
      </p:sp>
      <p:grpSp>
        <p:nvGrpSpPr>
          <p:cNvPr id="17" name="Group 16"/>
          <p:cNvGrpSpPr>
            <a:grpSpLocks noChangeAspect="1"/>
          </p:cNvGrpSpPr>
          <p:nvPr/>
        </p:nvGrpSpPr>
        <p:grpSpPr bwMode="gray">
          <a:xfrm>
            <a:off x="1836669" y="1710693"/>
            <a:ext cx="3388598" cy="1980000"/>
            <a:chOff x="236680" y="1501996"/>
            <a:chExt cx="6583681" cy="3846923"/>
          </a:xfrm>
          <a:solidFill>
            <a:schemeClr val="tx1">
              <a:lumMod val="60000"/>
              <a:lumOff val="40000"/>
            </a:schemeClr>
          </a:solidFill>
        </p:grpSpPr>
        <p:sp>
          <p:nvSpPr>
            <p:cNvPr id="41" name="Freeform 7"/>
            <p:cNvSpPr>
              <a:spLocks noEditPoints="1"/>
            </p:cNvSpPr>
            <p:nvPr/>
          </p:nvSpPr>
          <p:spPr bwMode="gray">
            <a:xfrm>
              <a:off x="800638" y="1560515"/>
              <a:ext cx="1606930" cy="1923462"/>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2" name="Freeform 8"/>
            <p:cNvSpPr>
              <a:spLocks noEditPoints="1"/>
            </p:cNvSpPr>
            <p:nvPr/>
          </p:nvSpPr>
          <p:spPr bwMode="gray">
            <a:xfrm>
              <a:off x="2046913" y="1501996"/>
              <a:ext cx="1091710" cy="1499842"/>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3" name="Freeform 9"/>
            <p:cNvSpPr>
              <a:spLocks noEditPoints="1"/>
            </p:cNvSpPr>
            <p:nvPr/>
          </p:nvSpPr>
          <p:spPr bwMode="gray">
            <a:xfrm>
              <a:off x="236680" y="2527333"/>
              <a:ext cx="1911885" cy="1400617"/>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4" name="Freeform 10"/>
            <p:cNvSpPr>
              <a:spLocks/>
            </p:cNvSpPr>
            <p:nvPr/>
          </p:nvSpPr>
          <p:spPr bwMode="gray">
            <a:xfrm>
              <a:off x="1235095" y="3673524"/>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5" name="Freeform 11"/>
            <p:cNvSpPr>
              <a:spLocks/>
            </p:cNvSpPr>
            <p:nvPr/>
          </p:nvSpPr>
          <p:spPr bwMode="gray">
            <a:xfrm>
              <a:off x="1825508" y="3852894"/>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6" name="Freeform 12"/>
            <p:cNvSpPr>
              <a:spLocks/>
            </p:cNvSpPr>
            <p:nvPr/>
          </p:nvSpPr>
          <p:spPr bwMode="gray">
            <a:xfrm>
              <a:off x="1743352" y="393558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7" name="Freeform 13"/>
            <p:cNvSpPr>
              <a:spLocks/>
            </p:cNvSpPr>
            <p:nvPr/>
          </p:nvSpPr>
          <p:spPr bwMode="gray">
            <a:xfrm>
              <a:off x="1687653" y="394703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8" name="Freeform 14"/>
            <p:cNvSpPr>
              <a:spLocks/>
            </p:cNvSpPr>
            <p:nvPr/>
          </p:nvSpPr>
          <p:spPr bwMode="gray">
            <a:xfrm>
              <a:off x="2926967" y="2753773"/>
              <a:ext cx="193556" cy="123397"/>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9" name="Freeform 15"/>
            <p:cNvSpPr>
              <a:spLocks/>
            </p:cNvSpPr>
            <p:nvPr/>
          </p:nvSpPr>
          <p:spPr bwMode="gray">
            <a:xfrm>
              <a:off x="1726643" y="4005550"/>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16"/>
            <p:cNvSpPr>
              <a:spLocks/>
            </p:cNvSpPr>
            <p:nvPr/>
          </p:nvSpPr>
          <p:spPr bwMode="gray">
            <a:xfrm>
              <a:off x="1740567" y="397883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17"/>
            <p:cNvSpPr>
              <a:spLocks/>
            </p:cNvSpPr>
            <p:nvPr/>
          </p:nvSpPr>
          <p:spPr bwMode="gray">
            <a:xfrm>
              <a:off x="1941085" y="3935582"/>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18"/>
            <p:cNvSpPr>
              <a:spLocks/>
            </p:cNvSpPr>
            <p:nvPr/>
          </p:nvSpPr>
          <p:spPr bwMode="gray">
            <a:xfrm>
              <a:off x="1771202" y="399664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3" name="Freeform 19"/>
            <p:cNvSpPr>
              <a:spLocks/>
            </p:cNvSpPr>
            <p:nvPr/>
          </p:nvSpPr>
          <p:spPr bwMode="gray">
            <a:xfrm>
              <a:off x="2012103" y="391014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20"/>
            <p:cNvSpPr>
              <a:spLocks/>
            </p:cNvSpPr>
            <p:nvPr/>
          </p:nvSpPr>
          <p:spPr bwMode="gray">
            <a:xfrm>
              <a:off x="2058053" y="3910140"/>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21"/>
            <p:cNvSpPr>
              <a:spLocks/>
            </p:cNvSpPr>
            <p:nvPr/>
          </p:nvSpPr>
          <p:spPr bwMode="gray">
            <a:xfrm>
              <a:off x="1804622" y="4061523"/>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22"/>
            <p:cNvSpPr>
              <a:spLocks/>
            </p:cNvSpPr>
            <p:nvPr/>
          </p:nvSpPr>
          <p:spPr bwMode="gray">
            <a:xfrm>
              <a:off x="2144389" y="393431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23"/>
            <p:cNvSpPr>
              <a:spLocks/>
            </p:cNvSpPr>
            <p:nvPr/>
          </p:nvSpPr>
          <p:spPr bwMode="gray">
            <a:xfrm>
              <a:off x="1857536" y="4086966"/>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24"/>
            <p:cNvSpPr>
              <a:spLocks/>
            </p:cNvSpPr>
            <p:nvPr/>
          </p:nvSpPr>
          <p:spPr bwMode="gray">
            <a:xfrm>
              <a:off x="2237685" y="4066612"/>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Freeform 25"/>
            <p:cNvSpPr>
              <a:spLocks/>
            </p:cNvSpPr>
            <p:nvPr/>
          </p:nvSpPr>
          <p:spPr bwMode="gray">
            <a:xfrm>
              <a:off x="2032989" y="4043714"/>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26"/>
            <p:cNvSpPr>
              <a:spLocks/>
            </p:cNvSpPr>
            <p:nvPr/>
          </p:nvSpPr>
          <p:spPr bwMode="gray">
            <a:xfrm>
              <a:off x="1893741" y="422562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7"/>
            <p:cNvSpPr>
              <a:spLocks/>
            </p:cNvSpPr>
            <p:nvPr/>
          </p:nvSpPr>
          <p:spPr bwMode="gray">
            <a:xfrm>
              <a:off x="1928554" y="4039897"/>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Freeform 28"/>
            <p:cNvSpPr>
              <a:spLocks/>
            </p:cNvSpPr>
            <p:nvPr/>
          </p:nvSpPr>
          <p:spPr bwMode="gray">
            <a:xfrm>
              <a:off x="3176222" y="3141772"/>
              <a:ext cx="80764" cy="105587"/>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3" name="Freeform 29"/>
            <p:cNvSpPr>
              <a:spLocks/>
            </p:cNvSpPr>
            <p:nvPr/>
          </p:nvSpPr>
          <p:spPr bwMode="gray">
            <a:xfrm>
              <a:off x="2251610" y="410732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4" name="Freeform 30"/>
            <p:cNvSpPr>
              <a:spLocks noEditPoints="1"/>
            </p:cNvSpPr>
            <p:nvPr/>
          </p:nvSpPr>
          <p:spPr bwMode="gray">
            <a:xfrm>
              <a:off x="3219388" y="3040002"/>
              <a:ext cx="178238" cy="246794"/>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5" name="Freeform 31"/>
            <p:cNvSpPr>
              <a:spLocks/>
            </p:cNvSpPr>
            <p:nvPr/>
          </p:nvSpPr>
          <p:spPr bwMode="gray">
            <a:xfrm>
              <a:off x="2311487" y="414802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Freeform 32"/>
            <p:cNvSpPr>
              <a:spLocks/>
            </p:cNvSpPr>
            <p:nvPr/>
          </p:nvSpPr>
          <p:spPr bwMode="gray">
            <a:xfrm>
              <a:off x="2376934" y="415311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7" name="Freeform 33"/>
            <p:cNvSpPr>
              <a:spLocks noEditPoints="1"/>
            </p:cNvSpPr>
            <p:nvPr/>
          </p:nvSpPr>
          <p:spPr bwMode="gray">
            <a:xfrm>
              <a:off x="3457504" y="1863281"/>
              <a:ext cx="473445" cy="1195803"/>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Freeform 34"/>
            <p:cNvSpPr>
              <a:spLocks/>
            </p:cNvSpPr>
            <p:nvPr/>
          </p:nvSpPr>
          <p:spPr bwMode="gray">
            <a:xfrm>
              <a:off x="1885386" y="4249798"/>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9" name="Freeform 35"/>
            <p:cNvSpPr>
              <a:spLocks/>
            </p:cNvSpPr>
            <p:nvPr/>
          </p:nvSpPr>
          <p:spPr bwMode="gray">
            <a:xfrm>
              <a:off x="3192932" y="3475070"/>
              <a:ext cx="62663" cy="110676"/>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Freeform 36"/>
            <p:cNvSpPr>
              <a:spLocks/>
            </p:cNvSpPr>
            <p:nvPr/>
          </p:nvSpPr>
          <p:spPr bwMode="gray">
            <a:xfrm>
              <a:off x="3431047" y="3195202"/>
              <a:ext cx="66839" cy="71239"/>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Freeform 37"/>
            <p:cNvSpPr>
              <a:spLocks/>
            </p:cNvSpPr>
            <p:nvPr/>
          </p:nvSpPr>
          <p:spPr bwMode="gray">
            <a:xfrm>
              <a:off x="3412944" y="3246086"/>
              <a:ext cx="68233" cy="5215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Freeform 38"/>
            <p:cNvSpPr>
              <a:spLocks noEditPoints="1"/>
            </p:cNvSpPr>
            <p:nvPr/>
          </p:nvSpPr>
          <p:spPr bwMode="gray">
            <a:xfrm>
              <a:off x="3279266" y="3256264"/>
              <a:ext cx="260395" cy="235345"/>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3" name="Freeform 39"/>
            <p:cNvSpPr>
              <a:spLocks/>
            </p:cNvSpPr>
            <p:nvPr/>
          </p:nvSpPr>
          <p:spPr bwMode="gray">
            <a:xfrm>
              <a:off x="3198502" y="3438179"/>
              <a:ext cx="225583" cy="167921"/>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40"/>
            <p:cNvSpPr>
              <a:spLocks noEditPoints="1"/>
            </p:cNvSpPr>
            <p:nvPr/>
          </p:nvSpPr>
          <p:spPr bwMode="gray">
            <a:xfrm>
              <a:off x="3513202" y="3065444"/>
              <a:ext cx="80764" cy="86505"/>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5" name="Freeform 41"/>
            <p:cNvSpPr>
              <a:spLocks/>
            </p:cNvSpPr>
            <p:nvPr/>
          </p:nvSpPr>
          <p:spPr bwMode="gray">
            <a:xfrm>
              <a:off x="3471428" y="3281707"/>
              <a:ext cx="13925" cy="17810"/>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Freeform 42"/>
            <p:cNvSpPr>
              <a:spLocks/>
            </p:cNvSpPr>
            <p:nvPr/>
          </p:nvSpPr>
          <p:spPr bwMode="gray">
            <a:xfrm>
              <a:off x="3567510" y="2643096"/>
              <a:ext cx="235331" cy="496132"/>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Freeform 43"/>
            <p:cNvSpPr>
              <a:spLocks/>
            </p:cNvSpPr>
            <p:nvPr/>
          </p:nvSpPr>
          <p:spPr bwMode="gray">
            <a:xfrm>
              <a:off x="3127484" y="3608644"/>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44"/>
            <p:cNvSpPr>
              <a:spLocks noEditPoints="1"/>
            </p:cNvSpPr>
            <p:nvPr/>
          </p:nvSpPr>
          <p:spPr bwMode="gray">
            <a:xfrm>
              <a:off x="3474213" y="3150676"/>
              <a:ext cx="165706" cy="202269"/>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45"/>
            <p:cNvSpPr>
              <a:spLocks/>
            </p:cNvSpPr>
            <p:nvPr/>
          </p:nvSpPr>
          <p:spPr bwMode="gray">
            <a:xfrm>
              <a:off x="3057860" y="3771477"/>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0" name="Freeform 46"/>
            <p:cNvSpPr>
              <a:spLocks/>
            </p:cNvSpPr>
            <p:nvPr/>
          </p:nvSpPr>
          <p:spPr bwMode="gray">
            <a:xfrm>
              <a:off x="3474213" y="3341497"/>
              <a:ext cx="82157" cy="45796"/>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1" name="Freeform 47"/>
            <p:cNvSpPr>
              <a:spLocks/>
            </p:cNvSpPr>
            <p:nvPr/>
          </p:nvSpPr>
          <p:spPr bwMode="gray">
            <a:xfrm>
              <a:off x="2101222" y="441263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Freeform 48"/>
            <p:cNvSpPr>
              <a:spLocks/>
            </p:cNvSpPr>
            <p:nvPr/>
          </p:nvSpPr>
          <p:spPr bwMode="gray">
            <a:xfrm>
              <a:off x="3745747" y="2599843"/>
              <a:ext cx="192163" cy="399449"/>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3" name="Freeform 49"/>
            <p:cNvSpPr>
              <a:spLocks/>
            </p:cNvSpPr>
            <p:nvPr/>
          </p:nvSpPr>
          <p:spPr bwMode="gray">
            <a:xfrm>
              <a:off x="3538269" y="3312237"/>
              <a:ext cx="143427" cy="63607"/>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Freeform 50"/>
            <p:cNvSpPr>
              <a:spLocks/>
            </p:cNvSpPr>
            <p:nvPr/>
          </p:nvSpPr>
          <p:spPr bwMode="gray">
            <a:xfrm>
              <a:off x="3589790" y="3257537"/>
              <a:ext cx="119754" cy="64879"/>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51"/>
            <p:cNvSpPr>
              <a:spLocks/>
            </p:cNvSpPr>
            <p:nvPr/>
          </p:nvSpPr>
          <p:spPr bwMode="gray">
            <a:xfrm>
              <a:off x="3056467" y="3779109"/>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Freeform 52"/>
            <p:cNvSpPr>
              <a:spLocks noEditPoints="1"/>
            </p:cNvSpPr>
            <p:nvPr/>
          </p:nvSpPr>
          <p:spPr bwMode="gray">
            <a:xfrm>
              <a:off x="3623209" y="3157038"/>
              <a:ext cx="182416" cy="152656"/>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7" name="Freeform 53"/>
            <p:cNvSpPr>
              <a:spLocks/>
            </p:cNvSpPr>
            <p:nvPr/>
          </p:nvSpPr>
          <p:spPr bwMode="gray">
            <a:xfrm>
              <a:off x="3062037" y="4015726"/>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Freeform 54"/>
            <p:cNvSpPr>
              <a:spLocks/>
            </p:cNvSpPr>
            <p:nvPr/>
          </p:nvSpPr>
          <p:spPr bwMode="gray">
            <a:xfrm>
              <a:off x="3049505" y="3964842"/>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9" name="Freeform 55"/>
            <p:cNvSpPr>
              <a:spLocks/>
            </p:cNvSpPr>
            <p:nvPr/>
          </p:nvSpPr>
          <p:spPr bwMode="gray">
            <a:xfrm>
              <a:off x="3747141" y="3056540"/>
              <a:ext cx="132287" cy="72512"/>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Freeform 56"/>
            <p:cNvSpPr>
              <a:spLocks/>
            </p:cNvSpPr>
            <p:nvPr/>
          </p:nvSpPr>
          <p:spPr bwMode="gray">
            <a:xfrm>
              <a:off x="3791701" y="3010742"/>
              <a:ext cx="87727" cy="62335"/>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1" name="Freeform 57"/>
            <p:cNvSpPr>
              <a:spLocks/>
            </p:cNvSpPr>
            <p:nvPr/>
          </p:nvSpPr>
          <p:spPr bwMode="gray">
            <a:xfrm>
              <a:off x="3609285" y="3363123"/>
              <a:ext cx="58484" cy="3562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Freeform 58"/>
            <p:cNvSpPr>
              <a:spLocks/>
            </p:cNvSpPr>
            <p:nvPr/>
          </p:nvSpPr>
          <p:spPr bwMode="gray">
            <a:xfrm>
              <a:off x="3064822" y="4036081"/>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3" name="Freeform 59"/>
            <p:cNvSpPr>
              <a:spLocks noEditPoints="1"/>
            </p:cNvSpPr>
            <p:nvPr/>
          </p:nvSpPr>
          <p:spPr bwMode="gray">
            <a:xfrm>
              <a:off x="3485353" y="3358035"/>
              <a:ext cx="218621" cy="232800"/>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4" name="Freeform 60"/>
            <p:cNvSpPr>
              <a:spLocks/>
            </p:cNvSpPr>
            <p:nvPr/>
          </p:nvSpPr>
          <p:spPr bwMode="gray">
            <a:xfrm>
              <a:off x="3747141" y="3107424"/>
              <a:ext cx="107222" cy="73784"/>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Freeform 61"/>
            <p:cNvSpPr>
              <a:spLocks/>
            </p:cNvSpPr>
            <p:nvPr/>
          </p:nvSpPr>
          <p:spPr bwMode="gray">
            <a:xfrm>
              <a:off x="3209642" y="3583201"/>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Freeform 62"/>
            <p:cNvSpPr>
              <a:spLocks/>
            </p:cNvSpPr>
            <p:nvPr/>
          </p:nvSpPr>
          <p:spPr bwMode="gray">
            <a:xfrm>
              <a:off x="3674732" y="3294428"/>
              <a:ext cx="103044" cy="44525"/>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7" name="Freeform 63"/>
            <p:cNvSpPr>
              <a:spLocks/>
            </p:cNvSpPr>
            <p:nvPr/>
          </p:nvSpPr>
          <p:spPr bwMode="gray">
            <a:xfrm>
              <a:off x="2227938" y="457546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Freeform 64"/>
            <p:cNvSpPr>
              <a:spLocks/>
            </p:cNvSpPr>
            <p:nvPr/>
          </p:nvSpPr>
          <p:spPr bwMode="gray">
            <a:xfrm>
              <a:off x="3662199" y="3321143"/>
              <a:ext cx="123932" cy="69967"/>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9" name="Freeform 65"/>
            <p:cNvSpPr>
              <a:spLocks noEditPoints="1"/>
            </p:cNvSpPr>
            <p:nvPr/>
          </p:nvSpPr>
          <p:spPr bwMode="gray">
            <a:xfrm>
              <a:off x="3613463" y="3372028"/>
              <a:ext cx="107222" cy="97955"/>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0" name="Freeform 66"/>
            <p:cNvSpPr>
              <a:spLocks noEditPoints="1"/>
            </p:cNvSpPr>
            <p:nvPr/>
          </p:nvSpPr>
          <p:spPr bwMode="gray">
            <a:xfrm>
              <a:off x="2021849" y="416202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Freeform 67"/>
            <p:cNvSpPr>
              <a:spLocks/>
            </p:cNvSpPr>
            <p:nvPr/>
          </p:nvSpPr>
          <p:spPr bwMode="gray">
            <a:xfrm>
              <a:off x="3094065" y="4036081"/>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Freeform 68"/>
            <p:cNvSpPr>
              <a:spLocks/>
            </p:cNvSpPr>
            <p:nvPr/>
          </p:nvSpPr>
          <p:spPr bwMode="gray">
            <a:xfrm>
              <a:off x="3145587" y="3818545"/>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3" name="Freeform 69"/>
            <p:cNvSpPr>
              <a:spLocks/>
            </p:cNvSpPr>
            <p:nvPr/>
          </p:nvSpPr>
          <p:spPr bwMode="gray">
            <a:xfrm>
              <a:off x="3653844" y="3402559"/>
              <a:ext cx="69624" cy="62335"/>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Freeform 70"/>
            <p:cNvSpPr>
              <a:spLocks/>
            </p:cNvSpPr>
            <p:nvPr/>
          </p:nvSpPr>
          <p:spPr bwMode="gray">
            <a:xfrm>
              <a:off x="3788916" y="3115057"/>
              <a:ext cx="172668" cy="13739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Freeform 71"/>
            <p:cNvSpPr>
              <a:spLocks/>
            </p:cNvSpPr>
            <p:nvPr/>
          </p:nvSpPr>
          <p:spPr bwMode="gray">
            <a:xfrm>
              <a:off x="3126093" y="4081876"/>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Freeform 72"/>
            <p:cNvSpPr>
              <a:spLocks/>
            </p:cNvSpPr>
            <p:nvPr/>
          </p:nvSpPr>
          <p:spPr bwMode="gray">
            <a:xfrm>
              <a:off x="3503456" y="3579385"/>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7" name="Freeform 73"/>
            <p:cNvSpPr>
              <a:spLocks/>
            </p:cNvSpPr>
            <p:nvPr/>
          </p:nvSpPr>
          <p:spPr bwMode="gray">
            <a:xfrm>
              <a:off x="3702582" y="3443268"/>
              <a:ext cx="34813" cy="38164"/>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Freeform 74"/>
            <p:cNvSpPr>
              <a:spLocks/>
            </p:cNvSpPr>
            <p:nvPr/>
          </p:nvSpPr>
          <p:spPr bwMode="gray">
            <a:xfrm>
              <a:off x="3736002" y="3328776"/>
              <a:ext cx="171276" cy="109403"/>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9" name="Freeform 75"/>
            <p:cNvSpPr>
              <a:spLocks/>
            </p:cNvSpPr>
            <p:nvPr/>
          </p:nvSpPr>
          <p:spPr bwMode="gray">
            <a:xfrm>
              <a:off x="3709543" y="3380933"/>
              <a:ext cx="73803" cy="99226"/>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Freeform 76"/>
            <p:cNvSpPr>
              <a:spLocks/>
            </p:cNvSpPr>
            <p:nvPr/>
          </p:nvSpPr>
          <p:spPr bwMode="gray">
            <a:xfrm>
              <a:off x="3768029" y="3221916"/>
              <a:ext cx="328627" cy="198452"/>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77"/>
            <p:cNvSpPr>
              <a:spLocks/>
            </p:cNvSpPr>
            <p:nvPr/>
          </p:nvSpPr>
          <p:spPr bwMode="gray">
            <a:xfrm>
              <a:off x="3158119" y="4107319"/>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2" name="Freeform 78"/>
            <p:cNvSpPr>
              <a:spLocks noEditPoints="1"/>
            </p:cNvSpPr>
            <p:nvPr/>
          </p:nvSpPr>
          <p:spPr bwMode="gray">
            <a:xfrm>
              <a:off x="3727647" y="2134244"/>
              <a:ext cx="2910298" cy="1361179"/>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3" name="Freeform 79"/>
            <p:cNvSpPr>
              <a:spLocks/>
            </p:cNvSpPr>
            <p:nvPr/>
          </p:nvSpPr>
          <p:spPr bwMode="gray">
            <a:xfrm>
              <a:off x="3265341" y="3994100"/>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4" name="Freeform 80"/>
            <p:cNvSpPr>
              <a:spLocks/>
            </p:cNvSpPr>
            <p:nvPr/>
          </p:nvSpPr>
          <p:spPr bwMode="gray">
            <a:xfrm>
              <a:off x="3717897" y="3464893"/>
              <a:ext cx="32028" cy="66151"/>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5" name="Freeform 81"/>
            <p:cNvSpPr>
              <a:spLocks/>
            </p:cNvSpPr>
            <p:nvPr/>
          </p:nvSpPr>
          <p:spPr bwMode="gray">
            <a:xfrm>
              <a:off x="3740177" y="3469981"/>
              <a:ext cx="44559" cy="3562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6" name="Freeform 82"/>
            <p:cNvSpPr>
              <a:spLocks/>
            </p:cNvSpPr>
            <p:nvPr/>
          </p:nvSpPr>
          <p:spPr bwMode="gray">
            <a:xfrm>
              <a:off x="3211033" y="4070428"/>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7" name="Freeform 83"/>
            <p:cNvSpPr>
              <a:spLocks/>
            </p:cNvSpPr>
            <p:nvPr/>
          </p:nvSpPr>
          <p:spPr bwMode="gray">
            <a:xfrm>
              <a:off x="3772206" y="3425458"/>
              <a:ext cx="112792" cy="71239"/>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8" name="Freeform 84"/>
            <p:cNvSpPr>
              <a:spLocks/>
            </p:cNvSpPr>
            <p:nvPr/>
          </p:nvSpPr>
          <p:spPr bwMode="gray">
            <a:xfrm>
              <a:off x="3851578" y="3324959"/>
              <a:ext cx="62663" cy="72512"/>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Freeform 85"/>
            <p:cNvSpPr>
              <a:spLocks/>
            </p:cNvSpPr>
            <p:nvPr/>
          </p:nvSpPr>
          <p:spPr bwMode="gray">
            <a:xfrm>
              <a:off x="2304525" y="477646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86"/>
            <p:cNvSpPr>
              <a:spLocks/>
            </p:cNvSpPr>
            <p:nvPr/>
          </p:nvSpPr>
          <p:spPr bwMode="gray">
            <a:xfrm>
              <a:off x="3369777" y="3846532"/>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1" name="Freeform 87"/>
            <p:cNvSpPr>
              <a:spLocks noEditPoints="1"/>
            </p:cNvSpPr>
            <p:nvPr/>
          </p:nvSpPr>
          <p:spPr bwMode="gray">
            <a:xfrm>
              <a:off x="3733217" y="3485247"/>
              <a:ext cx="118362" cy="142478"/>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2" name="Freeform 88"/>
            <p:cNvSpPr>
              <a:spLocks/>
            </p:cNvSpPr>
            <p:nvPr/>
          </p:nvSpPr>
          <p:spPr bwMode="gray">
            <a:xfrm>
              <a:off x="3536875" y="3663346"/>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3" name="Freeform 89"/>
            <p:cNvSpPr>
              <a:spLocks/>
            </p:cNvSpPr>
            <p:nvPr/>
          </p:nvSpPr>
          <p:spPr bwMode="gray">
            <a:xfrm>
              <a:off x="3308506" y="4061522"/>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4" name="Freeform 90"/>
            <p:cNvSpPr>
              <a:spLocks/>
            </p:cNvSpPr>
            <p:nvPr/>
          </p:nvSpPr>
          <p:spPr bwMode="gray">
            <a:xfrm>
              <a:off x="3365600" y="4062794"/>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Freeform 91"/>
            <p:cNvSpPr>
              <a:spLocks/>
            </p:cNvSpPr>
            <p:nvPr/>
          </p:nvSpPr>
          <p:spPr bwMode="gray">
            <a:xfrm>
              <a:off x="3382310" y="4041170"/>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6" name="Freeform 92"/>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7" name="Freeform 93"/>
            <p:cNvSpPr>
              <a:spLocks/>
            </p:cNvSpPr>
            <p:nvPr/>
          </p:nvSpPr>
          <p:spPr bwMode="gray">
            <a:xfrm>
              <a:off x="3415729" y="4016999"/>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8" name="Freeform 94"/>
            <p:cNvSpPr>
              <a:spLocks/>
            </p:cNvSpPr>
            <p:nvPr/>
          </p:nvSpPr>
          <p:spPr bwMode="gray">
            <a:xfrm>
              <a:off x="3951837" y="3612460"/>
              <a:ext cx="41775" cy="22898"/>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9" name="Freeform 95"/>
            <p:cNvSpPr>
              <a:spLocks/>
            </p:cNvSpPr>
            <p:nvPr/>
          </p:nvSpPr>
          <p:spPr bwMode="gray">
            <a:xfrm>
              <a:off x="3816766" y="3695149"/>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0" name="Freeform 96"/>
            <p:cNvSpPr>
              <a:spLocks/>
            </p:cNvSpPr>
            <p:nvPr/>
          </p:nvSpPr>
          <p:spPr bwMode="gray">
            <a:xfrm>
              <a:off x="3612070" y="3847805"/>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Freeform 97"/>
            <p:cNvSpPr>
              <a:spLocks/>
            </p:cNvSpPr>
            <p:nvPr/>
          </p:nvSpPr>
          <p:spPr bwMode="gray">
            <a:xfrm>
              <a:off x="3522951" y="4028447"/>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Freeform 98"/>
            <p:cNvSpPr>
              <a:spLocks/>
            </p:cNvSpPr>
            <p:nvPr/>
          </p:nvSpPr>
          <p:spPr bwMode="gray">
            <a:xfrm>
              <a:off x="4096655" y="3440723"/>
              <a:ext cx="122539" cy="57246"/>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Freeform 99"/>
            <p:cNvSpPr>
              <a:spLocks/>
            </p:cNvSpPr>
            <p:nvPr/>
          </p:nvSpPr>
          <p:spPr bwMode="gray">
            <a:xfrm>
              <a:off x="4003359" y="3635359"/>
              <a:ext cx="27850" cy="330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4" name="Freeform 100"/>
            <p:cNvSpPr>
              <a:spLocks/>
            </p:cNvSpPr>
            <p:nvPr/>
          </p:nvSpPr>
          <p:spPr bwMode="gray">
            <a:xfrm>
              <a:off x="4013106" y="3578114"/>
              <a:ext cx="128109" cy="104314"/>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Freeform 101"/>
            <p:cNvSpPr>
              <a:spLocks/>
            </p:cNvSpPr>
            <p:nvPr/>
          </p:nvSpPr>
          <p:spPr bwMode="gray">
            <a:xfrm>
              <a:off x="3988041" y="3664617"/>
              <a:ext cx="27850" cy="71239"/>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6" name="Freeform 102"/>
            <p:cNvSpPr>
              <a:spLocks/>
            </p:cNvSpPr>
            <p:nvPr/>
          </p:nvSpPr>
          <p:spPr bwMode="gray">
            <a:xfrm>
              <a:off x="3527127" y="4210361"/>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Freeform 103"/>
            <p:cNvSpPr>
              <a:spLocks noEditPoints="1"/>
            </p:cNvSpPr>
            <p:nvPr/>
          </p:nvSpPr>
          <p:spPr bwMode="gray">
            <a:xfrm>
              <a:off x="1992608" y="4546204"/>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8" name="Freeform 104"/>
            <p:cNvSpPr>
              <a:spLocks/>
            </p:cNvSpPr>
            <p:nvPr/>
          </p:nvSpPr>
          <p:spPr bwMode="gray">
            <a:xfrm>
              <a:off x="3628779" y="4064067"/>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9" name="Freeform 105"/>
            <p:cNvSpPr>
              <a:spLocks/>
            </p:cNvSpPr>
            <p:nvPr/>
          </p:nvSpPr>
          <p:spPr bwMode="gray">
            <a:xfrm>
              <a:off x="4003359" y="3662074"/>
              <a:ext cx="79372" cy="80144"/>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0" name="Freeform 106"/>
            <p:cNvSpPr>
              <a:spLocks noEditPoints="1"/>
            </p:cNvSpPr>
            <p:nvPr/>
          </p:nvSpPr>
          <p:spPr bwMode="gray">
            <a:xfrm>
              <a:off x="2028813" y="4622531"/>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1" name="Freeform 107"/>
            <p:cNvSpPr>
              <a:spLocks/>
            </p:cNvSpPr>
            <p:nvPr/>
          </p:nvSpPr>
          <p:spPr bwMode="gray">
            <a:xfrm>
              <a:off x="4157925" y="3492880"/>
              <a:ext cx="58484" cy="53430"/>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2" name="Freeform 108"/>
            <p:cNvSpPr>
              <a:spLocks/>
            </p:cNvSpPr>
            <p:nvPr/>
          </p:nvSpPr>
          <p:spPr bwMode="gray">
            <a:xfrm>
              <a:off x="3570295" y="4188737"/>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3" name="Freeform 109"/>
            <p:cNvSpPr>
              <a:spLocks noEditPoints="1"/>
            </p:cNvSpPr>
            <p:nvPr/>
          </p:nvSpPr>
          <p:spPr bwMode="gray">
            <a:xfrm>
              <a:off x="4180206" y="3480159"/>
              <a:ext cx="104437" cy="77601"/>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4" name="Freeform 110"/>
            <p:cNvSpPr>
              <a:spLocks/>
            </p:cNvSpPr>
            <p:nvPr/>
          </p:nvSpPr>
          <p:spPr bwMode="gray">
            <a:xfrm>
              <a:off x="4213625" y="3135411"/>
              <a:ext cx="743588" cy="372734"/>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5" name="Freeform 111"/>
            <p:cNvSpPr>
              <a:spLocks/>
            </p:cNvSpPr>
            <p:nvPr/>
          </p:nvSpPr>
          <p:spPr bwMode="gray">
            <a:xfrm>
              <a:off x="4071590" y="3578114"/>
              <a:ext cx="178238" cy="166649"/>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6" name="Freeform 112"/>
            <p:cNvSpPr>
              <a:spLocks/>
            </p:cNvSpPr>
            <p:nvPr/>
          </p:nvSpPr>
          <p:spPr bwMode="gray">
            <a:xfrm>
              <a:off x="3762460" y="3874519"/>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7" name="Freeform 113"/>
            <p:cNvSpPr>
              <a:spLocks/>
            </p:cNvSpPr>
            <p:nvPr/>
          </p:nvSpPr>
          <p:spPr bwMode="gray">
            <a:xfrm>
              <a:off x="3999181" y="3683699"/>
              <a:ext cx="387111" cy="31040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8" name="Freeform 114"/>
            <p:cNvSpPr>
              <a:spLocks/>
            </p:cNvSpPr>
            <p:nvPr/>
          </p:nvSpPr>
          <p:spPr bwMode="gray">
            <a:xfrm>
              <a:off x="3588398" y="4159476"/>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9" name="Freeform 115"/>
            <p:cNvSpPr>
              <a:spLocks/>
            </p:cNvSpPr>
            <p:nvPr/>
          </p:nvSpPr>
          <p:spPr bwMode="gray">
            <a:xfrm>
              <a:off x="4169066" y="3527228"/>
              <a:ext cx="349514" cy="29131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0" name="Freeform 116"/>
            <p:cNvSpPr>
              <a:spLocks/>
            </p:cNvSpPr>
            <p:nvPr/>
          </p:nvSpPr>
          <p:spPr bwMode="gray">
            <a:xfrm>
              <a:off x="4213625" y="3726951"/>
              <a:ext cx="34813" cy="27987"/>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1" name="Freeform 117"/>
            <p:cNvSpPr>
              <a:spLocks/>
            </p:cNvSpPr>
            <p:nvPr/>
          </p:nvSpPr>
          <p:spPr bwMode="gray">
            <a:xfrm>
              <a:off x="4029816" y="3943214"/>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2" name="Freeform 118"/>
            <p:cNvSpPr>
              <a:spLocks/>
            </p:cNvSpPr>
            <p:nvPr/>
          </p:nvSpPr>
          <p:spPr bwMode="gray">
            <a:xfrm>
              <a:off x="4323631" y="3461077"/>
              <a:ext cx="257610" cy="160289"/>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3" name="Freeform 119"/>
            <p:cNvSpPr>
              <a:spLocks noEditPoints="1"/>
            </p:cNvSpPr>
            <p:nvPr/>
          </p:nvSpPr>
          <p:spPr bwMode="gray">
            <a:xfrm>
              <a:off x="3581435" y="4323583"/>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4" name="Freeform 120"/>
            <p:cNvSpPr>
              <a:spLocks/>
            </p:cNvSpPr>
            <p:nvPr/>
          </p:nvSpPr>
          <p:spPr bwMode="gray">
            <a:xfrm>
              <a:off x="4387686" y="3394926"/>
              <a:ext cx="311917" cy="190819"/>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5" name="Freeform 121"/>
            <p:cNvSpPr>
              <a:spLocks/>
            </p:cNvSpPr>
            <p:nvPr/>
          </p:nvSpPr>
          <p:spPr bwMode="gray">
            <a:xfrm>
              <a:off x="3967155" y="3999187"/>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6" name="Freeform 122"/>
            <p:cNvSpPr>
              <a:spLocks/>
            </p:cNvSpPr>
            <p:nvPr/>
          </p:nvSpPr>
          <p:spPr bwMode="gray">
            <a:xfrm>
              <a:off x="3904492" y="4181102"/>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7" name="Freeform 123"/>
            <p:cNvSpPr>
              <a:spLocks/>
            </p:cNvSpPr>
            <p:nvPr/>
          </p:nvSpPr>
          <p:spPr bwMode="gray">
            <a:xfrm>
              <a:off x="3890567" y="4267607"/>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8" name="Freeform 124"/>
            <p:cNvSpPr>
              <a:spLocks/>
            </p:cNvSpPr>
            <p:nvPr/>
          </p:nvSpPr>
          <p:spPr bwMode="gray">
            <a:xfrm>
              <a:off x="3891960" y="4289235"/>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9" name="Freeform 125"/>
            <p:cNvSpPr>
              <a:spLocks/>
            </p:cNvSpPr>
            <p:nvPr/>
          </p:nvSpPr>
          <p:spPr bwMode="gray">
            <a:xfrm>
              <a:off x="4143999" y="3926678"/>
              <a:ext cx="187986" cy="109403"/>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0" name="Freeform 126"/>
            <p:cNvSpPr>
              <a:spLocks/>
            </p:cNvSpPr>
            <p:nvPr/>
          </p:nvSpPr>
          <p:spPr bwMode="gray">
            <a:xfrm>
              <a:off x="4291604" y="3799463"/>
              <a:ext cx="13925" cy="30532"/>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1" name="Freeform 127"/>
            <p:cNvSpPr>
              <a:spLocks/>
            </p:cNvSpPr>
            <p:nvPr/>
          </p:nvSpPr>
          <p:spPr bwMode="gray">
            <a:xfrm>
              <a:off x="4127290" y="4034807"/>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2" name="Freeform 128"/>
            <p:cNvSpPr>
              <a:spLocks/>
            </p:cNvSpPr>
            <p:nvPr/>
          </p:nvSpPr>
          <p:spPr bwMode="gray">
            <a:xfrm>
              <a:off x="4297174" y="3800735"/>
              <a:ext cx="96082" cy="71239"/>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3" name="Freeform 129"/>
            <p:cNvSpPr>
              <a:spLocks/>
            </p:cNvSpPr>
            <p:nvPr/>
          </p:nvSpPr>
          <p:spPr bwMode="gray">
            <a:xfrm>
              <a:off x="3972725" y="4172197"/>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4" name="Freeform 130"/>
            <p:cNvSpPr>
              <a:spLocks/>
            </p:cNvSpPr>
            <p:nvPr/>
          </p:nvSpPr>
          <p:spPr bwMode="gray">
            <a:xfrm>
              <a:off x="3766636" y="4385917"/>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5" name="Freeform 131"/>
            <p:cNvSpPr>
              <a:spLocks/>
            </p:cNvSpPr>
            <p:nvPr/>
          </p:nvSpPr>
          <p:spPr bwMode="gray">
            <a:xfrm>
              <a:off x="3581435" y="4534755"/>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6" name="Freeform 132"/>
            <p:cNvSpPr>
              <a:spLocks/>
            </p:cNvSpPr>
            <p:nvPr/>
          </p:nvSpPr>
          <p:spPr bwMode="gray">
            <a:xfrm>
              <a:off x="3900315" y="4266336"/>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7" name="Freeform 133"/>
            <p:cNvSpPr>
              <a:spLocks noEditPoints="1"/>
            </p:cNvSpPr>
            <p:nvPr/>
          </p:nvSpPr>
          <p:spPr bwMode="gray">
            <a:xfrm>
              <a:off x="4309706" y="3795647"/>
              <a:ext cx="146212" cy="171738"/>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8" name="Freeform 134"/>
            <p:cNvSpPr>
              <a:spLocks/>
            </p:cNvSpPr>
            <p:nvPr/>
          </p:nvSpPr>
          <p:spPr bwMode="gray">
            <a:xfrm>
              <a:off x="4465665" y="3556486"/>
              <a:ext cx="260395" cy="180642"/>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9" name="Freeform 135"/>
            <p:cNvSpPr>
              <a:spLocks/>
            </p:cNvSpPr>
            <p:nvPr/>
          </p:nvSpPr>
          <p:spPr bwMode="gray">
            <a:xfrm>
              <a:off x="4113365" y="4047528"/>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Freeform 136"/>
            <p:cNvSpPr>
              <a:spLocks/>
            </p:cNvSpPr>
            <p:nvPr/>
          </p:nvSpPr>
          <p:spPr bwMode="gray">
            <a:xfrm>
              <a:off x="4595167" y="3497968"/>
              <a:ext cx="136463" cy="94137"/>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Freeform 137"/>
            <p:cNvSpPr>
              <a:spLocks/>
            </p:cNvSpPr>
            <p:nvPr/>
          </p:nvSpPr>
          <p:spPr bwMode="gray">
            <a:xfrm>
              <a:off x="4628586" y="3450900"/>
              <a:ext cx="199126" cy="8777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Freeform 138"/>
            <p:cNvSpPr>
              <a:spLocks/>
            </p:cNvSpPr>
            <p:nvPr/>
          </p:nvSpPr>
          <p:spPr bwMode="gray">
            <a:xfrm>
              <a:off x="3727647" y="4548748"/>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Freeform 139"/>
            <p:cNvSpPr>
              <a:spLocks/>
            </p:cNvSpPr>
            <p:nvPr/>
          </p:nvSpPr>
          <p:spPr bwMode="gray">
            <a:xfrm>
              <a:off x="3826513" y="4511857"/>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4" name="Freeform 140"/>
            <p:cNvSpPr>
              <a:spLocks/>
            </p:cNvSpPr>
            <p:nvPr/>
          </p:nvSpPr>
          <p:spPr bwMode="gray">
            <a:xfrm>
              <a:off x="4474020" y="3585746"/>
              <a:ext cx="304955" cy="25569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5" name="Freeform 141"/>
            <p:cNvSpPr>
              <a:spLocks/>
            </p:cNvSpPr>
            <p:nvPr/>
          </p:nvSpPr>
          <p:spPr bwMode="gray">
            <a:xfrm>
              <a:off x="3962977" y="4408815"/>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6" name="Freeform 142"/>
            <p:cNvSpPr>
              <a:spLocks noEditPoints="1"/>
            </p:cNvSpPr>
            <p:nvPr/>
          </p:nvSpPr>
          <p:spPr bwMode="gray">
            <a:xfrm>
              <a:off x="3628779" y="4626349"/>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7" name="Freeform 143"/>
            <p:cNvSpPr>
              <a:spLocks/>
            </p:cNvSpPr>
            <p:nvPr/>
          </p:nvSpPr>
          <p:spPr bwMode="gray">
            <a:xfrm>
              <a:off x="3918418" y="4422808"/>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Freeform 144"/>
            <p:cNvSpPr>
              <a:spLocks/>
            </p:cNvSpPr>
            <p:nvPr/>
          </p:nvSpPr>
          <p:spPr bwMode="gray">
            <a:xfrm>
              <a:off x="3859934" y="4747200"/>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Freeform 145"/>
            <p:cNvSpPr>
              <a:spLocks/>
            </p:cNvSpPr>
            <p:nvPr/>
          </p:nvSpPr>
          <p:spPr bwMode="gray">
            <a:xfrm>
              <a:off x="3926773" y="4692500"/>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Freeform 147"/>
            <p:cNvSpPr>
              <a:spLocks/>
            </p:cNvSpPr>
            <p:nvPr/>
          </p:nvSpPr>
          <p:spPr bwMode="gray">
            <a:xfrm>
              <a:off x="4965567" y="3230821"/>
              <a:ext cx="580668" cy="25569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1" name="Freeform 149"/>
            <p:cNvSpPr>
              <a:spLocks/>
            </p:cNvSpPr>
            <p:nvPr/>
          </p:nvSpPr>
          <p:spPr bwMode="gray">
            <a:xfrm>
              <a:off x="4193925" y="4385916"/>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2" name="Freeform 150"/>
            <p:cNvSpPr>
              <a:spLocks/>
            </p:cNvSpPr>
            <p:nvPr/>
          </p:nvSpPr>
          <p:spPr bwMode="gray">
            <a:xfrm>
              <a:off x="4823534" y="3715504"/>
              <a:ext cx="148997" cy="77601"/>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3" name="Freeform 151"/>
            <p:cNvSpPr>
              <a:spLocks/>
            </p:cNvSpPr>
            <p:nvPr/>
          </p:nvSpPr>
          <p:spPr bwMode="gray">
            <a:xfrm>
              <a:off x="4982279" y="3757483"/>
              <a:ext cx="58484" cy="30532"/>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4" name="Freeform 152"/>
            <p:cNvSpPr>
              <a:spLocks/>
            </p:cNvSpPr>
            <p:nvPr/>
          </p:nvSpPr>
          <p:spPr bwMode="gray">
            <a:xfrm>
              <a:off x="4968352" y="3794375"/>
              <a:ext cx="83549" cy="96682"/>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5" name="Freeform 153"/>
            <p:cNvSpPr>
              <a:spLocks/>
            </p:cNvSpPr>
            <p:nvPr/>
          </p:nvSpPr>
          <p:spPr bwMode="gray">
            <a:xfrm>
              <a:off x="4816573" y="4085692"/>
              <a:ext cx="40383" cy="63607"/>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6" name="Freeform 154"/>
            <p:cNvSpPr>
              <a:spLocks/>
            </p:cNvSpPr>
            <p:nvPr/>
          </p:nvSpPr>
          <p:spPr bwMode="gray">
            <a:xfrm>
              <a:off x="5042155" y="3754939"/>
              <a:ext cx="162922" cy="32439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7" name="Freeform 155"/>
            <p:cNvSpPr>
              <a:spLocks/>
            </p:cNvSpPr>
            <p:nvPr/>
          </p:nvSpPr>
          <p:spPr bwMode="gray">
            <a:xfrm>
              <a:off x="5186975" y="3863070"/>
              <a:ext cx="135072" cy="152656"/>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8" name="Freeform 156"/>
            <p:cNvSpPr>
              <a:spLocks/>
            </p:cNvSpPr>
            <p:nvPr/>
          </p:nvSpPr>
          <p:spPr bwMode="gray">
            <a:xfrm>
              <a:off x="5138237" y="3901234"/>
              <a:ext cx="147603" cy="254426"/>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9" name="Freeform 157"/>
            <p:cNvSpPr>
              <a:spLocks/>
            </p:cNvSpPr>
            <p:nvPr/>
          </p:nvSpPr>
          <p:spPr bwMode="gray">
            <a:xfrm>
              <a:off x="5228749" y="4003006"/>
              <a:ext cx="94689" cy="72512"/>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0" name="Freeform 158"/>
            <p:cNvSpPr>
              <a:spLocks/>
            </p:cNvSpPr>
            <p:nvPr/>
          </p:nvSpPr>
          <p:spPr bwMode="gray">
            <a:xfrm>
              <a:off x="5221786" y="3849078"/>
              <a:ext cx="133678" cy="25824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1" name="Freeform 159"/>
            <p:cNvSpPr>
              <a:spLocks noEditPoints="1"/>
            </p:cNvSpPr>
            <p:nvPr/>
          </p:nvSpPr>
          <p:spPr bwMode="gray">
            <a:xfrm>
              <a:off x="5188366" y="4132762"/>
              <a:ext cx="343944" cy="103043"/>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2" name="Freeform 160"/>
            <p:cNvSpPr>
              <a:spLocks noEditPoints="1"/>
            </p:cNvSpPr>
            <p:nvPr/>
          </p:nvSpPr>
          <p:spPr bwMode="gray">
            <a:xfrm>
              <a:off x="5099247" y="4155661"/>
              <a:ext cx="832707" cy="265876"/>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3" name="Freeform 161"/>
            <p:cNvSpPr>
              <a:spLocks/>
            </p:cNvSpPr>
            <p:nvPr/>
          </p:nvSpPr>
          <p:spPr bwMode="gray">
            <a:xfrm>
              <a:off x="5625607" y="3455989"/>
              <a:ext cx="114184" cy="11830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4" name="Freeform 162"/>
            <p:cNvSpPr>
              <a:spLocks/>
            </p:cNvSpPr>
            <p:nvPr/>
          </p:nvSpPr>
          <p:spPr bwMode="gray">
            <a:xfrm>
              <a:off x="5659027" y="3552671"/>
              <a:ext cx="62663" cy="89049"/>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5" name="Freeform 163"/>
            <p:cNvSpPr>
              <a:spLocks/>
            </p:cNvSpPr>
            <p:nvPr/>
          </p:nvSpPr>
          <p:spPr bwMode="gray">
            <a:xfrm>
              <a:off x="5549019" y="3816002"/>
              <a:ext cx="33420" cy="58518"/>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164"/>
            <p:cNvSpPr>
              <a:spLocks/>
            </p:cNvSpPr>
            <p:nvPr/>
          </p:nvSpPr>
          <p:spPr bwMode="gray">
            <a:xfrm>
              <a:off x="5441799" y="4164565"/>
              <a:ext cx="20888" cy="16539"/>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65"/>
            <p:cNvSpPr>
              <a:spLocks noEditPoints="1"/>
            </p:cNvSpPr>
            <p:nvPr/>
          </p:nvSpPr>
          <p:spPr bwMode="gray">
            <a:xfrm>
              <a:off x="5720296" y="3398742"/>
              <a:ext cx="292423" cy="309129"/>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8" name="Freeform 166"/>
            <p:cNvSpPr>
              <a:spLocks noEditPoints="1"/>
            </p:cNvSpPr>
            <p:nvPr/>
          </p:nvSpPr>
          <p:spPr bwMode="gray">
            <a:xfrm>
              <a:off x="5497499" y="3934309"/>
              <a:ext cx="168491" cy="222624"/>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9" name="Freeform 167"/>
            <p:cNvSpPr>
              <a:spLocks noEditPoints="1"/>
            </p:cNvSpPr>
            <p:nvPr/>
          </p:nvSpPr>
          <p:spPr bwMode="gray">
            <a:xfrm>
              <a:off x="5423697" y="4430440"/>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0" name="Freeform 168"/>
            <p:cNvSpPr>
              <a:spLocks noEditPoints="1"/>
            </p:cNvSpPr>
            <p:nvPr/>
          </p:nvSpPr>
          <p:spPr bwMode="gray">
            <a:xfrm>
              <a:off x="5927777" y="4294323"/>
              <a:ext cx="208874" cy="133574"/>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1" name="Freeform 169"/>
            <p:cNvSpPr>
              <a:spLocks noEditPoints="1"/>
            </p:cNvSpPr>
            <p:nvPr/>
          </p:nvSpPr>
          <p:spPr bwMode="gray">
            <a:xfrm>
              <a:off x="6395652" y="4860421"/>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2" name="Freeform 170"/>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3" name="Freeform 6"/>
            <p:cNvSpPr>
              <a:spLocks/>
            </p:cNvSpPr>
            <p:nvPr/>
          </p:nvSpPr>
          <p:spPr bwMode="gray">
            <a:xfrm>
              <a:off x="6637945" y="2645642"/>
              <a:ext cx="182416" cy="184460"/>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4" name="Freeform 22"/>
            <p:cNvSpPr>
              <a:spLocks/>
            </p:cNvSpPr>
            <p:nvPr/>
          </p:nvSpPr>
          <p:spPr bwMode="gray">
            <a:xfrm>
              <a:off x="5339719" y="3907448"/>
              <a:ext cx="43156" cy="32881"/>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5" name="Freeform 13"/>
            <p:cNvSpPr>
              <a:spLocks/>
            </p:cNvSpPr>
            <p:nvPr/>
          </p:nvSpPr>
          <p:spPr bwMode="gray">
            <a:xfrm>
              <a:off x="4604913" y="3592104"/>
              <a:ext cx="533323" cy="523482"/>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6" name="Freeform 23"/>
            <p:cNvSpPr>
              <a:spLocks/>
            </p:cNvSpPr>
            <p:nvPr/>
          </p:nvSpPr>
          <p:spPr bwMode="gray">
            <a:xfrm>
              <a:off x="4707956" y="3192162"/>
              <a:ext cx="1106861" cy="712383"/>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210" name="Rectangle 209">
            <a:extLst>
              <a:ext uri="{FF2B5EF4-FFF2-40B4-BE49-F238E27FC236}">
                <a16:creationId xmlns:a16="http://schemas.microsoft.com/office/drawing/2014/main" id="{19976663-18BF-2F43-BD8B-71D43A575608}"/>
              </a:ext>
            </a:extLst>
          </p:cNvPr>
          <p:cNvSpPr/>
          <p:nvPr/>
        </p:nvSpPr>
        <p:spPr>
          <a:xfrm>
            <a:off x="1828800" y="2742215"/>
            <a:ext cx="2253822" cy="307777"/>
          </a:xfrm>
          <a:prstGeom prst="rect">
            <a:avLst/>
          </a:prstGeom>
        </p:spPr>
        <p:txBody>
          <a:bodyPr wrap="none" lIns="0" tIns="0" rIns="0" bIns="0">
            <a:spAutoFit/>
          </a:bodyPr>
          <a:lstStyle/>
          <a:p>
            <a:r>
              <a:rPr lang="en-US" sz="2000" b="1" cap="all">
                <a:solidFill>
                  <a:srgbClr val="FFFFFF"/>
                </a:solidFill>
                <a:latin typeface="Arial" panose="020B0604020202020204" pitchFamily="34" charset="0"/>
                <a:ea typeface="Roboto" panose="02000000000000000000" pitchFamily="2" charset="0"/>
                <a:cs typeface="Arial" panose="020B0604020202020204" pitchFamily="34" charset="0"/>
              </a:rPr>
              <a:t>Text Goes Here</a:t>
            </a:r>
          </a:p>
        </p:txBody>
      </p:sp>
      <p:sp>
        <p:nvSpPr>
          <p:cNvPr id="211" name="Rectangle 210">
            <a:extLst>
              <a:ext uri="{FF2B5EF4-FFF2-40B4-BE49-F238E27FC236}">
                <a16:creationId xmlns:a16="http://schemas.microsoft.com/office/drawing/2014/main" id="{E1B366C1-2BEE-0843-A828-BAFC8F7820A7}"/>
              </a:ext>
            </a:extLst>
          </p:cNvPr>
          <p:cNvSpPr/>
          <p:nvPr/>
        </p:nvSpPr>
        <p:spPr>
          <a:xfrm>
            <a:off x="1848577" y="3100826"/>
            <a:ext cx="2745547" cy="1206484"/>
          </a:xfrm>
          <a:prstGeom prst="rect">
            <a:avLst/>
          </a:prstGeom>
        </p:spPr>
        <p:txBody>
          <a:bodyPr wrap="square" lIns="0" tIns="0" rIns="0" bIns="0">
            <a:spAutoFit/>
          </a:bodyPr>
          <a:lstStyle/>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Dratat quat ad gui is molup tasioi</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natur acesto dolore noneta huild</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quasit. Sundah avel sequin foryip ais experipdo lorem ipsum.</a:t>
            </a:r>
          </a:p>
        </p:txBody>
      </p:sp>
      <p:sp>
        <p:nvSpPr>
          <p:cNvPr id="212" name="Rectangle 211">
            <a:extLst>
              <a:ext uri="{FF2B5EF4-FFF2-40B4-BE49-F238E27FC236}">
                <a16:creationId xmlns:a16="http://schemas.microsoft.com/office/drawing/2014/main" id="{113FE46C-48CE-B741-AD01-273C8AD6FDE4}"/>
              </a:ext>
            </a:extLst>
          </p:cNvPr>
          <p:cNvSpPr/>
          <p:nvPr/>
        </p:nvSpPr>
        <p:spPr>
          <a:xfrm>
            <a:off x="7381875" y="5112735"/>
            <a:ext cx="993862" cy="215444"/>
          </a:xfrm>
          <a:prstGeom prst="rect">
            <a:avLst/>
          </a:prstGeom>
        </p:spPr>
        <p:txBody>
          <a:bodyPr wrap="none" lIns="0" tIns="0" rIns="0" bIns="0">
            <a:spAutoFit/>
          </a:bodyPr>
          <a:lstStyle/>
          <a:p>
            <a:r>
              <a:rPr lang="en-US" sz="1400" b="1">
                <a:solidFill>
                  <a:schemeClr val="bg2"/>
                </a:solidFill>
                <a:latin typeface="Arial" panose="020B0604020202020204" pitchFamily="34" charset="0"/>
                <a:ea typeface="Roboto" panose="02000000000000000000" pitchFamily="2" charset="0"/>
                <a:cs typeface="Arial" panose="020B0604020202020204" pitchFamily="34" charset="0"/>
              </a:rPr>
              <a:t>Middle East</a:t>
            </a:r>
          </a:p>
        </p:txBody>
      </p:sp>
      <p:sp>
        <p:nvSpPr>
          <p:cNvPr id="213" name="Rectangle 212">
            <a:extLst>
              <a:ext uri="{FF2B5EF4-FFF2-40B4-BE49-F238E27FC236}">
                <a16:creationId xmlns:a16="http://schemas.microsoft.com/office/drawing/2014/main" id="{79067EF4-DB2A-2641-91B6-2F2D59CB752C}"/>
              </a:ext>
            </a:extLst>
          </p:cNvPr>
          <p:cNvSpPr/>
          <p:nvPr/>
        </p:nvSpPr>
        <p:spPr>
          <a:xfrm>
            <a:off x="7378700" y="5405774"/>
            <a:ext cx="2745547" cy="553998"/>
          </a:xfrm>
          <a:prstGeom prst="rect">
            <a:avLst/>
          </a:prstGeom>
        </p:spPr>
        <p:txBody>
          <a:bodyPr wrap="square" lIns="0" tIns="0" rIns="0" bIns="0">
            <a:spAutoFit/>
          </a:bodyPr>
          <a:lstStyle/>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Dratat quat ad gui is molup tasioi natur acesto</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natur acesto dolore noneta huilda vel seq uodi.</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Sundah quasitavel sequin.</a:t>
            </a:r>
          </a:p>
        </p:txBody>
      </p:sp>
      <p:grpSp>
        <p:nvGrpSpPr>
          <p:cNvPr id="564" name="Group 563"/>
          <p:cNvGrpSpPr>
            <a:grpSpLocks noChangeAspect="1"/>
          </p:cNvGrpSpPr>
          <p:nvPr/>
        </p:nvGrpSpPr>
        <p:grpSpPr>
          <a:xfrm>
            <a:off x="6360589" y="1496074"/>
            <a:ext cx="2490592" cy="2952000"/>
            <a:chOff x="1493838" y="2989263"/>
            <a:chExt cx="1593850" cy="1889125"/>
          </a:xfrm>
        </p:grpSpPr>
        <p:sp>
          <p:nvSpPr>
            <p:cNvPr id="565" name="Freeform 6"/>
            <p:cNvSpPr>
              <a:spLocks/>
            </p:cNvSpPr>
            <p:nvPr/>
          </p:nvSpPr>
          <p:spPr bwMode="auto">
            <a:xfrm>
              <a:off x="1632470" y="3589338"/>
              <a:ext cx="68786" cy="57150"/>
            </a:xfrm>
            <a:custGeom>
              <a:avLst/>
              <a:gdLst>
                <a:gd name="T0" fmla="*/ 18 w 40"/>
                <a:gd name="T1" fmla="*/ 36 h 36"/>
                <a:gd name="T2" fmla="*/ 20 w 40"/>
                <a:gd name="T3" fmla="*/ 34 h 36"/>
                <a:gd name="T4" fmla="*/ 26 w 40"/>
                <a:gd name="T5" fmla="*/ 30 h 36"/>
                <a:gd name="T6" fmla="*/ 28 w 40"/>
                <a:gd name="T7" fmla="*/ 24 h 36"/>
                <a:gd name="T8" fmla="*/ 40 w 40"/>
                <a:gd name="T9" fmla="*/ 10 h 36"/>
                <a:gd name="T10" fmla="*/ 40 w 40"/>
                <a:gd name="T11" fmla="*/ 10 h 36"/>
                <a:gd name="T12" fmla="*/ 38 w 40"/>
                <a:gd name="T13" fmla="*/ 10 h 36"/>
                <a:gd name="T14" fmla="*/ 38 w 40"/>
                <a:gd name="T15" fmla="*/ 8 h 36"/>
                <a:gd name="T16" fmla="*/ 38 w 40"/>
                <a:gd name="T17" fmla="*/ 4 h 36"/>
                <a:gd name="T18" fmla="*/ 36 w 40"/>
                <a:gd name="T19" fmla="*/ 2 h 36"/>
                <a:gd name="T20" fmla="*/ 32 w 40"/>
                <a:gd name="T21" fmla="*/ 0 h 36"/>
                <a:gd name="T22" fmla="*/ 30 w 40"/>
                <a:gd name="T23" fmla="*/ 0 h 36"/>
                <a:gd name="T24" fmla="*/ 28 w 40"/>
                <a:gd name="T25" fmla="*/ 0 h 36"/>
                <a:gd name="T26" fmla="*/ 26 w 40"/>
                <a:gd name="T27" fmla="*/ 4 h 36"/>
                <a:gd name="T28" fmla="*/ 20 w 40"/>
                <a:gd name="T29" fmla="*/ 6 h 36"/>
                <a:gd name="T30" fmla="*/ 16 w 40"/>
                <a:gd name="T31" fmla="*/ 12 h 36"/>
                <a:gd name="T32" fmla="*/ 16 w 40"/>
                <a:gd name="T33" fmla="*/ 16 h 36"/>
                <a:gd name="T34" fmla="*/ 12 w 40"/>
                <a:gd name="T35" fmla="*/ 18 h 36"/>
                <a:gd name="T36" fmla="*/ 18 w 40"/>
                <a:gd name="T37" fmla="*/ 20 h 36"/>
                <a:gd name="T38" fmla="*/ 20 w 40"/>
                <a:gd name="T39" fmla="*/ 22 h 36"/>
                <a:gd name="T40" fmla="*/ 18 w 40"/>
                <a:gd name="T41" fmla="*/ 24 h 36"/>
                <a:gd name="T42" fmla="*/ 18 w 40"/>
                <a:gd name="T43" fmla="*/ 24 h 36"/>
                <a:gd name="T44" fmla="*/ 14 w 40"/>
                <a:gd name="T45" fmla="*/ 22 h 36"/>
                <a:gd name="T46" fmla="*/ 12 w 40"/>
                <a:gd name="T47" fmla="*/ 22 h 36"/>
                <a:gd name="T48" fmla="*/ 10 w 40"/>
                <a:gd name="T49" fmla="*/ 22 h 36"/>
                <a:gd name="T50" fmla="*/ 6 w 40"/>
                <a:gd name="T51" fmla="*/ 26 h 36"/>
                <a:gd name="T52" fmla="*/ 2 w 40"/>
                <a:gd name="T53" fmla="*/ 28 h 36"/>
                <a:gd name="T54" fmla="*/ 0 w 40"/>
                <a:gd name="T55" fmla="*/ 30 h 36"/>
                <a:gd name="T56" fmla="*/ 0 w 40"/>
                <a:gd name="T57" fmla="*/ 34 h 36"/>
                <a:gd name="T58" fmla="*/ 2 w 40"/>
                <a:gd name="T59" fmla="*/ 32 h 36"/>
                <a:gd name="T60" fmla="*/ 8 w 40"/>
                <a:gd name="T61" fmla="*/ 34 h 36"/>
                <a:gd name="T62" fmla="*/ 16 w 40"/>
                <a:gd name="T63" fmla="*/ 34 h 36"/>
                <a:gd name="T64" fmla="*/ 18 w 40"/>
                <a:gd name="T6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6">
                  <a:moveTo>
                    <a:pt x="18" y="36"/>
                  </a:moveTo>
                  <a:lnTo>
                    <a:pt x="20" y="34"/>
                  </a:lnTo>
                  <a:lnTo>
                    <a:pt x="26" y="30"/>
                  </a:lnTo>
                  <a:lnTo>
                    <a:pt x="28" y="24"/>
                  </a:lnTo>
                  <a:lnTo>
                    <a:pt x="40" y="10"/>
                  </a:lnTo>
                  <a:lnTo>
                    <a:pt x="40" y="10"/>
                  </a:lnTo>
                  <a:lnTo>
                    <a:pt x="38" y="10"/>
                  </a:lnTo>
                  <a:lnTo>
                    <a:pt x="38" y="8"/>
                  </a:lnTo>
                  <a:lnTo>
                    <a:pt x="38" y="4"/>
                  </a:lnTo>
                  <a:lnTo>
                    <a:pt x="36" y="2"/>
                  </a:lnTo>
                  <a:lnTo>
                    <a:pt x="32" y="0"/>
                  </a:lnTo>
                  <a:lnTo>
                    <a:pt x="30" y="0"/>
                  </a:lnTo>
                  <a:lnTo>
                    <a:pt x="28" y="0"/>
                  </a:lnTo>
                  <a:lnTo>
                    <a:pt x="26" y="4"/>
                  </a:lnTo>
                  <a:lnTo>
                    <a:pt x="20" y="6"/>
                  </a:lnTo>
                  <a:lnTo>
                    <a:pt x="16" y="12"/>
                  </a:lnTo>
                  <a:lnTo>
                    <a:pt x="16" y="16"/>
                  </a:lnTo>
                  <a:lnTo>
                    <a:pt x="12" y="18"/>
                  </a:lnTo>
                  <a:lnTo>
                    <a:pt x="18" y="20"/>
                  </a:lnTo>
                  <a:lnTo>
                    <a:pt x="20" y="22"/>
                  </a:lnTo>
                  <a:lnTo>
                    <a:pt x="18" y="24"/>
                  </a:lnTo>
                  <a:lnTo>
                    <a:pt x="18" y="24"/>
                  </a:lnTo>
                  <a:lnTo>
                    <a:pt x="14" y="22"/>
                  </a:lnTo>
                  <a:lnTo>
                    <a:pt x="12" y="22"/>
                  </a:lnTo>
                  <a:lnTo>
                    <a:pt x="10" y="22"/>
                  </a:lnTo>
                  <a:lnTo>
                    <a:pt x="6" y="26"/>
                  </a:lnTo>
                  <a:lnTo>
                    <a:pt x="2" y="28"/>
                  </a:lnTo>
                  <a:lnTo>
                    <a:pt x="0" y="30"/>
                  </a:lnTo>
                  <a:lnTo>
                    <a:pt x="0" y="34"/>
                  </a:lnTo>
                  <a:lnTo>
                    <a:pt x="2" y="32"/>
                  </a:lnTo>
                  <a:lnTo>
                    <a:pt x="8" y="34"/>
                  </a:lnTo>
                  <a:lnTo>
                    <a:pt x="16" y="34"/>
                  </a:lnTo>
                  <a:lnTo>
                    <a:pt x="18" y="3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66" name="Freeform 7"/>
            <p:cNvSpPr>
              <a:spLocks/>
            </p:cNvSpPr>
            <p:nvPr/>
          </p:nvSpPr>
          <p:spPr bwMode="auto">
            <a:xfrm>
              <a:off x="1632470" y="3589338"/>
              <a:ext cx="68786" cy="57150"/>
            </a:xfrm>
            <a:custGeom>
              <a:avLst/>
              <a:gdLst>
                <a:gd name="T0" fmla="*/ 18 w 40"/>
                <a:gd name="T1" fmla="*/ 36 h 36"/>
                <a:gd name="T2" fmla="*/ 20 w 40"/>
                <a:gd name="T3" fmla="*/ 34 h 36"/>
                <a:gd name="T4" fmla="*/ 26 w 40"/>
                <a:gd name="T5" fmla="*/ 30 h 36"/>
                <a:gd name="T6" fmla="*/ 28 w 40"/>
                <a:gd name="T7" fmla="*/ 24 h 36"/>
                <a:gd name="T8" fmla="*/ 40 w 40"/>
                <a:gd name="T9" fmla="*/ 10 h 36"/>
                <a:gd name="T10" fmla="*/ 40 w 40"/>
                <a:gd name="T11" fmla="*/ 10 h 36"/>
                <a:gd name="T12" fmla="*/ 38 w 40"/>
                <a:gd name="T13" fmla="*/ 10 h 36"/>
                <a:gd name="T14" fmla="*/ 38 w 40"/>
                <a:gd name="T15" fmla="*/ 8 h 36"/>
                <a:gd name="T16" fmla="*/ 38 w 40"/>
                <a:gd name="T17" fmla="*/ 4 h 36"/>
                <a:gd name="T18" fmla="*/ 36 w 40"/>
                <a:gd name="T19" fmla="*/ 2 h 36"/>
                <a:gd name="T20" fmla="*/ 32 w 40"/>
                <a:gd name="T21" fmla="*/ 0 h 36"/>
                <a:gd name="T22" fmla="*/ 30 w 40"/>
                <a:gd name="T23" fmla="*/ 0 h 36"/>
                <a:gd name="T24" fmla="*/ 28 w 40"/>
                <a:gd name="T25" fmla="*/ 0 h 36"/>
                <a:gd name="T26" fmla="*/ 26 w 40"/>
                <a:gd name="T27" fmla="*/ 4 h 36"/>
                <a:gd name="T28" fmla="*/ 20 w 40"/>
                <a:gd name="T29" fmla="*/ 6 h 36"/>
                <a:gd name="T30" fmla="*/ 16 w 40"/>
                <a:gd name="T31" fmla="*/ 12 h 36"/>
                <a:gd name="T32" fmla="*/ 16 w 40"/>
                <a:gd name="T33" fmla="*/ 16 h 36"/>
                <a:gd name="T34" fmla="*/ 12 w 40"/>
                <a:gd name="T35" fmla="*/ 18 h 36"/>
                <a:gd name="T36" fmla="*/ 18 w 40"/>
                <a:gd name="T37" fmla="*/ 20 h 36"/>
                <a:gd name="T38" fmla="*/ 20 w 40"/>
                <a:gd name="T39" fmla="*/ 22 h 36"/>
                <a:gd name="T40" fmla="*/ 18 w 40"/>
                <a:gd name="T41" fmla="*/ 24 h 36"/>
                <a:gd name="T42" fmla="*/ 18 w 40"/>
                <a:gd name="T43" fmla="*/ 24 h 36"/>
                <a:gd name="T44" fmla="*/ 14 w 40"/>
                <a:gd name="T45" fmla="*/ 22 h 36"/>
                <a:gd name="T46" fmla="*/ 12 w 40"/>
                <a:gd name="T47" fmla="*/ 22 h 36"/>
                <a:gd name="T48" fmla="*/ 10 w 40"/>
                <a:gd name="T49" fmla="*/ 22 h 36"/>
                <a:gd name="T50" fmla="*/ 6 w 40"/>
                <a:gd name="T51" fmla="*/ 26 h 36"/>
                <a:gd name="T52" fmla="*/ 2 w 40"/>
                <a:gd name="T53" fmla="*/ 28 h 36"/>
                <a:gd name="T54" fmla="*/ 0 w 40"/>
                <a:gd name="T55" fmla="*/ 30 h 36"/>
                <a:gd name="T56" fmla="*/ 0 w 40"/>
                <a:gd name="T57" fmla="*/ 34 h 36"/>
                <a:gd name="T58" fmla="*/ 2 w 40"/>
                <a:gd name="T59" fmla="*/ 32 h 36"/>
                <a:gd name="T60" fmla="*/ 8 w 40"/>
                <a:gd name="T61" fmla="*/ 34 h 36"/>
                <a:gd name="T62" fmla="*/ 16 w 40"/>
                <a:gd name="T63" fmla="*/ 34 h 36"/>
                <a:gd name="T64" fmla="*/ 18 w 40"/>
                <a:gd name="T6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6">
                  <a:moveTo>
                    <a:pt x="18" y="36"/>
                  </a:moveTo>
                  <a:lnTo>
                    <a:pt x="20" y="34"/>
                  </a:lnTo>
                  <a:lnTo>
                    <a:pt x="26" y="30"/>
                  </a:lnTo>
                  <a:lnTo>
                    <a:pt x="28" y="24"/>
                  </a:lnTo>
                  <a:lnTo>
                    <a:pt x="40" y="10"/>
                  </a:lnTo>
                  <a:lnTo>
                    <a:pt x="40" y="10"/>
                  </a:lnTo>
                  <a:lnTo>
                    <a:pt x="38" y="10"/>
                  </a:lnTo>
                  <a:lnTo>
                    <a:pt x="38" y="8"/>
                  </a:lnTo>
                  <a:lnTo>
                    <a:pt x="38" y="4"/>
                  </a:lnTo>
                  <a:lnTo>
                    <a:pt x="36" y="2"/>
                  </a:lnTo>
                  <a:lnTo>
                    <a:pt x="32" y="0"/>
                  </a:lnTo>
                  <a:lnTo>
                    <a:pt x="30" y="0"/>
                  </a:lnTo>
                  <a:lnTo>
                    <a:pt x="28" y="0"/>
                  </a:lnTo>
                  <a:lnTo>
                    <a:pt x="26" y="4"/>
                  </a:lnTo>
                  <a:lnTo>
                    <a:pt x="20" y="6"/>
                  </a:lnTo>
                  <a:lnTo>
                    <a:pt x="16" y="12"/>
                  </a:lnTo>
                  <a:lnTo>
                    <a:pt x="16" y="16"/>
                  </a:lnTo>
                  <a:lnTo>
                    <a:pt x="12" y="18"/>
                  </a:lnTo>
                  <a:lnTo>
                    <a:pt x="18" y="20"/>
                  </a:lnTo>
                  <a:lnTo>
                    <a:pt x="20" y="22"/>
                  </a:lnTo>
                  <a:lnTo>
                    <a:pt x="18" y="24"/>
                  </a:lnTo>
                  <a:lnTo>
                    <a:pt x="18" y="24"/>
                  </a:lnTo>
                  <a:lnTo>
                    <a:pt x="14" y="22"/>
                  </a:lnTo>
                  <a:lnTo>
                    <a:pt x="12" y="22"/>
                  </a:lnTo>
                  <a:lnTo>
                    <a:pt x="10" y="22"/>
                  </a:lnTo>
                  <a:lnTo>
                    <a:pt x="6" y="26"/>
                  </a:lnTo>
                  <a:lnTo>
                    <a:pt x="2" y="28"/>
                  </a:lnTo>
                  <a:lnTo>
                    <a:pt x="0" y="30"/>
                  </a:lnTo>
                  <a:lnTo>
                    <a:pt x="0" y="34"/>
                  </a:lnTo>
                  <a:lnTo>
                    <a:pt x="2" y="32"/>
                  </a:lnTo>
                  <a:lnTo>
                    <a:pt x="8" y="34"/>
                  </a:lnTo>
                  <a:lnTo>
                    <a:pt x="16" y="34"/>
                  </a:lnTo>
                  <a:lnTo>
                    <a:pt x="18" y="3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67" name="Freeform 8"/>
            <p:cNvSpPr>
              <a:spLocks/>
            </p:cNvSpPr>
            <p:nvPr/>
          </p:nvSpPr>
          <p:spPr bwMode="auto">
            <a:xfrm>
              <a:off x="1591198" y="3614738"/>
              <a:ext cx="27515" cy="12700"/>
            </a:xfrm>
            <a:custGeom>
              <a:avLst/>
              <a:gdLst>
                <a:gd name="T0" fmla="*/ 0 w 16"/>
                <a:gd name="T1" fmla="*/ 8 h 8"/>
                <a:gd name="T2" fmla="*/ 6 w 16"/>
                <a:gd name="T3" fmla="*/ 8 h 8"/>
                <a:gd name="T4" fmla="*/ 6 w 16"/>
                <a:gd name="T5" fmla="*/ 6 h 8"/>
                <a:gd name="T6" fmla="*/ 16 w 16"/>
                <a:gd name="T7" fmla="*/ 4 h 8"/>
                <a:gd name="T8" fmla="*/ 16 w 16"/>
                <a:gd name="T9" fmla="*/ 0 h 8"/>
                <a:gd name="T10" fmla="*/ 2 w 16"/>
                <a:gd name="T11" fmla="*/ 2 h 8"/>
                <a:gd name="T12" fmla="*/ 0 w 1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8"/>
                  </a:moveTo>
                  <a:lnTo>
                    <a:pt x="6" y="8"/>
                  </a:lnTo>
                  <a:lnTo>
                    <a:pt x="6" y="6"/>
                  </a:lnTo>
                  <a:lnTo>
                    <a:pt x="16" y="4"/>
                  </a:lnTo>
                  <a:lnTo>
                    <a:pt x="16" y="0"/>
                  </a:lnTo>
                  <a:lnTo>
                    <a:pt x="2" y="2"/>
                  </a:lnTo>
                  <a:lnTo>
                    <a:pt x="0"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68" name="Freeform 9"/>
            <p:cNvSpPr>
              <a:spLocks/>
            </p:cNvSpPr>
            <p:nvPr/>
          </p:nvSpPr>
          <p:spPr bwMode="auto">
            <a:xfrm>
              <a:off x="1591198" y="3614738"/>
              <a:ext cx="27515" cy="12700"/>
            </a:xfrm>
            <a:custGeom>
              <a:avLst/>
              <a:gdLst>
                <a:gd name="T0" fmla="*/ 0 w 16"/>
                <a:gd name="T1" fmla="*/ 8 h 8"/>
                <a:gd name="T2" fmla="*/ 6 w 16"/>
                <a:gd name="T3" fmla="*/ 8 h 8"/>
                <a:gd name="T4" fmla="*/ 6 w 16"/>
                <a:gd name="T5" fmla="*/ 6 h 8"/>
                <a:gd name="T6" fmla="*/ 16 w 16"/>
                <a:gd name="T7" fmla="*/ 4 h 8"/>
                <a:gd name="T8" fmla="*/ 16 w 16"/>
                <a:gd name="T9" fmla="*/ 0 h 8"/>
                <a:gd name="T10" fmla="*/ 2 w 16"/>
                <a:gd name="T11" fmla="*/ 2 h 8"/>
                <a:gd name="T12" fmla="*/ 0 w 1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8"/>
                  </a:moveTo>
                  <a:lnTo>
                    <a:pt x="6" y="8"/>
                  </a:lnTo>
                  <a:lnTo>
                    <a:pt x="6" y="6"/>
                  </a:lnTo>
                  <a:lnTo>
                    <a:pt x="16" y="4"/>
                  </a:lnTo>
                  <a:lnTo>
                    <a:pt x="16" y="0"/>
                  </a:lnTo>
                  <a:lnTo>
                    <a:pt x="2" y="2"/>
                  </a:lnTo>
                  <a:lnTo>
                    <a:pt x="0"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69" name="Freeform 10"/>
            <p:cNvSpPr>
              <a:spLocks/>
            </p:cNvSpPr>
            <p:nvPr/>
          </p:nvSpPr>
          <p:spPr bwMode="auto">
            <a:xfrm>
              <a:off x="1529291" y="4551363"/>
              <a:ext cx="10318" cy="15875"/>
            </a:xfrm>
            <a:custGeom>
              <a:avLst/>
              <a:gdLst>
                <a:gd name="T0" fmla="*/ 2 w 6"/>
                <a:gd name="T1" fmla="*/ 8 h 10"/>
                <a:gd name="T2" fmla="*/ 4 w 6"/>
                <a:gd name="T3" fmla="*/ 10 h 10"/>
                <a:gd name="T4" fmla="*/ 6 w 6"/>
                <a:gd name="T5" fmla="*/ 8 h 10"/>
                <a:gd name="T6" fmla="*/ 4 w 6"/>
                <a:gd name="T7" fmla="*/ 6 h 10"/>
                <a:gd name="T8" fmla="*/ 2 w 6"/>
                <a:gd name="T9" fmla="*/ 2 h 10"/>
                <a:gd name="T10" fmla="*/ 2 w 6"/>
                <a:gd name="T11" fmla="*/ 0 h 10"/>
                <a:gd name="T12" fmla="*/ 0 w 6"/>
                <a:gd name="T13" fmla="*/ 2 h 10"/>
                <a:gd name="T14" fmla="*/ 2 w 6"/>
                <a:gd name="T15" fmla="*/ 8 h 10"/>
                <a:gd name="T16" fmla="*/ 2 w 6"/>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2" y="8"/>
                  </a:moveTo>
                  <a:lnTo>
                    <a:pt x="4" y="10"/>
                  </a:lnTo>
                  <a:lnTo>
                    <a:pt x="6" y="8"/>
                  </a:lnTo>
                  <a:lnTo>
                    <a:pt x="4" y="6"/>
                  </a:lnTo>
                  <a:lnTo>
                    <a:pt x="2" y="2"/>
                  </a:lnTo>
                  <a:lnTo>
                    <a:pt x="2" y="0"/>
                  </a:lnTo>
                  <a:lnTo>
                    <a:pt x="0" y="2"/>
                  </a:lnTo>
                  <a:lnTo>
                    <a:pt x="2" y="8"/>
                  </a:lnTo>
                  <a:lnTo>
                    <a:pt x="2"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70" name="Freeform 11"/>
            <p:cNvSpPr>
              <a:spLocks/>
            </p:cNvSpPr>
            <p:nvPr/>
          </p:nvSpPr>
          <p:spPr bwMode="auto">
            <a:xfrm>
              <a:off x="1529291" y="4551363"/>
              <a:ext cx="10318" cy="15875"/>
            </a:xfrm>
            <a:custGeom>
              <a:avLst/>
              <a:gdLst>
                <a:gd name="T0" fmla="*/ 2 w 6"/>
                <a:gd name="T1" fmla="*/ 8 h 10"/>
                <a:gd name="T2" fmla="*/ 4 w 6"/>
                <a:gd name="T3" fmla="*/ 10 h 10"/>
                <a:gd name="T4" fmla="*/ 6 w 6"/>
                <a:gd name="T5" fmla="*/ 8 h 10"/>
                <a:gd name="T6" fmla="*/ 4 w 6"/>
                <a:gd name="T7" fmla="*/ 6 h 10"/>
                <a:gd name="T8" fmla="*/ 2 w 6"/>
                <a:gd name="T9" fmla="*/ 2 h 10"/>
                <a:gd name="T10" fmla="*/ 2 w 6"/>
                <a:gd name="T11" fmla="*/ 0 h 10"/>
                <a:gd name="T12" fmla="*/ 0 w 6"/>
                <a:gd name="T13" fmla="*/ 2 h 10"/>
                <a:gd name="T14" fmla="*/ 2 w 6"/>
                <a:gd name="T15" fmla="*/ 8 h 10"/>
                <a:gd name="T16" fmla="*/ 2 w 6"/>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2" y="8"/>
                  </a:moveTo>
                  <a:lnTo>
                    <a:pt x="4" y="10"/>
                  </a:lnTo>
                  <a:lnTo>
                    <a:pt x="6" y="8"/>
                  </a:lnTo>
                  <a:lnTo>
                    <a:pt x="4" y="6"/>
                  </a:lnTo>
                  <a:lnTo>
                    <a:pt x="2" y="2"/>
                  </a:lnTo>
                  <a:lnTo>
                    <a:pt x="2" y="0"/>
                  </a:lnTo>
                  <a:lnTo>
                    <a:pt x="0" y="2"/>
                  </a:lnTo>
                  <a:lnTo>
                    <a:pt x="2" y="8"/>
                  </a:lnTo>
                  <a:lnTo>
                    <a:pt x="2"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1" name="Freeform 12"/>
            <p:cNvSpPr>
              <a:spLocks/>
            </p:cNvSpPr>
            <p:nvPr/>
          </p:nvSpPr>
          <p:spPr bwMode="auto">
            <a:xfrm>
              <a:off x="1536169" y="4551363"/>
              <a:ext cx="3439" cy="9525"/>
            </a:xfrm>
            <a:custGeom>
              <a:avLst/>
              <a:gdLst>
                <a:gd name="T0" fmla="*/ 0 w 2"/>
                <a:gd name="T1" fmla="*/ 0 h 6"/>
                <a:gd name="T2" fmla="*/ 0 w 2"/>
                <a:gd name="T3" fmla="*/ 0 h 6"/>
                <a:gd name="T4" fmla="*/ 0 w 2"/>
                <a:gd name="T5" fmla="*/ 2 h 6"/>
                <a:gd name="T6" fmla="*/ 0 w 2"/>
                <a:gd name="T7" fmla="*/ 2 h 6"/>
                <a:gd name="T8" fmla="*/ 0 w 2"/>
                <a:gd name="T9" fmla="*/ 4 h 6"/>
                <a:gd name="T10" fmla="*/ 0 w 2"/>
                <a:gd name="T11" fmla="*/ 6 h 6"/>
                <a:gd name="T12" fmla="*/ 2 w 2"/>
                <a:gd name="T13" fmla="*/ 6 h 6"/>
                <a:gd name="T14" fmla="*/ 2 w 2"/>
                <a:gd name="T15" fmla="*/ 6 h 6"/>
                <a:gd name="T16" fmla="*/ 2 w 2"/>
                <a:gd name="T17" fmla="*/ 4 h 6"/>
                <a:gd name="T18" fmla="*/ 2 w 2"/>
                <a:gd name="T19" fmla="*/ 2 h 6"/>
                <a:gd name="T20" fmla="*/ 0 w 2"/>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0"/>
                  </a:moveTo>
                  <a:lnTo>
                    <a:pt x="0" y="0"/>
                  </a:lnTo>
                  <a:lnTo>
                    <a:pt x="0" y="2"/>
                  </a:lnTo>
                  <a:lnTo>
                    <a:pt x="0" y="2"/>
                  </a:lnTo>
                  <a:lnTo>
                    <a:pt x="0" y="4"/>
                  </a:lnTo>
                  <a:lnTo>
                    <a:pt x="0" y="6"/>
                  </a:lnTo>
                  <a:lnTo>
                    <a:pt x="2" y="6"/>
                  </a:lnTo>
                  <a:lnTo>
                    <a:pt x="2" y="6"/>
                  </a:lnTo>
                  <a:lnTo>
                    <a:pt x="2" y="4"/>
                  </a:lnTo>
                  <a:lnTo>
                    <a:pt x="2" y="2"/>
                  </a:lnTo>
                  <a:lnTo>
                    <a:pt x="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72" name="Freeform 13"/>
            <p:cNvSpPr>
              <a:spLocks/>
            </p:cNvSpPr>
            <p:nvPr/>
          </p:nvSpPr>
          <p:spPr bwMode="auto">
            <a:xfrm>
              <a:off x="1536169" y="4551363"/>
              <a:ext cx="3439" cy="9525"/>
            </a:xfrm>
            <a:custGeom>
              <a:avLst/>
              <a:gdLst>
                <a:gd name="T0" fmla="*/ 0 w 2"/>
                <a:gd name="T1" fmla="*/ 0 h 6"/>
                <a:gd name="T2" fmla="*/ 0 w 2"/>
                <a:gd name="T3" fmla="*/ 0 h 6"/>
                <a:gd name="T4" fmla="*/ 0 w 2"/>
                <a:gd name="T5" fmla="*/ 2 h 6"/>
                <a:gd name="T6" fmla="*/ 0 w 2"/>
                <a:gd name="T7" fmla="*/ 2 h 6"/>
                <a:gd name="T8" fmla="*/ 0 w 2"/>
                <a:gd name="T9" fmla="*/ 4 h 6"/>
                <a:gd name="T10" fmla="*/ 0 w 2"/>
                <a:gd name="T11" fmla="*/ 6 h 6"/>
                <a:gd name="T12" fmla="*/ 2 w 2"/>
                <a:gd name="T13" fmla="*/ 6 h 6"/>
                <a:gd name="T14" fmla="*/ 2 w 2"/>
                <a:gd name="T15" fmla="*/ 6 h 6"/>
                <a:gd name="T16" fmla="*/ 2 w 2"/>
                <a:gd name="T17" fmla="*/ 4 h 6"/>
                <a:gd name="T18" fmla="*/ 2 w 2"/>
                <a:gd name="T19" fmla="*/ 2 h 6"/>
                <a:gd name="T20" fmla="*/ 0 w 2"/>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0"/>
                  </a:moveTo>
                  <a:lnTo>
                    <a:pt x="0" y="0"/>
                  </a:lnTo>
                  <a:lnTo>
                    <a:pt x="0" y="2"/>
                  </a:lnTo>
                  <a:lnTo>
                    <a:pt x="0" y="2"/>
                  </a:lnTo>
                  <a:lnTo>
                    <a:pt x="0" y="4"/>
                  </a:lnTo>
                  <a:lnTo>
                    <a:pt x="0" y="6"/>
                  </a:lnTo>
                  <a:lnTo>
                    <a:pt x="2" y="6"/>
                  </a:lnTo>
                  <a:lnTo>
                    <a:pt x="2" y="6"/>
                  </a:lnTo>
                  <a:lnTo>
                    <a:pt x="2" y="4"/>
                  </a:lnTo>
                  <a:lnTo>
                    <a:pt x="2" y="2"/>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3" name="Freeform 14"/>
            <p:cNvSpPr>
              <a:spLocks/>
            </p:cNvSpPr>
            <p:nvPr/>
          </p:nvSpPr>
          <p:spPr bwMode="auto">
            <a:xfrm>
              <a:off x="1539609" y="4564063"/>
              <a:ext cx="6879" cy="9525"/>
            </a:xfrm>
            <a:custGeom>
              <a:avLst/>
              <a:gdLst>
                <a:gd name="T0" fmla="*/ 2 w 4"/>
                <a:gd name="T1" fmla="*/ 6 h 6"/>
                <a:gd name="T2" fmla="*/ 4 w 4"/>
                <a:gd name="T3" fmla="*/ 6 h 6"/>
                <a:gd name="T4" fmla="*/ 4 w 4"/>
                <a:gd name="T5" fmla="*/ 2 h 6"/>
                <a:gd name="T6" fmla="*/ 4 w 4"/>
                <a:gd name="T7" fmla="*/ 0 h 6"/>
                <a:gd name="T8" fmla="*/ 2 w 4"/>
                <a:gd name="T9" fmla="*/ 0 h 6"/>
                <a:gd name="T10" fmla="*/ 0 w 4"/>
                <a:gd name="T11" fmla="*/ 2 h 6"/>
                <a:gd name="T12" fmla="*/ 2 w 4"/>
                <a:gd name="T13" fmla="*/ 4 h 6"/>
                <a:gd name="T14" fmla="*/ 2 w 4"/>
                <a:gd name="T15" fmla="*/ 6 h 6"/>
                <a:gd name="T16" fmla="*/ 2 w 4"/>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6"/>
                  </a:moveTo>
                  <a:lnTo>
                    <a:pt x="4" y="6"/>
                  </a:lnTo>
                  <a:lnTo>
                    <a:pt x="4" y="2"/>
                  </a:lnTo>
                  <a:lnTo>
                    <a:pt x="4" y="0"/>
                  </a:lnTo>
                  <a:lnTo>
                    <a:pt x="2" y="0"/>
                  </a:lnTo>
                  <a:lnTo>
                    <a:pt x="0" y="2"/>
                  </a:lnTo>
                  <a:lnTo>
                    <a:pt x="2" y="4"/>
                  </a:lnTo>
                  <a:lnTo>
                    <a:pt x="2" y="6"/>
                  </a:lnTo>
                  <a:lnTo>
                    <a:pt x="2" y="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74" name="Freeform 15"/>
            <p:cNvSpPr>
              <a:spLocks/>
            </p:cNvSpPr>
            <p:nvPr/>
          </p:nvSpPr>
          <p:spPr bwMode="auto">
            <a:xfrm>
              <a:off x="1539609" y="4564063"/>
              <a:ext cx="6879" cy="9525"/>
            </a:xfrm>
            <a:custGeom>
              <a:avLst/>
              <a:gdLst>
                <a:gd name="T0" fmla="*/ 2 w 4"/>
                <a:gd name="T1" fmla="*/ 6 h 6"/>
                <a:gd name="T2" fmla="*/ 4 w 4"/>
                <a:gd name="T3" fmla="*/ 6 h 6"/>
                <a:gd name="T4" fmla="*/ 4 w 4"/>
                <a:gd name="T5" fmla="*/ 2 h 6"/>
                <a:gd name="T6" fmla="*/ 4 w 4"/>
                <a:gd name="T7" fmla="*/ 0 h 6"/>
                <a:gd name="T8" fmla="*/ 2 w 4"/>
                <a:gd name="T9" fmla="*/ 0 h 6"/>
                <a:gd name="T10" fmla="*/ 0 w 4"/>
                <a:gd name="T11" fmla="*/ 2 h 6"/>
                <a:gd name="T12" fmla="*/ 2 w 4"/>
                <a:gd name="T13" fmla="*/ 4 h 6"/>
                <a:gd name="T14" fmla="*/ 2 w 4"/>
                <a:gd name="T15" fmla="*/ 6 h 6"/>
                <a:gd name="T16" fmla="*/ 2 w 4"/>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6"/>
                  </a:moveTo>
                  <a:lnTo>
                    <a:pt x="4" y="6"/>
                  </a:lnTo>
                  <a:lnTo>
                    <a:pt x="4" y="2"/>
                  </a:lnTo>
                  <a:lnTo>
                    <a:pt x="4" y="0"/>
                  </a:lnTo>
                  <a:lnTo>
                    <a:pt x="2" y="0"/>
                  </a:lnTo>
                  <a:lnTo>
                    <a:pt x="0" y="2"/>
                  </a:lnTo>
                  <a:lnTo>
                    <a:pt x="2" y="4"/>
                  </a:lnTo>
                  <a:lnTo>
                    <a:pt x="2" y="6"/>
                  </a:lnTo>
                  <a:lnTo>
                    <a:pt x="2" y="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5" name="Freeform 18"/>
            <p:cNvSpPr>
              <a:spLocks/>
            </p:cNvSpPr>
            <p:nvPr/>
          </p:nvSpPr>
          <p:spPr bwMode="auto">
            <a:xfrm>
              <a:off x="1711574" y="3424238"/>
              <a:ext cx="481505" cy="225425"/>
            </a:xfrm>
            <a:custGeom>
              <a:avLst/>
              <a:gdLst>
                <a:gd name="T0" fmla="*/ 188 w 280"/>
                <a:gd name="T1" fmla="*/ 142 h 142"/>
                <a:gd name="T2" fmla="*/ 234 w 280"/>
                <a:gd name="T3" fmla="*/ 84 h 142"/>
                <a:gd name="T4" fmla="*/ 270 w 280"/>
                <a:gd name="T5" fmla="*/ 78 h 142"/>
                <a:gd name="T6" fmla="*/ 274 w 280"/>
                <a:gd name="T7" fmla="*/ 76 h 142"/>
                <a:gd name="T8" fmla="*/ 276 w 280"/>
                <a:gd name="T9" fmla="*/ 72 h 142"/>
                <a:gd name="T10" fmla="*/ 274 w 280"/>
                <a:gd name="T11" fmla="*/ 70 h 142"/>
                <a:gd name="T12" fmla="*/ 258 w 280"/>
                <a:gd name="T13" fmla="*/ 70 h 142"/>
                <a:gd name="T14" fmla="*/ 236 w 280"/>
                <a:gd name="T15" fmla="*/ 56 h 142"/>
                <a:gd name="T16" fmla="*/ 210 w 280"/>
                <a:gd name="T17" fmla="*/ 52 h 142"/>
                <a:gd name="T18" fmla="*/ 200 w 280"/>
                <a:gd name="T19" fmla="*/ 50 h 142"/>
                <a:gd name="T20" fmla="*/ 172 w 280"/>
                <a:gd name="T21" fmla="*/ 36 h 142"/>
                <a:gd name="T22" fmla="*/ 166 w 280"/>
                <a:gd name="T23" fmla="*/ 24 h 142"/>
                <a:gd name="T24" fmla="*/ 140 w 280"/>
                <a:gd name="T25" fmla="*/ 18 h 142"/>
                <a:gd name="T26" fmla="*/ 130 w 280"/>
                <a:gd name="T27" fmla="*/ 14 h 142"/>
                <a:gd name="T28" fmla="*/ 126 w 280"/>
                <a:gd name="T29" fmla="*/ 10 h 142"/>
                <a:gd name="T30" fmla="*/ 128 w 280"/>
                <a:gd name="T31" fmla="*/ 10 h 142"/>
                <a:gd name="T32" fmla="*/ 126 w 280"/>
                <a:gd name="T33" fmla="*/ 6 h 142"/>
                <a:gd name="T34" fmla="*/ 120 w 280"/>
                <a:gd name="T35" fmla="*/ 0 h 142"/>
                <a:gd name="T36" fmla="*/ 114 w 280"/>
                <a:gd name="T37" fmla="*/ 4 h 142"/>
                <a:gd name="T38" fmla="*/ 110 w 280"/>
                <a:gd name="T39" fmla="*/ 8 h 142"/>
                <a:gd name="T40" fmla="*/ 108 w 280"/>
                <a:gd name="T41" fmla="*/ 18 h 142"/>
                <a:gd name="T42" fmla="*/ 104 w 280"/>
                <a:gd name="T43" fmla="*/ 16 h 142"/>
                <a:gd name="T44" fmla="*/ 98 w 280"/>
                <a:gd name="T45" fmla="*/ 16 h 142"/>
                <a:gd name="T46" fmla="*/ 90 w 280"/>
                <a:gd name="T47" fmla="*/ 20 h 142"/>
                <a:gd name="T48" fmla="*/ 86 w 280"/>
                <a:gd name="T49" fmla="*/ 22 h 142"/>
                <a:gd name="T50" fmla="*/ 84 w 280"/>
                <a:gd name="T51" fmla="*/ 16 h 142"/>
                <a:gd name="T52" fmla="*/ 78 w 280"/>
                <a:gd name="T53" fmla="*/ 20 h 142"/>
                <a:gd name="T54" fmla="*/ 72 w 280"/>
                <a:gd name="T55" fmla="*/ 26 h 142"/>
                <a:gd name="T56" fmla="*/ 64 w 280"/>
                <a:gd name="T57" fmla="*/ 42 h 142"/>
                <a:gd name="T58" fmla="*/ 56 w 280"/>
                <a:gd name="T59" fmla="*/ 52 h 142"/>
                <a:gd name="T60" fmla="*/ 68 w 280"/>
                <a:gd name="T61" fmla="*/ 58 h 142"/>
                <a:gd name="T62" fmla="*/ 68 w 280"/>
                <a:gd name="T63" fmla="*/ 60 h 142"/>
                <a:gd name="T64" fmla="*/ 70 w 280"/>
                <a:gd name="T65" fmla="*/ 62 h 142"/>
                <a:gd name="T66" fmla="*/ 68 w 280"/>
                <a:gd name="T67" fmla="*/ 62 h 142"/>
                <a:gd name="T68" fmla="*/ 64 w 280"/>
                <a:gd name="T69" fmla="*/ 64 h 142"/>
                <a:gd name="T70" fmla="*/ 66 w 280"/>
                <a:gd name="T71" fmla="*/ 66 h 142"/>
                <a:gd name="T72" fmla="*/ 68 w 280"/>
                <a:gd name="T73" fmla="*/ 72 h 142"/>
                <a:gd name="T74" fmla="*/ 66 w 280"/>
                <a:gd name="T75" fmla="*/ 76 h 142"/>
                <a:gd name="T76" fmla="*/ 66 w 280"/>
                <a:gd name="T77" fmla="*/ 80 h 142"/>
                <a:gd name="T78" fmla="*/ 62 w 280"/>
                <a:gd name="T79" fmla="*/ 82 h 142"/>
                <a:gd name="T80" fmla="*/ 56 w 280"/>
                <a:gd name="T81" fmla="*/ 80 h 142"/>
                <a:gd name="T82" fmla="*/ 52 w 280"/>
                <a:gd name="T83" fmla="*/ 82 h 142"/>
                <a:gd name="T84" fmla="*/ 48 w 280"/>
                <a:gd name="T85" fmla="*/ 82 h 142"/>
                <a:gd name="T86" fmla="*/ 50 w 280"/>
                <a:gd name="T87" fmla="*/ 86 h 142"/>
                <a:gd name="T88" fmla="*/ 48 w 280"/>
                <a:gd name="T89" fmla="*/ 84 h 142"/>
                <a:gd name="T90" fmla="*/ 38 w 280"/>
                <a:gd name="T91" fmla="*/ 82 h 142"/>
                <a:gd name="T92" fmla="*/ 34 w 280"/>
                <a:gd name="T93" fmla="*/ 84 h 142"/>
                <a:gd name="T94" fmla="*/ 34 w 280"/>
                <a:gd name="T95" fmla="*/ 88 h 142"/>
                <a:gd name="T96" fmla="*/ 32 w 280"/>
                <a:gd name="T97" fmla="*/ 90 h 142"/>
                <a:gd name="T98" fmla="*/ 22 w 280"/>
                <a:gd name="T99" fmla="*/ 92 h 142"/>
                <a:gd name="T100" fmla="*/ 14 w 280"/>
                <a:gd name="T101" fmla="*/ 90 h 142"/>
                <a:gd name="T102" fmla="*/ 8 w 280"/>
                <a:gd name="T103" fmla="*/ 96 h 142"/>
                <a:gd name="T104" fmla="*/ 6 w 280"/>
                <a:gd name="T105" fmla="*/ 100 h 142"/>
                <a:gd name="T106" fmla="*/ 0 w 280"/>
                <a:gd name="T107" fmla="*/ 106 h 142"/>
                <a:gd name="T108" fmla="*/ 8 w 280"/>
                <a:gd name="T109" fmla="*/ 110 h 142"/>
                <a:gd name="T110" fmla="*/ 14 w 280"/>
                <a:gd name="T111" fmla="*/ 130 h 142"/>
                <a:gd name="T112" fmla="*/ 24 w 280"/>
                <a:gd name="T113" fmla="*/ 13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 h="142">
                  <a:moveTo>
                    <a:pt x="106" y="140"/>
                  </a:moveTo>
                  <a:lnTo>
                    <a:pt x="188" y="142"/>
                  </a:lnTo>
                  <a:lnTo>
                    <a:pt x="200" y="132"/>
                  </a:lnTo>
                  <a:lnTo>
                    <a:pt x="234" y="84"/>
                  </a:lnTo>
                  <a:lnTo>
                    <a:pt x="252" y="88"/>
                  </a:lnTo>
                  <a:lnTo>
                    <a:pt x="270" y="78"/>
                  </a:lnTo>
                  <a:lnTo>
                    <a:pt x="280" y="78"/>
                  </a:lnTo>
                  <a:lnTo>
                    <a:pt x="274" y="76"/>
                  </a:lnTo>
                  <a:lnTo>
                    <a:pt x="274" y="76"/>
                  </a:lnTo>
                  <a:lnTo>
                    <a:pt x="276" y="72"/>
                  </a:lnTo>
                  <a:lnTo>
                    <a:pt x="274" y="72"/>
                  </a:lnTo>
                  <a:lnTo>
                    <a:pt x="274" y="70"/>
                  </a:lnTo>
                  <a:lnTo>
                    <a:pt x="268" y="70"/>
                  </a:lnTo>
                  <a:lnTo>
                    <a:pt x="258" y="70"/>
                  </a:lnTo>
                  <a:lnTo>
                    <a:pt x="240" y="60"/>
                  </a:lnTo>
                  <a:lnTo>
                    <a:pt x="236" y="56"/>
                  </a:lnTo>
                  <a:lnTo>
                    <a:pt x="224" y="52"/>
                  </a:lnTo>
                  <a:lnTo>
                    <a:pt x="210" y="52"/>
                  </a:lnTo>
                  <a:lnTo>
                    <a:pt x="204" y="50"/>
                  </a:lnTo>
                  <a:lnTo>
                    <a:pt x="200" y="50"/>
                  </a:lnTo>
                  <a:lnTo>
                    <a:pt x="182" y="44"/>
                  </a:lnTo>
                  <a:lnTo>
                    <a:pt x="172" y="36"/>
                  </a:lnTo>
                  <a:lnTo>
                    <a:pt x="168" y="28"/>
                  </a:lnTo>
                  <a:lnTo>
                    <a:pt x="166" y="24"/>
                  </a:lnTo>
                  <a:lnTo>
                    <a:pt x="160" y="22"/>
                  </a:lnTo>
                  <a:lnTo>
                    <a:pt x="140" y="18"/>
                  </a:lnTo>
                  <a:lnTo>
                    <a:pt x="138" y="18"/>
                  </a:lnTo>
                  <a:lnTo>
                    <a:pt x="130" y="14"/>
                  </a:lnTo>
                  <a:lnTo>
                    <a:pt x="126" y="12"/>
                  </a:lnTo>
                  <a:lnTo>
                    <a:pt x="126" y="10"/>
                  </a:lnTo>
                  <a:lnTo>
                    <a:pt x="128" y="10"/>
                  </a:lnTo>
                  <a:lnTo>
                    <a:pt x="128" y="10"/>
                  </a:lnTo>
                  <a:lnTo>
                    <a:pt x="128" y="8"/>
                  </a:lnTo>
                  <a:lnTo>
                    <a:pt x="126" y="6"/>
                  </a:lnTo>
                  <a:lnTo>
                    <a:pt x="122" y="2"/>
                  </a:lnTo>
                  <a:lnTo>
                    <a:pt x="120" y="0"/>
                  </a:lnTo>
                  <a:lnTo>
                    <a:pt x="114" y="4"/>
                  </a:lnTo>
                  <a:lnTo>
                    <a:pt x="114" y="4"/>
                  </a:lnTo>
                  <a:lnTo>
                    <a:pt x="112" y="6"/>
                  </a:lnTo>
                  <a:lnTo>
                    <a:pt x="110" y="8"/>
                  </a:lnTo>
                  <a:lnTo>
                    <a:pt x="110" y="16"/>
                  </a:lnTo>
                  <a:lnTo>
                    <a:pt x="108" y="18"/>
                  </a:lnTo>
                  <a:lnTo>
                    <a:pt x="108" y="18"/>
                  </a:lnTo>
                  <a:lnTo>
                    <a:pt x="104" y="16"/>
                  </a:lnTo>
                  <a:lnTo>
                    <a:pt x="98" y="14"/>
                  </a:lnTo>
                  <a:lnTo>
                    <a:pt x="98" y="16"/>
                  </a:lnTo>
                  <a:lnTo>
                    <a:pt x="96" y="20"/>
                  </a:lnTo>
                  <a:lnTo>
                    <a:pt x="90" y="20"/>
                  </a:lnTo>
                  <a:lnTo>
                    <a:pt x="88" y="20"/>
                  </a:lnTo>
                  <a:lnTo>
                    <a:pt x="86" y="22"/>
                  </a:lnTo>
                  <a:lnTo>
                    <a:pt x="84" y="18"/>
                  </a:lnTo>
                  <a:lnTo>
                    <a:pt x="84" y="16"/>
                  </a:lnTo>
                  <a:lnTo>
                    <a:pt x="82" y="14"/>
                  </a:lnTo>
                  <a:lnTo>
                    <a:pt x="78" y="20"/>
                  </a:lnTo>
                  <a:lnTo>
                    <a:pt x="72" y="24"/>
                  </a:lnTo>
                  <a:lnTo>
                    <a:pt x="72" y="26"/>
                  </a:lnTo>
                  <a:lnTo>
                    <a:pt x="70" y="34"/>
                  </a:lnTo>
                  <a:lnTo>
                    <a:pt x="64" y="42"/>
                  </a:lnTo>
                  <a:lnTo>
                    <a:pt x="60" y="48"/>
                  </a:lnTo>
                  <a:lnTo>
                    <a:pt x="56" y="52"/>
                  </a:lnTo>
                  <a:lnTo>
                    <a:pt x="64" y="58"/>
                  </a:lnTo>
                  <a:lnTo>
                    <a:pt x="68" y="58"/>
                  </a:lnTo>
                  <a:lnTo>
                    <a:pt x="68" y="58"/>
                  </a:lnTo>
                  <a:lnTo>
                    <a:pt x="68" y="60"/>
                  </a:lnTo>
                  <a:lnTo>
                    <a:pt x="70" y="62"/>
                  </a:lnTo>
                  <a:lnTo>
                    <a:pt x="70" y="62"/>
                  </a:lnTo>
                  <a:lnTo>
                    <a:pt x="70" y="64"/>
                  </a:lnTo>
                  <a:lnTo>
                    <a:pt x="68" y="62"/>
                  </a:lnTo>
                  <a:lnTo>
                    <a:pt x="66" y="64"/>
                  </a:lnTo>
                  <a:lnTo>
                    <a:pt x="64" y="64"/>
                  </a:lnTo>
                  <a:lnTo>
                    <a:pt x="64" y="64"/>
                  </a:lnTo>
                  <a:lnTo>
                    <a:pt x="66" y="66"/>
                  </a:lnTo>
                  <a:lnTo>
                    <a:pt x="66" y="68"/>
                  </a:lnTo>
                  <a:lnTo>
                    <a:pt x="68" y="72"/>
                  </a:lnTo>
                  <a:lnTo>
                    <a:pt x="66" y="72"/>
                  </a:lnTo>
                  <a:lnTo>
                    <a:pt x="66" y="76"/>
                  </a:lnTo>
                  <a:lnTo>
                    <a:pt x="64" y="78"/>
                  </a:lnTo>
                  <a:lnTo>
                    <a:pt x="66" y="80"/>
                  </a:lnTo>
                  <a:lnTo>
                    <a:pt x="64" y="80"/>
                  </a:lnTo>
                  <a:lnTo>
                    <a:pt x="62" y="82"/>
                  </a:lnTo>
                  <a:lnTo>
                    <a:pt x="60" y="80"/>
                  </a:lnTo>
                  <a:lnTo>
                    <a:pt x="56" y="80"/>
                  </a:lnTo>
                  <a:lnTo>
                    <a:pt x="54" y="80"/>
                  </a:lnTo>
                  <a:lnTo>
                    <a:pt x="52" y="82"/>
                  </a:lnTo>
                  <a:lnTo>
                    <a:pt x="50" y="82"/>
                  </a:lnTo>
                  <a:lnTo>
                    <a:pt x="48" y="82"/>
                  </a:lnTo>
                  <a:lnTo>
                    <a:pt x="50" y="86"/>
                  </a:lnTo>
                  <a:lnTo>
                    <a:pt x="50" y="86"/>
                  </a:lnTo>
                  <a:lnTo>
                    <a:pt x="48" y="86"/>
                  </a:lnTo>
                  <a:lnTo>
                    <a:pt x="48" y="84"/>
                  </a:lnTo>
                  <a:lnTo>
                    <a:pt x="40" y="80"/>
                  </a:lnTo>
                  <a:lnTo>
                    <a:pt x="38" y="82"/>
                  </a:lnTo>
                  <a:lnTo>
                    <a:pt x="36" y="82"/>
                  </a:lnTo>
                  <a:lnTo>
                    <a:pt x="34" y="84"/>
                  </a:lnTo>
                  <a:lnTo>
                    <a:pt x="32" y="86"/>
                  </a:lnTo>
                  <a:lnTo>
                    <a:pt x="34" y="88"/>
                  </a:lnTo>
                  <a:lnTo>
                    <a:pt x="34" y="90"/>
                  </a:lnTo>
                  <a:lnTo>
                    <a:pt x="32" y="90"/>
                  </a:lnTo>
                  <a:lnTo>
                    <a:pt x="24" y="90"/>
                  </a:lnTo>
                  <a:lnTo>
                    <a:pt x="22" y="92"/>
                  </a:lnTo>
                  <a:lnTo>
                    <a:pt x="20" y="90"/>
                  </a:lnTo>
                  <a:lnTo>
                    <a:pt x="14" y="90"/>
                  </a:lnTo>
                  <a:lnTo>
                    <a:pt x="10" y="96"/>
                  </a:lnTo>
                  <a:lnTo>
                    <a:pt x="8" y="96"/>
                  </a:lnTo>
                  <a:lnTo>
                    <a:pt x="8" y="98"/>
                  </a:lnTo>
                  <a:lnTo>
                    <a:pt x="6" y="100"/>
                  </a:lnTo>
                  <a:lnTo>
                    <a:pt x="4" y="104"/>
                  </a:lnTo>
                  <a:lnTo>
                    <a:pt x="0" y="106"/>
                  </a:lnTo>
                  <a:lnTo>
                    <a:pt x="8" y="108"/>
                  </a:lnTo>
                  <a:lnTo>
                    <a:pt x="8" y="110"/>
                  </a:lnTo>
                  <a:lnTo>
                    <a:pt x="8" y="116"/>
                  </a:lnTo>
                  <a:lnTo>
                    <a:pt x="14" y="130"/>
                  </a:lnTo>
                  <a:lnTo>
                    <a:pt x="20" y="134"/>
                  </a:lnTo>
                  <a:lnTo>
                    <a:pt x="24" y="136"/>
                  </a:lnTo>
                  <a:lnTo>
                    <a:pt x="106" y="14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76" name="Freeform 19"/>
            <p:cNvSpPr>
              <a:spLocks/>
            </p:cNvSpPr>
            <p:nvPr/>
          </p:nvSpPr>
          <p:spPr bwMode="auto">
            <a:xfrm>
              <a:off x="1711574" y="3424238"/>
              <a:ext cx="481505" cy="225425"/>
            </a:xfrm>
            <a:custGeom>
              <a:avLst/>
              <a:gdLst>
                <a:gd name="T0" fmla="*/ 188 w 280"/>
                <a:gd name="T1" fmla="*/ 142 h 142"/>
                <a:gd name="T2" fmla="*/ 234 w 280"/>
                <a:gd name="T3" fmla="*/ 84 h 142"/>
                <a:gd name="T4" fmla="*/ 270 w 280"/>
                <a:gd name="T5" fmla="*/ 78 h 142"/>
                <a:gd name="T6" fmla="*/ 274 w 280"/>
                <a:gd name="T7" fmla="*/ 76 h 142"/>
                <a:gd name="T8" fmla="*/ 276 w 280"/>
                <a:gd name="T9" fmla="*/ 72 h 142"/>
                <a:gd name="T10" fmla="*/ 274 w 280"/>
                <a:gd name="T11" fmla="*/ 70 h 142"/>
                <a:gd name="T12" fmla="*/ 258 w 280"/>
                <a:gd name="T13" fmla="*/ 70 h 142"/>
                <a:gd name="T14" fmla="*/ 236 w 280"/>
                <a:gd name="T15" fmla="*/ 56 h 142"/>
                <a:gd name="T16" fmla="*/ 210 w 280"/>
                <a:gd name="T17" fmla="*/ 52 h 142"/>
                <a:gd name="T18" fmla="*/ 200 w 280"/>
                <a:gd name="T19" fmla="*/ 50 h 142"/>
                <a:gd name="T20" fmla="*/ 172 w 280"/>
                <a:gd name="T21" fmla="*/ 36 h 142"/>
                <a:gd name="T22" fmla="*/ 166 w 280"/>
                <a:gd name="T23" fmla="*/ 24 h 142"/>
                <a:gd name="T24" fmla="*/ 140 w 280"/>
                <a:gd name="T25" fmla="*/ 18 h 142"/>
                <a:gd name="T26" fmla="*/ 130 w 280"/>
                <a:gd name="T27" fmla="*/ 14 h 142"/>
                <a:gd name="T28" fmla="*/ 126 w 280"/>
                <a:gd name="T29" fmla="*/ 10 h 142"/>
                <a:gd name="T30" fmla="*/ 128 w 280"/>
                <a:gd name="T31" fmla="*/ 10 h 142"/>
                <a:gd name="T32" fmla="*/ 126 w 280"/>
                <a:gd name="T33" fmla="*/ 6 h 142"/>
                <a:gd name="T34" fmla="*/ 120 w 280"/>
                <a:gd name="T35" fmla="*/ 0 h 142"/>
                <a:gd name="T36" fmla="*/ 114 w 280"/>
                <a:gd name="T37" fmla="*/ 4 h 142"/>
                <a:gd name="T38" fmla="*/ 110 w 280"/>
                <a:gd name="T39" fmla="*/ 8 h 142"/>
                <a:gd name="T40" fmla="*/ 108 w 280"/>
                <a:gd name="T41" fmla="*/ 18 h 142"/>
                <a:gd name="T42" fmla="*/ 104 w 280"/>
                <a:gd name="T43" fmla="*/ 16 h 142"/>
                <a:gd name="T44" fmla="*/ 98 w 280"/>
                <a:gd name="T45" fmla="*/ 16 h 142"/>
                <a:gd name="T46" fmla="*/ 90 w 280"/>
                <a:gd name="T47" fmla="*/ 20 h 142"/>
                <a:gd name="T48" fmla="*/ 86 w 280"/>
                <a:gd name="T49" fmla="*/ 22 h 142"/>
                <a:gd name="T50" fmla="*/ 84 w 280"/>
                <a:gd name="T51" fmla="*/ 16 h 142"/>
                <a:gd name="T52" fmla="*/ 78 w 280"/>
                <a:gd name="T53" fmla="*/ 20 h 142"/>
                <a:gd name="T54" fmla="*/ 72 w 280"/>
                <a:gd name="T55" fmla="*/ 26 h 142"/>
                <a:gd name="T56" fmla="*/ 64 w 280"/>
                <a:gd name="T57" fmla="*/ 42 h 142"/>
                <a:gd name="T58" fmla="*/ 56 w 280"/>
                <a:gd name="T59" fmla="*/ 52 h 142"/>
                <a:gd name="T60" fmla="*/ 68 w 280"/>
                <a:gd name="T61" fmla="*/ 58 h 142"/>
                <a:gd name="T62" fmla="*/ 68 w 280"/>
                <a:gd name="T63" fmla="*/ 60 h 142"/>
                <a:gd name="T64" fmla="*/ 70 w 280"/>
                <a:gd name="T65" fmla="*/ 62 h 142"/>
                <a:gd name="T66" fmla="*/ 68 w 280"/>
                <a:gd name="T67" fmla="*/ 62 h 142"/>
                <a:gd name="T68" fmla="*/ 64 w 280"/>
                <a:gd name="T69" fmla="*/ 64 h 142"/>
                <a:gd name="T70" fmla="*/ 66 w 280"/>
                <a:gd name="T71" fmla="*/ 66 h 142"/>
                <a:gd name="T72" fmla="*/ 68 w 280"/>
                <a:gd name="T73" fmla="*/ 72 h 142"/>
                <a:gd name="T74" fmla="*/ 66 w 280"/>
                <a:gd name="T75" fmla="*/ 76 h 142"/>
                <a:gd name="T76" fmla="*/ 66 w 280"/>
                <a:gd name="T77" fmla="*/ 80 h 142"/>
                <a:gd name="T78" fmla="*/ 62 w 280"/>
                <a:gd name="T79" fmla="*/ 82 h 142"/>
                <a:gd name="T80" fmla="*/ 56 w 280"/>
                <a:gd name="T81" fmla="*/ 80 h 142"/>
                <a:gd name="T82" fmla="*/ 52 w 280"/>
                <a:gd name="T83" fmla="*/ 82 h 142"/>
                <a:gd name="T84" fmla="*/ 48 w 280"/>
                <a:gd name="T85" fmla="*/ 82 h 142"/>
                <a:gd name="T86" fmla="*/ 50 w 280"/>
                <a:gd name="T87" fmla="*/ 86 h 142"/>
                <a:gd name="T88" fmla="*/ 48 w 280"/>
                <a:gd name="T89" fmla="*/ 84 h 142"/>
                <a:gd name="T90" fmla="*/ 38 w 280"/>
                <a:gd name="T91" fmla="*/ 82 h 142"/>
                <a:gd name="T92" fmla="*/ 34 w 280"/>
                <a:gd name="T93" fmla="*/ 84 h 142"/>
                <a:gd name="T94" fmla="*/ 34 w 280"/>
                <a:gd name="T95" fmla="*/ 88 h 142"/>
                <a:gd name="T96" fmla="*/ 32 w 280"/>
                <a:gd name="T97" fmla="*/ 90 h 142"/>
                <a:gd name="T98" fmla="*/ 22 w 280"/>
                <a:gd name="T99" fmla="*/ 92 h 142"/>
                <a:gd name="T100" fmla="*/ 14 w 280"/>
                <a:gd name="T101" fmla="*/ 90 h 142"/>
                <a:gd name="T102" fmla="*/ 8 w 280"/>
                <a:gd name="T103" fmla="*/ 96 h 142"/>
                <a:gd name="T104" fmla="*/ 6 w 280"/>
                <a:gd name="T105" fmla="*/ 100 h 142"/>
                <a:gd name="T106" fmla="*/ 0 w 280"/>
                <a:gd name="T107" fmla="*/ 106 h 142"/>
                <a:gd name="T108" fmla="*/ 8 w 280"/>
                <a:gd name="T109" fmla="*/ 110 h 142"/>
                <a:gd name="T110" fmla="*/ 14 w 280"/>
                <a:gd name="T111" fmla="*/ 130 h 142"/>
                <a:gd name="T112" fmla="*/ 24 w 280"/>
                <a:gd name="T113" fmla="*/ 13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 h="142">
                  <a:moveTo>
                    <a:pt x="106" y="140"/>
                  </a:moveTo>
                  <a:lnTo>
                    <a:pt x="188" y="142"/>
                  </a:lnTo>
                  <a:lnTo>
                    <a:pt x="200" y="132"/>
                  </a:lnTo>
                  <a:lnTo>
                    <a:pt x="234" y="84"/>
                  </a:lnTo>
                  <a:lnTo>
                    <a:pt x="252" y="88"/>
                  </a:lnTo>
                  <a:lnTo>
                    <a:pt x="270" y="78"/>
                  </a:lnTo>
                  <a:lnTo>
                    <a:pt x="280" y="78"/>
                  </a:lnTo>
                  <a:lnTo>
                    <a:pt x="274" y="76"/>
                  </a:lnTo>
                  <a:lnTo>
                    <a:pt x="274" y="76"/>
                  </a:lnTo>
                  <a:lnTo>
                    <a:pt x="276" y="72"/>
                  </a:lnTo>
                  <a:lnTo>
                    <a:pt x="274" y="72"/>
                  </a:lnTo>
                  <a:lnTo>
                    <a:pt x="274" y="70"/>
                  </a:lnTo>
                  <a:lnTo>
                    <a:pt x="268" y="70"/>
                  </a:lnTo>
                  <a:lnTo>
                    <a:pt x="258" y="70"/>
                  </a:lnTo>
                  <a:lnTo>
                    <a:pt x="240" y="60"/>
                  </a:lnTo>
                  <a:lnTo>
                    <a:pt x="236" y="56"/>
                  </a:lnTo>
                  <a:lnTo>
                    <a:pt x="224" y="52"/>
                  </a:lnTo>
                  <a:lnTo>
                    <a:pt x="210" y="52"/>
                  </a:lnTo>
                  <a:lnTo>
                    <a:pt x="204" y="50"/>
                  </a:lnTo>
                  <a:lnTo>
                    <a:pt x="200" y="50"/>
                  </a:lnTo>
                  <a:lnTo>
                    <a:pt x="182" y="44"/>
                  </a:lnTo>
                  <a:lnTo>
                    <a:pt x="172" y="36"/>
                  </a:lnTo>
                  <a:lnTo>
                    <a:pt x="168" y="28"/>
                  </a:lnTo>
                  <a:lnTo>
                    <a:pt x="166" y="24"/>
                  </a:lnTo>
                  <a:lnTo>
                    <a:pt x="160" y="22"/>
                  </a:lnTo>
                  <a:lnTo>
                    <a:pt x="140" y="18"/>
                  </a:lnTo>
                  <a:lnTo>
                    <a:pt x="138" y="18"/>
                  </a:lnTo>
                  <a:lnTo>
                    <a:pt x="130" y="14"/>
                  </a:lnTo>
                  <a:lnTo>
                    <a:pt x="126" y="12"/>
                  </a:lnTo>
                  <a:lnTo>
                    <a:pt x="126" y="10"/>
                  </a:lnTo>
                  <a:lnTo>
                    <a:pt x="128" y="10"/>
                  </a:lnTo>
                  <a:lnTo>
                    <a:pt x="128" y="10"/>
                  </a:lnTo>
                  <a:lnTo>
                    <a:pt x="128" y="8"/>
                  </a:lnTo>
                  <a:lnTo>
                    <a:pt x="126" y="6"/>
                  </a:lnTo>
                  <a:lnTo>
                    <a:pt x="122" y="2"/>
                  </a:lnTo>
                  <a:lnTo>
                    <a:pt x="120" y="0"/>
                  </a:lnTo>
                  <a:lnTo>
                    <a:pt x="114" y="4"/>
                  </a:lnTo>
                  <a:lnTo>
                    <a:pt x="114" y="4"/>
                  </a:lnTo>
                  <a:lnTo>
                    <a:pt x="112" y="6"/>
                  </a:lnTo>
                  <a:lnTo>
                    <a:pt x="110" y="8"/>
                  </a:lnTo>
                  <a:lnTo>
                    <a:pt x="110" y="16"/>
                  </a:lnTo>
                  <a:lnTo>
                    <a:pt x="108" y="18"/>
                  </a:lnTo>
                  <a:lnTo>
                    <a:pt x="108" y="18"/>
                  </a:lnTo>
                  <a:lnTo>
                    <a:pt x="104" y="16"/>
                  </a:lnTo>
                  <a:lnTo>
                    <a:pt x="98" y="14"/>
                  </a:lnTo>
                  <a:lnTo>
                    <a:pt x="98" y="16"/>
                  </a:lnTo>
                  <a:lnTo>
                    <a:pt x="96" y="20"/>
                  </a:lnTo>
                  <a:lnTo>
                    <a:pt x="90" y="20"/>
                  </a:lnTo>
                  <a:lnTo>
                    <a:pt x="88" y="20"/>
                  </a:lnTo>
                  <a:lnTo>
                    <a:pt x="86" y="22"/>
                  </a:lnTo>
                  <a:lnTo>
                    <a:pt x="84" y="18"/>
                  </a:lnTo>
                  <a:lnTo>
                    <a:pt x="84" y="16"/>
                  </a:lnTo>
                  <a:lnTo>
                    <a:pt x="82" y="14"/>
                  </a:lnTo>
                  <a:lnTo>
                    <a:pt x="78" y="20"/>
                  </a:lnTo>
                  <a:lnTo>
                    <a:pt x="72" y="24"/>
                  </a:lnTo>
                  <a:lnTo>
                    <a:pt x="72" y="26"/>
                  </a:lnTo>
                  <a:lnTo>
                    <a:pt x="70" y="34"/>
                  </a:lnTo>
                  <a:lnTo>
                    <a:pt x="64" y="42"/>
                  </a:lnTo>
                  <a:lnTo>
                    <a:pt x="60" y="48"/>
                  </a:lnTo>
                  <a:lnTo>
                    <a:pt x="56" y="52"/>
                  </a:lnTo>
                  <a:lnTo>
                    <a:pt x="64" y="58"/>
                  </a:lnTo>
                  <a:lnTo>
                    <a:pt x="68" y="58"/>
                  </a:lnTo>
                  <a:lnTo>
                    <a:pt x="68" y="58"/>
                  </a:lnTo>
                  <a:lnTo>
                    <a:pt x="68" y="60"/>
                  </a:lnTo>
                  <a:lnTo>
                    <a:pt x="70" y="62"/>
                  </a:lnTo>
                  <a:lnTo>
                    <a:pt x="70" y="62"/>
                  </a:lnTo>
                  <a:lnTo>
                    <a:pt x="70" y="64"/>
                  </a:lnTo>
                  <a:lnTo>
                    <a:pt x="68" y="62"/>
                  </a:lnTo>
                  <a:lnTo>
                    <a:pt x="66" y="64"/>
                  </a:lnTo>
                  <a:lnTo>
                    <a:pt x="64" y="64"/>
                  </a:lnTo>
                  <a:lnTo>
                    <a:pt x="64" y="64"/>
                  </a:lnTo>
                  <a:lnTo>
                    <a:pt x="66" y="66"/>
                  </a:lnTo>
                  <a:lnTo>
                    <a:pt x="66" y="68"/>
                  </a:lnTo>
                  <a:lnTo>
                    <a:pt x="68" y="72"/>
                  </a:lnTo>
                  <a:lnTo>
                    <a:pt x="66" y="72"/>
                  </a:lnTo>
                  <a:lnTo>
                    <a:pt x="66" y="76"/>
                  </a:lnTo>
                  <a:lnTo>
                    <a:pt x="64" y="78"/>
                  </a:lnTo>
                  <a:lnTo>
                    <a:pt x="66" y="80"/>
                  </a:lnTo>
                  <a:lnTo>
                    <a:pt x="64" y="80"/>
                  </a:lnTo>
                  <a:lnTo>
                    <a:pt x="62" y="82"/>
                  </a:lnTo>
                  <a:lnTo>
                    <a:pt x="60" y="80"/>
                  </a:lnTo>
                  <a:lnTo>
                    <a:pt x="56" y="80"/>
                  </a:lnTo>
                  <a:lnTo>
                    <a:pt x="54" y="80"/>
                  </a:lnTo>
                  <a:lnTo>
                    <a:pt x="52" y="82"/>
                  </a:lnTo>
                  <a:lnTo>
                    <a:pt x="50" y="82"/>
                  </a:lnTo>
                  <a:lnTo>
                    <a:pt x="48" y="82"/>
                  </a:lnTo>
                  <a:lnTo>
                    <a:pt x="50" y="86"/>
                  </a:lnTo>
                  <a:lnTo>
                    <a:pt x="50" y="86"/>
                  </a:lnTo>
                  <a:lnTo>
                    <a:pt x="48" y="86"/>
                  </a:lnTo>
                  <a:lnTo>
                    <a:pt x="48" y="84"/>
                  </a:lnTo>
                  <a:lnTo>
                    <a:pt x="40" y="80"/>
                  </a:lnTo>
                  <a:lnTo>
                    <a:pt x="38" y="82"/>
                  </a:lnTo>
                  <a:lnTo>
                    <a:pt x="36" y="82"/>
                  </a:lnTo>
                  <a:lnTo>
                    <a:pt x="34" y="84"/>
                  </a:lnTo>
                  <a:lnTo>
                    <a:pt x="32" y="86"/>
                  </a:lnTo>
                  <a:lnTo>
                    <a:pt x="34" y="88"/>
                  </a:lnTo>
                  <a:lnTo>
                    <a:pt x="34" y="90"/>
                  </a:lnTo>
                  <a:lnTo>
                    <a:pt x="32" y="90"/>
                  </a:lnTo>
                  <a:lnTo>
                    <a:pt x="24" y="90"/>
                  </a:lnTo>
                  <a:lnTo>
                    <a:pt x="22" y="92"/>
                  </a:lnTo>
                  <a:lnTo>
                    <a:pt x="20" y="90"/>
                  </a:lnTo>
                  <a:lnTo>
                    <a:pt x="14" y="90"/>
                  </a:lnTo>
                  <a:lnTo>
                    <a:pt x="10" y="96"/>
                  </a:lnTo>
                  <a:lnTo>
                    <a:pt x="8" y="96"/>
                  </a:lnTo>
                  <a:lnTo>
                    <a:pt x="8" y="98"/>
                  </a:lnTo>
                  <a:lnTo>
                    <a:pt x="6" y="100"/>
                  </a:lnTo>
                  <a:lnTo>
                    <a:pt x="4" y="104"/>
                  </a:lnTo>
                  <a:lnTo>
                    <a:pt x="0" y="106"/>
                  </a:lnTo>
                  <a:lnTo>
                    <a:pt x="8" y="108"/>
                  </a:lnTo>
                  <a:lnTo>
                    <a:pt x="8" y="110"/>
                  </a:lnTo>
                  <a:lnTo>
                    <a:pt x="8" y="116"/>
                  </a:lnTo>
                  <a:lnTo>
                    <a:pt x="14" y="130"/>
                  </a:lnTo>
                  <a:lnTo>
                    <a:pt x="20" y="134"/>
                  </a:lnTo>
                  <a:lnTo>
                    <a:pt x="24" y="136"/>
                  </a:lnTo>
                  <a:lnTo>
                    <a:pt x="106" y="14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7" name="Freeform 26"/>
            <p:cNvSpPr>
              <a:spLocks/>
            </p:cNvSpPr>
            <p:nvPr/>
          </p:nvSpPr>
          <p:spPr bwMode="auto">
            <a:xfrm>
              <a:off x="2375363" y="3471863"/>
              <a:ext cx="37833" cy="63500"/>
            </a:xfrm>
            <a:custGeom>
              <a:avLst/>
              <a:gdLst>
                <a:gd name="T0" fmla="*/ 16 w 22"/>
                <a:gd name="T1" fmla="*/ 40 h 40"/>
                <a:gd name="T2" fmla="*/ 4 w 22"/>
                <a:gd name="T3" fmla="*/ 32 h 40"/>
                <a:gd name="T4" fmla="*/ 0 w 22"/>
                <a:gd name="T5" fmla="*/ 0 h 40"/>
                <a:gd name="T6" fmla="*/ 4 w 22"/>
                <a:gd name="T7" fmla="*/ 2 h 40"/>
                <a:gd name="T8" fmla="*/ 8 w 22"/>
                <a:gd name="T9" fmla="*/ 4 h 40"/>
                <a:gd name="T10" fmla="*/ 8 w 22"/>
                <a:gd name="T11" fmla="*/ 8 h 40"/>
                <a:gd name="T12" fmla="*/ 10 w 22"/>
                <a:gd name="T13" fmla="*/ 12 h 40"/>
                <a:gd name="T14" fmla="*/ 14 w 22"/>
                <a:gd name="T15" fmla="*/ 14 h 40"/>
                <a:gd name="T16" fmla="*/ 18 w 22"/>
                <a:gd name="T17" fmla="*/ 14 h 40"/>
                <a:gd name="T18" fmla="*/ 22 w 22"/>
                <a:gd name="T19" fmla="*/ 18 h 40"/>
                <a:gd name="T20" fmla="*/ 22 w 22"/>
                <a:gd name="T21" fmla="*/ 30 h 40"/>
                <a:gd name="T22" fmla="*/ 16 w 22"/>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40">
                  <a:moveTo>
                    <a:pt x="16" y="40"/>
                  </a:moveTo>
                  <a:lnTo>
                    <a:pt x="4" y="32"/>
                  </a:lnTo>
                  <a:lnTo>
                    <a:pt x="0" y="0"/>
                  </a:lnTo>
                  <a:lnTo>
                    <a:pt x="4" y="2"/>
                  </a:lnTo>
                  <a:lnTo>
                    <a:pt x="8" y="4"/>
                  </a:lnTo>
                  <a:lnTo>
                    <a:pt x="8" y="8"/>
                  </a:lnTo>
                  <a:lnTo>
                    <a:pt x="10" y="12"/>
                  </a:lnTo>
                  <a:lnTo>
                    <a:pt x="14" y="14"/>
                  </a:lnTo>
                  <a:lnTo>
                    <a:pt x="18" y="14"/>
                  </a:lnTo>
                  <a:lnTo>
                    <a:pt x="22" y="18"/>
                  </a:lnTo>
                  <a:lnTo>
                    <a:pt x="22" y="30"/>
                  </a:lnTo>
                  <a:lnTo>
                    <a:pt x="16" y="4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78" name="Freeform 27"/>
            <p:cNvSpPr>
              <a:spLocks/>
            </p:cNvSpPr>
            <p:nvPr/>
          </p:nvSpPr>
          <p:spPr bwMode="auto">
            <a:xfrm>
              <a:off x="2375363" y="3471863"/>
              <a:ext cx="37833" cy="63500"/>
            </a:xfrm>
            <a:custGeom>
              <a:avLst/>
              <a:gdLst>
                <a:gd name="T0" fmla="*/ 16 w 22"/>
                <a:gd name="T1" fmla="*/ 40 h 40"/>
                <a:gd name="T2" fmla="*/ 4 w 22"/>
                <a:gd name="T3" fmla="*/ 32 h 40"/>
                <a:gd name="T4" fmla="*/ 0 w 22"/>
                <a:gd name="T5" fmla="*/ 0 h 40"/>
                <a:gd name="T6" fmla="*/ 4 w 22"/>
                <a:gd name="T7" fmla="*/ 2 h 40"/>
                <a:gd name="T8" fmla="*/ 8 w 22"/>
                <a:gd name="T9" fmla="*/ 4 h 40"/>
                <a:gd name="T10" fmla="*/ 8 w 22"/>
                <a:gd name="T11" fmla="*/ 8 h 40"/>
                <a:gd name="T12" fmla="*/ 10 w 22"/>
                <a:gd name="T13" fmla="*/ 12 h 40"/>
                <a:gd name="T14" fmla="*/ 14 w 22"/>
                <a:gd name="T15" fmla="*/ 14 h 40"/>
                <a:gd name="T16" fmla="*/ 18 w 22"/>
                <a:gd name="T17" fmla="*/ 14 h 40"/>
                <a:gd name="T18" fmla="*/ 22 w 22"/>
                <a:gd name="T19" fmla="*/ 18 h 40"/>
                <a:gd name="T20" fmla="*/ 22 w 22"/>
                <a:gd name="T21" fmla="*/ 30 h 40"/>
                <a:gd name="T22" fmla="*/ 16 w 22"/>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40">
                  <a:moveTo>
                    <a:pt x="16" y="40"/>
                  </a:moveTo>
                  <a:lnTo>
                    <a:pt x="4" y="32"/>
                  </a:lnTo>
                  <a:lnTo>
                    <a:pt x="0" y="0"/>
                  </a:lnTo>
                  <a:lnTo>
                    <a:pt x="4" y="2"/>
                  </a:lnTo>
                  <a:lnTo>
                    <a:pt x="8" y="4"/>
                  </a:lnTo>
                  <a:lnTo>
                    <a:pt x="8" y="8"/>
                  </a:lnTo>
                  <a:lnTo>
                    <a:pt x="10" y="12"/>
                  </a:lnTo>
                  <a:lnTo>
                    <a:pt x="14" y="14"/>
                  </a:lnTo>
                  <a:lnTo>
                    <a:pt x="18" y="14"/>
                  </a:lnTo>
                  <a:lnTo>
                    <a:pt x="22" y="18"/>
                  </a:lnTo>
                  <a:lnTo>
                    <a:pt x="22" y="30"/>
                  </a:lnTo>
                  <a:lnTo>
                    <a:pt x="16" y="4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9" name="Freeform 28"/>
            <p:cNvSpPr>
              <a:spLocks/>
            </p:cNvSpPr>
            <p:nvPr/>
          </p:nvSpPr>
          <p:spPr bwMode="auto">
            <a:xfrm>
              <a:off x="2423514" y="3392488"/>
              <a:ext cx="220116" cy="219075"/>
            </a:xfrm>
            <a:custGeom>
              <a:avLst/>
              <a:gdLst>
                <a:gd name="T0" fmla="*/ 54 w 128"/>
                <a:gd name="T1" fmla="*/ 4 h 138"/>
                <a:gd name="T2" fmla="*/ 60 w 128"/>
                <a:gd name="T3" fmla="*/ 14 h 138"/>
                <a:gd name="T4" fmla="*/ 64 w 128"/>
                <a:gd name="T5" fmla="*/ 20 h 138"/>
                <a:gd name="T6" fmla="*/ 74 w 128"/>
                <a:gd name="T7" fmla="*/ 38 h 138"/>
                <a:gd name="T8" fmla="*/ 82 w 128"/>
                <a:gd name="T9" fmla="*/ 38 h 138"/>
                <a:gd name="T10" fmla="*/ 96 w 128"/>
                <a:gd name="T11" fmla="*/ 32 h 138"/>
                <a:gd name="T12" fmla="*/ 112 w 128"/>
                <a:gd name="T13" fmla="*/ 78 h 138"/>
                <a:gd name="T14" fmla="*/ 122 w 128"/>
                <a:gd name="T15" fmla="*/ 82 h 138"/>
                <a:gd name="T16" fmla="*/ 128 w 128"/>
                <a:gd name="T17" fmla="*/ 88 h 138"/>
                <a:gd name="T18" fmla="*/ 124 w 128"/>
                <a:gd name="T19" fmla="*/ 92 h 138"/>
                <a:gd name="T20" fmla="*/ 110 w 128"/>
                <a:gd name="T21" fmla="*/ 90 h 138"/>
                <a:gd name="T22" fmla="*/ 78 w 128"/>
                <a:gd name="T23" fmla="*/ 126 h 138"/>
                <a:gd name="T24" fmla="*/ 70 w 128"/>
                <a:gd name="T25" fmla="*/ 118 h 138"/>
                <a:gd name="T26" fmla="*/ 60 w 128"/>
                <a:gd name="T27" fmla="*/ 138 h 138"/>
                <a:gd name="T28" fmla="*/ 52 w 128"/>
                <a:gd name="T29" fmla="*/ 134 h 138"/>
                <a:gd name="T30" fmla="*/ 46 w 128"/>
                <a:gd name="T31" fmla="*/ 126 h 138"/>
                <a:gd name="T32" fmla="*/ 40 w 128"/>
                <a:gd name="T33" fmla="*/ 116 h 138"/>
                <a:gd name="T34" fmla="*/ 54 w 128"/>
                <a:gd name="T35" fmla="*/ 114 h 138"/>
                <a:gd name="T36" fmla="*/ 58 w 128"/>
                <a:gd name="T37" fmla="*/ 98 h 138"/>
                <a:gd name="T38" fmla="*/ 38 w 128"/>
                <a:gd name="T39" fmla="*/ 86 h 138"/>
                <a:gd name="T40" fmla="*/ 16 w 128"/>
                <a:gd name="T41" fmla="*/ 96 h 138"/>
                <a:gd name="T42" fmla="*/ 2 w 128"/>
                <a:gd name="T43" fmla="*/ 98 h 138"/>
                <a:gd name="T44" fmla="*/ 2 w 128"/>
                <a:gd name="T45" fmla="*/ 86 h 138"/>
                <a:gd name="T46" fmla="*/ 8 w 128"/>
                <a:gd name="T47" fmla="*/ 84 h 138"/>
                <a:gd name="T48" fmla="*/ 10 w 128"/>
                <a:gd name="T49" fmla="*/ 76 h 138"/>
                <a:gd name="T50" fmla="*/ 10 w 128"/>
                <a:gd name="T51" fmla="*/ 72 h 138"/>
                <a:gd name="T52" fmla="*/ 2 w 128"/>
                <a:gd name="T53" fmla="*/ 62 h 138"/>
                <a:gd name="T54" fmla="*/ 0 w 128"/>
                <a:gd name="T55" fmla="*/ 50 h 138"/>
                <a:gd name="T56" fmla="*/ 8 w 128"/>
                <a:gd name="T57" fmla="*/ 50 h 138"/>
                <a:gd name="T58" fmla="*/ 4 w 128"/>
                <a:gd name="T59" fmla="*/ 36 h 138"/>
                <a:gd name="T60" fmla="*/ 4 w 128"/>
                <a:gd name="T61" fmla="*/ 28 h 138"/>
                <a:gd name="T62" fmla="*/ 10 w 128"/>
                <a:gd name="T63" fmla="*/ 22 h 138"/>
                <a:gd name="T64" fmla="*/ 8 w 128"/>
                <a:gd name="T65" fmla="*/ 14 h 138"/>
                <a:gd name="T66" fmla="*/ 4 w 128"/>
                <a:gd name="T67" fmla="*/ 4 h 138"/>
                <a:gd name="T68" fmla="*/ 4 w 128"/>
                <a:gd name="T69" fmla="*/ 0 h 138"/>
                <a:gd name="T70" fmla="*/ 22 w 128"/>
                <a:gd name="T71" fmla="*/ 6 h 138"/>
                <a:gd name="T72" fmla="*/ 28 w 128"/>
                <a:gd name="T73" fmla="*/ 16 h 138"/>
                <a:gd name="T74" fmla="*/ 42 w 128"/>
                <a:gd name="T75" fmla="*/ 26 h 138"/>
                <a:gd name="T76" fmla="*/ 46 w 128"/>
                <a:gd name="T77" fmla="*/ 20 h 138"/>
                <a:gd name="T78" fmla="*/ 42 w 128"/>
                <a:gd name="T79" fmla="*/ 8 h 138"/>
                <a:gd name="T80" fmla="*/ 44 w 128"/>
                <a:gd name="T81" fmla="*/ 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138">
                  <a:moveTo>
                    <a:pt x="52" y="0"/>
                  </a:moveTo>
                  <a:lnTo>
                    <a:pt x="54" y="4"/>
                  </a:lnTo>
                  <a:lnTo>
                    <a:pt x="58" y="6"/>
                  </a:lnTo>
                  <a:lnTo>
                    <a:pt x="60" y="14"/>
                  </a:lnTo>
                  <a:lnTo>
                    <a:pt x="60" y="18"/>
                  </a:lnTo>
                  <a:lnTo>
                    <a:pt x="64" y="20"/>
                  </a:lnTo>
                  <a:lnTo>
                    <a:pt x="62" y="32"/>
                  </a:lnTo>
                  <a:lnTo>
                    <a:pt x="74" y="38"/>
                  </a:lnTo>
                  <a:lnTo>
                    <a:pt x="78" y="38"/>
                  </a:lnTo>
                  <a:lnTo>
                    <a:pt x="82" y="38"/>
                  </a:lnTo>
                  <a:lnTo>
                    <a:pt x="88" y="32"/>
                  </a:lnTo>
                  <a:lnTo>
                    <a:pt x="96" y="32"/>
                  </a:lnTo>
                  <a:lnTo>
                    <a:pt x="104" y="26"/>
                  </a:lnTo>
                  <a:lnTo>
                    <a:pt x="112" y="78"/>
                  </a:lnTo>
                  <a:lnTo>
                    <a:pt x="116" y="82"/>
                  </a:lnTo>
                  <a:lnTo>
                    <a:pt x="122" y="82"/>
                  </a:lnTo>
                  <a:lnTo>
                    <a:pt x="124" y="86"/>
                  </a:lnTo>
                  <a:lnTo>
                    <a:pt x="128" y="88"/>
                  </a:lnTo>
                  <a:lnTo>
                    <a:pt x="128" y="98"/>
                  </a:lnTo>
                  <a:lnTo>
                    <a:pt x="124" y="92"/>
                  </a:lnTo>
                  <a:lnTo>
                    <a:pt x="116" y="88"/>
                  </a:lnTo>
                  <a:lnTo>
                    <a:pt x="110" y="90"/>
                  </a:lnTo>
                  <a:lnTo>
                    <a:pt x="104" y="94"/>
                  </a:lnTo>
                  <a:lnTo>
                    <a:pt x="78" y="126"/>
                  </a:lnTo>
                  <a:lnTo>
                    <a:pt x="76" y="116"/>
                  </a:lnTo>
                  <a:lnTo>
                    <a:pt x="70" y="118"/>
                  </a:lnTo>
                  <a:lnTo>
                    <a:pt x="68" y="120"/>
                  </a:lnTo>
                  <a:lnTo>
                    <a:pt x="60" y="138"/>
                  </a:lnTo>
                  <a:lnTo>
                    <a:pt x="58" y="138"/>
                  </a:lnTo>
                  <a:lnTo>
                    <a:pt x="52" y="134"/>
                  </a:lnTo>
                  <a:lnTo>
                    <a:pt x="48" y="130"/>
                  </a:lnTo>
                  <a:lnTo>
                    <a:pt x="46" y="126"/>
                  </a:lnTo>
                  <a:lnTo>
                    <a:pt x="46" y="122"/>
                  </a:lnTo>
                  <a:lnTo>
                    <a:pt x="40" y="116"/>
                  </a:lnTo>
                  <a:lnTo>
                    <a:pt x="44" y="116"/>
                  </a:lnTo>
                  <a:lnTo>
                    <a:pt x="54" y="114"/>
                  </a:lnTo>
                  <a:lnTo>
                    <a:pt x="54" y="104"/>
                  </a:lnTo>
                  <a:lnTo>
                    <a:pt x="58" y="98"/>
                  </a:lnTo>
                  <a:lnTo>
                    <a:pt x="52" y="90"/>
                  </a:lnTo>
                  <a:lnTo>
                    <a:pt x="38" y="86"/>
                  </a:lnTo>
                  <a:lnTo>
                    <a:pt x="22" y="90"/>
                  </a:lnTo>
                  <a:lnTo>
                    <a:pt x="16" y="96"/>
                  </a:lnTo>
                  <a:lnTo>
                    <a:pt x="8" y="100"/>
                  </a:lnTo>
                  <a:lnTo>
                    <a:pt x="2" y="98"/>
                  </a:lnTo>
                  <a:lnTo>
                    <a:pt x="2" y="94"/>
                  </a:lnTo>
                  <a:lnTo>
                    <a:pt x="2" y="86"/>
                  </a:lnTo>
                  <a:lnTo>
                    <a:pt x="6" y="86"/>
                  </a:lnTo>
                  <a:lnTo>
                    <a:pt x="8" y="84"/>
                  </a:lnTo>
                  <a:lnTo>
                    <a:pt x="8" y="80"/>
                  </a:lnTo>
                  <a:lnTo>
                    <a:pt x="10" y="76"/>
                  </a:lnTo>
                  <a:lnTo>
                    <a:pt x="14" y="74"/>
                  </a:lnTo>
                  <a:lnTo>
                    <a:pt x="10" y="72"/>
                  </a:lnTo>
                  <a:lnTo>
                    <a:pt x="6" y="70"/>
                  </a:lnTo>
                  <a:lnTo>
                    <a:pt x="2" y="62"/>
                  </a:lnTo>
                  <a:lnTo>
                    <a:pt x="0" y="54"/>
                  </a:lnTo>
                  <a:lnTo>
                    <a:pt x="0" y="50"/>
                  </a:lnTo>
                  <a:lnTo>
                    <a:pt x="4" y="52"/>
                  </a:lnTo>
                  <a:lnTo>
                    <a:pt x="8" y="50"/>
                  </a:lnTo>
                  <a:lnTo>
                    <a:pt x="10" y="46"/>
                  </a:lnTo>
                  <a:lnTo>
                    <a:pt x="4" y="36"/>
                  </a:lnTo>
                  <a:lnTo>
                    <a:pt x="4" y="30"/>
                  </a:lnTo>
                  <a:lnTo>
                    <a:pt x="4" y="28"/>
                  </a:lnTo>
                  <a:lnTo>
                    <a:pt x="6" y="24"/>
                  </a:lnTo>
                  <a:lnTo>
                    <a:pt x="10" y="22"/>
                  </a:lnTo>
                  <a:lnTo>
                    <a:pt x="12" y="18"/>
                  </a:lnTo>
                  <a:lnTo>
                    <a:pt x="8" y="14"/>
                  </a:lnTo>
                  <a:lnTo>
                    <a:pt x="6" y="12"/>
                  </a:lnTo>
                  <a:lnTo>
                    <a:pt x="4" y="4"/>
                  </a:lnTo>
                  <a:lnTo>
                    <a:pt x="4" y="0"/>
                  </a:lnTo>
                  <a:lnTo>
                    <a:pt x="4" y="0"/>
                  </a:lnTo>
                  <a:lnTo>
                    <a:pt x="16" y="0"/>
                  </a:lnTo>
                  <a:lnTo>
                    <a:pt x="22" y="6"/>
                  </a:lnTo>
                  <a:lnTo>
                    <a:pt x="24" y="10"/>
                  </a:lnTo>
                  <a:lnTo>
                    <a:pt x="28" y="16"/>
                  </a:lnTo>
                  <a:lnTo>
                    <a:pt x="32" y="18"/>
                  </a:lnTo>
                  <a:lnTo>
                    <a:pt x="42" y="26"/>
                  </a:lnTo>
                  <a:lnTo>
                    <a:pt x="46" y="24"/>
                  </a:lnTo>
                  <a:lnTo>
                    <a:pt x="46" y="20"/>
                  </a:lnTo>
                  <a:lnTo>
                    <a:pt x="42" y="12"/>
                  </a:lnTo>
                  <a:lnTo>
                    <a:pt x="42" y="8"/>
                  </a:lnTo>
                  <a:lnTo>
                    <a:pt x="42" y="6"/>
                  </a:lnTo>
                  <a:lnTo>
                    <a:pt x="44" y="2"/>
                  </a:lnTo>
                  <a:lnTo>
                    <a:pt x="52"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80" name="Freeform 29"/>
            <p:cNvSpPr>
              <a:spLocks/>
            </p:cNvSpPr>
            <p:nvPr/>
          </p:nvSpPr>
          <p:spPr bwMode="auto">
            <a:xfrm>
              <a:off x="2423514" y="3392488"/>
              <a:ext cx="220116" cy="219075"/>
            </a:xfrm>
            <a:custGeom>
              <a:avLst/>
              <a:gdLst>
                <a:gd name="T0" fmla="*/ 54 w 128"/>
                <a:gd name="T1" fmla="*/ 4 h 138"/>
                <a:gd name="T2" fmla="*/ 60 w 128"/>
                <a:gd name="T3" fmla="*/ 14 h 138"/>
                <a:gd name="T4" fmla="*/ 64 w 128"/>
                <a:gd name="T5" fmla="*/ 20 h 138"/>
                <a:gd name="T6" fmla="*/ 74 w 128"/>
                <a:gd name="T7" fmla="*/ 38 h 138"/>
                <a:gd name="T8" fmla="*/ 82 w 128"/>
                <a:gd name="T9" fmla="*/ 38 h 138"/>
                <a:gd name="T10" fmla="*/ 96 w 128"/>
                <a:gd name="T11" fmla="*/ 32 h 138"/>
                <a:gd name="T12" fmla="*/ 112 w 128"/>
                <a:gd name="T13" fmla="*/ 78 h 138"/>
                <a:gd name="T14" fmla="*/ 122 w 128"/>
                <a:gd name="T15" fmla="*/ 82 h 138"/>
                <a:gd name="T16" fmla="*/ 128 w 128"/>
                <a:gd name="T17" fmla="*/ 88 h 138"/>
                <a:gd name="T18" fmla="*/ 124 w 128"/>
                <a:gd name="T19" fmla="*/ 92 h 138"/>
                <a:gd name="T20" fmla="*/ 110 w 128"/>
                <a:gd name="T21" fmla="*/ 90 h 138"/>
                <a:gd name="T22" fmla="*/ 78 w 128"/>
                <a:gd name="T23" fmla="*/ 126 h 138"/>
                <a:gd name="T24" fmla="*/ 70 w 128"/>
                <a:gd name="T25" fmla="*/ 118 h 138"/>
                <a:gd name="T26" fmla="*/ 60 w 128"/>
                <a:gd name="T27" fmla="*/ 138 h 138"/>
                <a:gd name="T28" fmla="*/ 52 w 128"/>
                <a:gd name="T29" fmla="*/ 134 h 138"/>
                <a:gd name="T30" fmla="*/ 46 w 128"/>
                <a:gd name="T31" fmla="*/ 126 h 138"/>
                <a:gd name="T32" fmla="*/ 40 w 128"/>
                <a:gd name="T33" fmla="*/ 116 h 138"/>
                <a:gd name="T34" fmla="*/ 54 w 128"/>
                <a:gd name="T35" fmla="*/ 114 h 138"/>
                <a:gd name="T36" fmla="*/ 58 w 128"/>
                <a:gd name="T37" fmla="*/ 98 h 138"/>
                <a:gd name="T38" fmla="*/ 38 w 128"/>
                <a:gd name="T39" fmla="*/ 86 h 138"/>
                <a:gd name="T40" fmla="*/ 16 w 128"/>
                <a:gd name="T41" fmla="*/ 96 h 138"/>
                <a:gd name="T42" fmla="*/ 2 w 128"/>
                <a:gd name="T43" fmla="*/ 98 h 138"/>
                <a:gd name="T44" fmla="*/ 2 w 128"/>
                <a:gd name="T45" fmla="*/ 86 h 138"/>
                <a:gd name="T46" fmla="*/ 8 w 128"/>
                <a:gd name="T47" fmla="*/ 84 h 138"/>
                <a:gd name="T48" fmla="*/ 10 w 128"/>
                <a:gd name="T49" fmla="*/ 76 h 138"/>
                <a:gd name="T50" fmla="*/ 10 w 128"/>
                <a:gd name="T51" fmla="*/ 72 h 138"/>
                <a:gd name="T52" fmla="*/ 2 w 128"/>
                <a:gd name="T53" fmla="*/ 62 h 138"/>
                <a:gd name="T54" fmla="*/ 0 w 128"/>
                <a:gd name="T55" fmla="*/ 50 h 138"/>
                <a:gd name="T56" fmla="*/ 8 w 128"/>
                <a:gd name="T57" fmla="*/ 50 h 138"/>
                <a:gd name="T58" fmla="*/ 4 w 128"/>
                <a:gd name="T59" fmla="*/ 36 h 138"/>
                <a:gd name="T60" fmla="*/ 4 w 128"/>
                <a:gd name="T61" fmla="*/ 28 h 138"/>
                <a:gd name="T62" fmla="*/ 10 w 128"/>
                <a:gd name="T63" fmla="*/ 22 h 138"/>
                <a:gd name="T64" fmla="*/ 8 w 128"/>
                <a:gd name="T65" fmla="*/ 14 h 138"/>
                <a:gd name="T66" fmla="*/ 4 w 128"/>
                <a:gd name="T67" fmla="*/ 4 h 138"/>
                <a:gd name="T68" fmla="*/ 4 w 128"/>
                <a:gd name="T69" fmla="*/ 0 h 138"/>
                <a:gd name="T70" fmla="*/ 22 w 128"/>
                <a:gd name="T71" fmla="*/ 6 h 138"/>
                <a:gd name="T72" fmla="*/ 28 w 128"/>
                <a:gd name="T73" fmla="*/ 16 h 138"/>
                <a:gd name="T74" fmla="*/ 42 w 128"/>
                <a:gd name="T75" fmla="*/ 26 h 138"/>
                <a:gd name="T76" fmla="*/ 46 w 128"/>
                <a:gd name="T77" fmla="*/ 20 h 138"/>
                <a:gd name="T78" fmla="*/ 42 w 128"/>
                <a:gd name="T79" fmla="*/ 8 h 138"/>
                <a:gd name="T80" fmla="*/ 44 w 128"/>
                <a:gd name="T81" fmla="*/ 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138">
                  <a:moveTo>
                    <a:pt x="52" y="0"/>
                  </a:moveTo>
                  <a:lnTo>
                    <a:pt x="54" y="4"/>
                  </a:lnTo>
                  <a:lnTo>
                    <a:pt x="58" y="6"/>
                  </a:lnTo>
                  <a:lnTo>
                    <a:pt x="60" y="14"/>
                  </a:lnTo>
                  <a:lnTo>
                    <a:pt x="60" y="18"/>
                  </a:lnTo>
                  <a:lnTo>
                    <a:pt x="64" y="20"/>
                  </a:lnTo>
                  <a:lnTo>
                    <a:pt x="62" y="32"/>
                  </a:lnTo>
                  <a:lnTo>
                    <a:pt x="74" y="38"/>
                  </a:lnTo>
                  <a:lnTo>
                    <a:pt x="78" y="38"/>
                  </a:lnTo>
                  <a:lnTo>
                    <a:pt x="82" y="38"/>
                  </a:lnTo>
                  <a:lnTo>
                    <a:pt x="88" y="32"/>
                  </a:lnTo>
                  <a:lnTo>
                    <a:pt x="96" y="32"/>
                  </a:lnTo>
                  <a:lnTo>
                    <a:pt x="104" y="26"/>
                  </a:lnTo>
                  <a:lnTo>
                    <a:pt x="112" y="78"/>
                  </a:lnTo>
                  <a:lnTo>
                    <a:pt x="116" y="82"/>
                  </a:lnTo>
                  <a:lnTo>
                    <a:pt x="122" y="82"/>
                  </a:lnTo>
                  <a:lnTo>
                    <a:pt x="124" y="86"/>
                  </a:lnTo>
                  <a:lnTo>
                    <a:pt x="128" y="88"/>
                  </a:lnTo>
                  <a:lnTo>
                    <a:pt x="128" y="98"/>
                  </a:lnTo>
                  <a:lnTo>
                    <a:pt x="124" y="92"/>
                  </a:lnTo>
                  <a:lnTo>
                    <a:pt x="116" y="88"/>
                  </a:lnTo>
                  <a:lnTo>
                    <a:pt x="110" y="90"/>
                  </a:lnTo>
                  <a:lnTo>
                    <a:pt x="104" y="94"/>
                  </a:lnTo>
                  <a:lnTo>
                    <a:pt x="78" y="126"/>
                  </a:lnTo>
                  <a:lnTo>
                    <a:pt x="76" y="116"/>
                  </a:lnTo>
                  <a:lnTo>
                    <a:pt x="70" y="118"/>
                  </a:lnTo>
                  <a:lnTo>
                    <a:pt x="68" y="120"/>
                  </a:lnTo>
                  <a:lnTo>
                    <a:pt x="60" y="138"/>
                  </a:lnTo>
                  <a:lnTo>
                    <a:pt x="58" y="138"/>
                  </a:lnTo>
                  <a:lnTo>
                    <a:pt x="52" y="134"/>
                  </a:lnTo>
                  <a:lnTo>
                    <a:pt x="48" y="130"/>
                  </a:lnTo>
                  <a:lnTo>
                    <a:pt x="46" y="126"/>
                  </a:lnTo>
                  <a:lnTo>
                    <a:pt x="46" y="122"/>
                  </a:lnTo>
                  <a:lnTo>
                    <a:pt x="40" y="116"/>
                  </a:lnTo>
                  <a:lnTo>
                    <a:pt x="44" y="116"/>
                  </a:lnTo>
                  <a:lnTo>
                    <a:pt x="54" y="114"/>
                  </a:lnTo>
                  <a:lnTo>
                    <a:pt x="54" y="104"/>
                  </a:lnTo>
                  <a:lnTo>
                    <a:pt x="58" y="98"/>
                  </a:lnTo>
                  <a:lnTo>
                    <a:pt x="52" y="90"/>
                  </a:lnTo>
                  <a:lnTo>
                    <a:pt x="38" y="86"/>
                  </a:lnTo>
                  <a:lnTo>
                    <a:pt x="22" y="90"/>
                  </a:lnTo>
                  <a:lnTo>
                    <a:pt x="16" y="96"/>
                  </a:lnTo>
                  <a:lnTo>
                    <a:pt x="8" y="100"/>
                  </a:lnTo>
                  <a:lnTo>
                    <a:pt x="2" y="98"/>
                  </a:lnTo>
                  <a:lnTo>
                    <a:pt x="2" y="94"/>
                  </a:lnTo>
                  <a:lnTo>
                    <a:pt x="2" y="86"/>
                  </a:lnTo>
                  <a:lnTo>
                    <a:pt x="6" y="86"/>
                  </a:lnTo>
                  <a:lnTo>
                    <a:pt x="8" y="84"/>
                  </a:lnTo>
                  <a:lnTo>
                    <a:pt x="8" y="80"/>
                  </a:lnTo>
                  <a:lnTo>
                    <a:pt x="10" y="76"/>
                  </a:lnTo>
                  <a:lnTo>
                    <a:pt x="14" y="74"/>
                  </a:lnTo>
                  <a:lnTo>
                    <a:pt x="10" y="72"/>
                  </a:lnTo>
                  <a:lnTo>
                    <a:pt x="6" y="70"/>
                  </a:lnTo>
                  <a:lnTo>
                    <a:pt x="2" y="62"/>
                  </a:lnTo>
                  <a:lnTo>
                    <a:pt x="0" y="54"/>
                  </a:lnTo>
                  <a:lnTo>
                    <a:pt x="0" y="50"/>
                  </a:lnTo>
                  <a:lnTo>
                    <a:pt x="4" y="52"/>
                  </a:lnTo>
                  <a:lnTo>
                    <a:pt x="8" y="50"/>
                  </a:lnTo>
                  <a:lnTo>
                    <a:pt x="10" y="46"/>
                  </a:lnTo>
                  <a:lnTo>
                    <a:pt x="4" y="36"/>
                  </a:lnTo>
                  <a:lnTo>
                    <a:pt x="4" y="30"/>
                  </a:lnTo>
                  <a:lnTo>
                    <a:pt x="4" y="28"/>
                  </a:lnTo>
                  <a:lnTo>
                    <a:pt x="6" y="24"/>
                  </a:lnTo>
                  <a:lnTo>
                    <a:pt x="10" y="22"/>
                  </a:lnTo>
                  <a:lnTo>
                    <a:pt x="12" y="18"/>
                  </a:lnTo>
                  <a:lnTo>
                    <a:pt x="8" y="14"/>
                  </a:lnTo>
                  <a:lnTo>
                    <a:pt x="6" y="12"/>
                  </a:lnTo>
                  <a:lnTo>
                    <a:pt x="4" y="4"/>
                  </a:lnTo>
                  <a:lnTo>
                    <a:pt x="4" y="0"/>
                  </a:lnTo>
                  <a:lnTo>
                    <a:pt x="4" y="0"/>
                  </a:lnTo>
                  <a:lnTo>
                    <a:pt x="16" y="0"/>
                  </a:lnTo>
                  <a:lnTo>
                    <a:pt x="22" y="6"/>
                  </a:lnTo>
                  <a:lnTo>
                    <a:pt x="24" y="10"/>
                  </a:lnTo>
                  <a:lnTo>
                    <a:pt x="28" y="16"/>
                  </a:lnTo>
                  <a:lnTo>
                    <a:pt x="32" y="18"/>
                  </a:lnTo>
                  <a:lnTo>
                    <a:pt x="42" y="26"/>
                  </a:lnTo>
                  <a:lnTo>
                    <a:pt x="46" y="24"/>
                  </a:lnTo>
                  <a:lnTo>
                    <a:pt x="46" y="20"/>
                  </a:lnTo>
                  <a:lnTo>
                    <a:pt x="42" y="12"/>
                  </a:lnTo>
                  <a:lnTo>
                    <a:pt x="42" y="8"/>
                  </a:lnTo>
                  <a:lnTo>
                    <a:pt x="42" y="6"/>
                  </a:lnTo>
                  <a:lnTo>
                    <a:pt x="44" y="2"/>
                  </a:lnTo>
                  <a:lnTo>
                    <a:pt x="52"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1" name="Freeform 152"/>
            <p:cNvSpPr>
              <a:spLocks/>
            </p:cNvSpPr>
            <p:nvPr/>
          </p:nvSpPr>
          <p:spPr bwMode="auto">
            <a:xfrm>
              <a:off x="1501776" y="3684588"/>
              <a:ext cx="983645" cy="1012825"/>
            </a:xfrm>
            <a:custGeom>
              <a:avLst/>
              <a:gdLst>
                <a:gd name="T0" fmla="*/ 458 w 572"/>
                <a:gd name="T1" fmla="*/ 442 h 638"/>
                <a:gd name="T2" fmla="*/ 454 w 572"/>
                <a:gd name="T3" fmla="*/ 450 h 638"/>
                <a:gd name="T4" fmla="*/ 460 w 572"/>
                <a:gd name="T5" fmla="*/ 458 h 638"/>
                <a:gd name="T6" fmla="*/ 564 w 572"/>
                <a:gd name="T7" fmla="*/ 550 h 638"/>
                <a:gd name="T8" fmla="*/ 522 w 572"/>
                <a:gd name="T9" fmla="*/ 638 h 638"/>
                <a:gd name="T10" fmla="*/ 358 w 572"/>
                <a:gd name="T11" fmla="*/ 624 h 638"/>
                <a:gd name="T12" fmla="*/ 228 w 572"/>
                <a:gd name="T13" fmla="*/ 622 h 638"/>
                <a:gd name="T14" fmla="*/ 200 w 572"/>
                <a:gd name="T15" fmla="*/ 630 h 638"/>
                <a:gd name="T16" fmla="*/ 92 w 572"/>
                <a:gd name="T17" fmla="*/ 574 h 638"/>
                <a:gd name="T18" fmla="*/ 70 w 572"/>
                <a:gd name="T19" fmla="*/ 572 h 638"/>
                <a:gd name="T20" fmla="*/ 50 w 572"/>
                <a:gd name="T21" fmla="*/ 578 h 638"/>
                <a:gd name="T22" fmla="*/ 42 w 572"/>
                <a:gd name="T23" fmla="*/ 572 h 638"/>
                <a:gd name="T24" fmla="*/ 42 w 572"/>
                <a:gd name="T25" fmla="*/ 550 h 638"/>
                <a:gd name="T26" fmla="*/ 38 w 572"/>
                <a:gd name="T27" fmla="*/ 518 h 638"/>
                <a:gd name="T28" fmla="*/ 28 w 572"/>
                <a:gd name="T29" fmla="*/ 478 h 638"/>
                <a:gd name="T30" fmla="*/ 32 w 572"/>
                <a:gd name="T31" fmla="*/ 448 h 638"/>
                <a:gd name="T32" fmla="*/ 26 w 572"/>
                <a:gd name="T33" fmla="*/ 420 h 638"/>
                <a:gd name="T34" fmla="*/ 6 w 572"/>
                <a:gd name="T35" fmla="*/ 392 h 638"/>
                <a:gd name="T36" fmla="*/ 14 w 572"/>
                <a:gd name="T37" fmla="*/ 336 h 638"/>
                <a:gd name="T38" fmla="*/ 26 w 572"/>
                <a:gd name="T39" fmla="*/ 324 h 638"/>
                <a:gd name="T40" fmla="*/ 30 w 572"/>
                <a:gd name="T41" fmla="*/ 266 h 638"/>
                <a:gd name="T42" fmla="*/ 22 w 572"/>
                <a:gd name="T43" fmla="*/ 242 h 638"/>
                <a:gd name="T44" fmla="*/ 12 w 572"/>
                <a:gd name="T45" fmla="*/ 234 h 638"/>
                <a:gd name="T46" fmla="*/ 10 w 572"/>
                <a:gd name="T47" fmla="*/ 216 h 638"/>
                <a:gd name="T48" fmla="*/ 20 w 572"/>
                <a:gd name="T49" fmla="*/ 178 h 638"/>
                <a:gd name="T50" fmla="*/ 16 w 572"/>
                <a:gd name="T51" fmla="*/ 166 h 638"/>
                <a:gd name="T52" fmla="*/ 18 w 572"/>
                <a:gd name="T53" fmla="*/ 134 h 638"/>
                <a:gd name="T54" fmla="*/ 16 w 572"/>
                <a:gd name="T55" fmla="*/ 112 h 638"/>
                <a:gd name="T56" fmla="*/ 8 w 572"/>
                <a:gd name="T57" fmla="*/ 68 h 638"/>
                <a:gd name="T58" fmla="*/ 0 w 572"/>
                <a:gd name="T59" fmla="*/ 66 h 638"/>
                <a:gd name="T60" fmla="*/ 34 w 572"/>
                <a:gd name="T61" fmla="*/ 38 h 638"/>
                <a:gd name="T62" fmla="*/ 66 w 572"/>
                <a:gd name="T63" fmla="*/ 60 h 638"/>
                <a:gd name="T64" fmla="*/ 122 w 572"/>
                <a:gd name="T65" fmla="*/ 58 h 638"/>
                <a:gd name="T66" fmla="*/ 150 w 572"/>
                <a:gd name="T67" fmla="*/ 48 h 638"/>
                <a:gd name="T68" fmla="*/ 212 w 572"/>
                <a:gd name="T69" fmla="*/ 18 h 638"/>
                <a:gd name="T70" fmla="*/ 294 w 572"/>
                <a:gd name="T71" fmla="*/ 122 h 638"/>
                <a:gd name="T72" fmla="*/ 308 w 572"/>
                <a:gd name="T73" fmla="*/ 146 h 638"/>
                <a:gd name="T74" fmla="*/ 324 w 572"/>
                <a:gd name="T75" fmla="*/ 200 h 638"/>
                <a:gd name="T76" fmla="*/ 402 w 572"/>
                <a:gd name="T77" fmla="*/ 252 h 638"/>
                <a:gd name="T78" fmla="*/ 422 w 572"/>
                <a:gd name="T79" fmla="*/ 274 h 638"/>
                <a:gd name="T80" fmla="*/ 428 w 572"/>
                <a:gd name="T81" fmla="*/ 310 h 638"/>
                <a:gd name="T82" fmla="*/ 432 w 572"/>
                <a:gd name="T83" fmla="*/ 320 h 638"/>
                <a:gd name="T84" fmla="*/ 436 w 572"/>
                <a:gd name="T85" fmla="*/ 332 h 638"/>
                <a:gd name="T86" fmla="*/ 444 w 572"/>
                <a:gd name="T87" fmla="*/ 360 h 638"/>
                <a:gd name="T88" fmla="*/ 444 w 572"/>
                <a:gd name="T89" fmla="*/ 374 h 638"/>
                <a:gd name="T90" fmla="*/ 442 w 572"/>
                <a:gd name="T91" fmla="*/ 402 h 638"/>
                <a:gd name="T92" fmla="*/ 440 w 572"/>
                <a:gd name="T93" fmla="*/ 420 h 638"/>
                <a:gd name="T94" fmla="*/ 444 w 572"/>
                <a:gd name="T95" fmla="*/ 426 h 638"/>
                <a:gd name="T96" fmla="*/ 462 w 572"/>
                <a:gd name="T97" fmla="*/ 4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2" h="638">
                  <a:moveTo>
                    <a:pt x="462" y="438"/>
                  </a:moveTo>
                  <a:lnTo>
                    <a:pt x="460" y="440"/>
                  </a:lnTo>
                  <a:lnTo>
                    <a:pt x="458" y="442"/>
                  </a:lnTo>
                  <a:lnTo>
                    <a:pt x="460" y="444"/>
                  </a:lnTo>
                  <a:lnTo>
                    <a:pt x="456" y="446"/>
                  </a:lnTo>
                  <a:lnTo>
                    <a:pt x="454" y="450"/>
                  </a:lnTo>
                  <a:lnTo>
                    <a:pt x="460" y="450"/>
                  </a:lnTo>
                  <a:lnTo>
                    <a:pt x="462" y="454"/>
                  </a:lnTo>
                  <a:lnTo>
                    <a:pt x="460" y="458"/>
                  </a:lnTo>
                  <a:lnTo>
                    <a:pt x="478" y="510"/>
                  </a:lnTo>
                  <a:lnTo>
                    <a:pt x="560" y="550"/>
                  </a:lnTo>
                  <a:lnTo>
                    <a:pt x="564" y="550"/>
                  </a:lnTo>
                  <a:lnTo>
                    <a:pt x="564" y="550"/>
                  </a:lnTo>
                  <a:lnTo>
                    <a:pt x="572" y="578"/>
                  </a:lnTo>
                  <a:lnTo>
                    <a:pt x="522" y="638"/>
                  </a:lnTo>
                  <a:lnTo>
                    <a:pt x="404" y="632"/>
                  </a:lnTo>
                  <a:lnTo>
                    <a:pt x="404" y="632"/>
                  </a:lnTo>
                  <a:lnTo>
                    <a:pt x="358" y="624"/>
                  </a:lnTo>
                  <a:lnTo>
                    <a:pt x="296" y="606"/>
                  </a:lnTo>
                  <a:lnTo>
                    <a:pt x="258" y="606"/>
                  </a:lnTo>
                  <a:lnTo>
                    <a:pt x="228" y="622"/>
                  </a:lnTo>
                  <a:lnTo>
                    <a:pt x="220" y="632"/>
                  </a:lnTo>
                  <a:lnTo>
                    <a:pt x="206" y="632"/>
                  </a:lnTo>
                  <a:lnTo>
                    <a:pt x="200" y="630"/>
                  </a:lnTo>
                  <a:lnTo>
                    <a:pt x="198" y="612"/>
                  </a:lnTo>
                  <a:lnTo>
                    <a:pt x="114" y="572"/>
                  </a:lnTo>
                  <a:lnTo>
                    <a:pt x="92" y="574"/>
                  </a:lnTo>
                  <a:lnTo>
                    <a:pt x="78" y="570"/>
                  </a:lnTo>
                  <a:lnTo>
                    <a:pt x="74" y="570"/>
                  </a:lnTo>
                  <a:lnTo>
                    <a:pt x="70" y="572"/>
                  </a:lnTo>
                  <a:lnTo>
                    <a:pt x="58" y="572"/>
                  </a:lnTo>
                  <a:lnTo>
                    <a:pt x="56" y="578"/>
                  </a:lnTo>
                  <a:lnTo>
                    <a:pt x="50" y="578"/>
                  </a:lnTo>
                  <a:lnTo>
                    <a:pt x="42" y="578"/>
                  </a:lnTo>
                  <a:lnTo>
                    <a:pt x="42" y="578"/>
                  </a:lnTo>
                  <a:lnTo>
                    <a:pt x="42" y="572"/>
                  </a:lnTo>
                  <a:lnTo>
                    <a:pt x="46" y="568"/>
                  </a:lnTo>
                  <a:lnTo>
                    <a:pt x="44" y="552"/>
                  </a:lnTo>
                  <a:lnTo>
                    <a:pt x="42" y="550"/>
                  </a:lnTo>
                  <a:lnTo>
                    <a:pt x="42" y="544"/>
                  </a:lnTo>
                  <a:lnTo>
                    <a:pt x="44" y="534"/>
                  </a:lnTo>
                  <a:lnTo>
                    <a:pt x="38" y="518"/>
                  </a:lnTo>
                  <a:lnTo>
                    <a:pt x="34" y="512"/>
                  </a:lnTo>
                  <a:lnTo>
                    <a:pt x="30" y="480"/>
                  </a:lnTo>
                  <a:lnTo>
                    <a:pt x="28" y="478"/>
                  </a:lnTo>
                  <a:lnTo>
                    <a:pt x="28" y="476"/>
                  </a:lnTo>
                  <a:lnTo>
                    <a:pt x="34" y="462"/>
                  </a:lnTo>
                  <a:lnTo>
                    <a:pt x="32" y="448"/>
                  </a:lnTo>
                  <a:lnTo>
                    <a:pt x="30" y="442"/>
                  </a:lnTo>
                  <a:lnTo>
                    <a:pt x="30" y="436"/>
                  </a:lnTo>
                  <a:lnTo>
                    <a:pt x="26" y="420"/>
                  </a:lnTo>
                  <a:lnTo>
                    <a:pt x="16" y="404"/>
                  </a:lnTo>
                  <a:lnTo>
                    <a:pt x="16" y="404"/>
                  </a:lnTo>
                  <a:lnTo>
                    <a:pt x="6" y="392"/>
                  </a:lnTo>
                  <a:lnTo>
                    <a:pt x="4" y="382"/>
                  </a:lnTo>
                  <a:lnTo>
                    <a:pt x="14" y="342"/>
                  </a:lnTo>
                  <a:lnTo>
                    <a:pt x="14" y="336"/>
                  </a:lnTo>
                  <a:lnTo>
                    <a:pt x="16" y="334"/>
                  </a:lnTo>
                  <a:lnTo>
                    <a:pt x="18" y="334"/>
                  </a:lnTo>
                  <a:lnTo>
                    <a:pt x="26" y="324"/>
                  </a:lnTo>
                  <a:lnTo>
                    <a:pt x="28" y="310"/>
                  </a:lnTo>
                  <a:lnTo>
                    <a:pt x="28" y="306"/>
                  </a:lnTo>
                  <a:lnTo>
                    <a:pt x="30" y="266"/>
                  </a:lnTo>
                  <a:lnTo>
                    <a:pt x="22" y="246"/>
                  </a:lnTo>
                  <a:lnTo>
                    <a:pt x="20" y="244"/>
                  </a:lnTo>
                  <a:lnTo>
                    <a:pt x="22" y="242"/>
                  </a:lnTo>
                  <a:lnTo>
                    <a:pt x="18" y="238"/>
                  </a:lnTo>
                  <a:lnTo>
                    <a:pt x="14" y="236"/>
                  </a:lnTo>
                  <a:lnTo>
                    <a:pt x="12" y="234"/>
                  </a:lnTo>
                  <a:lnTo>
                    <a:pt x="10" y="232"/>
                  </a:lnTo>
                  <a:lnTo>
                    <a:pt x="12" y="228"/>
                  </a:lnTo>
                  <a:lnTo>
                    <a:pt x="10" y="216"/>
                  </a:lnTo>
                  <a:lnTo>
                    <a:pt x="14" y="212"/>
                  </a:lnTo>
                  <a:lnTo>
                    <a:pt x="14" y="210"/>
                  </a:lnTo>
                  <a:lnTo>
                    <a:pt x="20" y="178"/>
                  </a:lnTo>
                  <a:lnTo>
                    <a:pt x="16" y="174"/>
                  </a:lnTo>
                  <a:lnTo>
                    <a:pt x="16" y="170"/>
                  </a:lnTo>
                  <a:lnTo>
                    <a:pt x="16" y="166"/>
                  </a:lnTo>
                  <a:lnTo>
                    <a:pt x="16" y="154"/>
                  </a:lnTo>
                  <a:lnTo>
                    <a:pt x="18" y="140"/>
                  </a:lnTo>
                  <a:lnTo>
                    <a:pt x="18" y="134"/>
                  </a:lnTo>
                  <a:lnTo>
                    <a:pt x="16" y="128"/>
                  </a:lnTo>
                  <a:lnTo>
                    <a:pt x="14" y="116"/>
                  </a:lnTo>
                  <a:lnTo>
                    <a:pt x="16" y="112"/>
                  </a:lnTo>
                  <a:lnTo>
                    <a:pt x="18" y="78"/>
                  </a:lnTo>
                  <a:lnTo>
                    <a:pt x="16" y="74"/>
                  </a:lnTo>
                  <a:lnTo>
                    <a:pt x="8" y="68"/>
                  </a:lnTo>
                  <a:lnTo>
                    <a:pt x="6" y="66"/>
                  </a:lnTo>
                  <a:lnTo>
                    <a:pt x="4" y="66"/>
                  </a:lnTo>
                  <a:lnTo>
                    <a:pt x="0" y="66"/>
                  </a:lnTo>
                  <a:lnTo>
                    <a:pt x="16" y="56"/>
                  </a:lnTo>
                  <a:lnTo>
                    <a:pt x="28" y="42"/>
                  </a:lnTo>
                  <a:lnTo>
                    <a:pt x="34" y="38"/>
                  </a:lnTo>
                  <a:lnTo>
                    <a:pt x="38" y="32"/>
                  </a:lnTo>
                  <a:lnTo>
                    <a:pt x="36" y="36"/>
                  </a:lnTo>
                  <a:lnTo>
                    <a:pt x="66" y="60"/>
                  </a:lnTo>
                  <a:lnTo>
                    <a:pt x="80" y="56"/>
                  </a:lnTo>
                  <a:lnTo>
                    <a:pt x="98" y="48"/>
                  </a:lnTo>
                  <a:lnTo>
                    <a:pt x="122" y="58"/>
                  </a:lnTo>
                  <a:lnTo>
                    <a:pt x="134" y="48"/>
                  </a:lnTo>
                  <a:lnTo>
                    <a:pt x="148" y="48"/>
                  </a:lnTo>
                  <a:lnTo>
                    <a:pt x="150" y="48"/>
                  </a:lnTo>
                  <a:lnTo>
                    <a:pt x="138" y="0"/>
                  </a:lnTo>
                  <a:lnTo>
                    <a:pt x="198" y="22"/>
                  </a:lnTo>
                  <a:lnTo>
                    <a:pt x="212" y="18"/>
                  </a:lnTo>
                  <a:lnTo>
                    <a:pt x="248" y="52"/>
                  </a:lnTo>
                  <a:lnTo>
                    <a:pt x="268" y="94"/>
                  </a:lnTo>
                  <a:lnTo>
                    <a:pt x="294" y="122"/>
                  </a:lnTo>
                  <a:lnTo>
                    <a:pt x="292" y="134"/>
                  </a:lnTo>
                  <a:lnTo>
                    <a:pt x="308" y="144"/>
                  </a:lnTo>
                  <a:lnTo>
                    <a:pt x="308" y="146"/>
                  </a:lnTo>
                  <a:lnTo>
                    <a:pt x="296" y="166"/>
                  </a:lnTo>
                  <a:lnTo>
                    <a:pt x="298" y="168"/>
                  </a:lnTo>
                  <a:lnTo>
                    <a:pt x="324" y="200"/>
                  </a:lnTo>
                  <a:lnTo>
                    <a:pt x="376" y="228"/>
                  </a:lnTo>
                  <a:lnTo>
                    <a:pt x="398" y="246"/>
                  </a:lnTo>
                  <a:lnTo>
                    <a:pt x="402" y="252"/>
                  </a:lnTo>
                  <a:lnTo>
                    <a:pt x="402" y="262"/>
                  </a:lnTo>
                  <a:lnTo>
                    <a:pt x="422" y="270"/>
                  </a:lnTo>
                  <a:lnTo>
                    <a:pt x="422" y="274"/>
                  </a:lnTo>
                  <a:lnTo>
                    <a:pt x="424" y="298"/>
                  </a:lnTo>
                  <a:lnTo>
                    <a:pt x="428" y="302"/>
                  </a:lnTo>
                  <a:lnTo>
                    <a:pt x="428" y="310"/>
                  </a:lnTo>
                  <a:lnTo>
                    <a:pt x="434" y="318"/>
                  </a:lnTo>
                  <a:lnTo>
                    <a:pt x="434" y="320"/>
                  </a:lnTo>
                  <a:lnTo>
                    <a:pt x="432" y="320"/>
                  </a:lnTo>
                  <a:lnTo>
                    <a:pt x="432" y="324"/>
                  </a:lnTo>
                  <a:lnTo>
                    <a:pt x="430" y="330"/>
                  </a:lnTo>
                  <a:lnTo>
                    <a:pt x="436" y="332"/>
                  </a:lnTo>
                  <a:lnTo>
                    <a:pt x="446" y="348"/>
                  </a:lnTo>
                  <a:lnTo>
                    <a:pt x="446" y="354"/>
                  </a:lnTo>
                  <a:lnTo>
                    <a:pt x="444" y="360"/>
                  </a:lnTo>
                  <a:lnTo>
                    <a:pt x="446" y="368"/>
                  </a:lnTo>
                  <a:lnTo>
                    <a:pt x="444" y="372"/>
                  </a:lnTo>
                  <a:lnTo>
                    <a:pt x="444" y="374"/>
                  </a:lnTo>
                  <a:lnTo>
                    <a:pt x="438" y="376"/>
                  </a:lnTo>
                  <a:lnTo>
                    <a:pt x="436" y="382"/>
                  </a:lnTo>
                  <a:lnTo>
                    <a:pt x="442" y="402"/>
                  </a:lnTo>
                  <a:lnTo>
                    <a:pt x="440" y="412"/>
                  </a:lnTo>
                  <a:lnTo>
                    <a:pt x="442" y="418"/>
                  </a:lnTo>
                  <a:lnTo>
                    <a:pt x="440" y="420"/>
                  </a:lnTo>
                  <a:lnTo>
                    <a:pt x="442" y="422"/>
                  </a:lnTo>
                  <a:lnTo>
                    <a:pt x="442" y="426"/>
                  </a:lnTo>
                  <a:lnTo>
                    <a:pt x="444" y="426"/>
                  </a:lnTo>
                  <a:lnTo>
                    <a:pt x="444" y="436"/>
                  </a:lnTo>
                  <a:lnTo>
                    <a:pt x="448" y="438"/>
                  </a:lnTo>
                  <a:lnTo>
                    <a:pt x="462" y="43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82" name="Freeform 153"/>
            <p:cNvSpPr>
              <a:spLocks/>
            </p:cNvSpPr>
            <p:nvPr/>
          </p:nvSpPr>
          <p:spPr bwMode="auto">
            <a:xfrm>
              <a:off x="1501776" y="3684588"/>
              <a:ext cx="983645" cy="1012825"/>
            </a:xfrm>
            <a:custGeom>
              <a:avLst/>
              <a:gdLst>
                <a:gd name="T0" fmla="*/ 458 w 572"/>
                <a:gd name="T1" fmla="*/ 442 h 638"/>
                <a:gd name="T2" fmla="*/ 454 w 572"/>
                <a:gd name="T3" fmla="*/ 450 h 638"/>
                <a:gd name="T4" fmla="*/ 460 w 572"/>
                <a:gd name="T5" fmla="*/ 458 h 638"/>
                <a:gd name="T6" fmla="*/ 564 w 572"/>
                <a:gd name="T7" fmla="*/ 550 h 638"/>
                <a:gd name="T8" fmla="*/ 522 w 572"/>
                <a:gd name="T9" fmla="*/ 638 h 638"/>
                <a:gd name="T10" fmla="*/ 358 w 572"/>
                <a:gd name="T11" fmla="*/ 624 h 638"/>
                <a:gd name="T12" fmla="*/ 228 w 572"/>
                <a:gd name="T13" fmla="*/ 622 h 638"/>
                <a:gd name="T14" fmla="*/ 200 w 572"/>
                <a:gd name="T15" fmla="*/ 630 h 638"/>
                <a:gd name="T16" fmla="*/ 92 w 572"/>
                <a:gd name="T17" fmla="*/ 574 h 638"/>
                <a:gd name="T18" fmla="*/ 70 w 572"/>
                <a:gd name="T19" fmla="*/ 572 h 638"/>
                <a:gd name="T20" fmla="*/ 50 w 572"/>
                <a:gd name="T21" fmla="*/ 578 h 638"/>
                <a:gd name="T22" fmla="*/ 42 w 572"/>
                <a:gd name="T23" fmla="*/ 572 h 638"/>
                <a:gd name="T24" fmla="*/ 42 w 572"/>
                <a:gd name="T25" fmla="*/ 550 h 638"/>
                <a:gd name="T26" fmla="*/ 38 w 572"/>
                <a:gd name="T27" fmla="*/ 518 h 638"/>
                <a:gd name="T28" fmla="*/ 28 w 572"/>
                <a:gd name="T29" fmla="*/ 478 h 638"/>
                <a:gd name="T30" fmla="*/ 32 w 572"/>
                <a:gd name="T31" fmla="*/ 448 h 638"/>
                <a:gd name="T32" fmla="*/ 26 w 572"/>
                <a:gd name="T33" fmla="*/ 420 h 638"/>
                <a:gd name="T34" fmla="*/ 6 w 572"/>
                <a:gd name="T35" fmla="*/ 392 h 638"/>
                <a:gd name="T36" fmla="*/ 14 w 572"/>
                <a:gd name="T37" fmla="*/ 336 h 638"/>
                <a:gd name="T38" fmla="*/ 26 w 572"/>
                <a:gd name="T39" fmla="*/ 324 h 638"/>
                <a:gd name="T40" fmla="*/ 30 w 572"/>
                <a:gd name="T41" fmla="*/ 266 h 638"/>
                <a:gd name="T42" fmla="*/ 22 w 572"/>
                <a:gd name="T43" fmla="*/ 242 h 638"/>
                <a:gd name="T44" fmla="*/ 12 w 572"/>
                <a:gd name="T45" fmla="*/ 234 h 638"/>
                <a:gd name="T46" fmla="*/ 10 w 572"/>
                <a:gd name="T47" fmla="*/ 216 h 638"/>
                <a:gd name="T48" fmla="*/ 20 w 572"/>
                <a:gd name="T49" fmla="*/ 178 h 638"/>
                <a:gd name="T50" fmla="*/ 16 w 572"/>
                <a:gd name="T51" fmla="*/ 166 h 638"/>
                <a:gd name="T52" fmla="*/ 18 w 572"/>
                <a:gd name="T53" fmla="*/ 134 h 638"/>
                <a:gd name="T54" fmla="*/ 16 w 572"/>
                <a:gd name="T55" fmla="*/ 112 h 638"/>
                <a:gd name="T56" fmla="*/ 8 w 572"/>
                <a:gd name="T57" fmla="*/ 68 h 638"/>
                <a:gd name="T58" fmla="*/ 0 w 572"/>
                <a:gd name="T59" fmla="*/ 66 h 638"/>
                <a:gd name="T60" fmla="*/ 34 w 572"/>
                <a:gd name="T61" fmla="*/ 38 h 638"/>
                <a:gd name="T62" fmla="*/ 66 w 572"/>
                <a:gd name="T63" fmla="*/ 60 h 638"/>
                <a:gd name="T64" fmla="*/ 122 w 572"/>
                <a:gd name="T65" fmla="*/ 58 h 638"/>
                <a:gd name="T66" fmla="*/ 150 w 572"/>
                <a:gd name="T67" fmla="*/ 48 h 638"/>
                <a:gd name="T68" fmla="*/ 212 w 572"/>
                <a:gd name="T69" fmla="*/ 18 h 638"/>
                <a:gd name="T70" fmla="*/ 294 w 572"/>
                <a:gd name="T71" fmla="*/ 122 h 638"/>
                <a:gd name="T72" fmla="*/ 308 w 572"/>
                <a:gd name="T73" fmla="*/ 146 h 638"/>
                <a:gd name="T74" fmla="*/ 324 w 572"/>
                <a:gd name="T75" fmla="*/ 200 h 638"/>
                <a:gd name="T76" fmla="*/ 402 w 572"/>
                <a:gd name="T77" fmla="*/ 252 h 638"/>
                <a:gd name="T78" fmla="*/ 422 w 572"/>
                <a:gd name="T79" fmla="*/ 274 h 638"/>
                <a:gd name="T80" fmla="*/ 428 w 572"/>
                <a:gd name="T81" fmla="*/ 310 h 638"/>
                <a:gd name="T82" fmla="*/ 432 w 572"/>
                <a:gd name="T83" fmla="*/ 320 h 638"/>
                <a:gd name="T84" fmla="*/ 436 w 572"/>
                <a:gd name="T85" fmla="*/ 332 h 638"/>
                <a:gd name="T86" fmla="*/ 444 w 572"/>
                <a:gd name="T87" fmla="*/ 360 h 638"/>
                <a:gd name="T88" fmla="*/ 444 w 572"/>
                <a:gd name="T89" fmla="*/ 374 h 638"/>
                <a:gd name="T90" fmla="*/ 442 w 572"/>
                <a:gd name="T91" fmla="*/ 402 h 638"/>
                <a:gd name="T92" fmla="*/ 440 w 572"/>
                <a:gd name="T93" fmla="*/ 420 h 638"/>
                <a:gd name="T94" fmla="*/ 444 w 572"/>
                <a:gd name="T95" fmla="*/ 426 h 638"/>
                <a:gd name="T96" fmla="*/ 462 w 572"/>
                <a:gd name="T97" fmla="*/ 4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2" h="638">
                  <a:moveTo>
                    <a:pt x="462" y="438"/>
                  </a:moveTo>
                  <a:lnTo>
                    <a:pt x="460" y="440"/>
                  </a:lnTo>
                  <a:lnTo>
                    <a:pt x="458" y="442"/>
                  </a:lnTo>
                  <a:lnTo>
                    <a:pt x="460" y="444"/>
                  </a:lnTo>
                  <a:lnTo>
                    <a:pt x="456" y="446"/>
                  </a:lnTo>
                  <a:lnTo>
                    <a:pt x="454" y="450"/>
                  </a:lnTo>
                  <a:lnTo>
                    <a:pt x="460" y="450"/>
                  </a:lnTo>
                  <a:lnTo>
                    <a:pt x="462" y="454"/>
                  </a:lnTo>
                  <a:lnTo>
                    <a:pt x="460" y="458"/>
                  </a:lnTo>
                  <a:lnTo>
                    <a:pt x="478" y="510"/>
                  </a:lnTo>
                  <a:lnTo>
                    <a:pt x="560" y="550"/>
                  </a:lnTo>
                  <a:lnTo>
                    <a:pt x="564" y="550"/>
                  </a:lnTo>
                  <a:lnTo>
                    <a:pt x="564" y="550"/>
                  </a:lnTo>
                  <a:lnTo>
                    <a:pt x="572" y="578"/>
                  </a:lnTo>
                  <a:lnTo>
                    <a:pt x="522" y="638"/>
                  </a:lnTo>
                  <a:lnTo>
                    <a:pt x="404" y="632"/>
                  </a:lnTo>
                  <a:lnTo>
                    <a:pt x="404" y="632"/>
                  </a:lnTo>
                  <a:lnTo>
                    <a:pt x="358" y="624"/>
                  </a:lnTo>
                  <a:lnTo>
                    <a:pt x="296" y="606"/>
                  </a:lnTo>
                  <a:lnTo>
                    <a:pt x="258" y="606"/>
                  </a:lnTo>
                  <a:lnTo>
                    <a:pt x="228" y="622"/>
                  </a:lnTo>
                  <a:lnTo>
                    <a:pt x="220" y="632"/>
                  </a:lnTo>
                  <a:lnTo>
                    <a:pt x="206" y="632"/>
                  </a:lnTo>
                  <a:lnTo>
                    <a:pt x="200" y="630"/>
                  </a:lnTo>
                  <a:lnTo>
                    <a:pt x="198" y="612"/>
                  </a:lnTo>
                  <a:lnTo>
                    <a:pt x="114" y="572"/>
                  </a:lnTo>
                  <a:lnTo>
                    <a:pt x="92" y="574"/>
                  </a:lnTo>
                  <a:lnTo>
                    <a:pt x="78" y="570"/>
                  </a:lnTo>
                  <a:lnTo>
                    <a:pt x="74" y="570"/>
                  </a:lnTo>
                  <a:lnTo>
                    <a:pt x="70" y="572"/>
                  </a:lnTo>
                  <a:lnTo>
                    <a:pt x="58" y="572"/>
                  </a:lnTo>
                  <a:lnTo>
                    <a:pt x="56" y="578"/>
                  </a:lnTo>
                  <a:lnTo>
                    <a:pt x="50" y="578"/>
                  </a:lnTo>
                  <a:lnTo>
                    <a:pt x="42" y="578"/>
                  </a:lnTo>
                  <a:lnTo>
                    <a:pt x="42" y="578"/>
                  </a:lnTo>
                  <a:lnTo>
                    <a:pt x="42" y="572"/>
                  </a:lnTo>
                  <a:lnTo>
                    <a:pt x="46" y="568"/>
                  </a:lnTo>
                  <a:lnTo>
                    <a:pt x="44" y="552"/>
                  </a:lnTo>
                  <a:lnTo>
                    <a:pt x="42" y="550"/>
                  </a:lnTo>
                  <a:lnTo>
                    <a:pt x="42" y="544"/>
                  </a:lnTo>
                  <a:lnTo>
                    <a:pt x="44" y="534"/>
                  </a:lnTo>
                  <a:lnTo>
                    <a:pt x="38" y="518"/>
                  </a:lnTo>
                  <a:lnTo>
                    <a:pt x="34" y="512"/>
                  </a:lnTo>
                  <a:lnTo>
                    <a:pt x="30" y="480"/>
                  </a:lnTo>
                  <a:lnTo>
                    <a:pt x="28" y="478"/>
                  </a:lnTo>
                  <a:lnTo>
                    <a:pt x="28" y="476"/>
                  </a:lnTo>
                  <a:lnTo>
                    <a:pt x="34" y="462"/>
                  </a:lnTo>
                  <a:lnTo>
                    <a:pt x="32" y="448"/>
                  </a:lnTo>
                  <a:lnTo>
                    <a:pt x="30" y="442"/>
                  </a:lnTo>
                  <a:lnTo>
                    <a:pt x="30" y="436"/>
                  </a:lnTo>
                  <a:lnTo>
                    <a:pt x="26" y="420"/>
                  </a:lnTo>
                  <a:lnTo>
                    <a:pt x="16" y="404"/>
                  </a:lnTo>
                  <a:lnTo>
                    <a:pt x="16" y="404"/>
                  </a:lnTo>
                  <a:lnTo>
                    <a:pt x="6" y="392"/>
                  </a:lnTo>
                  <a:lnTo>
                    <a:pt x="4" y="382"/>
                  </a:lnTo>
                  <a:lnTo>
                    <a:pt x="14" y="342"/>
                  </a:lnTo>
                  <a:lnTo>
                    <a:pt x="14" y="336"/>
                  </a:lnTo>
                  <a:lnTo>
                    <a:pt x="16" y="334"/>
                  </a:lnTo>
                  <a:lnTo>
                    <a:pt x="18" y="334"/>
                  </a:lnTo>
                  <a:lnTo>
                    <a:pt x="26" y="324"/>
                  </a:lnTo>
                  <a:lnTo>
                    <a:pt x="28" y="310"/>
                  </a:lnTo>
                  <a:lnTo>
                    <a:pt x="28" y="306"/>
                  </a:lnTo>
                  <a:lnTo>
                    <a:pt x="30" y="266"/>
                  </a:lnTo>
                  <a:lnTo>
                    <a:pt x="22" y="246"/>
                  </a:lnTo>
                  <a:lnTo>
                    <a:pt x="20" y="244"/>
                  </a:lnTo>
                  <a:lnTo>
                    <a:pt x="22" y="242"/>
                  </a:lnTo>
                  <a:lnTo>
                    <a:pt x="18" y="238"/>
                  </a:lnTo>
                  <a:lnTo>
                    <a:pt x="14" y="236"/>
                  </a:lnTo>
                  <a:lnTo>
                    <a:pt x="12" y="234"/>
                  </a:lnTo>
                  <a:lnTo>
                    <a:pt x="10" y="232"/>
                  </a:lnTo>
                  <a:lnTo>
                    <a:pt x="12" y="228"/>
                  </a:lnTo>
                  <a:lnTo>
                    <a:pt x="10" y="216"/>
                  </a:lnTo>
                  <a:lnTo>
                    <a:pt x="14" y="212"/>
                  </a:lnTo>
                  <a:lnTo>
                    <a:pt x="14" y="210"/>
                  </a:lnTo>
                  <a:lnTo>
                    <a:pt x="20" y="178"/>
                  </a:lnTo>
                  <a:lnTo>
                    <a:pt x="16" y="174"/>
                  </a:lnTo>
                  <a:lnTo>
                    <a:pt x="16" y="170"/>
                  </a:lnTo>
                  <a:lnTo>
                    <a:pt x="16" y="166"/>
                  </a:lnTo>
                  <a:lnTo>
                    <a:pt x="16" y="154"/>
                  </a:lnTo>
                  <a:lnTo>
                    <a:pt x="18" y="140"/>
                  </a:lnTo>
                  <a:lnTo>
                    <a:pt x="18" y="134"/>
                  </a:lnTo>
                  <a:lnTo>
                    <a:pt x="16" y="128"/>
                  </a:lnTo>
                  <a:lnTo>
                    <a:pt x="14" y="116"/>
                  </a:lnTo>
                  <a:lnTo>
                    <a:pt x="16" y="112"/>
                  </a:lnTo>
                  <a:lnTo>
                    <a:pt x="18" y="78"/>
                  </a:lnTo>
                  <a:lnTo>
                    <a:pt x="16" y="74"/>
                  </a:lnTo>
                  <a:lnTo>
                    <a:pt x="8" y="68"/>
                  </a:lnTo>
                  <a:lnTo>
                    <a:pt x="6" y="66"/>
                  </a:lnTo>
                  <a:lnTo>
                    <a:pt x="4" y="66"/>
                  </a:lnTo>
                  <a:lnTo>
                    <a:pt x="0" y="66"/>
                  </a:lnTo>
                  <a:lnTo>
                    <a:pt x="16" y="56"/>
                  </a:lnTo>
                  <a:lnTo>
                    <a:pt x="28" y="42"/>
                  </a:lnTo>
                  <a:lnTo>
                    <a:pt x="34" y="38"/>
                  </a:lnTo>
                  <a:lnTo>
                    <a:pt x="38" y="32"/>
                  </a:lnTo>
                  <a:lnTo>
                    <a:pt x="36" y="36"/>
                  </a:lnTo>
                  <a:lnTo>
                    <a:pt x="66" y="60"/>
                  </a:lnTo>
                  <a:lnTo>
                    <a:pt x="80" y="56"/>
                  </a:lnTo>
                  <a:lnTo>
                    <a:pt x="98" y="48"/>
                  </a:lnTo>
                  <a:lnTo>
                    <a:pt x="122" y="58"/>
                  </a:lnTo>
                  <a:lnTo>
                    <a:pt x="134" y="48"/>
                  </a:lnTo>
                  <a:lnTo>
                    <a:pt x="148" y="48"/>
                  </a:lnTo>
                  <a:lnTo>
                    <a:pt x="150" y="48"/>
                  </a:lnTo>
                  <a:lnTo>
                    <a:pt x="138" y="0"/>
                  </a:lnTo>
                  <a:lnTo>
                    <a:pt x="198" y="22"/>
                  </a:lnTo>
                  <a:lnTo>
                    <a:pt x="212" y="18"/>
                  </a:lnTo>
                  <a:lnTo>
                    <a:pt x="248" y="52"/>
                  </a:lnTo>
                  <a:lnTo>
                    <a:pt x="268" y="94"/>
                  </a:lnTo>
                  <a:lnTo>
                    <a:pt x="294" y="122"/>
                  </a:lnTo>
                  <a:lnTo>
                    <a:pt x="292" y="134"/>
                  </a:lnTo>
                  <a:lnTo>
                    <a:pt x="308" y="144"/>
                  </a:lnTo>
                  <a:lnTo>
                    <a:pt x="308" y="146"/>
                  </a:lnTo>
                  <a:lnTo>
                    <a:pt x="296" y="166"/>
                  </a:lnTo>
                  <a:lnTo>
                    <a:pt x="298" y="168"/>
                  </a:lnTo>
                  <a:lnTo>
                    <a:pt x="324" y="200"/>
                  </a:lnTo>
                  <a:lnTo>
                    <a:pt x="376" y="228"/>
                  </a:lnTo>
                  <a:lnTo>
                    <a:pt x="398" y="246"/>
                  </a:lnTo>
                  <a:lnTo>
                    <a:pt x="402" y="252"/>
                  </a:lnTo>
                  <a:lnTo>
                    <a:pt x="402" y="262"/>
                  </a:lnTo>
                  <a:lnTo>
                    <a:pt x="422" y="270"/>
                  </a:lnTo>
                  <a:lnTo>
                    <a:pt x="422" y="274"/>
                  </a:lnTo>
                  <a:lnTo>
                    <a:pt x="424" y="298"/>
                  </a:lnTo>
                  <a:lnTo>
                    <a:pt x="428" y="302"/>
                  </a:lnTo>
                  <a:lnTo>
                    <a:pt x="428" y="310"/>
                  </a:lnTo>
                  <a:lnTo>
                    <a:pt x="434" y="318"/>
                  </a:lnTo>
                  <a:lnTo>
                    <a:pt x="434" y="320"/>
                  </a:lnTo>
                  <a:lnTo>
                    <a:pt x="432" y="320"/>
                  </a:lnTo>
                  <a:lnTo>
                    <a:pt x="432" y="324"/>
                  </a:lnTo>
                  <a:lnTo>
                    <a:pt x="430" y="330"/>
                  </a:lnTo>
                  <a:lnTo>
                    <a:pt x="436" y="332"/>
                  </a:lnTo>
                  <a:lnTo>
                    <a:pt x="446" y="348"/>
                  </a:lnTo>
                  <a:lnTo>
                    <a:pt x="446" y="354"/>
                  </a:lnTo>
                  <a:lnTo>
                    <a:pt x="444" y="360"/>
                  </a:lnTo>
                  <a:lnTo>
                    <a:pt x="446" y="368"/>
                  </a:lnTo>
                  <a:lnTo>
                    <a:pt x="444" y="372"/>
                  </a:lnTo>
                  <a:lnTo>
                    <a:pt x="444" y="374"/>
                  </a:lnTo>
                  <a:lnTo>
                    <a:pt x="438" y="376"/>
                  </a:lnTo>
                  <a:lnTo>
                    <a:pt x="436" y="382"/>
                  </a:lnTo>
                  <a:lnTo>
                    <a:pt x="442" y="402"/>
                  </a:lnTo>
                  <a:lnTo>
                    <a:pt x="440" y="412"/>
                  </a:lnTo>
                  <a:lnTo>
                    <a:pt x="442" y="418"/>
                  </a:lnTo>
                  <a:lnTo>
                    <a:pt x="440" y="420"/>
                  </a:lnTo>
                  <a:lnTo>
                    <a:pt x="442" y="422"/>
                  </a:lnTo>
                  <a:lnTo>
                    <a:pt x="442" y="426"/>
                  </a:lnTo>
                  <a:lnTo>
                    <a:pt x="444" y="426"/>
                  </a:lnTo>
                  <a:lnTo>
                    <a:pt x="444" y="436"/>
                  </a:lnTo>
                  <a:lnTo>
                    <a:pt x="448" y="438"/>
                  </a:lnTo>
                  <a:lnTo>
                    <a:pt x="462" y="43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3" name="Freeform 157"/>
            <p:cNvSpPr>
              <a:spLocks/>
            </p:cNvSpPr>
            <p:nvPr/>
          </p:nvSpPr>
          <p:spPr bwMode="auto">
            <a:xfrm>
              <a:off x="1560244" y="3557588"/>
              <a:ext cx="175405" cy="177800"/>
            </a:xfrm>
            <a:custGeom>
              <a:avLst/>
              <a:gdLst>
                <a:gd name="T0" fmla="*/ 4 w 102"/>
                <a:gd name="T1" fmla="*/ 112 h 112"/>
                <a:gd name="T2" fmla="*/ 42 w 102"/>
                <a:gd name="T3" fmla="*/ 74 h 112"/>
                <a:gd name="T4" fmla="*/ 52 w 102"/>
                <a:gd name="T5" fmla="*/ 68 h 112"/>
                <a:gd name="T6" fmla="*/ 54 w 102"/>
                <a:gd name="T7" fmla="*/ 64 h 112"/>
                <a:gd name="T8" fmla="*/ 60 w 102"/>
                <a:gd name="T9" fmla="*/ 58 h 112"/>
                <a:gd name="T10" fmla="*/ 60 w 102"/>
                <a:gd name="T11" fmla="*/ 56 h 112"/>
                <a:gd name="T12" fmla="*/ 58 w 102"/>
                <a:gd name="T13" fmla="*/ 54 h 112"/>
                <a:gd name="T14" fmla="*/ 50 w 102"/>
                <a:gd name="T15" fmla="*/ 54 h 112"/>
                <a:gd name="T16" fmla="*/ 44 w 102"/>
                <a:gd name="T17" fmla="*/ 52 h 112"/>
                <a:gd name="T18" fmla="*/ 42 w 102"/>
                <a:gd name="T19" fmla="*/ 54 h 112"/>
                <a:gd name="T20" fmla="*/ 42 w 102"/>
                <a:gd name="T21" fmla="*/ 50 h 112"/>
                <a:gd name="T22" fmla="*/ 44 w 102"/>
                <a:gd name="T23" fmla="*/ 48 h 112"/>
                <a:gd name="T24" fmla="*/ 48 w 102"/>
                <a:gd name="T25" fmla="*/ 46 h 112"/>
                <a:gd name="T26" fmla="*/ 52 w 102"/>
                <a:gd name="T27" fmla="*/ 42 h 112"/>
                <a:gd name="T28" fmla="*/ 54 w 102"/>
                <a:gd name="T29" fmla="*/ 42 h 112"/>
                <a:gd name="T30" fmla="*/ 56 w 102"/>
                <a:gd name="T31" fmla="*/ 42 h 112"/>
                <a:gd name="T32" fmla="*/ 60 w 102"/>
                <a:gd name="T33" fmla="*/ 44 h 112"/>
                <a:gd name="T34" fmla="*/ 60 w 102"/>
                <a:gd name="T35" fmla="*/ 44 h 112"/>
                <a:gd name="T36" fmla="*/ 62 w 102"/>
                <a:gd name="T37" fmla="*/ 42 h 112"/>
                <a:gd name="T38" fmla="*/ 60 w 102"/>
                <a:gd name="T39" fmla="*/ 40 h 112"/>
                <a:gd name="T40" fmla="*/ 54 w 102"/>
                <a:gd name="T41" fmla="*/ 38 h 112"/>
                <a:gd name="T42" fmla="*/ 58 w 102"/>
                <a:gd name="T43" fmla="*/ 36 h 112"/>
                <a:gd name="T44" fmla="*/ 58 w 102"/>
                <a:gd name="T45" fmla="*/ 32 h 112"/>
                <a:gd name="T46" fmla="*/ 62 w 102"/>
                <a:gd name="T47" fmla="*/ 26 h 112"/>
                <a:gd name="T48" fmla="*/ 68 w 102"/>
                <a:gd name="T49" fmla="*/ 24 h 112"/>
                <a:gd name="T50" fmla="*/ 70 w 102"/>
                <a:gd name="T51" fmla="*/ 20 h 112"/>
                <a:gd name="T52" fmla="*/ 72 w 102"/>
                <a:gd name="T53" fmla="*/ 20 h 112"/>
                <a:gd name="T54" fmla="*/ 74 w 102"/>
                <a:gd name="T55" fmla="*/ 20 h 112"/>
                <a:gd name="T56" fmla="*/ 78 w 102"/>
                <a:gd name="T57" fmla="*/ 22 h 112"/>
                <a:gd name="T58" fmla="*/ 80 w 102"/>
                <a:gd name="T59" fmla="*/ 24 h 112"/>
                <a:gd name="T60" fmla="*/ 80 w 102"/>
                <a:gd name="T61" fmla="*/ 28 h 112"/>
                <a:gd name="T62" fmla="*/ 80 w 102"/>
                <a:gd name="T63" fmla="*/ 30 h 112"/>
                <a:gd name="T64" fmla="*/ 82 w 102"/>
                <a:gd name="T65" fmla="*/ 30 h 112"/>
                <a:gd name="T66" fmla="*/ 88 w 102"/>
                <a:gd name="T67" fmla="*/ 22 h 112"/>
                <a:gd name="T68" fmla="*/ 92 w 102"/>
                <a:gd name="T69" fmla="*/ 20 h 112"/>
                <a:gd name="T70" fmla="*/ 94 w 102"/>
                <a:gd name="T71" fmla="*/ 16 h 112"/>
                <a:gd name="T72" fmla="*/ 96 w 102"/>
                <a:gd name="T73" fmla="*/ 14 h 112"/>
                <a:gd name="T74" fmla="*/ 96 w 102"/>
                <a:gd name="T75" fmla="*/ 12 h 112"/>
                <a:gd name="T76" fmla="*/ 98 w 102"/>
                <a:gd name="T77" fmla="*/ 12 h 112"/>
                <a:gd name="T78" fmla="*/ 102 w 102"/>
                <a:gd name="T79" fmla="*/ 6 h 112"/>
                <a:gd name="T80" fmla="*/ 102 w 102"/>
                <a:gd name="T81" fmla="*/ 6 h 112"/>
                <a:gd name="T82" fmla="*/ 102 w 102"/>
                <a:gd name="T83" fmla="*/ 4 h 112"/>
                <a:gd name="T84" fmla="*/ 100 w 102"/>
                <a:gd name="T85" fmla="*/ 4 h 112"/>
                <a:gd name="T86" fmla="*/ 96 w 102"/>
                <a:gd name="T87" fmla="*/ 10 h 112"/>
                <a:gd name="T88" fmla="*/ 94 w 102"/>
                <a:gd name="T89" fmla="*/ 8 h 112"/>
                <a:gd name="T90" fmla="*/ 92 w 102"/>
                <a:gd name="T91" fmla="*/ 8 h 112"/>
                <a:gd name="T92" fmla="*/ 90 w 102"/>
                <a:gd name="T93" fmla="*/ 8 h 112"/>
                <a:gd name="T94" fmla="*/ 90 w 102"/>
                <a:gd name="T95" fmla="*/ 6 h 112"/>
                <a:gd name="T96" fmla="*/ 84 w 102"/>
                <a:gd name="T97" fmla="*/ 2 h 112"/>
                <a:gd name="T98" fmla="*/ 84 w 102"/>
                <a:gd name="T99" fmla="*/ 0 h 112"/>
                <a:gd name="T100" fmla="*/ 40 w 102"/>
                <a:gd name="T101" fmla="*/ 36 h 112"/>
                <a:gd name="T102" fmla="*/ 34 w 102"/>
                <a:gd name="T103" fmla="*/ 36 h 112"/>
                <a:gd name="T104" fmla="*/ 34 w 102"/>
                <a:gd name="T105" fmla="*/ 40 h 112"/>
                <a:gd name="T106" fmla="*/ 24 w 102"/>
                <a:gd name="T107" fmla="*/ 42 h 112"/>
                <a:gd name="T108" fmla="*/ 24 w 102"/>
                <a:gd name="T109" fmla="*/ 44 h 112"/>
                <a:gd name="T110" fmla="*/ 18 w 102"/>
                <a:gd name="T111" fmla="*/ 44 h 112"/>
                <a:gd name="T112" fmla="*/ 0 w 102"/>
                <a:gd name="T113" fmla="*/ 112 h 112"/>
                <a:gd name="T114" fmla="*/ 4 w 10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12">
                  <a:moveTo>
                    <a:pt x="4" y="112"/>
                  </a:moveTo>
                  <a:lnTo>
                    <a:pt x="42" y="74"/>
                  </a:lnTo>
                  <a:lnTo>
                    <a:pt x="52" y="68"/>
                  </a:lnTo>
                  <a:lnTo>
                    <a:pt x="54" y="64"/>
                  </a:lnTo>
                  <a:lnTo>
                    <a:pt x="60" y="58"/>
                  </a:lnTo>
                  <a:lnTo>
                    <a:pt x="60" y="56"/>
                  </a:lnTo>
                  <a:lnTo>
                    <a:pt x="58" y="54"/>
                  </a:lnTo>
                  <a:lnTo>
                    <a:pt x="50" y="54"/>
                  </a:lnTo>
                  <a:lnTo>
                    <a:pt x="44" y="52"/>
                  </a:lnTo>
                  <a:lnTo>
                    <a:pt x="42" y="54"/>
                  </a:lnTo>
                  <a:lnTo>
                    <a:pt x="42" y="50"/>
                  </a:lnTo>
                  <a:lnTo>
                    <a:pt x="44" y="48"/>
                  </a:lnTo>
                  <a:lnTo>
                    <a:pt x="48" y="46"/>
                  </a:lnTo>
                  <a:lnTo>
                    <a:pt x="52" y="42"/>
                  </a:lnTo>
                  <a:lnTo>
                    <a:pt x="54" y="42"/>
                  </a:lnTo>
                  <a:lnTo>
                    <a:pt x="56" y="42"/>
                  </a:lnTo>
                  <a:lnTo>
                    <a:pt x="60" y="44"/>
                  </a:lnTo>
                  <a:lnTo>
                    <a:pt x="60" y="44"/>
                  </a:lnTo>
                  <a:lnTo>
                    <a:pt x="62" y="42"/>
                  </a:lnTo>
                  <a:lnTo>
                    <a:pt x="60" y="40"/>
                  </a:lnTo>
                  <a:lnTo>
                    <a:pt x="54" y="38"/>
                  </a:lnTo>
                  <a:lnTo>
                    <a:pt x="58" y="36"/>
                  </a:lnTo>
                  <a:lnTo>
                    <a:pt x="58" y="32"/>
                  </a:lnTo>
                  <a:lnTo>
                    <a:pt x="62" y="26"/>
                  </a:lnTo>
                  <a:lnTo>
                    <a:pt x="68" y="24"/>
                  </a:lnTo>
                  <a:lnTo>
                    <a:pt x="70" y="20"/>
                  </a:lnTo>
                  <a:lnTo>
                    <a:pt x="72" y="20"/>
                  </a:lnTo>
                  <a:lnTo>
                    <a:pt x="74" y="20"/>
                  </a:lnTo>
                  <a:lnTo>
                    <a:pt x="78" y="22"/>
                  </a:lnTo>
                  <a:lnTo>
                    <a:pt x="80" y="24"/>
                  </a:lnTo>
                  <a:lnTo>
                    <a:pt x="80" y="28"/>
                  </a:lnTo>
                  <a:lnTo>
                    <a:pt x="80" y="30"/>
                  </a:lnTo>
                  <a:lnTo>
                    <a:pt x="82" y="30"/>
                  </a:lnTo>
                  <a:lnTo>
                    <a:pt x="88" y="22"/>
                  </a:lnTo>
                  <a:lnTo>
                    <a:pt x="92" y="20"/>
                  </a:lnTo>
                  <a:lnTo>
                    <a:pt x="94" y="16"/>
                  </a:lnTo>
                  <a:lnTo>
                    <a:pt x="96" y="14"/>
                  </a:lnTo>
                  <a:lnTo>
                    <a:pt x="96" y="12"/>
                  </a:lnTo>
                  <a:lnTo>
                    <a:pt x="98" y="12"/>
                  </a:lnTo>
                  <a:lnTo>
                    <a:pt x="102" y="6"/>
                  </a:lnTo>
                  <a:lnTo>
                    <a:pt x="102" y="6"/>
                  </a:lnTo>
                  <a:lnTo>
                    <a:pt x="102" y="4"/>
                  </a:lnTo>
                  <a:lnTo>
                    <a:pt x="100" y="4"/>
                  </a:lnTo>
                  <a:lnTo>
                    <a:pt x="96" y="10"/>
                  </a:lnTo>
                  <a:lnTo>
                    <a:pt x="94" y="8"/>
                  </a:lnTo>
                  <a:lnTo>
                    <a:pt x="92" y="8"/>
                  </a:lnTo>
                  <a:lnTo>
                    <a:pt x="90" y="8"/>
                  </a:lnTo>
                  <a:lnTo>
                    <a:pt x="90" y="6"/>
                  </a:lnTo>
                  <a:lnTo>
                    <a:pt x="84" y="2"/>
                  </a:lnTo>
                  <a:lnTo>
                    <a:pt x="84" y="0"/>
                  </a:lnTo>
                  <a:lnTo>
                    <a:pt x="40" y="36"/>
                  </a:lnTo>
                  <a:lnTo>
                    <a:pt x="34" y="36"/>
                  </a:lnTo>
                  <a:lnTo>
                    <a:pt x="34" y="40"/>
                  </a:lnTo>
                  <a:lnTo>
                    <a:pt x="24" y="42"/>
                  </a:lnTo>
                  <a:lnTo>
                    <a:pt x="24" y="44"/>
                  </a:lnTo>
                  <a:lnTo>
                    <a:pt x="18" y="44"/>
                  </a:lnTo>
                  <a:lnTo>
                    <a:pt x="0" y="112"/>
                  </a:lnTo>
                  <a:lnTo>
                    <a:pt x="4" y="11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84" name="Freeform 158"/>
            <p:cNvSpPr>
              <a:spLocks/>
            </p:cNvSpPr>
            <p:nvPr/>
          </p:nvSpPr>
          <p:spPr bwMode="auto">
            <a:xfrm>
              <a:off x="1560244" y="3557588"/>
              <a:ext cx="175405" cy="177800"/>
            </a:xfrm>
            <a:custGeom>
              <a:avLst/>
              <a:gdLst>
                <a:gd name="T0" fmla="*/ 4 w 102"/>
                <a:gd name="T1" fmla="*/ 112 h 112"/>
                <a:gd name="T2" fmla="*/ 42 w 102"/>
                <a:gd name="T3" fmla="*/ 74 h 112"/>
                <a:gd name="T4" fmla="*/ 52 w 102"/>
                <a:gd name="T5" fmla="*/ 68 h 112"/>
                <a:gd name="T6" fmla="*/ 54 w 102"/>
                <a:gd name="T7" fmla="*/ 64 h 112"/>
                <a:gd name="T8" fmla="*/ 60 w 102"/>
                <a:gd name="T9" fmla="*/ 58 h 112"/>
                <a:gd name="T10" fmla="*/ 60 w 102"/>
                <a:gd name="T11" fmla="*/ 56 h 112"/>
                <a:gd name="T12" fmla="*/ 58 w 102"/>
                <a:gd name="T13" fmla="*/ 54 h 112"/>
                <a:gd name="T14" fmla="*/ 50 w 102"/>
                <a:gd name="T15" fmla="*/ 54 h 112"/>
                <a:gd name="T16" fmla="*/ 44 w 102"/>
                <a:gd name="T17" fmla="*/ 52 h 112"/>
                <a:gd name="T18" fmla="*/ 42 w 102"/>
                <a:gd name="T19" fmla="*/ 54 h 112"/>
                <a:gd name="T20" fmla="*/ 42 w 102"/>
                <a:gd name="T21" fmla="*/ 50 h 112"/>
                <a:gd name="T22" fmla="*/ 44 w 102"/>
                <a:gd name="T23" fmla="*/ 48 h 112"/>
                <a:gd name="T24" fmla="*/ 48 w 102"/>
                <a:gd name="T25" fmla="*/ 46 h 112"/>
                <a:gd name="T26" fmla="*/ 52 w 102"/>
                <a:gd name="T27" fmla="*/ 42 h 112"/>
                <a:gd name="T28" fmla="*/ 54 w 102"/>
                <a:gd name="T29" fmla="*/ 42 h 112"/>
                <a:gd name="T30" fmla="*/ 56 w 102"/>
                <a:gd name="T31" fmla="*/ 42 h 112"/>
                <a:gd name="T32" fmla="*/ 60 w 102"/>
                <a:gd name="T33" fmla="*/ 44 h 112"/>
                <a:gd name="T34" fmla="*/ 60 w 102"/>
                <a:gd name="T35" fmla="*/ 44 h 112"/>
                <a:gd name="T36" fmla="*/ 62 w 102"/>
                <a:gd name="T37" fmla="*/ 42 h 112"/>
                <a:gd name="T38" fmla="*/ 60 w 102"/>
                <a:gd name="T39" fmla="*/ 40 h 112"/>
                <a:gd name="T40" fmla="*/ 54 w 102"/>
                <a:gd name="T41" fmla="*/ 38 h 112"/>
                <a:gd name="T42" fmla="*/ 58 w 102"/>
                <a:gd name="T43" fmla="*/ 36 h 112"/>
                <a:gd name="T44" fmla="*/ 58 w 102"/>
                <a:gd name="T45" fmla="*/ 32 h 112"/>
                <a:gd name="T46" fmla="*/ 62 w 102"/>
                <a:gd name="T47" fmla="*/ 26 h 112"/>
                <a:gd name="T48" fmla="*/ 68 w 102"/>
                <a:gd name="T49" fmla="*/ 24 h 112"/>
                <a:gd name="T50" fmla="*/ 70 w 102"/>
                <a:gd name="T51" fmla="*/ 20 h 112"/>
                <a:gd name="T52" fmla="*/ 72 w 102"/>
                <a:gd name="T53" fmla="*/ 20 h 112"/>
                <a:gd name="T54" fmla="*/ 74 w 102"/>
                <a:gd name="T55" fmla="*/ 20 h 112"/>
                <a:gd name="T56" fmla="*/ 78 w 102"/>
                <a:gd name="T57" fmla="*/ 22 h 112"/>
                <a:gd name="T58" fmla="*/ 80 w 102"/>
                <a:gd name="T59" fmla="*/ 24 h 112"/>
                <a:gd name="T60" fmla="*/ 80 w 102"/>
                <a:gd name="T61" fmla="*/ 28 h 112"/>
                <a:gd name="T62" fmla="*/ 80 w 102"/>
                <a:gd name="T63" fmla="*/ 30 h 112"/>
                <a:gd name="T64" fmla="*/ 82 w 102"/>
                <a:gd name="T65" fmla="*/ 30 h 112"/>
                <a:gd name="T66" fmla="*/ 88 w 102"/>
                <a:gd name="T67" fmla="*/ 22 h 112"/>
                <a:gd name="T68" fmla="*/ 92 w 102"/>
                <a:gd name="T69" fmla="*/ 20 h 112"/>
                <a:gd name="T70" fmla="*/ 94 w 102"/>
                <a:gd name="T71" fmla="*/ 16 h 112"/>
                <a:gd name="T72" fmla="*/ 96 w 102"/>
                <a:gd name="T73" fmla="*/ 14 h 112"/>
                <a:gd name="T74" fmla="*/ 96 w 102"/>
                <a:gd name="T75" fmla="*/ 12 h 112"/>
                <a:gd name="T76" fmla="*/ 98 w 102"/>
                <a:gd name="T77" fmla="*/ 12 h 112"/>
                <a:gd name="T78" fmla="*/ 102 w 102"/>
                <a:gd name="T79" fmla="*/ 6 h 112"/>
                <a:gd name="T80" fmla="*/ 102 w 102"/>
                <a:gd name="T81" fmla="*/ 6 h 112"/>
                <a:gd name="T82" fmla="*/ 102 w 102"/>
                <a:gd name="T83" fmla="*/ 4 h 112"/>
                <a:gd name="T84" fmla="*/ 100 w 102"/>
                <a:gd name="T85" fmla="*/ 4 h 112"/>
                <a:gd name="T86" fmla="*/ 96 w 102"/>
                <a:gd name="T87" fmla="*/ 10 h 112"/>
                <a:gd name="T88" fmla="*/ 94 w 102"/>
                <a:gd name="T89" fmla="*/ 8 h 112"/>
                <a:gd name="T90" fmla="*/ 92 w 102"/>
                <a:gd name="T91" fmla="*/ 8 h 112"/>
                <a:gd name="T92" fmla="*/ 90 w 102"/>
                <a:gd name="T93" fmla="*/ 8 h 112"/>
                <a:gd name="T94" fmla="*/ 90 w 102"/>
                <a:gd name="T95" fmla="*/ 6 h 112"/>
                <a:gd name="T96" fmla="*/ 84 w 102"/>
                <a:gd name="T97" fmla="*/ 2 h 112"/>
                <a:gd name="T98" fmla="*/ 84 w 102"/>
                <a:gd name="T99" fmla="*/ 0 h 112"/>
                <a:gd name="T100" fmla="*/ 40 w 102"/>
                <a:gd name="T101" fmla="*/ 36 h 112"/>
                <a:gd name="T102" fmla="*/ 34 w 102"/>
                <a:gd name="T103" fmla="*/ 36 h 112"/>
                <a:gd name="T104" fmla="*/ 34 w 102"/>
                <a:gd name="T105" fmla="*/ 40 h 112"/>
                <a:gd name="T106" fmla="*/ 24 w 102"/>
                <a:gd name="T107" fmla="*/ 42 h 112"/>
                <a:gd name="T108" fmla="*/ 24 w 102"/>
                <a:gd name="T109" fmla="*/ 44 h 112"/>
                <a:gd name="T110" fmla="*/ 18 w 102"/>
                <a:gd name="T111" fmla="*/ 44 h 112"/>
                <a:gd name="T112" fmla="*/ 0 w 102"/>
                <a:gd name="T113" fmla="*/ 112 h 112"/>
                <a:gd name="T114" fmla="*/ 4 w 10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12">
                  <a:moveTo>
                    <a:pt x="4" y="112"/>
                  </a:moveTo>
                  <a:lnTo>
                    <a:pt x="42" y="74"/>
                  </a:lnTo>
                  <a:lnTo>
                    <a:pt x="52" y="68"/>
                  </a:lnTo>
                  <a:lnTo>
                    <a:pt x="54" y="64"/>
                  </a:lnTo>
                  <a:lnTo>
                    <a:pt x="60" y="58"/>
                  </a:lnTo>
                  <a:lnTo>
                    <a:pt x="60" y="56"/>
                  </a:lnTo>
                  <a:lnTo>
                    <a:pt x="58" y="54"/>
                  </a:lnTo>
                  <a:lnTo>
                    <a:pt x="50" y="54"/>
                  </a:lnTo>
                  <a:lnTo>
                    <a:pt x="44" y="52"/>
                  </a:lnTo>
                  <a:lnTo>
                    <a:pt x="42" y="54"/>
                  </a:lnTo>
                  <a:lnTo>
                    <a:pt x="42" y="50"/>
                  </a:lnTo>
                  <a:lnTo>
                    <a:pt x="44" y="48"/>
                  </a:lnTo>
                  <a:lnTo>
                    <a:pt x="48" y="46"/>
                  </a:lnTo>
                  <a:lnTo>
                    <a:pt x="52" y="42"/>
                  </a:lnTo>
                  <a:lnTo>
                    <a:pt x="54" y="42"/>
                  </a:lnTo>
                  <a:lnTo>
                    <a:pt x="56" y="42"/>
                  </a:lnTo>
                  <a:lnTo>
                    <a:pt x="60" y="44"/>
                  </a:lnTo>
                  <a:lnTo>
                    <a:pt x="60" y="44"/>
                  </a:lnTo>
                  <a:lnTo>
                    <a:pt x="62" y="42"/>
                  </a:lnTo>
                  <a:lnTo>
                    <a:pt x="60" y="40"/>
                  </a:lnTo>
                  <a:lnTo>
                    <a:pt x="54" y="38"/>
                  </a:lnTo>
                  <a:lnTo>
                    <a:pt x="58" y="36"/>
                  </a:lnTo>
                  <a:lnTo>
                    <a:pt x="58" y="32"/>
                  </a:lnTo>
                  <a:lnTo>
                    <a:pt x="62" y="26"/>
                  </a:lnTo>
                  <a:lnTo>
                    <a:pt x="68" y="24"/>
                  </a:lnTo>
                  <a:lnTo>
                    <a:pt x="70" y="20"/>
                  </a:lnTo>
                  <a:lnTo>
                    <a:pt x="72" y="20"/>
                  </a:lnTo>
                  <a:lnTo>
                    <a:pt x="74" y="20"/>
                  </a:lnTo>
                  <a:lnTo>
                    <a:pt x="78" y="22"/>
                  </a:lnTo>
                  <a:lnTo>
                    <a:pt x="80" y="24"/>
                  </a:lnTo>
                  <a:lnTo>
                    <a:pt x="80" y="28"/>
                  </a:lnTo>
                  <a:lnTo>
                    <a:pt x="80" y="30"/>
                  </a:lnTo>
                  <a:lnTo>
                    <a:pt x="82" y="30"/>
                  </a:lnTo>
                  <a:lnTo>
                    <a:pt x="88" y="22"/>
                  </a:lnTo>
                  <a:lnTo>
                    <a:pt x="92" y="20"/>
                  </a:lnTo>
                  <a:lnTo>
                    <a:pt x="94" y="16"/>
                  </a:lnTo>
                  <a:lnTo>
                    <a:pt x="96" y="14"/>
                  </a:lnTo>
                  <a:lnTo>
                    <a:pt x="96" y="12"/>
                  </a:lnTo>
                  <a:lnTo>
                    <a:pt x="98" y="12"/>
                  </a:lnTo>
                  <a:lnTo>
                    <a:pt x="102" y="6"/>
                  </a:lnTo>
                  <a:lnTo>
                    <a:pt x="102" y="6"/>
                  </a:lnTo>
                  <a:lnTo>
                    <a:pt x="102" y="4"/>
                  </a:lnTo>
                  <a:lnTo>
                    <a:pt x="100" y="4"/>
                  </a:lnTo>
                  <a:lnTo>
                    <a:pt x="96" y="10"/>
                  </a:lnTo>
                  <a:lnTo>
                    <a:pt x="94" y="8"/>
                  </a:lnTo>
                  <a:lnTo>
                    <a:pt x="92" y="8"/>
                  </a:lnTo>
                  <a:lnTo>
                    <a:pt x="90" y="8"/>
                  </a:lnTo>
                  <a:lnTo>
                    <a:pt x="90" y="6"/>
                  </a:lnTo>
                  <a:lnTo>
                    <a:pt x="84" y="2"/>
                  </a:lnTo>
                  <a:lnTo>
                    <a:pt x="84" y="0"/>
                  </a:lnTo>
                  <a:lnTo>
                    <a:pt x="40" y="36"/>
                  </a:lnTo>
                  <a:lnTo>
                    <a:pt x="34" y="36"/>
                  </a:lnTo>
                  <a:lnTo>
                    <a:pt x="34" y="40"/>
                  </a:lnTo>
                  <a:lnTo>
                    <a:pt x="24" y="42"/>
                  </a:lnTo>
                  <a:lnTo>
                    <a:pt x="24" y="44"/>
                  </a:lnTo>
                  <a:lnTo>
                    <a:pt x="18" y="44"/>
                  </a:lnTo>
                  <a:lnTo>
                    <a:pt x="0" y="112"/>
                  </a:lnTo>
                  <a:lnTo>
                    <a:pt x="4" y="11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5" name="Freeform 159"/>
            <p:cNvSpPr>
              <a:spLocks/>
            </p:cNvSpPr>
            <p:nvPr/>
          </p:nvSpPr>
          <p:spPr bwMode="auto">
            <a:xfrm>
              <a:off x="1866344" y="3544888"/>
              <a:ext cx="460869" cy="501650"/>
            </a:xfrm>
            <a:custGeom>
              <a:avLst/>
              <a:gdLst>
                <a:gd name="T0" fmla="*/ 240 w 268"/>
                <a:gd name="T1" fmla="*/ 312 h 316"/>
                <a:gd name="T2" fmla="*/ 234 w 268"/>
                <a:gd name="T3" fmla="*/ 316 h 316"/>
                <a:gd name="T4" fmla="*/ 226 w 268"/>
                <a:gd name="T5" fmla="*/ 306 h 316"/>
                <a:gd name="T6" fmla="*/ 224 w 268"/>
                <a:gd name="T7" fmla="*/ 306 h 316"/>
                <a:gd name="T8" fmla="*/ 222 w 268"/>
                <a:gd name="T9" fmla="*/ 308 h 316"/>
                <a:gd name="T10" fmla="*/ 210 w 268"/>
                <a:gd name="T11" fmla="*/ 298 h 316"/>
                <a:gd name="T12" fmla="*/ 200 w 268"/>
                <a:gd name="T13" fmla="*/ 298 h 316"/>
                <a:gd name="T14" fmla="*/ 178 w 268"/>
                <a:gd name="T15" fmla="*/ 312 h 316"/>
                <a:gd name="T16" fmla="*/ 164 w 268"/>
                <a:gd name="T17" fmla="*/ 316 h 316"/>
                <a:gd name="T18" fmla="*/ 112 w 268"/>
                <a:gd name="T19" fmla="*/ 288 h 316"/>
                <a:gd name="T20" fmla="*/ 86 w 268"/>
                <a:gd name="T21" fmla="*/ 256 h 316"/>
                <a:gd name="T22" fmla="*/ 84 w 268"/>
                <a:gd name="T23" fmla="*/ 254 h 316"/>
                <a:gd name="T24" fmla="*/ 96 w 268"/>
                <a:gd name="T25" fmla="*/ 234 h 316"/>
                <a:gd name="T26" fmla="*/ 96 w 268"/>
                <a:gd name="T27" fmla="*/ 232 h 316"/>
                <a:gd name="T28" fmla="*/ 80 w 268"/>
                <a:gd name="T29" fmla="*/ 222 h 316"/>
                <a:gd name="T30" fmla="*/ 82 w 268"/>
                <a:gd name="T31" fmla="*/ 210 h 316"/>
                <a:gd name="T32" fmla="*/ 56 w 268"/>
                <a:gd name="T33" fmla="*/ 182 h 316"/>
                <a:gd name="T34" fmla="*/ 36 w 268"/>
                <a:gd name="T35" fmla="*/ 140 h 316"/>
                <a:gd name="T36" fmla="*/ 0 w 268"/>
                <a:gd name="T37" fmla="*/ 106 h 316"/>
                <a:gd name="T38" fmla="*/ 0 w 268"/>
                <a:gd name="T39" fmla="*/ 106 h 316"/>
                <a:gd name="T40" fmla="*/ 16 w 268"/>
                <a:gd name="T41" fmla="*/ 64 h 316"/>
                <a:gd name="T42" fmla="*/ 98 w 268"/>
                <a:gd name="T43" fmla="*/ 66 h 316"/>
                <a:gd name="T44" fmla="*/ 110 w 268"/>
                <a:gd name="T45" fmla="*/ 56 h 316"/>
                <a:gd name="T46" fmla="*/ 144 w 268"/>
                <a:gd name="T47" fmla="*/ 8 h 316"/>
                <a:gd name="T48" fmla="*/ 162 w 268"/>
                <a:gd name="T49" fmla="*/ 12 h 316"/>
                <a:gd name="T50" fmla="*/ 180 w 268"/>
                <a:gd name="T51" fmla="*/ 2 h 316"/>
                <a:gd name="T52" fmla="*/ 206 w 268"/>
                <a:gd name="T53" fmla="*/ 0 h 316"/>
                <a:gd name="T54" fmla="*/ 216 w 268"/>
                <a:gd name="T55" fmla="*/ 8 h 316"/>
                <a:gd name="T56" fmla="*/ 238 w 268"/>
                <a:gd name="T57" fmla="*/ 20 h 316"/>
                <a:gd name="T58" fmla="*/ 240 w 268"/>
                <a:gd name="T59" fmla="*/ 28 h 316"/>
                <a:gd name="T60" fmla="*/ 246 w 268"/>
                <a:gd name="T61" fmla="*/ 32 h 316"/>
                <a:gd name="T62" fmla="*/ 252 w 268"/>
                <a:gd name="T63" fmla="*/ 30 h 316"/>
                <a:gd name="T64" fmla="*/ 246 w 268"/>
                <a:gd name="T65" fmla="*/ 46 h 316"/>
                <a:gd name="T66" fmla="*/ 246 w 268"/>
                <a:gd name="T67" fmla="*/ 58 h 316"/>
                <a:gd name="T68" fmla="*/ 250 w 268"/>
                <a:gd name="T69" fmla="*/ 64 h 316"/>
                <a:gd name="T70" fmla="*/ 248 w 268"/>
                <a:gd name="T71" fmla="*/ 76 h 316"/>
                <a:gd name="T72" fmla="*/ 250 w 268"/>
                <a:gd name="T73" fmla="*/ 84 h 316"/>
                <a:gd name="T74" fmla="*/ 268 w 268"/>
                <a:gd name="T75" fmla="*/ 96 h 316"/>
                <a:gd name="T76" fmla="*/ 264 w 268"/>
                <a:gd name="T77" fmla="*/ 98 h 316"/>
                <a:gd name="T78" fmla="*/ 256 w 268"/>
                <a:gd name="T79" fmla="*/ 104 h 316"/>
                <a:gd name="T80" fmla="*/ 254 w 268"/>
                <a:gd name="T81" fmla="*/ 114 h 316"/>
                <a:gd name="T82" fmla="*/ 234 w 268"/>
                <a:gd name="T83" fmla="*/ 124 h 316"/>
                <a:gd name="T84" fmla="*/ 234 w 268"/>
                <a:gd name="T85" fmla="*/ 128 h 316"/>
                <a:gd name="T86" fmla="*/ 228 w 268"/>
                <a:gd name="T87" fmla="*/ 126 h 316"/>
                <a:gd name="T88" fmla="*/ 224 w 268"/>
                <a:gd name="T89" fmla="*/ 128 h 316"/>
                <a:gd name="T90" fmla="*/ 216 w 268"/>
                <a:gd name="T91" fmla="*/ 140 h 316"/>
                <a:gd name="T92" fmla="*/ 212 w 268"/>
                <a:gd name="T93" fmla="*/ 142 h 316"/>
                <a:gd name="T94" fmla="*/ 210 w 268"/>
                <a:gd name="T95" fmla="*/ 142 h 316"/>
                <a:gd name="T96" fmla="*/ 208 w 268"/>
                <a:gd name="T97" fmla="*/ 150 h 316"/>
                <a:gd name="T98" fmla="*/ 210 w 268"/>
                <a:gd name="T99" fmla="*/ 154 h 316"/>
                <a:gd name="T100" fmla="*/ 214 w 268"/>
                <a:gd name="T101" fmla="*/ 156 h 316"/>
                <a:gd name="T102" fmla="*/ 214 w 268"/>
                <a:gd name="T103" fmla="*/ 162 h 316"/>
                <a:gd name="T104" fmla="*/ 216 w 268"/>
                <a:gd name="T105" fmla="*/ 166 h 316"/>
                <a:gd name="T106" fmla="*/ 216 w 268"/>
                <a:gd name="T107" fmla="*/ 174 h 316"/>
                <a:gd name="T108" fmla="*/ 214 w 268"/>
                <a:gd name="T109" fmla="*/ 180 h 316"/>
                <a:gd name="T110" fmla="*/ 232 w 268"/>
                <a:gd name="T111" fmla="*/ 208 h 316"/>
                <a:gd name="T112" fmla="*/ 238 w 268"/>
                <a:gd name="T113" fmla="*/ 214 h 316"/>
                <a:gd name="T114" fmla="*/ 240 w 268"/>
                <a:gd name="T115" fmla="*/ 246 h 316"/>
                <a:gd name="T116" fmla="*/ 226 w 268"/>
                <a:gd name="T117" fmla="*/ 268 h 316"/>
                <a:gd name="T118" fmla="*/ 232 w 268"/>
                <a:gd name="T119" fmla="*/ 276 h 316"/>
                <a:gd name="T120" fmla="*/ 228 w 268"/>
                <a:gd name="T121" fmla="*/ 286 h 316"/>
                <a:gd name="T122" fmla="*/ 232 w 268"/>
                <a:gd name="T123" fmla="*/ 298 h 316"/>
                <a:gd name="T124" fmla="*/ 240 w 268"/>
                <a:gd name="T125" fmla="*/ 31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316">
                  <a:moveTo>
                    <a:pt x="240" y="312"/>
                  </a:moveTo>
                  <a:lnTo>
                    <a:pt x="234" y="316"/>
                  </a:lnTo>
                  <a:lnTo>
                    <a:pt x="226" y="306"/>
                  </a:lnTo>
                  <a:lnTo>
                    <a:pt x="224" y="306"/>
                  </a:lnTo>
                  <a:lnTo>
                    <a:pt x="222" y="308"/>
                  </a:lnTo>
                  <a:lnTo>
                    <a:pt x="210" y="298"/>
                  </a:lnTo>
                  <a:lnTo>
                    <a:pt x="200" y="298"/>
                  </a:lnTo>
                  <a:lnTo>
                    <a:pt x="178" y="312"/>
                  </a:lnTo>
                  <a:lnTo>
                    <a:pt x="164" y="316"/>
                  </a:lnTo>
                  <a:lnTo>
                    <a:pt x="112" y="288"/>
                  </a:lnTo>
                  <a:lnTo>
                    <a:pt x="86" y="256"/>
                  </a:lnTo>
                  <a:lnTo>
                    <a:pt x="84" y="254"/>
                  </a:lnTo>
                  <a:lnTo>
                    <a:pt x="96" y="234"/>
                  </a:lnTo>
                  <a:lnTo>
                    <a:pt x="96" y="232"/>
                  </a:lnTo>
                  <a:lnTo>
                    <a:pt x="80" y="222"/>
                  </a:lnTo>
                  <a:lnTo>
                    <a:pt x="82" y="210"/>
                  </a:lnTo>
                  <a:lnTo>
                    <a:pt x="56" y="182"/>
                  </a:lnTo>
                  <a:lnTo>
                    <a:pt x="36" y="140"/>
                  </a:lnTo>
                  <a:lnTo>
                    <a:pt x="0" y="106"/>
                  </a:lnTo>
                  <a:lnTo>
                    <a:pt x="0" y="106"/>
                  </a:lnTo>
                  <a:lnTo>
                    <a:pt x="16" y="64"/>
                  </a:lnTo>
                  <a:lnTo>
                    <a:pt x="98" y="66"/>
                  </a:lnTo>
                  <a:lnTo>
                    <a:pt x="110" y="56"/>
                  </a:lnTo>
                  <a:lnTo>
                    <a:pt x="144" y="8"/>
                  </a:lnTo>
                  <a:lnTo>
                    <a:pt x="162" y="12"/>
                  </a:lnTo>
                  <a:lnTo>
                    <a:pt x="180" y="2"/>
                  </a:lnTo>
                  <a:lnTo>
                    <a:pt x="206" y="0"/>
                  </a:lnTo>
                  <a:lnTo>
                    <a:pt x="216" y="8"/>
                  </a:lnTo>
                  <a:lnTo>
                    <a:pt x="238" y="20"/>
                  </a:lnTo>
                  <a:lnTo>
                    <a:pt x="240" y="28"/>
                  </a:lnTo>
                  <a:lnTo>
                    <a:pt x="246" y="32"/>
                  </a:lnTo>
                  <a:lnTo>
                    <a:pt x="252" y="30"/>
                  </a:lnTo>
                  <a:lnTo>
                    <a:pt x="246" y="46"/>
                  </a:lnTo>
                  <a:lnTo>
                    <a:pt x="246" y="58"/>
                  </a:lnTo>
                  <a:lnTo>
                    <a:pt x="250" y="64"/>
                  </a:lnTo>
                  <a:lnTo>
                    <a:pt x="248" y="76"/>
                  </a:lnTo>
                  <a:lnTo>
                    <a:pt x="250" y="84"/>
                  </a:lnTo>
                  <a:lnTo>
                    <a:pt x="268" y="96"/>
                  </a:lnTo>
                  <a:lnTo>
                    <a:pt x="264" y="98"/>
                  </a:lnTo>
                  <a:lnTo>
                    <a:pt x="256" y="104"/>
                  </a:lnTo>
                  <a:lnTo>
                    <a:pt x="254" y="114"/>
                  </a:lnTo>
                  <a:lnTo>
                    <a:pt x="234" y="124"/>
                  </a:lnTo>
                  <a:lnTo>
                    <a:pt x="234" y="128"/>
                  </a:lnTo>
                  <a:lnTo>
                    <a:pt x="228" y="126"/>
                  </a:lnTo>
                  <a:lnTo>
                    <a:pt x="224" y="128"/>
                  </a:lnTo>
                  <a:lnTo>
                    <a:pt x="216" y="140"/>
                  </a:lnTo>
                  <a:lnTo>
                    <a:pt x="212" y="142"/>
                  </a:lnTo>
                  <a:lnTo>
                    <a:pt x="210" y="142"/>
                  </a:lnTo>
                  <a:lnTo>
                    <a:pt x="208" y="150"/>
                  </a:lnTo>
                  <a:lnTo>
                    <a:pt x="210" y="154"/>
                  </a:lnTo>
                  <a:lnTo>
                    <a:pt x="214" y="156"/>
                  </a:lnTo>
                  <a:lnTo>
                    <a:pt x="214" y="162"/>
                  </a:lnTo>
                  <a:lnTo>
                    <a:pt x="216" y="166"/>
                  </a:lnTo>
                  <a:lnTo>
                    <a:pt x="216" y="174"/>
                  </a:lnTo>
                  <a:lnTo>
                    <a:pt x="214" y="180"/>
                  </a:lnTo>
                  <a:lnTo>
                    <a:pt x="232" y="208"/>
                  </a:lnTo>
                  <a:lnTo>
                    <a:pt x="238" y="214"/>
                  </a:lnTo>
                  <a:lnTo>
                    <a:pt x="240" y="246"/>
                  </a:lnTo>
                  <a:lnTo>
                    <a:pt x="226" y="268"/>
                  </a:lnTo>
                  <a:lnTo>
                    <a:pt x="232" y="276"/>
                  </a:lnTo>
                  <a:lnTo>
                    <a:pt x="228" y="286"/>
                  </a:lnTo>
                  <a:lnTo>
                    <a:pt x="232" y="298"/>
                  </a:lnTo>
                  <a:lnTo>
                    <a:pt x="240" y="31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86" name="Freeform 160"/>
            <p:cNvSpPr>
              <a:spLocks/>
            </p:cNvSpPr>
            <p:nvPr/>
          </p:nvSpPr>
          <p:spPr bwMode="auto">
            <a:xfrm>
              <a:off x="1866344" y="3544888"/>
              <a:ext cx="460869" cy="501650"/>
            </a:xfrm>
            <a:custGeom>
              <a:avLst/>
              <a:gdLst>
                <a:gd name="T0" fmla="*/ 240 w 268"/>
                <a:gd name="T1" fmla="*/ 312 h 316"/>
                <a:gd name="T2" fmla="*/ 234 w 268"/>
                <a:gd name="T3" fmla="*/ 316 h 316"/>
                <a:gd name="T4" fmla="*/ 226 w 268"/>
                <a:gd name="T5" fmla="*/ 306 h 316"/>
                <a:gd name="T6" fmla="*/ 224 w 268"/>
                <a:gd name="T7" fmla="*/ 306 h 316"/>
                <a:gd name="T8" fmla="*/ 222 w 268"/>
                <a:gd name="T9" fmla="*/ 308 h 316"/>
                <a:gd name="T10" fmla="*/ 210 w 268"/>
                <a:gd name="T11" fmla="*/ 298 h 316"/>
                <a:gd name="T12" fmla="*/ 200 w 268"/>
                <a:gd name="T13" fmla="*/ 298 h 316"/>
                <a:gd name="T14" fmla="*/ 178 w 268"/>
                <a:gd name="T15" fmla="*/ 312 h 316"/>
                <a:gd name="T16" fmla="*/ 164 w 268"/>
                <a:gd name="T17" fmla="*/ 316 h 316"/>
                <a:gd name="T18" fmla="*/ 112 w 268"/>
                <a:gd name="T19" fmla="*/ 288 h 316"/>
                <a:gd name="T20" fmla="*/ 86 w 268"/>
                <a:gd name="T21" fmla="*/ 256 h 316"/>
                <a:gd name="T22" fmla="*/ 84 w 268"/>
                <a:gd name="T23" fmla="*/ 254 h 316"/>
                <a:gd name="T24" fmla="*/ 96 w 268"/>
                <a:gd name="T25" fmla="*/ 234 h 316"/>
                <a:gd name="T26" fmla="*/ 96 w 268"/>
                <a:gd name="T27" fmla="*/ 232 h 316"/>
                <a:gd name="T28" fmla="*/ 80 w 268"/>
                <a:gd name="T29" fmla="*/ 222 h 316"/>
                <a:gd name="T30" fmla="*/ 82 w 268"/>
                <a:gd name="T31" fmla="*/ 210 h 316"/>
                <a:gd name="T32" fmla="*/ 56 w 268"/>
                <a:gd name="T33" fmla="*/ 182 h 316"/>
                <a:gd name="T34" fmla="*/ 36 w 268"/>
                <a:gd name="T35" fmla="*/ 140 h 316"/>
                <a:gd name="T36" fmla="*/ 0 w 268"/>
                <a:gd name="T37" fmla="*/ 106 h 316"/>
                <a:gd name="T38" fmla="*/ 0 w 268"/>
                <a:gd name="T39" fmla="*/ 106 h 316"/>
                <a:gd name="T40" fmla="*/ 16 w 268"/>
                <a:gd name="T41" fmla="*/ 64 h 316"/>
                <a:gd name="T42" fmla="*/ 98 w 268"/>
                <a:gd name="T43" fmla="*/ 66 h 316"/>
                <a:gd name="T44" fmla="*/ 110 w 268"/>
                <a:gd name="T45" fmla="*/ 56 h 316"/>
                <a:gd name="T46" fmla="*/ 144 w 268"/>
                <a:gd name="T47" fmla="*/ 8 h 316"/>
                <a:gd name="T48" fmla="*/ 162 w 268"/>
                <a:gd name="T49" fmla="*/ 12 h 316"/>
                <a:gd name="T50" fmla="*/ 180 w 268"/>
                <a:gd name="T51" fmla="*/ 2 h 316"/>
                <a:gd name="T52" fmla="*/ 206 w 268"/>
                <a:gd name="T53" fmla="*/ 0 h 316"/>
                <a:gd name="T54" fmla="*/ 216 w 268"/>
                <a:gd name="T55" fmla="*/ 8 h 316"/>
                <a:gd name="T56" fmla="*/ 238 w 268"/>
                <a:gd name="T57" fmla="*/ 20 h 316"/>
                <a:gd name="T58" fmla="*/ 240 w 268"/>
                <a:gd name="T59" fmla="*/ 28 h 316"/>
                <a:gd name="T60" fmla="*/ 246 w 268"/>
                <a:gd name="T61" fmla="*/ 32 h 316"/>
                <a:gd name="T62" fmla="*/ 252 w 268"/>
                <a:gd name="T63" fmla="*/ 30 h 316"/>
                <a:gd name="T64" fmla="*/ 246 w 268"/>
                <a:gd name="T65" fmla="*/ 46 h 316"/>
                <a:gd name="T66" fmla="*/ 246 w 268"/>
                <a:gd name="T67" fmla="*/ 58 h 316"/>
                <a:gd name="T68" fmla="*/ 250 w 268"/>
                <a:gd name="T69" fmla="*/ 64 h 316"/>
                <a:gd name="T70" fmla="*/ 248 w 268"/>
                <a:gd name="T71" fmla="*/ 76 h 316"/>
                <a:gd name="T72" fmla="*/ 250 w 268"/>
                <a:gd name="T73" fmla="*/ 84 h 316"/>
                <a:gd name="T74" fmla="*/ 268 w 268"/>
                <a:gd name="T75" fmla="*/ 96 h 316"/>
                <a:gd name="T76" fmla="*/ 264 w 268"/>
                <a:gd name="T77" fmla="*/ 98 h 316"/>
                <a:gd name="T78" fmla="*/ 256 w 268"/>
                <a:gd name="T79" fmla="*/ 104 h 316"/>
                <a:gd name="T80" fmla="*/ 254 w 268"/>
                <a:gd name="T81" fmla="*/ 114 h 316"/>
                <a:gd name="T82" fmla="*/ 234 w 268"/>
                <a:gd name="T83" fmla="*/ 124 h 316"/>
                <a:gd name="T84" fmla="*/ 234 w 268"/>
                <a:gd name="T85" fmla="*/ 128 h 316"/>
                <a:gd name="T86" fmla="*/ 228 w 268"/>
                <a:gd name="T87" fmla="*/ 126 h 316"/>
                <a:gd name="T88" fmla="*/ 224 w 268"/>
                <a:gd name="T89" fmla="*/ 128 h 316"/>
                <a:gd name="T90" fmla="*/ 216 w 268"/>
                <a:gd name="T91" fmla="*/ 140 h 316"/>
                <a:gd name="T92" fmla="*/ 212 w 268"/>
                <a:gd name="T93" fmla="*/ 142 h 316"/>
                <a:gd name="T94" fmla="*/ 210 w 268"/>
                <a:gd name="T95" fmla="*/ 142 h 316"/>
                <a:gd name="T96" fmla="*/ 208 w 268"/>
                <a:gd name="T97" fmla="*/ 150 h 316"/>
                <a:gd name="T98" fmla="*/ 210 w 268"/>
                <a:gd name="T99" fmla="*/ 154 h 316"/>
                <a:gd name="T100" fmla="*/ 214 w 268"/>
                <a:gd name="T101" fmla="*/ 156 h 316"/>
                <a:gd name="T102" fmla="*/ 214 w 268"/>
                <a:gd name="T103" fmla="*/ 162 h 316"/>
                <a:gd name="T104" fmla="*/ 216 w 268"/>
                <a:gd name="T105" fmla="*/ 166 h 316"/>
                <a:gd name="T106" fmla="*/ 216 w 268"/>
                <a:gd name="T107" fmla="*/ 174 h 316"/>
                <a:gd name="T108" fmla="*/ 214 w 268"/>
                <a:gd name="T109" fmla="*/ 180 h 316"/>
                <a:gd name="T110" fmla="*/ 232 w 268"/>
                <a:gd name="T111" fmla="*/ 208 h 316"/>
                <a:gd name="T112" fmla="*/ 238 w 268"/>
                <a:gd name="T113" fmla="*/ 214 h 316"/>
                <a:gd name="T114" fmla="*/ 240 w 268"/>
                <a:gd name="T115" fmla="*/ 246 h 316"/>
                <a:gd name="T116" fmla="*/ 226 w 268"/>
                <a:gd name="T117" fmla="*/ 268 h 316"/>
                <a:gd name="T118" fmla="*/ 232 w 268"/>
                <a:gd name="T119" fmla="*/ 276 h 316"/>
                <a:gd name="T120" fmla="*/ 228 w 268"/>
                <a:gd name="T121" fmla="*/ 286 h 316"/>
                <a:gd name="T122" fmla="*/ 232 w 268"/>
                <a:gd name="T123" fmla="*/ 298 h 316"/>
                <a:gd name="T124" fmla="*/ 240 w 268"/>
                <a:gd name="T125" fmla="*/ 31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316">
                  <a:moveTo>
                    <a:pt x="240" y="312"/>
                  </a:moveTo>
                  <a:lnTo>
                    <a:pt x="234" y="316"/>
                  </a:lnTo>
                  <a:lnTo>
                    <a:pt x="226" y="306"/>
                  </a:lnTo>
                  <a:lnTo>
                    <a:pt x="224" y="306"/>
                  </a:lnTo>
                  <a:lnTo>
                    <a:pt x="222" y="308"/>
                  </a:lnTo>
                  <a:lnTo>
                    <a:pt x="210" y="298"/>
                  </a:lnTo>
                  <a:lnTo>
                    <a:pt x="200" y="298"/>
                  </a:lnTo>
                  <a:lnTo>
                    <a:pt x="178" y="312"/>
                  </a:lnTo>
                  <a:lnTo>
                    <a:pt x="164" y="316"/>
                  </a:lnTo>
                  <a:lnTo>
                    <a:pt x="112" y="288"/>
                  </a:lnTo>
                  <a:lnTo>
                    <a:pt x="86" y="256"/>
                  </a:lnTo>
                  <a:lnTo>
                    <a:pt x="84" y="254"/>
                  </a:lnTo>
                  <a:lnTo>
                    <a:pt x="96" y="234"/>
                  </a:lnTo>
                  <a:lnTo>
                    <a:pt x="96" y="232"/>
                  </a:lnTo>
                  <a:lnTo>
                    <a:pt x="80" y="222"/>
                  </a:lnTo>
                  <a:lnTo>
                    <a:pt x="82" y="210"/>
                  </a:lnTo>
                  <a:lnTo>
                    <a:pt x="56" y="182"/>
                  </a:lnTo>
                  <a:lnTo>
                    <a:pt x="36" y="140"/>
                  </a:lnTo>
                  <a:lnTo>
                    <a:pt x="0" y="106"/>
                  </a:lnTo>
                  <a:lnTo>
                    <a:pt x="0" y="106"/>
                  </a:lnTo>
                  <a:lnTo>
                    <a:pt x="16" y="64"/>
                  </a:lnTo>
                  <a:lnTo>
                    <a:pt x="98" y="66"/>
                  </a:lnTo>
                  <a:lnTo>
                    <a:pt x="110" y="56"/>
                  </a:lnTo>
                  <a:lnTo>
                    <a:pt x="144" y="8"/>
                  </a:lnTo>
                  <a:lnTo>
                    <a:pt x="162" y="12"/>
                  </a:lnTo>
                  <a:lnTo>
                    <a:pt x="180" y="2"/>
                  </a:lnTo>
                  <a:lnTo>
                    <a:pt x="206" y="0"/>
                  </a:lnTo>
                  <a:lnTo>
                    <a:pt x="216" y="8"/>
                  </a:lnTo>
                  <a:lnTo>
                    <a:pt x="238" y="20"/>
                  </a:lnTo>
                  <a:lnTo>
                    <a:pt x="240" y="28"/>
                  </a:lnTo>
                  <a:lnTo>
                    <a:pt x="246" y="32"/>
                  </a:lnTo>
                  <a:lnTo>
                    <a:pt x="252" y="30"/>
                  </a:lnTo>
                  <a:lnTo>
                    <a:pt x="246" y="46"/>
                  </a:lnTo>
                  <a:lnTo>
                    <a:pt x="246" y="58"/>
                  </a:lnTo>
                  <a:lnTo>
                    <a:pt x="250" y="64"/>
                  </a:lnTo>
                  <a:lnTo>
                    <a:pt x="248" y="76"/>
                  </a:lnTo>
                  <a:lnTo>
                    <a:pt x="250" y="84"/>
                  </a:lnTo>
                  <a:lnTo>
                    <a:pt x="268" y="96"/>
                  </a:lnTo>
                  <a:lnTo>
                    <a:pt x="264" y="98"/>
                  </a:lnTo>
                  <a:lnTo>
                    <a:pt x="256" y="104"/>
                  </a:lnTo>
                  <a:lnTo>
                    <a:pt x="254" y="114"/>
                  </a:lnTo>
                  <a:lnTo>
                    <a:pt x="234" y="124"/>
                  </a:lnTo>
                  <a:lnTo>
                    <a:pt x="234" y="128"/>
                  </a:lnTo>
                  <a:lnTo>
                    <a:pt x="228" y="126"/>
                  </a:lnTo>
                  <a:lnTo>
                    <a:pt x="224" y="128"/>
                  </a:lnTo>
                  <a:lnTo>
                    <a:pt x="216" y="140"/>
                  </a:lnTo>
                  <a:lnTo>
                    <a:pt x="212" y="142"/>
                  </a:lnTo>
                  <a:lnTo>
                    <a:pt x="210" y="142"/>
                  </a:lnTo>
                  <a:lnTo>
                    <a:pt x="208" y="150"/>
                  </a:lnTo>
                  <a:lnTo>
                    <a:pt x="210" y="154"/>
                  </a:lnTo>
                  <a:lnTo>
                    <a:pt x="214" y="156"/>
                  </a:lnTo>
                  <a:lnTo>
                    <a:pt x="214" y="162"/>
                  </a:lnTo>
                  <a:lnTo>
                    <a:pt x="216" y="166"/>
                  </a:lnTo>
                  <a:lnTo>
                    <a:pt x="216" y="174"/>
                  </a:lnTo>
                  <a:lnTo>
                    <a:pt x="214" y="180"/>
                  </a:lnTo>
                  <a:lnTo>
                    <a:pt x="232" y="208"/>
                  </a:lnTo>
                  <a:lnTo>
                    <a:pt x="238" y="214"/>
                  </a:lnTo>
                  <a:lnTo>
                    <a:pt x="240" y="246"/>
                  </a:lnTo>
                  <a:lnTo>
                    <a:pt x="226" y="268"/>
                  </a:lnTo>
                  <a:lnTo>
                    <a:pt x="232" y="276"/>
                  </a:lnTo>
                  <a:lnTo>
                    <a:pt x="228" y="286"/>
                  </a:lnTo>
                  <a:lnTo>
                    <a:pt x="232" y="298"/>
                  </a:lnTo>
                  <a:lnTo>
                    <a:pt x="240" y="31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7" name="Freeform 161"/>
            <p:cNvSpPr>
              <a:spLocks/>
            </p:cNvSpPr>
            <p:nvPr/>
          </p:nvSpPr>
          <p:spPr bwMode="auto">
            <a:xfrm>
              <a:off x="2265305" y="4297363"/>
              <a:ext cx="72226" cy="82550"/>
            </a:xfrm>
            <a:custGeom>
              <a:avLst/>
              <a:gdLst>
                <a:gd name="T0" fmla="*/ 4 w 42"/>
                <a:gd name="T1" fmla="*/ 52 h 52"/>
                <a:gd name="T2" fmla="*/ 18 w 42"/>
                <a:gd name="T3" fmla="*/ 52 h 52"/>
                <a:gd name="T4" fmla="*/ 20 w 42"/>
                <a:gd name="T5" fmla="*/ 50 h 52"/>
                <a:gd name="T6" fmla="*/ 22 w 42"/>
                <a:gd name="T7" fmla="*/ 48 h 52"/>
                <a:gd name="T8" fmla="*/ 26 w 42"/>
                <a:gd name="T9" fmla="*/ 44 h 52"/>
                <a:gd name="T10" fmla="*/ 28 w 42"/>
                <a:gd name="T11" fmla="*/ 42 h 52"/>
                <a:gd name="T12" fmla="*/ 32 w 42"/>
                <a:gd name="T13" fmla="*/ 34 h 52"/>
                <a:gd name="T14" fmla="*/ 30 w 42"/>
                <a:gd name="T15" fmla="*/ 30 h 52"/>
                <a:gd name="T16" fmla="*/ 34 w 42"/>
                <a:gd name="T17" fmla="*/ 22 h 52"/>
                <a:gd name="T18" fmla="*/ 36 w 42"/>
                <a:gd name="T19" fmla="*/ 22 h 52"/>
                <a:gd name="T20" fmla="*/ 36 w 42"/>
                <a:gd name="T21" fmla="*/ 20 h 52"/>
                <a:gd name="T22" fmla="*/ 38 w 42"/>
                <a:gd name="T23" fmla="*/ 18 h 52"/>
                <a:gd name="T24" fmla="*/ 40 w 42"/>
                <a:gd name="T25" fmla="*/ 16 h 52"/>
                <a:gd name="T26" fmla="*/ 42 w 42"/>
                <a:gd name="T27" fmla="*/ 14 h 52"/>
                <a:gd name="T28" fmla="*/ 40 w 42"/>
                <a:gd name="T29" fmla="*/ 12 h 52"/>
                <a:gd name="T30" fmla="*/ 36 w 42"/>
                <a:gd name="T31" fmla="*/ 10 h 52"/>
                <a:gd name="T32" fmla="*/ 36 w 42"/>
                <a:gd name="T33" fmla="*/ 8 h 52"/>
                <a:gd name="T34" fmla="*/ 36 w 42"/>
                <a:gd name="T35" fmla="*/ 6 h 52"/>
                <a:gd name="T36" fmla="*/ 36 w 42"/>
                <a:gd name="T37" fmla="*/ 2 h 52"/>
                <a:gd name="T38" fmla="*/ 32 w 42"/>
                <a:gd name="T39" fmla="*/ 0 h 52"/>
                <a:gd name="T40" fmla="*/ 28 w 42"/>
                <a:gd name="T41" fmla="*/ 0 h 52"/>
                <a:gd name="T42" fmla="*/ 14 w 42"/>
                <a:gd name="T43" fmla="*/ 16 h 52"/>
                <a:gd name="T44" fmla="*/ 8 w 42"/>
                <a:gd name="T45" fmla="*/ 18 h 52"/>
                <a:gd name="T46" fmla="*/ 6 w 42"/>
                <a:gd name="T47" fmla="*/ 22 h 52"/>
                <a:gd name="T48" fmla="*/ 6 w 42"/>
                <a:gd name="T49" fmla="*/ 24 h 52"/>
                <a:gd name="T50" fmla="*/ 6 w 42"/>
                <a:gd name="T51" fmla="*/ 26 h 52"/>
                <a:gd name="T52" fmla="*/ 4 w 42"/>
                <a:gd name="T53" fmla="*/ 28 h 52"/>
                <a:gd name="T54" fmla="*/ 2 w 42"/>
                <a:gd name="T55" fmla="*/ 30 h 52"/>
                <a:gd name="T56" fmla="*/ 4 w 42"/>
                <a:gd name="T57" fmla="*/ 34 h 52"/>
                <a:gd name="T58" fmla="*/ 2 w 42"/>
                <a:gd name="T59" fmla="*/ 36 h 52"/>
                <a:gd name="T60" fmla="*/ 2 w 42"/>
                <a:gd name="T61" fmla="*/ 38 h 52"/>
                <a:gd name="T62" fmla="*/ 0 w 42"/>
                <a:gd name="T63" fmla="*/ 40 h 52"/>
                <a:gd name="T64" fmla="*/ 0 w 42"/>
                <a:gd name="T65" fmla="*/ 40 h 52"/>
                <a:gd name="T66" fmla="*/ 0 w 42"/>
                <a:gd name="T67" fmla="*/ 50 h 52"/>
                <a:gd name="T68" fmla="*/ 4 w 42"/>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52">
                  <a:moveTo>
                    <a:pt x="4" y="52"/>
                  </a:moveTo>
                  <a:lnTo>
                    <a:pt x="18" y="52"/>
                  </a:lnTo>
                  <a:lnTo>
                    <a:pt x="20" y="50"/>
                  </a:lnTo>
                  <a:lnTo>
                    <a:pt x="22" y="48"/>
                  </a:lnTo>
                  <a:lnTo>
                    <a:pt x="26" y="44"/>
                  </a:lnTo>
                  <a:lnTo>
                    <a:pt x="28" y="42"/>
                  </a:lnTo>
                  <a:lnTo>
                    <a:pt x="32" y="34"/>
                  </a:lnTo>
                  <a:lnTo>
                    <a:pt x="30" y="30"/>
                  </a:lnTo>
                  <a:lnTo>
                    <a:pt x="34" y="22"/>
                  </a:lnTo>
                  <a:lnTo>
                    <a:pt x="36" y="22"/>
                  </a:lnTo>
                  <a:lnTo>
                    <a:pt x="36" y="20"/>
                  </a:lnTo>
                  <a:lnTo>
                    <a:pt x="38" y="18"/>
                  </a:lnTo>
                  <a:lnTo>
                    <a:pt x="40" y="16"/>
                  </a:lnTo>
                  <a:lnTo>
                    <a:pt x="42" y="14"/>
                  </a:lnTo>
                  <a:lnTo>
                    <a:pt x="40" y="12"/>
                  </a:lnTo>
                  <a:lnTo>
                    <a:pt x="36" y="10"/>
                  </a:lnTo>
                  <a:lnTo>
                    <a:pt x="36" y="8"/>
                  </a:lnTo>
                  <a:lnTo>
                    <a:pt x="36" y="6"/>
                  </a:lnTo>
                  <a:lnTo>
                    <a:pt x="36" y="2"/>
                  </a:lnTo>
                  <a:lnTo>
                    <a:pt x="32" y="0"/>
                  </a:lnTo>
                  <a:lnTo>
                    <a:pt x="28" y="0"/>
                  </a:lnTo>
                  <a:lnTo>
                    <a:pt x="14" y="16"/>
                  </a:lnTo>
                  <a:lnTo>
                    <a:pt x="8" y="18"/>
                  </a:lnTo>
                  <a:lnTo>
                    <a:pt x="6" y="22"/>
                  </a:lnTo>
                  <a:lnTo>
                    <a:pt x="6" y="24"/>
                  </a:lnTo>
                  <a:lnTo>
                    <a:pt x="6" y="26"/>
                  </a:lnTo>
                  <a:lnTo>
                    <a:pt x="4" y="28"/>
                  </a:lnTo>
                  <a:lnTo>
                    <a:pt x="2" y="30"/>
                  </a:lnTo>
                  <a:lnTo>
                    <a:pt x="4" y="34"/>
                  </a:lnTo>
                  <a:lnTo>
                    <a:pt x="2" y="36"/>
                  </a:lnTo>
                  <a:lnTo>
                    <a:pt x="2" y="38"/>
                  </a:lnTo>
                  <a:lnTo>
                    <a:pt x="0" y="40"/>
                  </a:lnTo>
                  <a:lnTo>
                    <a:pt x="0" y="40"/>
                  </a:lnTo>
                  <a:lnTo>
                    <a:pt x="0" y="50"/>
                  </a:lnTo>
                  <a:lnTo>
                    <a:pt x="4" y="5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88" name="Freeform 162"/>
            <p:cNvSpPr>
              <a:spLocks/>
            </p:cNvSpPr>
            <p:nvPr/>
          </p:nvSpPr>
          <p:spPr bwMode="auto">
            <a:xfrm>
              <a:off x="2265305" y="4297363"/>
              <a:ext cx="72226" cy="82550"/>
            </a:xfrm>
            <a:custGeom>
              <a:avLst/>
              <a:gdLst>
                <a:gd name="T0" fmla="*/ 4 w 42"/>
                <a:gd name="T1" fmla="*/ 52 h 52"/>
                <a:gd name="T2" fmla="*/ 18 w 42"/>
                <a:gd name="T3" fmla="*/ 52 h 52"/>
                <a:gd name="T4" fmla="*/ 20 w 42"/>
                <a:gd name="T5" fmla="*/ 50 h 52"/>
                <a:gd name="T6" fmla="*/ 22 w 42"/>
                <a:gd name="T7" fmla="*/ 48 h 52"/>
                <a:gd name="T8" fmla="*/ 26 w 42"/>
                <a:gd name="T9" fmla="*/ 44 h 52"/>
                <a:gd name="T10" fmla="*/ 28 w 42"/>
                <a:gd name="T11" fmla="*/ 42 h 52"/>
                <a:gd name="T12" fmla="*/ 32 w 42"/>
                <a:gd name="T13" fmla="*/ 34 h 52"/>
                <a:gd name="T14" fmla="*/ 30 w 42"/>
                <a:gd name="T15" fmla="*/ 30 h 52"/>
                <a:gd name="T16" fmla="*/ 34 w 42"/>
                <a:gd name="T17" fmla="*/ 22 h 52"/>
                <a:gd name="T18" fmla="*/ 36 w 42"/>
                <a:gd name="T19" fmla="*/ 22 h 52"/>
                <a:gd name="T20" fmla="*/ 36 w 42"/>
                <a:gd name="T21" fmla="*/ 20 h 52"/>
                <a:gd name="T22" fmla="*/ 38 w 42"/>
                <a:gd name="T23" fmla="*/ 18 h 52"/>
                <a:gd name="T24" fmla="*/ 40 w 42"/>
                <a:gd name="T25" fmla="*/ 16 h 52"/>
                <a:gd name="T26" fmla="*/ 42 w 42"/>
                <a:gd name="T27" fmla="*/ 14 h 52"/>
                <a:gd name="T28" fmla="*/ 40 w 42"/>
                <a:gd name="T29" fmla="*/ 12 h 52"/>
                <a:gd name="T30" fmla="*/ 36 w 42"/>
                <a:gd name="T31" fmla="*/ 10 h 52"/>
                <a:gd name="T32" fmla="*/ 36 w 42"/>
                <a:gd name="T33" fmla="*/ 8 h 52"/>
                <a:gd name="T34" fmla="*/ 36 w 42"/>
                <a:gd name="T35" fmla="*/ 6 h 52"/>
                <a:gd name="T36" fmla="*/ 36 w 42"/>
                <a:gd name="T37" fmla="*/ 2 h 52"/>
                <a:gd name="T38" fmla="*/ 32 w 42"/>
                <a:gd name="T39" fmla="*/ 0 h 52"/>
                <a:gd name="T40" fmla="*/ 28 w 42"/>
                <a:gd name="T41" fmla="*/ 0 h 52"/>
                <a:gd name="T42" fmla="*/ 14 w 42"/>
                <a:gd name="T43" fmla="*/ 16 h 52"/>
                <a:gd name="T44" fmla="*/ 8 w 42"/>
                <a:gd name="T45" fmla="*/ 18 h 52"/>
                <a:gd name="T46" fmla="*/ 6 w 42"/>
                <a:gd name="T47" fmla="*/ 22 h 52"/>
                <a:gd name="T48" fmla="*/ 6 w 42"/>
                <a:gd name="T49" fmla="*/ 24 h 52"/>
                <a:gd name="T50" fmla="*/ 6 w 42"/>
                <a:gd name="T51" fmla="*/ 26 h 52"/>
                <a:gd name="T52" fmla="*/ 4 w 42"/>
                <a:gd name="T53" fmla="*/ 28 h 52"/>
                <a:gd name="T54" fmla="*/ 2 w 42"/>
                <a:gd name="T55" fmla="*/ 30 h 52"/>
                <a:gd name="T56" fmla="*/ 4 w 42"/>
                <a:gd name="T57" fmla="*/ 34 h 52"/>
                <a:gd name="T58" fmla="*/ 2 w 42"/>
                <a:gd name="T59" fmla="*/ 36 h 52"/>
                <a:gd name="T60" fmla="*/ 2 w 42"/>
                <a:gd name="T61" fmla="*/ 38 h 52"/>
                <a:gd name="T62" fmla="*/ 0 w 42"/>
                <a:gd name="T63" fmla="*/ 40 h 52"/>
                <a:gd name="T64" fmla="*/ 0 w 42"/>
                <a:gd name="T65" fmla="*/ 40 h 52"/>
                <a:gd name="T66" fmla="*/ 0 w 42"/>
                <a:gd name="T67" fmla="*/ 50 h 52"/>
                <a:gd name="T68" fmla="*/ 4 w 42"/>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52">
                  <a:moveTo>
                    <a:pt x="4" y="52"/>
                  </a:moveTo>
                  <a:lnTo>
                    <a:pt x="18" y="52"/>
                  </a:lnTo>
                  <a:lnTo>
                    <a:pt x="20" y="50"/>
                  </a:lnTo>
                  <a:lnTo>
                    <a:pt x="22" y="48"/>
                  </a:lnTo>
                  <a:lnTo>
                    <a:pt x="26" y="44"/>
                  </a:lnTo>
                  <a:lnTo>
                    <a:pt x="28" y="42"/>
                  </a:lnTo>
                  <a:lnTo>
                    <a:pt x="32" y="34"/>
                  </a:lnTo>
                  <a:lnTo>
                    <a:pt x="30" y="30"/>
                  </a:lnTo>
                  <a:lnTo>
                    <a:pt x="34" y="22"/>
                  </a:lnTo>
                  <a:lnTo>
                    <a:pt x="36" y="22"/>
                  </a:lnTo>
                  <a:lnTo>
                    <a:pt x="36" y="20"/>
                  </a:lnTo>
                  <a:lnTo>
                    <a:pt x="38" y="18"/>
                  </a:lnTo>
                  <a:lnTo>
                    <a:pt x="40" y="16"/>
                  </a:lnTo>
                  <a:lnTo>
                    <a:pt x="42" y="14"/>
                  </a:lnTo>
                  <a:lnTo>
                    <a:pt x="40" y="12"/>
                  </a:lnTo>
                  <a:lnTo>
                    <a:pt x="36" y="10"/>
                  </a:lnTo>
                  <a:lnTo>
                    <a:pt x="36" y="8"/>
                  </a:lnTo>
                  <a:lnTo>
                    <a:pt x="36" y="6"/>
                  </a:lnTo>
                  <a:lnTo>
                    <a:pt x="36" y="2"/>
                  </a:lnTo>
                  <a:lnTo>
                    <a:pt x="32" y="0"/>
                  </a:lnTo>
                  <a:lnTo>
                    <a:pt x="28" y="0"/>
                  </a:lnTo>
                  <a:lnTo>
                    <a:pt x="14" y="16"/>
                  </a:lnTo>
                  <a:lnTo>
                    <a:pt x="8" y="18"/>
                  </a:lnTo>
                  <a:lnTo>
                    <a:pt x="6" y="22"/>
                  </a:lnTo>
                  <a:lnTo>
                    <a:pt x="6" y="24"/>
                  </a:lnTo>
                  <a:lnTo>
                    <a:pt x="6" y="26"/>
                  </a:lnTo>
                  <a:lnTo>
                    <a:pt x="4" y="28"/>
                  </a:lnTo>
                  <a:lnTo>
                    <a:pt x="2" y="30"/>
                  </a:lnTo>
                  <a:lnTo>
                    <a:pt x="4" y="34"/>
                  </a:lnTo>
                  <a:lnTo>
                    <a:pt x="2" y="36"/>
                  </a:lnTo>
                  <a:lnTo>
                    <a:pt x="2" y="38"/>
                  </a:lnTo>
                  <a:lnTo>
                    <a:pt x="0" y="40"/>
                  </a:lnTo>
                  <a:lnTo>
                    <a:pt x="0" y="40"/>
                  </a:lnTo>
                  <a:lnTo>
                    <a:pt x="0" y="50"/>
                  </a:lnTo>
                  <a:lnTo>
                    <a:pt x="4" y="5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9" name="Freeform 163"/>
            <p:cNvSpPr>
              <a:spLocks/>
            </p:cNvSpPr>
            <p:nvPr/>
          </p:nvSpPr>
          <p:spPr bwMode="auto">
            <a:xfrm>
              <a:off x="2347849" y="3370263"/>
              <a:ext cx="99740" cy="177800"/>
            </a:xfrm>
            <a:custGeom>
              <a:avLst/>
              <a:gdLst>
                <a:gd name="T0" fmla="*/ 16 w 58"/>
                <a:gd name="T1" fmla="*/ 64 h 112"/>
                <a:gd name="T2" fmla="*/ 12 w 58"/>
                <a:gd name="T3" fmla="*/ 54 h 112"/>
                <a:gd name="T4" fmla="*/ 10 w 58"/>
                <a:gd name="T5" fmla="*/ 50 h 112"/>
                <a:gd name="T6" fmla="*/ 8 w 58"/>
                <a:gd name="T7" fmla="*/ 44 h 112"/>
                <a:gd name="T8" fmla="*/ 2 w 58"/>
                <a:gd name="T9" fmla="*/ 34 h 112"/>
                <a:gd name="T10" fmla="*/ 0 w 58"/>
                <a:gd name="T11" fmla="*/ 28 h 112"/>
                <a:gd name="T12" fmla="*/ 8 w 58"/>
                <a:gd name="T13" fmla="*/ 12 h 112"/>
                <a:gd name="T14" fmla="*/ 6 w 58"/>
                <a:gd name="T15" fmla="*/ 4 h 112"/>
                <a:gd name="T16" fmla="*/ 6 w 58"/>
                <a:gd name="T17" fmla="*/ 0 h 112"/>
                <a:gd name="T18" fmla="*/ 16 w 58"/>
                <a:gd name="T19" fmla="*/ 6 h 112"/>
                <a:gd name="T20" fmla="*/ 20 w 58"/>
                <a:gd name="T21" fmla="*/ 4 h 112"/>
                <a:gd name="T22" fmla="*/ 28 w 58"/>
                <a:gd name="T23" fmla="*/ 8 h 112"/>
                <a:gd name="T24" fmla="*/ 32 w 58"/>
                <a:gd name="T25" fmla="*/ 8 h 112"/>
                <a:gd name="T26" fmla="*/ 38 w 58"/>
                <a:gd name="T27" fmla="*/ 14 h 112"/>
                <a:gd name="T28" fmla="*/ 48 w 58"/>
                <a:gd name="T29" fmla="*/ 14 h 112"/>
                <a:gd name="T30" fmla="*/ 48 w 58"/>
                <a:gd name="T31" fmla="*/ 14 h 112"/>
                <a:gd name="T32" fmla="*/ 48 w 58"/>
                <a:gd name="T33" fmla="*/ 18 h 112"/>
                <a:gd name="T34" fmla="*/ 50 w 58"/>
                <a:gd name="T35" fmla="*/ 26 h 112"/>
                <a:gd name="T36" fmla="*/ 54 w 58"/>
                <a:gd name="T37" fmla="*/ 28 h 112"/>
                <a:gd name="T38" fmla="*/ 56 w 58"/>
                <a:gd name="T39" fmla="*/ 32 h 112"/>
                <a:gd name="T40" fmla="*/ 54 w 58"/>
                <a:gd name="T41" fmla="*/ 36 h 112"/>
                <a:gd name="T42" fmla="*/ 50 w 58"/>
                <a:gd name="T43" fmla="*/ 38 h 112"/>
                <a:gd name="T44" fmla="*/ 48 w 58"/>
                <a:gd name="T45" fmla="*/ 40 h 112"/>
                <a:gd name="T46" fmla="*/ 48 w 58"/>
                <a:gd name="T47" fmla="*/ 44 h 112"/>
                <a:gd name="T48" fmla="*/ 50 w 58"/>
                <a:gd name="T49" fmla="*/ 52 h 112"/>
                <a:gd name="T50" fmla="*/ 54 w 58"/>
                <a:gd name="T51" fmla="*/ 60 h 112"/>
                <a:gd name="T52" fmla="*/ 52 w 58"/>
                <a:gd name="T53" fmla="*/ 64 h 112"/>
                <a:gd name="T54" fmla="*/ 48 w 58"/>
                <a:gd name="T55" fmla="*/ 66 h 112"/>
                <a:gd name="T56" fmla="*/ 44 w 58"/>
                <a:gd name="T57" fmla="*/ 64 h 112"/>
                <a:gd name="T58" fmla="*/ 44 w 58"/>
                <a:gd name="T59" fmla="*/ 68 h 112"/>
                <a:gd name="T60" fmla="*/ 46 w 58"/>
                <a:gd name="T61" fmla="*/ 76 h 112"/>
                <a:gd name="T62" fmla="*/ 50 w 58"/>
                <a:gd name="T63" fmla="*/ 84 h 112"/>
                <a:gd name="T64" fmla="*/ 54 w 58"/>
                <a:gd name="T65" fmla="*/ 86 h 112"/>
                <a:gd name="T66" fmla="*/ 58 w 58"/>
                <a:gd name="T67" fmla="*/ 88 h 112"/>
                <a:gd name="T68" fmla="*/ 54 w 58"/>
                <a:gd name="T69" fmla="*/ 90 h 112"/>
                <a:gd name="T70" fmla="*/ 52 w 58"/>
                <a:gd name="T71" fmla="*/ 94 h 112"/>
                <a:gd name="T72" fmla="*/ 52 w 58"/>
                <a:gd name="T73" fmla="*/ 98 h 112"/>
                <a:gd name="T74" fmla="*/ 50 w 58"/>
                <a:gd name="T75" fmla="*/ 100 h 112"/>
                <a:gd name="T76" fmla="*/ 46 w 58"/>
                <a:gd name="T77" fmla="*/ 100 h 112"/>
                <a:gd name="T78" fmla="*/ 46 w 58"/>
                <a:gd name="T79" fmla="*/ 108 h 112"/>
                <a:gd name="T80" fmla="*/ 46 w 58"/>
                <a:gd name="T81" fmla="*/ 112 h 112"/>
                <a:gd name="T82" fmla="*/ 32 w 58"/>
                <a:gd name="T83" fmla="*/ 104 h 112"/>
                <a:gd name="T84" fmla="*/ 38 w 58"/>
                <a:gd name="T85" fmla="*/ 94 h 112"/>
                <a:gd name="T86" fmla="*/ 38 w 58"/>
                <a:gd name="T87" fmla="*/ 80 h 112"/>
                <a:gd name="T88" fmla="*/ 34 w 58"/>
                <a:gd name="T89" fmla="*/ 78 h 112"/>
                <a:gd name="T90" fmla="*/ 30 w 58"/>
                <a:gd name="T91" fmla="*/ 78 h 112"/>
                <a:gd name="T92" fmla="*/ 26 w 58"/>
                <a:gd name="T93" fmla="*/ 76 h 112"/>
                <a:gd name="T94" fmla="*/ 24 w 58"/>
                <a:gd name="T95" fmla="*/ 72 h 112"/>
                <a:gd name="T96" fmla="*/ 24 w 58"/>
                <a:gd name="T97" fmla="*/ 68 h 112"/>
                <a:gd name="T98" fmla="*/ 20 w 58"/>
                <a:gd name="T99" fmla="*/ 66 h 112"/>
                <a:gd name="T100" fmla="*/ 16 w 58"/>
                <a:gd name="T101"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 h="112">
                  <a:moveTo>
                    <a:pt x="16" y="64"/>
                  </a:moveTo>
                  <a:lnTo>
                    <a:pt x="12" y="54"/>
                  </a:lnTo>
                  <a:lnTo>
                    <a:pt x="10" y="50"/>
                  </a:lnTo>
                  <a:lnTo>
                    <a:pt x="8" y="44"/>
                  </a:lnTo>
                  <a:lnTo>
                    <a:pt x="2" y="34"/>
                  </a:lnTo>
                  <a:lnTo>
                    <a:pt x="0" y="28"/>
                  </a:lnTo>
                  <a:lnTo>
                    <a:pt x="8" y="12"/>
                  </a:lnTo>
                  <a:lnTo>
                    <a:pt x="6" y="4"/>
                  </a:lnTo>
                  <a:lnTo>
                    <a:pt x="6" y="0"/>
                  </a:lnTo>
                  <a:lnTo>
                    <a:pt x="16" y="6"/>
                  </a:lnTo>
                  <a:lnTo>
                    <a:pt x="20" y="4"/>
                  </a:lnTo>
                  <a:lnTo>
                    <a:pt x="28" y="8"/>
                  </a:lnTo>
                  <a:lnTo>
                    <a:pt x="32" y="8"/>
                  </a:lnTo>
                  <a:lnTo>
                    <a:pt x="38" y="14"/>
                  </a:lnTo>
                  <a:lnTo>
                    <a:pt x="48" y="14"/>
                  </a:lnTo>
                  <a:lnTo>
                    <a:pt x="48" y="14"/>
                  </a:lnTo>
                  <a:lnTo>
                    <a:pt x="48" y="18"/>
                  </a:lnTo>
                  <a:lnTo>
                    <a:pt x="50" y="26"/>
                  </a:lnTo>
                  <a:lnTo>
                    <a:pt x="54" y="28"/>
                  </a:lnTo>
                  <a:lnTo>
                    <a:pt x="56" y="32"/>
                  </a:lnTo>
                  <a:lnTo>
                    <a:pt x="54" y="36"/>
                  </a:lnTo>
                  <a:lnTo>
                    <a:pt x="50" y="38"/>
                  </a:lnTo>
                  <a:lnTo>
                    <a:pt x="48" y="40"/>
                  </a:lnTo>
                  <a:lnTo>
                    <a:pt x="48" y="44"/>
                  </a:lnTo>
                  <a:lnTo>
                    <a:pt x="50" y="52"/>
                  </a:lnTo>
                  <a:lnTo>
                    <a:pt x="54" y="60"/>
                  </a:lnTo>
                  <a:lnTo>
                    <a:pt x="52" y="64"/>
                  </a:lnTo>
                  <a:lnTo>
                    <a:pt x="48" y="66"/>
                  </a:lnTo>
                  <a:lnTo>
                    <a:pt x="44" y="64"/>
                  </a:lnTo>
                  <a:lnTo>
                    <a:pt x="44" y="68"/>
                  </a:lnTo>
                  <a:lnTo>
                    <a:pt x="46" y="76"/>
                  </a:lnTo>
                  <a:lnTo>
                    <a:pt x="50" y="84"/>
                  </a:lnTo>
                  <a:lnTo>
                    <a:pt x="54" y="86"/>
                  </a:lnTo>
                  <a:lnTo>
                    <a:pt x="58" y="88"/>
                  </a:lnTo>
                  <a:lnTo>
                    <a:pt x="54" y="90"/>
                  </a:lnTo>
                  <a:lnTo>
                    <a:pt x="52" y="94"/>
                  </a:lnTo>
                  <a:lnTo>
                    <a:pt x="52" y="98"/>
                  </a:lnTo>
                  <a:lnTo>
                    <a:pt x="50" y="100"/>
                  </a:lnTo>
                  <a:lnTo>
                    <a:pt x="46" y="100"/>
                  </a:lnTo>
                  <a:lnTo>
                    <a:pt x="46" y="108"/>
                  </a:lnTo>
                  <a:lnTo>
                    <a:pt x="46" y="112"/>
                  </a:lnTo>
                  <a:lnTo>
                    <a:pt x="32" y="104"/>
                  </a:lnTo>
                  <a:lnTo>
                    <a:pt x="38" y="94"/>
                  </a:lnTo>
                  <a:lnTo>
                    <a:pt x="38" y="80"/>
                  </a:lnTo>
                  <a:lnTo>
                    <a:pt x="34" y="78"/>
                  </a:lnTo>
                  <a:lnTo>
                    <a:pt x="30" y="78"/>
                  </a:lnTo>
                  <a:lnTo>
                    <a:pt x="26" y="76"/>
                  </a:lnTo>
                  <a:lnTo>
                    <a:pt x="24" y="72"/>
                  </a:lnTo>
                  <a:lnTo>
                    <a:pt x="24" y="68"/>
                  </a:lnTo>
                  <a:lnTo>
                    <a:pt x="20" y="66"/>
                  </a:lnTo>
                  <a:lnTo>
                    <a:pt x="16" y="6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90" name="Freeform 164"/>
            <p:cNvSpPr>
              <a:spLocks/>
            </p:cNvSpPr>
            <p:nvPr/>
          </p:nvSpPr>
          <p:spPr bwMode="auto">
            <a:xfrm>
              <a:off x="2347849" y="3370263"/>
              <a:ext cx="99740" cy="177800"/>
            </a:xfrm>
            <a:custGeom>
              <a:avLst/>
              <a:gdLst>
                <a:gd name="T0" fmla="*/ 16 w 58"/>
                <a:gd name="T1" fmla="*/ 64 h 112"/>
                <a:gd name="T2" fmla="*/ 12 w 58"/>
                <a:gd name="T3" fmla="*/ 54 h 112"/>
                <a:gd name="T4" fmla="*/ 10 w 58"/>
                <a:gd name="T5" fmla="*/ 50 h 112"/>
                <a:gd name="T6" fmla="*/ 8 w 58"/>
                <a:gd name="T7" fmla="*/ 44 h 112"/>
                <a:gd name="T8" fmla="*/ 2 w 58"/>
                <a:gd name="T9" fmla="*/ 34 h 112"/>
                <a:gd name="T10" fmla="*/ 0 w 58"/>
                <a:gd name="T11" fmla="*/ 28 h 112"/>
                <a:gd name="T12" fmla="*/ 8 w 58"/>
                <a:gd name="T13" fmla="*/ 12 h 112"/>
                <a:gd name="T14" fmla="*/ 6 w 58"/>
                <a:gd name="T15" fmla="*/ 4 h 112"/>
                <a:gd name="T16" fmla="*/ 6 w 58"/>
                <a:gd name="T17" fmla="*/ 0 h 112"/>
                <a:gd name="T18" fmla="*/ 16 w 58"/>
                <a:gd name="T19" fmla="*/ 6 h 112"/>
                <a:gd name="T20" fmla="*/ 20 w 58"/>
                <a:gd name="T21" fmla="*/ 4 h 112"/>
                <a:gd name="T22" fmla="*/ 28 w 58"/>
                <a:gd name="T23" fmla="*/ 8 h 112"/>
                <a:gd name="T24" fmla="*/ 32 w 58"/>
                <a:gd name="T25" fmla="*/ 8 h 112"/>
                <a:gd name="T26" fmla="*/ 38 w 58"/>
                <a:gd name="T27" fmla="*/ 14 h 112"/>
                <a:gd name="T28" fmla="*/ 48 w 58"/>
                <a:gd name="T29" fmla="*/ 14 h 112"/>
                <a:gd name="T30" fmla="*/ 48 w 58"/>
                <a:gd name="T31" fmla="*/ 14 h 112"/>
                <a:gd name="T32" fmla="*/ 48 w 58"/>
                <a:gd name="T33" fmla="*/ 18 h 112"/>
                <a:gd name="T34" fmla="*/ 50 w 58"/>
                <a:gd name="T35" fmla="*/ 26 h 112"/>
                <a:gd name="T36" fmla="*/ 54 w 58"/>
                <a:gd name="T37" fmla="*/ 28 h 112"/>
                <a:gd name="T38" fmla="*/ 56 w 58"/>
                <a:gd name="T39" fmla="*/ 32 h 112"/>
                <a:gd name="T40" fmla="*/ 54 w 58"/>
                <a:gd name="T41" fmla="*/ 36 h 112"/>
                <a:gd name="T42" fmla="*/ 50 w 58"/>
                <a:gd name="T43" fmla="*/ 38 h 112"/>
                <a:gd name="T44" fmla="*/ 48 w 58"/>
                <a:gd name="T45" fmla="*/ 40 h 112"/>
                <a:gd name="T46" fmla="*/ 48 w 58"/>
                <a:gd name="T47" fmla="*/ 44 h 112"/>
                <a:gd name="T48" fmla="*/ 50 w 58"/>
                <a:gd name="T49" fmla="*/ 52 h 112"/>
                <a:gd name="T50" fmla="*/ 54 w 58"/>
                <a:gd name="T51" fmla="*/ 60 h 112"/>
                <a:gd name="T52" fmla="*/ 52 w 58"/>
                <a:gd name="T53" fmla="*/ 64 h 112"/>
                <a:gd name="T54" fmla="*/ 48 w 58"/>
                <a:gd name="T55" fmla="*/ 66 h 112"/>
                <a:gd name="T56" fmla="*/ 44 w 58"/>
                <a:gd name="T57" fmla="*/ 64 h 112"/>
                <a:gd name="T58" fmla="*/ 44 w 58"/>
                <a:gd name="T59" fmla="*/ 68 h 112"/>
                <a:gd name="T60" fmla="*/ 46 w 58"/>
                <a:gd name="T61" fmla="*/ 76 h 112"/>
                <a:gd name="T62" fmla="*/ 50 w 58"/>
                <a:gd name="T63" fmla="*/ 84 h 112"/>
                <a:gd name="T64" fmla="*/ 54 w 58"/>
                <a:gd name="T65" fmla="*/ 86 h 112"/>
                <a:gd name="T66" fmla="*/ 58 w 58"/>
                <a:gd name="T67" fmla="*/ 88 h 112"/>
                <a:gd name="T68" fmla="*/ 54 w 58"/>
                <a:gd name="T69" fmla="*/ 90 h 112"/>
                <a:gd name="T70" fmla="*/ 52 w 58"/>
                <a:gd name="T71" fmla="*/ 94 h 112"/>
                <a:gd name="T72" fmla="*/ 52 w 58"/>
                <a:gd name="T73" fmla="*/ 98 h 112"/>
                <a:gd name="T74" fmla="*/ 50 w 58"/>
                <a:gd name="T75" fmla="*/ 100 h 112"/>
                <a:gd name="T76" fmla="*/ 46 w 58"/>
                <a:gd name="T77" fmla="*/ 100 h 112"/>
                <a:gd name="T78" fmla="*/ 46 w 58"/>
                <a:gd name="T79" fmla="*/ 108 h 112"/>
                <a:gd name="T80" fmla="*/ 46 w 58"/>
                <a:gd name="T81" fmla="*/ 112 h 112"/>
                <a:gd name="T82" fmla="*/ 32 w 58"/>
                <a:gd name="T83" fmla="*/ 104 h 112"/>
                <a:gd name="T84" fmla="*/ 38 w 58"/>
                <a:gd name="T85" fmla="*/ 94 h 112"/>
                <a:gd name="T86" fmla="*/ 38 w 58"/>
                <a:gd name="T87" fmla="*/ 80 h 112"/>
                <a:gd name="T88" fmla="*/ 34 w 58"/>
                <a:gd name="T89" fmla="*/ 78 h 112"/>
                <a:gd name="T90" fmla="*/ 30 w 58"/>
                <a:gd name="T91" fmla="*/ 78 h 112"/>
                <a:gd name="T92" fmla="*/ 26 w 58"/>
                <a:gd name="T93" fmla="*/ 76 h 112"/>
                <a:gd name="T94" fmla="*/ 24 w 58"/>
                <a:gd name="T95" fmla="*/ 72 h 112"/>
                <a:gd name="T96" fmla="*/ 24 w 58"/>
                <a:gd name="T97" fmla="*/ 68 h 112"/>
                <a:gd name="T98" fmla="*/ 20 w 58"/>
                <a:gd name="T99" fmla="*/ 66 h 112"/>
                <a:gd name="T100" fmla="*/ 16 w 58"/>
                <a:gd name="T101"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 h="112">
                  <a:moveTo>
                    <a:pt x="16" y="64"/>
                  </a:moveTo>
                  <a:lnTo>
                    <a:pt x="12" y="54"/>
                  </a:lnTo>
                  <a:lnTo>
                    <a:pt x="10" y="50"/>
                  </a:lnTo>
                  <a:lnTo>
                    <a:pt x="8" y="44"/>
                  </a:lnTo>
                  <a:lnTo>
                    <a:pt x="2" y="34"/>
                  </a:lnTo>
                  <a:lnTo>
                    <a:pt x="0" y="28"/>
                  </a:lnTo>
                  <a:lnTo>
                    <a:pt x="8" y="12"/>
                  </a:lnTo>
                  <a:lnTo>
                    <a:pt x="6" y="4"/>
                  </a:lnTo>
                  <a:lnTo>
                    <a:pt x="6" y="0"/>
                  </a:lnTo>
                  <a:lnTo>
                    <a:pt x="16" y="6"/>
                  </a:lnTo>
                  <a:lnTo>
                    <a:pt x="20" y="4"/>
                  </a:lnTo>
                  <a:lnTo>
                    <a:pt x="28" y="8"/>
                  </a:lnTo>
                  <a:lnTo>
                    <a:pt x="32" y="8"/>
                  </a:lnTo>
                  <a:lnTo>
                    <a:pt x="38" y="14"/>
                  </a:lnTo>
                  <a:lnTo>
                    <a:pt x="48" y="14"/>
                  </a:lnTo>
                  <a:lnTo>
                    <a:pt x="48" y="14"/>
                  </a:lnTo>
                  <a:lnTo>
                    <a:pt x="48" y="18"/>
                  </a:lnTo>
                  <a:lnTo>
                    <a:pt x="50" y="26"/>
                  </a:lnTo>
                  <a:lnTo>
                    <a:pt x="54" y="28"/>
                  </a:lnTo>
                  <a:lnTo>
                    <a:pt x="56" y="32"/>
                  </a:lnTo>
                  <a:lnTo>
                    <a:pt x="54" y="36"/>
                  </a:lnTo>
                  <a:lnTo>
                    <a:pt x="50" y="38"/>
                  </a:lnTo>
                  <a:lnTo>
                    <a:pt x="48" y="40"/>
                  </a:lnTo>
                  <a:lnTo>
                    <a:pt x="48" y="44"/>
                  </a:lnTo>
                  <a:lnTo>
                    <a:pt x="50" y="52"/>
                  </a:lnTo>
                  <a:lnTo>
                    <a:pt x="54" y="60"/>
                  </a:lnTo>
                  <a:lnTo>
                    <a:pt x="52" y="64"/>
                  </a:lnTo>
                  <a:lnTo>
                    <a:pt x="48" y="66"/>
                  </a:lnTo>
                  <a:lnTo>
                    <a:pt x="44" y="64"/>
                  </a:lnTo>
                  <a:lnTo>
                    <a:pt x="44" y="68"/>
                  </a:lnTo>
                  <a:lnTo>
                    <a:pt x="46" y="76"/>
                  </a:lnTo>
                  <a:lnTo>
                    <a:pt x="50" y="84"/>
                  </a:lnTo>
                  <a:lnTo>
                    <a:pt x="54" y="86"/>
                  </a:lnTo>
                  <a:lnTo>
                    <a:pt x="58" y="88"/>
                  </a:lnTo>
                  <a:lnTo>
                    <a:pt x="54" y="90"/>
                  </a:lnTo>
                  <a:lnTo>
                    <a:pt x="52" y="94"/>
                  </a:lnTo>
                  <a:lnTo>
                    <a:pt x="52" y="98"/>
                  </a:lnTo>
                  <a:lnTo>
                    <a:pt x="50" y="100"/>
                  </a:lnTo>
                  <a:lnTo>
                    <a:pt x="46" y="100"/>
                  </a:lnTo>
                  <a:lnTo>
                    <a:pt x="46" y="108"/>
                  </a:lnTo>
                  <a:lnTo>
                    <a:pt x="46" y="112"/>
                  </a:lnTo>
                  <a:lnTo>
                    <a:pt x="32" y="104"/>
                  </a:lnTo>
                  <a:lnTo>
                    <a:pt x="38" y="94"/>
                  </a:lnTo>
                  <a:lnTo>
                    <a:pt x="38" y="80"/>
                  </a:lnTo>
                  <a:lnTo>
                    <a:pt x="34" y="78"/>
                  </a:lnTo>
                  <a:lnTo>
                    <a:pt x="30" y="78"/>
                  </a:lnTo>
                  <a:lnTo>
                    <a:pt x="26" y="76"/>
                  </a:lnTo>
                  <a:lnTo>
                    <a:pt x="24" y="72"/>
                  </a:lnTo>
                  <a:lnTo>
                    <a:pt x="24" y="68"/>
                  </a:lnTo>
                  <a:lnTo>
                    <a:pt x="20" y="66"/>
                  </a:lnTo>
                  <a:lnTo>
                    <a:pt x="16" y="6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1" name="Freeform 418"/>
            <p:cNvSpPr>
              <a:spLocks/>
            </p:cNvSpPr>
            <p:nvPr/>
          </p:nvSpPr>
          <p:spPr bwMode="auto">
            <a:xfrm>
              <a:off x="2147888" y="4017963"/>
              <a:ext cx="106363" cy="95250"/>
            </a:xfrm>
            <a:custGeom>
              <a:avLst/>
              <a:gdLst>
                <a:gd name="T0" fmla="*/ 46 w 62"/>
                <a:gd name="T1" fmla="*/ 60 h 60"/>
                <a:gd name="T2" fmla="*/ 48 w 62"/>
                <a:gd name="T3" fmla="*/ 54 h 60"/>
                <a:gd name="T4" fmla="*/ 46 w 62"/>
                <a:gd name="T5" fmla="*/ 52 h 60"/>
                <a:gd name="T6" fmla="*/ 48 w 62"/>
                <a:gd name="T7" fmla="*/ 34 h 60"/>
                <a:gd name="T8" fmla="*/ 44 w 62"/>
                <a:gd name="T9" fmla="*/ 30 h 60"/>
                <a:gd name="T10" fmla="*/ 38 w 62"/>
                <a:gd name="T11" fmla="*/ 26 h 60"/>
                <a:gd name="T12" fmla="*/ 42 w 62"/>
                <a:gd name="T13" fmla="*/ 24 h 60"/>
                <a:gd name="T14" fmla="*/ 48 w 62"/>
                <a:gd name="T15" fmla="*/ 24 h 60"/>
                <a:gd name="T16" fmla="*/ 56 w 62"/>
                <a:gd name="T17" fmla="*/ 26 h 60"/>
                <a:gd name="T18" fmla="*/ 62 w 62"/>
                <a:gd name="T19" fmla="*/ 24 h 60"/>
                <a:gd name="T20" fmla="*/ 62 w 62"/>
                <a:gd name="T21" fmla="*/ 22 h 60"/>
                <a:gd name="T22" fmla="*/ 62 w 62"/>
                <a:gd name="T23" fmla="*/ 20 h 60"/>
                <a:gd name="T24" fmla="*/ 58 w 62"/>
                <a:gd name="T25" fmla="*/ 12 h 60"/>
                <a:gd name="T26" fmla="*/ 58 w 62"/>
                <a:gd name="T27" fmla="*/ 10 h 60"/>
                <a:gd name="T28" fmla="*/ 58 w 62"/>
                <a:gd name="T29" fmla="*/ 10 h 60"/>
                <a:gd name="T30" fmla="*/ 46 w 62"/>
                <a:gd name="T31" fmla="*/ 0 h 60"/>
                <a:gd name="T32" fmla="*/ 36 w 62"/>
                <a:gd name="T33" fmla="*/ 0 h 60"/>
                <a:gd name="T34" fmla="*/ 14 w 62"/>
                <a:gd name="T35" fmla="*/ 14 h 60"/>
                <a:gd name="T36" fmla="*/ 0 w 62"/>
                <a:gd name="T37" fmla="*/ 18 h 60"/>
                <a:gd name="T38" fmla="*/ 22 w 62"/>
                <a:gd name="T39" fmla="*/ 36 h 60"/>
                <a:gd name="T40" fmla="*/ 26 w 62"/>
                <a:gd name="T41" fmla="*/ 42 h 60"/>
                <a:gd name="T42" fmla="*/ 26 w 62"/>
                <a:gd name="T43" fmla="*/ 52 h 60"/>
                <a:gd name="T44" fmla="*/ 46 w 62"/>
                <a:gd name="T4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60">
                  <a:moveTo>
                    <a:pt x="46" y="60"/>
                  </a:moveTo>
                  <a:lnTo>
                    <a:pt x="48" y="54"/>
                  </a:lnTo>
                  <a:lnTo>
                    <a:pt x="46" y="52"/>
                  </a:lnTo>
                  <a:lnTo>
                    <a:pt x="48" y="34"/>
                  </a:lnTo>
                  <a:lnTo>
                    <a:pt x="44" y="30"/>
                  </a:lnTo>
                  <a:lnTo>
                    <a:pt x="38" y="26"/>
                  </a:lnTo>
                  <a:lnTo>
                    <a:pt x="42" y="24"/>
                  </a:lnTo>
                  <a:lnTo>
                    <a:pt x="48" y="24"/>
                  </a:lnTo>
                  <a:lnTo>
                    <a:pt x="56" y="26"/>
                  </a:lnTo>
                  <a:lnTo>
                    <a:pt x="62" y="24"/>
                  </a:lnTo>
                  <a:lnTo>
                    <a:pt x="62" y="22"/>
                  </a:lnTo>
                  <a:lnTo>
                    <a:pt x="62" y="20"/>
                  </a:lnTo>
                  <a:lnTo>
                    <a:pt x="58" y="12"/>
                  </a:lnTo>
                  <a:lnTo>
                    <a:pt x="58" y="10"/>
                  </a:lnTo>
                  <a:lnTo>
                    <a:pt x="58" y="10"/>
                  </a:lnTo>
                  <a:lnTo>
                    <a:pt x="46" y="0"/>
                  </a:lnTo>
                  <a:lnTo>
                    <a:pt x="36" y="0"/>
                  </a:lnTo>
                  <a:lnTo>
                    <a:pt x="14" y="14"/>
                  </a:lnTo>
                  <a:lnTo>
                    <a:pt x="0" y="18"/>
                  </a:lnTo>
                  <a:lnTo>
                    <a:pt x="22" y="36"/>
                  </a:lnTo>
                  <a:lnTo>
                    <a:pt x="26" y="42"/>
                  </a:lnTo>
                  <a:lnTo>
                    <a:pt x="26" y="52"/>
                  </a:lnTo>
                  <a:lnTo>
                    <a:pt x="46" y="6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92" name="Freeform 419"/>
            <p:cNvSpPr>
              <a:spLocks/>
            </p:cNvSpPr>
            <p:nvPr/>
          </p:nvSpPr>
          <p:spPr bwMode="auto">
            <a:xfrm>
              <a:off x="2147888" y="4017963"/>
              <a:ext cx="106363" cy="95250"/>
            </a:xfrm>
            <a:custGeom>
              <a:avLst/>
              <a:gdLst>
                <a:gd name="T0" fmla="*/ 46 w 62"/>
                <a:gd name="T1" fmla="*/ 60 h 60"/>
                <a:gd name="T2" fmla="*/ 48 w 62"/>
                <a:gd name="T3" fmla="*/ 54 h 60"/>
                <a:gd name="T4" fmla="*/ 46 w 62"/>
                <a:gd name="T5" fmla="*/ 52 h 60"/>
                <a:gd name="T6" fmla="*/ 48 w 62"/>
                <a:gd name="T7" fmla="*/ 34 h 60"/>
                <a:gd name="T8" fmla="*/ 44 w 62"/>
                <a:gd name="T9" fmla="*/ 30 h 60"/>
                <a:gd name="T10" fmla="*/ 38 w 62"/>
                <a:gd name="T11" fmla="*/ 26 h 60"/>
                <a:gd name="T12" fmla="*/ 42 w 62"/>
                <a:gd name="T13" fmla="*/ 24 h 60"/>
                <a:gd name="T14" fmla="*/ 48 w 62"/>
                <a:gd name="T15" fmla="*/ 24 h 60"/>
                <a:gd name="T16" fmla="*/ 56 w 62"/>
                <a:gd name="T17" fmla="*/ 26 h 60"/>
                <a:gd name="T18" fmla="*/ 62 w 62"/>
                <a:gd name="T19" fmla="*/ 24 h 60"/>
                <a:gd name="T20" fmla="*/ 62 w 62"/>
                <a:gd name="T21" fmla="*/ 22 h 60"/>
                <a:gd name="T22" fmla="*/ 62 w 62"/>
                <a:gd name="T23" fmla="*/ 20 h 60"/>
                <a:gd name="T24" fmla="*/ 58 w 62"/>
                <a:gd name="T25" fmla="*/ 12 h 60"/>
                <a:gd name="T26" fmla="*/ 58 w 62"/>
                <a:gd name="T27" fmla="*/ 10 h 60"/>
                <a:gd name="T28" fmla="*/ 58 w 62"/>
                <a:gd name="T29" fmla="*/ 10 h 60"/>
                <a:gd name="T30" fmla="*/ 46 w 62"/>
                <a:gd name="T31" fmla="*/ 0 h 60"/>
                <a:gd name="T32" fmla="*/ 36 w 62"/>
                <a:gd name="T33" fmla="*/ 0 h 60"/>
                <a:gd name="T34" fmla="*/ 14 w 62"/>
                <a:gd name="T35" fmla="*/ 14 h 60"/>
                <a:gd name="T36" fmla="*/ 0 w 62"/>
                <a:gd name="T37" fmla="*/ 18 h 60"/>
                <a:gd name="T38" fmla="*/ 22 w 62"/>
                <a:gd name="T39" fmla="*/ 36 h 60"/>
                <a:gd name="T40" fmla="*/ 26 w 62"/>
                <a:gd name="T41" fmla="*/ 42 h 60"/>
                <a:gd name="T42" fmla="*/ 26 w 62"/>
                <a:gd name="T43" fmla="*/ 52 h 60"/>
                <a:gd name="T44" fmla="*/ 46 w 62"/>
                <a:gd name="T4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60">
                  <a:moveTo>
                    <a:pt x="46" y="60"/>
                  </a:moveTo>
                  <a:lnTo>
                    <a:pt x="48" y="54"/>
                  </a:lnTo>
                  <a:lnTo>
                    <a:pt x="46" y="52"/>
                  </a:lnTo>
                  <a:lnTo>
                    <a:pt x="48" y="34"/>
                  </a:lnTo>
                  <a:lnTo>
                    <a:pt x="44" y="30"/>
                  </a:lnTo>
                  <a:lnTo>
                    <a:pt x="38" y="26"/>
                  </a:lnTo>
                  <a:lnTo>
                    <a:pt x="42" y="24"/>
                  </a:lnTo>
                  <a:lnTo>
                    <a:pt x="48" y="24"/>
                  </a:lnTo>
                  <a:lnTo>
                    <a:pt x="56" y="26"/>
                  </a:lnTo>
                  <a:lnTo>
                    <a:pt x="62" y="24"/>
                  </a:lnTo>
                  <a:lnTo>
                    <a:pt x="62" y="22"/>
                  </a:lnTo>
                  <a:lnTo>
                    <a:pt x="62" y="20"/>
                  </a:lnTo>
                  <a:lnTo>
                    <a:pt x="58" y="12"/>
                  </a:lnTo>
                  <a:lnTo>
                    <a:pt x="58" y="10"/>
                  </a:lnTo>
                  <a:lnTo>
                    <a:pt x="58" y="10"/>
                  </a:lnTo>
                  <a:lnTo>
                    <a:pt x="46" y="0"/>
                  </a:lnTo>
                  <a:lnTo>
                    <a:pt x="36" y="0"/>
                  </a:lnTo>
                  <a:lnTo>
                    <a:pt x="14" y="14"/>
                  </a:lnTo>
                  <a:lnTo>
                    <a:pt x="0" y="18"/>
                  </a:lnTo>
                  <a:lnTo>
                    <a:pt x="22" y="36"/>
                  </a:lnTo>
                  <a:lnTo>
                    <a:pt x="26" y="42"/>
                  </a:lnTo>
                  <a:lnTo>
                    <a:pt x="26" y="52"/>
                  </a:lnTo>
                  <a:lnTo>
                    <a:pt x="46" y="6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3" name="Freeform 433"/>
            <p:cNvSpPr>
              <a:spLocks/>
            </p:cNvSpPr>
            <p:nvPr/>
          </p:nvSpPr>
          <p:spPr bwMode="auto">
            <a:xfrm>
              <a:off x="2274888" y="4275138"/>
              <a:ext cx="14288" cy="19050"/>
            </a:xfrm>
            <a:custGeom>
              <a:avLst/>
              <a:gdLst>
                <a:gd name="T0" fmla="*/ 8 w 8"/>
                <a:gd name="T1" fmla="*/ 4 h 12"/>
                <a:gd name="T2" fmla="*/ 4 w 8"/>
                <a:gd name="T3" fmla="*/ 0 h 12"/>
                <a:gd name="T4" fmla="*/ 0 w 8"/>
                <a:gd name="T5" fmla="*/ 12 h 12"/>
                <a:gd name="T6" fmla="*/ 4 w 8"/>
                <a:gd name="T7" fmla="*/ 10 h 12"/>
                <a:gd name="T8" fmla="*/ 8 w 8"/>
                <a:gd name="T9" fmla="*/ 4 h 12"/>
              </a:gdLst>
              <a:ahLst/>
              <a:cxnLst>
                <a:cxn ang="0">
                  <a:pos x="T0" y="T1"/>
                </a:cxn>
                <a:cxn ang="0">
                  <a:pos x="T2" y="T3"/>
                </a:cxn>
                <a:cxn ang="0">
                  <a:pos x="T4" y="T5"/>
                </a:cxn>
                <a:cxn ang="0">
                  <a:pos x="T6" y="T7"/>
                </a:cxn>
                <a:cxn ang="0">
                  <a:pos x="T8" y="T9"/>
                </a:cxn>
              </a:cxnLst>
              <a:rect l="0" t="0" r="r" b="b"/>
              <a:pathLst>
                <a:path w="8" h="12">
                  <a:moveTo>
                    <a:pt x="8" y="4"/>
                  </a:moveTo>
                  <a:lnTo>
                    <a:pt x="4" y="0"/>
                  </a:lnTo>
                  <a:lnTo>
                    <a:pt x="0" y="12"/>
                  </a:lnTo>
                  <a:lnTo>
                    <a:pt x="4" y="10"/>
                  </a:lnTo>
                  <a:lnTo>
                    <a:pt x="8" y="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94" name="Freeform 434"/>
            <p:cNvSpPr>
              <a:spLocks/>
            </p:cNvSpPr>
            <p:nvPr/>
          </p:nvSpPr>
          <p:spPr bwMode="auto">
            <a:xfrm>
              <a:off x="2274888" y="4275138"/>
              <a:ext cx="14288" cy="19050"/>
            </a:xfrm>
            <a:custGeom>
              <a:avLst/>
              <a:gdLst>
                <a:gd name="T0" fmla="*/ 8 w 8"/>
                <a:gd name="T1" fmla="*/ 4 h 12"/>
                <a:gd name="T2" fmla="*/ 4 w 8"/>
                <a:gd name="T3" fmla="*/ 0 h 12"/>
                <a:gd name="T4" fmla="*/ 0 w 8"/>
                <a:gd name="T5" fmla="*/ 12 h 12"/>
                <a:gd name="T6" fmla="*/ 4 w 8"/>
                <a:gd name="T7" fmla="*/ 10 h 12"/>
                <a:gd name="T8" fmla="*/ 8 w 8"/>
                <a:gd name="T9" fmla="*/ 4 h 12"/>
              </a:gdLst>
              <a:ahLst/>
              <a:cxnLst>
                <a:cxn ang="0">
                  <a:pos x="T0" y="T1"/>
                </a:cxn>
                <a:cxn ang="0">
                  <a:pos x="T2" y="T3"/>
                </a:cxn>
                <a:cxn ang="0">
                  <a:pos x="T4" y="T5"/>
                </a:cxn>
                <a:cxn ang="0">
                  <a:pos x="T6" y="T7"/>
                </a:cxn>
                <a:cxn ang="0">
                  <a:pos x="T8" y="T9"/>
                </a:cxn>
              </a:cxnLst>
              <a:rect l="0" t="0" r="r" b="b"/>
              <a:pathLst>
                <a:path w="8" h="12">
                  <a:moveTo>
                    <a:pt x="8" y="4"/>
                  </a:moveTo>
                  <a:lnTo>
                    <a:pt x="4" y="0"/>
                  </a:lnTo>
                  <a:lnTo>
                    <a:pt x="0" y="12"/>
                  </a:lnTo>
                  <a:lnTo>
                    <a:pt x="4" y="10"/>
                  </a:lnTo>
                  <a:lnTo>
                    <a:pt x="8"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5" name="Rectangle 437"/>
            <p:cNvSpPr>
              <a:spLocks noChangeArrowheads="1"/>
            </p:cNvSpPr>
            <p:nvPr/>
          </p:nvSpPr>
          <p:spPr bwMode="auto">
            <a:xfrm>
              <a:off x="1700213" y="3605213"/>
              <a:ext cx="3175" cy="1588"/>
            </a:xfrm>
            <a:prstGeom prst="rect">
              <a:avLst/>
            </a:prstGeom>
            <a:solidFill>
              <a:schemeClr val="bg2"/>
            </a:solidFill>
            <a:ln w="9525">
              <a:solidFill>
                <a:srgbClr val="000000"/>
              </a:solidFill>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596" name="Freeform 438"/>
            <p:cNvSpPr>
              <a:spLocks/>
            </p:cNvSpPr>
            <p:nvPr/>
          </p:nvSpPr>
          <p:spPr bwMode="auto">
            <a:xfrm>
              <a:off x="1700213" y="3605213"/>
              <a:ext cx="3175"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7" name="Freeform 439"/>
            <p:cNvSpPr>
              <a:spLocks/>
            </p:cNvSpPr>
            <p:nvPr/>
          </p:nvSpPr>
          <p:spPr bwMode="auto">
            <a:xfrm>
              <a:off x="2292351" y="4392613"/>
              <a:ext cx="303213" cy="165100"/>
            </a:xfrm>
            <a:custGeom>
              <a:avLst/>
              <a:gdLst>
                <a:gd name="T0" fmla="*/ 100 w 176"/>
                <a:gd name="T1" fmla="*/ 104 h 104"/>
                <a:gd name="T2" fmla="*/ 0 w 176"/>
                <a:gd name="T3" fmla="*/ 12 h 104"/>
                <a:gd name="T4" fmla="*/ 2 w 176"/>
                <a:gd name="T5" fmla="*/ 8 h 104"/>
                <a:gd name="T6" fmla="*/ 6 w 176"/>
                <a:gd name="T7" fmla="*/ 8 h 104"/>
                <a:gd name="T8" fmla="*/ 6 w 176"/>
                <a:gd name="T9" fmla="*/ 18 h 104"/>
                <a:gd name="T10" fmla="*/ 26 w 176"/>
                <a:gd name="T11" fmla="*/ 26 h 104"/>
                <a:gd name="T12" fmla="*/ 36 w 176"/>
                <a:gd name="T13" fmla="*/ 22 h 104"/>
                <a:gd name="T14" fmla="*/ 84 w 176"/>
                <a:gd name="T15" fmla="*/ 42 h 104"/>
                <a:gd name="T16" fmla="*/ 94 w 176"/>
                <a:gd name="T17" fmla="*/ 40 h 104"/>
                <a:gd name="T18" fmla="*/ 98 w 176"/>
                <a:gd name="T19" fmla="*/ 40 h 104"/>
                <a:gd name="T20" fmla="*/ 98 w 176"/>
                <a:gd name="T21" fmla="*/ 36 h 104"/>
                <a:gd name="T22" fmla="*/ 100 w 176"/>
                <a:gd name="T23" fmla="*/ 34 h 104"/>
                <a:gd name="T24" fmla="*/ 104 w 176"/>
                <a:gd name="T25" fmla="*/ 34 h 104"/>
                <a:gd name="T26" fmla="*/ 108 w 176"/>
                <a:gd name="T27" fmla="*/ 32 h 104"/>
                <a:gd name="T28" fmla="*/ 112 w 176"/>
                <a:gd name="T29" fmla="*/ 28 h 104"/>
                <a:gd name="T30" fmla="*/ 120 w 176"/>
                <a:gd name="T31" fmla="*/ 28 h 104"/>
                <a:gd name="T32" fmla="*/ 126 w 176"/>
                <a:gd name="T33" fmla="*/ 24 h 104"/>
                <a:gd name="T34" fmla="*/ 136 w 176"/>
                <a:gd name="T35" fmla="*/ 20 h 104"/>
                <a:gd name="T36" fmla="*/ 142 w 176"/>
                <a:gd name="T37" fmla="*/ 18 h 104"/>
                <a:gd name="T38" fmla="*/ 144 w 176"/>
                <a:gd name="T39" fmla="*/ 16 h 104"/>
                <a:gd name="T40" fmla="*/ 150 w 176"/>
                <a:gd name="T41" fmla="*/ 14 h 104"/>
                <a:gd name="T42" fmla="*/ 152 w 176"/>
                <a:gd name="T43" fmla="*/ 12 h 104"/>
                <a:gd name="T44" fmla="*/ 170 w 176"/>
                <a:gd name="T45" fmla="*/ 6 h 104"/>
                <a:gd name="T46" fmla="*/ 174 w 176"/>
                <a:gd name="T47" fmla="*/ 2 h 104"/>
                <a:gd name="T48" fmla="*/ 172 w 176"/>
                <a:gd name="T49" fmla="*/ 8 h 104"/>
                <a:gd name="T50" fmla="*/ 170 w 176"/>
                <a:gd name="T51" fmla="*/ 12 h 104"/>
                <a:gd name="T52" fmla="*/ 176 w 176"/>
                <a:gd name="T53" fmla="*/ 16 h 104"/>
                <a:gd name="T54" fmla="*/ 168 w 176"/>
                <a:gd name="T55" fmla="*/ 44 h 104"/>
                <a:gd name="T56" fmla="*/ 148 w 176"/>
                <a:gd name="T57" fmla="*/ 38 h 104"/>
                <a:gd name="T58" fmla="*/ 142 w 176"/>
                <a:gd name="T59" fmla="*/ 58 h 104"/>
                <a:gd name="T60" fmla="*/ 146 w 176"/>
                <a:gd name="T61" fmla="*/ 60 h 104"/>
                <a:gd name="T62" fmla="*/ 134 w 176"/>
                <a:gd name="T63" fmla="*/ 64 h 104"/>
                <a:gd name="T64" fmla="*/ 104 w 176"/>
                <a:gd name="T6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04">
                  <a:moveTo>
                    <a:pt x="104" y="104"/>
                  </a:moveTo>
                  <a:lnTo>
                    <a:pt x="100" y="104"/>
                  </a:lnTo>
                  <a:lnTo>
                    <a:pt x="18" y="64"/>
                  </a:lnTo>
                  <a:lnTo>
                    <a:pt x="0" y="12"/>
                  </a:lnTo>
                  <a:lnTo>
                    <a:pt x="2" y="8"/>
                  </a:lnTo>
                  <a:lnTo>
                    <a:pt x="2" y="8"/>
                  </a:lnTo>
                  <a:lnTo>
                    <a:pt x="6" y="8"/>
                  </a:lnTo>
                  <a:lnTo>
                    <a:pt x="6" y="8"/>
                  </a:lnTo>
                  <a:lnTo>
                    <a:pt x="4" y="14"/>
                  </a:lnTo>
                  <a:lnTo>
                    <a:pt x="6" y="18"/>
                  </a:lnTo>
                  <a:lnTo>
                    <a:pt x="24" y="24"/>
                  </a:lnTo>
                  <a:lnTo>
                    <a:pt x="26" y="26"/>
                  </a:lnTo>
                  <a:lnTo>
                    <a:pt x="30" y="24"/>
                  </a:lnTo>
                  <a:lnTo>
                    <a:pt x="36" y="22"/>
                  </a:lnTo>
                  <a:lnTo>
                    <a:pt x="80" y="42"/>
                  </a:lnTo>
                  <a:lnTo>
                    <a:pt x="84" y="42"/>
                  </a:lnTo>
                  <a:lnTo>
                    <a:pt x="88" y="40"/>
                  </a:lnTo>
                  <a:lnTo>
                    <a:pt x="94" y="40"/>
                  </a:lnTo>
                  <a:lnTo>
                    <a:pt x="94" y="38"/>
                  </a:lnTo>
                  <a:lnTo>
                    <a:pt x="98" y="40"/>
                  </a:lnTo>
                  <a:lnTo>
                    <a:pt x="100" y="38"/>
                  </a:lnTo>
                  <a:lnTo>
                    <a:pt x="98" y="36"/>
                  </a:lnTo>
                  <a:lnTo>
                    <a:pt x="100" y="36"/>
                  </a:lnTo>
                  <a:lnTo>
                    <a:pt x="100" y="34"/>
                  </a:lnTo>
                  <a:lnTo>
                    <a:pt x="104" y="36"/>
                  </a:lnTo>
                  <a:lnTo>
                    <a:pt x="104" y="34"/>
                  </a:lnTo>
                  <a:lnTo>
                    <a:pt x="108" y="34"/>
                  </a:lnTo>
                  <a:lnTo>
                    <a:pt x="108" y="32"/>
                  </a:lnTo>
                  <a:lnTo>
                    <a:pt x="110" y="30"/>
                  </a:lnTo>
                  <a:lnTo>
                    <a:pt x="112" y="28"/>
                  </a:lnTo>
                  <a:lnTo>
                    <a:pt x="114" y="28"/>
                  </a:lnTo>
                  <a:lnTo>
                    <a:pt x="120" y="28"/>
                  </a:lnTo>
                  <a:lnTo>
                    <a:pt x="124" y="24"/>
                  </a:lnTo>
                  <a:lnTo>
                    <a:pt x="126" y="24"/>
                  </a:lnTo>
                  <a:lnTo>
                    <a:pt x="130" y="22"/>
                  </a:lnTo>
                  <a:lnTo>
                    <a:pt x="136" y="20"/>
                  </a:lnTo>
                  <a:lnTo>
                    <a:pt x="140" y="18"/>
                  </a:lnTo>
                  <a:lnTo>
                    <a:pt x="142" y="18"/>
                  </a:lnTo>
                  <a:lnTo>
                    <a:pt x="144" y="16"/>
                  </a:lnTo>
                  <a:lnTo>
                    <a:pt x="144" y="16"/>
                  </a:lnTo>
                  <a:lnTo>
                    <a:pt x="146" y="16"/>
                  </a:lnTo>
                  <a:lnTo>
                    <a:pt x="150" y="14"/>
                  </a:lnTo>
                  <a:lnTo>
                    <a:pt x="150" y="12"/>
                  </a:lnTo>
                  <a:lnTo>
                    <a:pt x="152" y="12"/>
                  </a:lnTo>
                  <a:lnTo>
                    <a:pt x="154" y="10"/>
                  </a:lnTo>
                  <a:lnTo>
                    <a:pt x="170" y="6"/>
                  </a:lnTo>
                  <a:lnTo>
                    <a:pt x="174" y="0"/>
                  </a:lnTo>
                  <a:lnTo>
                    <a:pt x="174" y="2"/>
                  </a:lnTo>
                  <a:lnTo>
                    <a:pt x="174" y="6"/>
                  </a:lnTo>
                  <a:lnTo>
                    <a:pt x="172" y="8"/>
                  </a:lnTo>
                  <a:lnTo>
                    <a:pt x="174" y="10"/>
                  </a:lnTo>
                  <a:lnTo>
                    <a:pt x="170" y="12"/>
                  </a:lnTo>
                  <a:lnTo>
                    <a:pt x="172" y="14"/>
                  </a:lnTo>
                  <a:lnTo>
                    <a:pt x="176" y="16"/>
                  </a:lnTo>
                  <a:lnTo>
                    <a:pt x="176" y="20"/>
                  </a:lnTo>
                  <a:lnTo>
                    <a:pt x="168" y="44"/>
                  </a:lnTo>
                  <a:lnTo>
                    <a:pt x="168" y="44"/>
                  </a:lnTo>
                  <a:lnTo>
                    <a:pt x="148" y="38"/>
                  </a:lnTo>
                  <a:lnTo>
                    <a:pt x="146" y="56"/>
                  </a:lnTo>
                  <a:lnTo>
                    <a:pt x="142" y="58"/>
                  </a:lnTo>
                  <a:lnTo>
                    <a:pt x="144" y="60"/>
                  </a:lnTo>
                  <a:lnTo>
                    <a:pt x="146" y="60"/>
                  </a:lnTo>
                  <a:lnTo>
                    <a:pt x="142" y="66"/>
                  </a:lnTo>
                  <a:lnTo>
                    <a:pt x="134" y="64"/>
                  </a:lnTo>
                  <a:lnTo>
                    <a:pt x="104" y="104"/>
                  </a:lnTo>
                  <a:lnTo>
                    <a:pt x="104" y="104"/>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8" name="Freeform 440"/>
            <p:cNvSpPr>
              <a:spLocks/>
            </p:cNvSpPr>
            <p:nvPr/>
          </p:nvSpPr>
          <p:spPr bwMode="auto">
            <a:xfrm>
              <a:off x="1493838" y="4741863"/>
              <a:ext cx="11113" cy="3175"/>
            </a:xfrm>
            <a:custGeom>
              <a:avLst/>
              <a:gdLst>
                <a:gd name="T0" fmla="*/ 4 w 6"/>
                <a:gd name="T1" fmla="*/ 0 h 2"/>
                <a:gd name="T2" fmla="*/ 2 w 6"/>
                <a:gd name="T3" fmla="*/ 0 h 2"/>
                <a:gd name="T4" fmla="*/ 0 w 6"/>
                <a:gd name="T5" fmla="*/ 2 h 2"/>
                <a:gd name="T6" fmla="*/ 4 w 6"/>
                <a:gd name="T7" fmla="*/ 2 h 2"/>
                <a:gd name="T8" fmla="*/ 6 w 6"/>
                <a:gd name="T9" fmla="*/ 0 h 2"/>
                <a:gd name="T10" fmla="*/ 4 w 6"/>
                <a:gd name="T11" fmla="*/ 0 h 2"/>
                <a:gd name="T12" fmla="*/ 4 w 6"/>
                <a:gd name="T13" fmla="*/ 0 h 2"/>
                <a:gd name="T14" fmla="*/ 4 w 6"/>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4" y="0"/>
                  </a:moveTo>
                  <a:lnTo>
                    <a:pt x="2" y="0"/>
                  </a:lnTo>
                  <a:lnTo>
                    <a:pt x="0" y="2"/>
                  </a:lnTo>
                  <a:lnTo>
                    <a:pt x="4" y="2"/>
                  </a:lnTo>
                  <a:lnTo>
                    <a:pt x="6" y="0"/>
                  </a:lnTo>
                  <a:lnTo>
                    <a:pt x="4" y="0"/>
                  </a:lnTo>
                  <a:lnTo>
                    <a:pt x="4" y="0"/>
                  </a:lnTo>
                  <a:lnTo>
                    <a:pt x="4" y="0"/>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9" name="Freeform 441"/>
            <p:cNvSpPr>
              <a:spLocks/>
            </p:cNvSpPr>
            <p:nvPr/>
          </p:nvSpPr>
          <p:spPr bwMode="auto">
            <a:xfrm>
              <a:off x="1504951" y="4725988"/>
              <a:ext cx="6350" cy="9525"/>
            </a:xfrm>
            <a:custGeom>
              <a:avLst/>
              <a:gdLst>
                <a:gd name="T0" fmla="*/ 0 w 4"/>
                <a:gd name="T1" fmla="*/ 0 h 6"/>
                <a:gd name="T2" fmla="*/ 0 w 4"/>
                <a:gd name="T3" fmla="*/ 2 h 6"/>
                <a:gd name="T4" fmla="*/ 0 w 4"/>
                <a:gd name="T5" fmla="*/ 4 h 6"/>
                <a:gd name="T6" fmla="*/ 0 w 4"/>
                <a:gd name="T7" fmla="*/ 6 h 6"/>
                <a:gd name="T8" fmla="*/ 2 w 4"/>
                <a:gd name="T9" fmla="*/ 4 h 6"/>
                <a:gd name="T10" fmla="*/ 4 w 4"/>
                <a:gd name="T11" fmla="*/ 2 h 6"/>
                <a:gd name="T12" fmla="*/ 2 w 4"/>
                <a:gd name="T13" fmla="*/ 0 h 6"/>
                <a:gd name="T14" fmla="*/ 0 w 4"/>
                <a:gd name="T15" fmla="*/ 0 h 6"/>
                <a:gd name="T16" fmla="*/ 0 w 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0" y="0"/>
                  </a:moveTo>
                  <a:lnTo>
                    <a:pt x="0" y="2"/>
                  </a:lnTo>
                  <a:lnTo>
                    <a:pt x="0" y="4"/>
                  </a:lnTo>
                  <a:lnTo>
                    <a:pt x="0" y="6"/>
                  </a:lnTo>
                  <a:lnTo>
                    <a:pt x="2" y="4"/>
                  </a:lnTo>
                  <a:lnTo>
                    <a:pt x="4" y="2"/>
                  </a:lnTo>
                  <a:lnTo>
                    <a:pt x="2" y="0"/>
                  </a:lnTo>
                  <a:lnTo>
                    <a:pt x="0" y="0"/>
                  </a:lnTo>
                  <a:lnTo>
                    <a:pt x="0" y="0"/>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0" name="Freeform 442"/>
            <p:cNvSpPr>
              <a:spLocks/>
            </p:cNvSpPr>
            <p:nvPr/>
          </p:nvSpPr>
          <p:spPr bwMode="auto">
            <a:xfrm>
              <a:off x="1528763" y="4646613"/>
              <a:ext cx="6350" cy="6350"/>
            </a:xfrm>
            <a:custGeom>
              <a:avLst/>
              <a:gdLst>
                <a:gd name="T0" fmla="*/ 2 w 4"/>
                <a:gd name="T1" fmla="*/ 4 h 4"/>
                <a:gd name="T2" fmla="*/ 4 w 4"/>
                <a:gd name="T3" fmla="*/ 2 h 4"/>
                <a:gd name="T4" fmla="*/ 4 w 4"/>
                <a:gd name="T5" fmla="*/ 2 h 4"/>
                <a:gd name="T6" fmla="*/ 4 w 4"/>
                <a:gd name="T7" fmla="*/ 0 h 4"/>
                <a:gd name="T8" fmla="*/ 2 w 4"/>
                <a:gd name="T9" fmla="*/ 2 h 4"/>
                <a:gd name="T10" fmla="*/ 0 w 4"/>
                <a:gd name="T11" fmla="*/ 4 h 4"/>
                <a:gd name="T12" fmla="*/ 2 w 4"/>
                <a:gd name="T13" fmla="*/ 4 h 4"/>
                <a:gd name="T14" fmla="*/ 2 w 4"/>
                <a:gd name="T15" fmla="*/ 4 h 4"/>
                <a:gd name="T16" fmla="*/ 2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4"/>
                  </a:moveTo>
                  <a:lnTo>
                    <a:pt x="4" y="2"/>
                  </a:lnTo>
                  <a:lnTo>
                    <a:pt x="4" y="2"/>
                  </a:lnTo>
                  <a:lnTo>
                    <a:pt x="4" y="0"/>
                  </a:lnTo>
                  <a:lnTo>
                    <a:pt x="2" y="2"/>
                  </a:lnTo>
                  <a:lnTo>
                    <a:pt x="0" y="4"/>
                  </a:lnTo>
                  <a:lnTo>
                    <a:pt x="2" y="4"/>
                  </a:lnTo>
                  <a:lnTo>
                    <a:pt x="2" y="4"/>
                  </a:lnTo>
                  <a:lnTo>
                    <a:pt x="2" y="4"/>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1" name="Freeform 443"/>
            <p:cNvSpPr>
              <a:spLocks/>
            </p:cNvSpPr>
            <p:nvPr/>
          </p:nvSpPr>
          <p:spPr bwMode="auto">
            <a:xfrm>
              <a:off x="1522413" y="2989263"/>
              <a:ext cx="849313" cy="606425"/>
            </a:xfrm>
            <a:custGeom>
              <a:avLst/>
              <a:gdLst>
                <a:gd name="T0" fmla="*/ 480 w 494"/>
                <a:gd name="T1" fmla="*/ 268 h 382"/>
                <a:gd name="T2" fmla="*/ 480 w 494"/>
                <a:gd name="T3" fmla="*/ 224 h 382"/>
                <a:gd name="T4" fmla="*/ 468 w 494"/>
                <a:gd name="T5" fmla="*/ 218 h 382"/>
                <a:gd name="T6" fmla="*/ 448 w 494"/>
                <a:gd name="T7" fmla="*/ 204 h 382"/>
                <a:gd name="T8" fmla="*/ 398 w 494"/>
                <a:gd name="T9" fmla="*/ 198 h 382"/>
                <a:gd name="T10" fmla="*/ 338 w 494"/>
                <a:gd name="T11" fmla="*/ 162 h 382"/>
                <a:gd name="T12" fmla="*/ 314 w 494"/>
                <a:gd name="T13" fmla="*/ 118 h 382"/>
                <a:gd name="T14" fmla="*/ 306 w 494"/>
                <a:gd name="T15" fmla="*/ 94 h 382"/>
                <a:gd name="T16" fmla="*/ 206 w 494"/>
                <a:gd name="T17" fmla="*/ 58 h 382"/>
                <a:gd name="T18" fmla="*/ 182 w 494"/>
                <a:gd name="T19" fmla="*/ 50 h 382"/>
                <a:gd name="T20" fmla="*/ 152 w 494"/>
                <a:gd name="T21" fmla="*/ 22 h 382"/>
                <a:gd name="T22" fmla="*/ 144 w 494"/>
                <a:gd name="T23" fmla="*/ 32 h 382"/>
                <a:gd name="T24" fmla="*/ 154 w 494"/>
                <a:gd name="T25" fmla="*/ 42 h 382"/>
                <a:gd name="T26" fmla="*/ 130 w 494"/>
                <a:gd name="T27" fmla="*/ 32 h 382"/>
                <a:gd name="T28" fmla="*/ 106 w 494"/>
                <a:gd name="T29" fmla="*/ 22 h 382"/>
                <a:gd name="T30" fmla="*/ 100 w 494"/>
                <a:gd name="T31" fmla="*/ 20 h 382"/>
                <a:gd name="T32" fmla="*/ 84 w 494"/>
                <a:gd name="T33" fmla="*/ 4 h 382"/>
                <a:gd name="T34" fmla="*/ 52 w 494"/>
                <a:gd name="T35" fmla="*/ 4 h 382"/>
                <a:gd name="T36" fmla="*/ 60 w 494"/>
                <a:gd name="T37" fmla="*/ 28 h 382"/>
                <a:gd name="T38" fmla="*/ 46 w 494"/>
                <a:gd name="T39" fmla="*/ 40 h 382"/>
                <a:gd name="T40" fmla="*/ 36 w 494"/>
                <a:gd name="T41" fmla="*/ 48 h 382"/>
                <a:gd name="T42" fmla="*/ 28 w 494"/>
                <a:gd name="T43" fmla="*/ 56 h 382"/>
                <a:gd name="T44" fmla="*/ 26 w 494"/>
                <a:gd name="T45" fmla="*/ 44 h 382"/>
                <a:gd name="T46" fmla="*/ 16 w 494"/>
                <a:gd name="T47" fmla="*/ 50 h 382"/>
                <a:gd name="T48" fmla="*/ 22 w 494"/>
                <a:gd name="T49" fmla="*/ 64 h 382"/>
                <a:gd name="T50" fmla="*/ 22 w 494"/>
                <a:gd name="T51" fmla="*/ 82 h 382"/>
                <a:gd name="T52" fmla="*/ 24 w 494"/>
                <a:gd name="T53" fmla="*/ 90 h 382"/>
                <a:gd name="T54" fmla="*/ 16 w 494"/>
                <a:gd name="T55" fmla="*/ 96 h 382"/>
                <a:gd name="T56" fmla="*/ 32 w 494"/>
                <a:gd name="T57" fmla="*/ 122 h 382"/>
                <a:gd name="T58" fmla="*/ 16 w 494"/>
                <a:gd name="T59" fmla="*/ 122 h 382"/>
                <a:gd name="T60" fmla="*/ 18 w 494"/>
                <a:gd name="T61" fmla="*/ 126 h 382"/>
                <a:gd name="T62" fmla="*/ 20 w 494"/>
                <a:gd name="T63" fmla="*/ 132 h 382"/>
                <a:gd name="T64" fmla="*/ 32 w 494"/>
                <a:gd name="T65" fmla="*/ 140 h 382"/>
                <a:gd name="T66" fmla="*/ 38 w 494"/>
                <a:gd name="T67" fmla="*/ 144 h 382"/>
                <a:gd name="T68" fmla="*/ 38 w 494"/>
                <a:gd name="T69" fmla="*/ 170 h 382"/>
                <a:gd name="T70" fmla="*/ 72 w 494"/>
                <a:gd name="T71" fmla="*/ 178 h 382"/>
                <a:gd name="T72" fmla="*/ 110 w 494"/>
                <a:gd name="T73" fmla="*/ 214 h 382"/>
                <a:gd name="T74" fmla="*/ 132 w 494"/>
                <a:gd name="T75" fmla="*/ 240 h 382"/>
                <a:gd name="T76" fmla="*/ 154 w 494"/>
                <a:gd name="T77" fmla="*/ 246 h 382"/>
                <a:gd name="T78" fmla="*/ 182 w 494"/>
                <a:gd name="T79" fmla="*/ 246 h 382"/>
                <a:gd name="T80" fmla="*/ 204 w 494"/>
                <a:gd name="T81" fmla="*/ 262 h 382"/>
                <a:gd name="T82" fmla="*/ 206 w 494"/>
                <a:gd name="T83" fmla="*/ 272 h 382"/>
                <a:gd name="T84" fmla="*/ 194 w 494"/>
                <a:gd name="T85" fmla="*/ 290 h 382"/>
                <a:gd name="T86" fmla="*/ 200 w 494"/>
                <a:gd name="T87" fmla="*/ 294 h 382"/>
                <a:gd name="T88" fmla="*/ 214 w 494"/>
                <a:gd name="T89" fmla="*/ 290 h 382"/>
                <a:gd name="T90" fmla="*/ 220 w 494"/>
                <a:gd name="T91" fmla="*/ 282 h 382"/>
                <a:gd name="T92" fmla="*/ 230 w 494"/>
                <a:gd name="T93" fmla="*/ 274 h 382"/>
                <a:gd name="T94" fmla="*/ 238 w 494"/>
                <a:gd name="T95" fmla="*/ 284 h 382"/>
                <a:gd name="T96" fmla="*/ 248 w 494"/>
                <a:gd name="T97" fmla="*/ 292 h 382"/>
                <a:gd name="T98" fmla="*/ 278 w 494"/>
                <a:gd name="T99" fmla="*/ 302 h 382"/>
                <a:gd name="T100" fmla="*/ 334 w 494"/>
                <a:gd name="T101" fmla="*/ 326 h 382"/>
                <a:gd name="T102" fmla="*/ 378 w 494"/>
                <a:gd name="T103" fmla="*/ 344 h 382"/>
                <a:gd name="T104" fmla="*/ 384 w 494"/>
                <a:gd name="T105" fmla="*/ 350 h 382"/>
                <a:gd name="T106" fmla="*/ 416 w 494"/>
                <a:gd name="T107" fmla="*/ 358 h 382"/>
                <a:gd name="T108" fmla="*/ 452 w 494"/>
                <a:gd name="T109" fmla="*/ 380 h 382"/>
                <a:gd name="T110" fmla="*/ 470 w 494"/>
                <a:gd name="T111" fmla="*/ 318 h 382"/>
                <a:gd name="T112" fmla="*/ 494 w 494"/>
                <a:gd name="T113" fmla="*/ 29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4" h="382">
                  <a:moveTo>
                    <a:pt x="490" y="290"/>
                  </a:moveTo>
                  <a:lnTo>
                    <a:pt x="488" y="284"/>
                  </a:lnTo>
                  <a:lnTo>
                    <a:pt x="482" y="274"/>
                  </a:lnTo>
                  <a:lnTo>
                    <a:pt x="480" y="268"/>
                  </a:lnTo>
                  <a:lnTo>
                    <a:pt x="488" y="252"/>
                  </a:lnTo>
                  <a:lnTo>
                    <a:pt x="484" y="234"/>
                  </a:lnTo>
                  <a:lnTo>
                    <a:pt x="482" y="232"/>
                  </a:lnTo>
                  <a:lnTo>
                    <a:pt x="480" y="224"/>
                  </a:lnTo>
                  <a:lnTo>
                    <a:pt x="480" y="218"/>
                  </a:lnTo>
                  <a:lnTo>
                    <a:pt x="476" y="216"/>
                  </a:lnTo>
                  <a:lnTo>
                    <a:pt x="474" y="216"/>
                  </a:lnTo>
                  <a:lnTo>
                    <a:pt x="468" y="218"/>
                  </a:lnTo>
                  <a:lnTo>
                    <a:pt x="466" y="216"/>
                  </a:lnTo>
                  <a:lnTo>
                    <a:pt x="460" y="208"/>
                  </a:lnTo>
                  <a:lnTo>
                    <a:pt x="452" y="208"/>
                  </a:lnTo>
                  <a:lnTo>
                    <a:pt x="448" y="204"/>
                  </a:lnTo>
                  <a:lnTo>
                    <a:pt x="448" y="200"/>
                  </a:lnTo>
                  <a:lnTo>
                    <a:pt x="444" y="202"/>
                  </a:lnTo>
                  <a:lnTo>
                    <a:pt x="408" y="204"/>
                  </a:lnTo>
                  <a:lnTo>
                    <a:pt x="398" y="198"/>
                  </a:lnTo>
                  <a:lnTo>
                    <a:pt x="384" y="186"/>
                  </a:lnTo>
                  <a:lnTo>
                    <a:pt x="352" y="172"/>
                  </a:lnTo>
                  <a:lnTo>
                    <a:pt x="346" y="164"/>
                  </a:lnTo>
                  <a:lnTo>
                    <a:pt x="338" y="162"/>
                  </a:lnTo>
                  <a:lnTo>
                    <a:pt x="328" y="144"/>
                  </a:lnTo>
                  <a:lnTo>
                    <a:pt x="318" y="136"/>
                  </a:lnTo>
                  <a:lnTo>
                    <a:pt x="322" y="120"/>
                  </a:lnTo>
                  <a:lnTo>
                    <a:pt x="314" y="118"/>
                  </a:lnTo>
                  <a:lnTo>
                    <a:pt x="306" y="106"/>
                  </a:lnTo>
                  <a:lnTo>
                    <a:pt x="306" y="100"/>
                  </a:lnTo>
                  <a:lnTo>
                    <a:pt x="308" y="96"/>
                  </a:lnTo>
                  <a:lnTo>
                    <a:pt x="306" y="94"/>
                  </a:lnTo>
                  <a:lnTo>
                    <a:pt x="302" y="92"/>
                  </a:lnTo>
                  <a:lnTo>
                    <a:pt x="296" y="92"/>
                  </a:lnTo>
                  <a:lnTo>
                    <a:pt x="258" y="64"/>
                  </a:lnTo>
                  <a:lnTo>
                    <a:pt x="206" y="58"/>
                  </a:lnTo>
                  <a:lnTo>
                    <a:pt x="198" y="60"/>
                  </a:lnTo>
                  <a:lnTo>
                    <a:pt x="192" y="60"/>
                  </a:lnTo>
                  <a:lnTo>
                    <a:pt x="184" y="52"/>
                  </a:lnTo>
                  <a:lnTo>
                    <a:pt x="182" y="50"/>
                  </a:lnTo>
                  <a:lnTo>
                    <a:pt x="176" y="42"/>
                  </a:lnTo>
                  <a:lnTo>
                    <a:pt x="160" y="30"/>
                  </a:lnTo>
                  <a:lnTo>
                    <a:pt x="156" y="26"/>
                  </a:lnTo>
                  <a:lnTo>
                    <a:pt x="152" y="22"/>
                  </a:lnTo>
                  <a:lnTo>
                    <a:pt x="154" y="20"/>
                  </a:lnTo>
                  <a:lnTo>
                    <a:pt x="144" y="24"/>
                  </a:lnTo>
                  <a:lnTo>
                    <a:pt x="146" y="28"/>
                  </a:lnTo>
                  <a:lnTo>
                    <a:pt x="144" y="32"/>
                  </a:lnTo>
                  <a:lnTo>
                    <a:pt x="146" y="32"/>
                  </a:lnTo>
                  <a:lnTo>
                    <a:pt x="146" y="36"/>
                  </a:lnTo>
                  <a:lnTo>
                    <a:pt x="150" y="40"/>
                  </a:lnTo>
                  <a:lnTo>
                    <a:pt x="154" y="42"/>
                  </a:lnTo>
                  <a:lnTo>
                    <a:pt x="156" y="44"/>
                  </a:lnTo>
                  <a:lnTo>
                    <a:pt x="154" y="46"/>
                  </a:lnTo>
                  <a:lnTo>
                    <a:pt x="136" y="34"/>
                  </a:lnTo>
                  <a:lnTo>
                    <a:pt x="130" y="32"/>
                  </a:lnTo>
                  <a:lnTo>
                    <a:pt x="130" y="34"/>
                  </a:lnTo>
                  <a:lnTo>
                    <a:pt x="132" y="38"/>
                  </a:lnTo>
                  <a:lnTo>
                    <a:pt x="130" y="40"/>
                  </a:lnTo>
                  <a:lnTo>
                    <a:pt x="106" y="22"/>
                  </a:lnTo>
                  <a:lnTo>
                    <a:pt x="108" y="20"/>
                  </a:lnTo>
                  <a:lnTo>
                    <a:pt x="106" y="16"/>
                  </a:lnTo>
                  <a:lnTo>
                    <a:pt x="104" y="14"/>
                  </a:lnTo>
                  <a:lnTo>
                    <a:pt x="100" y="20"/>
                  </a:lnTo>
                  <a:lnTo>
                    <a:pt x="96" y="16"/>
                  </a:lnTo>
                  <a:lnTo>
                    <a:pt x="92" y="12"/>
                  </a:lnTo>
                  <a:lnTo>
                    <a:pt x="92" y="8"/>
                  </a:lnTo>
                  <a:lnTo>
                    <a:pt x="84" y="4"/>
                  </a:lnTo>
                  <a:lnTo>
                    <a:pt x="78" y="0"/>
                  </a:lnTo>
                  <a:lnTo>
                    <a:pt x="60" y="2"/>
                  </a:lnTo>
                  <a:lnTo>
                    <a:pt x="58" y="2"/>
                  </a:lnTo>
                  <a:lnTo>
                    <a:pt x="52" y="4"/>
                  </a:lnTo>
                  <a:lnTo>
                    <a:pt x="44" y="10"/>
                  </a:lnTo>
                  <a:lnTo>
                    <a:pt x="42" y="12"/>
                  </a:lnTo>
                  <a:lnTo>
                    <a:pt x="60" y="24"/>
                  </a:lnTo>
                  <a:lnTo>
                    <a:pt x="60" y="28"/>
                  </a:lnTo>
                  <a:lnTo>
                    <a:pt x="52" y="28"/>
                  </a:lnTo>
                  <a:lnTo>
                    <a:pt x="48" y="32"/>
                  </a:lnTo>
                  <a:lnTo>
                    <a:pt x="48" y="36"/>
                  </a:lnTo>
                  <a:lnTo>
                    <a:pt x="46" y="40"/>
                  </a:lnTo>
                  <a:lnTo>
                    <a:pt x="46" y="44"/>
                  </a:lnTo>
                  <a:lnTo>
                    <a:pt x="44" y="46"/>
                  </a:lnTo>
                  <a:lnTo>
                    <a:pt x="38" y="46"/>
                  </a:lnTo>
                  <a:lnTo>
                    <a:pt x="36" y="48"/>
                  </a:lnTo>
                  <a:lnTo>
                    <a:pt x="34" y="54"/>
                  </a:lnTo>
                  <a:lnTo>
                    <a:pt x="36" y="60"/>
                  </a:lnTo>
                  <a:lnTo>
                    <a:pt x="36" y="62"/>
                  </a:lnTo>
                  <a:lnTo>
                    <a:pt x="28" y="56"/>
                  </a:lnTo>
                  <a:lnTo>
                    <a:pt x="26" y="52"/>
                  </a:lnTo>
                  <a:lnTo>
                    <a:pt x="30" y="44"/>
                  </a:lnTo>
                  <a:lnTo>
                    <a:pt x="28" y="42"/>
                  </a:lnTo>
                  <a:lnTo>
                    <a:pt x="26" y="44"/>
                  </a:lnTo>
                  <a:lnTo>
                    <a:pt x="24" y="46"/>
                  </a:lnTo>
                  <a:lnTo>
                    <a:pt x="20" y="50"/>
                  </a:lnTo>
                  <a:lnTo>
                    <a:pt x="16" y="48"/>
                  </a:lnTo>
                  <a:lnTo>
                    <a:pt x="16" y="50"/>
                  </a:lnTo>
                  <a:lnTo>
                    <a:pt x="16" y="54"/>
                  </a:lnTo>
                  <a:lnTo>
                    <a:pt x="16" y="56"/>
                  </a:lnTo>
                  <a:lnTo>
                    <a:pt x="20" y="58"/>
                  </a:lnTo>
                  <a:lnTo>
                    <a:pt x="22" y="64"/>
                  </a:lnTo>
                  <a:lnTo>
                    <a:pt x="26" y="70"/>
                  </a:lnTo>
                  <a:lnTo>
                    <a:pt x="28" y="74"/>
                  </a:lnTo>
                  <a:lnTo>
                    <a:pt x="26" y="80"/>
                  </a:lnTo>
                  <a:lnTo>
                    <a:pt x="22" y="82"/>
                  </a:lnTo>
                  <a:lnTo>
                    <a:pt x="18" y="82"/>
                  </a:lnTo>
                  <a:lnTo>
                    <a:pt x="18" y="86"/>
                  </a:lnTo>
                  <a:lnTo>
                    <a:pt x="22" y="88"/>
                  </a:lnTo>
                  <a:lnTo>
                    <a:pt x="24" y="90"/>
                  </a:lnTo>
                  <a:lnTo>
                    <a:pt x="22" y="90"/>
                  </a:lnTo>
                  <a:lnTo>
                    <a:pt x="18" y="90"/>
                  </a:lnTo>
                  <a:lnTo>
                    <a:pt x="14" y="92"/>
                  </a:lnTo>
                  <a:lnTo>
                    <a:pt x="16" y="96"/>
                  </a:lnTo>
                  <a:lnTo>
                    <a:pt x="18" y="104"/>
                  </a:lnTo>
                  <a:lnTo>
                    <a:pt x="8" y="104"/>
                  </a:lnTo>
                  <a:lnTo>
                    <a:pt x="8" y="106"/>
                  </a:lnTo>
                  <a:lnTo>
                    <a:pt x="32" y="122"/>
                  </a:lnTo>
                  <a:lnTo>
                    <a:pt x="28" y="124"/>
                  </a:lnTo>
                  <a:lnTo>
                    <a:pt x="22" y="122"/>
                  </a:lnTo>
                  <a:lnTo>
                    <a:pt x="22" y="124"/>
                  </a:lnTo>
                  <a:lnTo>
                    <a:pt x="16" y="122"/>
                  </a:lnTo>
                  <a:lnTo>
                    <a:pt x="12" y="118"/>
                  </a:lnTo>
                  <a:lnTo>
                    <a:pt x="6" y="116"/>
                  </a:lnTo>
                  <a:lnTo>
                    <a:pt x="0" y="118"/>
                  </a:lnTo>
                  <a:lnTo>
                    <a:pt x="18" y="126"/>
                  </a:lnTo>
                  <a:lnTo>
                    <a:pt x="18" y="128"/>
                  </a:lnTo>
                  <a:lnTo>
                    <a:pt x="14" y="130"/>
                  </a:lnTo>
                  <a:lnTo>
                    <a:pt x="14" y="130"/>
                  </a:lnTo>
                  <a:lnTo>
                    <a:pt x="20" y="132"/>
                  </a:lnTo>
                  <a:lnTo>
                    <a:pt x="24" y="130"/>
                  </a:lnTo>
                  <a:lnTo>
                    <a:pt x="30" y="134"/>
                  </a:lnTo>
                  <a:lnTo>
                    <a:pt x="32" y="136"/>
                  </a:lnTo>
                  <a:lnTo>
                    <a:pt x="32" y="140"/>
                  </a:lnTo>
                  <a:lnTo>
                    <a:pt x="34" y="146"/>
                  </a:lnTo>
                  <a:lnTo>
                    <a:pt x="34" y="146"/>
                  </a:lnTo>
                  <a:lnTo>
                    <a:pt x="36" y="144"/>
                  </a:lnTo>
                  <a:lnTo>
                    <a:pt x="38" y="144"/>
                  </a:lnTo>
                  <a:lnTo>
                    <a:pt x="40" y="148"/>
                  </a:lnTo>
                  <a:lnTo>
                    <a:pt x="36" y="156"/>
                  </a:lnTo>
                  <a:lnTo>
                    <a:pt x="36" y="164"/>
                  </a:lnTo>
                  <a:lnTo>
                    <a:pt x="38" y="170"/>
                  </a:lnTo>
                  <a:lnTo>
                    <a:pt x="46" y="178"/>
                  </a:lnTo>
                  <a:lnTo>
                    <a:pt x="66" y="184"/>
                  </a:lnTo>
                  <a:lnTo>
                    <a:pt x="70" y="180"/>
                  </a:lnTo>
                  <a:lnTo>
                    <a:pt x="72" y="178"/>
                  </a:lnTo>
                  <a:lnTo>
                    <a:pt x="78" y="174"/>
                  </a:lnTo>
                  <a:lnTo>
                    <a:pt x="82" y="172"/>
                  </a:lnTo>
                  <a:lnTo>
                    <a:pt x="96" y="182"/>
                  </a:lnTo>
                  <a:lnTo>
                    <a:pt x="110" y="214"/>
                  </a:lnTo>
                  <a:lnTo>
                    <a:pt x="110" y="218"/>
                  </a:lnTo>
                  <a:lnTo>
                    <a:pt x="110" y="226"/>
                  </a:lnTo>
                  <a:lnTo>
                    <a:pt x="116" y="234"/>
                  </a:lnTo>
                  <a:lnTo>
                    <a:pt x="132" y="240"/>
                  </a:lnTo>
                  <a:lnTo>
                    <a:pt x="138" y="244"/>
                  </a:lnTo>
                  <a:lnTo>
                    <a:pt x="144" y="244"/>
                  </a:lnTo>
                  <a:lnTo>
                    <a:pt x="150" y="244"/>
                  </a:lnTo>
                  <a:lnTo>
                    <a:pt x="154" y="246"/>
                  </a:lnTo>
                  <a:lnTo>
                    <a:pt x="160" y="244"/>
                  </a:lnTo>
                  <a:lnTo>
                    <a:pt x="174" y="242"/>
                  </a:lnTo>
                  <a:lnTo>
                    <a:pt x="180" y="244"/>
                  </a:lnTo>
                  <a:lnTo>
                    <a:pt x="182" y="246"/>
                  </a:lnTo>
                  <a:lnTo>
                    <a:pt x="190" y="260"/>
                  </a:lnTo>
                  <a:lnTo>
                    <a:pt x="196" y="264"/>
                  </a:lnTo>
                  <a:lnTo>
                    <a:pt x="200" y="266"/>
                  </a:lnTo>
                  <a:lnTo>
                    <a:pt x="204" y="262"/>
                  </a:lnTo>
                  <a:lnTo>
                    <a:pt x="214" y="264"/>
                  </a:lnTo>
                  <a:lnTo>
                    <a:pt x="216" y="270"/>
                  </a:lnTo>
                  <a:lnTo>
                    <a:pt x="212" y="272"/>
                  </a:lnTo>
                  <a:lnTo>
                    <a:pt x="206" y="272"/>
                  </a:lnTo>
                  <a:lnTo>
                    <a:pt x="198" y="278"/>
                  </a:lnTo>
                  <a:lnTo>
                    <a:pt x="196" y="286"/>
                  </a:lnTo>
                  <a:lnTo>
                    <a:pt x="192" y="288"/>
                  </a:lnTo>
                  <a:lnTo>
                    <a:pt x="194" y="290"/>
                  </a:lnTo>
                  <a:lnTo>
                    <a:pt x="194" y="292"/>
                  </a:lnTo>
                  <a:lnTo>
                    <a:pt x="196" y="296"/>
                  </a:lnTo>
                  <a:lnTo>
                    <a:pt x="198" y="294"/>
                  </a:lnTo>
                  <a:lnTo>
                    <a:pt x="200" y="294"/>
                  </a:lnTo>
                  <a:lnTo>
                    <a:pt x="206" y="294"/>
                  </a:lnTo>
                  <a:lnTo>
                    <a:pt x="208" y="290"/>
                  </a:lnTo>
                  <a:lnTo>
                    <a:pt x="210" y="288"/>
                  </a:lnTo>
                  <a:lnTo>
                    <a:pt x="214" y="290"/>
                  </a:lnTo>
                  <a:lnTo>
                    <a:pt x="218" y="292"/>
                  </a:lnTo>
                  <a:lnTo>
                    <a:pt x="218" y="292"/>
                  </a:lnTo>
                  <a:lnTo>
                    <a:pt x="220" y="290"/>
                  </a:lnTo>
                  <a:lnTo>
                    <a:pt x="220" y="282"/>
                  </a:lnTo>
                  <a:lnTo>
                    <a:pt x="224" y="280"/>
                  </a:lnTo>
                  <a:lnTo>
                    <a:pt x="224" y="278"/>
                  </a:lnTo>
                  <a:lnTo>
                    <a:pt x="226" y="278"/>
                  </a:lnTo>
                  <a:lnTo>
                    <a:pt x="230" y="274"/>
                  </a:lnTo>
                  <a:lnTo>
                    <a:pt x="232" y="276"/>
                  </a:lnTo>
                  <a:lnTo>
                    <a:pt x="236" y="280"/>
                  </a:lnTo>
                  <a:lnTo>
                    <a:pt x="238" y="282"/>
                  </a:lnTo>
                  <a:lnTo>
                    <a:pt x="238" y="284"/>
                  </a:lnTo>
                  <a:lnTo>
                    <a:pt x="236" y="284"/>
                  </a:lnTo>
                  <a:lnTo>
                    <a:pt x="236" y="286"/>
                  </a:lnTo>
                  <a:lnTo>
                    <a:pt x="242" y="288"/>
                  </a:lnTo>
                  <a:lnTo>
                    <a:pt x="248" y="292"/>
                  </a:lnTo>
                  <a:lnTo>
                    <a:pt x="250" y="292"/>
                  </a:lnTo>
                  <a:lnTo>
                    <a:pt x="270" y="294"/>
                  </a:lnTo>
                  <a:lnTo>
                    <a:pt x="276" y="298"/>
                  </a:lnTo>
                  <a:lnTo>
                    <a:pt x="278" y="302"/>
                  </a:lnTo>
                  <a:lnTo>
                    <a:pt x="282" y="310"/>
                  </a:lnTo>
                  <a:lnTo>
                    <a:pt x="294" y="318"/>
                  </a:lnTo>
                  <a:lnTo>
                    <a:pt x="326" y="326"/>
                  </a:lnTo>
                  <a:lnTo>
                    <a:pt x="334" y="326"/>
                  </a:lnTo>
                  <a:lnTo>
                    <a:pt x="346" y="330"/>
                  </a:lnTo>
                  <a:lnTo>
                    <a:pt x="350" y="334"/>
                  </a:lnTo>
                  <a:lnTo>
                    <a:pt x="368" y="344"/>
                  </a:lnTo>
                  <a:lnTo>
                    <a:pt x="378" y="344"/>
                  </a:lnTo>
                  <a:lnTo>
                    <a:pt x="384" y="344"/>
                  </a:lnTo>
                  <a:lnTo>
                    <a:pt x="386" y="344"/>
                  </a:lnTo>
                  <a:lnTo>
                    <a:pt x="386" y="346"/>
                  </a:lnTo>
                  <a:lnTo>
                    <a:pt x="384" y="350"/>
                  </a:lnTo>
                  <a:lnTo>
                    <a:pt x="384" y="350"/>
                  </a:lnTo>
                  <a:lnTo>
                    <a:pt x="390" y="352"/>
                  </a:lnTo>
                  <a:lnTo>
                    <a:pt x="406" y="350"/>
                  </a:lnTo>
                  <a:lnTo>
                    <a:pt x="416" y="358"/>
                  </a:lnTo>
                  <a:lnTo>
                    <a:pt x="438" y="370"/>
                  </a:lnTo>
                  <a:lnTo>
                    <a:pt x="440" y="378"/>
                  </a:lnTo>
                  <a:lnTo>
                    <a:pt x="446" y="382"/>
                  </a:lnTo>
                  <a:lnTo>
                    <a:pt x="452" y="380"/>
                  </a:lnTo>
                  <a:lnTo>
                    <a:pt x="456" y="372"/>
                  </a:lnTo>
                  <a:lnTo>
                    <a:pt x="454" y="362"/>
                  </a:lnTo>
                  <a:lnTo>
                    <a:pt x="450" y="354"/>
                  </a:lnTo>
                  <a:lnTo>
                    <a:pt x="470" y="318"/>
                  </a:lnTo>
                  <a:lnTo>
                    <a:pt x="472" y="310"/>
                  </a:lnTo>
                  <a:lnTo>
                    <a:pt x="474" y="306"/>
                  </a:lnTo>
                  <a:lnTo>
                    <a:pt x="482" y="306"/>
                  </a:lnTo>
                  <a:lnTo>
                    <a:pt x="494" y="298"/>
                  </a:lnTo>
                  <a:lnTo>
                    <a:pt x="492" y="294"/>
                  </a:lnTo>
                  <a:lnTo>
                    <a:pt x="490" y="290"/>
                  </a:lnTo>
                  <a:lnTo>
                    <a:pt x="490" y="290"/>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2" name="Freeform 444"/>
            <p:cNvSpPr>
              <a:spLocks/>
            </p:cNvSpPr>
            <p:nvPr/>
          </p:nvSpPr>
          <p:spPr bwMode="auto">
            <a:xfrm>
              <a:off x="1563688" y="3592513"/>
              <a:ext cx="330200" cy="187325"/>
            </a:xfrm>
            <a:custGeom>
              <a:avLst/>
              <a:gdLst>
                <a:gd name="T0" fmla="*/ 30 w 192"/>
                <a:gd name="T1" fmla="*/ 118 h 118"/>
                <a:gd name="T2" fmla="*/ 44 w 192"/>
                <a:gd name="T3" fmla="*/ 114 h 118"/>
                <a:gd name="T4" fmla="*/ 62 w 192"/>
                <a:gd name="T5" fmla="*/ 106 h 118"/>
                <a:gd name="T6" fmla="*/ 86 w 192"/>
                <a:gd name="T7" fmla="*/ 116 h 118"/>
                <a:gd name="T8" fmla="*/ 98 w 192"/>
                <a:gd name="T9" fmla="*/ 106 h 118"/>
                <a:gd name="T10" fmla="*/ 112 w 192"/>
                <a:gd name="T11" fmla="*/ 106 h 118"/>
                <a:gd name="T12" fmla="*/ 114 w 192"/>
                <a:gd name="T13" fmla="*/ 106 h 118"/>
                <a:gd name="T14" fmla="*/ 102 w 192"/>
                <a:gd name="T15" fmla="*/ 58 h 118"/>
                <a:gd name="T16" fmla="*/ 162 w 192"/>
                <a:gd name="T17" fmla="*/ 80 h 118"/>
                <a:gd name="T18" fmla="*/ 176 w 192"/>
                <a:gd name="T19" fmla="*/ 76 h 118"/>
                <a:gd name="T20" fmla="*/ 192 w 192"/>
                <a:gd name="T21" fmla="*/ 34 h 118"/>
                <a:gd name="T22" fmla="*/ 110 w 192"/>
                <a:gd name="T23" fmla="*/ 30 h 118"/>
                <a:gd name="T24" fmla="*/ 106 w 192"/>
                <a:gd name="T25" fmla="*/ 28 h 118"/>
                <a:gd name="T26" fmla="*/ 100 w 192"/>
                <a:gd name="T27" fmla="*/ 24 h 118"/>
                <a:gd name="T28" fmla="*/ 94 w 192"/>
                <a:gd name="T29" fmla="*/ 10 h 118"/>
                <a:gd name="T30" fmla="*/ 94 w 192"/>
                <a:gd name="T31" fmla="*/ 4 h 118"/>
                <a:gd name="T32" fmla="*/ 94 w 192"/>
                <a:gd name="T33" fmla="*/ 2 h 118"/>
                <a:gd name="T34" fmla="*/ 86 w 192"/>
                <a:gd name="T35" fmla="*/ 0 h 118"/>
                <a:gd name="T36" fmla="*/ 80 w 192"/>
                <a:gd name="T37" fmla="*/ 8 h 118"/>
                <a:gd name="T38" fmla="*/ 80 w 192"/>
                <a:gd name="T39" fmla="*/ 8 h 118"/>
                <a:gd name="T40" fmla="*/ 68 w 192"/>
                <a:gd name="T41" fmla="*/ 22 h 118"/>
                <a:gd name="T42" fmla="*/ 66 w 192"/>
                <a:gd name="T43" fmla="*/ 28 h 118"/>
                <a:gd name="T44" fmla="*/ 60 w 192"/>
                <a:gd name="T45" fmla="*/ 32 h 118"/>
                <a:gd name="T46" fmla="*/ 58 w 192"/>
                <a:gd name="T47" fmla="*/ 34 h 118"/>
                <a:gd name="T48" fmla="*/ 58 w 192"/>
                <a:gd name="T49" fmla="*/ 36 h 118"/>
                <a:gd name="T50" fmla="*/ 52 w 192"/>
                <a:gd name="T51" fmla="*/ 42 h 118"/>
                <a:gd name="T52" fmla="*/ 52 w 192"/>
                <a:gd name="T53" fmla="*/ 46 h 118"/>
                <a:gd name="T54" fmla="*/ 30 w 192"/>
                <a:gd name="T55" fmla="*/ 58 h 118"/>
                <a:gd name="T56" fmla="*/ 10 w 192"/>
                <a:gd name="T57" fmla="*/ 82 h 118"/>
                <a:gd name="T58" fmla="*/ 4 w 192"/>
                <a:gd name="T59" fmla="*/ 86 h 118"/>
                <a:gd name="T60" fmla="*/ 2 w 192"/>
                <a:gd name="T61" fmla="*/ 90 h 118"/>
                <a:gd name="T62" fmla="*/ 2 w 192"/>
                <a:gd name="T63" fmla="*/ 90 h 118"/>
                <a:gd name="T64" fmla="*/ 0 w 192"/>
                <a:gd name="T65" fmla="*/ 94 h 118"/>
                <a:gd name="T66" fmla="*/ 30 w 192"/>
                <a:gd name="T67" fmla="*/ 118 h 118"/>
                <a:gd name="T68" fmla="*/ 30 w 192"/>
                <a:gd name="T6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18">
                  <a:moveTo>
                    <a:pt x="30" y="118"/>
                  </a:moveTo>
                  <a:lnTo>
                    <a:pt x="44" y="114"/>
                  </a:lnTo>
                  <a:lnTo>
                    <a:pt x="62" y="106"/>
                  </a:lnTo>
                  <a:lnTo>
                    <a:pt x="86" y="116"/>
                  </a:lnTo>
                  <a:lnTo>
                    <a:pt x="98" y="106"/>
                  </a:lnTo>
                  <a:lnTo>
                    <a:pt x="112" y="106"/>
                  </a:lnTo>
                  <a:lnTo>
                    <a:pt x="114" y="106"/>
                  </a:lnTo>
                  <a:lnTo>
                    <a:pt x="102" y="58"/>
                  </a:lnTo>
                  <a:lnTo>
                    <a:pt x="162" y="80"/>
                  </a:lnTo>
                  <a:lnTo>
                    <a:pt x="176" y="76"/>
                  </a:lnTo>
                  <a:lnTo>
                    <a:pt x="192" y="34"/>
                  </a:lnTo>
                  <a:lnTo>
                    <a:pt x="110" y="30"/>
                  </a:lnTo>
                  <a:lnTo>
                    <a:pt x="106" y="28"/>
                  </a:lnTo>
                  <a:lnTo>
                    <a:pt x="100" y="24"/>
                  </a:lnTo>
                  <a:lnTo>
                    <a:pt x="94" y="10"/>
                  </a:lnTo>
                  <a:lnTo>
                    <a:pt x="94" y="4"/>
                  </a:lnTo>
                  <a:lnTo>
                    <a:pt x="94" y="2"/>
                  </a:lnTo>
                  <a:lnTo>
                    <a:pt x="86" y="0"/>
                  </a:lnTo>
                  <a:lnTo>
                    <a:pt x="80" y="8"/>
                  </a:lnTo>
                  <a:lnTo>
                    <a:pt x="80" y="8"/>
                  </a:lnTo>
                  <a:lnTo>
                    <a:pt x="68" y="22"/>
                  </a:lnTo>
                  <a:lnTo>
                    <a:pt x="66" y="28"/>
                  </a:lnTo>
                  <a:lnTo>
                    <a:pt x="60" y="32"/>
                  </a:lnTo>
                  <a:lnTo>
                    <a:pt x="58" y="34"/>
                  </a:lnTo>
                  <a:lnTo>
                    <a:pt x="58" y="36"/>
                  </a:lnTo>
                  <a:lnTo>
                    <a:pt x="52" y="42"/>
                  </a:lnTo>
                  <a:lnTo>
                    <a:pt x="52" y="46"/>
                  </a:lnTo>
                  <a:lnTo>
                    <a:pt x="30" y="58"/>
                  </a:lnTo>
                  <a:lnTo>
                    <a:pt x="10" y="82"/>
                  </a:lnTo>
                  <a:lnTo>
                    <a:pt x="4" y="86"/>
                  </a:lnTo>
                  <a:lnTo>
                    <a:pt x="2" y="90"/>
                  </a:lnTo>
                  <a:lnTo>
                    <a:pt x="2" y="90"/>
                  </a:lnTo>
                  <a:lnTo>
                    <a:pt x="0" y="94"/>
                  </a:lnTo>
                  <a:lnTo>
                    <a:pt x="30" y="118"/>
                  </a:lnTo>
                  <a:lnTo>
                    <a:pt x="30" y="118"/>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3" name="Freeform 445"/>
            <p:cNvSpPr>
              <a:spLocks/>
            </p:cNvSpPr>
            <p:nvPr/>
          </p:nvSpPr>
          <p:spPr bwMode="auto">
            <a:xfrm>
              <a:off x="1519238" y="4589463"/>
              <a:ext cx="687388" cy="288925"/>
            </a:xfrm>
            <a:custGeom>
              <a:avLst/>
              <a:gdLst>
                <a:gd name="T0" fmla="*/ 286 w 400"/>
                <a:gd name="T1" fmla="*/ 36 h 182"/>
                <a:gd name="T2" fmla="*/ 218 w 400"/>
                <a:gd name="T3" fmla="*/ 52 h 182"/>
                <a:gd name="T4" fmla="*/ 196 w 400"/>
                <a:gd name="T5" fmla="*/ 62 h 182"/>
                <a:gd name="T6" fmla="*/ 188 w 400"/>
                <a:gd name="T7" fmla="*/ 42 h 182"/>
                <a:gd name="T8" fmla="*/ 82 w 400"/>
                <a:gd name="T9" fmla="*/ 4 h 182"/>
                <a:gd name="T10" fmla="*/ 64 w 400"/>
                <a:gd name="T11" fmla="*/ 0 h 182"/>
                <a:gd name="T12" fmla="*/ 48 w 400"/>
                <a:gd name="T13" fmla="*/ 2 h 182"/>
                <a:gd name="T14" fmla="*/ 40 w 400"/>
                <a:gd name="T15" fmla="*/ 8 h 182"/>
                <a:gd name="T16" fmla="*/ 34 w 400"/>
                <a:gd name="T17" fmla="*/ 10 h 182"/>
                <a:gd name="T18" fmla="*/ 26 w 400"/>
                <a:gd name="T19" fmla="*/ 28 h 182"/>
                <a:gd name="T20" fmla="*/ 20 w 400"/>
                <a:gd name="T21" fmla="*/ 32 h 182"/>
                <a:gd name="T22" fmla="*/ 16 w 400"/>
                <a:gd name="T23" fmla="*/ 40 h 182"/>
                <a:gd name="T24" fmla="*/ 14 w 400"/>
                <a:gd name="T25" fmla="*/ 42 h 182"/>
                <a:gd name="T26" fmla="*/ 14 w 400"/>
                <a:gd name="T27" fmla="*/ 44 h 182"/>
                <a:gd name="T28" fmla="*/ 14 w 400"/>
                <a:gd name="T29" fmla="*/ 60 h 182"/>
                <a:gd name="T30" fmla="*/ 8 w 400"/>
                <a:gd name="T31" fmla="*/ 100 h 182"/>
                <a:gd name="T32" fmla="*/ 2 w 400"/>
                <a:gd name="T33" fmla="*/ 132 h 182"/>
                <a:gd name="T34" fmla="*/ 10 w 400"/>
                <a:gd name="T35" fmla="*/ 146 h 182"/>
                <a:gd name="T36" fmla="*/ 52 w 400"/>
                <a:gd name="T37" fmla="*/ 164 h 182"/>
                <a:gd name="T38" fmla="*/ 86 w 400"/>
                <a:gd name="T39" fmla="*/ 158 h 182"/>
                <a:gd name="T40" fmla="*/ 148 w 400"/>
                <a:gd name="T41" fmla="*/ 176 h 182"/>
                <a:gd name="T42" fmla="*/ 166 w 400"/>
                <a:gd name="T43" fmla="*/ 172 h 182"/>
                <a:gd name="T44" fmla="*/ 202 w 400"/>
                <a:gd name="T45" fmla="*/ 182 h 182"/>
                <a:gd name="T46" fmla="*/ 220 w 400"/>
                <a:gd name="T47" fmla="*/ 176 h 182"/>
                <a:gd name="T48" fmla="*/ 326 w 400"/>
                <a:gd name="T49" fmla="*/ 178 h 182"/>
                <a:gd name="T50" fmla="*/ 350 w 400"/>
                <a:gd name="T51" fmla="*/ 176 h 182"/>
                <a:gd name="T52" fmla="*/ 358 w 400"/>
                <a:gd name="T53" fmla="*/ 178 h 182"/>
                <a:gd name="T54" fmla="*/ 360 w 400"/>
                <a:gd name="T55" fmla="*/ 176 h 182"/>
                <a:gd name="T56" fmla="*/ 362 w 400"/>
                <a:gd name="T57" fmla="*/ 168 h 182"/>
                <a:gd name="T58" fmla="*/ 386 w 400"/>
                <a:gd name="T59" fmla="*/ 156 h 182"/>
                <a:gd name="T60" fmla="*/ 394 w 400"/>
                <a:gd name="T61" fmla="*/ 62 h 182"/>
                <a:gd name="T62" fmla="*/ 348 w 400"/>
                <a:gd name="T63" fmla="*/ 5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0" h="182">
                  <a:moveTo>
                    <a:pt x="348" y="54"/>
                  </a:moveTo>
                  <a:lnTo>
                    <a:pt x="286" y="36"/>
                  </a:lnTo>
                  <a:lnTo>
                    <a:pt x="248" y="36"/>
                  </a:lnTo>
                  <a:lnTo>
                    <a:pt x="218" y="52"/>
                  </a:lnTo>
                  <a:lnTo>
                    <a:pt x="210" y="62"/>
                  </a:lnTo>
                  <a:lnTo>
                    <a:pt x="196" y="62"/>
                  </a:lnTo>
                  <a:lnTo>
                    <a:pt x="190" y="60"/>
                  </a:lnTo>
                  <a:lnTo>
                    <a:pt x="188" y="42"/>
                  </a:lnTo>
                  <a:lnTo>
                    <a:pt x="104" y="2"/>
                  </a:lnTo>
                  <a:lnTo>
                    <a:pt x="82" y="4"/>
                  </a:lnTo>
                  <a:lnTo>
                    <a:pt x="68" y="0"/>
                  </a:lnTo>
                  <a:lnTo>
                    <a:pt x="64" y="0"/>
                  </a:lnTo>
                  <a:lnTo>
                    <a:pt x="60" y="2"/>
                  </a:lnTo>
                  <a:lnTo>
                    <a:pt x="48" y="2"/>
                  </a:lnTo>
                  <a:lnTo>
                    <a:pt x="46" y="8"/>
                  </a:lnTo>
                  <a:lnTo>
                    <a:pt x="40" y="8"/>
                  </a:lnTo>
                  <a:lnTo>
                    <a:pt x="32" y="8"/>
                  </a:lnTo>
                  <a:lnTo>
                    <a:pt x="34" y="10"/>
                  </a:lnTo>
                  <a:lnTo>
                    <a:pt x="28" y="26"/>
                  </a:lnTo>
                  <a:lnTo>
                    <a:pt x="26" y="28"/>
                  </a:lnTo>
                  <a:lnTo>
                    <a:pt x="20" y="30"/>
                  </a:lnTo>
                  <a:lnTo>
                    <a:pt x="20" y="32"/>
                  </a:lnTo>
                  <a:lnTo>
                    <a:pt x="16" y="38"/>
                  </a:lnTo>
                  <a:lnTo>
                    <a:pt x="16" y="40"/>
                  </a:lnTo>
                  <a:lnTo>
                    <a:pt x="16" y="42"/>
                  </a:lnTo>
                  <a:lnTo>
                    <a:pt x="14" y="42"/>
                  </a:lnTo>
                  <a:lnTo>
                    <a:pt x="12" y="42"/>
                  </a:lnTo>
                  <a:lnTo>
                    <a:pt x="14" y="44"/>
                  </a:lnTo>
                  <a:lnTo>
                    <a:pt x="16" y="54"/>
                  </a:lnTo>
                  <a:lnTo>
                    <a:pt x="14" y="60"/>
                  </a:lnTo>
                  <a:lnTo>
                    <a:pt x="6" y="96"/>
                  </a:lnTo>
                  <a:lnTo>
                    <a:pt x="8" y="100"/>
                  </a:lnTo>
                  <a:lnTo>
                    <a:pt x="0" y="122"/>
                  </a:lnTo>
                  <a:lnTo>
                    <a:pt x="2" y="132"/>
                  </a:lnTo>
                  <a:lnTo>
                    <a:pt x="2" y="142"/>
                  </a:lnTo>
                  <a:lnTo>
                    <a:pt x="10" y="146"/>
                  </a:lnTo>
                  <a:lnTo>
                    <a:pt x="16" y="150"/>
                  </a:lnTo>
                  <a:lnTo>
                    <a:pt x="52" y="164"/>
                  </a:lnTo>
                  <a:lnTo>
                    <a:pt x="78" y="164"/>
                  </a:lnTo>
                  <a:lnTo>
                    <a:pt x="86" y="158"/>
                  </a:lnTo>
                  <a:lnTo>
                    <a:pt x="94" y="158"/>
                  </a:lnTo>
                  <a:lnTo>
                    <a:pt x="148" y="176"/>
                  </a:lnTo>
                  <a:lnTo>
                    <a:pt x="162" y="174"/>
                  </a:lnTo>
                  <a:lnTo>
                    <a:pt x="166" y="172"/>
                  </a:lnTo>
                  <a:lnTo>
                    <a:pt x="176" y="170"/>
                  </a:lnTo>
                  <a:lnTo>
                    <a:pt x="202" y="182"/>
                  </a:lnTo>
                  <a:lnTo>
                    <a:pt x="204" y="182"/>
                  </a:lnTo>
                  <a:lnTo>
                    <a:pt x="220" y="176"/>
                  </a:lnTo>
                  <a:lnTo>
                    <a:pt x="230" y="170"/>
                  </a:lnTo>
                  <a:lnTo>
                    <a:pt x="326" y="178"/>
                  </a:lnTo>
                  <a:lnTo>
                    <a:pt x="336" y="176"/>
                  </a:lnTo>
                  <a:lnTo>
                    <a:pt x="350" y="176"/>
                  </a:lnTo>
                  <a:lnTo>
                    <a:pt x="354" y="178"/>
                  </a:lnTo>
                  <a:lnTo>
                    <a:pt x="358" y="178"/>
                  </a:lnTo>
                  <a:lnTo>
                    <a:pt x="360" y="178"/>
                  </a:lnTo>
                  <a:lnTo>
                    <a:pt x="360" y="176"/>
                  </a:lnTo>
                  <a:lnTo>
                    <a:pt x="362" y="172"/>
                  </a:lnTo>
                  <a:lnTo>
                    <a:pt x="362" y="168"/>
                  </a:lnTo>
                  <a:lnTo>
                    <a:pt x="370" y="160"/>
                  </a:lnTo>
                  <a:lnTo>
                    <a:pt x="386" y="156"/>
                  </a:lnTo>
                  <a:lnTo>
                    <a:pt x="400" y="156"/>
                  </a:lnTo>
                  <a:lnTo>
                    <a:pt x="394" y="62"/>
                  </a:lnTo>
                  <a:lnTo>
                    <a:pt x="348" y="54"/>
                  </a:lnTo>
                  <a:lnTo>
                    <a:pt x="348" y="54"/>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4" name="Freeform 448"/>
            <p:cNvSpPr>
              <a:spLocks/>
            </p:cNvSpPr>
            <p:nvPr/>
          </p:nvSpPr>
          <p:spPr bwMode="auto">
            <a:xfrm>
              <a:off x="2560638" y="4344988"/>
              <a:ext cx="58738" cy="15875"/>
            </a:xfrm>
            <a:custGeom>
              <a:avLst/>
              <a:gdLst>
                <a:gd name="T0" fmla="*/ 34 w 34"/>
                <a:gd name="T1" fmla="*/ 4 h 10"/>
                <a:gd name="T2" fmla="*/ 32 w 34"/>
                <a:gd name="T3" fmla="*/ 2 h 10"/>
                <a:gd name="T4" fmla="*/ 20 w 34"/>
                <a:gd name="T5" fmla="*/ 0 h 10"/>
                <a:gd name="T6" fmla="*/ 16 w 34"/>
                <a:gd name="T7" fmla="*/ 4 h 10"/>
                <a:gd name="T8" fmla="*/ 0 w 34"/>
                <a:gd name="T9" fmla="*/ 6 h 10"/>
                <a:gd name="T10" fmla="*/ 0 w 34"/>
                <a:gd name="T11" fmla="*/ 8 h 10"/>
                <a:gd name="T12" fmla="*/ 16 w 34"/>
                <a:gd name="T13" fmla="*/ 10 h 10"/>
                <a:gd name="T14" fmla="*/ 34 w 34"/>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0">
                  <a:moveTo>
                    <a:pt x="34" y="4"/>
                  </a:moveTo>
                  <a:lnTo>
                    <a:pt x="32" y="2"/>
                  </a:lnTo>
                  <a:lnTo>
                    <a:pt x="20" y="0"/>
                  </a:lnTo>
                  <a:lnTo>
                    <a:pt x="16" y="4"/>
                  </a:lnTo>
                  <a:lnTo>
                    <a:pt x="0" y="6"/>
                  </a:lnTo>
                  <a:lnTo>
                    <a:pt x="0" y="8"/>
                  </a:lnTo>
                  <a:lnTo>
                    <a:pt x="16" y="10"/>
                  </a:lnTo>
                  <a:lnTo>
                    <a:pt x="34" y="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05" name="Freeform 449"/>
            <p:cNvSpPr>
              <a:spLocks/>
            </p:cNvSpPr>
            <p:nvPr/>
          </p:nvSpPr>
          <p:spPr bwMode="auto">
            <a:xfrm>
              <a:off x="2560638" y="4344988"/>
              <a:ext cx="58738" cy="15875"/>
            </a:xfrm>
            <a:custGeom>
              <a:avLst/>
              <a:gdLst>
                <a:gd name="T0" fmla="*/ 34 w 34"/>
                <a:gd name="T1" fmla="*/ 4 h 10"/>
                <a:gd name="T2" fmla="*/ 32 w 34"/>
                <a:gd name="T3" fmla="*/ 2 h 10"/>
                <a:gd name="T4" fmla="*/ 20 w 34"/>
                <a:gd name="T5" fmla="*/ 0 h 10"/>
                <a:gd name="T6" fmla="*/ 16 w 34"/>
                <a:gd name="T7" fmla="*/ 4 h 10"/>
                <a:gd name="T8" fmla="*/ 0 w 34"/>
                <a:gd name="T9" fmla="*/ 6 h 10"/>
                <a:gd name="T10" fmla="*/ 0 w 34"/>
                <a:gd name="T11" fmla="*/ 8 h 10"/>
                <a:gd name="T12" fmla="*/ 16 w 34"/>
                <a:gd name="T13" fmla="*/ 10 h 10"/>
                <a:gd name="T14" fmla="*/ 34 w 34"/>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0">
                  <a:moveTo>
                    <a:pt x="34" y="4"/>
                  </a:moveTo>
                  <a:lnTo>
                    <a:pt x="32" y="2"/>
                  </a:lnTo>
                  <a:lnTo>
                    <a:pt x="20" y="0"/>
                  </a:lnTo>
                  <a:lnTo>
                    <a:pt x="16" y="4"/>
                  </a:lnTo>
                  <a:lnTo>
                    <a:pt x="0" y="6"/>
                  </a:lnTo>
                  <a:lnTo>
                    <a:pt x="0" y="8"/>
                  </a:lnTo>
                  <a:lnTo>
                    <a:pt x="16" y="10"/>
                  </a:lnTo>
                  <a:lnTo>
                    <a:pt x="34"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6" name="Freeform 450"/>
            <p:cNvSpPr>
              <a:spLocks/>
            </p:cNvSpPr>
            <p:nvPr/>
          </p:nvSpPr>
          <p:spPr bwMode="auto">
            <a:xfrm>
              <a:off x="2622551" y="4729163"/>
              <a:ext cx="26988" cy="19050"/>
            </a:xfrm>
            <a:custGeom>
              <a:avLst/>
              <a:gdLst>
                <a:gd name="T0" fmla="*/ 2 w 16"/>
                <a:gd name="T1" fmla="*/ 12 h 12"/>
                <a:gd name="T2" fmla="*/ 2 w 16"/>
                <a:gd name="T3" fmla="*/ 10 h 12"/>
                <a:gd name="T4" fmla="*/ 4 w 16"/>
                <a:gd name="T5" fmla="*/ 12 h 12"/>
                <a:gd name="T6" fmla="*/ 6 w 16"/>
                <a:gd name="T7" fmla="*/ 10 h 12"/>
                <a:gd name="T8" fmla="*/ 8 w 16"/>
                <a:gd name="T9" fmla="*/ 8 h 12"/>
                <a:gd name="T10" fmla="*/ 8 w 16"/>
                <a:gd name="T11" fmla="*/ 6 h 12"/>
                <a:gd name="T12" fmla="*/ 14 w 16"/>
                <a:gd name="T13" fmla="*/ 4 h 12"/>
                <a:gd name="T14" fmla="*/ 16 w 16"/>
                <a:gd name="T15" fmla="*/ 4 h 12"/>
                <a:gd name="T16" fmla="*/ 14 w 16"/>
                <a:gd name="T17" fmla="*/ 2 h 12"/>
                <a:gd name="T18" fmla="*/ 16 w 16"/>
                <a:gd name="T19" fmla="*/ 0 h 12"/>
                <a:gd name="T20" fmla="*/ 16 w 16"/>
                <a:gd name="T21" fmla="*/ 0 h 12"/>
                <a:gd name="T22" fmla="*/ 12 w 16"/>
                <a:gd name="T23" fmla="*/ 0 h 12"/>
                <a:gd name="T24" fmla="*/ 10 w 16"/>
                <a:gd name="T25" fmla="*/ 2 h 12"/>
                <a:gd name="T26" fmla="*/ 8 w 16"/>
                <a:gd name="T27" fmla="*/ 6 h 12"/>
                <a:gd name="T28" fmla="*/ 4 w 16"/>
                <a:gd name="T29" fmla="*/ 6 h 12"/>
                <a:gd name="T30" fmla="*/ 4 w 16"/>
                <a:gd name="T31" fmla="*/ 8 h 12"/>
                <a:gd name="T32" fmla="*/ 0 w 16"/>
                <a:gd name="T33" fmla="*/ 10 h 12"/>
                <a:gd name="T34" fmla="*/ 2 w 16"/>
                <a:gd name="T3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12">
                  <a:moveTo>
                    <a:pt x="2" y="12"/>
                  </a:moveTo>
                  <a:lnTo>
                    <a:pt x="2" y="10"/>
                  </a:lnTo>
                  <a:lnTo>
                    <a:pt x="4" y="12"/>
                  </a:lnTo>
                  <a:lnTo>
                    <a:pt x="6" y="10"/>
                  </a:lnTo>
                  <a:lnTo>
                    <a:pt x="8" y="8"/>
                  </a:lnTo>
                  <a:lnTo>
                    <a:pt x="8" y="6"/>
                  </a:lnTo>
                  <a:lnTo>
                    <a:pt x="14" y="4"/>
                  </a:lnTo>
                  <a:lnTo>
                    <a:pt x="16" y="4"/>
                  </a:lnTo>
                  <a:lnTo>
                    <a:pt x="14" y="2"/>
                  </a:lnTo>
                  <a:lnTo>
                    <a:pt x="16" y="0"/>
                  </a:lnTo>
                  <a:lnTo>
                    <a:pt x="16" y="0"/>
                  </a:lnTo>
                  <a:lnTo>
                    <a:pt x="12" y="0"/>
                  </a:lnTo>
                  <a:lnTo>
                    <a:pt x="10" y="2"/>
                  </a:lnTo>
                  <a:lnTo>
                    <a:pt x="8" y="6"/>
                  </a:lnTo>
                  <a:lnTo>
                    <a:pt x="4" y="6"/>
                  </a:lnTo>
                  <a:lnTo>
                    <a:pt x="4" y="8"/>
                  </a:lnTo>
                  <a:lnTo>
                    <a:pt x="0" y="10"/>
                  </a:lnTo>
                  <a:lnTo>
                    <a:pt x="2" y="1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07" name="Freeform 451"/>
            <p:cNvSpPr>
              <a:spLocks/>
            </p:cNvSpPr>
            <p:nvPr/>
          </p:nvSpPr>
          <p:spPr bwMode="auto">
            <a:xfrm>
              <a:off x="2622551" y="4729163"/>
              <a:ext cx="26988" cy="19050"/>
            </a:xfrm>
            <a:custGeom>
              <a:avLst/>
              <a:gdLst>
                <a:gd name="T0" fmla="*/ 2 w 16"/>
                <a:gd name="T1" fmla="*/ 12 h 12"/>
                <a:gd name="T2" fmla="*/ 2 w 16"/>
                <a:gd name="T3" fmla="*/ 10 h 12"/>
                <a:gd name="T4" fmla="*/ 4 w 16"/>
                <a:gd name="T5" fmla="*/ 12 h 12"/>
                <a:gd name="T6" fmla="*/ 6 w 16"/>
                <a:gd name="T7" fmla="*/ 10 h 12"/>
                <a:gd name="T8" fmla="*/ 8 w 16"/>
                <a:gd name="T9" fmla="*/ 8 h 12"/>
                <a:gd name="T10" fmla="*/ 8 w 16"/>
                <a:gd name="T11" fmla="*/ 6 h 12"/>
                <a:gd name="T12" fmla="*/ 14 w 16"/>
                <a:gd name="T13" fmla="*/ 4 h 12"/>
                <a:gd name="T14" fmla="*/ 16 w 16"/>
                <a:gd name="T15" fmla="*/ 4 h 12"/>
                <a:gd name="T16" fmla="*/ 14 w 16"/>
                <a:gd name="T17" fmla="*/ 2 h 12"/>
                <a:gd name="T18" fmla="*/ 16 w 16"/>
                <a:gd name="T19" fmla="*/ 0 h 12"/>
                <a:gd name="T20" fmla="*/ 16 w 16"/>
                <a:gd name="T21" fmla="*/ 0 h 12"/>
                <a:gd name="T22" fmla="*/ 12 w 16"/>
                <a:gd name="T23" fmla="*/ 0 h 12"/>
                <a:gd name="T24" fmla="*/ 10 w 16"/>
                <a:gd name="T25" fmla="*/ 2 h 12"/>
                <a:gd name="T26" fmla="*/ 8 w 16"/>
                <a:gd name="T27" fmla="*/ 6 h 12"/>
                <a:gd name="T28" fmla="*/ 4 w 16"/>
                <a:gd name="T29" fmla="*/ 6 h 12"/>
                <a:gd name="T30" fmla="*/ 4 w 16"/>
                <a:gd name="T31" fmla="*/ 8 h 12"/>
                <a:gd name="T32" fmla="*/ 0 w 16"/>
                <a:gd name="T33" fmla="*/ 10 h 12"/>
                <a:gd name="T34" fmla="*/ 2 w 16"/>
                <a:gd name="T3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12">
                  <a:moveTo>
                    <a:pt x="2" y="12"/>
                  </a:moveTo>
                  <a:lnTo>
                    <a:pt x="2" y="10"/>
                  </a:lnTo>
                  <a:lnTo>
                    <a:pt x="4" y="12"/>
                  </a:lnTo>
                  <a:lnTo>
                    <a:pt x="6" y="10"/>
                  </a:lnTo>
                  <a:lnTo>
                    <a:pt x="8" y="8"/>
                  </a:lnTo>
                  <a:lnTo>
                    <a:pt x="8" y="6"/>
                  </a:lnTo>
                  <a:lnTo>
                    <a:pt x="14" y="4"/>
                  </a:lnTo>
                  <a:lnTo>
                    <a:pt x="16" y="4"/>
                  </a:lnTo>
                  <a:lnTo>
                    <a:pt x="14" y="2"/>
                  </a:lnTo>
                  <a:lnTo>
                    <a:pt x="16" y="0"/>
                  </a:lnTo>
                  <a:lnTo>
                    <a:pt x="16" y="0"/>
                  </a:lnTo>
                  <a:lnTo>
                    <a:pt x="12" y="0"/>
                  </a:lnTo>
                  <a:lnTo>
                    <a:pt x="10" y="2"/>
                  </a:lnTo>
                  <a:lnTo>
                    <a:pt x="8" y="6"/>
                  </a:lnTo>
                  <a:lnTo>
                    <a:pt x="4" y="6"/>
                  </a:lnTo>
                  <a:lnTo>
                    <a:pt x="4" y="8"/>
                  </a:lnTo>
                  <a:lnTo>
                    <a:pt x="0" y="10"/>
                  </a:lnTo>
                  <a:lnTo>
                    <a:pt x="2" y="1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8" name="Freeform 476"/>
            <p:cNvSpPr>
              <a:spLocks/>
            </p:cNvSpPr>
            <p:nvPr/>
          </p:nvSpPr>
          <p:spPr bwMode="auto">
            <a:xfrm>
              <a:off x="1704976" y="3506788"/>
              <a:ext cx="127000" cy="66675"/>
            </a:xfrm>
            <a:custGeom>
              <a:avLst/>
              <a:gdLst>
                <a:gd name="T0" fmla="*/ 24 w 74"/>
                <a:gd name="T1" fmla="*/ 38 h 42"/>
                <a:gd name="T2" fmla="*/ 28 w 74"/>
                <a:gd name="T3" fmla="*/ 38 h 42"/>
                <a:gd name="T4" fmla="*/ 38 w 74"/>
                <a:gd name="T5" fmla="*/ 38 h 42"/>
                <a:gd name="T6" fmla="*/ 36 w 74"/>
                <a:gd name="T7" fmla="*/ 34 h 42"/>
                <a:gd name="T8" fmla="*/ 40 w 74"/>
                <a:gd name="T9" fmla="*/ 30 h 42"/>
                <a:gd name="T10" fmla="*/ 44 w 74"/>
                <a:gd name="T11" fmla="*/ 28 h 42"/>
                <a:gd name="T12" fmla="*/ 52 w 74"/>
                <a:gd name="T13" fmla="*/ 34 h 42"/>
                <a:gd name="T14" fmla="*/ 54 w 74"/>
                <a:gd name="T15" fmla="*/ 34 h 42"/>
                <a:gd name="T16" fmla="*/ 52 w 74"/>
                <a:gd name="T17" fmla="*/ 30 h 42"/>
                <a:gd name="T18" fmla="*/ 56 w 74"/>
                <a:gd name="T19" fmla="*/ 30 h 42"/>
                <a:gd name="T20" fmla="*/ 60 w 74"/>
                <a:gd name="T21" fmla="*/ 28 h 42"/>
                <a:gd name="T22" fmla="*/ 66 w 74"/>
                <a:gd name="T23" fmla="*/ 30 h 42"/>
                <a:gd name="T24" fmla="*/ 70 w 74"/>
                <a:gd name="T25" fmla="*/ 28 h 42"/>
                <a:gd name="T26" fmla="*/ 70 w 74"/>
                <a:gd name="T27" fmla="*/ 24 h 42"/>
                <a:gd name="T28" fmla="*/ 72 w 74"/>
                <a:gd name="T29" fmla="*/ 20 h 42"/>
                <a:gd name="T30" fmla="*/ 72 w 74"/>
                <a:gd name="T31" fmla="*/ 14 h 42"/>
                <a:gd name="T32" fmla="*/ 70 w 74"/>
                <a:gd name="T33" fmla="*/ 12 h 42"/>
                <a:gd name="T34" fmla="*/ 72 w 74"/>
                <a:gd name="T35" fmla="*/ 10 h 42"/>
                <a:gd name="T36" fmla="*/ 74 w 74"/>
                <a:gd name="T37" fmla="*/ 10 h 42"/>
                <a:gd name="T38" fmla="*/ 72 w 74"/>
                <a:gd name="T39" fmla="*/ 8 h 42"/>
                <a:gd name="T40" fmla="*/ 72 w 74"/>
                <a:gd name="T41" fmla="*/ 6 h 42"/>
                <a:gd name="T42" fmla="*/ 62 w 74"/>
                <a:gd name="T43" fmla="*/ 0 h 42"/>
                <a:gd name="T44" fmla="*/ 46 w 74"/>
                <a:gd name="T45" fmla="*/ 8 h 42"/>
                <a:gd name="T46" fmla="*/ 32 w 74"/>
                <a:gd name="T47" fmla="*/ 16 h 42"/>
                <a:gd name="T48" fmla="*/ 30 w 74"/>
                <a:gd name="T49" fmla="*/ 16 h 42"/>
                <a:gd name="T50" fmla="*/ 20 w 74"/>
                <a:gd name="T51" fmla="*/ 22 h 42"/>
                <a:gd name="T52" fmla="*/ 0 w 74"/>
                <a:gd name="T53" fmla="*/ 32 h 42"/>
                <a:gd name="T54" fmla="*/ 6 w 74"/>
                <a:gd name="T55" fmla="*/ 38 h 42"/>
                <a:gd name="T56" fmla="*/ 8 w 74"/>
                <a:gd name="T57" fmla="*/ 40 h 42"/>
                <a:gd name="T58" fmla="*/ 12 w 74"/>
                <a:gd name="T59" fmla="*/ 42 h 42"/>
                <a:gd name="T60" fmla="*/ 18 w 74"/>
                <a:gd name="T61" fmla="*/ 36 h 42"/>
                <a:gd name="T62" fmla="*/ 18 w 74"/>
                <a:gd name="T6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 h="42">
                  <a:moveTo>
                    <a:pt x="18" y="38"/>
                  </a:moveTo>
                  <a:lnTo>
                    <a:pt x="24" y="38"/>
                  </a:lnTo>
                  <a:lnTo>
                    <a:pt x="26" y="40"/>
                  </a:lnTo>
                  <a:lnTo>
                    <a:pt x="28" y="38"/>
                  </a:lnTo>
                  <a:lnTo>
                    <a:pt x="36" y="38"/>
                  </a:lnTo>
                  <a:lnTo>
                    <a:pt x="38" y="38"/>
                  </a:lnTo>
                  <a:lnTo>
                    <a:pt x="38" y="36"/>
                  </a:lnTo>
                  <a:lnTo>
                    <a:pt x="36" y="34"/>
                  </a:lnTo>
                  <a:lnTo>
                    <a:pt x="38" y="32"/>
                  </a:lnTo>
                  <a:lnTo>
                    <a:pt x="40" y="30"/>
                  </a:lnTo>
                  <a:lnTo>
                    <a:pt x="42" y="30"/>
                  </a:lnTo>
                  <a:lnTo>
                    <a:pt x="44" y="28"/>
                  </a:lnTo>
                  <a:lnTo>
                    <a:pt x="52" y="32"/>
                  </a:lnTo>
                  <a:lnTo>
                    <a:pt x="52" y="34"/>
                  </a:lnTo>
                  <a:lnTo>
                    <a:pt x="54" y="34"/>
                  </a:lnTo>
                  <a:lnTo>
                    <a:pt x="54" y="34"/>
                  </a:lnTo>
                  <a:lnTo>
                    <a:pt x="54" y="32"/>
                  </a:lnTo>
                  <a:lnTo>
                    <a:pt x="52" y="30"/>
                  </a:lnTo>
                  <a:lnTo>
                    <a:pt x="54" y="30"/>
                  </a:lnTo>
                  <a:lnTo>
                    <a:pt x="56" y="30"/>
                  </a:lnTo>
                  <a:lnTo>
                    <a:pt x="58" y="28"/>
                  </a:lnTo>
                  <a:lnTo>
                    <a:pt x="60" y="28"/>
                  </a:lnTo>
                  <a:lnTo>
                    <a:pt x="64" y="28"/>
                  </a:lnTo>
                  <a:lnTo>
                    <a:pt x="66" y="30"/>
                  </a:lnTo>
                  <a:lnTo>
                    <a:pt x="68" y="28"/>
                  </a:lnTo>
                  <a:lnTo>
                    <a:pt x="70" y="28"/>
                  </a:lnTo>
                  <a:lnTo>
                    <a:pt x="68" y="26"/>
                  </a:lnTo>
                  <a:lnTo>
                    <a:pt x="70" y="24"/>
                  </a:lnTo>
                  <a:lnTo>
                    <a:pt x="70" y="20"/>
                  </a:lnTo>
                  <a:lnTo>
                    <a:pt x="72" y="20"/>
                  </a:lnTo>
                  <a:lnTo>
                    <a:pt x="70" y="16"/>
                  </a:lnTo>
                  <a:lnTo>
                    <a:pt x="72" y="14"/>
                  </a:lnTo>
                  <a:lnTo>
                    <a:pt x="68" y="12"/>
                  </a:lnTo>
                  <a:lnTo>
                    <a:pt x="70" y="12"/>
                  </a:lnTo>
                  <a:lnTo>
                    <a:pt x="70" y="12"/>
                  </a:lnTo>
                  <a:lnTo>
                    <a:pt x="72" y="10"/>
                  </a:lnTo>
                  <a:lnTo>
                    <a:pt x="74" y="12"/>
                  </a:lnTo>
                  <a:lnTo>
                    <a:pt x="74" y="10"/>
                  </a:lnTo>
                  <a:lnTo>
                    <a:pt x="74" y="10"/>
                  </a:lnTo>
                  <a:lnTo>
                    <a:pt x="72" y="8"/>
                  </a:lnTo>
                  <a:lnTo>
                    <a:pt x="72" y="6"/>
                  </a:lnTo>
                  <a:lnTo>
                    <a:pt x="72" y="6"/>
                  </a:lnTo>
                  <a:lnTo>
                    <a:pt x="70" y="6"/>
                  </a:lnTo>
                  <a:lnTo>
                    <a:pt x="62" y="0"/>
                  </a:lnTo>
                  <a:lnTo>
                    <a:pt x="58" y="6"/>
                  </a:lnTo>
                  <a:lnTo>
                    <a:pt x="46" y="8"/>
                  </a:lnTo>
                  <a:lnTo>
                    <a:pt x="34" y="16"/>
                  </a:lnTo>
                  <a:lnTo>
                    <a:pt x="32" y="16"/>
                  </a:lnTo>
                  <a:lnTo>
                    <a:pt x="30" y="16"/>
                  </a:lnTo>
                  <a:lnTo>
                    <a:pt x="30" y="16"/>
                  </a:lnTo>
                  <a:lnTo>
                    <a:pt x="20" y="20"/>
                  </a:lnTo>
                  <a:lnTo>
                    <a:pt x="20" y="22"/>
                  </a:lnTo>
                  <a:lnTo>
                    <a:pt x="2" y="30"/>
                  </a:lnTo>
                  <a:lnTo>
                    <a:pt x="0" y="32"/>
                  </a:lnTo>
                  <a:lnTo>
                    <a:pt x="0" y="34"/>
                  </a:lnTo>
                  <a:lnTo>
                    <a:pt x="6" y="38"/>
                  </a:lnTo>
                  <a:lnTo>
                    <a:pt x="6" y="40"/>
                  </a:lnTo>
                  <a:lnTo>
                    <a:pt x="8" y="40"/>
                  </a:lnTo>
                  <a:lnTo>
                    <a:pt x="10" y="40"/>
                  </a:lnTo>
                  <a:lnTo>
                    <a:pt x="12" y="42"/>
                  </a:lnTo>
                  <a:lnTo>
                    <a:pt x="16" y="36"/>
                  </a:lnTo>
                  <a:lnTo>
                    <a:pt x="18" y="36"/>
                  </a:lnTo>
                  <a:lnTo>
                    <a:pt x="18" y="38"/>
                  </a:lnTo>
                  <a:lnTo>
                    <a:pt x="18" y="38"/>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09" name="Freeform 477"/>
            <p:cNvSpPr>
              <a:spLocks/>
            </p:cNvSpPr>
            <p:nvPr/>
          </p:nvSpPr>
          <p:spPr bwMode="auto">
            <a:xfrm>
              <a:off x="1704976" y="3506788"/>
              <a:ext cx="127000" cy="66675"/>
            </a:xfrm>
            <a:custGeom>
              <a:avLst/>
              <a:gdLst>
                <a:gd name="T0" fmla="*/ 24 w 74"/>
                <a:gd name="T1" fmla="*/ 38 h 42"/>
                <a:gd name="T2" fmla="*/ 28 w 74"/>
                <a:gd name="T3" fmla="*/ 38 h 42"/>
                <a:gd name="T4" fmla="*/ 38 w 74"/>
                <a:gd name="T5" fmla="*/ 38 h 42"/>
                <a:gd name="T6" fmla="*/ 36 w 74"/>
                <a:gd name="T7" fmla="*/ 34 h 42"/>
                <a:gd name="T8" fmla="*/ 40 w 74"/>
                <a:gd name="T9" fmla="*/ 30 h 42"/>
                <a:gd name="T10" fmla="*/ 44 w 74"/>
                <a:gd name="T11" fmla="*/ 28 h 42"/>
                <a:gd name="T12" fmla="*/ 52 w 74"/>
                <a:gd name="T13" fmla="*/ 34 h 42"/>
                <a:gd name="T14" fmla="*/ 54 w 74"/>
                <a:gd name="T15" fmla="*/ 34 h 42"/>
                <a:gd name="T16" fmla="*/ 52 w 74"/>
                <a:gd name="T17" fmla="*/ 30 h 42"/>
                <a:gd name="T18" fmla="*/ 56 w 74"/>
                <a:gd name="T19" fmla="*/ 30 h 42"/>
                <a:gd name="T20" fmla="*/ 60 w 74"/>
                <a:gd name="T21" fmla="*/ 28 h 42"/>
                <a:gd name="T22" fmla="*/ 66 w 74"/>
                <a:gd name="T23" fmla="*/ 30 h 42"/>
                <a:gd name="T24" fmla="*/ 70 w 74"/>
                <a:gd name="T25" fmla="*/ 28 h 42"/>
                <a:gd name="T26" fmla="*/ 70 w 74"/>
                <a:gd name="T27" fmla="*/ 24 h 42"/>
                <a:gd name="T28" fmla="*/ 72 w 74"/>
                <a:gd name="T29" fmla="*/ 20 h 42"/>
                <a:gd name="T30" fmla="*/ 72 w 74"/>
                <a:gd name="T31" fmla="*/ 14 h 42"/>
                <a:gd name="T32" fmla="*/ 70 w 74"/>
                <a:gd name="T33" fmla="*/ 12 h 42"/>
                <a:gd name="T34" fmla="*/ 72 w 74"/>
                <a:gd name="T35" fmla="*/ 10 h 42"/>
                <a:gd name="T36" fmla="*/ 74 w 74"/>
                <a:gd name="T37" fmla="*/ 10 h 42"/>
                <a:gd name="T38" fmla="*/ 72 w 74"/>
                <a:gd name="T39" fmla="*/ 8 h 42"/>
                <a:gd name="T40" fmla="*/ 72 w 74"/>
                <a:gd name="T41" fmla="*/ 6 h 42"/>
                <a:gd name="T42" fmla="*/ 62 w 74"/>
                <a:gd name="T43" fmla="*/ 0 h 42"/>
                <a:gd name="T44" fmla="*/ 46 w 74"/>
                <a:gd name="T45" fmla="*/ 8 h 42"/>
                <a:gd name="T46" fmla="*/ 32 w 74"/>
                <a:gd name="T47" fmla="*/ 16 h 42"/>
                <a:gd name="T48" fmla="*/ 30 w 74"/>
                <a:gd name="T49" fmla="*/ 16 h 42"/>
                <a:gd name="T50" fmla="*/ 20 w 74"/>
                <a:gd name="T51" fmla="*/ 22 h 42"/>
                <a:gd name="T52" fmla="*/ 0 w 74"/>
                <a:gd name="T53" fmla="*/ 32 h 42"/>
                <a:gd name="T54" fmla="*/ 6 w 74"/>
                <a:gd name="T55" fmla="*/ 38 h 42"/>
                <a:gd name="T56" fmla="*/ 8 w 74"/>
                <a:gd name="T57" fmla="*/ 40 h 42"/>
                <a:gd name="T58" fmla="*/ 12 w 74"/>
                <a:gd name="T59" fmla="*/ 42 h 42"/>
                <a:gd name="T60" fmla="*/ 18 w 74"/>
                <a:gd name="T61" fmla="*/ 36 h 42"/>
                <a:gd name="T62" fmla="*/ 18 w 74"/>
                <a:gd name="T6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 h="42">
                  <a:moveTo>
                    <a:pt x="18" y="38"/>
                  </a:moveTo>
                  <a:lnTo>
                    <a:pt x="24" y="38"/>
                  </a:lnTo>
                  <a:lnTo>
                    <a:pt x="26" y="40"/>
                  </a:lnTo>
                  <a:lnTo>
                    <a:pt x="28" y="38"/>
                  </a:lnTo>
                  <a:lnTo>
                    <a:pt x="36" y="38"/>
                  </a:lnTo>
                  <a:lnTo>
                    <a:pt x="38" y="38"/>
                  </a:lnTo>
                  <a:lnTo>
                    <a:pt x="38" y="36"/>
                  </a:lnTo>
                  <a:lnTo>
                    <a:pt x="36" y="34"/>
                  </a:lnTo>
                  <a:lnTo>
                    <a:pt x="38" y="32"/>
                  </a:lnTo>
                  <a:lnTo>
                    <a:pt x="40" y="30"/>
                  </a:lnTo>
                  <a:lnTo>
                    <a:pt x="42" y="30"/>
                  </a:lnTo>
                  <a:lnTo>
                    <a:pt x="44" y="28"/>
                  </a:lnTo>
                  <a:lnTo>
                    <a:pt x="52" y="32"/>
                  </a:lnTo>
                  <a:lnTo>
                    <a:pt x="52" y="34"/>
                  </a:lnTo>
                  <a:lnTo>
                    <a:pt x="54" y="34"/>
                  </a:lnTo>
                  <a:lnTo>
                    <a:pt x="54" y="34"/>
                  </a:lnTo>
                  <a:lnTo>
                    <a:pt x="54" y="32"/>
                  </a:lnTo>
                  <a:lnTo>
                    <a:pt x="52" y="30"/>
                  </a:lnTo>
                  <a:lnTo>
                    <a:pt x="54" y="30"/>
                  </a:lnTo>
                  <a:lnTo>
                    <a:pt x="56" y="30"/>
                  </a:lnTo>
                  <a:lnTo>
                    <a:pt x="58" y="28"/>
                  </a:lnTo>
                  <a:lnTo>
                    <a:pt x="60" y="28"/>
                  </a:lnTo>
                  <a:lnTo>
                    <a:pt x="64" y="28"/>
                  </a:lnTo>
                  <a:lnTo>
                    <a:pt x="66" y="30"/>
                  </a:lnTo>
                  <a:lnTo>
                    <a:pt x="68" y="28"/>
                  </a:lnTo>
                  <a:lnTo>
                    <a:pt x="70" y="28"/>
                  </a:lnTo>
                  <a:lnTo>
                    <a:pt x="68" y="26"/>
                  </a:lnTo>
                  <a:lnTo>
                    <a:pt x="70" y="24"/>
                  </a:lnTo>
                  <a:lnTo>
                    <a:pt x="70" y="20"/>
                  </a:lnTo>
                  <a:lnTo>
                    <a:pt x="72" y="20"/>
                  </a:lnTo>
                  <a:lnTo>
                    <a:pt x="70" y="16"/>
                  </a:lnTo>
                  <a:lnTo>
                    <a:pt x="72" y="14"/>
                  </a:lnTo>
                  <a:lnTo>
                    <a:pt x="68" y="12"/>
                  </a:lnTo>
                  <a:lnTo>
                    <a:pt x="70" y="12"/>
                  </a:lnTo>
                  <a:lnTo>
                    <a:pt x="70" y="12"/>
                  </a:lnTo>
                  <a:lnTo>
                    <a:pt x="72" y="10"/>
                  </a:lnTo>
                  <a:lnTo>
                    <a:pt x="74" y="12"/>
                  </a:lnTo>
                  <a:lnTo>
                    <a:pt x="74" y="10"/>
                  </a:lnTo>
                  <a:lnTo>
                    <a:pt x="74" y="10"/>
                  </a:lnTo>
                  <a:lnTo>
                    <a:pt x="72" y="8"/>
                  </a:lnTo>
                  <a:lnTo>
                    <a:pt x="72" y="6"/>
                  </a:lnTo>
                  <a:lnTo>
                    <a:pt x="72" y="6"/>
                  </a:lnTo>
                  <a:lnTo>
                    <a:pt x="70" y="6"/>
                  </a:lnTo>
                  <a:lnTo>
                    <a:pt x="62" y="0"/>
                  </a:lnTo>
                  <a:lnTo>
                    <a:pt x="58" y="6"/>
                  </a:lnTo>
                  <a:lnTo>
                    <a:pt x="46" y="8"/>
                  </a:lnTo>
                  <a:lnTo>
                    <a:pt x="34" y="16"/>
                  </a:lnTo>
                  <a:lnTo>
                    <a:pt x="32" y="16"/>
                  </a:lnTo>
                  <a:lnTo>
                    <a:pt x="30" y="16"/>
                  </a:lnTo>
                  <a:lnTo>
                    <a:pt x="30" y="16"/>
                  </a:lnTo>
                  <a:lnTo>
                    <a:pt x="20" y="20"/>
                  </a:lnTo>
                  <a:lnTo>
                    <a:pt x="20" y="22"/>
                  </a:lnTo>
                  <a:lnTo>
                    <a:pt x="2" y="30"/>
                  </a:lnTo>
                  <a:lnTo>
                    <a:pt x="0" y="32"/>
                  </a:lnTo>
                  <a:lnTo>
                    <a:pt x="0" y="34"/>
                  </a:lnTo>
                  <a:lnTo>
                    <a:pt x="6" y="38"/>
                  </a:lnTo>
                  <a:lnTo>
                    <a:pt x="6" y="40"/>
                  </a:lnTo>
                  <a:lnTo>
                    <a:pt x="8" y="40"/>
                  </a:lnTo>
                  <a:lnTo>
                    <a:pt x="10" y="40"/>
                  </a:lnTo>
                  <a:lnTo>
                    <a:pt x="12" y="42"/>
                  </a:lnTo>
                  <a:lnTo>
                    <a:pt x="16" y="36"/>
                  </a:lnTo>
                  <a:lnTo>
                    <a:pt x="18" y="36"/>
                  </a:lnTo>
                  <a:lnTo>
                    <a:pt x="18" y="38"/>
                  </a:lnTo>
                  <a:lnTo>
                    <a:pt x="18" y="3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0" name="Freeform 478"/>
            <p:cNvSpPr>
              <a:spLocks/>
            </p:cNvSpPr>
            <p:nvPr/>
          </p:nvSpPr>
          <p:spPr bwMode="auto">
            <a:xfrm>
              <a:off x="2584451" y="4386263"/>
              <a:ext cx="31750" cy="31750"/>
            </a:xfrm>
            <a:custGeom>
              <a:avLst/>
              <a:gdLst>
                <a:gd name="T0" fmla="*/ 4 w 18"/>
                <a:gd name="T1" fmla="*/ 4 h 20"/>
                <a:gd name="T2" fmla="*/ 4 w 18"/>
                <a:gd name="T3" fmla="*/ 6 h 20"/>
                <a:gd name="T4" fmla="*/ 4 w 18"/>
                <a:gd name="T5" fmla="*/ 10 h 20"/>
                <a:gd name="T6" fmla="*/ 2 w 18"/>
                <a:gd name="T7" fmla="*/ 12 h 20"/>
                <a:gd name="T8" fmla="*/ 4 w 18"/>
                <a:gd name="T9" fmla="*/ 14 h 20"/>
                <a:gd name="T10" fmla="*/ 0 w 18"/>
                <a:gd name="T11" fmla="*/ 16 h 20"/>
                <a:gd name="T12" fmla="*/ 2 w 18"/>
                <a:gd name="T13" fmla="*/ 18 h 20"/>
                <a:gd name="T14" fmla="*/ 6 w 18"/>
                <a:gd name="T15" fmla="*/ 20 h 20"/>
                <a:gd name="T16" fmla="*/ 8 w 18"/>
                <a:gd name="T17" fmla="*/ 18 h 20"/>
                <a:gd name="T18" fmla="*/ 12 w 18"/>
                <a:gd name="T19" fmla="*/ 14 h 20"/>
                <a:gd name="T20" fmla="*/ 14 w 18"/>
                <a:gd name="T21" fmla="*/ 10 h 20"/>
                <a:gd name="T22" fmla="*/ 14 w 18"/>
                <a:gd name="T23" fmla="*/ 8 h 20"/>
                <a:gd name="T24" fmla="*/ 14 w 18"/>
                <a:gd name="T25" fmla="*/ 6 h 20"/>
                <a:gd name="T26" fmla="*/ 16 w 18"/>
                <a:gd name="T27" fmla="*/ 4 h 20"/>
                <a:gd name="T28" fmla="*/ 18 w 18"/>
                <a:gd name="T29" fmla="*/ 2 h 20"/>
                <a:gd name="T30" fmla="*/ 16 w 18"/>
                <a:gd name="T31" fmla="*/ 0 h 20"/>
                <a:gd name="T32" fmla="*/ 12 w 18"/>
                <a:gd name="T33" fmla="*/ 0 h 20"/>
                <a:gd name="T34" fmla="*/ 10 w 18"/>
                <a:gd name="T35" fmla="*/ 0 h 20"/>
                <a:gd name="T36" fmla="*/ 4 w 18"/>
                <a:gd name="T3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0">
                  <a:moveTo>
                    <a:pt x="4" y="4"/>
                  </a:moveTo>
                  <a:lnTo>
                    <a:pt x="4" y="6"/>
                  </a:lnTo>
                  <a:lnTo>
                    <a:pt x="4" y="10"/>
                  </a:lnTo>
                  <a:lnTo>
                    <a:pt x="2" y="12"/>
                  </a:lnTo>
                  <a:lnTo>
                    <a:pt x="4" y="14"/>
                  </a:lnTo>
                  <a:lnTo>
                    <a:pt x="0" y="16"/>
                  </a:lnTo>
                  <a:lnTo>
                    <a:pt x="2" y="18"/>
                  </a:lnTo>
                  <a:lnTo>
                    <a:pt x="6" y="20"/>
                  </a:lnTo>
                  <a:lnTo>
                    <a:pt x="8" y="18"/>
                  </a:lnTo>
                  <a:lnTo>
                    <a:pt x="12" y="14"/>
                  </a:lnTo>
                  <a:lnTo>
                    <a:pt x="14" y="10"/>
                  </a:lnTo>
                  <a:lnTo>
                    <a:pt x="14" y="8"/>
                  </a:lnTo>
                  <a:lnTo>
                    <a:pt x="14" y="6"/>
                  </a:lnTo>
                  <a:lnTo>
                    <a:pt x="16" y="4"/>
                  </a:lnTo>
                  <a:lnTo>
                    <a:pt x="18" y="2"/>
                  </a:lnTo>
                  <a:lnTo>
                    <a:pt x="16" y="0"/>
                  </a:lnTo>
                  <a:lnTo>
                    <a:pt x="12" y="0"/>
                  </a:lnTo>
                  <a:lnTo>
                    <a:pt x="10" y="0"/>
                  </a:lnTo>
                  <a:lnTo>
                    <a:pt x="4" y="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11" name="Freeform 479"/>
            <p:cNvSpPr>
              <a:spLocks/>
            </p:cNvSpPr>
            <p:nvPr/>
          </p:nvSpPr>
          <p:spPr bwMode="auto">
            <a:xfrm>
              <a:off x="2584451" y="4386263"/>
              <a:ext cx="31750" cy="31750"/>
            </a:xfrm>
            <a:custGeom>
              <a:avLst/>
              <a:gdLst>
                <a:gd name="T0" fmla="*/ 4 w 18"/>
                <a:gd name="T1" fmla="*/ 4 h 20"/>
                <a:gd name="T2" fmla="*/ 4 w 18"/>
                <a:gd name="T3" fmla="*/ 6 h 20"/>
                <a:gd name="T4" fmla="*/ 4 w 18"/>
                <a:gd name="T5" fmla="*/ 10 h 20"/>
                <a:gd name="T6" fmla="*/ 2 w 18"/>
                <a:gd name="T7" fmla="*/ 12 h 20"/>
                <a:gd name="T8" fmla="*/ 4 w 18"/>
                <a:gd name="T9" fmla="*/ 14 h 20"/>
                <a:gd name="T10" fmla="*/ 0 w 18"/>
                <a:gd name="T11" fmla="*/ 16 h 20"/>
                <a:gd name="T12" fmla="*/ 2 w 18"/>
                <a:gd name="T13" fmla="*/ 18 h 20"/>
                <a:gd name="T14" fmla="*/ 6 w 18"/>
                <a:gd name="T15" fmla="*/ 20 h 20"/>
                <a:gd name="T16" fmla="*/ 8 w 18"/>
                <a:gd name="T17" fmla="*/ 18 h 20"/>
                <a:gd name="T18" fmla="*/ 12 w 18"/>
                <a:gd name="T19" fmla="*/ 14 h 20"/>
                <a:gd name="T20" fmla="*/ 14 w 18"/>
                <a:gd name="T21" fmla="*/ 10 h 20"/>
                <a:gd name="T22" fmla="*/ 14 w 18"/>
                <a:gd name="T23" fmla="*/ 8 h 20"/>
                <a:gd name="T24" fmla="*/ 14 w 18"/>
                <a:gd name="T25" fmla="*/ 6 h 20"/>
                <a:gd name="T26" fmla="*/ 16 w 18"/>
                <a:gd name="T27" fmla="*/ 4 h 20"/>
                <a:gd name="T28" fmla="*/ 18 w 18"/>
                <a:gd name="T29" fmla="*/ 2 h 20"/>
                <a:gd name="T30" fmla="*/ 16 w 18"/>
                <a:gd name="T31" fmla="*/ 0 h 20"/>
                <a:gd name="T32" fmla="*/ 12 w 18"/>
                <a:gd name="T33" fmla="*/ 0 h 20"/>
                <a:gd name="T34" fmla="*/ 10 w 18"/>
                <a:gd name="T35" fmla="*/ 0 h 20"/>
                <a:gd name="T36" fmla="*/ 4 w 18"/>
                <a:gd name="T3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0">
                  <a:moveTo>
                    <a:pt x="4" y="4"/>
                  </a:moveTo>
                  <a:lnTo>
                    <a:pt x="4" y="6"/>
                  </a:lnTo>
                  <a:lnTo>
                    <a:pt x="4" y="10"/>
                  </a:lnTo>
                  <a:lnTo>
                    <a:pt x="2" y="12"/>
                  </a:lnTo>
                  <a:lnTo>
                    <a:pt x="4" y="14"/>
                  </a:lnTo>
                  <a:lnTo>
                    <a:pt x="0" y="16"/>
                  </a:lnTo>
                  <a:lnTo>
                    <a:pt x="2" y="18"/>
                  </a:lnTo>
                  <a:lnTo>
                    <a:pt x="6" y="20"/>
                  </a:lnTo>
                  <a:lnTo>
                    <a:pt x="8" y="18"/>
                  </a:lnTo>
                  <a:lnTo>
                    <a:pt x="12" y="14"/>
                  </a:lnTo>
                  <a:lnTo>
                    <a:pt x="14" y="10"/>
                  </a:lnTo>
                  <a:lnTo>
                    <a:pt x="14" y="8"/>
                  </a:lnTo>
                  <a:lnTo>
                    <a:pt x="14" y="6"/>
                  </a:lnTo>
                  <a:lnTo>
                    <a:pt x="16" y="4"/>
                  </a:lnTo>
                  <a:lnTo>
                    <a:pt x="18" y="2"/>
                  </a:lnTo>
                  <a:lnTo>
                    <a:pt x="16" y="0"/>
                  </a:lnTo>
                  <a:lnTo>
                    <a:pt x="12" y="0"/>
                  </a:lnTo>
                  <a:lnTo>
                    <a:pt x="10" y="0"/>
                  </a:lnTo>
                  <a:lnTo>
                    <a:pt x="4"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2" name="Freeform 488"/>
            <p:cNvSpPr>
              <a:spLocks/>
            </p:cNvSpPr>
            <p:nvPr/>
          </p:nvSpPr>
          <p:spPr bwMode="auto">
            <a:xfrm>
              <a:off x="2292351" y="3179763"/>
              <a:ext cx="220663" cy="254000"/>
            </a:xfrm>
            <a:custGeom>
              <a:avLst/>
              <a:gdLst>
                <a:gd name="T0" fmla="*/ 0 w 128"/>
                <a:gd name="T1" fmla="*/ 84 h 160"/>
                <a:gd name="T2" fmla="*/ 12 w 128"/>
                <a:gd name="T3" fmla="*/ 88 h 160"/>
                <a:gd name="T4" fmla="*/ 20 w 128"/>
                <a:gd name="T5" fmla="*/ 98 h 160"/>
                <a:gd name="T6" fmla="*/ 28 w 128"/>
                <a:gd name="T7" fmla="*/ 96 h 160"/>
                <a:gd name="T8" fmla="*/ 32 w 128"/>
                <a:gd name="T9" fmla="*/ 104 h 160"/>
                <a:gd name="T10" fmla="*/ 36 w 128"/>
                <a:gd name="T11" fmla="*/ 114 h 160"/>
                <a:gd name="T12" fmla="*/ 48 w 128"/>
                <a:gd name="T13" fmla="*/ 126 h 160"/>
                <a:gd name="T14" fmla="*/ 60 w 128"/>
                <a:gd name="T15" fmla="*/ 128 h 160"/>
                <a:gd name="T16" fmla="*/ 70 w 128"/>
                <a:gd name="T17" fmla="*/ 134 h 160"/>
                <a:gd name="T18" fmla="*/ 98 w 128"/>
                <a:gd name="T19" fmla="*/ 140 h 160"/>
                <a:gd name="T20" fmla="*/ 104 w 128"/>
                <a:gd name="T21" fmla="*/ 150 h 160"/>
                <a:gd name="T22" fmla="*/ 118 w 128"/>
                <a:gd name="T23" fmla="*/ 160 h 160"/>
                <a:gd name="T24" fmla="*/ 122 w 128"/>
                <a:gd name="T25" fmla="*/ 154 h 160"/>
                <a:gd name="T26" fmla="*/ 118 w 128"/>
                <a:gd name="T27" fmla="*/ 142 h 160"/>
                <a:gd name="T28" fmla="*/ 120 w 128"/>
                <a:gd name="T29" fmla="*/ 136 h 160"/>
                <a:gd name="T30" fmla="*/ 124 w 128"/>
                <a:gd name="T31" fmla="*/ 128 h 160"/>
                <a:gd name="T32" fmla="*/ 116 w 128"/>
                <a:gd name="T33" fmla="*/ 116 h 160"/>
                <a:gd name="T34" fmla="*/ 120 w 128"/>
                <a:gd name="T35" fmla="*/ 106 h 160"/>
                <a:gd name="T36" fmla="*/ 114 w 128"/>
                <a:gd name="T37" fmla="*/ 100 h 160"/>
                <a:gd name="T38" fmla="*/ 112 w 128"/>
                <a:gd name="T39" fmla="*/ 94 h 160"/>
                <a:gd name="T40" fmla="*/ 102 w 128"/>
                <a:gd name="T41" fmla="*/ 88 h 160"/>
                <a:gd name="T42" fmla="*/ 88 w 128"/>
                <a:gd name="T43" fmla="*/ 82 h 160"/>
                <a:gd name="T44" fmla="*/ 80 w 128"/>
                <a:gd name="T45" fmla="*/ 82 h 160"/>
                <a:gd name="T46" fmla="*/ 78 w 128"/>
                <a:gd name="T47" fmla="*/ 74 h 160"/>
                <a:gd name="T48" fmla="*/ 66 w 128"/>
                <a:gd name="T49" fmla="*/ 54 h 160"/>
                <a:gd name="T50" fmla="*/ 58 w 128"/>
                <a:gd name="T51" fmla="*/ 46 h 160"/>
                <a:gd name="T52" fmla="*/ 36 w 128"/>
                <a:gd name="T53" fmla="*/ 32 h 160"/>
                <a:gd name="T54" fmla="*/ 22 w 128"/>
                <a:gd name="T55" fmla="*/ 14 h 160"/>
                <a:gd name="T56" fmla="*/ 14 w 128"/>
                <a:gd name="T57" fmla="*/ 6 h 160"/>
                <a:gd name="T58" fmla="*/ 0 w 128"/>
                <a:gd name="T59" fmla="*/ 0 h 160"/>
                <a:gd name="T60" fmla="*/ 14 w 128"/>
                <a:gd name="T61" fmla="*/ 28 h 160"/>
                <a:gd name="T62" fmla="*/ 20 w 128"/>
                <a:gd name="T63" fmla="*/ 46 h 160"/>
                <a:gd name="T64" fmla="*/ 14 w 128"/>
                <a:gd name="T65" fmla="*/ 68 h 160"/>
                <a:gd name="T66" fmla="*/ 2 w 128"/>
                <a:gd name="T67" fmla="*/ 80 h 160"/>
                <a:gd name="T68" fmla="*/ 0 w 128"/>
                <a:gd name="T69"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60">
                  <a:moveTo>
                    <a:pt x="0" y="80"/>
                  </a:moveTo>
                  <a:lnTo>
                    <a:pt x="0" y="84"/>
                  </a:lnTo>
                  <a:lnTo>
                    <a:pt x="4" y="88"/>
                  </a:lnTo>
                  <a:lnTo>
                    <a:pt x="12" y="88"/>
                  </a:lnTo>
                  <a:lnTo>
                    <a:pt x="18" y="96"/>
                  </a:lnTo>
                  <a:lnTo>
                    <a:pt x="20" y="98"/>
                  </a:lnTo>
                  <a:lnTo>
                    <a:pt x="26" y="96"/>
                  </a:lnTo>
                  <a:lnTo>
                    <a:pt x="28" y="96"/>
                  </a:lnTo>
                  <a:lnTo>
                    <a:pt x="32" y="98"/>
                  </a:lnTo>
                  <a:lnTo>
                    <a:pt x="32" y="104"/>
                  </a:lnTo>
                  <a:lnTo>
                    <a:pt x="34" y="112"/>
                  </a:lnTo>
                  <a:lnTo>
                    <a:pt x="36" y="114"/>
                  </a:lnTo>
                  <a:lnTo>
                    <a:pt x="38" y="120"/>
                  </a:lnTo>
                  <a:lnTo>
                    <a:pt x="48" y="126"/>
                  </a:lnTo>
                  <a:lnTo>
                    <a:pt x="52" y="124"/>
                  </a:lnTo>
                  <a:lnTo>
                    <a:pt x="60" y="128"/>
                  </a:lnTo>
                  <a:lnTo>
                    <a:pt x="64" y="128"/>
                  </a:lnTo>
                  <a:lnTo>
                    <a:pt x="70" y="134"/>
                  </a:lnTo>
                  <a:lnTo>
                    <a:pt x="92" y="134"/>
                  </a:lnTo>
                  <a:lnTo>
                    <a:pt x="98" y="140"/>
                  </a:lnTo>
                  <a:lnTo>
                    <a:pt x="100" y="144"/>
                  </a:lnTo>
                  <a:lnTo>
                    <a:pt x="104" y="150"/>
                  </a:lnTo>
                  <a:lnTo>
                    <a:pt x="108" y="152"/>
                  </a:lnTo>
                  <a:lnTo>
                    <a:pt x="118" y="160"/>
                  </a:lnTo>
                  <a:lnTo>
                    <a:pt x="122" y="158"/>
                  </a:lnTo>
                  <a:lnTo>
                    <a:pt x="122" y="154"/>
                  </a:lnTo>
                  <a:lnTo>
                    <a:pt x="118" y="146"/>
                  </a:lnTo>
                  <a:lnTo>
                    <a:pt x="118" y="142"/>
                  </a:lnTo>
                  <a:lnTo>
                    <a:pt x="118" y="140"/>
                  </a:lnTo>
                  <a:lnTo>
                    <a:pt x="120" y="136"/>
                  </a:lnTo>
                  <a:lnTo>
                    <a:pt x="128" y="134"/>
                  </a:lnTo>
                  <a:lnTo>
                    <a:pt x="124" y="128"/>
                  </a:lnTo>
                  <a:lnTo>
                    <a:pt x="118" y="122"/>
                  </a:lnTo>
                  <a:lnTo>
                    <a:pt x="116" y="116"/>
                  </a:lnTo>
                  <a:lnTo>
                    <a:pt x="120" y="110"/>
                  </a:lnTo>
                  <a:lnTo>
                    <a:pt x="120" y="106"/>
                  </a:lnTo>
                  <a:lnTo>
                    <a:pt x="118" y="102"/>
                  </a:lnTo>
                  <a:lnTo>
                    <a:pt x="114" y="100"/>
                  </a:lnTo>
                  <a:lnTo>
                    <a:pt x="112" y="98"/>
                  </a:lnTo>
                  <a:lnTo>
                    <a:pt x="112" y="94"/>
                  </a:lnTo>
                  <a:lnTo>
                    <a:pt x="106" y="90"/>
                  </a:lnTo>
                  <a:lnTo>
                    <a:pt x="102" y="88"/>
                  </a:lnTo>
                  <a:lnTo>
                    <a:pt x="100" y="84"/>
                  </a:lnTo>
                  <a:lnTo>
                    <a:pt x="88" y="82"/>
                  </a:lnTo>
                  <a:lnTo>
                    <a:pt x="84" y="82"/>
                  </a:lnTo>
                  <a:lnTo>
                    <a:pt x="80" y="82"/>
                  </a:lnTo>
                  <a:lnTo>
                    <a:pt x="78" y="78"/>
                  </a:lnTo>
                  <a:lnTo>
                    <a:pt x="78" y="74"/>
                  </a:lnTo>
                  <a:lnTo>
                    <a:pt x="66" y="56"/>
                  </a:lnTo>
                  <a:lnTo>
                    <a:pt x="66" y="54"/>
                  </a:lnTo>
                  <a:lnTo>
                    <a:pt x="64" y="50"/>
                  </a:lnTo>
                  <a:lnTo>
                    <a:pt x="58" y="46"/>
                  </a:lnTo>
                  <a:lnTo>
                    <a:pt x="52" y="40"/>
                  </a:lnTo>
                  <a:lnTo>
                    <a:pt x="36" y="32"/>
                  </a:lnTo>
                  <a:lnTo>
                    <a:pt x="24" y="18"/>
                  </a:lnTo>
                  <a:lnTo>
                    <a:pt x="22" y="14"/>
                  </a:lnTo>
                  <a:lnTo>
                    <a:pt x="18" y="8"/>
                  </a:lnTo>
                  <a:lnTo>
                    <a:pt x="14" y="6"/>
                  </a:lnTo>
                  <a:lnTo>
                    <a:pt x="10" y="4"/>
                  </a:lnTo>
                  <a:lnTo>
                    <a:pt x="0" y="0"/>
                  </a:lnTo>
                  <a:lnTo>
                    <a:pt x="2" y="14"/>
                  </a:lnTo>
                  <a:lnTo>
                    <a:pt x="14" y="28"/>
                  </a:lnTo>
                  <a:lnTo>
                    <a:pt x="18" y="40"/>
                  </a:lnTo>
                  <a:lnTo>
                    <a:pt x="20" y="46"/>
                  </a:lnTo>
                  <a:lnTo>
                    <a:pt x="12" y="64"/>
                  </a:lnTo>
                  <a:lnTo>
                    <a:pt x="14" y="68"/>
                  </a:lnTo>
                  <a:lnTo>
                    <a:pt x="6" y="80"/>
                  </a:lnTo>
                  <a:lnTo>
                    <a:pt x="2" y="80"/>
                  </a:lnTo>
                  <a:lnTo>
                    <a:pt x="0" y="80"/>
                  </a:lnTo>
                  <a:lnTo>
                    <a:pt x="0" y="8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13" name="Freeform 489"/>
            <p:cNvSpPr>
              <a:spLocks/>
            </p:cNvSpPr>
            <p:nvPr/>
          </p:nvSpPr>
          <p:spPr bwMode="auto">
            <a:xfrm>
              <a:off x="2292351" y="3179763"/>
              <a:ext cx="220663" cy="254000"/>
            </a:xfrm>
            <a:custGeom>
              <a:avLst/>
              <a:gdLst>
                <a:gd name="T0" fmla="*/ 0 w 128"/>
                <a:gd name="T1" fmla="*/ 84 h 160"/>
                <a:gd name="T2" fmla="*/ 12 w 128"/>
                <a:gd name="T3" fmla="*/ 88 h 160"/>
                <a:gd name="T4" fmla="*/ 20 w 128"/>
                <a:gd name="T5" fmla="*/ 98 h 160"/>
                <a:gd name="T6" fmla="*/ 28 w 128"/>
                <a:gd name="T7" fmla="*/ 96 h 160"/>
                <a:gd name="T8" fmla="*/ 32 w 128"/>
                <a:gd name="T9" fmla="*/ 104 h 160"/>
                <a:gd name="T10" fmla="*/ 36 w 128"/>
                <a:gd name="T11" fmla="*/ 114 h 160"/>
                <a:gd name="T12" fmla="*/ 48 w 128"/>
                <a:gd name="T13" fmla="*/ 126 h 160"/>
                <a:gd name="T14" fmla="*/ 60 w 128"/>
                <a:gd name="T15" fmla="*/ 128 h 160"/>
                <a:gd name="T16" fmla="*/ 70 w 128"/>
                <a:gd name="T17" fmla="*/ 134 h 160"/>
                <a:gd name="T18" fmla="*/ 98 w 128"/>
                <a:gd name="T19" fmla="*/ 140 h 160"/>
                <a:gd name="T20" fmla="*/ 104 w 128"/>
                <a:gd name="T21" fmla="*/ 150 h 160"/>
                <a:gd name="T22" fmla="*/ 118 w 128"/>
                <a:gd name="T23" fmla="*/ 160 h 160"/>
                <a:gd name="T24" fmla="*/ 122 w 128"/>
                <a:gd name="T25" fmla="*/ 154 h 160"/>
                <a:gd name="T26" fmla="*/ 118 w 128"/>
                <a:gd name="T27" fmla="*/ 142 h 160"/>
                <a:gd name="T28" fmla="*/ 120 w 128"/>
                <a:gd name="T29" fmla="*/ 136 h 160"/>
                <a:gd name="T30" fmla="*/ 124 w 128"/>
                <a:gd name="T31" fmla="*/ 128 h 160"/>
                <a:gd name="T32" fmla="*/ 116 w 128"/>
                <a:gd name="T33" fmla="*/ 116 h 160"/>
                <a:gd name="T34" fmla="*/ 120 w 128"/>
                <a:gd name="T35" fmla="*/ 106 h 160"/>
                <a:gd name="T36" fmla="*/ 114 w 128"/>
                <a:gd name="T37" fmla="*/ 100 h 160"/>
                <a:gd name="T38" fmla="*/ 112 w 128"/>
                <a:gd name="T39" fmla="*/ 94 h 160"/>
                <a:gd name="T40" fmla="*/ 102 w 128"/>
                <a:gd name="T41" fmla="*/ 88 h 160"/>
                <a:gd name="T42" fmla="*/ 88 w 128"/>
                <a:gd name="T43" fmla="*/ 82 h 160"/>
                <a:gd name="T44" fmla="*/ 80 w 128"/>
                <a:gd name="T45" fmla="*/ 82 h 160"/>
                <a:gd name="T46" fmla="*/ 78 w 128"/>
                <a:gd name="T47" fmla="*/ 74 h 160"/>
                <a:gd name="T48" fmla="*/ 66 w 128"/>
                <a:gd name="T49" fmla="*/ 54 h 160"/>
                <a:gd name="T50" fmla="*/ 58 w 128"/>
                <a:gd name="T51" fmla="*/ 46 h 160"/>
                <a:gd name="T52" fmla="*/ 36 w 128"/>
                <a:gd name="T53" fmla="*/ 32 h 160"/>
                <a:gd name="T54" fmla="*/ 22 w 128"/>
                <a:gd name="T55" fmla="*/ 14 h 160"/>
                <a:gd name="T56" fmla="*/ 14 w 128"/>
                <a:gd name="T57" fmla="*/ 6 h 160"/>
                <a:gd name="T58" fmla="*/ 0 w 128"/>
                <a:gd name="T59" fmla="*/ 0 h 160"/>
                <a:gd name="T60" fmla="*/ 14 w 128"/>
                <a:gd name="T61" fmla="*/ 28 h 160"/>
                <a:gd name="T62" fmla="*/ 20 w 128"/>
                <a:gd name="T63" fmla="*/ 46 h 160"/>
                <a:gd name="T64" fmla="*/ 14 w 128"/>
                <a:gd name="T65" fmla="*/ 68 h 160"/>
                <a:gd name="T66" fmla="*/ 2 w 128"/>
                <a:gd name="T67" fmla="*/ 80 h 160"/>
                <a:gd name="T68" fmla="*/ 0 w 128"/>
                <a:gd name="T69"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60">
                  <a:moveTo>
                    <a:pt x="0" y="80"/>
                  </a:moveTo>
                  <a:lnTo>
                    <a:pt x="0" y="84"/>
                  </a:lnTo>
                  <a:lnTo>
                    <a:pt x="4" y="88"/>
                  </a:lnTo>
                  <a:lnTo>
                    <a:pt x="12" y="88"/>
                  </a:lnTo>
                  <a:lnTo>
                    <a:pt x="18" y="96"/>
                  </a:lnTo>
                  <a:lnTo>
                    <a:pt x="20" y="98"/>
                  </a:lnTo>
                  <a:lnTo>
                    <a:pt x="26" y="96"/>
                  </a:lnTo>
                  <a:lnTo>
                    <a:pt x="28" y="96"/>
                  </a:lnTo>
                  <a:lnTo>
                    <a:pt x="32" y="98"/>
                  </a:lnTo>
                  <a:lnTo>
                    <a:pt x="32" y="104"/>
                  </a:lnTo>
                  <a:lnTo>
                    <a:pt x="34" y="112"/>
                  </a:lnTo>
                  <a:lnTo>
                    <a:pt x="36" y="114"/>
                  </a:lnTo>
                  <a:lnTo>
                    <a:pt x="38" y="120"/>
                  </a:lnTo>
                  <a:lnTo>
                    <a:pt x="48" y="126"/>
                  </a:lnTo>
                  <a:lnTo>
                    <a:pt x="52" y="124"/>
                  </a:lnTo>
                  <a:lnTo>
                    <a:pt x="60" y="128"/>
                  </a:lnTo>
                  <a:lnTo>
                    <a:pt x="64" y="128"/>
                  </a:lnTo>
                  <a:lnTo>
                    <a:pt x="70" y="134"/>
                  </a:lnTo>
                  <a:lnTo>
                    <a:pt x="92" y="134"/>
                  </a:lnTo>
                  <a:lnTo>
                    <a:pt x="98" y="140"/>
                  </a:lnTo>
                  <a:lnTo>
                    <a:pt x="100" y="144"/>
                  </a:lnTo>
                  <a:lnTo>
                    <a:pt x="104" y="150"/>
                  </a:lnTo>
                  <a:lnTo>
                    <a:pt x="108" y="152"/>
                  </a:lnTo>
                  <a:lnTo>
                    <a:pt x="118" y="160"/>
                  </a:lnTo>
                  <a:lnTo>
                    <a:pt x="122" y="158"/>
                  </a:lnTo>
                  <a:lnTo>
                    <a:pt x="122" y="154"/>
                  </a:lnTo>
                  <a:lnTo>
                    <a:pt x="118" y="146"/>
                  </a:lnTo>
                  <a:lnTo>
                    <a:pt x="118" y="142"/>
                  </a:lnTo>
                  <a:lnTo>
                    <a:pt x="118" y="140"/>
                  </a:lnTo>
                  <a:lnTo>
                    <a:pt x="120" y="136"/>
                  </a:lnTo>
                  <a:lnTo>
                    <a:pt x="128" y="134"/>
                  </a:lnTo>
                  <a:lnTo>
                    <a:pt x="124" y="128"/>
                  </a:lnTo>
                  <a:lnTo>
                    <a:pt x="118" y="122"/>
                  </a:lnTo>
                  <a:lnTo>
                    <a:pt x="116" y="116"/>
                  </a:lnTo>
                  <a:lnTo>
                    <a:pt x="120" y="110"/>
                  </a:lnTo>
                  <a:lnTo>
                    <a:pt x="120" y="106"/>
                  </a:lnTo>
                  <a:lnTo>
                    <a:pt x="118" y="102"/>
                  </a:lnTo>
                  <a:lnTo>
                    <a:pt x="114" y="100"/>
                  </a:lnTo>
                  <a:lnTo>
                    <a:pt x="112" y="98"/>
                  </a:lnTo>
                  <a:lnTo>
                    <a:pt x="112" y="94"/>
                  </a:lnTo>
                  <a:lnTo>
                    <a:pt x="106" y="90"/>
                  </a:lnTo>
                  <a:lnTo>
                    <a:pt x="102" y="88"/>
                  </a:lnTo>
                  <a:lnTo>
                    <a:pt x="100" y="84"/>
                  </a:lnTo>
                  <a:lnTo>
                    <a:pt x="88" y="82"/>
                  </a:lnTo>
                  <a:lnTo>
                    <a:pt x="84" y="82"/>
                  </a:lnTo>
                  <a:lnTo>
                    <a:pt x="80" y="82"/>
                  </a:lnTo>
                  <a:lnTo>
                    <a:pt x="78" y="78"/>
                  </a:lnTo>
                  <a:lnTo>
                    <a:pt x="78" y="74"/>
                  </a:lnTo>
                  <a:lnTo>
                    <a:pt x="66" y="56"/>
                  </a:lnTo>
                  <a:lnTo>
                    <a:pt x="66" y="54"/>
                  </a:lnTo>
                  <a:lnTo>
                    <a:pt x="64" y="50"/>
                  </a:lnTo>
                  <a:lnTo>
                    <a:pt x="58" y="46"/>
                  </a:lnTo>
                  <a:lnTo>
                    <a:pt x="52" y="40"/>
                  </a:lnTo>
                  <a:lnTo>
                    <a:pt x="36" y="32"/>
                  </a:lnTo>
                  <a:lnTo>
                    <a:pt x="24" y="18"/>
                  </a:lnTo>
                  <a:lnTo>
                    <a:pt x="22" y="14"/>
                  </a:lnTo>
                  <a:lnTo>
                    <a:pt x="18" y="8"/>
                  </a:lnTo>
                  <a:lnTo>
                    <a:pt x="14" y="6"/>
                  </a:lnTo>
                  <a:lnTo>
                    <a:pt x="10" y="4"/>
                  </a:lnTo>
                  <a:lnTo>
                    <a:pt x="0" y="0"/>
                  </a:lnTo>
                  <a:lnTo>
                    <a:pt x="2" y="14"/>
                  </a:lnTo>
                  <a:lnTo>
                    <a:pt x="14" y="28"/>
                  </a:lnTo>
                  <a:lnTo>
                    <a:pt x="18" y="40"/>
                  </a:lnTo>
                  <a:lnTo>
                    <a:pt x="20" y="46"/>
                  </a:lnTo>
                  <a:lnTo>
                    <a:pt x="12" y="64"/>
                  </a:lnTo>
                  <a:lnTo>
                    <a:pt x="14" y="68"/>
                  </a:lnTo>
                  <a:lnTo>
                    <a:pt x="6" y="80"/>
                  </a:lnTo>
                  <a:lnTo>
                    <a:pt x="2" y="80"/>
                  </a:lnTo>
                  <a:lnTo>
                    <a:pt x="0" y="80"/>
                  </a:lnTo>
                  <a:lnTo>
                    <a:pt x="0" y="8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4" name="Freeform 494"/>
            <p:cNvSpPr>
              <a:spLocks/>
            </p:cNvSpPr>
            <p:nvPr/>
          </p:nvSpPr>
          <p:spPr bwMode="auto">
            <a:xfrm>
              <a:off x="2224088" y="3462338"/>
              <a:ext cx="863600" cy="1069975"/>
            </a:xfrm>
            <a:custGeom>
              <a:avLst/>
              <a:gdLst>
                <a:gd name="T0" fmla="*/ 386 w 502"/>
                <a:gd name="T1" fmla="*/ 674 h 674"/>
                <a:gd name="T2" fmla="*/ 352 w 502"/>
                <a:gd name="T3" fmla="*/ 656 h 674"/>
                <a:gd name="T4" fmla="*/ 308 w 502"/>
                <a:gd name="T5" fmla="*/ 642 h 674"/>
                <a:gd name="T6" fmla="*/ 254 w 502"/>
                <a:gd name="T7" fmla="*/ 568 h 674"/>
                <a:gd name="T8" fmla="*/ 210 w 502"/>
                <a:gd name="T9" fmla="*/ 554 h 674"/>
                <a:gd name="T10" fmla="*/ 192 w 502"/>
                <a:gd name="T11" fmla="*/ 556 h 674"/>
                <a:gd name="T12" fmla="*/ 166 w 502"/>
                <a:gd name="T13" fmla="*/ 552 h 674"/>
                <a:gd name="T14" fmla="*/ 142 w 502"/>
                <a:gd name="T15" fmla="*/ 540 h 674"/>
                <a:gd name="T16" fmla="*/ 140 w 502"/>
                <a:gd name="T17" fmla="*/ 530 h 674"/>
                <a:gd name="T18" fmla="*/ 120 w 502"/>
                <a:gd name="T19" fmla="*/ 502 h 674"/>
                <a:gd name="T20" fmla="*/ 94 w 502"/>
                <a:gd name="T21" fmla="*/ 478 h 674"/>
                <a:gd name="T22" fmla="*/ 88 w 502"/>
                <a:gd name="T23" fmla="*/ 434 h 674"/>
                <a:gd name="T24" fmla="*/ 78 w 502"/>
                <a:gd name="T25" fmla="*/ 402 h 674"/>
                <a:gd name="T26" fmla="*/ 76 w 502"/>
                <a:gd name="T27" fmla="*/ 382 h 674"/>
                <a:gd name="T28" fmla="*/ 60 w 502"/>
                <a:gd name="T29" fmla="*/ 382 h 674"/>
                <a:gd name="T30" fmla="*/ 56 w 502"/>
                <a:gd name="T31" fmla="*/ 374 h 674"/>
                <a:gd name="T32" fmla="*/ 54 w 502"/>
                <a:gd name="T33" fmla="*/ 358 h 674"/>
                <a:gd name="T34" fmla="*/ 46 w 502"/>
                <a:gd name="T35" fmla="*/ 352 h 674"/>
                <a:gd name="T36" fmla="*/ 40 w 502"/>
                <a:gd name="T37" fmla="*/ 362 h 674"/>
                <a:gd name="T38" fmla="*/ 22 w 502"/>
                <a:gd name="T39" fmla="*/ 344 h 674"/>
                <a:gd name="T40" fmla="*/ 18 w 502"/>
                <a:gd name="T41" fmla="*/ 320 h 674"/>
                <a:gd name="T42" fmla="*/ 30 w 502"/>
                <a:gd name="T43" fmla="*/ 266 h 674"/>
                <a:gd name="T44" fmla="*/ 8 w 502"/>
                <a:gd name="T45" fmla="*/ 226 h 674"/>
                <a:gd name="T46" fmla="*/ 6 w 502"/>
                <a:gd name="T47" fmla="*/ 208 h 674"/>
                <a:gd name="T48" fmla="*/ 2 w 502"/>
                <a:gd name="T49" fmla="*/ 194 h 674"/>
                <a:gd name="T50" fmla="*/ 16 w 502"/>
                <a:gd name="T51" fmla="*/ 180 h 674"/>
                <a:gd name="T52" fmla="*/ 26 w 502"/>
                <a:gd name="T53" fmla="*/ 176 h 674"/>
                <a:gd name="T54" fmla="*/ 56 w 502"/>
                <a:gd name="T55" fmla="*/ 150 h 674"/>
                <a:gd name="T56" fmla="*/ 40 w 502"/>
                <a:gd name="T57" fmla="*/ 128 h 674"/>
                <a:gd name="T58" fmla="*/ 38 w 502"/>
                <a:gd name="T59" fmla="*/ 98 h 674"/>
                <a:gd name="T60" fmla="*/ 42 w 502"/>
                <a:gd name="T61" fmla="*/ 56 h 674"/>
                <a:gd name="T62" fmla="*/ 66 w 502"/>
                <a:gd name="T63" fmla="*/ 8 h 674"/>
                <a:gd name="T64" fmla="*/ 92 w 502"/>
                <a:gd name="T65" fmla="*/ 38 h 674"/>
                <a:gd name="T66" fmla="*/ 132 w 502"/>
                <a:gd name="T67" fmla="*/ 52 h 674"/>
                <a:gd name="T68" fmla="*/ 168 w 502"/>
                <a:gd name="T69" fmla="*/ 46 h 674"/>
                <a:gd name="T70" fmla="*/ 170 w 502"/>
                <a:gd name="T71" fmla="*/ 70 h 674"/>
                <a:gd name="T72" fmla="*/ 162 w 502"/>
                <a:gd name="T73" fmla="*/ 78 h 674"/>
                <a:gd name="T74" fmla="*/ 168 w 502"/>
                <a:gd name="T75" fmla="*/ 90 h 674"/>
                <a:gd name="T76" fmla="*/ 168 w 502"/>
                <a:gd name="T77" fmla="*/ 118 h 674"/>
                <a:gd name="T78" fmla="*/ 180 w 502"/>
                <a:gd name="T79" fmla="*/ 140 h 674"/>
                <a:gd name="T80" fmla="*/ 196 w 502"/>
                <a:gd name="T81" fmla="*/ 158 h 674"/>
                <a:gd name="T82" fmla="*/ 286 w 502"/>
                <a:gd name="T83" fmla="*/ 198 h 674"/>
                <a:gd name="T84" fmla="*/ 284 w 502"/>
                <a:gd name="T85" fmla="*/ 204 h 674"/>
                <a:gd name="T86" fmla="*/ 300 w 502"/>
                <a:gd name="T87" fmla="*/ 184 h 674"/>
                <a:gd name="T88" fmla="*/ 366 w 502"/>
                <a:gd name="T89" fmla="*/ 182 h 674"/>
                <a:gd name="T90" fmla="*/ 380 w 502"/>
                <a:gd name="T91" fmla="*/ 186 h 674"/>
                <a:gd name="T92" fmla="*/ 408 w 502"/>
                <a:gd name="T93" fmla="*/ 202 h 674"/>
                <a:gd name="T94" fmla="*/ 456 w 502"/>
                <a:gd name="T95" fmla="*/ 232 h 674"/>
                <a:gd name="T96" fmla="*/ 486 w 502"/>
                <a:gd name="T97" fmla="*/ 276 h 674"/>
                <a:gd name="T98" fmla="*/ 496 w 502"/>
                <a:gd name="T99" fmla="*/ 302 h 674"/>
                <a:gd name="T100" fmla="*/ 470 w 502"/>
                <a:gd name="T101" fmla="*/ 348 h 674"/>
                <a:gd name="T102" fmla="*/ 448 w 502"/>
                <a:gd name="T103" fmla="*/ 372 h 674"/>
                <a:gd name="T104" fmla="*/ 442 w 502"/>
                <a:gd name="T105" fmla="*/ 400 h 674"/>
                <a:gd name="T106" fmla="*/ 438 w 502"/>
                <a:gd name="T107" fmla="*/ 448 h 674"/>
                <a:gd name="T108" fmla="*/ 458 w 502"/>
                <a:gd name="T109" fmla="*/ 472 h 674"/>
                <a:gd name="T110" fmla="*/ 416 w 502"/>
                <a:gd name="T111" fmla="*/ 512 h 674"/>
                <a:gd name="T112" fmla="*/ 444 w 502"/>
                <a:gd name="T113" fmla="*/ 568 h 674"/>
                <a:gd name="T114" fmla="*/ 456 w 502"/>
                <a:gd name="T115" fmla="*/ 612 h 674"/>
                <a:gd name="T116" fmla="*/ 468 w 502"/>
                <a:gd name="T117" fmla="*/ 626 h 674"/>
                <a:gd name="T118" fmla="*/ 428 w 502"/>
                <a:gd name="T119" fmla="*/ 636 h 674"/>
                <a:gd name="T120" fmla="*/ 392 w 502"/>
                <a:gd name="T121" fmla="*/ 67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2" h="674">
                  <a:moveTo>
                    <a:pt x="392" y="674"/>
                  </a:moveTo>
                  <a:lnTo>
                    <a:pt x="390" y="672"/>
                  </a:lnTo>
                  <a:lnTo>
                    <a:pt x="386" y="674"/>
                  </a:lnTo>
                  <a:lnTo>
                    <a:pt x="360" y="660"/>
                  </a:lnTo>
                  <a:lnTo>
                    <a:pt x="356" y="654"/>
                  </a:lnTo>
                  <a:lnTo>
                    <a:pt x="352" y="656"/>
                  </a:lnTo>
                  <a:lnTo>
                    <a:pt x="314" y="640"/>
                  </a:lnTo>
                  <a:lnTo>
                    <a:pt x="310" y="640"/>
                  </a:lnTo>
                  <a:lnTo>
                    <a:pt x="308" y="642"/>
                  </a:lnTo>
                  <a:lnTo>
                    <a:pt x="296" y="630"/>
                  </a:lnTo>
                  <a:lnTo>
                    <a:pt x="256" y="614"/>
                  </a:lnTo>
                  <a:lnTo>
                    <a:pt x="254" y="568"/>
                  </a:lnTo>
                  <a:lnTo>
                    <a:pt x="242" y="556"/>
                  </a:lnTo>
                  <a:lnTo>
                    <a:pt x="236" y="554"/>
                  </a:lnTo>
                  <a:lnTo>
                    <a:pt x="210" y="554"/>
                  </a:lnTo>
                  <a:lnTo>
                    <a:pt x="204" y="558"/>
                  </a:lnTo>
                  <a:lnTo>
                    <a:pt x="198" y="558"/>
                  </a:lnTo>
                  <a:lnTo>
                    <a:pt x="192" y="556"/>
                  </a:lnTo>
                  <a:lnTo>
                    <a:pt x="180" y="558"/>
                  </a:lnTo>
                  <a:lnTo>
                    <a:pt x="174" y="556"/>
                  </a:lnTo>
                  <a:lnTo>
                    <a:pt x="166" y="552"/>
                  </a:lnTo>
                  <a:lnTo>
                    <a:pt x="162" y="548"/>
                  </a:lnTo>
                  <a:lnTo>
                    <a:pt x="154" y="542"/>
                  </a:lnTo>
                  <a:lnTo>
                    <a:pt x="142" y="540"/>
                  </a:lnTo>
                  <a:lnTo>
                    <a:pt x="138" y="532"/>
                  </a:lnTo>
                  <a:lnTo>
                    <a:pt x="140" y="534"/>
                  </a:lnTo>
                  <a:lnTo>
                    <a:pt x="140" y="530"/>
                  </a:lnTo>
                  <a:lnTo>
                    <a:pt x="120" y="514"/>
                  </a:lnTo>
                  <a:lnTo>
                    <a:pt x="118" y="506"/>
                  </a:lnTo>
                  <a:lnTo>
                    <a:pt x="120" y="502"/>
                  </a:lnTo>
                  <a:lnTo>
                    <a:pt x="116" y="496"/>
                  </a:lnTo>
                  <a:lnTo>
                    <a:pt x="102" y="484"/>
                  </a:lnTo>
                  <a:lnTo>
                    <a:pt x="94" y="478"/>
                  </a:lnTo>
                  <a:lnTo>
                    <a:pt x="90" y="474"/>
                  </a:lnTo>
                  <a:lnTo>
                    <a:pt x="86" y="468"/>
                  </a:lnTo>
                  <a:lnTo>
                    <a:pt x="88" y="434"/>
                  </a:lnTo>
                  <a:lnTo>
                    <a:pt x="80" y="420"/>
                  </a:lnTo>
                  <a:lnTo>
                    <a:pt x="82" y="406"/>
                  </a:lnTo>
                  <a:lnTo>
                    <a:pt x="78" y="402"/>
                  </a:lnTo>
                  <a:lnTo>
                    <a:pt x="76" y="390"/>
                  </a:lnTo>
                  <a:lnTo>
                    <a:pt x="76" y="386"/>
                  </a:lnTo>
                  <a:lnTo>
                    <a:pt x="76" y="382"/>
                  </a:lnTo>
                  <a:lnTo>
                    <a:pt x="74" y="380"/>
                  </a:lnTo>
                  <a:lnTo>
                    <a:pt x="66" y="378"/>
                  </a:lnTo>
                  <a:lnTo>
                    <a:pt x="60" y="382"/>
                  </a:lnTo>
                  <a:lnTo>
                    <a:pt x="60" y="380"/>
                  </a:lnTo>
                  <a:lnTo>
                    <a:pt x="56" y="376"/>
                  </a:lnTo>
                  <a:lnTo>
                    <a:pt x="56" y="374"/>
                  </a:lnTo>
                  <a:lnTo>
                    <a:pt x="54" y="370"/>
                  </a:lnTo>
                  <a:lnTo>
                    <a:pt x="52" y="364"/>
                  </a:lnTo>
                  <a:lnTo>
                    <a:pt x="54" y="358"/>
                  </a:lnTo>
                  <a:lnTo>
                    <a:pt x="52" y="356"/>
                  </a:lnTo>
                  <a:lnTo>
                    <a:pt x="48" y="352"/>
                  </a:lnTo>
                  <a:lnTo>
                    <a:pt x="46" y="352"/>
                  </a:lnTo>
                  <a:lnTo>
                    <a:pt x="44" y="356"/>
                  </a:lnTo>
                  <a:lnTo>
                    <a:pt x="42" y="358"/>
                  </a:lnTo>
                  <a:lnTo>
                    <a:pt x="40" y="362"/>
                  </a:lnTo>
                  <a:lnTo>
                    <a:pt x="36" y="360"/>
                  </a:lnTo>
                  <a:lnTo>
                    <a:pt x="34" y="366"/>
                  </a:lnTo>
                  <a:lnTo>
                    <a:pt x="22" y="344"/>
                  </a:lnTo>
                  <a:lnTo>
                    <a:pt x="20" y="338"/>
                  </a:lnTo>
                  <a:lnTo>
                    <a:pt x="24" y="328"/>
                  </a:lnTo>
                  <a:lnTo>
                    <a:pt x="18" y="320"/>
                  </a:lnTo>
                  <a:lnTo>
                    <a:pt x="32" y="298"/>
                  </a:lnTo>
                  <a:lnTo>
                    <a:pt x="32" y="272"/>
                  </a:lnTo>
                  <a:lnTo>
                    <a:pt x="30" y="266"/>
                  </a:lnTo>
                  <a:lnTo>
                    <a:pt x="18" y="254"/>
                  </a:lnTo>
                  <a:lnTo>
                    <a:pt x="6" y="232"/>
                  </a:lnTo>
                  <a:lnTo>
                    <a:pt x="8" y="226"/>
                  </a:lnTo>
                  <a:lnTo>
                    <a:pt x="8" y="218"/>
                  </a:lnTo>
                  <a:lnTo>
                    <a:pt x="6" y="214"/>
                  </a:lnTo>
                  <a:lnTo>
                    <a:pt x="6" y="208"/>
                  </a:lnTo>
                  <a:lnTo>
                    <a:pt x="2" y="206"/>
                  </a:lnTo>
                  <a:lnTo>
                    <a:pt x="0" y="202"/>
                  </a:lnTo>
                  <a:lnTo>
                    <a:pt x="2" y="194"/>
                  </a:lnTo>
                  <a:lnTo>
                    <a:pt x="4" y="194"/>
                  </a:lnTo>
                  <a:lnTo>
                    <a:pt x="8" y="192"/>
                  </a:lnTo>
                  <a:lnTo>
                    <a:pt x="16" y="180"/>
                  </a:lnTo>
                  <a:lnTo>
                    <a:pt x="20" y="178"/>
                  </a:lnTo>
                  <a:lnTo>
                    <a:pt x="26" y="178"/>
                  </a:lnTo>
                  <a:lnTo>
                    <a:pt x="26" y="176"/>
                  </a:lnTo>
                  <a:lnTo>
                    <a:pt x="46" y="166"/>
                  </a:lnTo>
                  <a:lnTo>
                    <a:pt x="48" y="156"/>
                  </a:lnTo>
                  <a:lnTo>
                    <a:pt x="56" y="150"/>
                  </a:lnTo>
                  <a:lnTo>
                    <a:pt x="60" y="148"/>
                  </a:lnTo>
                  <a:lnTo>
                    <a:pt x="42" y="136"/>
                  </a:lnTo>
                  <a:lnTo>
                    <a:pt x="40" y="128"/>
                  </a:lnTo>
                  <a:lnTo>
                    <a:pt x="42" y="116"/>
                  </a:lnTo>
                  <a:lnTo>
                    <a:pt x="40" y="110"/>
                  </a:lnTo>
                  <a:lnTo>
                    <a:pt x="38" y="98"/>
                  </a:lnTo>
                  <a:lnTo>
                    <a:pt x="48" y="74"/>
                  </a:lnTo>
                  <a:lnTo>
                    <a:pt x="46" y="64"/>
                  </a:lnTo>
                  <a:lnTo>
                    <a:pt x="42" y="56"/>
                  </a:lnTo>
                  <a:lnTo>
                    <a:pt x="62" y="20"/>
                  </a:lnTo>
                  <a:lnTo>
                    <a:pt x="64" y="12"/>
                  </a:lnTo>
                  <a:lnTo>
                    <a:pt x="66" y="8"/>
                  </a:lnTo>
                  <a:lnTo>
                    <a:pt x="74" y="8"/>
                  </a:lnTo>
                  <a:lnTo>
                    <a:pt x="86" y="0"/>
                  </a:lnTo>
                  <a:lnTo>
                    <a:pt x="92" y="38"/>
                  </a:lnTo>
                  <a:lnTo>
                    <a:pt x="114" y="52"/>
                  </a:lnTo>
                  <a:lnTo>
                    <a:pt x="124" y="56"/>
                  </a:lnTo>
                  <a:lnTo>
                    <a:pt x="132" y="52"/>
                  </a:lnTo>
                  <a:lnTo>
                    <a:pt x="138" y="46"/>
                  </a:lnTo>
                  <a:lnTo>
                    <a:pt x="154" y="42"/>
                  </a:lnTo>
                  <a:lnTo>
                    <a:pt x="168" y="46"/>
                  </a:lnTo>
                  <a:lnTo>
                    <a:pt x="174" y="54"/>
                  </a:lnTo>
                  <a:lnTo>
                    <a:pt x="170" y="60"/>
                  </a:lnTo>
                  <a:lnTo>
                    <a:pt x="170" y="70"/>
                  </a:lnTo>
                  <a:lnTo>
                    <a:pt x="160" y="72"/>
                  </a:lnTo>
                  <a:lnTo>
                    <a:pt x="156" y="72"/>
                  </a:lnTo>
                  <a:lnTo>
                    <a:pt x="162" y="78"/>
                  </a:lnTo>
                  <a:lnTo>
                    <a:pt x="162" y="82"/>
                  </a:lnTo>
                  <a:lnTo>
                    <a:pt x="164" y="84"/>
                  </a:lnTo>
                  <a:lnTo>
                    <a:pt x="168" y="90"/>
                  </a:lnTo>
                  <a:lnTo>
                    <a:pt x="174" y="94"/>
                  </a:lnTo>
                  <a:lnTo>
                    <a:pt x="176" y="94"/>
                  </a:lnTo>
                  <a:lnTo>
                    <a:pt x="168" y="118"/>
                  </a:lnTo>
                  <a:lnTo>
                    <a:pt x="168" y="126"/>
                  </a:lnTo>
                  <a:lnTo>
                    <a:pt x="172" y="132"/>
                  </a:lnTo>
                  <a:lnTo>
                    <a:pt x="180" y="140"/>
                  </a:lnTo>
                  <a:lnTo>
                    <a:pt x="194" y="146"/>
                  </a:lnTo>
                  <a:lnTo>
                    <a:pt x="196" y="150"/>
                  </a:lnTo>
                  <a:lnTo>
                    <a:pt x="196" y="158"/>
                  </a:lnTo>
                  <a:lnTo>
                    <a:pt x="208" y="176"/>
                  </a:lnTo>
                  <a:lnTo>
                    <a:pt x="230" y="192"/>
                  </a:lnTo>
                  <a:lnTo>
                    <a:pt x="286" y="198"/>
                  </a:lnTo>
                  <a:lnTo>
                    <a:pt x="282" y="200"/>
                  </a:lnTo>
                  <a:lnTo>
                    <a:pt x="274" y="200"/>
                  </a:lnTo>
                  <a:lnTo>
                    <a:pt x="284" y="204"/>
                  </a:lnTo>
                  <a:lnTo>
                    <a:pt x="296" y="206"/>
                  </a:lnTo>
                  <a:lnTo>
                    <a:pt x="300" y="196"/>
                  </a:lnTo>
                  <a:lnTo>
                    <a:pt x="300" y="184"/>
                  </a:lnTo>
                  <a:lnTo>
                    <a:pt x="318" y="188"/>
                  </a:lnTo>
                  <a:lnTo>
                    <a:pt x="350" y="178"/>
                  </a:lnTo>
                  <a:lnTo>
                    <a:pt x="366" y="182"/>
                  </a:lnTo>
                  <a:lnTo>
                    <a:pt x="370" y="184"/>
                  </a:lnTo>
                  <a:lnTo>
                    <a:pt x="376" y="186"/>
                  </a:lnTo>
                  <a:lnTo>
                    <a:pt x="380" y="186"/>
                  </a:lnTo>
                  <a:lnTo>
                    <a:pt x="382" y="182"/>
                  </a:lnTo>
                  <a:lnTo>
                    <a:pt x="402" y="188"/>
                  </a:lnTo>
                  <a:lnTo>
                    <a:pt x="408" y="202"/>
                  </a:lnTo>
                  <a:lnTo>
                    <a:pt x="438" y="224"/>
                  </a:lnTo>
                  <a:lnTo>
                    <a:pt x="444" y="224"/>
                  </a:lnTo>
                  <a:lnTo>
                    <a:pt x="456" y="232"/>
                  </a:lnTo>
                  <a:lnTo>
                    <a:pt x="458" y="240"/>
                  </a:lnTo>
                  <a:lnTo>
                    <a:pt x="458" y="246"/>
                  </a:lnTo>
                  <a:lnTo>
                    <a:pt x="486" y="276"/>
                  </a:lnTo>
                  <a:lnTo>
                    <a:pt x="500" y="280"/>
                  </a:lnTo>
                  <a:lnTo>
                    <a:pt x="502" y="284"/>
                  </a:lnTo>
                  <a:lnTo>
                    <a:pt x="496" y="302"/>
                  </a:lnTo>
                  <a:lnTo>
                    <a:pt x="496" y="308"/>
                  </a:lnTo>
                  <a:lnTo>
                    <a:pt x="480" y="340"/>
                  </a:lnTo>
                  <a:lnTo>
                    <a:pt x="470" y="348"/>
                  </a:lnTo>
                  <a:lnTo>
                    <a:pt x="466" y="356"/>
                  </a:lnTo>
                  <a:lnTo>
                    <a:pt x="454" y="358"/>
                  </a:lnTo>
                  <a:lnTo>
                    <a:pt x="448" y="372"/>
                  </a:lnTo>
                  <a:lnTo>
                    <a:pt x="456" y="378"/>
                  </a:lnTo>
                  <a:lnTo>
                    <a:pt x="454" y="382"/>
                  </a:lnTo>
                  <a:lnTo>
                    <a:pt x="442" y="400"/>
                  </a:lnTo>
                  <a:lnTo>
                    <a:pt x="442" y="416"/>
                  </a:lnTo>
                  <a:lnTo>
                    <a:pt x="434" y="442"/>
                  </a:lnTo>
                  <a:lnTo>
                    <a:pt x="438" y="448"/>
                  </a:lnTo>
                  <a:lnTo>
                    <a:pt x="452" y="454"/>
                  </a:lnTo>
                  <a:lnTo>
                    <a:pt x="456" y="462"/>
                  </a:lnTo>
                  <a:lnTo>
                    <a:pt x="458" y="472"/>
                  </a:lnTo>
                  <a:lnTo>
                    <a:pt x="454" y="478"/>
                  </a:lnTo>
                  <a:lnTo>
                    <a:pt x="448" y="486"/>
                  </a:lnTo>
                  <a:lnTo>
                    <a:pt x="416" y="512"/>
                  </a:lnTo>
                  <a:lnTo>
                    <a:pt x="424" y="526"/>
                  </a:lnTo>
                  <a:lnTo>
                    <a:pt x="430" y="554"/>
                  </a:lnTo>
                  <a:lnTo>
                    <a:pt x="444" y="568"/>
                  </a:lnTo>
                  <a:lnTo>
                    <a:pt x="458" y="576"/>
                  </a:lnTo>
                  <a:lnTo>
                    <a:pt x="462" y="582"/>
                  </a:lnTo>
                  <a:lnTo>
                    <a:pt x="456" y="612"/>
                  </a:lnTo>
                  <a:lnTo>
                    <a:pt x="466" y="618"/>
                  </a:lnTo>
                  <a:lnTo>
                    <a:pt x="468" y="620"/>
                  </a:lnTo>
                  <a:lnTo>
                    <a:pt x="468" y="626"/>
                  </a:lnTo>
                  <a:lnTo>
                    <a:pt x="466" y="630"/>
                  </a:lnTo>
                  <a:lnTo>
                    <a:pt x="454" y="634"/>
                  </a:lnTo>
                  <a:lnTo>
                    <a:pt x="428" y="636"/>
                  </a:lnTo>
                  <a:lnTo>
                    <a:pt x="410" y="644"/>
                  </a:lnTo>
                  <a:lnTo>
                    <a:pt x="396" y="666"/>
                  </a:lnTo>
                  <a:lnTo>
                    <a:pt x="392" y="67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15" name="Freeform 495"/>
            <p:cNvSpPr>
              <a:spLocks/>
            </p:cNvSpPr>
            <p:nvPr/>
          </p:nvSpPr>
          <p:spPr bwMode="auto">
            <a:xfrm>
              <a:off x="2224088" y="3462338"/>
              <a:ext cx="863600" cy="1069975"/>
            </a:xfrm>
            <a:custGeom>
              <a:avLst/>
              <a:gdLst>
                <a:gd name="T0" fmla="*/ 386 w 502"/>
                <a:gd name="T1" fmla="*/ 674 h 674"/>
                <a:gd name="T2" fmla="*/ 352 w 502"/>
                <a:gd name="T3" fmla="*/ 656 h 674"/>
                <a:gd name="T4" fmla="*/ 308 w 502"/>
                <a:gd name="T5" fmla="*/ 642 h 674"/>
                <a:gd name="T6" fmla="*/ 254 w 502"/>
                <a:gd name="T7" fmla="*/ 568 h 674"/>
                <a:gd name="T8" fmla="*/ 210 w 502"/>
                <a:gd name="T9" fmla="*/ 554 h 674"/>
                <a:gd name="T10" fmla="*/ 192 w 502"/>
                <a:gd name="T11" fmla="*/ 556 h 674"/>
                <a:gd name="T12" fmla="*/ 166 w 502"/>
                <a:gd name="T13" fmla="*/ 552 h 674"/>
                <a:gd name="T14" fmla="*/ 142 w 502"/>
                <a:gd name="T15" fmla="*/ 540 h 674"/>
                <a:gd name="T16" fmla="*/ 140 w 502"/>
                <a:gd name="T17" fmla="*/ 530 h 674"/>
                <a:gd name="T18" fmla="*/ 120 w 502"/>
                <a:gd name="T19" fmla="*/ 502 h 674"/>
                <a:gd name="T20" fmla="*/ 94 w 502"/>
                <a:gd name="T21" fmla="*/ 478 h 674"/>
                <a:gd name="T22" fmla="*/ 88 w 502"/>
                <a:gd name="T23" fmla="*/ 434 h 674"/>
                <a:gd name="T24" fmla="*/ 78 w 502"/>
                <a:gd name="T25" fmla="*/ 402 h 674"/>
                <a:gd name="T26" fmla="*/ 76 w 502"/>
                <a:gd name="T27" fmla="*/ 382 h 674"/>
                <a:gd name="T28" fmla="*/ 60 w 502"/>
                <a:gd name="T29" fmla="*/ 382 h 674"/>
                <a:gd name="T30" fmla="*/ 56 w 502"/>
                <a:gd name="T31" fmla="*/ 374 h 674"/>
                <a:gd name="T32" fmla="*/ 54 w 502"/>
                <a:gd name="T33" fmla="*/ 358 h 674"/>
                <a:gd name="T34" fmla="*/ 46 w 502"/>
                <a:gd name="T35" fmla="*/ 352 h 674"/>
                <a:gd name="T36" fmla="*/ 40 w 502"/>
                <a:gd name="T37" fmla="*/ 362 h 674"/>
                <a:gd name="T38" fmla="*/ 22 w 502"/>
                <a:gd name="T39" fmla="*/ 344 h 674"/>
                <a:gd name="T40" fmla="*/ 18 w 502"/>
                <a:gd name="T41" fmla="*/ 320 h 674"/>
                <a:gd name="T42" fmla="*/ 30 w 502"/>
                <a:gd name="T43" fmla="*/ 266 h 674"/>
                <a:gd name="T44" fmla="*/ 8 w 502"/>
                <a:gd name="T45" fmla="*/ 226 h 674"/>
                <a:gd name="T46" fmla="*/ 6 w 502"/>
                <a:gd name="T47" fmla="*/ 208 h 674"/>
                <a:gd name="T48" fmla="*/ 2 w 502"/>
                <a:gd name="T49" fmla="*/ 194 h 674"/>
                <a:gd name="T50" fmla="*/ 16 w 502"/>
                <a:gd name="T51" fmla="*/ 180 h 674"/>
                <a:gd name="T52" fmla="*/ 26 w 502"/>
                <a:gd name="T53" fmla="*/ 176 h 674"/>
                <a:gd name="T54" fmla="*/ 56 w 502"/>
                <a:gd name="T55" fmla="*/ 150 h 674"/>
                <a:gd name="T56" fmla="*/ 40 w 502"/>
                <a:gd name="T57" fmla="*/ 128 h 674"/>
                <a:gd name="T58" fmla="*/ 38 w 502"/>
                <a:gd name="T59" fmla="*/ 98 h 674"/>
                <a:gd name="T60" fmla="*/ 42 w 502"/>
                <a:gd name="T61" fmla="*/ 56 h 674"/>
                <a:gd name="T62" fmla="*/ 66 w 502"/>
                <a:gd name="T63" fmla="*/ 8 h 674"/>
                <a:gd name="T64" fmla="*/ 92 w 502"/>
                <a:gd name="T65" fmla="*/ 38 h 674"/>
                <a:gd name="T66" fmla="*/ 132 w 502"/>
                <a:gd name="T67" fmla="*/ 52 h 674"/>
                <a:gd name="T68" fmla="*/ 168 w 502"/>
                <a:gd name="T69" fmla="*/ 46 h 674"/>
                <a:gd name="T70" fmla="*/ 170 w 502"/>
                <a:gd name="T71" fmla="*/ 70 h 674"/>
                <a:gd name="T72" fmla="*/ 162 w 502"/>
                <a:gd name="T73" fmla="*/ 78 h 674"/>
                <a:gd name="T74" fmla="*/ 168 w 502"/>
                <a:gd name="T75" fmla="*/ 90 h 674"/>
                <a:gd name="T76" fmla="*/ 168 w 502"/>
                <a:gd name="T77" fmla="*/ 118 h 674"/>
                <a:gd name="T78" fmla="*/ 180 w 502"/>
                <a:gd name="T79" fmla="*/ 140 h 674"/>
                <a:gd name="T80" fmla="*/ 196 w 502"/>
                <a:gd name="T81" fmla="*/ 158 h 674"/>
                <a:gd name="T82" fmla="*/ 286 w 502"/>
                <a:gd name="T83" fmla="*/ 198 h 674"/>
                <a:gd name="T84" fmla="*/ 284 w 502"/>
                <a:gd name="T85" fmla="*/ 204 h 674"/>
                <a:gd name="T86" fmla="*/ 300 w 502"/>
                <a:gd name="T87" fmla="*/ 184 h 674"/>
                <a:gd name="T88" fmla="*/ 366 w 502"/>
                <a:gd name="T89" fmla="*/ 182 h 674"/>
                <a:gd name="T90" fmla="*/ 380 w 502"/>
                <a:gd name="T91" fmla="*/ 186 h 674"/>
                <a:gd name="T92" fmla="*/ 408 w 502"/>
                <a:gd name="T93" fmla="*/ 202 h 674"/>
                <a:gd name="T94" fmla="*/ 456 w 502"/>
                <a:gd name="T95" fmla="*/ 232 h 674"/>
                <a:gd name="T96" fmla="*/ 486 w 502"/>
                <a:gd name="T97" fmla="*/ 276 h 674"/>
                <a:gd name="T98" fmla="*/ 496 w 502"/>
                <a:gd name="T99" fmla="*/ 302 h 674"/>
                <a:gd name="T100" fmla="*/ 470 w 502"/>
                <a:gd name="T101" fmla="*/ 348 h 674"/>
                <a:gd name="T102" fmla="*/ 448 w 502"/>
                <a:gd name="T103" fmla="*/ 372 h 674"/>
                <a:gd name="T104" fmla="*/ 442 w 502"/>
                <a:gd name="T105" fmla="*/ 400 h 674"/>
                <a:gd name="T106" fmla="*/ 438 w 502"/>
                <a:gd name="T107" fmla="*/ 448 h 674"/>
                <a:gd name="T108" fmla="*/ 458 w 502"/>
                <a:gd name="T109" fmla="*/ 472 h 674"/>
                <a:gd name="T110" fmla="*/ 416 w 502"/>
                <a:gd name="T111" fmla="*/ 512 h 674"/>
                <a:gd name="T112" fmla="*/ 444 w 502"/>
                <a:gd name="T113" fmla="*/ 568 h 674"/>
                <a:gd name="T114" fmla="*/ 456 w 502"/>
                <a:gd name="T115" fmla="*/ 612 h 674"/>
                <a:gd name="T116" fmla="*/ 468 w 502"/>
                <a:gd name="T117" fmla="*/ 626 h 674"/>
                <a:gd name="T118" fmla="*/ 428 w 502"/>
                <a:gd name="T119" fmla="*/ 636 h 674"/>
                <a:gd name="T120" fmla="*/ 392 w 502"/>
                <a:gd name="T121" fmla="*/ 67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2" h="674">
                  <a:moveTo>
                    <a:pt x="392" y="674"/>
                  </a:moveTo>
                  <a:lnTo>
                    <a:pt x="390" y="672"/>
                  </a:lnTo>
                  <a:lnTo>
                    <a:pt x="386" y="674"/>
                  </a:lnTo>
                  <a:lnTo>
                    <a:pt x="360" y="660"/>
                  </a:lnTo>
                  <a:lnTo>
                    <a:pt x="356" y="654"/>
                  </a:lnTo>
                  <a:lnTo>
                    <a:pt x="352" y="656"/>
                  </a:lnTo>
                  <a:lnTo>
                    <a:pt x="314" y="640"/>
                  </a:lnTo>
                  <a:lnTo>
                    <a:pt x="310" y="640"/>
                  </a:lnTo>
                  <a:lnTo>
                    <a:pt x="308" y="642"/>
                  </a:lnTo>
                  <a:lnTo>
                    <a:pt x="296" y="630"/>
                  </a:lnTo>
                  <a:lnTo>
                    <a:pt x="256" y="614"/>
                  </a:lnTo>
                  <a:lnTo>
                    <a:pt x="254" y="568"/>
                  </a:lnTo>
                  <a:lnTo>
                    <a:pt x="242" y="556"/>
                  </a:lnTo>
                  <a:lnTo>
                    <a:pt x="236" y="554"/>
                  </a:lnTo>
                  <a:lnTo>
                    <a:pt x="210" y="554"/>
                  </a:lnTo>
                  <a:lnTo>
                    <a:pt x="204" y="558"/>
                  </a:lnTo>
                  <a:lnTo>
                    <a:pt x="198" y="558"/>
                  </a:lnTo>
                  <a:lnTo>
                    <a:pt x="192" y="556"/>
                  </a:lnTo>
                  <a:lnTo>
                    <a:pt x="180" y="558"/>
                  </a:lnTo>
                  <a:lnTo>
                    <a:pt x="174" y="556"/>
                  </a:lnTo>
                  <a:lnTo>
                    <a:pt x="166" y="552"/>
                  </a:lnTo>
                  <a:lnTo>
                    <a:pt x="162" y="548"/>
                  </a:lnTo>
                  <a:lnTo>
                    <a:pt x="154" y="542"/>
                  </a:lnTo>
                  <a:lnTo>
                    <a:pt x="142" y="540"/>
                  </a:lnTo>
                  <a:lnTo>
                    <a:pt x="138" y="532"/>
                  </a:lnTo>
                  <a:lnTo>
                    <a:pt x="140" y="534"/>
                  </a:lnTo>
                  <a:lnTo>
                    <a:pt x="140" y="530"/>
                  </a:lnTo>
                  <a:lnTo>
                    <a:pt x="120" y="514"/>
                  </a:lnTo>
                  <a:lnTo>
                    <a:pt x="118" y="506"/>
                  </a:lnTo>
                  <a:lnTo>
                    <a:pt x="120" y="502"/>
                  </a:lnTo>
                  <a:lnTo>
                    <a:pt x="116" y="496"/>
                  </a:lnTo>
                  <a:lnTo>
                    <a:pt x="102" y="484"/>
                  </a:lnTo>
                  <a:lnTo>
                    <a:pt x="94" y="478"/>
                  </a:lnTo>
                  <a:lnTo>
                    <a:pt x="90" y="474"/>
                  </a:lnTo>
                  <a:lnTo>
                    <a:pt x="86" y="468"/>
                  </a:lnTo>
                  <a:lnTo>
                    <a:pt x="88" y="434"/>
                  </a:lnTo>
                  <a:lnTo>
                    <a:pt x="80" y="420"/>
                  </a:lnTo>
                  <a:lnTo>
                    <a:pt x="82" y="406"/>
                  </a:lnTo>
                  <a:lnTo>
                    <a:pt x="78" y="402"/>
                  </a:lnTo>
                  <a:lnTo>
                    <a:pt x="76" y="390"/>
                  </a:lnTo>
                  <a:lnTo>
                    <a:pt x="76" y="386"/>
                  </a:lnTo>
                  <a:lnTo>
                    <a:pt x="76" y="382"/>
                  </a:lnTo>
                  <a:lnTo>
                    <a:pt x="74" y="380"/>
                  </a:lnTo>
                  <a:lnTo>
                    <a:pt x="66" y="378"/>
                  </a:lnTo>
                  <a:lnTo>
                    <a:pt x="60" y="382"/>
                  </a:lnTo>
                  <a:lnTo>
                    <a:pt x="60" y="380"/>
                  </a:lnTo>
                  <a:lnTo>
                    <a:pt x="56" y="376"/>
                  </a:lnTo>
                  <a:lnTo>
                    <a:pt x="56" y="374"/>
                  </a:lnTo>
                  <a:lnTo>
                    <a:pt x="54" y="370"/>
                  </a:lnTo>
                  <a:lnTo>
                    <a:pt x="52" y="364"/>
                  </a:lnTo>
                  <a:lnTo>
                    <a:pt x="54" y="358"/>
                  </a:lnTo>
                  <a:lnTo>
                    <a:pt x="52" y="356"/>
                  </a:lnTo>
                  <a:lnTo>
                    <a:pt x="48" y="352"/>
                  </a:lnTo>
                  <a:lnTo>
                    <a:pt x="46" y="352"/>
                  </a:lnTo>
                  <a:lnTo>
                    <a:pt x="44" y="356"/>
                  </a:lnTo>
                  <a:lnTo>
                    <a:pt x="42" y="358"/>
                  </a:lnTo>
                  <a:lnTo>
                    <a:pt x="40" y="362"/>
                  </a:lnTo>
                  <a:lnTo>
                    <a:pt x="36" y="360"/>
                  </a:lnTo>
                  <a:lnTo>
                    <a:pt x="34" y="366"/>
                  </a:lnTo>
                  <a:lnTo>
                    <a:pt x="22" y="344"/>
                  </a:lnTo>
                  <a:lnTo>
                    <a:pt x="20" y="338"/>
                  </a:lnTo>
                  <a:lnTo>
                    <a:pt x="24" y="328"/>
                  </a:lnTo>
                  <a:lnTo>
                    <a:pt x="18" y="320"/>
                  </a:lnTo>
                  <a:lnTo>
                    <a:pt x="32" y="298"/>
                  </a:lnTo>
                  <a:lnTo>
                    <a:pt x="32" y="272"/>
                  </a:lnTo>
                  <a:lnTo>
                    <a:pt x="30" y="266"/>
                  </a:lnTo>
                  <a:lnTo>
                    <a:pt x="18" y="254"/>
                  </a:lnTo>
                  <a:lnTo>
                    <a:pt x="6" y="232"/>
                  </a:lnTo>
                  <a:lnTo>
                    <a:pt x="8" y="226"/>
                  </a:lnTo>
                  <a:lnTo>
                    <a:pt x="8" y="218"/>
                  </a:lnTo>
                  <a:lnTo>
                    <a:pt x="6" y="214"/>
                  </a:lnTo>
                  <a:lnTo>
                    <a:pt x="6" y="208"/>
                  </a:lnTo>
                  <a:lnTo>
                    <a:pt x="2" y="206"/>
                  </a:lnTo>
                  <a:lnTo>
                    <a:pt x="0" y="202"/>
                  </a:lnTo>
                  <a:lnTo>
                    <a:pt x="2" y="194"/>
                  </a:lnTo>
                  <a:lnTo>
                    <a:pt x="4" y="194"/>
                  </a:lnTo>
                  <a:lnTo>
                    <a:pt x="8" y="192"/>
                  </a:lnTo>
                  <a:lnTo>
                    <a:pt x="16" y="180"/>
                  </a:lnTo>
                  <a:lnTo>
                    <a:pt x="20" y="178"/>
                  </a:lnTo>
                  <a:lnTo>
                    <a:pt x="26" y="178"/>
                  </a:lnTo>
                  <a:lnTo>
                    <a:pt x="26" y="176"/>
                  </a:lnTo>
                  <a:lnTo>
                    <a:pt x="46" y="166"/>
                  </a:lnTo>
                  <a:lnTo>
                    <a:pt x="48" y="156"/>
                  </a:lnTo>
                  <a:lnTo>
                    <a:pt x="56" y="150"/>
                  </a:lnTo>
                  <a:lnTo>
                    <a:pt x="60" y="148"/>
                  </a:lnTo>
                  <a:lnTo>
                    <a:pt x="42" y="136"/>
                  </a:lnTo>
                  <a:lnTo>
                    <a:pt x="40" y="128"/>
                  </a:lnTo>
                  <a:lnTo>
                    <a:pt x="42" y="116"/>
                  </a:lnTo>
                  <a:lnTo>
                    <a:pt x="40" y="110"/>
                  </a:lnTo>
                  <a:lnTo>
                    <a:pt x="38" y="98"/>
                  </a:lnTo>
                  <a:lnTo>
                    <a:pt x="48" y="74"/>
                  </a:lnTo>
                  <a:lnTo>
                    <a:pt x="46" y="64"/>
                  </a:lnTo>
                  <a:lnTo>
                    <a:pt x="42" y="56"/>
                  </a:lnTo>
                  <a:lnTo>
                    <a:pt x="62" y="20"/>
                  </a:lnTo>
                  <a:lnTo>
                    <a:pt x="64" y="12"/>
                  </a:lnTo>
                  <a:lnTo>
                    <a:pt x="66" y="8"/>
                  </a:lnTo>
                  <a:lnTo>
                    <a:pt x="74" y="8"/>
                  </a:lnTo>
                  <a:lnTo>
                    <a:pt x="86" y="0"/>
                  </a:lnTo>
                  <a:lnTo>
                    <a:pt x="92" y="38"/>
                  </a:lnTo>
                  <a:lnTo>
                    <a:pt x="114" y="52"/>
                  </a:lnTo>
                  <a:lnTo>
                    <a:pt x="124" y="56"/>
                  </a:lnTo>
                  <a:lnTo>
                    <a:pt x="132" y="52"/>
                  </a:lnTo>
                  <a:lnTo>
                    <a:pt x="138" y="46"/>
                  </a:lnTo>
                  <a:lnTo>
                    <a:pt x="154" y="42"/>
                  </a:lnTo>
                  <a:lnTo>
                    <a:pt x="168" y="46"/>
                  </a:lnTo>
                  <a:lnTo>
                    <a:pt x="174" y="54"/>
                  </a:lnTo>
                  <a:lnTo>
                    <a:pt x="170" y="60"/>
                  </a:lnTo>
                  <a:lnTo>
                    <a:pt x="170" y="70"/>
                  </a:lnTo>
                  <a:lnTo>
                    <a:pt x="160" y="72"/>
                  </a:lnTo>
                  <a:lnTo>
                    <a:pt x="156" y="72"/>
                  </a:lnTo>
                  <a:lnTo>
                    <a:pt x="162" y="78"/>
                  </a:lnTo>
                  <a:lnTo>
                    <a:pt x="162" y="82"/>
                  </a:lnTo>
                  <a:lnTo>
                    <a:pt x="164" y="84"/>
                  </a:lnTo>
                  <a:lnTo>
                    <a:pt x="168" y="90"/>
                  </a:lnTo>
                  <a:lnTo>
                    <a:pt x="174" y="94"/>
                  </a:lnTo>
                  <a:lnTo>
                    <a:pt x="176" y="94"/>
                  </a:lnTo>
                  <a:lnTo>
                    <a:pt x="168" y="118"/>
                  </a:lnTo>
                  <a:lnTo>
                    <a:pt x="168" y="126"/>
                  </a:lnTo>
                  <a:lnTo>
                    <a:pt x="172" y="132"/>
                  </a:lnTo>
                  <a:lnTo>
                    <a:pt x="180" y="140"/>
                  </a:lnTo>
                  <a:lnTo>
                    <a:pt x="194" y="146"/>
                  </a:lnTo>
                  <a:lnTo>
                    <a:pt x="196" y="150"/>
                  </a:lnTo>
                  <a:lnTo>
                    <a:pt x="196" y="158"/>
                  </a:lnTo>
                  <a:lnTo>
                    <a:pt x="208" y="176"/>
                  </a:lnTo>
                  <a:lnTo>
                    <a:pt x="230" y="192"/>
                  </a:lnTo>
                  <a:lnTo>
                    <a:pt x="286" y="198"/>
                  </a:lnTo>
                  <a:lnTo>
                    <a:pt x="282" y="200"/>
                  </a:lnTo>
                  <a:lnTo>
                    <a:pt x="274" y="200"/>
                  </a:lnTo>
                  <a:lnTo>
                    <a:pt x="284" y="204"/>
                  </a:lnTo>
                  <a:lnTo>
                    <a:pt x="296" y="206"/>
                  </a:lnTo>
                  <a:lnTo>
                    <a:pt x="300" y="196"/>
                  </a:lnTo>
                  <a:lnTo>
                    <a:pt x="300" y="184"/>
                  </a:lnTo>
                  <a:lnTo>
                    <a:pt x="318" y="188"/>
                  </a:lnTo>
                  <a:lnTo>
                    <a:pt x="350" y="178"/>
                  </a:lnTo>
                  <a:lnTo>
                    <a:pt x="366" y="182"/>
                  </a:lnTo>
                  <a:lnTo>
                    <a:pt x="370" y="184"/>
                  </a:lnTo>
                  <a:lnTo>
                    <a:pt x="376" y="186"/>
                  </a:lnTo>
                  <a:lnTo>
                    <a:pt x="380" y="186"/>
                  </a:lnTo>
                  <a:lnTo>
                    <a:pt x="382" y="182"/>
                  </a:lnTo>
                  <a:lnTo>
                    <a:pt x="402" y="188"/>
                  </a:lnTo>
                  <a:lnTo>
                    <a:pt x="408" y="202"/>
                  </a:lnTo>
                  <a:lnTo>
                    <a:pt x="438" y="224"/>
                  </a:lnTo>
                  <a:lnTo>
                    <a:pt x="444" y="224"/>
                  </a:lnTo>
                  <a:lnTo>
                    <a:pt x="456" y="232"/>
                  </a:lnTo>
                  <a:lnTo>
                    <a:pt x="458" y="240"/>
                  </a:lnTo>
                  <a:lnTo>
                    <a:pt x="458" y="246"/>
                  </a:lnTo>
                  <a:lnTo>
                    <a:pt x="486" y="276"/>
                  </a:lnTo>
                  <a:lnTo>
                    <a:pt x="500" y="280"/>
                  </a:lnTo>
                  <a:lnTo>
                    <a:pt x="502" y="284"/>
                  </a:lnTo>
                  <a:lnTo>
                    <a:pt x="496" y="302"/>
                  </a:lnTo>
                  <a:lnTo>
                    <a:pt x="496" y="308"/>
                  </a:lnTo>
                  <a:lnTo>
                    <a:pt x="480" y="340"/>
                  </a:lnTo>
                  <a:lnTo>
                    <a:pt x="470" y="348"/>
                  </a:lnTo>
                  <a:lnTo>
                    <a:pt x="466" y="356"/>
                  </a:lnTo>
                  <a:lnTo>
                    <a:pt x="454" y="358"/>
                  </a:lnTo>
                  <a:lnTo>
                    <a:pt x="448" y="372"/>
                  </a:lnTo>
                  <a:lnTo>
                    <a:pt x="456" y="378"/>
                  </a:lnTo>
                  <a:lnTo>
                    <a:pt x="454" y="382"/>
                  </a:lnTo>
                  <a:lnTo>
                    <a:pt x="442" y="400"/>
                  </a:lnTo>
                  <a:lnTo>
                    <a:pt x="442" y="416"/>
                  </a:lnTo>
                  <a:lnTo>
                    <a:pt x="434" y="442"/>
                  </a:lnTo>
                  <a:lnTo>
                    <a:pt x="438" y="448"/>
                  </a:lnTo>
                  <a:lnTo>
                    <a:pt x="452" y="454"/>
                  </a:lnTo>
                  <a:lnTo>
                    <a:pt x="456" y="462"/>
                  </a:lnTo>
                  <a:lnTo>
                    <a:pt x="458" y="472"/>
                  </a:lnTo>
                  <a:lnTo>
                    <a:pt x="454" y="478"/>
                  </a:lnTo>
                  <a:lnTo>
                    <a:pt x="448" y="486"/>
                  </a:lnTo>
                  <a:lnTo>
                    <a:pt x="416" y="512"/>
                  </a:lnTo>
                  <a:lnTo>
                    <a:pt x="424" y="526"/>
                  </a:lnTo>
                  <a:lnTo>
                    <a:pt x="430" y="554"/>
                  </a:lnTo>
                  <a:lnTo>
                    <a:pt x="444" y="568"/>
                  </a:lnTo>
                  <a:lnTo>
                    <a:pt x="458" y="576"/>
                  </a:lnTo>
                  <a:lnTo>
                    <a:pt x="462" y="582"/>
                  </a:lnTo>
                  <a:lnTo>
                    <a:pt x="456" y="612"/>
                  </a:lnTo>
                  <a:lnTo>
                    <a:pt x="466" y="618"/>
                  </a:lnTo>
                  <a:lnTo>
                    <a:pt x="468" y="620"/>
                  </a:lnTo>
                  <a:lnTo>
                    <a:pt x="468" y="626"/>
                  </a:lnTo>
                  <a:lnTo>
                    <a:pt x="466" y="630"/>
                  </a:lnTo>
                  <a:lnTo>
                    <a:pt x="454" y="634"/>
                  </a:lnTo>
                  <a:lnTo>
                    <a:pt x="428" y="636"/>
                  </a:lnTo>
                  <a:lnTo>
                    <a:pt x="410" y="644"/>
                  </a:lnTo>
                  <a:lnTo>
                    <a:pt x="396" y="666"/>
                  </a:lnTo>
                  <a:lnTo>
                    <a:pt x="392" y="67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6" name="Freeform 502"/>
            <p:cNvSpPr>
              <a:spLocks/>
            </p:cNvSpPr>
            <p:nvPr/>
          </p:nvSpPr>
          <p:spPr bwMode="auto">
            <a:xfrm>
              <a:off x="2195513" y="4452938"/>
              <a:ext cx="544513" cy="403225"/>
            </a:xfrm>
            <a:custGeom>
              <a:avLst/>
              <a:gdLst>
                <a:gd name="T0" fmla="*/ 224 w 316"/>
                <a:gd name="T1" fmla="*/ 6 h 254"/>
                <a:gd name="T2" fmla="*/ 202 w 316"/>
                <a:gd name="T3" fmla="*/ 18 h 254"/>
                <a:gd name="T4" fmla="*/ 200 w 316"/>
                <a:gd name="T5" fmla="*/ 22 h 254"/>
                <a:gd name="T6" fmla="*/ 198 w 316"/>
                <a:gd name="T7" fmla="*/ 28 h 254"/>
                <a:gd name="T8" fmla="*/ 160 w 316"/>
                <a:gd name="T9" fmla="*/ 66 h 254"/>
                <a:gd name="T10" fmla="*/ 118 w 316"/>
                <a:gd name="T11" fmla="*/ 152 h 254"/>
                <a:gd name="T12" fmla="*/ 6 w 316"/>
                <a:gd name="T13" fmla="*/ 242 h 254"/>
                <a:gd name="T14" fmla="*/ 72 w 316"/>
                <a:gd name="T15" fmla="*/ 250 h 254"/>
                <a:gd name="T16" fmla="*/ 78 w 316"/>
                <a:gd name="T17" fmla="*/ 254 h 254"/>
                <a:gd name="T18" fmla="*/ 96 w 316"/>
                <a:gd name="T19" fmla="*/ 246 h 254"/>
                <a:gd name="T20" fmla="*/ 112 w 316"/>
                <a:gd name="T21" fmla="*/ 232 h 254"/>
                <a:gd name="T22" fmla="*/ 144 w 316"/>
                <a:gd name="T23" fmla="*/ 236 h 254"/>
                <a:gd name="T24" fmla="*/ 160 w 316"/>
                <a:gd name="T25" fmla="*/ 220 h 254"/>
                <a:gd name="T26" fmla="*/ 178 w 316"/>
                <a:gd name="T27" fmla="*/ 214 h 254"/>
                <a:gd name="T28" fmla="*/ 186 w 316"/>
                <a:gd name="T29" fmla="*/ 214 h 254"/>
                <a:gd name="T30" fmla="*/ 206 w 316"/>
                <a:gd name="T31" fmla="*/ 216 h 254"/>
                <a:gd name="T32" fmla="*/ 208 w 316"/>
                <a:gd name="T33" fmla="*/ 208 h 254"/>
                <a:gd name="T34" fmla="*/ 210 w 316"/>
                <a:gd name="T35" fmla="*/ 192 h 254"/>
                <a:gd name="T36" fmla="*/ 216 w 316"/>
                <a:gd name="T37" fmla="*/ 182 h 254"/>
                <a:gd name="T38" fmla="*/ 238 w 316"/>
                <a:gd name="T39" fmla="*/ 170 h 254"/>
                <a:gd name="T40" fmla="*/ 240 w 316"/>
                <a:gd name="T41" fmla="*/ 174 h 254"/>
                <a:gd name="T42" fmla="*/ 244 w 316"/>
                <a:gd name="T43" fmla="*/ 178 h 254"/>
                <a:gd name="T44" fmla="*/ 274 w 316"/>
                <a:gd name="T45" fmla="*/ 156 h 254"/>
                <a:gd name="T46" fmla="*/ 306 w 316"/>
                <a:gd name="T47" fmla="*/ 136 h 254"/>
                <a:gd name="T48" fmla="*/ 314 w 316"/>
                <a:gd name="T49" fmla="*/ 120 h 254"/>
                <a:gd name="T50" fmla="*/ 312 w 316"/>
                <a:gd name="T51" fmla="*/ 116 h 254"/>
                <a:gd name="T52" fmla="*/ 300 w 316"/>
                <a:gd name="T53" fmla="*/ 106 h 254"/>
                <a:gd name="T54" fmla="*/ 294 w 316"/>
                <a:gd name="T55" fmla="*/ 92 h 254"/>
                <a:gd name="T56" fmla="*/ 288 w 316"/>
                <a:gd name="T57" fmla="*/ 76 h 254"/>
                <a:gd name="T58" fmla="*/ 278 w 316"/>
                <a:gd name="T59" fmla="*/ 68 h 254"/>
                <a:gd name="T60" fmla="*/ 260 w 316"/>
                <a:gd name="T61" fmla="*/ 56 h 254"/>
                <a:gd name="T62" fmla="*/ 238 w 316"/>
                <a:gd name="T63" fmla="*/ 38 h 254"/>
                <a:gd name="T64" fmla="*/ 230 w 316"/>
                <a:gd name="T65" fmla="*/ 22 h 254"/>
                <a:gd name="T66" fmla="*/ 224 w 316"/>
                <a:gd name="T67" fmla="*/ 14 h 254"/>
                <a:gd name="T68" fmla="*/ 224 w 316"/>
                <a:gd name="T69" fmla="*/ 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254">
                  <a:moveTo>
                    <a:pt x="224" y="6"/>
                  </a:moveTo>
                  <a:lnTo>
                    <a:pt x="224" y="6"/>
                  </a:lnTo>
                  <a:lnTo>
                    <a:pt x="204" y="0"/>
                  </a:lnTo>
                  <a:lnTo>
                    <a:pt x="202" y="18"/>
                  </a:lnTo>
                  <a:lnTo>
                    <a:pt x="198" y="20"/>
                  </a:lnTo>
                  <a:lnTo>
                    <a:pt x="200" y="22"/>
                  </a:lnTo>
                  <a:lnTo>
                    <a:pt x="202" y="22"/>
                  </a:lnTo>
                  <a:lnTo>
                    <a:pt x="198" y="28"/>
                  </a:lnTo>
                  <a:lnTo>
                    <a:pt x="190" y="26"/>
                  </a:lnTo>
                  <a:lnTo>
                    <a:pt x="160" y="66"/>
                  </a:lnTo>
                  <a:lnTo>
                    <a:pt x="168" y="94"/>
                  </a:lnTo>
                  <a:lnTo>
                    <a:pt x="118" y="152"/>
                  </a:lnTo>
                  <a:lnTo>
                    <a:pt x="0" y="148"/>
                  </a:lnTo>
                  <a:lnTo>
                    <a:pt x="6" y="242"/>
                  </a:lnTo>
                  <a:lnTo>
                    <a:pt x="50" y="242"/>
                  </a:lnTo>
                  <a:lnTo>
                    <a:pt x="72" y="250"/>
                  </a:lnTo>
                  <a:lnTo>
                    <a:pt x="74" y="252"/>
                  </a:lnTo>
                  <a:lnTo>
                    <a:pt x="78" y="254"/>
                  </a:lnTo>
                  <a:lnTo>
                    <a:pt x="88" y="252"/>
                  </a:lnTo>
                  <a:lnTo>
                    <a:pt x="96" y="246"/>
                  </a:lnTo>
                  <a:lnTo>
                    <a:pt x="98" y="238"/>
                  </a:lnTo>
                  <a:lnTo>
                    <a:pt x="112" y="232"/>
                  </a:lnTo>
                  <a:lnTo>
                    <a:pt x="138" y="238"/>
                  </a:lnTo>
                  <a:lnTo>
                    <a:pt x="144" y="236"/>
                  </a:lnTo>
                  <a:lnTo>
                    <a:pt x="152" y="232"/>
                  </a:lnTo>
                  <a:lnTo>
                    <a:pt x="160" y="220"/>
                  </a:lnTo>
                  <a:lnTo>
                    <a:pt x="166" y="216"/>
                  </a:lnTo>
                  <a:lnTo>
                    <a:pt x="178" y="214"/>
                  </a:lnTo>
                  <a:lnTo>
                    <a:pt x="182" y="212"/>
                  </a:lnTo>
                  <a:lnTo>
                    <a:pt x="186" y="214"/>
                  </a:lnTo>
                  <a:lnTo>
                    <a:pt x="200" y="218"/>
                  </a:lnTo>
                  <a:lnTo>
                    <a:pt x="206" y="216"/>
                  </a:lnTo>
                  <a:lnTo>
                    <a:pt x="208" y="214"/>
                  </a:lnTo>
                  <a:lnTo>
                    <a:pt x="208" y="208"/>
                  </a:lnTo>
                  <a:lnTo>
                    <a:pt x="208" y="206"/>
                  </a:lnTo>
                  <a:lnTo>
                    <a:pt x="210" y="192"/>
                  </a:lnTo>
                  <a:lnTo>
                    <a:pt x="214" y="188"/>
                  </a:lnTo>
                  <a:lnTo>
                    <a:pt x="216" y="182"/>
                  </a:lnTo>
                  <a:lnTo>
                    <a:pt x="234" y="170"/>
                  </a:lnTo>
                  <a:lnTo>
                    <a:pt x="238" y="170"/>
                  </a:lnTo>
                  <a:lnTo>
                    <a:pt x="238" y="172"/>
                  </a:lnTo>
                  <a:lnTo>
                    <a:pt x="240" y="174"/>
                  </a:lnTo>
                  <a:lnTo>
                    <a:pt x="240" y="176"/>
                  </a:lnTo>
                  <a:lnTo>
                    <a:pt x="244" y="178"/>
                  </a:lnTo>
                  <a:lnTo>
                    <a:pt x="246" y="178"/>
                  </a:lnTo>
                  <a:lnTo>
                    <a:pt x="274" y="156"/>
                  </a:lnTo>
                  <a:lnTo>
                    <a:pt x="284" y="152"/>
                  </a:lnTo>
                  <a:lnTo>
                    <a:pt x="306" y="136"/>
                  </a:lnTo>
                  <a:lnTo>
                    <a:pt x="316" y="124"/>
                  </a:lnTo>
                  <a:lnTo>
                    <a:pt x="314" y="120"/>
                  </a:lnTo>
                  <a:lnTo>
                    <a:pt x="312" y="118"/>
                  </a:lnTo>
                  <a:lnTo>
                    <a:pt x="312" y="116"/>
                  </a:lnTo>
                  <a:lnTo>
                    <a:pt x="304" y="112"/>
                  </a:lnTo>
                  <a:lnTo>
                    <a:pt x="300" y="106"/>
                  </a:lnTo>
                  <a:lnTo>
                    <a:pt x="298" y="98"/>
                  </a:lnTo>
                  <a:lnTo>
                    <a:pt x="294" y="92"/>
                  </a:lnTo>
                  <a:lnTo>
                    <a:pt x="294" y="88"/>
                  </a:lnTo>
                  <a:lnTo>
                    <a:pt x="288" y="76"/>
                  </a:lnTo>
                  <a:lnTo>
                    <a:pt x="282" y="70"/>
                  </a:lnTo>
                  <a:lnTo>
                    <a:pt x="278" y="68"/>
                  </a:lnTo>
                  <a:lnTo>
                    <a:pt x="270" y="62"/>
                  </a:lnTo>
                  <a:lnTo>
                    <a:pt x="260" y="56"/>
                  </a:lnTo>
                  <a:lnTo>
                    <a:pt x="244" y="44"/>
                  </a:lnTo>
                  <a:lnTo>
                    <a:pt x="238" y="38"/>
                  </a:lnTo>
                  <a:lnTo>
                    <a:pt x="234" y="34"/>
                  </a:lnTo>
                  <a:lnTo>
                    <a:pt x="230" y="22"/>
                  </a:lnTo>
                  <a:lnTo>
                    <a:pt x="228" y="20"/>
                  </a:lnTo>
                  <a:lnTo>
                    <a:pt x="224" y="14"/>
                  </a:lnTo>
                  <a:lnTo>
                    <a:pt x="224" y="6"/>
                  </a:lnTo>
                  <a:lnTo>
                    <a:pt x="224" y="6"/>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7" name="Freeform 503"/>
            <p:cNvSpPr>
              <a:spLocks/>
            </p:cNvSpPr>
            <p:nvPr/>
          </p:nvSpPr>
          <p:spPr bwMode="auto">
            <a:xfrm>
              <a:off x="1655763" y="3395663"/>
              <a:ext cx="85725" cy="50800"/>
            </a:xfrm>
            <a:custGeom>
              <a:avLst/>
              <a:gdLst>
                <a:gd name="T0" fmla="*/ 38 w 50"/>
                <a:gd name="T1" fmla="*/ 22 h 32"/>
                <a:gd name="T2" fmla="*/ 32 w 50"/>
                <a:gd name="T3" fmla="*/ 20 h 32"/>
                <a:gd name="T4" fmla="*/ 26 w 50"/>
                <a:gd name="T5" fmla="*/ 16 h 32"/>
                <a:gd name="T6" fmla="*/ 22 w 50"/>
                <a:gd name="T7" fmla="*/ 14 h 32"/>
                <a:gd name="T8" fmla="*/ 20 w 50"/>
                <a:gd name="T9" fmla="*/ 10 h 32"/>
                <a:gd name="T10" fmla="*/ 16 w 50"/>
                <a:gd name="T11" fmla="*/ 8 h 32"/>
                <a:gd name="T12" fmla="*/ 18 w 50"/>
                <a:gd name="T13" fmla="*/ 4 h 32"/>
                <a:gd name="T14" fmla="*/ 2 w 50"/>
                <a:gd name="T15" fmla="*/ 0 h 32"/>
                <a:gd name="T16" fmla="*/ 0 w 50"/>
                <a:gd name="T17" fmla="*/ 12 h 32"/>
                <a:gd name="T18" fmla="*/ 4 w 50"/>
                <a:gd name="T19" fmla="*/ 20 h 32"/>
                <a:gd name="T20" fmla="*/ 12 w 50"/>
                <a:gd name="T21" fmla="*/ 26 h 32"/>
                <a:gd name="T22" fmla="*/ 18 w 50"/>
                <a:gd name="T23" fmla="*/ 26 h 32"/>
                <a:gd name="T24" fmla="*/ 28 w 50"/>
                <a:gd name="T25" fmla="*/ 30 h 32"/>
                <a:gd name="T26" fmla="*/ 36 w 50"/>
                <a:gd name="T27" fmla="*/ 28 h 32"/>
                <a:gd name="T28" fmla="*/ 42 w 50"/>
                <a:gd name="T29" fmla="*/ 32 h 32"/>
                <a:gd name="T30" fmla="*/ 48 w 50"/>
                <a:gd name="T31" fmla="*/ 30 h 32"/>
                <a:gd name="T32" fmla="*/ 50 w 50"/>
                <a:gd name="T33" fmla="*/ 26 h 32"/>
                <a:gd name="T34" fmla="*/ 46 w 50"/>
                <a:gd name="T35" fmla="*/ 24 h 32"/>
                <a:gd name="T36" fmla="*/ 38 w 50"/>
                <a:gd name="T37"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32">
                  <a:moveTo>
                    <a:pt x="38" y="22"/>
                  </a:moveTo>
                  <a:lnTo>
                    <a:pt x="32" y="20"/>
                  </a:lnTo>
                  <a:lnTo>
                    <a:pt x="26" y="16"/>
                  </a:lnTo>
                  <a:lnTo>
                    <a:pt x="22" y="14"/>
                  </a:lnTo>
                  <a:lnTo>
                    <a:pt x="20" y="10"/>
                  </a:lnTo>
                  <a:lnTo>
                    <a:pt x="16" y="8"/>
                  </a:lnTo>
                  <a:lnTo>
                    <a:pt x="18" y="4"/>
                  </a:lnTo>
                  <a:lnTo>
                    <a:pt x="2" y="0"/>
                  </a:lnTo>
                  <a:lnTo>
                    <a:pt x="0" y="12"/>
                  </a:lnTo>
                  <a:lnTo>
                    <a:pt x="4" y="20"/>
                  </a:lnTo>
                  <a:lnTo>
                    <a:pt x="12" y="26"/>
                  </a:lnTo>
                  <a:lnTo>
                    <a:pt x="18" y="26"/>
                  </a:lnTo>
                  <a:lnTo>
                    <a:pt x="28" y="30"/>
                  </a:lnTo>
                  <a:lnTo>
                    <a:pt x="36" y="28"/>
                  </a:lnTo>
                  <a:lnTo>
                    <a:pt x="42" y="32"/>
                  </a:lnTo>
                  <a:lnTo>
                    <a:pt x="48" y="30"/>
                  </a:lnTo>
                  <a:lnTo>
                    <a:pt x="50" y="26"/>
                  </a:lnTo>
                  <a:lnTo>
                    <a:pt x="46" y="24"/>
                  </a:lnTo>
                  <a:lnTo>
                    <a:pt x="38" y="22"/>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8" name="Freeform 504"/>
            <p:cNvSpPr>
              <a:spLocks/>
            </p:cNvSpPr>
            <p:nvPr/>
          </p:nvSpPr>
          <p:spPr bwMode="auto">
            <a:xfrm>
              <a:off x="1684338" y="3398838"/>
              <a:ext cx="103188" cy="38100"/>
            </a:xfrm>
            <a:custGeom>
              <a:avLst/>
              <a:gdLst>
                <a:gd name="T0" fmla="*/ 48 w 60"/>
                <a:gd name="T1" fmla="*/ 22 h 24"/>
                <a:gd name="T2" fmla="*/ 56 w 60"/>
                <a:gd name="T3" fmla="*/ 20 h 24"/>
                <a:gd name="T4" fmla="*/ 60 w 60"/>
                <a:gd name="T5" fmla="*/ 16 h 24"/>
                <a:gd name="T6" fmla="*/ 58 w 60"/>
                <a:gd name="T7" fmla="*/ 16 h 24"/>
                <a:gd name="T8" fmla="*/ 38 w 60"/>
                <a:gd name="T9" fmla="*/ 14 h 24"/>
                <a:gd name="T10" fmla="*/ 12 w 60"/>
                <a:gd name="T11" fmla="*/ 2 h 24"/>
                <a:gd name="T12" fmla="*/ 10 w 60"/>
                <a:gd name="T13" fmla="*/ 0 h 24"/>
                <a:gd name="T14" fmla="*/ 8 w 60"/>
                <a:gd name="T15" fmla="*/ 4 h 24"/>
                <a:gd name="T16" fmla="*/ 2 w 60"/>
                <a:gd name="T17" fmla="*/ 2 h 24"/>
                <a:gd name="T18" fmla="*/ 0 w 60"/>
                <a:gd name="T19" fmla="*/ 6 h 24"/>
                <a:gd name="T20" fmla="*/ 4 w 60"/>
                <a:gd name="T21" fmla="*/ 8 h 24"/>
                <a:gd name="T22" fmla="*/ 6 w 60"/>
                <a:gd name="T23" fmla="*/ 12 h 24"/>
                <a:gd name="T24" fmla="*/ 10 w 60"/>
                <a:gd name="T25" fmla="*/ 14 h 24"/>
                <a:gd name="T26" fmla="*/ 16 w 60"/>
                <a:gd name="T27" fmla="*/ 18 h 24"/>
                <a:gd name="T28" fmla="*/ 22 w 60"/>
                <a:gd name="T29" fmla="*/ 20 h 24"/>
                <a:gd name="T30" fmla="*/ 30 w 60"/>
                <a:gd name="T31" fmla="*/ 22 h 24"/>
                <a:gd name="T32" fmla="*/ 34 w 60"/>
                <a:gd name="T33" fmla="*/ 24 h 24"/>
                <a:gd name="T34" fmla="*/ 44 w 60"/>
                <a:gd name="T35" fmla="*/ 20 h 24"/>
                <a:gd name="T36" fmla="*/ 48 w 60"/>
                <a:gd name="T3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24">
                  <a:moveTo>
                    <a:pt x="48" y="22"/>
                  </a:moveTo>
                  <a:lnTo>
                    <a:pt x="56" y="20"/>
                  </a:lnTo>
                  <a:lnTo>
                    <a:pt x="60" y="16"/>
                  </a:lnTo>
                  <a:lnTo>
                    <a:pt x="58" y="16"/>
                  </a:lnTo>
                  <a:lnTo>
                    <a:pt x="38" y="14"/>
                  </a:lnTo>
                  <a:lnTo>
                    <a:pt x="12" y="2"/>
                  </a:lnTo>
                  <a:lnTo>
                    <a:pt x="10" y="0"/>
                  </a:lnTo>
                  <a:lnTo>
                    <a:pt x="8" y="4"/>
                  </a:lnTo>
                  <a:lnTo>
                    <a:pt x="2" y="2"/>
                  </a:lnTo>
                  <a:lnTo>
                    <a:pt x="0" y="6"/>
                  </a:lnTo>
                  <a:lnTo>
                    <a:pt x="4" y="8"/>
                  </a:lnTo>
                  <a:lnTo>
                    <a:pt x="6" y="12"/>
                  </a:lnTo>
                  <a:lnTo>
                    <a:pt x="10" y="14"/>
                  </a:lnTo>
                  <a:lnTo>
                    <a:pt x="16" y="18"/>
                  </a:lnTo>
                  <a:lnTo>
                    <a:pt x="22" y="20"/>
                  </a:lnTo>
                  <a:lnTo>
                    <a:pt x="30" y="22"/>
                  </a:lnTo>
                  <a:lnTo>
                    <a:pt x="34" y="24"/>
                  </a:lnTo>
                  <a:lnTo>
                    <a:pt x="44" y="20"/>
                  </a:lnTo>
                  <a:lnTo>
                    <a:pt x="48" y="22"/>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9" name="Freeform 515"/>
            <p:cNvSpPr>
              <a:spLocks/>
            </p:cNvSpPr>
            <p:nvPr/>
          </p:nvSpPr>
          <p:spPr bwMode="auto">
            <a:xfrm>
              <a:off x="2513013" y="3189288"/>
              <a:ext cx="457200" cy="600075"/>
            </a:xfrm>
            <a:custGeom>
              <a:avLst/>
              <a:gdLst>
                <a:gd name="T0" fmla="*/ 114 w 266"/>
                <a:gd name="T1" fmla="*/ 372 h 378"/>
                <a:gd name="T2" fmla="*/ 40 w 266"/>
                <a:gd name="T3" fmla="*/ 348 h 378"/>
                <a:gd name="T4" fmla="*/ 26 w 266"/>
                <a:gd name="T5" fmla="*/ 318 h 378"/>
                <a:gd name="T6" fmla="*/ 0 w 266"/>
                <a:gd name="T7" fmla="*/ 298 h 378"/>
                <a:gd name="T8" fmla="*/ 24 w 266"/>
                <a:gd name="T9" fmla="*/ 244 h 378"/>
                <a:gd name="T10" fmla="*/ 58 w 266"/>
                <a:gd name="T11" fmla="*/ 218 h 378"/>
                <a:gd name="T12" fmla="*/ 76 w 266"/>
                <a:gd name="T13" fmla="*/ 226 h 378"/>
                <a:gd name="T14" fmla="*/ 70 w 266"/>
                <a:gd name="T15" fmla="*/ 210 h 378"/>
                <a:gd name="T16" fmla="*/ 52 w 266"/>
                <a:gd name="T17" fmla="*/ 154 h 378"/>
                <a:gd name="T18" fmla="*/ 48 w 266"/>
                <a:gd name="T19" fmla="*/ 104 h 378"/>
                <a:gd name="T20" fmla="*/ 64 w 266"/>
                <a:gd name="T21" fmla="*/ 80 h 378"/>
                <a:gd name="T22" fmla="*/ 58 w 266"/>
                <a:gd name="T23" fmla="*/ 76 h 378"/>
                <a:gd name="T24" fmla="*/ 52 w 266"/>
                <a:gd name="T25" fmla="*/ 48 h 378"/>
                <a:gd name="T26" fmla="*/ 68 w 266"/>
                <a:gd name="T27" fmla="*/ 36 h 378"/>
                <a:gd name="T28" fmla="*/ 74 w 266"/>
                <a:gd name="T29" fmla="*/ 32 h 378"/>
                <a:gd name="T30" fmla="*/ 94 w 266"/>
                <a:gd name="T31" fmla="*/ 20 h 378"/>
                <a:gd name="T32" fmla="*/ 112 w 266"/>
                <a:gd name="T33" fmla="*/ 6 h 378"/>
                <a:gd name="T34" fmla="*/ 112 w 266"/>
                <a:gd name="T35" fmla="*/ 24 h 378"/>
                <a:gd name="T36" fmla="*/ 128 w 266"/>
                <a:gd name="T37" fmla="*/ 16 h 378"/>
                <a:gd name="T38" fmla="*/ 178 w 266"/>
                <a:gd name="T39" fmla="*/ 16 h 378"/>
                <a:gd name="T40" fmla="*/ 212 w 266"/>
                <a:gd name="T41" fmla="*/ 16 h 378"/>
                <a:gd name="T42" fmla="*/ 234 w 266"/>
                <a:gd name="T43" fmla="*/ 24 h 378"/>
                <a:gd name="T44" fmla="*/ 244 w 266"/>
                <a:gd name="T45" fmla="*/ 32 h 378"/>
                <a:gd name="T46" fmla="*/ 250 w 266"/>
                <a:gd name="T47" fmla="*/ 48 h 378"/>
                <a:gd name="T48" fmla="*/ 254 w 266"/>
                <a:gd name="T49" fmla="*/ 60 h 378"/>
                <a:gd name="T50" fmla="*/ 258 w 266"/>
                <a:gd name="T51" fmla="*/ 82 h 378"/>
                <a:gd name="T52" fmla="*/ 266 w 266"/>
                <a:gd name="T53" fmla="*/ 106 h 378"/>
                <a:gd name="T54" fmla="*/ 260 w 266"/>
                <a:gd name="T55" fmla="*/ 114 h 378"/>
                <a:gd name="T56" fmla="*/ 238 w 266"/>
                <a:gd name="T57" fmla="*/ 100 h 378"/>
                <a:gd name="T58" fmla="*/ 228 w 266"/>
                <a:gd name="T59" fmla="*/ 96 h 378"/>
                <a:gd name="T60" fmla="*/ 202 w 266"/>
                <a:gd name="T61" fmla="*/ 80 h 378"/>
                <a:gd name="T62" fmla="*/ 186 w 266"/>
                <a:gd name="T63" fmla="*/ 86 h 378"/>
                <a:gd name="T64" fmla="*/ 178 w 266"/>
                <a:gd name="T65" fmla="*/ 80 h 378"/>
                <a:gd name="T66" fmla="*/ 170 w 266"/>
                <a:gd name="T67" fmla="*/ 102 h 378"/>
                <a:gd name="T68" fmla="*/ 150 w 266"/>
                <a:gd name="T69" fmla="*/ 88 h 378"/>
                <a:gd name="T70" fmla="*/ 140 w 266"/>
                <a:gd name="T71" fmla="*/ 96 h 378"/>
                <a:gd name="T72" fmla="*/ 150 w 266"/>
                <a:gd name="T73" fmla="*/ 116 h 378"/>
                <a:gd name="T74" fmla="*/ 154 w 266"/>
                <a:gd name="T75" fmla="*/ 148 h 378"/>
                <a:gd name="T76" fmla="*/ 168 w 266"/>
                <a:gd name="T77" fmla="*/ 166 h 378"/>
                <a:gd name="T78" fmla="*/ 162 w 266"/>
                <a:gd name="T79" fmla="*/ 182 h 378"/>
                <a:gd name="T80" fmla="*/ 154 w 266"/>
                <a:gd name="T81" fmla="*/ 224 h 378"/>
                <a:gd name="T82" fmla="*/ 160 w 266"/>
                <a:gd name="T83" fmla="*/ 206 h 378"/>
                <a:gd name="T84" fmla="*/ 190 w 266"/>
                <a:gd name="T85" fmla="*/ 206 h 378"/>
                <a:gd name="T86" fmla="*/ 206 w 266"/>
                <a:gd name="T87" fmla="*/ 246 h 378"/>
                <a:gd name="T88" fmla="*/ 188 w 266"/>
                <a:gd name="T89" fmla="*/ 254 h 378"/>
                <a:gd name="T90" fmla="*/ 180 w 266"/>
                <a:gd name="T91" fmla="*/ 252 h 378"/>
                <a:gd name="T92" fmla="*/ 154 w 266"/>
                <a:gd name="T93" fmla="*/ 240 h 378"/>
                <a:gd name="T94" fmla="*/ 144 w 266"/>
                <a:gd name="T95" fmla="*/ 244 h 378"/>
                <a:gd name="T96" fmla="*/ 140 w 266"/>
                <a:gd name="T97" fmla="*/ 266 h 378"/>
                <a:gd name="T98" fmla="*/ 164 w 266"/>
                <a:gd name="T99" fmla="*/ 272 h 378"/>
                <a:gd name="T100" fmla="*/ 150 w 266"/>
                <a:gd name="T101" fmla="*/ 274 h 378"/>
                <a:gd name="T102" fmla="*/ 144 w 266"/>
                <a:gd name="T103" fmla="*/ 288 h 378"/>
                <a:gd name="T104" fmla="*/ 152 w 266"/>
                <a:gd name="T105" fmla="*/ 304 h 378"/>
                <a:gd name="T106" fmla="*/ 132 w 266"/>
                <a:gd name="T107" fmla="*/ 358 h 378"/>
                <a:gd name="T108" fmla="*/ 116 w 266"/>
                <a:gd name="T109" fmla="*/ 37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378">
                  <a:moveTo>
                    <a:pt x="116" y="376"/>
                  </a:moveTo>
                  <a:lnTo>
                    <a:pt x="106" y="372"/>
                  </a:lnTo>
                  <a:lnTo>
                    <a:pt x="114" y="372"/>
                  </a:lnTo>
                  <a:lnTo>
                    <a:pt x="118" y="372"/>
                  </a:lnTo>
                  <a:lnTo>
                    <a:pt x="62" y="364"/>
                  </a:lnTo>
                  <a:lnTo>
                    <a:pt x="40" y="348"/>
                  </a:lnTo>
                  <a:lnTo>
                    <a:pt x="28" y="330"/>
                  </a:lnTo>
                  <a:lnTo>
                    <a:pt x="28" y="322"/>
                  </a:lnTo>
                  <a:lnTo>
                    <a:pt x="26" y="318"/>
                  </a:lnTo>
                  <a:lnTo>
                    <a:pt x="12" y="312"/>
                  </a:lnTo>
                  <a:lnTo>
                    <a:pt x="4" y="306"/>
                  </a:lnTo>
                  <a:lnTo>
                    <a:pt x="0" y="298"/>
                  </a:lnTo>
                  <a:lnTo>
                    <a:pt x="16" y="248"/>
                  </a:lnTo>
                  <a:lnTo>
                    <a:pt x="18" y="246"/>
                  </a:lnTo>
                  <a:lnTo>
                    <a:pt x="24" y="244"/>
                  </a:lnTo>
                  <a:lnTo>
                    <a:pt x="26" y="254"/>
                  </a:lnTo>
                  <a:lnTo>
                    <a:pt x="52" y="222"/>
                  </a:lnTo>
                  <a:lnTo>
                    <a:pt x="58" y="218"/>
                  </a:lnTo>
                  <a:lnTo>
                    <a:pt x="64" y="216"/>
                  </a:lnTo>
                  <a:lnTo>
                    <a:pt x="72" y="220"/>
                  </a:lnTo>
                  <a:lnTo>
                    <a:pt x="76" y="226"/>
                  </a:lnTo>
                  <a:lnTo>
                    <a:pt x="76" y="216"/>
                  </a:lnTo>
                  <a:lnTo>
                    <a:pt x="72" y="214"/>
                  </a:lnTo>
                  <a:lnTo>
                    <a:pt x="70" y="210"/>
                  </a:lnTo>
                  <a:lnTo>
                    <a:pt x="64" y="210"/>
                  </a:lnTo>
                  <a:lnTo>
                    <a:pt x="60" y="206"/>
                  </a:lnTo>
                  <a:lnTo>
                    <a:pt x="52" y="154"/>
                  </a:lnTo>
                  <a:lnTo>
                    <a:pt x="50" y="150"/>
                  </a:lnTo>
                  <a:lnTo>
                    <a:pt x="46" y="110"/>
                  </a:lnTo>
                  <a:lnTo>
                    <a:pt x="48" y="104"/>
                  </a:lnTo>
                  <a:lnTo>
                    <a:pt x="54" y="94"/>
                  </a:lnTo>
                  <a:lnTo>
                    <a:pt x="62" y="86"/>
                  </a:lnTo>
                  <a:lnTo>
                    <a:pt x="64" y="80"/>
                  </a:lnTo>
                  <a:lnTo>
                    <a:pt x="56" y="86"/>
                  </a:lnTo>
                  <a:lnTo>
                    <a:pt x="56" y="84"/>
                  </a:lnTo>
                  <a:lnTo>
                    <a:pt x="58" y="76"/>
                  </a:lnTo>
                  <a:lnTo>
                    <a:pt x="56" y="56"/>
                  </a:lnTo>
                  <a:lnTo>
                    <a:pt x="52" y="54"/>
                  </a:lnTo>
                  <a:lnTo>
                    <a:pt x="52" y="48"/>
                  </a:lnTo>
                  <a:lnTo>
                    <a:pt x="60" y="44"/>
                  </a:lnTo>
                  <a:lnTo>
                    <a:pt x="62" y="40"/>
                  </a:lnTo>
                  <a:lnTo>
                    <a:pt x="68" y="36"/>
                  </a:lnTo>
                  <a:lnTo>
                    <a:pt x="70" y="38"/>
                  </a:lnTo>
                  <a:lnTo>
                    <a:pt x="72" y="36"/>
                  </a:lnTo>
                  <a:lnTo>
                    <a:pt x="74" y="32"/>
                  </a:lnTo>
                  <a:lnTo>
                    <a:pt x="80" y="32"/>
                  </a:lnTo>
                  <a:lnTo>
                    <a:pt x="90" y="18"/>
                  </a:lnTo>
                  <a:lnTo>
                    <a:pt x="94" y="20"/>
                  </a:lnTo>
                  <a:lnTo>
                    <a:pt x="104" y="8"/>
                  </a:lnTo>
                  <a:lnTo>
                    <a:pt x="102" y="0"/>
                  </a:lnTo>
                  <a:lnTo>
                    <a:pt x="112" y="6"/>
                  </a:lnTo>
                  <a:lnTo>
                    <a:pt x="110" y="10"/>
                  </a:lnTo>
                  <a:lnTo>
                    <a:pt x="108" y="22"/>
                  </a:lnTo>
                  <a:lnTo>
                    <a:pt x="112" y="24"/>
                  </a:lnTo>
                  <a:lnTo>
                    <a:pt x="114" y="24"/>
                  </a:lnTo>
                  <a:lnTo>
                    <a:pt x="116" y="24"/>
                  </a:lnTo>
                  <a:lnTo>
                    <a:pt x="128" y="16"/>
                  </a:lnTo>
                  <a:lnTo>
                    <a:pt x="140" y="16"/>
                  </a:lnTo>
                  <a:lnTo>
                    <a:pt x="134" y="6"/>
                  </a:lnTo>
                  <a:lnTo>
                    <a:pt x="178" y="16"/>
                  </a:lnTo>
                  <a:lnTo>
                    <a:pt x="200" y="8"/>
                  </a:lnTo>
                  <a:lnTo>
                    <a:pt x="210" y="14"/>
                  </a:lnTo>
                  <a:lnTo>
                    <a:pt x="212" y="16"/>
                  </a:lnTo>
                  <a:lnTo>
                    <a:pt x="218" y="20"/>
                  </a:lnTo>
                  <a:lnTo>
                    <a:pt x="218" y="24"/>
                  </a:lnTo>
                  <a:lnTo>
                    <a:pt x="234" y="24"/>
                  </a:lnTo>
                  <a:lnTo>
                    <a:pt x="240" y="28"/>
                  </a:lnTo>
                  <a:lnTo>
                    <a:pt x="238" y="30"/>
                  </a:lnTo>
                  <a:lnTo>
                    <a:pt x="244" y="32"/>
                  </a:lnTo>
                  <a:lnTo>
                    <a:pt x="248" y="42"/>
                  </a:lnTo>
                  <a:lnTo>
                    <a:pt x="248" y="48"/>
                  </a:lnTo>
                  <a:lnTo>
                    <a:pt x="250" y="48"/>
                  </a:lnTo>
                  <a:lnTo>
                    <a:pt x="250" y="56"/>
                  </a:lnTo>
                  <a:lnTo>
                    <a:pt x="252" y="54"/>
                  </a:lnTo>
                  <a:lnTo>
                    <a:pt x="254" y="60"/>
                  </a:lnTo>
                  <a:lnTo>
                    <a:pt x="252" y="72"/>
                  </a:lnTo>
                  <a:lnTo>
                    <a:pt x="254" y="80"/>
                  </a:lnTo>
                  <a:lnTo>
                    <a:pt x="258" y="82"/>
                  </a:lnTo>
                  <a:lnTo>
                    <a:pt x="258" y="88"/>
                  </a:lnTo>
                  <a:lnTo>
                    <a:pt x="264" y="100"/>
                  </a:lnTo>
                  <a:lnTo>
                    <a:pt x="266" y="106"/>
                  </a:lnTo>
                  <a:lnTo>
                    <a:pt x="260" y="104"/>
                  </a:lnTo>
                  <a:lnTo>
                    <a:pt x="262" y="110"/>
                  </a:lnTo>
                  <a:lnTo>
                    <a:pt x="260" y="114"/>
                  </a:lnTo>
                  <a:lnTo>
                    <a:pt x="254" y="110"/>
                  </a:lnTo>
                  <a:lnTo>
                    <a:pt x="248" y="110"/>
                  </a:lnTo>
                  <a:lnTo>
                    <a:pt x="238" y="100"/>
                  </a:lnTo>
                  <a:lnTo>
                    <a:pt x="236" y="96"/>
                  </a:lnTo>
                  <a:lnTo>
                    <a:pt x="234" y="96"/>
                  </a:lnTo>
                  <a:lnTo>
                    <a:pt x="228" y="96"/>
                  </a:lnTo>
                  <a:lnTo>
                    <a:pt x="220" y="96"/>
                  </a:lnTo>
                  <a:lnTo>
                    <a:pt x="210" y="84"/>
                  </a:lnTo>
                  <a:lnTo>
                    <a:pt x="202" y="80"/>
                  </a:lnTo>
                  <a:lnTo>
                    <a:pt x="196" y="82"/>
                  </a:lnTo>
                  <a:lnTo>
                    <a:pt x="192" y="86"/>
                  </a:lnTo>
                  <a:lnTo>
                    <a:pt x="186" y="86"/>
                  </a:lnTo>
                  <a:lnTo>
                    <a:pt x="182" y="82"/>
                  </a:lnTo>
                  <a:lnTo>
                    <a:pt x="184" y="80"/>
                  </a:lnTo>
                  <a:lnTo>
                    <a:pt x="178" y="80"/>
                  </a:lnTo>
                  <a:lnTo>
                    <a:pt x="174" y="84"/>
                  </a:lnTo>
                  <a:lnTo>
                    <a:pt x="170" y="98"/>
                  </a:lnTo>
                  <a:lnTo>
                    <a:pt x="170" y="102"/>
                  </a:lnTo>
                  <a:lnTo>
                    <a:pt x="164" y="98"/>
                  </a:lnTo>
                  <a:lnTo>
                    <a:pt x="160" y="98"/>
                  </a:lnTo>
                  <a:lnTo>
                    <a:pt x="150" y="88"/>
                  </a:lnTo>
                  <a:lnTo>
                    <a:pt x="142" y="86"/>
                  </a:lnTo>
                  <a:lnTo>
                    <a:pt x="138" y="86"/>
                  </a:lnTo>
                  <a:lnTo>
                    <a:pt x="140" y="96"/>
                  </a:lnTo>
                  <a:lnTo>
                    <a:pt x="148" y="104"/>
                  </a:lnTo>
                  <a:lnTo>
                    <a:pt x="148" y="112"/>
                  </a:lnTo>
                  <a:lnTo>
                    <a:pt x="150" y="116"/>
                  </a:lnTo>
                  <a:lnTo>
                    <a:pt x="152" y="126"/>
                  </a:lnTo>
                  <a:lnTo>
                    <a:pt x="144" y="144"/>
                  </a:lnTo>
                  <a:lnTo>
                    <a:pt x="154" y="148"/>
                  </a:lnTo>
                  <a:lnTo>
                    <a:pt x="156" y="156"/>
                  </a:lnTo>
                  <a:lnTo>
                    <a:pt x="164" y="164"/>
                  </a:lnTo>
                  <a:lnTo>
                    <a:pt x="168" y="166"/>
                  </a:lnTo>
                  <a:lnTo>
                    <a:pt x="174" y="170"/>
                  </a:lnTo>
                  <a:lnTo>
                    <a:pt x="168" y="178"/>
                  </a:lnTo>
                  <a:lnTo>
                    <a:pt x="162" y="182"/>
                  </a:lnTo>
                  <a:lnTo>
                    <a:pt x="152" y="208"/>
                  </a:lnTo>
                  <a:lnTo>
                    <a:pt x="154" y="222"/>
                  </a:lnTo>
                  <a:lnTo>
                    <a:pt x="154" y="224"/>
                  </a:lnTo>
                  <a:lnTo>
                    <a:pt x="160" y="212"/>
                  </a:lnTo>
                  <a:lnTo>
                    <a:pt x="158" y="210"/>
                  </a:lnTo>
                  <a:lnTo>
                    <a:pt x="160" y="206"/>
                  </a:lnTo>
                  <a:lnTo>
                    <a:pt x="166" y="202"/>
                  </a:lnTo>
                  <a:lnTo>
                    <a:pt x="186" y="202"/>
                  </a:lnTo>
                  <a:lnTo>
                    <a:pt x="190" y="206"/>
                  </a:lnTo>
                  <a:lnTo>
                    <a:pt x="194" y="214"/>
                  </a:lnTo>
                  <a:lnTo>
                    <a:pt x="194" y="224"/>
                  </a:lnTo>
                  <a:lnTo>
                    <a:pt x="206" y="246"/>
                  </a:lnTo>
                  <a:lnTo>
                    <a:pt x="196" y="252"/>
                  </a:lnTo>
                  <a:lnTo>
                    <a:pt x="188" y="252"/>
                  </a:lnTo>
                  <a:lnTo>
                    <a:pt x="188" y="254"/>
                  </a:lnTo>
                  <a:lnTo>
                    <a:pt x="192" y="256"/>
                  </a:lnTo>
                  <a:lnTo>
                    <a:pt x="186" y="256"/>
                  </a:lnTo>
                  <a:lnTo>
                    <a:pt x="180" y="252"/>
                  </a:lnTo>
                  <a:lnTo>
                    <a:pt x="174" y="250"/>
                  </a:lnTo>
                  <a:lnTo>
                    <a:pt x="166" y="244"/>
                  </a:lnTo>
                  <a:lnTo>
                    <a:pt x="154" y="240"/>
                  </a:lnTo>
                  <a:lnTo>
                    <a:pt x="154" y="228"/>
                  </a:lnTo>
                  <a:lnTo>
                    <a:pt x="150" y="240"/>
                  </a:lnTo>
                  <a:lnTo>
                    <a:pt x="144" y="244"/>
                  </a:lnTo>
                  <a:lnTo>
                    <a:pt x="140" y="250"/>
                  </a:lnTo>
                  <a:lnTo>
                    <a:pt x="138" y="266"/>
                  </a:lnTo>
                  <a:lnTo>
                    <a:pt x="140" y="266"/>
                  </a:lnTo>
                  <a:lnTo>
                    <a:pt x="146" y="264"/>
                  </a:lnTo>
                  <a:lnTo>
                    <a:pt x="154" y="266"/>
                  </a:lnTo>
                  <a:lnTo>
                    <a:pt x="164" y="272"/>
                  </a:lnTo>
                  <a:lnTo>
                    <a:pt x="164" y="280"/>
                  </a:lnTo>
                  <a:lnTo>
                    <a:pt x="158" y="272"/>
                  </a:lnTo>
                  <a:lnTo>
                    <a:pt x="150" y="274"/>
                  </a:lnTo>
                  <a:lnTo>
                    <a:pt x="156" y="282"/>
                  </a:lnTo>
                  <a:lnTo>
                    <a:pt x="160" y="286"/>
                  </a:lnTo>
                  <a:lnTo>
                    <a:pt x="144" y="288"/>
                  </a:lnTo>
                  <a:lnTo>
                    <a:pt x="144" y="290"/>
                  </a:lnTo>
                  <a:lnTo>
                    <a:pt x="148" y="292"/>
                  </a:lnTo>
                  <a:lnTo>
                    <a:pt x="152" y="304"/>
                  </a:lnTo>
                  <a:lnTo>
                    <a:pt x="158" y="308"/>
                  </a:lnTo>
                  <a:lnTo>
                    <a:pt x="150" y="312"/>
                  </a:lnTo>
                  <a:lnTo>
                    <a:pt x="132" y="358"/>
                  </a:lnTo>
                  <a:lnTo>
                    <a:pt x="132" y="368"/>
                  </a:lnTo>
                  <a:lnTo>
                    <a:pt x="128" y="378"/>
                  </a:lnTo>
                  <a:lnTo>
                    <a:pt x="116" y="376"/>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20" name="Freeform 516"/>
            <p:cNvSpPr>
              <a:spLocks/>
            </p:cNvSpPr>
            <p:nvPr/>
          </p:nvSpPr>
          <p:spPr bwMode="auto">
            <a:xfrm>
              <a:off x="2513013" y="3189288"/>
              <a:ext cx="457200" cy="600075"/>
            </a:xfrm>
            <a:custGeom>
              <a:avLst/>
              <a:gdLst>
                <a:gd name="T0" fmla="*/ 114 w 266"/>
                <a:gd name="T1" fmla="*/ 372 h 378"/>
                <a:gd name="T2" fmla="*/ 40 w 266"/>
                <a:gd name="T3" fmla="*/ 348 h 378"/>
                <a:gd name="T4" fmla="*/ 26 w 266"/>
                <a:gd name="T5" fmla="*/ 318 h 378"/>
                <a:gd name="T6" fmla="*/ 0 w 266"/>
                <a:gd name="T7" fmla="*/ 298 h 378"/>
                <a:gd name="T8" fmla="*/ 24 w 266"/>
                <a:gd name="T9" fmla="*/ 244 h 378"/>
                <a:gd name="T10" fmla="*/ 58 w 266"/>
                <a:gd name="T11" fmla="*/ 218 h 378"/>
                <a:gd name="T12" fmla="*/ 76 w 266"/>
                <a:gd name="T13" fmla="*/ 226 h 378"/>
                <a:gd name="T14" fmla="*/ 70 w 266"/>
                <a:gd name="T15" fmla="*/ 210 h 378"/>
                <a:gd name="T16" fmla="*/ 52 w 266"/>
                <a:gd name="T17" fmla="*/ 154 h 378"/>
                <a:gd name="T18" fmla="*/ 48 w 266"/>
                <a:gd name="T19" fmla="*/ 104 h 378"/>
                <a:gd name="T20" fmla="*/ 64 w 266"/>
                <a:gd name="T21" fmla="*/ 80 h 378"/>
                <a:gd name="T22" fmla="*/ 58 w 266"/>
                <a:gd name="T23" fmla="*/ 76 h 378"/>
                <a:gd name="T24" fmla="*/ 52 w 266"/>
                <a:gd name="T25" fmla="*/ 48 h 378"/>
                <a:gd name="T26" fmla="*/ 68 w 266"/>
                <a:gd name="T27" fmla="*/ 36 h 378"/>
                <a:gd name="T28" fmla="*/ 74 w 266"/>
                <a:gd name="T29" fmla="*/ 32 h 378"/>
                <a:gd name="T30" fmla="*/ 94 w 266"/>
                <a:gd name="T31" fmla="*/ 20 h 378"/>
                <a:gd name="T32" fmla="*/ 112 w 266"/>
                <a:gd name="T33" fmla="*/ 6 h 378"/>
                <a:gd name="T34" fmla="*/ 112 w 266"/>
                <a:gd name="T35" fmla="*/ 24 h 378"/>
                <a:gd name="T36" fmla="*/ 128 w 266"/>
                <a:gd name="T37" fmla="*/ 16 h 378"/>
                <a:gd name="T38" fmla="*/ 178 w 266"/>
                <a:gd name="T39" fmla="*/ 16 h 378"/>
                <a:gd name="T40" fmla="*/ 212 w 266"/>
                <a:gd name="T41" fmla="*/ 16 h 378"/>
                <a:gd name="T42" fmla="*/ 234 w 266"/>
                <a:gd name="T43" fmla="*/ 24 h 378"/>
                <a:gd name="T44" fmla="*/ 244 w 266"/>
                <a:gd name="T45" fmla="*/ 32 h 378"/>
                <a:gd name="T46" fmla="*/ 250 w 266"/>
                <a:gd name="T47" fmla="*/ 48 h 378"/>
                <a:gd name="T48" fmla="*/ 254 w 266"/>
                <a:gd name="T49" fmla="*/ 60 h 378"/>
                <a:gd name="T50" fmla="*/ 258 w 266"/>
                <a:gd name="T51" fmla="*/ 82 h 378"/>
                <a:gd name="T52" fmla="*/ 266 w 266"/>
                <a:gd name="T53" fmla="*/ 106 h 378"/>
                <a:gd name="T54" fmla="*/ 260 w 266"/>
                <a:gd name="T55" fmla="*/ 114 h 378"/>
                <a:gd name="T56" fmla="*/ 238 w 266"/>
                <a:gd name="T57" fmla="*/ 100 h 378"/>
                <a:gd name="T58" fmla="*/ 228 w 266"/>
                <a:gd name="T59" fmla="*/ 96 h 378"/>
                <a:gd name="T60" fmla="*/ 202 w 266"/>
                <a:gd name="T61" fmla="*/ 80 h 378"/>
                <a:gd name="T62" fmla="*/ 186 w 266"/>
                <a:gd name="T63" fmla="*/ 86 h 378"/>
                <a:gd name="T64" fmla="*/ 178 w 266"/>
                <a:gd name="T65" fmla="*/ 80 h 378"/>
                <a:gd name="T66" fmla="*/ 170 w 266"/>
                <a:gd name="T67" fmla="*/ 102 h 378"/>
                <a:gd name="T68" fmla="*/ 150 w 266"/>
                <a:gd name="T69" fmla="*/ 88 h 378"/>
                <a:gd name="T70" fmla="*/ 140 w 266"/>
                <a:gd name="T71" fmla="*/ 96 h 378"/>
                <a:gd name="T72" fmla="*/ 150 w 266"/>
                <a:gd name="T73" fmla="*/ 116 h 378"/>
                <a:gd name="T74" fmla="*/ 154 w 266"/>
                <a:gd name="T75" fmla="*/ 148 h 378"/>
                <a:gd name="T76" fmla="*/ 168 w 266"/>
                <a:gd name="T77" fmla="*/ 166 h 378"/>
                <a:gd name="T78" fmla="*/ 162 w 266"/>
                <a:gd name="T79" fmla="*/ 182 h 378"/>
                <a:gd name="T80" fmla="*/ 154 w 266"/>
                <a:gd name="T81" fmla="*/ 224 h 378"/>
                <a:gd name="T82" fmla="*/ 160 w 266"/>
                <a:gd name="T83" fmla="*/ 206 h 378"/>
                <a:gd name="T84" fmla="*/ 190 w 266"/>
                <a:gd name="T85" fmla="*/ 206 h 378"/>
                <a:gd name="T86" fmla="*/ 206 w 266"/>
                <a:gd name="T87" fmla="*/ 246 h 378"/>
                <a:gd name="T88" fmla="*/ 188 w 266"/>
                <a:gd name="T89" fmla="*/ 254 h 378"/>
                <a:gd name="T90" fmla="*/ 180 w 266"/>
                <a:gd name="T91" fmla="*/ 252 h 378"/>
                <a:gd name="T92" fmla="*/ 154 w 266"/>
                <a:gd name="T93" fmla="*/ 240 h 378"/>
                <a:gd name="T94" fmla="*/ 144 w 266"/>
                <a:gd name="T95" fmla="*/ 244 h 378"/>
                <a:gd name="T96" fmla="*/ 140 w 266"/>
                <a:gd name="T97" fmla="*/ 266 h 378"/>
                <a:gd name="T98" fmla="*/ 164 w 266"/>
                <a:gd name="T99" fmla="*/ 272 h 378"/>
                <a:gd name="T100" fmla="*/ 150 w 266"/>
                <a:gd name="T101" fmla="*/ 274 h 378"/>
                <a:gd name="T102" fmla="*/ 144 w 266"/>
                <a:gd name="T103" fmla="*/ 288 h 378"/>
                <a:gd name="T104" fmla="*/ 152 w 266"/>
                <a:gd name="T105" fmla="*/ 304 h 378"/>
                <a:gd name="T106" fmla="*/ 132 w 266"/>
                <a:gd name="T107" fmla="*/ 358 h 378"/>
                <a:gd name="T108" fmla="*/ 116 w 266"/>
                <a:gd name="T109" fmla="*/ 37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378">
                  <a:moveTo>
                    <a:pt x="116" y="376"/>
                  </a:moveTo>
                  <a:lnTo>
                    <a:pt x="106" y="372"/>
                  </a:lnTo>
                  <a:lnTo>
                    <a:pt x="114" y="372"/>
                  </a:lnTo>
                  <a:lnTo>
                    <a:pt x="118" y="372"/>
                  </a:lnTo>
                  <a:lnTo>
                    <a:pt x="62" y="364"/>
                  </a:lnTo>
                  <a:lnTo>
                    <a:pt x="40" y="348"/>
                  </a:lnTo>
                  <a:lnTo>
                    <a:pt x="28" y="330"/>
                  </a:lnTo>
                  <a:lnTo>
                    <a:pt x="28" y="322"/>
                  </a:lnTo>
                  <a:lnTo>
                    <a:pt x="26" y="318"/>
                  </a:lnTo>
                  <a:lnTo>
                    <a:pt x="12" y="312"/>
                  </a:lnTo>
                  <a:lnTo>
                    <a:pt x="4" y="306"/>
                  </a:lnTo>
                  <a:lnTo>
                    <a:pt x="0" y="298"/>
                  </a:lnTo>
                  <a:lnTo>
                    <a:pt x="16" y="248"/>
                  </a:lnTo>
                  <a:lnTo>
                    <a:pt x="18" y="246"/>
                  </a:lnTo>
                  <a:lnTo>
                    <a:pt x="24" y="244"/>
                  </a:lnTo>
                  <a:lnTo>
                    <a:pt x="26" y="254"/>
                  </a:lnTo>
                  <a:lnTo>
                    <a:pt x="52" y="222"/>
                  </a:lnTo>
                  <a:lnTo>
                    <a:pt x="58" y="218"/>
                  </a:lnTo>
                  <a:lnTo>
                    <a:pt x="64" y="216"/>
                  </a:lnTo>
                  <a:lnTo>
                    <a:pt x="72" y="220"/>
                  </a:lnTo>
                  <a:lnTo>
                    <a:pt x="76" y="226"/>
                  </a:lnTo>
                  <a:lnTo>
                    <a:pt x="76" y="216"/>
                  </a:lnTo>
                  <a:lnTo>
                    <a:pt x="72" y="214"/>
                  </a:lnTo>
                  <a:lnTo>
                    <a:pt x="70" y="210"/>
                  </a:lnTo>
                  <a:lnTo>
                    <a:pt x="64" y="210"/>
                  </a:lnTo>
                  <a:lnTo>
                    <a:pt x="60" y="206"/>
                  </a:lnTo>
                  <a:lnTo>
                    <a:pt x="52" y="154"/>
                  </a:lnTo>
                  <a:lnTo>
                    <a:pt x="50" y="150"/>
                  </a:lnTo>
                  <a:lnTo>
                    <a:pt x="46" y="110"/>
                  </a:lnTo>
                  <a:lnTo>
                    <a:pt x="48" y="104"/>
                  </a:lnTo>
                  <a:lnTo>
                    <a:pt x="54" y="94"/>
                  </a:lnTo>
                  <a:lnTo>
                    <a:pt x="62" y="86"/>
                  </a:lnTo>
                  <a:lnTo>
                    <a:pt x="64" y="80"/>
                  </a:lnTo>
                  <a:lnTo>
                    <a:pt x="56" y="86"/>
                  </a:lnTo>
                  <a:lnTo>
                    <a:pt x="56" y="84"/>
                  </a:lnTo>
                  <a:lnTo>
                    <a:pt x="58" y="76"/>
                  </a:lnTo>
                  <a:lnTo>
                    <a:pt x="56" y="56"/>
                  </a:lnTo>
                  <a:lnTo>
                    <a:pt x="52" y="54"/>
                  </a:lnTo>
                  <a:lnTo>
                    <a:pt x="52" y="48"/>
                  </a:lnTo>
                  <a:lnTo>
                    <a:pt x="60" y="44"/>
                  </a:lnTo>
                  <a:lnTo>
                    <a:pt x="62" y="40"/>
                  </a:lnTo>
                  <a:lnTo>
                    <a:pt x="68" y="36"/>
                  </a:lnTo>
                  <a:lnTo>
                    <a:pt x="70" y="38"/>
                  </a:lnTo>
                  <a:lnTo>
                    <a:pt x="72" y="36"/>
                  </a:lnTo>
                  <a:lnTo>
                    <a:pt x="74" y="32"/>
                  </a:lnTo>
                  <a:lnTo>
                    <a:pt x="80" y="32"/>
                  </a:lnTo>
                  <a:lnTo>
                    <a:pt x="90" y="18"/>
                  </a:lnTo>
                  <a:lnTo>
                    <a:pt x="94" y="20"/>
                  </a:lnTo>
                  <a:lnTo>
                    <a:pt x="104" y="8"/>
                  </a:lnTo>
                  <a:lnTo>
                    <a:pt x="102" y="0"/>
                  </a:lnTo>
                  <a:lnTo>
                    <a:pt x="112" y="6"/>
                  </a:lnTo>
                  <a:lnTo>
                    <a:pt x="110" y="10"/>
                  </a:lnTo>
                  <a:lnTo>
                    <a:pt x="108" y="22"/>
                  </a:lnTo>
                  <a:lnTo>
                    <a:pt x="112" y="24"/>
                  </a:lnTo>
                  <a:lnTo>
                    <a:pt x="114" y="24"/>
                  </a:lnTo>
                  <a:lnTo>
                    <a:pt x="116" y="24"/>
                  </a:lnTo>
                  <a:lnTo>
                    <a:pt x="128" y="16"/>
                  </a:lnTo>
                  <a:lnTo>
                    <a:pt x="140" y="16"/>
                  </a:lnTo>
                  <a:lnTo>
                    <a:pt x="134" y="6"/>
                  </a:lnTo>
                  <a:lnTo>
                    <a:pt x="178" y="16"/>
                  </a:lnTo>
                  <a:lnTo>
                    <a:pt x="200" y="8"/>
                  </a:lnTo>
                  <a:lnTo>
                    <a:pt x="210" y="14"/>
                  </a:lnTo>
                  <a:lnTo>
                    <a:pt x="212" y="16"/>
                  </a:lnTo>
                  <a:lnTo>
                    <a:pt x="218" y="20"/>
                  </a:lnTo>
                  <a:lnTo>
                    <a:pt x="218" y="24"/>
                  </a:lnTo>
                  <a:lnTo>
                    <a:pt x="234" y="24"/>
                  </a:lnTo>
                  <a:lnTo>
                    <a:pt x="240" y="28"/>
                  </a:lnTo>
                  <a:lnTo>
                    <a:pt x="238" y="30"/>
                  </a:lnTo>
                  <a:lnTo>
                    <a:pt x="244" y="32"/>
                  </a:lnTo>
                  <a:lnTo>
                    <a:pt x="248" y="42"/>
                  </a:lnTo>
                  <a:lnTo>
                    <a:pt x="248" y="48"/>
                  </a:lnTo>
                  <a:lnTo>
                    <a:pt x="250" y="48"/>
                  </a:lnTo>
                  <a:lnTo>
                    <a:pt x="250" y="56"/>
                  </a:lnTo>
                  <a:lnTo>
                    <a:pt x="252" y="54"/>
                  </a:lnTo>
                  <a:lnTo>
                    <a:pt x="254" y="60"/>
                  </a:lnTo>
                  <a:lnTo>
                    <a:pt x="252" y="72"/>
                  </a:lnTo>
                  <a:lnTo>
                    <a:pt x="254" y="80"/>
                  </a:lnTo>
                  <a:lnTo>
                    <a:pt x="258" y="82"/>
                  </a:lnTo>
                  <a:lnTo>
                    <a:pt x="258" y="88"/>
                  </a:lnTo>
                  <a:lnTo>
                    <a:pt x="264" y="100"/>
                  </a:lnTo>
                  <a:lnTo>
                    <a:pt x="266" y="106"/>
                  </a:lnTo>
                  <a:lnTo>
                    <a:pt x="260" y="104"/>
                  </a:lnTo>
                  <a:lnTo>
                    <a:pt x="262" y="110"/>
                  </a:lnTo>
                  <a:lnTo>
                    <a:pt x="260" y="114"/>
                  </a:lnTo>
                  <a:lnTo>
                    <a:pt x="254" y="110"/>
                  </a:lnTo>
                  <a:lnTo>
                    <a:pt x="248" y="110"/>
                  </a:lnTo>
                  <a:lnTo>
                    <a:pt x="238" y="100"/>
                  </a:lnTo>
                  <a:lnTo>
                    <a:pt x="236" y="96"/>
                  </a:lnTo>
                  <a:lnTo>
                    <a:pt x="234" y="96"/>
                  </a:lnTo>
                  <a:lnTo>
                    <a:pt x="228" y="96"/>
                  </a:lnTo>
                  <a:lnTo>
                    <a:pt x="220" y="96"/>
                  </a:lnTo>
                  <a:lnTo>
                    <a:pt x="210" y="84"/>
                  </a:lnTo>
                  <a:lnTo>
                    <a:pt x="202" y="80"/>
                  </a:lnTo>
                  <a:lnTo>
                    <a:pt x="196" y="82"/>
                  </a:lnTo>
                  <a:lnTo>
                    <a:pt x="192" y="86"/>
                  </a:lnTo>
                  <a:lnTo>
                    <a:pt x="186" y="86"/>
                  </a:lnTo>
                  <a:lnTo>
                    <a:pt x="182" y="82"/>
                  </a:lnTo>
                  <a:lnTo>
                    <a:pt x="184" y="80"/>
                  </a:lnTo>
                  <a:lnTo>
                    <a:pt x="178" y="80"/>
                  </a:lnTo>
                  <a:lnTo>
                    <a:pt x="174" y="84"/>
                  </a:lnTo>
                  <a:lnTo>
                    <a:pt x="170" y="98"/>
                  </a:lnTo>
                  <a:lnTo>
                    <a:pt x="170" y="102"/>
                  </a:lnTo>
                  <a:lnTo>
                    <a:pt x="164" y="98"/>
                  </a:lnTo>
                  <a:lnTo>
                    <a:pt x="160" y="98"/>
                  </a:lnTo>
                  <a:lnTo>
                    <a:pt x="150" y="88"/>
                  </a:lnTo>
                  <a:lnTo>
                    <a:pt x="142" y="86"/>
                  </a:lnTo>
                  <a:lnTo>
                    <a:pt x="138" y="86"/>
                  </a:lnTo>
                  <a:lnTo>
                    <a:pt x="140" y="96"/>
                  </a:lnTo>
                  <a:lnTo>
                    <a:pt x="148" y="104"/>
                  </a:lnTo>
                  <a:lnTo>
                    <a:pt x="148" y="112"/>
                  </a:lnTo>
                  <a:lnTo>
                    <a:pt x="150" y="116"/>
                  </a:lnTo>
                  <a:lnTo>
                    <a:pt x="152" y="126"/>
                  </a:lnTo>
                  <a:lnTo>
                    <a:pt x="144" y="144"/>
                  </a:lnTo>
                  <a:lnTo>
                    <a:pt x="154" y="148"/>
                  </a:lnTo>
                  <a:lnTo>
                    <a:pt x="156" y="156"/>
                  </a:lnTo>
                  <a:lnTo>
                    <a:pt x="164" y="164"/>
                  </a:lnTo>
                  <a:lnTo>
                    <a:pt x="168" y="166"/>
                  </a:lnTo>
                  <a:lnTo>
                    <a:pt x="174" y="170"/>
                  </a:lnTo>
                  <a:lnTo>
                    <a:pt x="168" y="178"/>
                  </a:lnTo>
                  <a:lnTo>
                    <a:pt x="162" y="182"/>
                  </a:lnTo>
                  <a:lnTo>
                    <a:pt x="152" y="208"/>
                  </a:lnTo>
                  <a:lnTo>
                    <a:pt x="154" y="222"/>
                  </a:lnTo>
                  <a:lnTo>
                    <a:pt x="154" y="224"/>
                  </a:lnTo>
                  <a:lnTo>
                    <a:pt x="160" y="212"/>
                  </a:lnTo>
                  <a:lnTo>
                    <a:pt x="158" y="210"/>
                  </a:lnTo>
                  <a:lnTo>
                    <a:pt x="160" y="206"/>
                  </a:lnTo>
                  <a:lnTo>
                    <a:pt x="166" y="202"/>
                  </a:lnTo>
                  <a:lnTo>
                    <a:pt x="186" y="202"/>
                  </a:lnTo>
                  <a:lnTo>
                    <a:pt x="190" y="206"/>
                  </a:lnTo>
                  <a:lnTo>
                    <a:pt x="194" y="214"/>
                  </a:lnTo>
                  <a:lnTo>
                    <a:pt x="194" y="224"/>
                  </a:lnTo>
                  <a:lnTo>
                    <a:pt x="206" y="246"/>
                  </a:lnTo>
                  <a:lnTo>
                    <a:pt x="196" y="252"/>
                  </a:lnTo>
                  <a:lnTo>
                    <a:pt x="188" y="252"/>
                  </a:lnTo>
                  <a:lnTo>
                    <a:pt x="188" y="254"/>
                  </a:lnTo>
                  <a:lnTo>
                    <a:pt x="192" y="256"/>
                  </a:lnTo>
                  <a:lnTo>
                    <a:pt x="186" y="256"/>
                  </a:lnTo>
                  <a:lnTo>
                    <a:pt x="180" y="252"/>
                  </a:lnTo>
                  <a:lnTo>
                    <a:pt x="174" y="250"/>
                  </a:lnTo>
                  <a:lnTo>
                    <a:pt x="166" y="244"/>
                  </a:lnTo>
                  <a:lnTo>
                    <a:pt x="154" y="240"/>
                  </a:lnTo>
                  <a:lnTo>
                    <a:pt x="154" y="228"/>
                  </a:lnTo>
                  <a:lnTo>
                    <a:pt x="150" y="240"/>
                  </a:lnTo>
                  <a:lnTo>
                    <a:pt x="144" y="244"/>
                  </a:lnTo>
                  <a:lnTo>
                    <a:pt x="140" y="250"/>
                  </a:lnTo>
                  <a:lnTo>
                    <a:pt x="138" y="266"/>
                  </a:lnTo>
                  <a:lnTo>
                    <a:pt x="140" y="266"/>
                  </a:lnTo>
                  <a:lnTo>
                    <a:pt x="146" y="264"/>
                  </a:lnTo>
                  <a:lnTo>
                    <a:pt x="154" y="266"/>
                  </a:lnTo>
                  <a:lnTo>
                    <a:pt x="164" y="272"/>
                  </a:lnTo>
                  <a:lnTo>
                    <a:pt x="164" y="280"/>
                  </a:lnTo>
                  <a:lnTo>
                    <a:pt x="158" y="272"/>
                  </a:lnTo>
                  <a:lnTo>
                    <a:pt x="150" y="274"/>
                  </a:lnTo>
                  <a:lnTo>
                    <a:pt x="156" y="282"/>
                  </a:lnTo>
                  <a:lnTo>
                    <a:pt x="160" y="286"/>
                  </a:lnTo>
                  <a:lnTo>
                    <a:pt x="144" y="288"/>
                  </a:lnTo>
                  <a:lnTo>
                    <a:pt x="144" y="290"/>
                  </a:lnTo>
                  <a:lnTo>
                    <a:pt x="148" y="292"/>
                  </a:lnTo>
                  <a:lnTo>
                    <a:pt x="152" y="304"/>
                  </a:lnTo>
                  <a:lnTo>
                    <a:pt x="158" y="308"/>
                  </a:lnTo>
                  <a:lnTo>
                    <a:pt x="150" y="312"/>
                  </a:lnTo>
                  <a:lnTo>
                    <a:pt x="132" y="358"/>
                  </a:lnTo>
                  <a:lnTo>
                    <a:pt x="132" y="368"/>
                  </a:lnTo>
                  <a:lnTo>
                    <a:pt x="128" y="378"/>
                  </a:lnTo>
                  <a:lnTo>
                    <a:pt x="116" y="37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grpSp>
      <p:cxnSp>
        <p:nvCxnSpPr>
          <p:cNvPr id="10" name="Straight Connector 9"/>
          <p:cNvCxnSpPr/>
          <p:nvPr/>
        </p:nvCxnSpPr>
        <p:spPr>
          <a:xfrm>
            <a:off x="6974120" y="3860801"/>
            <a:ext cx="0" cy="2084865"/>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6929120" y="3799840"/>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50691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71622680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1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Rectangle 1"/>
          <p:cNvSpPr/>
          <p:nvPr/>
        </p:nvSpPr>
        <p:spPr>
          <a:xfrm>
            <a:off x="1524000" y="1544320"/>
            <a:ext cx="9144000" cy="28956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
        <p:nvSpPr>
          <p:cNvPr id="8" name="Text Placeholder 7"/>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grpSp>
        <p:nvGrpSpPr>
          <p:cNvPr id="17" name="Group 16"/>
          <p:cNvGrpSpPr>
            <a:grpSpLocks noChangeAspect="1"/>
          </p:cNvGrpSpPr>
          <p:nvPr/>
        </p:nvGrpSpPr>
        <p:grpSpPr bwMode="gray">
          <a:xfrm>
            <a:off x="1836669" y="1710693"/>
            <a:ext cx="3388598" cy="1980000"/>
            <a:chOff x="236680" y="1501996"/>
            <a:chExt cx="6583681" cy="3846923"/>
          </a:xfrm>
          <a:solidFill>
            <a:schemeClr val="tx1">
              <a:lumMod val="60000"/>
              <a:lumOff val="40000"/>
            </a:schemeClr>
          </a:solidFill>
        </p:grpSpPr>
        <p:sp>
          <p:nvSpPr>
            <p:cNvPr id="41" name="Freeform 7"/>
            <p:cNvSpPr>
              <a:spLocks noEditPoints="1"/>
            </p:cNvSpPr>
            <p:nvPr/>
          </p:nvSpPr>
          <p:spPr bwMode="gray">
            <a:xfrm>
              <a:off x="800638" y="1560515"/>
              <a:ext cx="1606930" cy="1923462"/>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2" name="Freeform 8"/>
            <p:cNvSpPr>
              <a:spLocks noEditPoints="1"/>
            </p:cNvSpPr>
            <p:nvPr/>
          </p:nvSpPr>
          <p:spPr bwMode="gray">
            <a:xfrm>
              <a:off x="2046913" y="1501996"/>
              <a:ext cx="1091710" cy="1499842"/>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3" name="Freeform 9"/>
            <p:cNvSpPr>
              <a:spLocks noEditPoints="1"/>
            </p:cNvSpPr>
            <p:nvPr/>
          </p:nvSpPr>
          <p:spPr bwMode="gray">
            <a:xfrm>
              <a:off x="236680" y="2527333"/>
              <a:ext cx="1911885" cy="1400617"/>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4" name="Freeform 10"/>
            <p:cNvSpPr>
              <a:spLocks/>
            </p:cNvSpPr>
            <p:nvPr/>
          </p:nvSpPr>
          <p:spPr bwMode="gray">
            <a:xfrm>
              <a:off x="1235095" y="3673524"/>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5" name="Freeform 11"/>
            <p:cNvSpPr>
              <a:spLocks/>
            </p:cNvSpPr>
            <p:nvPr/>
          </p:nvSpPr>
          <p:spPr bwMode="gray">
            <a:xfrm>
              <a:off x="1825508" y="3852894"/>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6" name="Freeform 12"/>
            <p:cNvSpPr>
              <a:spLocks/>
            </p:cNvSpPr>
            <p:nvPr/>
          </p:nvSpPr>
          <p:spPr bwMode="gray">
            <a:xfrm>
              <a:off x="1743352" y="393558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7" name="Freeform 13"/>
            <p:cNvSpPr>
              <a:spLocks/>
            </p:cNvSpPr>
            <p:nvPr/>
          </p:nvSpPr>
          <p:spPr bwMode="gray">
            <a:xfrm>
              <a:off x="1687653" y="394703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8" name="Freeform 14"/>
            <p:cNvSpPr>
              <a:spLocks/>
            </p:cNvSpPr>
            <p:nvPr/>
          </p:nvSpPr>
          <p:spPr bwMode="gray">
            <a:xfrm>
              <a:off x="2926967" y="2753773"/>
              <a:ext cx="193556" cy="123397"/>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9" name="Freeform 15"/>
            <p:cNvSpPr>
              <a:spLocks/>
            </p:cNvSpPr>
            <p:nvPr/>
          </p:nvSpPr>
          <p:spPr bwMode="gray">
            <a:xfrm>
              <a:off x="1726643" y="4005550"/>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16"/>
            <p:cNvSpPr>
              <a:spLocks/>
            </p:cNvSpPr>
            <p:nvPr/>
          </p:nvSpPr>
          <p:spPr bwMode="gray">
            <a:xfrm>
              <a:off x="1740567" y="397883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17"/>
            <p:cNvSpPr>
              <a:spLocks/>
            </p:cNvSpPr>
            <p:nvPr/>
          </p:nvSpPr>
          <p:spPr bwMode="gray">
            <a:xfrm>
              <a:off x="1941085" y="3935582"/>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18"/>
            <p:cNvSpPr>
              <a:spLocks/>
            </p:cNvSpPr>
            <p:nvPr/>
          </p:nvSpPr>
          <p:spPr bwMode="gray">
            <a:xfrm>
              <a:off x="1771202" y="399664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3" name="Freeform 19"/>
            <p:cNvSpPr>
              <a:spLocks/>
            </p:cNvSpPr>
            <p:nvPr/>
          </p:nvSpPr>
          <p:spPr bwMode="gray">
            <a:xfrm>
              <a:off x="2012103" y="391014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20"/>
            <p:cNvSpPr>
              <a:spLocks/>
            </p:cNvSpPr>
            <p:nvPr/>
          </p:nvSpPr>
          <p:spPr bwMode="gray">
            <a:xfrm>
              <a:off x="2058053" y="3910140"/>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21"/>
            <p:cNvSpPr>
              <a:spLocks/>
            </p:cNvSpPr>
            <p:nvPr/>
          </p:nvSpPr>
          <p:spPr bwMode="gray">
            <a:xfrm>
              <a:off x="1804622" y="4061523"/>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22"/>
            <p:cNvSpPr>
              <a:spLocks/>
            </p:cNvSpPr>
            <p:nvPr/>
          </p:nvSpPr>
          <p:spPr bwMode="gray">
            <a:xfrm>
              <a:off x="2144389" y="393431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23"/>
            <p:cNvSpPr>
              <a:spLocks/>
            </p:cNvSpPr>
            <p:nvPr/>
          </p:nvSpPr>
          <p:spPr bwMode="gray">
            <a:xfrm>
              <a:off x="1857536" y="4086966"/>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24"/>
            <p:cNvSpPr>
              <a:spLocks/>
            </p:cNvSpPr>
            <p:nvPr/>
          </p:nvSpPr>
          <p:spPr bwMode="gray">
            <a:xfrm>
              <a:off x="2237685" y="4066612"/>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Freeform 25"/>
            <p:cNvSpPr>
              <a:spLocks/>
            </p:cNvSpPr>
            <p:nvPr/>
          </p:nvSpPr>
          <p:spPr bwMode="gray">
            <a:xfrm>
              <a:off x="2032989" y="4043714"/>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26"/>
            <p:cNvSpPr>
              <a:spLocks/>
            </p:cNvSpPr>
            <p:nvPr/>
          </p:nvSpPr>
          <p:spPr bwMode="gray">
            <a:xfrm>
              <a:off x="1893741" y="422562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7"/>
            <p:cNvSpPr>
              <a:spLocks/>
            </p:cNvSpPr>
            <p:nvPr/>
          </p:nvSpPr>
          <p:spPr bwMode="gray">
            <a:xfrm>
              <a:off x="1928554" y="4039897"/>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Freeform 28"/>
            <p:cNvSpPr>
              <a:spLocks/>
            </p:cNvSpPr>
            <p:nvPr/>
          </p:nvSpPr>
          <p:spPr bwMode="gray">
            <a:xfrm>
              <a:off x="3176222" y="3141772"/>
              <a:ext cx="80764" cy="105587"/>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3" name="Freeform 29"/>
            <p:cNvSpPr>
              <a:spLocks/>
            </p:cNvSpPr>
            <p:nvPr/>
          </p:nvSpPr>
          <p:spPr bwMode="gray">
            <a:xfrm>
              <a:off x="2251610" y="410732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4" name="Freeform 30"/>
            <p:cNvSpPr>
              <a:spLocks noEditPoints="1"/>
            </p:cNvSpPr>
            <p:nvPr/>
          </p:nvSpPr>
          <p:spPr bwMode="gray">
            <a:xfrm>
              <a:off x="3219388" y="3040002"/>
              <a:ext cx="178238" cy="246794"/>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5" name="Freeform 31"/>
            <p:cNvSpPr>
              <a:spLocks/>
            </p:cNvSpPr>
            <p:nvPr/>
          </p:nvSpPr>
          <p:spPr bwMode="gray">
            <a:xfrm>
              <a:off x="2311487" y="414802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Freeform 32"/>
            <p:cNvSpPr>
              <a:spLocks/>
            </p:cNvSpPr>
            <p:nvPr/>
          </p:nvSpPr>
          <p:spPr bwMode="gray">
            <a:xfrm>
              <a:off x="2376934" y="415311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7" name="Freeform 33"/>
            <p:cNvSpPr>
              <a:spLocks noEditPoints="1"/>
            </p:cNvSpPr>
            <p:nvPr/>
          </p:nvSpPr>
          <p:spPr bwMode="gray">
            <a:xfrm>
              <a:off x="3457504" y="1863281"/>
              <a:ext cx="473445" cy="1195803"/>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Freeform 34"/>
            <p:cNvSpPr>
              <a:spLocks/>
            </p:cNvSpPr>
            <p:nvPr/>
          </p:nvSpPr>
          <p:spPr bwMode="gray">
            <a:xfrm>
              <a:off x="1885386" y="4249798"/>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9" name="Freeform 35"/>
            <p:cNvSpPr>
              <a:spLocks/>
            </p:cNvSpPr>
            <p:nvPr/>
          </p:nvSpPr>
          <p:spPr bwMode="gray">
            <a:xfrm>
              <a:off x="3192932" y="3475070"/>
              <a:ext cx="62663" cy="110676"/>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Freeform 36"/>
            <p:cNvSpPr>
              <a:spLocks/>
            </p:cNvSpPr>
            <p:nvPr/>
          </p:nvSpPr>
          <p:spPr bwMode="gray">
            <a:xfrm>
              <a:off x="3431047" y="3195202"/>
              <a:ext cx="66839" cy="71239"/>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Freeform 37"/>
            <p:cNvSpPr>
              <a:spLocks/>
            </p:cNvSpPr>
            <p:nvPr/>
          </p:nvSpPr>
          <p:spPr bwMode="gray">
            <a:xfrm>
              <a:off x="3412944" y="3246086"/>
              <a:ext cx="68233" cy="5215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Freeform 38"/>
            <p:cNvSpPr>
              <a:spLocks noEditPoints="1"/>
            </p:cNvSpPr>
            <p:nvPr/>
          </p:nvSpPr>
          <p:spPr bwMode="gray">
            <a:xfrm>
              <a:off x="3279266" y="3256264"/>
              <a:ext cx="260395" cy="235345"/>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3" name="Freeform 39"/>
            <p:cNvSpPr>
              <a:spLocks/>
            </p:cNvSpPr>
            <p:nvPr/>
          </p:nvSpPr>
          <p:spPr bwMode="gray">
            <a:xfrm>
              <a:off x="3198502" y="3438179"/>
              <a:ext cx="225583" cy="167921"/>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40"/>
            <p:cNvSpPr>
              <a:spLocks noEditPoints="1"/>
            </p:cNvSpPr>
            <p:nvPr/>
          </p:nvSpPr>
          <p:spPr bwMode="gray">
            <a:xfrm>
              <a:off x="3513202" y="3065444"/>
              <a:ext cx="80764" cy="86505"/>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5" name="Freeform 41"/>
            <p:cNvSpPr>
              <a:spLocks/>
            </p:cNvSpPr>
            <p:nvPr/>
          </p:nvSpPr>
          <p:spPr bwMode="gray">
            <a:xfrm>
              <a:off x="3471428" y="3281707"/>
              <a:ext cx="13925" cy="17810"/>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Freeform 42"/>
            <p:cNvSpPr>
              <a:spLocks/>
            </p:cNvSpPr>
            <p:nvPr/>
          </p:nvSpPr>
          <p:spPr bwMode="gray">
            <a:xfrm>
              <a:off x="3567510" y="2643096"/>
              <a:ext cx="235331" cy="496132"/>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Freeform 43"/>
            <p:cNvSpPr>
              <a:spLocks/>
            </p:cNvSpPr>
            <p:nvPr/>
          </p:nvSpPr>
          <p:spPr bwMode="gray">
            <a:xfrm>
              <a:off x="3127484" y="3608644"/>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44"/>
            <p:cNvSpPr>
              <a:spLocks noEditPoints="1"/>
            </p:cNvSpPr>
            <p:nvPr/>
          </p:nvSpPr>
          <p:spPr bwMode="gray">
            <a:xfrm>
              <a:off x="3474213" y="3150676"/>
              <a:ext cx="165706" cy="202269"/>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45"/>
            <p:cNvSpPr>
              <a:spLocks/>
            </p:cNvSpPr>
            <p:nvPr/>
          </p:nvSpPr>
          <p:spPr bwMode="gray">
            <a:xfrm>
              <a:off x="3057860" y="3771477"/>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0" name="Freeform 46"/>
            <p:cNvSpPr>
              <a:spLocks/>
            </p:cNvSpPr>
            <p:nvPr/>
          </p:nvSpPr>
          <p:spPr bwMode="gray">
            <a:xfrm>
              <a:off x="3474213" y="3341497"/>
              <a:ext cx="82157" cy="45796"/>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1" name="Freeform 47"/>
            <p:cNvSpPr>
              <a:spLocks/>
            </p:cNvSpPr>
            <p:nvPr/>
          </p:nvSpPr>
          <p:spPr bwMode="gray">
            <a:xfrm>
              <a:off x="2101222" y="441263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Freeform 48"/>
            <p:cNvSpPr>
              <a:spLocks/>
            </p:cNvSpPr>
            <p:nvPr/>
          </p:nvSpPr>
          <p:spPr bwMode="gray">
            <a:xfrm>
              <a:off x="3745747" y="2599843"/>
              <a:ext cx="192163" cy="399449"/>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3" name="Freeform 49"/>
            <p:cNvSpPr>
              <a:spLocks/>
            </p:cNvSpPr>
            <p:nvPr/>
          </p:nvSpPr>
          <p:spPr bwMode="gray">
            <a:xfrm>
              <a:off x="3538269" y="3312237"/>
              <a:ext cx="143427" cy="63607"/>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Freeform 50"/>
            <p:cNvSpPr>
              <a:spLocks/>
            </p:cNvSpPr>
            <p:nvPr/>
          </p:nvSpPr>
          <p:spPr bwMode="gray">
            <a:xfrm>
              <a:off x="3589790" y="3257537"/>
              <a:ext cx="119754" cy="64879"/>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51"/>
            <p:cNvSpPr>
              <a:spLocks/>
            </p:cNvSpPr>
            <p:nvPr/>
          </p:nvSpPr>
          <p:spPr bwMode="gray">
            <a:xfrm>
              <a:off x="3056467" y="3779109"/>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Freeform 52"/>
            <p:cNvSpPr>
              <a:spLocks noEditPoints="1"/>
            </p:cNvSpPr>
            <p:nvPr/>
          </p:nvSpPr>
          <p:spPr bwMode="gray">
            <a:xfrm>
              <a:off x="3623209" y="3157038"/>
              <a:ext cx="182416" cy="152656"/>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7" name="Freeform 53"/>
            <p:cNvSpPr>
              <a:spLocks/>
            </p:cNvSpPr>
            <p:nvPr/>
          </p:nvSpPr>
          <p:spPr bwMode="gray">
            <a:xfrm>
              <a:off x="3062037" y="4015726"/>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Freeform 54"/>
            <p:cNvSpPr>
              <a:spLocks/>
            </p:cNvSpPr>
            <p:nvPr/>
          </p:nvSpPr>
          <p:spPr bwMode="gray">
            <a:xfrm>
              <a:off x="3049505" y="3964842"/>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9" name="Freeform 55"/>
            <p:cNvSpPr>
              <a:spLocks/>
            </p:cNvSpPr>
            <p:nvPr/>
          </p:nvSpPr>
          <p:spPr bwMode="gray">
            <a:xfrm>
              <a:off x="3747141" y="3056540"/>
              <a:ext cx="132287" cy="72512"/>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Freeform 56"/>
            <p:cNvSpPr>
              <a:spLocks/>
            </p:cNvSpPr>
            <p:nvPr/>
          </p:nvSpPr>
          <p:spPr bwMode="gray">
            <a:xfrm>
              <a:off x="3791701" y="3010742"/>
              <a:ext cx="87727" cy="62335"/>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1" name="Freeform 57"/>
            <p:cNvSpPr>
              <a:spLocks/>
            </p:cNvSpPr>
            <p:nvPr/>
          </p:nvSpPr>
          <p:spPr bwMode="gray">
            <a:xfrm>
              <a:off x="3609285" y="3363123"/>
              <a:ext cx="58484" cy="3562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Freeform 58"/>
            <p:cNvSpPr>
              <a:spLocks/>
            </p:cNvSpPr>
            <p:nvPr/>
          </p:nvSpPr>
          <p:spPr bwMode="gray">
            <a:xfrm>
              <a:off x="3064822" y="4036081"/>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3" name="Freeform 59"/>
            <p:cNvSpPr>
              <a:spLocks noEditPoints="1"/>
            </p:cNvSpPr>
            <p:nvPr/>
          </p:nvSpPr>
          <p:spPr bwMode="gray">
            <a:xfrm>
              <a:off x="3485353" y="3358035"/>
              <a:ext cx="218621" cy="232800"/>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4" name="Freeform 60"/>
            <p:cNvSpPr>
              <a:spLocks/>
            </p:cNvSpPr>
            <p:nvPr/>
          </p:nvSpPr>
          <p:spPr bwMode="gray">
            <a:xfrm>
              <a:off x="3747141" y="3107424"/>
              <a:ext cx="107222" cy="73784"/>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Freeform 61"/>
            <p:cNvSpPr>
              <a:spLocks/>
            </p:cNvSpPr>
            <p:nvPr/>
          </p:nvSpPr>
          <p:spPr bwMode="gray">
            <a:xfrm>
              <a:off x="3209642" y="3583201"/>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Freeform 62"/>
            <p:cNvSpPr>
              <a:spLocks/>
            </p:cNvSpPr>
            <p:nvPr/>
          </p:nvSpPr>
          <p:spPr bwMode="gray">
            <a:xfrm>
              <a:off x="3674732" y="3294428"/>
              <a:ext cx="103044" cy="44525"/>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7" name="Freeform 63"/>
            <p:cNvSpPr>
              <a:spLocks/>
            </p:cNvSpPr>
            <p:nvPr/>
          </p:nvSpPr>
          <p:spPr bwMode="gray">
            <a:xfrm>
              <a:off x="2227938" y="457546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Freeform 64"/>
            <p:cNvSpPr>
              <a:spLocks/>
            </p:cNvSpPr>
            <p:nvPr/>
          </p:nvSpPr>
          <p:spPr bwMode="gray">
            <a:xfrm>
              <a:off x="3662199" y="3321143"/>
              <a:ext cx="123932" cy="69967"/>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9" name="Freeform 65"/>
            <p:cNvSpPr>
              <a:spLocks noEditPoints="1"/>
            </p:cNvSpPr>
            <p:nvPr/>
          </p:nvSpPr>
          <p:spPr bwMode="gray">
            <a:xfrm>
              <a:off x="3613463" y="3372028"/>
              <a:ext cx="107222" cy="97955"/>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0" name="Freeform 66"/>
            <p:cNvSpPr>
              <a:spLocks noEditPoints="1"/>
            </p:cNvSpPr>
            <p:nvPr/>
          </p:nvSpPr>
          <p:spPr bwMode="gray">
            <a:xfrm>
              <a:off x="2021849" y="416202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Freeform 67"/>
            <p:cNvSpPr>
              <a:spLocks/>
            </p:cNvSpPr>
            <p:nvPr/>
          </p:nvSpPr>
          <p:spPr bwMode="gray">
            <a:xfrm>
              <a:off x="3094065" y="4036081"/>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Freeform 68"/>
            <p:cNvSpPr>
              <a:spLocks/>
            </p:cNvSpPr>
            <p:nvPr/>
          </p:nvSpPr>
          <p:spPr bwMode="gray">
            <a:xfrm>
              <a:off x="3145587" y="3818545"/>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3" name="Freeform 69"/>
            <p:cNvSpPr>
              <a:spLocks/>
            </p:cNvSpPr>
            <p:nvPr/>
          </p:nvSpPr>
          <p:spPr bwMode="gray">
            <a:xfrm>
              <a:off x="3653844" y="3402559"/>
              <a:ext cx="69624" cy="62335"/>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Freeform 70"/>
            <p:cNvSpPr>
              <a:spLocks/>
            </p:cNvSpPr>
            <p:nvPr/>
          </p:nvSpPr>
          <p:spPr bwMode="gray">
            <a:xfrm>
              <a:off x="3788916" y="3115057"/>
              <a:ext cx="172668" cy="13739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Freeform 71"/>
            <p:cNvSpPr>
              <a:spLocks/>
            </p:cNvSpPr>
            <p:nvPr/>
          </p:nvSpPr>
          <p:spPr bwMode="gray">
            <a:xfrm>
              <a:off x="3126093" y="4081876"/>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Freeform 72"/>
            <p:cNvSpPr>
              <a:spLocks/>
            </p:cNvSpPr>
            <p:nvPr/>
          </p:nvSpPr>
          <p:spPr bwMode="gray">
            <a:xfrm>
              <a:off x="3503456" y="3579385"/>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7" name="Freeform 73"/>
            <p:cNvSpPr>
              <a:spLocks/>
            </p:cNvSpPr>
            <p:nvPr/>
          </p:nvSpPr>
          <p:spPr bwMode="gray">
            <a:xfrm>
              <a:off x="3702582" y="3443268"/>
              <a:ext cx="34813" cy="38164"/>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Freeform 74"/>
            <p:cNvSpPr>
              <a:spLocks/>
            </p:cNvSpPr>
            <p:nvPr/>
          </p:nvSpPr>
          <p:spPr bwMode="gray">
            <a:xfrm>
              <a:off x="3736002" y="3328776"/>
              <a:ext cx="171276" cy="109403"/>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9" name="Freeform 75"/>
            <p:cNvSpPr>
              <a:spLocks/>
            </p:cNvSpPr>
            <p:nvPr/>
          </p:nvSpPr>
          <p:spPr bwMode="gray">
            <a:xfrm>
              <a:off x="3709543" y="3380933"/>
              <a:ext cx="73803" cy="99226"/>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Freeform 76"/>
            <p:cNvSpPr>
              <a:spLocks/>
            </p:cNvSpPr>
            <p:nvPr/>
          </p:nvSpPr>
          <p:spPr bwMode="gray">
            <a:xfrm>
              <a:off x="3768029" y="3221916"/>
              <a:ext cx="328627" cy="198452"/>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77"/>
            <p:cNvSpPr>
              <a:spLocks/>
            </p:cNvSpPr>
            <p:nvPr/>
          </p:nvSpPr>
          <p:spPr bwMode="gray">
            <a:xfrm>
              <a:off x="3158119" y="4107319"/>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2" name="Freeform 78"/>
            <p:cNvSpPr>
              <a:spLocks noEditPoints="1"/>
            </p:cNvSpPr>
            <p:nvPr/>
          </p:nvSpPr>
          <p:spPr bwMode="gray">
            <a:xfrm>
              <a:off x="3727647" y="2134244"/>
              <a:ext cx="2910298" cy="1361179"/>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3" name="Freeform 79"/>
            <p:cNvSpPr>
              <a:spLocks/>
            </p:cNvSpPr>
            <p:nvPr/>
          </p:nvSpPr>
          <p:spPr bwMode="gray">
            <a:xfrm>
              <a:off x="3265341" y="3994100"/>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4" name="Freeform 80"/>
            <p:cNvSpPr>
              <a:spLocks/>
            </p:cNvSpPr>
            <p:nvPr/>
          </p:nvSpPr>
          <p:spPr bwMode="gray">
            <a:xfrm>
              <a:off x="3717897" y="3464893"/>
              <a:ext cx="32028" cy="66151"/>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5" name="Freeform 81"/>
            <p:cNvSpPr>
              <a:spLocks/>
            </p:cNvSpPr>
            <p:nvPr/>
          </p:nvSpPr>
          <p:spPr bwMode="gray">
            <a:xfrm>
              <a:off x="3740177" y="3469981"/>
              <a:ext cx="44559" cy="3562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6" name="Freeform 82"/>
            <p:cNvSpPr>
              <a:spLocks/>
            </p:cNvSpPr>
            <p:nvPr/>
          </p:nvSpPr>
          <p:spPr bwMode="gray">
            <a:xfrm>
              <a:off x="3211033" y="4070428"/>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7" name="Freeform 83"/>
            <p:cNvSpPr>
              <a:spLocks/>
            </p:cNvSpPr>
            <p:nvPr/>
          </p:nvSpPr>
          <p:spPr bwMode="gray">
            <a:xfrm>
              <a:off x="3772206" y="3425458"/>
              <a:ext cx="112792" cy="71239"/>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8" name="Freeform 84"/>
            <p:cNvSpPr>
              <a:spLocks/>
            </p:cNvSpPr>
            <p:nvPr/>
          </p:nvSpPr>
          <p:spPr bwMode="gray">
            <a:xfrm>
              <a:off x="3851578" y="3324959"/>
              <a:ext cx="62663" cy="72512"/>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Freeform 85"/>
            <p:cNvSpPr>
              <a:spLocks/>
            </p:cNvSpPr>
            <p:nvPr/>
          </p:nvSpPr>
          <p:spPr bwMode="gray">
            <a:xfrm>
              <a:off x="2304525" y="477646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86"/>
            <p:cNvSpPr>
              <a:spLocks/>
            </p:cNvSpPr>
            <p:nvPr/>
          </p:nvSpPr>
          <p:spPr bwMode="gray">
            <a:xfrm>
              <a:off x="3369777" y="3846532"/>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1" name="Freeform 87"/>
            <p:cNvSpPr>
              <a:spLocks noEditPoints="1"/>
            </p:cNvSpPr>
            <p:nvPr/>
          </p:nvSpPr>
          <p:spPr bwMode="gray">
            <a:xfrm>
              <a:off x="3733217" y="3485247"/>
              <a:ext cx="118362" cy="142478"/>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2" name="Freeform 88"/>
            <p:cNvSpPr>
              <a:spLocks/>
            </p:cNvSpPr>
            <p:nvPr/>
          </p:nvSpPr>
          <p:spPr bwMode="gray">
            <a:xfrm>
              <a:off x="3536875" y="3663346"/>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3" name="Freeform 89"/>
            <p:cNvSpPr>
              <a:spLocks/>
            </p:cNvSpPr>
            <p:nvPr/>
          </p:nvSpPr>
          <p:spPr bwMode="gray">
            <a:xfrm>
              <a:off x="3308506" y="4061522"/>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4" name="Freeform 90"/>
            <p:cNvSpPr>
              <a:spLocks/>
            </p:cNvSpPr>
            <p:nvPr/>
          </p:nvSpPr>
          <p:spPr bwMode="gray">
            <a:xfrm>
              <a:off x="3365600" y="4062794"/>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Freeform 91"/>
            <p:cNvSpPr>
              <a:spLocks/>
            </p:cNvSpPr>
            <p:nvPr/>
          </p:nvSpPr>
          <p:spPr bwMode="gray">
            <a:xfrm>
              <a:off x="3382310" y="4041170"/>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6" name="Freeform 92"/>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7" name="Freeform 93"/>
            <p:cNvSpPr>
              <a:spLocks/>
            </p:cNvSpPr>
            <p:nvPr/>
          </p:nvSpPr>
          <p:spPr bwMode="gray">
            <a:xfrm>
              <a:off x="3415729" y="4016999"/>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8" name="Freeform 94"/>
            <p:cNvSpPr>
              <a:spLocks/>
            </p:cNvSpPr>
            <p:nvPr/>
          </p:nvSpPr>
          <p:spPr bwMode="gray">
            <a:xfrm>
              <a:off x="3951837" y="3612460"/>
              <a:ext cx="41775" cy="22898"/>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9" name="Freeform 95"/>
            <p:cNvSpPr>
              <a:spLocks/>
            </p:cNvSpPr>
            <p:nvPr/>
          </p:nvSpPr>
          <p:spPr bwMode="gray">
            <a:xfrm>
              <a:off x="3816766" y="3695149"/>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0" name="Freeform 96"/>
            <p:cNvSpPr>
              <a:spLocks/>
            </p:cNvSpPr>
            <p:nvPr/>
          </p:nvSpPr>
          <p:spPr bwMode="gray">
            <a:xfrm>
              <a:off x="3612070" y="3847805"/>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Freeform 97"/>
            <p:cNvSpPr>
              <a:spLocks/>
            </p:cNvSpPr>
            <p:nvPr/>
          </p:nvSpPr>
          <p:spPr bwMode="gray">
            <a:xfrm>
              <a:off x="3522951" y="4028447"/>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Freeform 98"/>
            <p:cNvSpPr>
              <a:spLocks/>
            </p:cNvSpPr>
            <p:nvPr/>
          </p:nvSpPr>
          <p:spPr bwMode="gray">
            <a:xfrm>
              <a:off x="4096655" y="3440723"/>
              <a:ext cx="122539" cy="57246"/>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Freeform 99"/>
            <p:cNvSpPr>
              <a:spLocks/>
            </p:cNvSpPr>
            <p:nvPr/>
          </p:nvSpPr>
          <p:spPr bwMode="gray">
            <a:xfrm>
              <a:off x="4003359" y="3635359"/>
              <a:ext cx="27850" cy="330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4" name="Freeform 100"/>
            <p:cNvSpPr>
              <a:spLocks/>
            </p:cNvSpPr>
            <p:nvPr/>
          </p:nvSpPr>
          <p:spPr bwMode="gray">
            <a:xfrm>
              <a:off x="4013106" y="3578114"/>
              <a:ext cx="128109" cy="104314"/>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Freeform 101"/>
            <p:cNvSpPr>
              <a:spLocks/>
            </p:cNvSpPr>
            <p:nvPr/>
          </p:nvSpPr>
          <p:spPr bwMode="gray">
            <a:xfrm>
              <a:off x="3988041" y="3664617"/>
              <a:ext cx="27850" cy="71239"/>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6" name="Freeform 102"/>
            <p:cNvSpPr>
              <a:spLocks/>
            </p:cNvSpPr>
            <p:nvPr/>
          </p:nvSpPr>
          <p:spPr bwMode="gray">
            <a:xfrm>
              <a:off x="3527127" y="4210361"/>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Freeform 103"/>
            <p:cNvSpPr>
              <a:spLocks noEditPoints="1"/>
            </p:cNvSpPr>
            <p:nvPr/>
          </p:nvSpPr>
          <p:spPr bwMode="gray">
            <a:xfrm>
              <a:off x="1992608" y="4546204"/>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8" name="Freeform 104"/>
            <p:cNvSpPr>
              <a:spLocks/>
            </p:cNvSpPr>
            <p:nvPr/>
          </p:nvSpPr>
          <p:spPr bwMode="gray">
            <a:xfrm>
              <a:off x="3628779" y="4064067"/>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9" name="Freeform 105"/>
            <p:cNvSpPr>
              <a:spLocks/>
            </p:cNvSpPr>
            <p:nvPr/>
          </p:nvSpPr>
          <p:spPr bwMode="gray">
            <a:xfrm>
              <a:off x="4003359" y="3662074"/>
              <a:ext cx="79372" cy="80144"/>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0" name="Freeform 106"/>
            <p:cNvSpPr>
              <a:spLocks noEditPoints="1"/>
            </p:cNvSpPr>
            <p:nvPr/>
          </p:nvSpPr>
          <p:spPr bwMode="gray">
            <a:xfrm>
              <a:off x="2028813" y="4622531"/>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1" name="Freeform 107"/>
            <p:cNvSpPr>
              <a:spLocks/>
            </p:cNvSpPr>
            <p:nvPr/>
          </p:nvSpPr>
          <p:spPr bwMode="gray">
            <a:xfrm>
              <a:off x="4157925" y="3492880"/>
              <a:ext cx="58484" cy="53430"/>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2" name="Freeform 108"/>
            <p:cNvSpPr>
              <a:spLocks/>
            </p:cNvSpPr>
            <p:nvPr/>
          </p:nvSpPr>
          <p:spPr bwMode="gray">
            <a:xfrm>
              <a:off x="3570295" y="4188737"/>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3" name="Freeform 109"/>
            <p:cNvSpPr>
              <a:spLocks noEditPoints="1"/>
            </p:cNvSpPr>
            <p:nvPr/>
          </p:nvSpPr>
          <p:spPr bwMode="gray">
            <a:xfrm>
              <a:off x="4180206" y="3480159"/>
              <a:ext cx="104437" cy="77601"/>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4" name="Freeform 110"/>
            <p:cNvSpPr>
              <a:spLocks/>
            </p:cNvSpPr>
            <p:nvPr/>
          </p:nvSpPr>
          <p:spPr bwMode="gray">
            <a:xfrm>
              <a:off x="4213625" y="3135411"/>
              <a:ext cx="743588" cy="372734"/>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5" name="Freeform 111"/>
            <p:cNvSpPr>
              <a:spLocks/>
            </p:cNvSpPr>
            <p:nvPr/>
          </p:nvSpPr>
          <p:spPr bwMode="gray">
            <a:xfrm>
              <a:off x="4071590" y="3578114"/>
              <a:ext cx="178238" cy="166649"/>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6" name="Freeform 112"/>
            <p:cNvSpPr>
              <a:spLocks/>
            </p:cNvSpPr>
            <p:nvPr/>
          </p:nvSpPr>
          <p:spPr bwMode="gray">
            <a:xfrm>
              <a:off x="3762460" y="3874519"/>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7" name="Freeform 113"/>
            <p:cNvSpPr>
              <a:spLocks/>
            </p:cNvSpPr>
            <p:nvPr/>
          </p:nvSpPr>
          <p:spPr bwMode="gray">
            <a:xfrm>
              <a:off x="3999181" y="3683699"/>
              <a:ext cx="387111" cy="31040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8" name="Freeform 114"/>
            <p:cNvSpPr>
              <a:spLocks/>
            </p:cNvSpPr>
            <p:nvPr/>
          </p:nvSpPr>
          <p:spPr bwMode="gray">
            <a:xfrm>
              <a:off x="3588398" y="4159476"/>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9" name="Freeform 115"/>
            <p:cNvSpPr>
              <a:spLocks/>
            </p:cNvSpPr>
            <p:nvPr/>
          </p:nvSpPr>
          <p:spPr bwMode="gray">
            <a:xfrm>
              <a:off x="4169066" y="3527228"/>
              <a:ext cx="349514" cy="29131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0" name="Freeform 116"/>
            <p:cNvSpPr>
              <a:spLocks/>
            </p:cNvSpPr>
            <p:nvPr/>
          </p:nvSpPr>
          <p:spPr bwMode="gray">
            <a:xfrm>
              <a:off x="4213625" y="3726951"/>
              <a:ext cx="34813" cy="27987"/>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1" name="Freeform 117"/>
            <p:cNvSpPr>
              <a:spLocks/>
            </p:cNvSpPr>
            <p:nvPr/>
          </p:nvSpPr>
          <p:spPr bwMode="gray">
            <a:xfrm>
              <a:off x="4029816" y="3943214"/>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2" name="Freeform 118"/>
            <p:cNvSpPr>
              <a:spLocks/>
            </p:cNvSpPr>
            <p:nvPr/>
          </p:nvSpPr>
          <p:spPr bwMode="gray">
            <a:xfrm>
              <a:off x="4323631" y="3461077"/>
              <a:ext cx="257610" cy="160289"/>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3" name="Freeform 119"/>
            <p:cNvSpPr>
              <a:spLocks noEditPoints="1"/>
            </p:cNvSpPr>
            <p:nvPr/>
          </p:nvSpPr>
          <p:spPr bwMode="gray">
            <a:xfrm>
              <a:off x="3581435" y="4323583"/>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4" name="Freeform 120"/>
            <p:cNvSpPr>
              <a:spLocks/>
            </p:cNvSpPr>
            <p:nvPr/>
          </p:nvSpPr>
          <p:spPr bwMode="gray">
            <a:xfrm>
              <a:off x="4387686" y="3394926"/>
              <a:ext cx="311917" cy="190819"/>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5" name="Freeform 121"/>
            <p:cNvSpPr>
              <a:spLocks/>
            </p:cNvSpPr>
            <p:nvPr/>
          </p:nvSpPr>
          <p:spPr bwMode="gray">
            <a:xfrm>
              <a:off x="3967155" y="3999187"/>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6" name="Freeform 122"/>
            <p:cNvSpPr>
              <a:spLocks/>
            </p:cNvSpPr>
            <p:nvPr/>
          </p:nvSpPr>
          <p:spPr bwMode="gray">
            <a:xfrm>
              <a:off x="3904492" y="4181102"/>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7" name="Freeform 123"/>
            <p:cNvSpPr>
              <a:spLocks/>
            </p:cNvSpPr>
            <p:nvPr/>
          </p:nvSpPr>
          <p:spPr bwMode="gray">
            <a:xfrm>
              <a:off x="3890567" y="4267607"/>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8" name="Freeform 124"/>
            <p:cNvSpPr>
              <a:spLocks/>
            </p:cNvSpPr>
            <p:nvPr/>
          </p:nvSpPr>
          <p:spPr bwMode="gray">
            <a:xfrm>
              <a:off x="3891960" y="4289235"/>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9" name="Freeform 125"/>
            <p:cNvSpPr>
              <a:spLocks/>
            </p:cNvSpPr>
            <p:nvPr/>
          </p:nvSpPr>
          <p:spPr bwMode="gray">
            <a:xfrm>
              <a:off x="4143999" y="3926678"/>
              <a:ext cx="187986" cy="109403"/>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0" name="Freeform 126"/>
            <p:cNvSpPr>
              <a:spLocks/>
            </p:cNvSpPr>
            <p:nvPr/>
          </p:nvSpPr>
          <p:spPr bwMode="gray">
            <a:xfrm>
              <a:off x="4291604" y="3799463"/>
              <a:ext cx="13925" cy="30532"/>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1" name="Freeform 127"/>
            <p:cNvSpPr>
              <a:spLocks/>
            </p:cNvSpPr>
            <p:nvPr/>
          </p:nvSpPr>
          <p:spPr bwMode="gray">
            <a:xfrm>
              <a:off x="4127290" y="4034807"/>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2" name="Freeform 128"/>
            <p:cNvSpPr>
              <a:spLocks/>
            </p:cNvSpPr>
            <p:nvPr/>
          </p:nvSpPr>
          <p:spPr bwMode="gray">
            <a:xfrm>
              <a:off x="4297174" y="3800735"/>
              <a:ext cx="96082" cy="71239"/>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3" name="Freeform 129"/>
            <p:cNvSpPr>
              <a:spLocks/>
            </p:cNvSpPr>
            <p:nvPr/>
          </p:nvSpPr>
          <p:spPr bwMode="gray">
            <a:xfrm>
              <a:off x="3972725" y="4172197"/>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4" name="Freeform 130"/>
            <p:cNvSpPr>
              <a:spLocks/>
            </p:cNvSpPr>
            <p:nvPr/>
          </p:nvSpPr>
          <p:spPr bwMode="gray">
            <a:xfrm>
              <a:off x="3766636" y="4385917"/>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5" name="Freeform 131"/>
            <p:cNvSpPr>
              <a:spLocks/>
            </p:cNvSpPr>
            <p:nvPr/>
          </p:nvSpPr>
          <p:spPr bwMode="gray">
            <a:xfrm>
              <a:off x="3581435" y="4534755"/>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6" name="Freeform 132"/>
            <p:cNvSpPr>
              <a:spLocks/>
            </p:cNvSpPr>
            <p:nvPr/>
          </p:nvSpPr>
          <p:spPr bwMode="gray">
            <a:xfrm>
              <a:off x="3900315" y="4266336"/>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7" name="Freeform 133"/>
            <p:cNvSpPr>
              <a:spLocks noEditPoints="1"/>
            </p:cNvSpPr>
            <p:nvPr/>
          </p:nvSpPr>
          <p:spPr bwMode="gray">
            <a:xfrm>
              <a:off x="4309706" y="3795647"/>
              <a:ext cx="146212" cy="171738"/>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8" name="Freeform 134"/>
            <p:cNvSpPr>
              <a:spLocks/>
            </p:cNvSpPr>
            <p:nvPr/>
          </p:nvSpPr>
          <p:spPr bwMode="gray">
            <a:xfrm>
              <a:off x="4465665" y="3556486"/>
              <a:ext cx="260395" cy="180642"/>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9" name="Freeform 135"/>
            <p:cNvSpPr>
              <a:spLocks/>
            </p:cNvSpPr>
            <p:nvPr/>
          </p:nvSpPr>
          <p:spPr bwMode="gray">
            <a:xfrm>
              <a:off x="4113365" y="4047528"/>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Freeform 136"/>
            <p:cNvSpPr>
              <a:spLocks/>
            </p:cNvSpPr>
            <p:nvPr/>
          </p:nvSpPr>
          <p:spPr bwMode="gray">
            <a:xfrm>
              <a:off x="4595167" y="3497968"/>
              <a:ext cx="136463" cy="94137"/>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Freeform 137"/>
            <p:cNvSpPr>
              <a:spLocks/>
            </p:cNvSpPr>
            <p:nvPr/>
          </p:nvSpPr>
          <p:spPr bwMode="gray">
            <a:xfrm>
              <a:off x="4628586" y="3450900"/>
              <a:ext cx="199126" cy="8777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Freeform 138"/>
            <p:cNvSpPr>
              <a:spLocks/>
            </p:cNvSpPr>
            <p:nvPr/>
          </p:nvSpPr>
          <p:spPr bwMode="gray">
            <a:xfrm>
              <a:off x="3727647" y="4548748"/>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Freeform 139"/>
            <p:cNvSpPr>
              <a:spLocks/>
            </p:cNvSpPr>
            <p:nvPr/>
          </p:nvSpPr>
          <p:spPr bwMode="gray">
            <a:xfrm>
              <a:off x="3826513" y="4511857"/>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4" name="Freeform 140"/>
            <p:cNvSpPr>
              <a:spLocks/>
            </p:cNvSpPr>
            <p:nvPr/>
          </p:nvSpPr>
          <p:spPr bwMode="gray">
            <a:xfrm>
              <a:off x="4474020" y="3585746"/>
              <a:ext cx="304955" cy="25569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5" name="Freeform 141"/>
            <p:cNvSpPr>
              <a:spLocks/>
            </p:cNvSpPr>
            <p:nvPr/>
          </p:nvSpPr>
          <p:spPr bwMode="gray">
            <a:xfrm>
              <a:off x="3962977" y="4408815"/>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6" name="Freeform 142"/>
            <p:cNvSpPr>
              <a:spLocks noEditPoints="1"/>
            </p:cNvSpPr>
            <p:nvPr/>
          </p:nvSpPr>
          <p:spPr bwMode="gray">
            <a:xfrm>
              <a:off x="3628779" y="4626349"/>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7" name="Freeform 143"/>
            <p:cNvSpPr>
              <a:spLocks/>
            </p:cNvSpPr>
            <p:nvPr/>
          </p:nvSpPr>
          <p:spPr bwMode="gray">
            <a:xfrm>
              <a:off x="3918418" y="4422808"/>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Freeform 144"/>
            <p:cNvSpPr>
              <a:spLocks/>
            </p:cNvSpPr>
            <p:nvPr/>
          </p:nvSpPr>
          <p:spPr bwMode="gray">
            <a:xfrm>
              <a:off x="3859934" y="4747200"/>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Freeform 145"/>
            <p:cNvSpPr>
              <a:spLocks/>
            </p:cNvSpPr>
            <p:nvPr/>
          </p:nvSpPr>
          <p:spPr bwMode="gray">
            <a:xfrm>
              <a:off x="3926773" y="4692500"/>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Freeform 147"/>
            <p:cNvSpPr>
              <a:spLocks/>
            </p:cNvSpPr>
            <p:nvPr/>
          </p:nvSpPr>
          <p:spPr bwMode="gray">
            <a:xfrm>
              <a:off x="4965567" y="3230821"/>
              <a:ext cx="580668" cy="25569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1" name="Freeform 149"/>
            <p:cNvSpPr>
              <a:spLocks/>
            </p:cNvSpPr>
            <p:nvPr/>
          </p:nvSpPr>
          <p:spPr bwMode="gray">
            <a:xfrm>
              <a:off x="4193925" y="4385916"/>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2" name="Freeform 150"/>
            <p:cNvSpPr>
              <a:spLocks/>
            </p:cNvSpPr>
            <p:nvPr/>
          </p:nvSpPr>
          <p:spPr bwMode="gray">
            <a:xfrm>
              <a:off x="4823534" y="3715504"/>
              <a:ext cx="148997" cy="77601"/>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3" name="Freeform 151"/>
            <p:cNvSpPr>
              <a:spLocks/>
            </p:cNvSpPr>
            <p:nvPr/>
          </p:nvSpPr>
          <p:spPr bwMode="gray">
            <a:xfrm>
              <a:off x="4982279" y="3757483"/>
              <a:ext cx="58484" cy="30532"/>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4" name="Freeform 152"/>
            <p:cNvSpPr>
              <a:spLocks/>
            </p:cNvSpPr>
            <p:nvPr/>
          </p:nvSpPr>
          <p:spPr bwMode="gray">
            <a:xfrm>
              <a:off x="4968352" y="3794375"/>
              <a:ext cx="83549" cy="96682"/>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5" name="Freeform 153"/>
            <p:cNvSpPr>
              <a:spLocks/>
            </p:cNvSpPr>
            <p:nvPr/>
          </p:nvSpPr>
          <p:spPr bwMode="gray">
            <a:xfrm>
              <a:off x="4816573" y="4085692"/>
              <a:ext cx="40383" cy="63607"/>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6" name="Freeform 154"/>
            <p:cNvSpPr>
              <a:spLocks/>
            </p:cNvSpPr>
            <p:nvPr/>
          </p:nvSpPr>
          <p:spPr bwMode="gray">
            <a:xfrm>
              <a:off x="5042155" y="3754939"/>
              <a:ext cx="162922" cy="32439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7" name="Freeform 155"/>
            <p:cNvSpPr>
              <a:spLocks/>
            </p:cNvSpPr>
            <p:nvPr/>
          </p:nvSpPr>
          <p:spPr bwMode="gray">
            <a:xfrm>
              <a:off x="5186975" y="3863070"/>
              <a:ext cx="135072" cy="152656"/>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8" name="Freeform 156"/>
            <p:cNvSpPr>
              <a:spLocks/>
            </p:cNvSpPr>
            <p:nvPr/>
          </p:nvSpPr>
          <p:spPr bwMode="gray">
            <a:xfrm>
              <a:off x="5138237" y="3901234"/>
              <a:ext cx="147603" cy="254426"/>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9" name="Freeform 157"/>
            <p:cNvSpPr>
              <a:spLocks/>
            </p:cNvSpPr>
            <p:nvPr/>
          </p:nvSpPr>
          <p:spPr bwMode="gray">
            <a:xfrm>
              <a:off x="5228749" y="4003006"/>
              <a:ext cx="94689" cy="72512"/>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0" name="Freeform 158"/>
            <p:cNvSpPr>
              <a:spLocks/>
            </p:cNvSpPr>
            <p:nvPr/>
          </p:nvSpPr>
          <p:spPr bwMode="gray">
            <a:xfrm>
              <a:off x="5221786" y="3849078"/>
              <a:ext cx="133678" cy="25824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1" name="Freeform 159"/>
            <p:cNvSpPr>
              <a:spLocks noEditPoints="1"/>
            </p:cNvSpPr>
            <p:nvPr/>
          </p:nvSpPr>
          <p:spPr bwMode="gray">
            <a:xfrm>
              <a:off x="5188366" y="4132762"/>
              <a:ext cx="343944" cy="103043"/>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2" name="Freeform 160"/>
            <p:cNvSpPr>
              <a:spLocks noEditPoints="1"/>
            </p:cNvSpPr>
            <p:nvPr/>
          </p:nvSpPr>
          <p:spPr bwMode="gray">
            <a:xfrm>
              <a:off x="5099247" y="4155661"/>
              <a:ext cx="832707" cy="265876"/>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3" name="Freeform 161"/>
            <p:cNvSpPr>
              <a:spLocks/>
            </p:cNvSpPr>
            <p:nvPr/>
          </p:nvSpPr>
          <p:spPr bwMode="gray">
            <a:xfrm>
              <a:off x="5625607" y="3455989"/>
              <a:ext cx="114184" cy="11830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4" name="Freeform 162"/>
            <p:cNvSpPr>
              <a:spLocks/>
            </p:cNvSpPr>
            <p:nvPr/>
          </p:nvSpPr>
          <p:spPr bwMode="gray">
            <a:xfrm>
              <a:off x="5659027" y="3552671"/>
              <a:ext cx="62663" cy="89049"/>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5" name="Freeform 163"/>
            <p:cNvSpPr>
              <a:spLocks/>
            </p:cNvSpPr>
            <p:nvPr/>
          </p:nvSpPr>
          <p:spPr bwMode="gray">
            <a:xfrm>
              <a:off x="5549019" y="3816002"/>
              <a:ext cx="33420" cy="58518"/>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164"/>
            <p:cNvSpPr>
              <a:spLocks/>
            </p:cNvSpPr>
            <p:nvPr/>
          </p:nvSpPr>
          <p:spPr bwMode="gray">
            <a:xfrm>
              <a:off x="5441799" y="4164565"/>
              <a:ext cx="20888" cy="16539"/>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65"/>
            <p:cNvSpPr>
              <a:spLocks noEditPoints="1"/>
            </p:cNvSpPr>
            <p:nvPr/>
          </p:nvSpPr>
          <p:spPr bwMode="gray">
            <a:xfrm>
              <a:off x="5720296" y="3398742"/>
              <a:ext cx="292423" cy="309129"/>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8" name="Freeform 166"/>
            <p:cNvSpPr>
              <a:spLocks noEditPoints="1"/>
            </p:cNvSpPr>
            <p:nvPr/>
          </p:nvSpPr>
          <p:spPr bwMode="gray">
            <a:xfrm>
              <a:off x="5497499" y="3934309"/>
              <a:ext cx="168491" cy="222624"/>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9" name="Freeform 167"/>
            <p:cNvSpPr>
              <a:spLocks noEditPoints="1"/>
            </p:cNvSpPr>
            <p:nvPr/>
          </p:nvSpPr>
          <p:spPr bwMode="gray">
            <a:xfrm>
              <a:off x="5423697" y="4430440"/>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0" name="Freeform 168"/>
            <p:cNvSpPr>
              <a:spLocks noEditPoints="1"/>
            </p:cNvSpPr>
            <p:nvPr/>
          </p:nvSpPr>
          <p:spPr bwMode="gray">
            <a:xfrm>
              <a:off x="5927777" y="4294323"/>
              <a:ext cx="208874" cy="133574"/>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1" name="Freeform 169"/>
            <p:cNvSpPr>
              <a:spLocks noEditPoints="1"/>
            </p:cNvSpPr>
            <p:nvPr/>
          </p:nvSpPr>
          <p:spPr bwMode="gray">
            <a:xfrm>
              <a:off x="6395652" y="4860421"/>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2" name="Freeform 170"/>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3" name="Freeform 6"/>
            <p:cNvSpPr>
              <a:spLocks/>
            </p:cNvSpPr>
            <p:nvPr/>
          </p:nvSpPr>
          <p:spPr bwMode="gray">
            <a:xfrm>
              <a:off x="6637945" y="2645642"/>
              <a:ext cx="182416" cy="184460"/>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4" name="Freeform 22"/>
            <p:cNvSpPr>
              <a:spLocks/>
            </p:cNvSpPr>
            <p:nvPr/>
          </p:nvSpPr>
          <p:spPr bwMode="gray">
            <a:xfrm>
              <a:off x="5339719" y="3907448"/>
              <a:ext cx="43156" cy="32881"/>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5" name="Freeform 13"/>
            <p:cNvSpPr>
              <a:spLocks/>
            </p:cNvSpPr>
            <p:nvPr/>
          </p:nvSpPr>
          <p:spPr bwMode="gray">
            <a:xfrm>
              <a:off x="4604913" y="3592104"/>
              <a:ext cx="533323" cy="523482"/>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6" name="Freeform 23"/>
            <p:cNvSpPr>
              <a:spLocks/>
            </p:cNvSpPr>
            <p:nvPr/>
          </p:nvSpPr>
          <p:spPr bwMode="gray">
            <a:xfrm>
              <a:off x="4707956" y="3192162"/>
              <a:ext cx="1106861" cy="712383"/>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210" name="Rectangle 209">
            <a:extLst>
              <a:ext uri="{FF2B5EF4-FFF2-40B4-BE49-F238E27FC236}">
                <a16:creationId xmlns:a16="http://schemas.microsoft.com/office/drawing/2014/main" id="{19976663-18BF-2F43-BD8B-71D43A575608}"/>
              </a:ext>
            </a:extLst>
          </p:cNvPr>
          <p:cNvSpPr/>
          <p:nvPr/>
        </p:nvSpPr>
        <p:spPr>
          <a:xfrm>
            <a:off x="1828800" y="2742215"/>
            <a:ext cx="2253822" cy="307777"/>
          </a:xfrm>
          <a:prstGeom prst="rect">
            <a:avLst/>
          </a:prstGeom>
        </p:spPr>
        <p:txBody>
          <a:bodyPr wrap="none" lIns="0" tIns="0" rIns="0" bIns="0">
            <a:spAutoFit/>
          </a:bodyPr>
          <a:lstStyle/>
          <a:p>
            <a:r>
              <a:rPr lang="en-US" sz="2000" b="1" cap="all">
                <a:solidFill>
                  <a:srgbClr val="FFFFFF"/>
                </a:solidFill>
                <a:latin typeface="Arial" panose="020B0604020202020204" pitchFamily="34" charset="0"/>
                <a:ea typeface="Roboto" panose="02000000000000000000" pitchFamily="2" charset="0"/>
                <a:cs typeface="Arial" panose="020B0604020202020204" pitchFamily="34" charset="0"/>
              </a:rPr>
              <a:t>Text Goes Here</a:t>
            </a:r>
          </a:p>
        </p:txBody>
      </p:sp>
      <p:sp>
        <p:nvSpPr>
          <p:cNvPr id="211" name="Rectangle 210">
            <a:extLst>
              <a:ext uri="{FF2B5EF4-FFF2-40B4-BE49-F238E27FC236}">
                <a16:creationId xmlns:a16="http://schemas.microsoft.com/office/drawing/2014/main" id="{E1B366C1-2BEE-0843-A828-BAFC8F7820A7}"/>
              </a:ext>
            </a:extLst>
          </p:cNvPr>
          <p:cNvSpPr/>
          <p:nvPr/>
        </p:nvSpPr>
        <p:spPr>
          <a:xfrm>
            <a:off x="1848577" y="3100826"/>
            <a:ext cx="2745547" cy="1206484"/>
          </a:xfrm>
          <a:prstGeom prst="rect">
            <a:avLst/>
          </a:prstGeom>
        </p:spPr>
        <p:txBody>
          <a:bodyPr wrap="square" lIns="0" tIns="0" rIns="0" bIns="0">
            <a:spAutoFit/>
          </a:bodyPr>
          <a:lstStyle/>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Dratat quat ad gui is molup tasioi</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natur acesto dolore noneta huild</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quasit. Sundah avel sequin foryip ais experipdo lorem ipsum.</a:t>
            </a:r>
          </a:p>
        </p:txBody>
      </p:sp>
      <p:sp>
        <p:nvSpPr>
          <p:cNvPr id="212" name="Rectangle 211">
            <a:extLst>
              <a:ext uri="{FF2B5EF4-FFF2-40B4-BE49-F238E27FC236}">
                <a16:creationId xmlns:a16="http://schemas.microsoft.com/office/drawing/2014/main" id="{113FE46C-48CE-B741-AD01-273C8AD6FDE4}"/>
              </a:ext>
            </a:extLst>
          </p:cNvPr>
          <p:cNvSpPr/>
          <p:nvPr/>
        </p:nvSpPr>
        <p:spPr>
          <a:xfrm>
            <a:off x="7381876" y="5112735"/>
            <a:ext cx="496931" cy="215444"/>
          </a:xfrm>
          <a:prstGeom prst="rect">
            <a:avLst/>
          </a:prstGeom>
        </p:spPr>
        <p:txBody>
          <a:bodyPr wrap="none" lIns="0" tIns="0" rIns="0" bIns="0">
            <a:spAutoFit/>
          </a:bodyPr>
          <a:lstStyle/>
          <a:p>
            <a:r>
              <a:rPr lang="en-US" sz="1400" b="1">
                <a:solidFill>
                  <a:schemeClr val="bg2"/>
                </a:solidFill>
                <a:latin typeface="Arial" panose="020B0604020202020204" pitchFamily="34" charset="0"/>
                <a:ea typeface="Roboto" panose="02000000000000000000" pitchFamily="2" charset="0"/>
                <a:cs typeface="Arial" panose="020B0604020202020204" pitchFamily="34" charset="0"/>
              </a:rPr>
              <a:t>China</a:t>
            </a:r>
          </a:p>
        </p:txBody>
      </p:sp>
      <p:sp>
        <p:nvSpPr>
          <p:cNvPr id="213" name="Rectangle 212">
            <a:extLst>
              <a:ext uri="{FF2B5EF4-FFF2-40B4-BE49-F238E27FC236}">
                <a16:creationId xmlns:a16="http://schemas.microsoft.com/office/drawing/2014/main" id="{79067EF4-DB2A-2641-91B6-2F2D59CB752C}"/>
              </a:ext>
            </a:extLst>
          </p:cNvPr>
          <p:cNvSpPr/>
          <p:nvPr/>
        </p:nvSpPr>
        <p:spPr>
          <a:xfrm>
            <a:off x="7378700" y="5405774"/>
            <a:ext cx="2745547" cy="553998"/>
          </a:xfrm>
          <a:prstGeom prst="rect">
            <a:avLst/>
          </a:prstGeom>
        </p:spPr>
        <p:txBody>
          <a:bodyPr wrap="square" lIns="0" tIns="0" rIns="0" bIns="0">
            <a:spAutoFit/>
          </a:bodyPr>
          <a:lstStyle/>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Dratat quat ad gui is molup tasioi natur acesto</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natur acesto dolore noneta huilda vel seq uodi.</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Sundah quasitavel sequin.</a:t>
            </a:r>
          </a:p>
        </p:txBody>
      </p:sp>
      <p:grpSp>
        <p:nvGrpSpPr>
          <p:cNvPr id="552" name="Group 551"/>
          <p:cNvGrpSpPr/>
          <p:nvPr/>
        </p:nvGrpSpPr>
        <p:grpSpPr>
          <a:xfrm>
            <a:off x="5187970" y="974688"/>
            <a:ext cx="5105400" cy="4330700"/>
            <a:chOff x="1905000" y="1219200"/>
            <a:chExt cx="5105400" cy="4330700"/>
          </a:xfrm>
        </p:grpSpPr>
        <p:sp>
          <p:nvSpPr>
            <p:cNvPr id="553" name="Freeform 3"/>
            <p:cNvSpPr>
              <a:spLocks/>
            </p:cNvSpPr>
            <p:nvPr/>
          </p:nvSpPr>
          <p:spPr bwMode="auto">
            <a:xfrm>
              <a:off x="4002088" y="1260475"/>
              <a:ext cx="2262187" cy="1997075"/>
            </a:xfrm>
            <a:custGeom>
              <a:avLst/>
              <a:gdLst>
                <a:gd name="T0" fmla="*/ 1304 w 1551"/>
                <a:gd name="T1" fmla="*/ 82 h 1368"/>
                <a:gd name="T2" fmla="*/ 1406 w 1551"/>
                <a:gd name="T3" fmla="*/ 160 h 1368"/>
                <a:gd name="T4" fmla="*/ 1513 w 1551"/>
                <a:gd name="T5" fmla="*/ 129 h 1368"/>
                <a:gd name="T6" fmla="*/ 1529 w 1551"/>
                <a:gd name="T7" fmla="*/ 308 h 1368"/>
                <a:gd name="T8" fmla="*/ 1478 w 1551"/>
                <a:gd name="T9" fmla="*/ 408 h 1368"/>
                <a:gd name="T10" fmla="*/ 1470 w 1551"/>
                <a:gd name="T11" fmla="*/ 528 h 1368"/>
                <a:gd name="T12" fmla="*/ 1409 w 1551"/>
                <a:gd name="T13" fmla="*/ 621 h 1368"/>
                <a:gd name="T14" fmla="*/ 1463 w 1551"/>
                <a:gd name="T15" fmla="*/ 734 h 1368"/>
                <a:gd name="T16" fmla="*/ 1546 w 1551"/>
                <a:gd name="T17" fmla="*/ 790 h 1368"/>
                <a:gd name="T18" fmla="*/ 1460 w 1551"/>
                <a:gd name="T19" fmla="*/ 870 h 1368"/>
                <a:gd name="T20" fmla="*/ 1374 w 1551"/>
                <a:gd name="T21" fmla="*/ 949 h 1368"/>
                <a:gd name="T22" fmla="*/ 1313 w 1551"/>
                <a:gd name="T23" fmla="*/ 970 h 1368"/>
                <a:gd name="T24" fmla="*/ 1251 w 1551"/>
                <a:gd name="T25" fmla="*/ 979 h 1368"/>
                <a:gd name="T26" fmla="*/ 1208 w 1551"/>
                <a:gd name="T27" fmla="*/ 905 h 1368"/>
                <a:gd name="T28" fmla="*/ 1150 w 1551"/>
                <a:gd name="T29" fmla="*/ 959 h 1368"/>
                <a:gd name="T30" fmla="*/ 1061 w 1551"/>
                <a:gd name="T31" fmla="*/ 996 h 1368"/>
                <a:gd name="T32" fmla="*/ 1011 w 1551"/>
                <a:gd name="T33" fmla="*/ 1004 h 1368"/>
                <a:gd name="T34" fmla="*/ 1005 w 1551"/>
                <a:gd name="T35" fmla="*/ 1087 h 1368"/>
                <a:gd name="T36" fmla="*/ 930 w 1551"/>
                <a:gd name="T37" fmla="*/ 1118 h 1368"/>
                <a:gd name="T38" fmla="*/ 863 w 1551"/>
                <a:gd name="T39" fmla="*/ 1168 h 1368"/>
                <a:gd name="T40" fmla="*/ 785 w 1551"/>
                <a:gd name="T41" fmla="*/ 1198 h 1368"/>
                <a:gd name="T42" fmla="*/ 715 w 1551"/>
                <a:gd name="T43" fmla="*/ 1294 h 1368"/>
                <a:gd name="T44" fmla="*/ 623 w 1551"/>
                <a:gd name="T45" fmla="*/ 1322 h 1368"/>
                <a:gd name="T46" fmla="*/ 577 w 1551"/>
                <a:gd name="T47" fmla="*/ 1232 h 1368"/>
                <a:gd name="T48" fmla="*/ 512 w 1551"/>
                <a:gd name="T49" fmla="*/ 1274 h 1368"/>
                <a:gd name="T50" fmla="*/ 432 w 1551"/>
                <a:gd name="T51" fmla="*/ 1365 h 1368"/>
                <a:gd name="T52" fmla="*/ 362 w 1551"/>
                <a:gd name="T53" fmla="*/ 1305 h 1368"/>
                <a:gd name="T54" fmla="*/ 417 w 1551"/>
                <a:gd name="T55" fmla="*/ 1234 h 1368"/>
                <a:gd name="T56" fmla="*/ 339 w 1551"/>
                <a:gd name="T57" fmla="*/ 1218 h 1368"/>
                <a:gd name="T58" fmla="*/ 258 w 1551"/>
                <a:gd name="T59" fmla="*/ 1244 h 1368"/>
                <a:gd name="T60" fmla="*/ 166 w 1551"/>
                <a:gd name="T61" fmla="*/ 1152 h 1368"/>
                <a:gd name="T62" fmla="*/ 131 w 1551"/>
                <a:gd name="T63" fmla="*/ 1059 h 1368"/>
                <a:gd name="T64" fmla="*/ 15 w 1551"/>
                <a:gd name="T65" fmla="*/ 1017 h 1368"/>
                <a:gd name="T66" fmla="*/ 5 w 1551"/>
                <a:gd name="T67" fmla="*/ 920 h 1368"/>
                <a:gd name="T68" fmla="*/ 105 w 1551"/>
                <a:gd name="T69" fmla="*/ 924 h 1368"/>
                <a:gd name="T70" fmla="*/ 259 w 1551"/>
                <a:gd name="T71" fmla="*/ 937 h 1368"/>
                <a:gd name="T72" fmla="*/ 361 w 1551"/>
                <a:gd name="T73" fmla="*/ 988 h 1368"/>
                <a:gd name="T74" fmla="*/ 466 w 1551"/>
                <a:gd name="T75" fmla="*/ 1016 h 1368"/>
                <a:gd name="T76" fmla="*/ 601 w 1551"/>
                <a:gd name="T77" fmla="*/ 947 h 1368"/>
                <a:gd name="T78" fmla="*/ 743 w 1551"/>
                <a:gd name="T79" fmla="*/ 934 h 1368"/>
                <a:gd name="T80" fmla="*/ 825 w 1551"/>
                <a:gd name="T81" fmla="*/ 863 h 1368"/>
                <a:gd name="T82" fmla="*/ 836 w 1551"/>
                <a:gd name="T83" fmla="*/ 775 h 1368"/>
                <a:gd name="T84" fmla="*/ 896 w 1551"/>
                <a:gd name="T85" fmla="*/ 737 h 1368"/>
                <a:gd name="T86" fmla="*/ 992 w 1551"/>
                <a:gd name="T87" fmla="*/ 717 h 1368"/>
                <a:gd name="T88" fmla="*/ 1083 w 1551"/>
                <a:gd name="T89" fmla="*/ 671 h 1368"/>
                <a:gd name="T90" fmla="*/ 1132 w 1551"/>
                <a:gd name="T91" fmla="*/ 599 h 1368"/>
                <a:gd name="T92" fmla="*/ 1188 w 1551"/>
                <a:gd name="T93" fmla="*/ 573 h 1368"/>
                <a:gd name="T94" fmla="*/ 1254 w 1551"/>
                <a:gd name="T95" fmla="*/ 556 h 1368"/>
                <a:gd name="T96" fmla="*/ 1263 w 1551"/>
                <a:gd name="T97" fmla="*/ 515 h 1368"/>
                <a:gd name="T98" fmla="*/ 1177 w 1551"/>
                <a:gd name="T99" fmla="*/ 453 h 1368"/>
                <a:gd name="T100" fmla="*/ 1084 w 1551"/>
                <a:gd name="T101" fmla="*/ 479 h 1368"/>
                <a:gd name="T102" fmla="*/ 1058 w 1551"/>
                <a:gd name="T103" fmla="*/ 412 h 1368"/>
                <a:gd name="T104" fmla="*/ 1093 w 1551"/>
                <a:gd name="T105" fmla="*/ 306 h 1368"/>
                <a:gd name="T106" fmla="*/ 1158 w 1551"/>
                <a:gd name="T107" fmla="*/ 319 h 1368"/>
                <a:gd name="T108" fmla="*/ 1209 w 1551"/>
                <a:gd name="T109" fmla="*/ 259 h 1368"/>
                <a:gd name="T110" fmla="*/ 1239 w 1551"/>
                <a:gd name="T111" fmla="*/ 142 h 1368"/>
                <a:gd name="T112" fmla="*/ 1249 w 1551"/>
                <a:gd name="T113" fmla="*/ 70 h 1368"/>
                <a:gd name="T114" fmla="*/ 1249 w 1551"/>
                <a:gd name="T115" fmla="*/ 20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1" h="1368">
                  <a:moveTo>
                    <a:pt x="1292" y="0"/>
                  </a:moveTo>
                  <a:lnTo>
                    <a:pt x="1298" y="8"/>
                  </a:lnTo>
                  <a:lnTo>
                    <a:pt x="1303" y="14"/>
                  </a:lnTo>
                  <a:lnTo>
                    <a:pt x="1307" y="28"/>
                  </a:lnTo>
                  <a:lnTo>
                    <a:pt x="1303" y="41"/>
                  </a:lnTo>
                  <a:lnTo>
                    <a:pt x="1294" y="53"/>
                  </a:lnTo>
                  <a:lnTo>
                    <a:pt x="1287" y="67"/>
                  </a:lnTo>
                  <a:lnTo>
                    <a:pt x="1292" y="77"/>
                  </a:lnTo>
                  <a:lnTo>
                    <a:pt x="1304" y="82"/>
                  </a:lnTo>
                  <a:lnTo>
                    <a:pt x="1323" y="90"/>
                  </a:lnTo>
                  <a:lnTo>
                    <a:pt x="1334" y="89"/>
                  </a:lnTo>
                  <a:lnTo>
                    <a:pt x="1340" y="76"/>
                  </a:lnTo>
                  <a:lnTo>
                    <a:pt x="1347" y="76"/>
                  </a:lnTo>
                  <a:lnTo>
                    <a:pt x="1361" y="94"/>
                  </a:lnTo>
                  <a:lnTo>
                    <a:pt x="1372" y="106"/>
                  </a:lnTo>
                  <a:lnTo>
                    <a:pt x="1383" y="121"/>
                  </a:lnTo>
                  <a:lnTo>
                    <a:pt x="1392" y="140"/>
                  </a:lnTo>
                  <a:lnTo>
                    <a:pt x="1406" y="160"/>
                  </a:lnTo>
                  <a:lnTo>
                    <a:pt x="1416" y="163"/>
                  </a:lnTo>
                  <a:lnTo>
                    <a:pt x="1428" y="152"/>
                  </a:lnTo>
                  <a:lnTo>
                    <a:pt x="1440" y="145"/>
                  </a:lnTo>
                  <a:lnTo>
                    <a:pt x="1453" y="145"/>
                  </a:lnTo>
                  <a:lnTo>
                    <a:pt x="1462" y="133"/>
                  </a:lnTo>
                  <a:lnTo>
                    <a:pt x="1482" y="128"/>
                  </a:lnTo>
                  <a:lnTo>
                    <a:pt x="1488" y="116"/>
                  </a:lnTo>
                  <a:lnTo>
                    <a:pt x="1500" y="116"/>
                  </a:lnTo>
                  <a:lnTo>
                    <a:pt x="1513" y="129"/>
                  </a:lnTo>
                  <a:lnTo>
                    <a:pt x="1529" y="139"/>
                  </a:lnTo>
                  <a:lnTo>
                    <a:pt x="1542" y="154"/>
                  </a:lnTo>
                  <a:lnTo>
                    <a:pt x="1550" y="167"/>
                  </a:lnTo>
                  <a:lnTo>
                    <a:pt x="1541" y="191"/>
                  </a:lnTo>
                  <a:lnTo>
                    <a:pt x="1531" y="211"/>
                  </a:lnTo>
                  <a:lnTo>
                    <a:pt x="1529" y="237"/>
                  </a:lnTo>
                  <a:lnTo>
                    <a:pt x="1527" y="265"/>
                  </a:lnTo>
                  <a:lnTo>
                    <a:pt x="1538" y="283"/>
                  </a:lnTo>
                  <a:lnTo>
                    <a:pt x="1529" y="308"/>
                  </a:lnTo>
                  <a:lnTo>
                    <a:pt x="1524" y="327"/>
                  </a:lnTo>
                  <a:lnTo>
                    <a:pt x="1520" y="349"/>
                  </a:lnTo>
                  <a:lnTo>
                    <a:pt x="1518" y="376"/>
                  </a:lnTo>
                  <a:lnTo>
                    <a:pt x="1512" y="396"/>
                  </a:lnTo>
                  <a:lnTo>
                    <a:pt x="1503" y="383"/>
                  </a:lnTo>
                  <a:lnTo>
                    <a:pt x="1500" y="368"/>
                  </a:lnTo>
                  <a:lnTo>
                    <a:pt x="1486" y="375"/>
                  </a:lnTo>
                  <a:lnTo>
                    <a:pt x="1483" y="392"/>
                  </a:lnTo>
                  <a:lnTo>
                    <a:pt x="1478" y="408"/>
                  </a:lnTo>
                  <a:lnTo>
                    <a:pt x="1465" y="419"/>
                  </a:lnTo>
                  <a:lnTo>
                    <a:pt x="1462" y="434"/>
                  </a:lnTo>
                  <a:lnTo>
                    <a:pt x="1444" y="443"/>
                  </a:lnTo>
                  <a:lnTo>
                    <a:pt x="1439" y="460"/>
                  </a:lnTo>
                  <a:lnTo>
                    <a:pt x="1437" y="483"/>
                  </a:lnTo>
                  <a:lnTo>
                    <a:pt x="1444" y="499"/>
                  </a:lnTo>
                  <a:lnTo>
                    <a:pt x="1467" y="507"/>
                  </a:lnTo>
                  <a:lnTo>
                    <a:pt x="1483" y="519"/>
                  </a:lnTo>
                  <a:lnTo>
                    <a:pt x="1470" y="528"/>
                  </a:lnTo>
                  <a:lnTo>
                    <a:pt x="1473" y="545"/>
                  </a:lnTo>
                  <a:lnTo>
                    <a:pt x="1478" y="555"/>
                  </a:lnTo>
                  <a:lnTo>
                    <a:pt x="1474" y="564"/>
                  </a:lnTo>
                  <a:lnTo>
                    <a:pt x="1462" y="573"/>
                  </a:lnTo>
                  <a:lnTo>
                    <a:pt x="1452" y="587"/>
                  </a:lnTo>
                  <a:lnTo>
                    <a:pt x="1435" y="601"/>
                  </a:lnTo>
                  <a:lnTo>
                    <a:pt x="1421" y="600"/>
                  </a:lnTo>
                  <a:lnTo>
                    <a:pt x="1410" y="607"/>
                  </a:lnTo>
                  <a:lnTo>
                    <a:pt x="1409" y="621"/>
                  </a:lnTo>
                  <a:lnTo>
                    <a:pt x="1421" y="625"/>
                  </a:lnTo>
                  <a:lnTo>
                    <a:pt x="1426" y="623"/>
                  </a:lnTo>
                  <a:lnTo>
                    <a:pt x="1435" y="633"/>
                  </a:lnTo>
                  <a:lnTo>
                    <a:pt x="1438" y="641"/>
                  </a:lnTo>
                  <a:lnTo>
                    <a:pt x="1442" y="661"/>
                  </a:lnTo>
                  <a:lnTo>
                    <a:pt x="1443" y="676"/>
                  </a:lnTo>
                  <a:lnTo>
                    <a:pt x="1452" y="710"/>
                  </a:lnTo>
                  <a:lnTo>
                    <a:pt x="1455" y="727"/>
                  </a:lnTo>
                  <a:lnTo>
                    <a:pt x="1463" y="734"/>
                  </a:lnTo>
                  <a:lnTo>
                    <a:pt x="1473" y="725"/>
                  </a:lnTo>
                  <a:lnTo>
                    <a:pt x="1488" y="720"/>
                  </a:lnTo>
                  <a:lnTo>
                    <a:pt x="1503" y="710"/>
                  </a:lnTo>
                  <a:lnTo>
                    <a:pt x="1514" y="711"/>
                  </a:lnTo>
                  <a:lnTo>
                    <a:pt x="1521" y="721"/>
                  </a:lnTo>
                  <a:lnTo>
                    <a:pt x="1523" y="733"/>
                  </a:lnTo>
                  <a:lnTo>
                    <a:pt x="1534" y="759"/>
                  </a:lnTo>
                  <a:lnTo>
                    <a:pt x="1542" y="778"/>
                  </a:lnTo>
                  <a:lnTo>
                    <a:pt x="1546" y="790"/>
                  </a:lnTo>
                  <a:lnTo>
                    <a:pt x="1544" y="808"/>
                  </a:lnTo>
                  <a:lnTo>
                    <a:pt x="1534" y="819"/>
                  </a:lnTo>
                  <a:lnTo>
                    <a:pt x="1521" y="836"/>
                  </a:lnTo>
                  <a:lnTo>
                    <a:pt x="1506" y="845"/>
                  </a:lnTo>
                  <a:lnTo>
                    <a:pt x="1498" y="844"/>
                  </a:lnTo>
                  <a:lnTo>
                    <a:pt x="1487" y="847"/>
                  </a:lnTo>
                  <a:lnTo>
                    <a:pt x="1483" y="857"/>
                  </a:lnTo>
                  <a:lnTo>
                    <a:pt x="1470" y="854"/>
                  </a:lnTo>
                  <a:lnTo>
                    <a:pt x="1460" y="870"/>
                  </a:lnTo>
                  <a:lnTo>
                    <a:pt x="1452" y="882"/>
                  </a:lnTo>
                  <a:lnTo>
                    <a:pt x="1438" y="884"/>
                  </a:lnTo>
                  <a:lnTo>
                    <a:pt x="1425" y="893"/>
                  </a:lnTo>
                  <a:lnTo>
                    <a:pt x="1415" y="911"/>
                  </a:lnTo>
                  <a:lnTo>
                    <a:pt x="1408" y="914"/>
                  </a:lnTo>
                  <a:lnTo>
                    <a:pt x="1396" y="916"/>
                  </a:lnTo>
                  <a:lnTo>
                    <a:pt x="1386" y="919"/>
                  </a:lnTo>
                  <a:lnTo>
                    <a:pt x="1380" y="933"/>
                  </a:lnTo>
                  <a:lnTo>
                    <a:pt x="1374" y="949"/>
                  </a:lnTo>
                  <a:lnTo>
                    <a:pt x="1358" y="952"/>
                  </a:lnTo>
                  <a:lnTo>
                    <a:pt x="1353" y="938"/>
                  </a:lnTo>
                  <a:lnTo>
                    <a:pt x="1344" y="921"/>
                  </a:lnTo>
                  <a:lnTo>
                    <a:pt x="1334" y="909"/>
                  </a:lnTo>
                  <a:lnTo>
                    <a:pt x="1318" y="910"/>
                  </a:lnTo>
                  <a:lnTo>
                    <a:pt x="1311" y="922"/>
                  </a:lnTo>
                  <a:lnTo>
                    <a:pt x="1305" y="941"/>
                  </a:lnTo>
                  <a:lnTo>
                    <a:pt x="1311" y="954"/>
                  </a:lnTo>
                  <a:lnTo>
                    <a:pt x="1313" y="970"/>
                  </a:lnTo>
                  <a:lnTo>
                    <a:pt x="1316" y="984"/>
                  </a:lnTo>
                  <a:lnTo>
                    <a:pt x="1313" y="998"/>
                  </a:lnTo>
                  <a:lnTo>
                    <a:pt x="1300" y="996"/>
                  </a:lnTo>
                  <a:lnTo>
                    <a:pt x="1287" y="1000"/>
                  </a:lnTo>
                  <a:lnTo>
                    <a:pt x="1272" y="999"/>
                  </a:lnTo>
                  <a:lnTo>
                    <a:pt x="1262" y="996"/>
                  </a:lnTo>
                  <a:lnTo>
                    <a:pt x="1260" y="988"/>
                  </a:lnTo>
                  <a:lnTo>
                    <a:pt x="1259" y="983"/>
                  </a:lnTo>
                  <a:lnTo>
                    <a:pt x="1251" y="979"/>
                  </a:lnTo>
                  <a:lnTo>
                    <a:pt x="1246" y="970"/>
                  </a:lnTo>
                  <a:lnTo>
                    <a:pt x="1251" y="964"/>
                  </a:lnTo>
                  <a:lnTo>
                    <a:pt x="1256" y="960"/>
                  </a:lnTo>
                  <a:lnTo>
                    <a:pt x="1253" y="952"/>
                  </a:lnTo>
                  <a:lnTo>
                    <a:pt x="1245" y="946"/>
                  </a:lnTo>
                  <a:lnTo>
                    <a:pt x="1235" y="934"/>
                  </a:lnTo>
                  <a:lnTo>
                    <a:pt x="1231" y="923"/>
                  </a:lnTo>
                  <a:lnTo>
                    <a:pt x="1225" y="910"/>
                  </a:lnTo>
                  <a:lnTo>
                    <a:pt x="1208" y="905"/>
                  </a:lnTo>
                  <a:lnTo>
                    <a:pt x="1197" y="907"/>
                  </a:lnTo>
                  <a:lnTo>
                    <a:pt x="1186" y="913"/>
                  </a:lnTo>
                  <a:lnTo>
                    <a:pt x="1177" y="914"/>
                  </a:lnTo>
                  <a:lnTo>
                    <a:pt x="1169" y="926"/>
                  </a:lnTo>
                  <a:lnTo>
                    <a:pt x="1170" y="936"/>
                  </a:lnTo>
                  <a:lnTo>
                    <a:pt x="1173" y="948"/>
                  </a:lnTo>
                  <a:lnTo>
                    <a:pt x="1168" y="958"/>
                  </a:lnTo>
                  <a:lnTo>
                    <a:pt x="1154" y="961"/>
                  </a:lnTo>
                  <a:lnTo>
                    <a:pt x="1150" y="959"/>
                  </a:lnTo>
                  <a:lnTo>
                    <a:pt x="1138" y="956"/>
                  </a:lnTo>
                  <a:lnTo>
                    <a:pt x="1131" y="961"/>
                  </a:lnTo>
                  <a:lnTo>
                    <a:pt x="1128" y="970"/>
                  </a:lnTo>
                  <a:lnTo>
                    <a:pt x="1122" y="978"/>
                  </a:lnTo>
                  <a:lnTo>
                    <a:pt x="1115" y="973"/>
                  </a:lnTo>
                  <a:lnTo>
                    <a:pt x="1106" y="971"/>
                  </a:lnTo>
                  <a:lnTo>
                    <a:pt x="1092" y="981"/>
                  </a:lnTo>
                  <a:lnTo>
                    <a:pt x="1080" y="991"/>
                  </a:lnTo>
                  <a:lnTo>
                    <a:pt x="1061" y="996"/>
                  </a:lnTo>
                  <a:lnTo>
                    <a:pt x="1054" y="993"/>
                  </a:lnTo>
                  <a:lnTo>
                    <a:pt x="1056" y="982"/>
                  </a:lnTo>
                  <a:lnTo>
                    <a:pt x="1058" y="970"/>
                  </a:lnTo>
                  <a:lnTo>
                    <a:pt x="1049" y="953"/>
                  </a:lnTo>
                  <a:lnTo>
                    <a:pt x="1036" y="954"/>
                  </a:lnTo>
                  <a:lnTo>
                    <a:pt x="1028" y="962"/>
                  </a:lnTo>
                  <a:lnTo>
                    <a:pt x="1020" y="975"/>
                  </a:lnTo>
                  <a:lnTo>
                    <a:pt x="1011" y="996"/>
                  </a:lnTo>
                  <a:lnTo>
                    <a:pt x="1011" y="1004"/>
                  </a:lnTo>
                  <a:lnTo>
                    <a:pt x="1004" y="1012"/>
                  </a:lnTo>
                  <a:lnTo>
                    <a:pt x="1000" y="1024"/>
                  </a:lnTo>
                  <a:lnTo>
                    <a:pt x="995" y="1034"/>
                  </a:lnTo>
                  <a:lnTo>
                    <a:pt x="999" y="1044"/>
                  </a:lnTo>
                  <a:lnTo>
                    <a:pt x="1000" y="1053"/>
                  </a:lnTo>
                  <a:lnTo>
                    <a:pt x="1004" y="1069"/>
                  </a:lnTo>
                  <a:lnTo>
                    <a:pt x="1009" y="1078"/>
                  </a:lnTo>
                  <a:lnTo>
                    <a:pt x="1006" y="1083"/>
                  </a:lnTo>
                  <a:lnTo>
                    <a:pt x="1005" y="1087"/>
                  </a:lnTo>
                  <a:lnTo>
                    <a:pt x="1000" y="1091"/>
                  </a:lnTo>
                  <a:lnTo>
                    <a:pt x="990" y="1096"/>
                  </a:lnTo>
                  <a:lnTo>
                    <a:pt x="984" y="1100"/>
                  </a:lnTo>
                  <a:lnTo>
                    <a:pt x="976" y="1105"/>
                  </a:lnTo>
                  <a:lnTo>
                    <a:pt x="966" y="1107"/>
                  </a:lnTo>
                  <a:lnTo>
                    <a:pt x="956" y="1104"/>
                  </a:lnTo>
                  <a:lnTo>
                    <a:pt x="949" y="1109"/>
                  </a:lnTo>
                  <a:lnTo>
                    <a:pt x="940" y="1118"/>
                  </a:lnTo>
                  <a:lnTo>
                    <a:pt x="930" y="1118"/>
                  </a:lnTo>
                  <a:lnTo>
                    <a:pt x="920" y="1114"/>
                  </a:lnTo>
                  <a:lnTo>
                    <a:pt x="910" y="1120"/>
                  </a:lnTo>
                  <a:lnTo>
                    <a:pt x="906" y="1128"/>
                  </a:lnTo>
                  <a:lnTo>
                    <a:pt x="899" y="1141"/>
                  </a:lnTo>
                  <a:lnTo>
                    <a:pt x="893" y="1149"/>
                  </a:lnTo>
                  <a:lnTo>
                    <a:pt x="887" y="1158"/>
                  </a:lnTo>
                  <a:lnTo>
                    <a:pt x="880" y="1166"/>
                  </a:lnTo>
                  <a:lnTo>
                    <a:pt x="871" y="1169"/>
                  </a:lnTo>
                  <a:lnTo>
                    <a:pt x="863" y="1168"/>
                  </a:lnTo>
                  <a:lnTo>
                    <a:pt x="856" y="1175"/>
                  </a:lnTo>
                  <a:lnTo>
                    <a:pt x="840" y="1188"/>
                  </a:lnTo>
                  <a:lnTo>
                    <a:pt x="838" y="1180"/>
                  </a:lnTo>
                  <a:lnTo>
                    <a:pt x="830" y="1176"/>
                  </a:lnTo>
                  <a:lnTo>
                    <a:pt x="822" y="1181"/>
                  </a:lnTo>
                  <a:lnTo>
                    <a:pt x="817" y="1189"/>
                  </a:lnTo>
                  <a:lnTo>
                    <a:pt x="808" y="1198"/>
                  </a:lnTo>
                  <a:lnTo>
                    <a:pt x="797" y="1199"/>
                  </a:lnTo>
                  <a:lnTo>
                    <a:pt x="785" y="1198"/>
                  </a:lnTo>
                  <a:lnTo>
                    <a:pt x="772" y="1204"/>
                  </a:lnTo>
                  <a:lnTo>
                    <a:pt x="761" y="1213"/>
                  </a:lnTo>
                  <a:lnTo>
                    <a:pt x="753" y="1214"/>
                  </a:lnTo>
                  <a:lnTo>
                    <a:pt x="747" y="1225"/>
                  </a:lnTo>
                  <a:lnTo>
                    <a:pt x="744" y="1234"/>
                  </a:lnTo>
                  <a:lnTo>
                    <a:pt x="736" y="1247"/>
                  </a:lnTo>
                  <a:lnTo>
                    <a:pt x="727" y="1259"/>
                  </a:lnTo>
                  <a:lnTo>
                    <a:pt x="720" y="1274"/>
                  </a:lnTo>
                  <a:lnTo>
                    <a:pt x="715" y="1294"/>
                  </a:lnTo>
                  <a:lnTo>
                    <a:pt x="710" y="1310"/>
                  </a:lnTo>
                  <a:lnTo>
                    <a:pt x="704" y="1320"/>
                  </a:lnTo>
                  <a:lnTo>
                    <a:pt x="691" y="1335"/>
                  </a:lnTo>
                  <a:lnTo>
                    <a:pt x="680" y="1338"/>
                  </a:lnTo>
                  <a:lnTo>
                    <a:pt x="662" y="1338"/>
                  </a:lnTo>
                  <a:lnTo>
                    <a:pt x="651" y="1340"/>
                  </a:lnTo>
                  <a:lnTo>
                    <a:pt x="637" y="1335"/>
                  </a:lnTo>
                  <a:lnTo>
                    <a:pt x="631" y="1328"/>
                  </a:lnTo>
                  <a:lnTo>
                    <a:pt x="623" y="1322"/>
                  </a:lnTo>
                  <a:lnTo>
                    <a:pt x="611" y="1315"/>
                  </a:lnTo>
                  <a:lnTo>
                    <a:pt x="599" y="1307"/>
                  </a:lnTo>
                  <a:lnTo>
                    <a:pt x="587" y="1300"/>
                  </a:lnTo>
                  <a:lnTo>
                    <a:pt x="574" y="1296"/>
                  </a:lnTo>
                  <a:lnTo>
                    <a:pt x="562" y="1281"/>
                  </a:lnTo>
                  <a:lnTo>
                    <a:pt x="562" y="1269"/>
                  </a:lnTo>
                  <a:lnTo>
                    <a:pt x="567" y="1253"/>
                  </a:lnTo>
                  <a:lnTo>
                    <a:pt x="573" y="1243"/>
                  </a:lnTo>
                  <a:lnTo>
                    <a:pt x="577" y="1232"/>
                  </a:lnTo>
                  <a:lnTo>
                    <a:pt x="573" y="1212"/>
                  </a:lnTo>
                  <a:lnTo>
                    <a:pt x="567" y="1199"/>
                  </a:lnTo>
                  <a:lnTo>
                    <a:pt x="559" y="1199"/>
                  </a:lnTo>
                  <a:lnTo>
                    <a:pt x="547" y="1204"/>
                  </a:lnTo>
                  <a:lnTo>
                    <a:pt x="533" y="1212"/>
                  </a:lnTo>
                  <a:lnTo>
                    <a:pt x="524" y="1224"/>
                  </a:lnTo>
                  <a:lnTo>
                    <a:pt x="520" y="1240"/>
                  </a:lnTo>
                  <a:lnTo>
                    <a:pt x="514" y="1261"/>
                  </a:lnTo>
                  <a:lnTo>
                    <a:pt x="512" y="1274"/>
                  </a:lnTo>
                  <a:lnTo>
                    <a:pt x="514" y="1295"/>
                  </a:lnTo>
                  <a:lnTo>
                    <a:pt x="509" y="1310"/>
                  </a:lnTo>
                  <a:lnTo>
                    <a:pt x="503" y="1326"/>
                  </a:lnTo>
                  <a:lnTo>
                    <a:pt x="492" y="1341"/>
                  </a:lnTo>
                  <a:lnTo>
                    <a:pt x="478" y="1352"/>
                  </a:lnTo>
                  <a:lnTo>
                    <a:pt x="467" y="1357"/>
                  </a:lnTo>
                  <a:lnTo>
                    <a:pt x="452" y="1363"/>
                  </a:lnTo>
                  <a:lnTo>
                    <a:pt x="440" y="1363"/>
                  </a:lnTo>
                  <a:lnTo>
                    <a:pt x="432" y="1365"/>
                  </a:lnTo>
                  <a:lnTo>
                    <a:pt x="423" y="1364"/>
                  </a:lnTo>
                  <a:lnTo>
                    <a:pt x="414" y="1362"/>
                  </a:lnTo>
                  <a:lnTo>
                    <a:pt x="408" y="1367"/>
                  </a:lnTo>
                  <a:lnTo>
                    <a:pt x="401" y="1355"/>
                  </a:lnTo>
                  <a:lnTo>
                    <a:pt x="394" y="1348"/>
                  </a:lnTo>
                  <a:lnTo>
                    <a:pt x="383" y="1334"/>
                  </a:lnTo>
                  <a:lnTo>
                    <a:pt x="373" y="1326"/>
                  </a:lnTo>
                  <a:lnTo>
                    <a:pt x="364" y="1315"/>
                  </a:lnTo>
                  <a:lnTo>
                    <a:pt x="362" y="1305"/>
                  </a:lnTo>
                  <a:lnTo>
                    <a:pt x="370" y="1297"/>
                  </a:lnTo>
                  <a:lnTo>
                    <a:pt x="369" y="1289"/>
                  </a:lnTo>
                  <a:lnTo>
                    <a:pt x="369" y="1274"/>
                  </a:lnTo>
                  <a:lnTo>
                    <a:pt x="375" y="1268"/>
                  </a:lnTo>
                  <a:lnTo>
                    <a:pt x="383" y="1266"/>
                  </a:lnTo>
                  <a:lnTo>
                    <a:pt x="387" y="1256"/>
                  </a:lnTo>
                  <a:lnTo>
                    <a:pt x="398" y="1246"/>
                  </a:lnTo>
                  <a:lnTo>
                    <a:pt x="413" y="1243"/>
                  </a:lnTo>
                  <a:lnTo>
                    <a:pt x="417" y="1234"/>
                  </a:lnTo>
                  <a:lnTo>
                    <a:pt x="416" y="1217"/>
                  </a:lnTo>
                  <a:lnTo>
                    <a:pt x="414" y="1207"/>
                  </a:lnTo>
                  <a:lnTo>
                    <a:pt x="407" y="1196"/>
                  </a:lnTo>
                  <a:lnTo>
                    <a:pt x="393" y="1191"/>
                  </a:lnTo>
                  <a:lnTo>
                    <a:pt x="383" y="1189"/>
                  </a:lnTo>
                  <a:lnTo>
                    <a:pt x="370" y="1194"/>
                  </a:lnTo>
                  <a:lnTo>
                    <a:pt x="360" y="1204"/>
                  </a:lnTo>
                  <a:lnTo>
                    <a:pt x="350" y="1211"/>
                  </a:lnTo>
                  <a:lnTo>
                    <a:pt x="339" y="1218"/>
                  </a:lnTo>
                  <a:lnTo>
                    <a:pt x="325" y="1213"/>
                  </a:lnTo>
                  <a:lnTo>
                    <a:pt x="312" y="1209"/>
                  </a:lnTo>
                  <a:lnTo>
                    <a:pt x="298" y="1207"/>
                  </a:lnTo>
                  <a:lnTo>
                    <a:pt x="285" y="1205"/>
                  </a:lnTo>
                  <a:lnTo>
                    <a:pt x="277" y="1218"/>
                  </a:lnTo>
                  <a:lnTo>
                    <a:pt x="270" y="1232"/>
                  </a:lnTo>
                  <a:lnTo>
                    <a:pt x="266" y="1245"/>
                  </a:lnTo>
                  <a:lnTo>
                    <a:pt x="270" y="1248"/>
                  </a:lnTo>
                  <a:lnTo>
                    <a:pt x="258" y="1244"/>
                  </a:lnTo>
                  <a:lnTo>
                    <a:pt x="250" y="1236"/>
                  </a:lnTo>
                  <a:lnTo>
                    <a:pt x="240" y="1222"/>
                  </a:lnTo>
                  <a:lnTo>
                    <a:pt x="231" y="1215"/>
                  </a:lnTo>
                  <a:lnTo>
                    <a:pt x="216" y="1209"/>
                  </a:lnTo>
                  <a:lnTo>
                    <a:pt x="203" y="1204"/>
                  </a:lnTo>
                  <a:lnTo>
                    <a:pt x="187" y="1196"/>
                  </a:lnTo>
                  <a:lnTo>
                    <a:pt x="177" y="1178"/>
                  </a:lnTo>
                  <a:lnTo>
                    <a:pt x="169" y="1163"/>
                  </a:lnTo>
                  <a:lnTo>
                    <a:pt x="166" y="1152"/>
                  </a:lnTo>
                  <a:lnTo>
                    <a:pt x="156" y="1145"/>
                  </a:lnTo>
                  <a:lnTo>
                    <a:pt x="151" y="1135"/>
                  </a:lnTo>
                  <a:lnTo>
                    <a:pt x="154" y="1124"/>
                  </a:lnTo>
                  <a:lnTo>
                    <a:pt x="158" y="1109"/>
                  </a:lnTo>
                  <a:lnTo>
                    <a:pt x="167" y="1093"/>
                  </a:lnTo>
                  <a:lnTo>
                    <a:pt x="172" y="1072"/>
                  </a:lnTo>
                  <a:lnTo>
                    <a:pt x="163" y="1067"/>
                  </a:lnTo>
                  <a:lnTo>
                    <a:pt x="144" y="1062"/>
                  </a:lnTo>
                  <a:lnTo>
                    <a:pt x="131" y="1059"/>
                  </a:lnTo>
                  <a:lnTo>
                    <a:pt x="114" y="1063"/>
                  </a:lnTo>
                  <a:lnTo>
                    <a:pt x="97" y="1067"/>
                  </a:lnTo>
                  <a:lnTo>
                    <a:pt x="80" y="1074"/>
                  </a:lnTo>
                  <a:lnTo>
                    <a:pt x="61" y="1074"/>
                  </a:lnTo>
                  <a:lnTo>
                    <a:pt x="44" y="1064"/>
                  </a:lnTo>
                  <a:lnTo>
                    <a:pt x="33" y="1051"/>
                  </a:lnTo>
                  <a:lnTo>
                    <a:pt x="31" y="1041"/>
                  </a:lnTo>
                  <a:lnTo>
                    <a:pt x="19" y="1031"/>
                  </a:lnTo>
                  <a:lnTo>
                    <a:pt x="15" y="1017"/>
                  </a:lnTo>
                  <a:lnTo>
                    <a:pt x="15" y="999"/>
                  </a:lnTo>
                  <a:lnTo>
                    <a:pt x="16" y="990"/>
                  </a:lnTo>
                  <a:lnTo>
                    <a:pt x="23" y="980"/>
                  </a:lnTo>
                  <a:lnTo>
                    <a:pt x="24" y="973"/>
                  </a:lnTo>
                  <a:lnTo>
                    <a:pt x="20" y="966"/>
                  </a:lnTo>
                  <a:lnTo>
                    <a:pt x="16" y="958"/>
                  </a:lnTo>
                  <a:lnTo>
                    <a:pt x="18" y="944"/>
                  </a:lnTo>
                  <a:lnTo>
                    <a:pt x="10" y="929"/>
                  </a:lnTo>
                  <a:lnTo>
                    <a:pt x="5" y="920"/>
                  </a:lnTo>
                  <a:lnTo>
                    <a:pt x="0" y="901"/>
                  </a:lnTo>
                  <a:lnTo>
                    <a:pt x="10" y="891"/>
                  </a:lnTo>
                  <a:lnTo>
                    <a:pt x="25" y="896"/>
                  </a:lnTo>
                  <a:lnTo>
                    <a:pt x="37" y="898"/>
                  </a:lnTo>
                  <a:lnTo>
                    <a:pt x="51" y="904"/>
                  </a:lnTo>
                  <a:lnTo>
                    <a:pt x="61" y="909"/>
                  </a:lnTo>
                  <a:lnTo>
                    <a:pt x="72" y="915"/>
                  </a:lnTo>
                  <a:lnTo>
                    <a:pt x="87" y="923"/>
                  </a:lnTo>
                  <a:lnTo>
                    <a:pt x="105" y="924"/>
                  </a:lnTo>
                  <a:lnTo>
                    <a:pt x="124" y="920"/>
                  </a:lnTo>
                  <a:lnTo>
                    <a:pt x="141" y="918"/>
                  </a:lnTo>
                  <a:lnTo>
                    <a:pt x="155" y="919"/>
                  </a:lnTo>
                  <a:lnTo>
                    <a:pt x="176" y="919"/>
                  </a:lnTo>
                  <a:lnTo>
                    <a:pt x="187" y="921"/>
                  </a:lnTo>
                  <a:lnTo>
                    <a:pt x="201" y="922"/>
                  </a:lnTo>
                  <a:lnTo>
                    <a:pt x="218" y="926"/>
                  </a:lnTo>
                  <a:lnTo>
                    <a:pt x="234" y="928"/>
                  </a:lnTo>
                  <a:lnTo>
                    <a:pt x="259" y="937"/>
                  </a:lnTo>
                  <a:lnTo>
                    <a:pt x="273" y="944"/>
                  </a:lnTo>
                  <a:lnTo>
                    <a:pt x="285" y="949"/>
                  </a:lnTo>
                  <a:lnTo>
                    <a:pt x="288" y="955"/>
                  </a:lnTo>
                  <a:lnTo>
                    <a:pt x="294" y="962"/>
                  </a:lnTo>
                  <a:lnTo>
                    <a:pt x="312" y="967"/>
                  </a:lnTo>
                  <a:lnTo>
                    <a:pt x="323" y="973"/>
                  </a:lnTo>
                  <a:lnTo>
                    <a:pt x="336" y="973"/>
                  </a:lnTo>
                  <a:lnTo>
                    <a:pt x="340" y="973"/>
                  </a:lnTo>
                  <a:lnTo>
                    <a:pt x="361" y="988"/>
                  </a:lnTo>
                  <a:lnTo>
                    <a:pt x="370" y="994"/>
                  </a:lnTo>
                  <a:lnTo>
                    <a:pt x="388" y="1000"/>
                  </a:lnTo>
                  <a:lnTo>
                    <a:pt x="406" y="999"/>
                  </a:lnTo>
                  <a:lnTo>
                    <a:pt x="421" y="996"/>
                  </a:lnTo>
                  <a:lnTo>
                    <a:pt x="430" y="996"/>
                  </a:lnTo>
                  <a:lnTo>
                    <a:pt x="434" y="1001"/>
                  </a:lnTo>
                  <a:lnTo>
                    <a:pt x="437" y="1016"/>
                  </a:lnTo>
                  <a:lnTo>
                    <a:pt x="447" y="1017"/>
                  </a:lnTo>
                  <a:lnTo>
                    <a:pt x="466" y="1016"/>
                  </a:lnTo>
                  <a:lnTo>
                    <a:pt x="477" y="1008"/>
                  </a:lnTo>
                  <a:lnTo>
                    <a:pt x="491" y="998"/>
                  </a:lnTo>
                  <a:lnTo>
                    <a:pt x="504" y="990"/>
                  </a:lnTo>
                  <a:lnTo>
                    <a:pt x="522" y="980"/>
                  </a:lnTo>
                  <a:lnTo>
                    <a:pt x="532" y="975"/>
                  </a:lnTo>
                  <a:lnTo>
                    <a:pt x="550" y="969"/>
                  </a:lnTo>
                  <a:lnTo>
                    <a:pt x="563" y="962"/>
                  </a:lnTo>
                  <a:lnTo>
                    <a:pt x="575" y="959"/>
                  </a:lnTo>
                  <a:lnTo>
                    <a:pt x="601" y="947"/>
                  </a:lnTo>
                  <a:lnTo>
                    <a:pt x="616" y="949"/>
                  </a:lnTo>
                  <a:lnTo>
                    <a:pt x="637" y="947"/>
                  </a:lnTo>
                  <a:lnTo>
                    <a:pt x="662" y="947"/>
                  </a:lnTo>
                  <a:lnTo>
                    <a:pt x="678" y="946"/>
                  </a:lnTo>
                  <a:lnTo>
                    <a:pt x="695" y="943"/>
                  </a:lnTo>
                  <a:lnTo>
                    <a:pt x="707" y="940"/>
                  </a:lnTo>
                  <a:lnTo>
                    <a:pt x="717" y="942"/>
                  </a:lnTo>
                  <a:lnTo>
                    <a:pt x="733" y="939"/>
                  </a:lnTo>
                  <a:lnTo>
                    <a:pt x="743" y="934"/>
                  </a:lnTo>
                  <a:lnTo>
                    <a:pt x="755" y="931"/>
                  </a:lnTo>
                  <a:lnTo>
                    <a:pt x="766" y="929"/>
                  </a:lnTo>
                  <a:lnTo>
                    <a:pt x="774" y="919"/>
                  </a:lnTo>
                  <a:lnTo>
                    <a:pt x="781" y="916"/>
                  </a:lnTo>
                  <a:lnTo>
                    <a:pt x="791" y="906"/>
                  </a:lnTo>
                  <a:lnTo>
                    <a:pt x="801" y="899"/>
                  </a:lnTo>
                  <a:lnTo>
                    <a:pt x="808" y="888"/>
                  </a:lnTo>
                  <a:lnTo>
                    <a:pt x="815" y="880"/>
                  </a:lnTo>
                  <a:lnTo>
                    <a:pt x="825" y="863"/>
                  </a:lnTo>
                  <a:lnTo>
                    <a:pt x="834" y="860"/>
                  </a:lnTo>
                  <a:lnTo>
                    <a:pt x="849" y="850"/>
                  </a:lnTo>
                  <a:lnTo>
                    <a:pt x="856" y="850"/>
                  </a:lnTo>
                  <a:lnTo>
                    <a:pt x="868" y="833"/>
                  </a:lnTo>
                  <a:lnTo>
                    <a:pt x="866" y="828"/>
                  </a:lnTo>
                  <a:lnTo>
                    <a:pt x="860" y="811"/>
                  </a:lnTo>
                  <a:lnTo>
                    <a:pt x="852" y="800"/>
                  </a:lnTo>
                  <a:lnTo>
                    <a:pt x="842" y="790"/>
                  </a:lnTo>
                  <a:lnTo>
                    <a:pt x="836" y="775"/>
                  </a:lnTo>
                  <a:lnTo>
                    <a:pt x="841" y="763"/>
                  </a:lnTo>
                  <a:lnTo>
                    <a:pt x="848" y="754"/>
                  </a:lnTo>
                  <a:lnTo>
                    <a:pt x="853" y="744"/>
                  </a:lnTo>
                  <a:lnTo>
                    <a:pt x="862" y="734"/>
                  </a:lnTo>
                  <a:lnTo>
                    <a:pt x="866" y="721"/>
                  </a:lnTo>
                  <a:lnTo>
                    <a:pt x="874" y="715"/>
                  </a:lnTo>
                  <a:lnTo>
                    <a:pt x="887" y="716"/>
                  </a:lnTo>
                  <a:lnTo>
                    <a:pt x="892" y="724"/>
                  </a:lnTo>
                  <a:lnTo>
                    <a:pt x="896" y="737"/>
                  </a:lnTo>
                  <a:lnTo>
                    <a:pt x="901" y="742"/>
                  </a:lnTo>
                  <a:lnTo>
                    <a:pt x="915" y="745"/>
                  </a:lnTo>
                  <a:lnTo>
                    <a:pt x="929" y="746"/>
                  </a:lnTo>
                  <a:lnTo>
                    <a:pt x="945" y="740"/>
                  </a:lnTo>
                  <a:lnTo>
                    <a:pt x="954" y="745"/>
                  </a:lnTo>
                  <a:lnTo>
                    <a:pt x="963" y="748"/>
                  </a:lnTo>
                  <a:lnTo>
                    <a:pt x="982" y="735"/>
                  </a:lnTo>
                  <a:lnTo>
                    <a:pt x="987" y="726"/>
                  </a:lnTo>
                  <a:lnTo>
                    <a:pt x="992" y="717"/>
                  </a:lnTo>
                  <a:lnTo>
                    <a:pt x="995" y="707"/>
                  </a:lnTo>
                  <a:lnTo>
                    <a:pt x="1002" y="695"/>
                  </a:lnTo>
                  <a:lnTo>
                    <a:pt x="1014" y="684"/>
                  </a:lnTo>
                  <a:lnTo>
                    <a:pt x="1025" y="683"/>
                  </a:lnTo>
                  <a:lnTo>
                    <a:pt x="1036" y="684"/>
                  </a:lnTo>
                  <a:lnTo>
                    <a:pt x="1042" y="687"/>
                  </a:lnTo>
                  <a:lnTo>
                    <a:pt x="1055" y="686"/>
                  </a:lnTo>
                  <a:lnTo>
                    <a:pt x="1071" y="674"/>
                  </a:lnTo>
                  <a:lnTo>
                    <a:pt x="1083" y="671"/>
                  </a:lnTo>
                  <a:lnTo>
                    <a:pt x="1093" y="655"/>
                  </a:lnTo>
                  <a:lnTo>
                    <a:pt x="1095" y="651"/>
                  </a:lnTo>
                  <a:lnTo>
                    <a:pt x="1100" y="632"/>
                  </a:lnTo>
                  <a:lnTo>
                    <a:pt x="1103" y="623"/>
                  </a:lnTo>
                  <a:lnTo>
                    <a:pt x="1105" y="616"/>
                  </a:lnTo>
                  <a:lnTo>
                    <a:pt x="1110" y="610"/>
                  </a:lnTo>
                  <a:lnTo>
                    <a:pt x="1118" y="606"/>
                  </a:lnTo>
                  <a:lnTo>
                    <a:pt x="1123" y="602"/>
                  </a:lnTo>
                  <a:lnTo>
                    <a:pt x="1132" y="599"/>
                  </a:lnTo>
                  <a:lnTo>
                    <a:pt x="1140" y="600"/>
                  </a:lnTo>
                  <a:lnTo>
                    <a:pt x="1150" y="603"/>
                  </a:lnTo>
                  <a:lnTo>
                    <a:pt x="1156" y="597"/>
                  </a:lnTo>
                  <a:lnTo>
                    <a:pt x="1156" y="589"/>
                  </a:lnTo>
                  <a:lnTo>
                    <a:pt x="1160" y="579"/>
                  </a:lnTo>
                  <a:lnTo>
                    <a:pt x="1166" y="572"/>
                  </a:lnTo>
                  <a:lnTo>
                    <a:pt x="1172" y="576"/>
                  </a:lnTo>
                  <a:lnTo>
                    <a:pt x="1176" y="579"/>
                  </a:lnTo>
                  <a:lnTo>
                    <a:pt x="1188" y="573"/>
                  </a:lnTo>
                  <a:lnTo>
                    <a:pt x="1194" y="567"/>
                  </a:lnTo>
                  <a:lnTo>
                    <a:pt x="1200" y="563"/>
                  </a:lnTo>
                  <a:lnTo>
                    <a:pt x="1210" y="564"/>
                  </a:lnTo>
                  <a:lnTo>
                    <a:pt x="1218" y="566"/>
                  </a:lnTo>
                  <a:lnTo>
                    <a:pt x="1224" y="561"/>
                  </a:lnTo>
                  <a:lnTo>
                    <a:pt x="1233" y="558"/>
                  </a:lnTo>
                  <a:lnTo>
                    <a:pt x="1240" y="556"/>
                  </a:lnTo>
                  <a:lnTo>
                    <a:pt x="1248" y="556"/>
                  </a:lnTo>
                  <a:lnTo>
                    <a:pt x="1254" y="556"/>
                  </a:lnTo>
                  <a:lnTo>
                    <a:pt x="1264" y="561"/>
                  </a:lnTo>
                  <a:lnTo>
                    <a:pt x="1270" y="565"/>
                  </a:lnTo>
                  <a:lnTo>
                    <a:pt x="1278" y="567"/>
                  </a:lnTo>
                  <a:lnTo>
                    <a:pt x="1287" y="561"/>
                  </a:lnTo>
                  <a:lnTo>
                    <a:pt x="1289" y="550"/>
                  </a:lnTo>
                  <a:lnTo>
                    <a:pt x="1290" y="540"/>
                  </a:lnTo>
                  <a:lnTo>
                    <a:pt x="1283" y="527"/>
                  </a:lnTo>
                  <a:lnTo>
                    <a:pt x="1273" y="521"/>
                  </a:lnTo>
                  <a:lnTo>
                    <a:pt x="1263" y="515"/>
                  </a:lnTo>
                  <a:lnTo>
                    <a:pt x="1253" y="502"/>
                  </a:lnTo>
                  <a:lnTo>
                    <a:pt x="1243" y="492"/>
                  </a:lnTo>
                  <a:lnTo>
                    <a:pt x="1237" y="484"/>
                  </a:lnTo>
                  <a:lnTo>
                    <a:pt x="1232" y="477"/>
                  </a:lnTo>
                  <a:lnTo>
                    <a:pt x="1222" y="473"/>
                  </a:lnTo>
                  <a:lnTo>
                    <a:pt x="1217" y="468"/>
                  </a:lnTo>
                  <a:lnTo>
                    <a:pt x="1201" y="458"/>
                  </a:lnTo>
                  <a:lnTo>
                    <a:pt x="1189" y="453"/>
                  </a:lnTo>
                  <a:lnTo>
                    <a:pt x="1177" y="453"/>
                  </a:lnTo>
                  <a:lnTo>
                    <a:pt x="1163" y="451"/>
                  </a:lnTo>
                  <a:lnTo>
                    <a:pt x="1157" y="461"/>
                  </a:lnTo>
                  <a:lnTo>
                    <a:pt x="1150" y="471"/>
                  </a:lnTo>
                  <a:lnTo>
                    <a:pt x="1143" y="482"/>
                  </a:lnTo>
                  <a:lnTo>
                    <a:pt x="1126" y="481"/>
                  </a:lnTo>
                  <a:lnTo>
                    <a:pt x="1118" y="479"/>
                  </a:lnTo>
                  <a:lnTo>
                    <a:pt x="1107" y="479"/>
                  </a:lnTo>
                  <a:lnTo>
                    <a:pt x="1091" y="478"/>
                  </a:lnTo>
                  <a:lnTo>
                    <a:pt x="1084" y="479"/>
                  </a:lnTo>
                  <a:lnTo>
                    <a:pt x="1076" y="484"/>
                  </a:lnTo>
                  <a:lnTo>
                    <a:pt x="1066" y="494"/>
                  </a:lnTo>
                  <a:lnTo>
                    <a:pt x="1060" y="499"/>
                  </a:lnTo>
                  <a:lnTo>
                    <a:pt x="1047" y="486"/>
                  </a:lnTo>
                  <a:lnTo>
                    <a:pt x="1041" y="466"/>
                  </a:lnTo>
                  <a:lnTo>
                    <a:pt x="1044" y="452"/>
                  </a:lnTo>
                  <a:lnTo>
                    <a:pt x="1051" y="430"/>
                  </a:lnTo>
                  <a:lnTo>
                    <a:pt x="1056" y="417"/>
                  </a:lnTo>
                  <a:lnTo>
                    <a:pt x="1058" y="412"/>
                  </a:lnTo>
                  <a:lnTo>
                    <a:pt x="1059" y="400"/>
                  </a:lnTo>
                  <a:lnTo>
                    <a:pt x="1063" y="381"/>
                  </a:lnTo>
                  <a:lnTo>
                    <a:pt x="1067" y="368"/>
                  </a:lnTo>
                  <a:lnTo>
                    <a:pt x="1072" y="356"/>
                  </a:lnTo>
                  <a:lnTo>
                    <a:pt x="1077" y="343"/>
                  </a:lnTo>
                  <a:lnTo>
                    <a:pt x="1079" y="327"/>
                  </a:lnTo>
                  <a:lnTo>
                    <a:pt x="1080" y="319"/>
                  </a:lnTo>
                  <a:lnTo>
                    <a:pt x="1087" y="309"/>
                  </a:lnTo>
                  <a:lnTo>
                    <a:pt x="1093" y="306"/>
                  </a:lnTo>
                  <a:lnTo>
                    <a:pt x="1101" y="311"/>
                  </a:lnTo>
                  <a:lnTo>
                    <a:pt x="1104" y="316"/>
                  </a:lnTo>
                  <a:lnTo>
                    <a:pt x="1106" y="323"/>
                  </a:lnTo>
                  <a:lnTo>
                    <a:pt x="1120" y="319"/>
                  </a:lnTo>
                  <a:lnTo>
                    <a:pt x="1128" y="317"/>
                  </a:lnTo>
                  <a:lnTo>
                    <a:pt x="1135" y="316"/>
                  </a:lnTo>
                  <a:lnTo>
                    <a:pt x="1139" y="324"/>
                  </a:lnTo>
                  <a:lnTo>
                    <a:pt x="1144" y="331"/>
                  </a:lnTo>
                  <a:lnTo>
                    <a:pt x="1158" y="319"/>
                  </a:lnTo>
                  <a:lnTo>
                    <a:pt x="1169" y="315"/>
                  </a:lnTo>
                  <a:lnTo>
                    <a:pt x="1180" y="296"/>
                  </a:lnTo>
                  <a:lnTo>
                    <a:pt x="1185" y="292"/>
                  </a:lnTo>
                  <a:lnTo>
                    <a:pt x="1191" y="290"/>
                  </a:lnTo>
                  <a:lnTo>
                    <a:pt x="1196" y="291"/>
                  </a:lnTo>
                  <a:lnTo>
                    <a:pt x="1205" y="282"/>
                  </a:lnTo>
                  <a:lnTo>
                    <a:pt x="1205" y="273"/>
                  </a:lnTo>
                  <a:lnTo>
                    <a:pt x="1210" y="263"/>
                  </a:lnTo>
                  <a:lnTo>
                    <a:pt x="1209" y="259"/>
                  </a:lnTo>
                  <a:lnTo>
                    <a:pt x="1203" y="256"/>
                  </a:lnTo>
                  <a:lnTo>
                    <a:pt x="1204" y="247"/>
                  </a:lnTo>
                  <a:lnTo>
                    <a:pt x="1211" y="233"/>
                  </a:lnTo>
                  <a:lnTo>
                    <a:pt x="1213" y="221"/>
                  </a:lnTo>
                  <a:lnTo>
                    <a:pt x="1216" y="203"/>
                  </a:lnTo>
                  <a:lnTo>
                    <a:pt x="1218" y="185"/>
                  </a:lnTo>
                  <a:lnTo>
                    <a:pt x="1225" y="170"/>
                  </a:lnTo>
                  <a:lnTo>
                    <a:pt x="1232" y="157"/>
                  </a:lnTo>
                  <a:lnTo>
                    <a:pt x="1239" y="142"/>
                  </a:lnTo>
                  <a:lnTo>
                    <a:pt x="1249" y="128"/>
                  </a:lnTo>
                  <a:lnTo>
                    <a:pt x="1259" y="121"/>
                  </a:lnTo>
                  <a:lnTo>
                    <a:pt x="1265" y="109"/>
                  </a:lnTo>
                  <a:lnTo>
                    <a:pt x="1263" y="101"/>
                  </a:lnTo>
                  <a:lnTo>
                    <a:pt x="1259" y="93"/>
                  </a:lnTo>
                  <a:lnTo>
                    <a:pt x="1254" y="84"/>
                  </a:lnTo>
                  <a:lnTo>
                    <a:pt x="1254" y="75"/>
                  </a:lnTo>
                  <a:lnTo>
                    <a:pt x="1255" y="70"/>
                  </a:lnTo>
                  <a:lnTo>
                    <a:pt x="1249" y="70"/>
                  </a:lnTo>
                  <a:lnTo>
                    <a:pt x="1241" y="75"/>
                  </a:lnTo>
                  <a:lnTo>
                    <a:pt x="1234" y="76"/>
                  </a:lnTo>
                  <a:lnTo>
                    <a:pt x="1226" y="70"/>
                  </a:lnTo>
                  <a:lnTo>
                    <a:pt x="1222" y="60"/>
                  </a:lnTo>
                  <a:lnTo>
                    <a:pt x="1226" y="54"/>
                  </a:lnTo>
                  <a:lnTo>
                    <a:pt x="1233" y="46"/>
                  </a:lnTo>
                  <a:lnTo>
                    <a:pt x="1241" y="37"/>
                  </a:lnTo>
                  <a:lnTo>
                    <a:pt x="1247" y="31"/>
                  </a:lnTo>
                  <a:lnTo>
                    <a:pt x="1249" y="20"/>
                  </a:lnTo>
                  <a:lnTo>
                    <a:pt x="1249" y="11"/>
                  </a:lnTo>
                  <a:lnTo>
                    <a:pt x="1254" y="3"/>
                  </a:lnTo>
                  <a:lnTo>
                    <a:pt x="1264" y="2"/>
                  </a:lnTo>
                  <a:lnTo>
                    <a:pt x="1273" y="1"/>
                  </a:lnTo>
                  <a:lnTo>
                    <a:pt x="1281" y="0"/>
                  </a:lnTo>
                  <a:lnTo>
                    <a:pt x="1292" y="0"/>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54" name="Freeform 4"/>
            <p:cNvSpPr>
              <a:spLocks/>
            </p:cNvSpPr>
            <p:nvPr/>
          </p:nvSpPr>
          <p:spPr bwMode="auto">
            <a:xfrm>
              <a:off x="5878513" y="1219200"/>
              <a:ext cx="1131887" cy="1089025"/>
            </a:xfrm>
            <a:custGeom>
              <a:avLst/>
              <a:gdLst>
                <a:gd name="T0" fmla="*/ 16 w 775"/>
                <a:gd name="T1" fmla="*/ 69 h 746"/>
                <a:gd name="T2" fmla="*/ 36 w 775"/>
                <a:gd name="T3" fmla="*/ 118 h 746"/>
                <a:gd name="T4" fmla="*/ 85 w 775"/>
                <a:gd name="T5" fmla="*/ 134 h 746"/>
                <a:gd name="T6" fmla="*/ 141 w 775"/>
                <a:gd name="T7" fmla="*/ 180 h 746"/>
                <a:gd name="T8" fmla="*/ 201 w 775"/>
                <a:gd name="T9" fmla="*/ 144 h 746"/>
                <a:gd name="T10" fmla="*/ 263 w 775"/>
                <a:gd name="T11" fmla="*/ 195 h 746"/>
                <a:gd name="T12" fmla="*/ 251 w 775"/>
                <a:gd name="T13" fmla="*/ 311 h 746"/>
                <a:gd name="T14" fmla="*/ 225 w 775"/>
                <a:gd name="T15" fmla="*/ 424 h 746"/>
                <a:gd name="T16" fmla="*/ 191 w 775"/>
                <a:gd name="T17" fmla="*/ 436 h 746"/>
                <a:gd name="T18" fmla="*/ 150 w 775"/>
                <a:gd name="T19" fmla="*/ 511 h 746"/>
                <a:gd name="T20" fmla="*/ 186 w 775"/>
                <a:gd name="T21" fmla="*/ 573 h 746"/>
                <a:gd name="T22" fmla="*/ 240 w 775"/>
                <a:gd name="T23" fmla="*/ 596 h 746"/>
                <a:gd name="T24" fmla="*/ 278 w 775"/>
                <a:gd name="T25" fmla="*/ 643 h 746"/>
                <a:gd name="T26" fmla="*/ 347 w 775"/>
                <a:gd name="T27" fmla="*/ 626 h 746"/>
                <a:gd name="T28" fmla="*/ 397 w 775"/>
                <a:gd name="T29" fmla="*/ 635 h 746"/>
                <a:gd name="T30" fmla="*/ 427 w 775"/>
                <a:gd name="T31" fmla="*/ 679 h 746"/>
                <a:gd name="T32" fmla="*/ 464 w 775"/>
                <a:gd name="T33" fmla="*/ 702 h 746"/>
                <a:gd name="T34" fmla="*/ 493 w 775"/>
                <a:gd name="T35" fmla="*/ 694 h 746"/>
                <a:gd name="T36" fmla="*/ 509 w 775"/>
                <a:gd name="T37" fmla="*/ 683 h 746"/>
                <a:gd name="T38" fmla="*/ 549 w 775"/>
                <a:gd name="T39" fmla="*/ 744 h 746"/>
                <a:gd name="T40" fmla="*/ 588 w 775"/>
                <a:gd name="T41" fmla="*/ 716 h 746"/>
                <a:gd name="T42" fmla="*/ 621 w 775"/>
                <a:gd name="T43" fmla="*/ 704 h 746"/>
                <a:gd name="T44" fmla="*/ 643 w 775"/>
                <a:gd name="T45" fmla="*/ 720 h 746"/>
                <a:gd name="T46" fmla="*/ 687 w 775"/>
                <a:gd name="T47" fmla="*/ 720 h 746"/>
                <a:gd name="T48" fmla="*/ 672 w 775"/>
                <a:gd name="T49" fmla="*/ 655 h 746"/>
                <a:gd name="T50" fmla="*/ 661 w 775"/>
                <a:gd name="T51" fmla="*/ 596 h 746"/>
                <a:gd name="T52" fmla="*/ 697 w 775"/>
                <a:gd name="T53" fmla="*/ 566 h 746"/>
                <a:gd name="T54" fmla="*/ 754 w 775"/>
                <a:gd name="T55" fmla="*/ 550 h 746"/>
                <a:gd name="T56" fmla="*/ 761 w 775"/>
                <a:gd name="T57" fmla="*/ 482 h 746"/>
                <a:gd name="T58" fmla="*/ 763 w 775"/>
                <a:gd name="T59" fmla="*/ 414 h 746"/>
                <a:gd name="T60" fmla="*/ 772 w 775"/>
                <a:gd name="T61" fmla="*/ 332 h 746"/>
                <a:gd name="T62" fmla="*/ 764 w 775"/>
                <a:gd name="T63" fmla="*/ 289 h 746"/>
                <a:gd name="T64" fmla="*/ 741 w 775"/>
                <a:gd name="T65" fmla="*/ 267 h 746"/>
                <a:gd name="T66" fmla="*/ 692 w 775"/>
                <a:gd name="T67" fmla="*/ 309 h 746"/>
                <a:gd name="T68" fmla="*/ 664 w 775"/>
                <a:gd name="T69" fmla="*/ 342 h 746"/>
                <a:gd name="T70" fmla="*/ 637 w 775"/>
                <a:gd name="T71" fmla="*/ 367 h 746"/>
                <a:gd name="T72" fmla="*/ 599 w 775"/>
                <a:gd name="T73" fmla="*/ 369 h 746"/>
                <a:gd name="T74" fmla="*/ 566 w 775"/>
                <a:gd name="T75" fmla="*/ 352 h 746"/>
                <a:gd name="T76" fmla="*/ 539 w 775"/>
                <a:gd name="T77" fmla="*/ 304 h 746"/>
                <a:gd name="T78" fmla="*/ 505 w 775"/>
                <a:gd name="T79" fmla="*/ 291 h 746"/>
                <a:gd name="T80" fmla="*/ 445 w 775"/>
                <a:gd name="T81" fmla="*/ 264 h 746"/>
                <a:gd name="T82" fmla="*/ 399 w 775"/>
                <a:gd name="T83" fmla="*/ 268 h 746"/>
                <a:gd name="T84" fmla="*/ 363 w 775"/>
                <a:gd name="T85" fmla="*/ 252 h 746"/>
                <a:gd name="T86" fmla="*/ 343 w 775"/>
                <a:gd name="T87" fmla="*/ 198 h 746"/>
                <a:gd name="T88" fmla="*/ 310 w 775"/>
                <a:gd name="T89" fmla="*/ 153 h 746"/>
                <a:gd name="T90" fmla="*/ 281 w 775"/>
                <a:gd name="T91" fmla="*/ 110 h 746"/>
                <a:gd name="T92" fmla="*/ 255 w 775"/>
                <a:gd name="T93" fmla="*/ 60 h 746"/>
                <a:gd name="T94" fmla="*/ 216 w 775"/>
                <a:gd name="T95" fmla="*/ 28 h 746"/>
                <a:gd name="T96" fmla="*/ 157 w 775"/>
                <a:gd name="T97" fmla="*/ 24 h 746"/>
                <a:gd name="T98" fmla="*/ 98 w 775"/>
                <a:gd name="T99" fmla="*/ 1 h 746"/>
                <a:gd name="T100" fmla="*/ 42 w 775"/>
                <a:gd name="T101" fmla="*/ 23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5" h="746">
                  <a:moveTo>
                    <a:pt x="5" y="28"/>
                  </a:moveTo>
                  <a:lnTo>
                    <a:pt x="11" y="36"/>
                  </a:lnTo>
                  <a:lnTo>
                    <a:pt x="16" y="42"/>
                  </a:lnTo>
                  <a:lnTo>
                    <a:pt x="20" y="56"/>
                  </a:lnTo>
                  <a:lnTo>
                    <a:pt x="16" y="69"/>
                  </a:lnTo>
                  <a:lnTo>
                    <a:pt x="7" y="81"/>
                  </a:lnTo>
                  <a:lnTo>
                    <a:pt x="0" y="95"/>
                  </a:lnTo>
                  <a:lnTo>
                    <a:pt x="5" y="105"/>
                  </a:lnTo>
                  <a:lnTo>
                    <a:pt x="17" y="110"/>
                  </a:lnTo>
                  <a:lnTo>
                    <a:pt x="36" y="118"/>
                  </a:lnTo>
                  <a:lnTo>
                    <a:pt x="47" y="117"/>
                  </a:lnTo>
                  <a:lnTo>
                    <a:pt x="53" y="104"/>
                  </a:lnTo>
                  <a:lnTo>
                    <a:pt x="60" y="104"/>
                  </a:lnTo>
                  <a:lnTo>
                    <a:pt x="74" y="122"/>
                  </a:lnTo>
                  <a:lnTo>
                    <a:pt x="85" y="134"/>
                  </a:lnTo>
                  <a:lnTo>
                    <a:pt x="96" y="149"/>
                  </a:lnTo>
                  <a:lnTo>
                    <a:pt x="105" y="168"/>
                  </a:lnTo>
                  <a:lnTo>
                    <a:pt x="119" y="188"/>
                  </a:lnTo>
                  <a:lnTo>
                    <a:pt x="129" y="191"/>
                  </a:lnTo>
                  <a:lnTo>
                    <a:pt x="141" y="180"/>
                  </a:lnTo>
                  <a:lnTo>
                    <a:pt x="153" y="173"/>
                  </a:lnTo>
                  <a:lnTo>
                    <a:pt x="166" y="173"/>
                  </a:lnTo>
                  <a:lnTo>
                    <a:pt x="175" y="161"/>
                  </a:lnTo>
                  <a:lnTo>
                    <a:pt x="195" y="156"/>
                  </a:lnTo>
                  <a:lnTo>
                    <a:pt x="201" y="144"/>
                  </a:lnTo>
                  <a:lnTo>
                    <a:pt x="213" y="144"/>
                  </a:lnTo>
                  <a:lnTo>
                    <a:pt x="226" y="157"/>
                  </a:lnTo>
                  <a:lnTo>
                    <a:pt x="242" y="167"/>
                  </a:lnTo>
                  <a:lnTo>
                    <a:pt x="255" y="182"/>
                  </a:lnTo>
                  <a:lnTo>
                    <a:pt x="263" y="195"/>
                  </a:lnTo>
                  <a:lnTo>
                    <a:pt x="254" y="219"/>
                  </a:lnTo>
                  <a:lnTo>
                    <a:pt x="244" y="239"/>
                  </a:lnTo>
                  <a:lnTo>
                    <a:pt x="242" y="265"/>
                  </a:lnTo>
                  <a:lnTo>
                    <a:pt x="240" y="293"/>
                  </a:lnTo>
                  <a:lnTo>
                    <a:pt x="251" y="311"/>
                  </a:lnTo>
                  <a:lnTo>
                    <a:pt x="242" y="336"/>
                  </a:lnTo>
                  <a:lnTo>
                    <a:pt x="237" y="355"/>
                  </a:lnTo>
                  <a:lnTo>
                    <a:pt x="233" y="377"/>
                  </a:lnTo>
                  <a:lnTo>
                    <a:pt x="231" y="404"/>
                  </a:lnTo>
                  <a:lnTo>
                    <a:pt x="225" y="424"/>
                  </a:lnTo>
                  <a:lnTo>
                    <a:pt x="216" y="411"/>
                  </a:lnTo>
                  <a:lnTo>
                    <a:pt x="213" y="396"/>
                  </a:lnTo>
                  <a:lnTo>
                    <a:pt x="199" y="403"/>
                  </a:lnTo>
                  <a:lnTo>
                    <a:pt x="196" y="420"/>
                  </a:lnTo>
                  <a:lnTo>
                    <a:pt x="191" y="436"/>
                  </a:lnTo>
                  <a:lnTo>
                    <a:pt x="178" y="447"/>
                  </a:lnTo>
                  <a:lnTo>
                    <a:pt x="175" y="462"/>
                  </a:lnTo>
                  <a:lnTo>
                    <a:pt x="157" y="471"/>
                  </a:lnTo>
                  <a:lnTo>
                    <a:pt x="152" y="488"/>
                  </a:lnTo>
                  <a:lnTo>
                    <a:pt x="150" y="511"/>
                  </a:lnTo>
                  <a:lnTo>
                    <a:pt x="157" y="527"/>
                  </a:lnTo>
                  <a:lnTo>
                    <a:pt x="180" y="535"/>
                  </a:lnTo>
                  <a:lnTo>
                    <a:pt x="196" y="547"/>
                  </a:lnTo>
                  <a:lnTo>
                    <a:pt x="183" y="556"/>
                  </a:lnTo>
                  <a:lnTo>
                    <a:pt x="186" y="573"/>
                  </a:lnTo>
                  <a:lnTo>
                    <a:pt x="191" y="583"/>
                  </a:lnTo>
                  <a:lnTo>
                    <a:pt x="205" y="581"/>
                  </a:lnTo>
                  <a:lnTo>
                    <a:pt x="216" y="580"/>
                  </a:lnTo>
                  <a:lnTo>
                    <a:pt x="229" y="586"/>
                  </a:lnTo>
                  <a:lnTo>
                    <a:pt x="240" y="596"/>
                  </a:lnTo>
                  <a:lnTo>
                    <a:pt x="250" y="609"/>
                  </a:lnTo>
                  <a:lnTo>
                    <a:pt x="251" y="621"/>
                  </a:lnTo>
                  <a:lnTo>
                    <a:pt x="261" y="632"/>
                  </a:lnTo>
                  <a:lnTo>
                    <a:pt x="267" y="639"/>
                  </a:lnTo>
                  <a:lnTo>
                    <a:pt x="278" y="643"/>
                  </a:lnTo>
                  <a:lnTo>
                    <a:pt x="301" y="639"/>
                  </a:lnTo>
                  <a:lnTo>
                    <a:pt x="311" y="635"/>
                  </a:lnTo>
                  <a:lnTo>
                    <a:pt x="324" y="631"/>
                  </a:lnTo>
                  <a:lnTo>
                    <a:pt x="333" y="625"/>
                  </a:lnTo>
                  <a:lnTo>
                    <a:pt x="347" y="626"/>
                  </a:lnTo>
                  <a:lnTo>
                    <a:pt x="358" y="635"/>
                  </a:lnTo>
                  <a:lnTo>
                    <a:pt x="368" y="640"/>
                  </a:lnTo>
                  <a:lnTo>
                    <a:pt x="378" y="640"/>
                  </a:lnTo>
                  <a:lnTo>
                    <a:pt x="386" y="638"/>
                  </a:lnTo>
                  <a:lnTo>
                    <a:pt x="397" y="635"/>
                  </a:lnTo>
                  <a:lnTo>
                    <a:pt x="407" y="642"/>
                  </a:lnTo>
                  <a:lnTo>
                    <a:pt x="411" y="651"/>
                  </a:lnTo>
                  <a:lnTo>
                    <a:pt x="420" y="659"/>
                  </a:lnTo>
                  <a:lnTo>
                    <a:pt x="425" y="667"/>
                  </a:lnTo>
                  <a:lnTo>
                    <a:pt x="427" y="679"/>
                  </a:lnTo>
                  <a:lnTo>
                    <a:pt x="432" y="683"/>
                  </a:lnTo>
                  <a:lnTo>
                    <a:pt x="441" y="679"/>
                  </a:lnTo>
                  <a:lnTo>
                    <a:pt x="450" y="683"/>
                  </a:lnTo>
                  <a:lnTo>
                    <a:pt x="456" y="695"/>
                  </a:lnTo>
                  <a:lnTo>
                    <a:pt x="464" y="702"/>
                  </a:lnTo>
                  <a:lnTo>
                    <a:pt x="473" y="705"/>
                  </a:lnTo>
                  <a:lnTo>
                    <a:pt x="480" y="715"/>
                  </a:lnTo>
                  <a:lnTo>
                    <a:pt x="495" y="712"/>
                  </a:lnTo>
                  <a:lnTo>
                    <a:pt x="496" y="704"/>
                  </a:lnTo>
                  <a:lnTo>
                    <a:pt x="493" y="694"/>
                  </a:lnTo>
                  <a:lnTo>
                    <a:pt x="489" y="681"/>
                  </a:lnTo>
                  <a:lnTo>
                    <a:pt x="485" y="672"/>
                  </a:lnTo>
                  <a:lnTo>
                    <a:pt x="494" y="664"/>
                  </a:lnTo>
                  <a:lnTo>
                    <a:pt x="504" y="668"/>
                  </a:lnTo>
                  <a:lnTo>
                    <a:pt x="509" y="683"/>
                  </a:lnTo>
                  <a:lnTo>
                    <a:pt x="514" y="694"/>
                  </a:lnTo>
                  <a:lnTo>
                    <a:pt x="520" y="705"/>
                  </a:lnTo>
                  <a:lnTo>
                    <a:pt x="532" y="716"/>
                  </a:lnTo>
                  <a:lnTo>
                    <a:pt x="537" y="728"/>
                  </a:lnTo>
                  <a:lnTo>
                    <a:pt x="549" y="744"/>
                  </a:lnTo>
                  <a:lnTo>
                    <a:pt x="560" y="745"/>
                  </a:lnTo>
                  <a:lnTo>
                    <a:pt x="571" y="738"/>
                  </a:lnTo>
                  <a:lnTo>
                    <a:pt x="575" y="728"/>
                  </a:lnTo>
                  <a:lnTo>
                    <a:pt x="581" y="719"/>
                  </a:lnTo>
                  <a:lnTo>
                    <a:pt x="588" y="716"/>
                  </a:lnTo>
                  <a:lnTo>
                    <a:pt x="596" y="714"/>
                  </a:lnTo>
                  <a:lnTo>
                    <a:pt x="602" y="705"/>
                  </a:lnTo>
                  <a:lnTo>
                    <a:pt x="607" y="697"/>
                  </a:lnTo>
                  <a:lnTo>
                    <a:pt x="615" y="700"/>
                  </a:lnTo>
                  <a:lnTo>
                    <a:pt x="621" y="704"/>
                  </a:lnTo>
                  <a:lnTo>
                    <a:pt x="624" y="700"/>
                  </a:lnTo>
                  <a:lnTo>
                    <a:pt x="625" y="690"/>
                  </a:lnTo>
                  <a:lnTo>
                    <a:pt x="631" y="693"/>
                  </a:lnTo>
                  <a:lnTo>
                    <a:pt x="638" y="707"/>
                  </a:lnTo>
                  <a:lnTo>
                    <a:pt x="643" y="720"/>
                  </a:lnTo>
                  <a:lnTo>
                    <a:pt x="651" y="721"/>
                  </a:lnTo>
                  <a:lnTo>
                    <a:pt x="662" y="720"/>
                  </a:lnTo>
                  <a:lnTo>
                    <a:pt x="671" y="718"/>
                  </a:lnTo>
                  <a:lnTo>
                    <a:pt x="679" y="717"/>
                  </a:lnTo>
                  <a:lnTo>
                    <a:pt x="687" y="720"/>
                  </a:lnTo>
                  <a:lnTo>
                    <a:pt x="687" y="706"/>
                  </a:lnTo>
                  <a:lnTo>
                    <a:pt x="683" y="692"/>
                  </a:lnTo>
                  <a:lnTo>
                    <a:pt x="679" y="679"/>
                  </a:lnTo>
                  <a:lnTo>
                    <a:pt x="679" y="666"/>
                  </a:lnTo>
                  <a:lnTo>
                    <a:pt x="672" y="655"/>
                  </a:lnTo>
                  <a:lnTo>
                    <a:pt x="665" y="637"/>
                  </a:lnTo>
                  <a:lnTo>
                    <a:pt x="663" y="625"/>
                  </a:lnTo>
                  <a:lnTo>
                    <a:pt x="658" y="616"/>
                  </a:lnTo>
                  <a:lnTo>
                    <a:pt x="656" y="605"/>
                  </a:lnTo>
                  <a:lnTo>
                    <a:pt x="661" y="596"/>
                  </a:lnTo>
                  <a:lnTo>
                    <a:pt x="670" y="589"/>
                  </a:lnTo>
                  <a:lnTo>
                    <a:pt x="675" y="580"/>
                  </a:lnTo>
                  <a:lnTo>
                    <a:pt x="676" y="570"/>
                  </a:lnTo>
                  <a:lnTo>
                    <a:pt x="685" y="567"/>
                  </a:lnTo>
                  <a:lnTo>
                    <a:pt x="697" y="566"/>
                  </a:lnTo>
                  <a:lnTo>
                    <a:pt x="710" y="567"/>
                  </a:lnTo>
                  <a:lnTo>
                    <a:pt x="723" y="571"/>
                  </a:lnTo>
                  <a:lnTo>
                    <a:pt x="736" y="568"/>
                  </a:lnTo>
                  <a:lnTo>
                    <a:pt x="747" y="563"/>
                  </a:lnTo>
                  <a:lnTo>
                    <a:pt x="754" y="550"/>
                  </a:lnTo>
                  <a:lnTo>
                    <a:pt x="758" y="538"/>
                  </a:lnTo>
                  <a:lnTo>
                    <a:pt x="759" y="524"/>
                  </a:lnTo>
                  <a:lnTo>
                    <a:pt x="759" y="507"/>
                  </a:lnTo>
                  <a:lnTo>
                    <a:pt x="759" y="495"/>
                  </a:lnTo>
                  <a:lnTo>
                    <a:pt x="761" y="482"/>
                  </a:lnTo>
                  <a:lnTo>
                    <a:pt x="764" y="467"/>
                  </a:lnTo>
                  <a:lnTo>
                    <a:pt x="766" y="455"/>
                  </a:lnTo>
                  <a:lnTo>
                    <a:pt x="766" y="442"/>
                  </a:lnTo>
                  <a:lnTo>
                    <a:pt x="764" y="428"/>
                  </a:lnTo>
                  <a:lnTo>
                    <a:pt x="763" y="414"/>
                  </a:lnTo>
                  <a:lnTo>
                    <a:pt x="763" y="396"/>
                  </a:lnTo>
                  <a:lnTo>
                    <a:pt x="759" y="375"/>
                  </a:lnTo>
                  <a:lnTo>
                    <a:pt x="759" y="357"/>
                  </a:lnTo>
                  <a:lnTo>
                    <a:pt x="766" y="345"/>
                  </a:lnTo>
                  <a:lnTo>
                    <a:pt x="772" y="332"/>
                  </a:lnTo>
                  <a:lnTo>
                    <a:pt x="774" y="324"/>
                  </a:lnTo>
                  <a:lnTo>
                    <a:pt x="774" y="312"/>
                  </a:lnTo>
                  <a:lnTo>
                    <a:pt x="768" y="304"/>
                  </a:lnTo>
                  <a:lnTo>
                    <a:pt x="766" y="296"/>
                  </a:lnTo>
                  <a:lnTo>
                    <a:pt x="764" y="289"/>
                  </a:lnTo>
                  <a:lnTo>
                    <a:pt x="766" y="278"/>
                  </a:lnTo>
                  <a:lnTo>
                    <a:pt x="769" y="267"/>
                  </a:lnTo>
                  <a:lnTo>
                    <a:pt x="764" y="262"/>
                  </a:lnTo>
                  <a:lnTo>
                    <a:pt x="753" y="264"/>
                  </a:lnTo>
                  <a:lnTo>
                    <a:pt x="741" y="267"/>
                  </a:lnTo>
                  <a:lnTo>
                    <a:pt x="729" y="275"/>
                  </a:lnTo>
                  <a:lnTo>
                    <a:pt x="719" y="284"/>
                  </a:lnTo>
                  <a:lnTo>
                    <a:pt x="709" y="296"/>
                  </a:lnTo>
                  <a:lnTo>
                    <a:pt x="700" y="301"/>
                  </a:lnTo>
                  <a:lnTo>
                    <a:pt x="692" y="309"/>
                  </a:lnTo>
                  <a:lnTo>
                    <a:pt x="687" y="318"/>
                  </a:lnTo>
                  <a:lnTo>
                    <a:pt x="682" y="321"/>
                  </a:lnTo>
                  <a:lnTo>
                    <a:pt x="677" y="322"/>
                  </a:lnTo>
                  <a:lnTo>
                    <a:pt x="669" y="331"/>
                  </a:lnTo>
                  <a:lnTo>
                    <a:pt x="664" y="342"/>
                  </a:lnTo>
                  <a:lnTo>
                    <a:pt x="666" y="351"/>
                  </a:lnTo>
                  <a:lnTo>
                    <a:pt x="657" y="358"/>
                  </a:lnTo>
                  <a:lnTo>
                    <a:pt x="653" y="360"/>
                  </a:lnTo>
                  <a:lnTo>
                    <a:pt x="645" y="360"/>
                  </a:lnTo>
                  <a:lnTo>
                    <a:pt x="637" y="367"/>
                  </a:lnTo>
                  <a:lnTo>
                    <a:pt x="630" y="368"/>
                  </a:lnTo>
                  <a:lnTo>
                    <a:pt x="625" y="368"/>
                  </a:lnTo>
                  <a:lnTo>
                    <a:pt x="617" y="370"/>
                  </a:lnTo>
                  <a:lnTo>
                    <a:pt x="605" y="375"/>
                  </a:lnTo>
                  <a:lnTo>
                    <a:pt x="599" y="369"/>
                  </a:lnTo>
                  <a:lnTo>
                    <a:pt x="590" y="365"/>
                  </a:lnTo>
                  <a:lnTo>
                    <a:pt x="586" y="368"/>
                  </a:lnTo>
                  <a:lnTo>
                    <a:pt x="580" y="367"/>
                  </a:lnTo>
                  <a:lnTo>
                    <a:pt x="571" y="361"/>
                  </a:lnTo>
                  <a:lnTo>
                    <a:pt x="566" y="352"/>
                  </a:lnTo>
                  <a:lnTo>
                    <a:pt x="559" y="336"/>
                  </a:lnTo>
                  <a:lnTo>
                    <a:pt x="555" y="323"/>
                  </a:lnTo>
                  <a:lnTo>
                    <a:pt x="549" y="313"/>
                  </a:lnTo>
                  <a:lnTo>
                    <a:pt x="543" y="307"/>
                  </a:lnTo>
                  <a:lnTo>
                    <a:pt x="539" y="304"/>
                  </a:lnTo>
                  <a:lnTo>
                    <a:pt x="537" y="296"/>
                  </a:lnTo>
                  <a:lnTo>
                    <a:pt x="535" y="286"/>
                  </a:lnTo>
                  <a:lnTo>
                    <a:pt x="532" y="289"/>
                  </a:lnTo>
                  <a:lnTo>
                    <a:pt x="517" y="293"/>
                  </a:lnTo>
                  <a:lnTo>
                    <a:pt x="505" y="291"/>
                  </a:lnTo>
                  <a:lnTo>
                    <a:pt x="495" y="288"/>
                  </a:lnTo>
                  <a:lnTo>
                    <a:pt x="484" y="283"/>
                  </a:lnTo>
                  <a:lnTo>
                    <a:pt x="471" y="276"/>
                  </a:lnTo>
                  <a:lnTo>
                    <a:pt x="461" y="270"/>
                  </a:lnTo>
                  <a:lnTo>
                    <a:pt x="445" y="264"/>
                  </a:lnTo>
                  <a:lnTo>
                    <a:pt x="437" y="264"/>
                  </a:lnTo>
                  <a:lnTo>
                    <a:pt x="429" y="267"/>
                  </a:lnTo>
                  <a:lnTo>
                    <a:pt x="419" y="273"/>
                  </a:lnTo>
                  <a:lnTo>
                    <a:pt x="410" y="273"/>
                  </a:lnTo>
                  <a:lnTo>
                    <a:pt x="399" y="268"/>
                  </a:lnTo>
                  <a:lnTo>
                    <a:pt x="392" y="270"/>
                  </a:lnTo>
                  <a:lnTo>
                    <a:pt x="385" y="273"/>
                  </a:lnTo>
                  <a:lnTo>
                    <a:pt x="377" y="270"/>
                  </a:lnTo>
                  <a:lnTo>
                    <a:pt x="368" y="265"/>
                  </a:lnTo>
                  <a:lnTo>
                    <a:pt x="363" y="252"/>
                  </a:lnTo>
                  <a:lnTo>
                    <a:pt x="359" y="244"/>
                  </a:lnTo>
                  <a:lnTo>
                    <a:pt x="357" y="231"/>
                  </a:lnTo>
                  <a:lnTo>
                    <a:pt x="351" y="219"/>
                  </a:lnTo>
                  <a:lnTo>
                    <a:pt x="348" y="207"/>
                  </a:lnTo>
                  <a:lnTo>
                    <a:pt x="343" y="198"/>
                  </a:lnTo>
                  <a:lnTo>
                    <a:pt x="338" y="189"/>
                  </a:lnTo>
                  <a:lnTo>
                    <a:pt x="332" y="180"/>
                  </a:lnTo>
                  <a:lnTo>
                    <a:pt x="324" y="172"/>
                  </a:lnTo>
                  <a:lnTo>
                    <a:pt x="317" y="164"/>
                  </a:lnTo>
                  <a:lnTo>
                    <a:pt x="310" y="153"/>
                  </a:lnTo>
                  <a:lnTo>
                    <a:pt x="298" y="144"/>
                  </a:lnTo>
                  <a:lnTo>
                    <a:pt x="295" y="136"/>
                  </a:lnTo>
                  <a:lnTo>
                    <a:pt x="291" y="127"/>
                  </a:lnTo>
                  <a:lnTo>
                    <a:pt x="286" y="118"/>
                  </a:lnTo>
                  <a:lnTo>
                    <a:pt x="281" y="110"/>
                  </a:lnTo>
                  <a:lnTo>
                    <a:pt x="276" y="101"/>
                  </a:lnTo>
                  <a:lnTo>
                    <a:pt x="270" y="91"/>
                  </a:lnTo>
                  <a:lnTo>
                    <a:pt x="263" y="81"/>
                  </a:lnTo>
                  <a:lnTo>
                    <a:pt x="260" y="71"/>
                  </a:lnTo>
                  <a:lnTo>
                    <a:pt x="255" y="60"/>
                  </a:lnTo>
                  <a:lnTo>
                    <a:pt x="247" y="56"/>
                  </a:lnTo>
                  <a:lnTo>
                    <a:pt x="240" y="53"/>
                  </a:lnTo>
                  <a:lnTo>
                    <a:pt x="233" y="46"/>
                  </a:lnTo>
                  <a:lnTo>
                    <a:pt x="224" y="34"/>
                  </a:lnTo>
                  <a:lnTo>
                    <a:pt x="216" y="28"/>
                  </a:lnTo>
                  <a:lnTo>
                    <a:pt x="199" y="23"/>
                  </a:lnTo>
                  <a:lnTo>
                    <a:pt x="184" y="14"/>
                  </a:lnTo>
                  <a:lnTo>
                    <a:pt x="170" y="13"/>
                  </a:lnTo>
                  <a:lnTo>
                    <a:pt x="162" y="20"/>
                  </a:lnTo>
                  <a:lnTo>
                    <a:pt x="157" y="24"/>
                  </a:lnTo>
                  <a:lnTo>
                    <a:pt x="145" y="24"/>
                  </a:lnTo>
                  <a:lnTo>
                    <a:pt x="133" y="20"/>
                  </a:lnTo>
                  <a:lnTo>
                    <a:pt x="122" y="13"/>
                  </a:lnTo>
                  <a:lnTo>
                    <a:pt x="112" y="8"/>
                  </a:lnTo>
                  <a:lnTo>
                    <a:pt x="98" y="1"/>
                  </a:lnTo>
                  <a:lnTo>
                    <a:pt x="89" y="0"/>
                  </a:lnTo>
                  <a:lnTo>
                    <a:pt x="75" y="10"/>
                  </a:lnTo>
                  <a:lnTo>
                    <a:pt x="67" y="17"/>
                  </a:lnTo>
                  <a:lnTo>
                    <a:pt x="60" y="20"/>
                  </a:lnTo>
                  <a:lnTo>
                    <a:pt x="42" y="23"/>
                  </a:lnTo>
                  <a:lnTo>
                    <a:pt x="24" y="24"/>
                  </a:lnTo>
                  <a:lnTo>
                    <a:pt x="5" y="28"/>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55" name="Freeform 5"/>
            <p:cNvSpPr>
              <a:spLocks/>
            </p:cNvSpPr>
            <p:nvPr/>
          </p:nvSpPr>
          <p:spPr bwMode="auto">
            <a:xfrm>
              <a:off x="4579938" y="4576763"/>
              <a:ext cx="793750" cy="590550"/>
            </a:xfrm>
            <a:custGeom>
              <a:avLst/>
              <a:gdLst>
                <a:gd name="T0" fmla="*/ 510 w 544"/>
                <a:gd name="T1" fmla="*/ 140 h 404"/>
                <a:gd name="T2" fmla="*/ 504 w 544"/>
                <a:gd name="T3" fmla="*/ 105 h 404"/>
                <a:gd name="T4" fmla="*/ 481 w 544"/>
                <a:gd name="T5" fmla="*/ 113 h 404"/>
                <a:gd name="T6" fmla="*/ 485 w 544"/>
                <a:gd name="T7" fmla="*/ 86 h 404"/>
                <a:gd name="T8" fmla="*/ 491 w 544"/>
                <a:gd name="T9" fmla="*/ 55 h 404"/>
                <a:gd name="T10" fmla="*/ 488 w 544"/>
                <a:gd name="T11" fmla="*/ 23 h 404"/>
                <a:gd name="T12" fmla="*/ 471 w 544"/>
                <a:gd name="T13" fmla="*/ 0 h 404"/>
                <a:gd name="T14" fmla="*/ 437 w 544"/>
                <a:gd name="T15" fmla="*/ 16 h 404"/>
                <a:gd name="T16" fmla="*/ 420 w 544"/>
                <a:gd name="T17" fmla="*/ 28 h 404"/>
                <a:gd name="T18" fmla="*/ 403 w 544"/>
                <a:gd name="T19" fmla="*/ 16 h 404"/>
                <a:gd name="T20" fmla="*/ 385 w 544"/>
                <a:gd name="T21" fmla="*/ 36 h 404"/>
                <a:gd name="T22" fmla="*/ 374 w 544"/>
                <a:gd name="T23" fmla="*/ 36 h 404"/>
                <a:gd name="T24" fmla="*/ 342 w 544"/>
                <a:gd name="T25" fmla="*/ 54 h 404"/>
                <a:gd name="T26" fmla="*/ 328 w 544"/>
                <a:gd name="T27" fmla="*/ 78 h 404"/>
                <a:gd name="T28" fmla="*/ 299 w 544"/>
                <a:gd name="T29" fmla="*/ 81 h 404"/>
                <a:gd name="T30" fmla="*/ 279 w 544"/>
                <a:gd name="T31" fmla="*/ 83 h 404"/>
                <a:gd name="T32" fmla="*/ 241 w 544"/>
                <a:gd name="T33" fmla="*/ 110 h 404"/>
                <a:gd name="T34" fmla="*/ 203 w 544"/>
                <a:gd name="T35" fmla="*/ 82 h 404"/>
                <a:gd name="T36" fmla="*/ 179 w 544"/>
                <a:gd name="T37" fmla="*/ 85 h 404"/>
                <a:gd name="T38" fmla="*/ 135 w 544"/>
                <a:gd name="T39" fmla="*/ 107 h 404"/>
                <a:gd name="T40" fmla="*/ 111 w 544"/>
                <a:gd name="T41" fmla="*/ 141 h 404"/>
                <a:gd name="T42" fmla="*/ 63 w 544"/>
                <a:gd name="T43" fmla="*/ 121 h 404"/>
                <a:gd name="T44" fmla="*/ 26 w 544"/>
                <a:gd name="T45" fmla="*/ 135 h 404"/>
                <a:gd name="T46" fmla="*/ 0 w 544"/>
                <a:gd name="T47" fmla="*/ 155 h 404"/>
                <a:gd name="T48" fmla="*/ 40 w 544"/>
                <a:gd name="T49" fmla="*/ 164 h 404"/>
                <a:gd name="T50" fmla="*/ 53 w 544"/>
                <a:gd name="T51" fmla="*/ 190 h 404"/>
                <a:gd name="T52" fmla="*/ 100 w 544"/>
                <a:gd name="T53" fmla="*/ 193 h 404"/>
                <a:gd name="T54" fmla="*/ 118 w 544"/>
                <a:gd name="T55" fmla="*/ 211 h 404"/>
                <a:gd name="T56" fmla="*/ 90 w 544"/>
                <a:gd name="T57" fmla="*/ 241 h 404"/>
                <a:gd name="T58" fmla="*/ 79 w 544"/>
                <a:gd name="T59" fmla="*/ 269 h 404"/>
                <a:gd name="T60" fmla="*/ 131 w 544"/>
                <a:gd name="T61" fmla="*/ 276 h 404"/>
                <a:gd name="T62" fmla="*/ 170 w 544"/>
                <a:gd name="T63" fmla="*/ 288 h 404"/>
                <a:gd name="T64" fmla="*/ 149 w 544"/>
                <a:gd name="T65" fmla="*/ 320 h 404"/>
                <a:gd name="T66" fmla="*/ 184 w 544"/>
                <a:gd name="T67" fmla="*/ 375 h 404"/>
                <a:gd name="T68" fmla="*/ 240 w 544"/>
                <a:gd name="T69" fmla="*/ 396 h 404"/>
                <a:gd name="T70" fmla="*/ 275 w 544"/>
                <a:gd name="T71" fmla="*/ 392 h 404"/>
                <a:gd name="T72" fmla="*/ 286 w 544"/>
                <a:gd name="T73" fmla="*/ 373 h 404"/>
                <a:gd name="T74" fmla="*/ 313 w 544"/>
                <a:gd name="T75" fmla="*/ 386 h 404"/>
                <a:gd name="T76" fmla="*/ 352 w 544"/>
                <a:gd name="T77" fmla="*/ 403 h 404"/>
                <a:gd name="T78" fmla="*/ 381 w 544"/>
                <a:gd name="T79" fmla="*/ 399 h 404"/>
                <a:gd name="T80" fmla="*/ 400 w 544"/>
                <a:gd name="T81" fmla="*/ 372 h 404"/>
                <a:gd name="T82" fmla="*/ 426 w 544"/>
                <a:gd name="T83" fmla="*/ 355 h 404"/>
                <a:gd name="T84" fmla="*/ 444 w 544"/>
                <a:gd name="T85" fmla="*/ 342 h 404"/>
                <a:gd name="T86" fmla="*/ 449 w 544"/>
                <a:gd name="T87" fmla="*/ 319 h 404"/>
                <a:gd name="T88" fmla="*/ 480 w 544"/>
                <a:gd name="T89" fmla="*/ 301 h 404"/>
                <a:gd name="T90" fmla="*/ 503 w 544"/>
                <a:gd name="T91" fmla="*/ 261 h 404"/>
                <a:gd name="T92" fmla="*/ 520 w 544"/>
                <a:gd name="T93" fmla="*/ 211 h 404"/>
                <a:gd name="T94" fmla="*/ 534 w 544"/>
                <a:gd name="T95" fmla="*/ 182 h 404"/>
                <a:gd name="T96" fmla="*/ 537 w 544"/>
                <a:gd name="T97" fmla="*/ 14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4" h="404">
                  <a:moveTo>
                    <a:pt x="537" y="135"/>
                  </a:moveTo>
                  <a:lnTo>
                    <a:pt x="531" y="134"/>
                  </a:lnTo>
                  <a:lnTo>
                    <a:pt x="521" y="139"/>
                  </a:lnTo>
                  <a:lnTo>
                    <a:pt x="510" y="140"/>
                  </a:lnTo>
                  <a:lnTo>
                    <a:pt x="504" y="136"/>
                  </a:lnTo>
                  <a:lnTo>
                    <a:pt x="505" y="123"/>
                  </a:lnTo>
                  <a:lnTo>
                    <a:pt x="507" y="113"/>
                  </a:lnTo>
                  <a:lnTo>
                    <a:pt x="504" y="105"/>
                  </a:lnTo>
                  <a:lnTo>
                    <a:pt x="499" y="100"/>
                  </a:lnTo>
                  <a:lnTo>
                    <a:pt x="493" y="100"/>
                  </a:lnTo>
                  <a:lnTo>
                    <a:pt x="487" y="107"/>
                  </a:lnTo>
                  <a:lnTo>
                    <a:pt x="481" y="113"/>
                  </a:lnTo>
                  <a:lnTo>
                    <a:pt x="468" y="114"/>
                  </a:lnTo>
                  <a:lnTo>
                    <a:pt x="470" y="105"/>
                  </a:lnTo>
                  <a:lnTo>
                    <a:pt x="478" y="98"/>
                  </a:lnTo>
                  <a:lnTo>
                    <a:pt x="485" y="86"/>
                  </a:lnTo>
                  <a:lnTo>
                    <a:pt x="493" y="80"/>
                  </a:lnTo>
                  <a:lnTo>
                    <a:pt x="492" y="70"/>
                  </a:lnTo>
                  <a:lnTo>
                    <a:pt x="485" y="64"/>
                  </a:lnTo>
                  <a:lnTo>
                    <a:pt x="491" y="55"/>
                  </a:lnTo>
                  <a:lnTo>
                    <a:pt x="500" y="46"/>
                  </a:lnTo>
                  <a:lnTo>
                    <a:pt x="494" y="40"/>
                  </a:lnTo>
                  <a:lnTo>
                    <a:pt x="483" y="35"/>
                  </a:lnTo>
                  <a:lnTo>
                    <a:pt x="488" y="23"/>
                  </a:lnTo>
                  <a:lnTo>
                    <a:pt x="491" y="12"/>
                  </a:lnTo>
                  <a:lnTo>
                    <a:pt x="485" y="6"/>
                  </a:lnTo>
                  <a:lnTo>
                    <a:pt x="480" y="0"/>
                  </a:lnTo>
                  <a:lnTo>
                    <a:pt x="471" y="0"/>
                  </a:lnTo>
                  <a:lnTo>
                    <a:pt x="461" y="0"/>
                  </a:lnTo>
                  <a:lnTo>
                    <a:pt x="452" y="2"/>
                  </a:lnTo>
                  <a:lnTo>
                    <a:pt x="444" y="9"/>
                  </a:lnTo>
                  <a:lnTo>
                    <a:pt x="437" y="16"/>
                  </a:lnTo>
                  <a:lnTo>
                    <a:pt x="433" y="26"/>
                  </a:lnTo>
                  <a:lnTo>
                    <a:pt x="426" y="37"/>
                  </a:lnTo>
                  <a:lnTo>
                    <a:pt x="421" y="33"/>
                  </a:lnTo>
                  <a:lnTo>
                    <a:pt x="420" y="28"/>
                  </a:lnTo>
                  <a:lnTo>
                    <a:pt x="411" y="30"/>
                  </a:lnTo>
                  <a:lnTo>
                    <a:pt x="407" y="28"/>
                  </a:lnTo>
                  <a:lnTo>
                    <a:pt x="408" y="21"/>
                  </a:lnTo>
                  <a:lnTo>
                    <a:pt x="403" y="16"/>
                  </a:lnTo>
                  <a:lnTo>
                    <a:pt x="398" y="20"/>
                  </a:lnTo>
                  <a:lnTo>
                    <a:pt x="390" y="25"/>
                  </a:lnTo>
                  <a:lnTo>
                    <a:pt x="385" y="30"/>
                  </a:lnTo>
                  <a:lnTo>
                    <a:pt x="385" y="36"/>
                  </a:lnTo>
                  <a:lnTo>
                    <a:pt x="385" y="46"/>
                  </a:lnTo>
                  <a:lnTo>
                    <a:pt x="379" y="46"/>
                  </a:lnTo>
                  <a:lnTo>
                    <a:pt x="376" y="41"/>
                  </a:lnTo>
                  <a:lnTo>
                    <a:pt x="374" y="36"/>
                  </a:lnTo>
                  <a:lnTo>
                    <a:pt x="367" y="35"/>
                  </a:lnTo>
                  <a:lnTo>
                    <a:pt x="354" y="36"/>
                  </a:lnTo>
                  <a:lnTo>
                    <a:pt x="348" y="45"/>
                  </a:lnTo>
                  <a:lnTo>
                    <a:pt x="342" y="54"/>
                  </a:lnTo>
                  <a:lnTo>
                    <a:pt x="337" y="56"/>
                  </a:lnTo>
                  <a:lnTo>
                    <a:pt x="332" y="63"/>
                  </a:lnTo>
                  <a:lnTo>
                    <a:pt x="332" y="70"/>
                  </a:lnTo>
                  <a:lnTo>
                    <a:pt x="328" y="78"/>
                  </a:lnTo>
                  <a:lnTo>
                    <a:pt x="316" y="74"/>
                  </a:lnTo>
                  <a:lnTo>
                    <a:pt x="308" y="72"/>
                  </a:lnTo>
                  <a:lnTo>
                    <a:pt x="300" y="76"/>
                  </a:lnTo>
                  <a:lnTo>
                    <a:pt x="299" y="81"/>
                  </a:lnTo>
                  <a:lnTo>
                    <a:pt x="295" y="88"/>
                  </a:lnTo>
                  <a:lnTo>
                    <a:pt x="290" y="87"/>
                  </a:lnTo>
                  <a:lnTo>
                    <a:pt x="283" y="80"/>
                  </a:lnTo>
                  <a:lnTo>
                    <a:pt x="279" y="83"/>
                  </a:lnTo>
                  <a:lnTo>
                    <a:pt x="269" y="92"/>
                  </a:lnTo>
                  <a:lnTo>
                    <a:pt x="257" y="98"/>
                  </a:lnTo>
                  <a:lnTo>
                    <a:pt x="249" y="100"/>
                  </a:lnTo>
                  <a:lnTo>
                    <a:pt x="241" y="110"/>
                  </a:lnTo>
                  <a:lnTo>
                    <a:pt x="228" y="110"/>
                  </a:lnTo>
                  <a:lnTo>
                    <a:pt x="218" y="102"/>
                  </a:lnTo>
                  <a:lnTo>
                    <a:pt x="211" y="91"/>
                  </a:lnTo>
                  <a:lnTo>
                    <a:pt x="203" y="82"/>
                  </a:lnTo>
                  <a:lnTo>
                    <a:pt x="202" y="77"/>
                  </a:lnTo>
                  <a:lnTo>
                    <a:pt x="196" y="72"/>
                  </a:lnTo>
                  <a:lnTo>
                    <a:pt x="190" y="74"/>
                  </a:lnTo>
                  <a:lnTo>
                    <a:pt x="179" y="85"/>
                  </a:lnTo>
                  <a:lnTo>
                    <a:pt x="172" y="93"/>
                  </a:lnTo>
                  <a:lnTo>
                    <a:pt x="162" y="102"/>
                  </a:lnTo>
                  <a:lnTo>
                    <a:pt x="149" y="103"/>
                  </a:lnTo>
                  <a:lnTo>
                    <a:pt x="135" y="107"/>
                  </a:lnTo>
                  <a:lnTo>
                    <a:pt x="125" y="116"/>
                  </a:lnTo>
                  <a:lnTo>
                    <a:pt x="122" y="125"/>
                  </a:lnTo>
                  <a:lnTo>
                    <a:pt x="120" y="136"/>
                  </a:lnTo>
                  <a:lnTo>
                    <a:pt x="111" y="141"/>
                  </a:lnTo>
                  <a:lnTo>
                    <a:pt x="96" y="135"/>
                  </a:lnTo>
                  <a:lnTo>
                    <a:pt x="84" y="129"/>
                  </a:lnTo>
                  <a:lnTo>
                    <a:pt x="75" y="128"/>
                  </a:lnTo>
                  <a:lnTo>
                    <a:pt x="63" y="121"/>
                  </a:lnTo>
                  <a:lnTo>
                    <a:pt x="54" y="121"/>
                  </a:lnTo>
                  <a:lnTo>
                    <a:pt x="45" y="126"/>
                  </a:lnTo>
                  <a:lnTo>
                    <a:pt x="36" y="131"/>
                  </a:lnTo>
                  <a:lnTo>
                    <a:pt x="26" y="135"/>
                  </a:lnTo>
                  <a:lnTo>
                    <a:pt x="18" y="132"/>
                  </a:lnTo>
                  <a:lnTo>
                    <a:pt x="12" y="136"/>
                  </a:lnTo>
                  <a:lnTo>
                    <a:pt x="5" y="144"/>
                  </a:lnTo>
                  <a:lnTo>
                    <a:pt x="0" y="155"/>
                  </a:lnTo>
                  <a:lnTo>
                    <a:pt x="1" y="163"/>
                  </a:lnTo>
                  <a:lnTo>
                    <a:pt x="15" y="168"/>
                  </a:lnTo>
                  <a:lnTo>
                    <a:pt x="27" y="164"/>
                  </a:lnTo>
                  <a:lnTo>
                    <a:pt x="40" y="164"/>
                  </a:lnTo>
                  <a:lnTo>
                    <a:pt x="42" y="170"/>
                  </a:lnTo>
                  <a:lnTo>
                    <a:pt x="48" y="171"/>
                  </a:lnTo>
                  <a:lnTo>
                    <a:pt x="50" y="185"/>
                  </a:lnTo>
                  <a:lnTo>
                    <a:pt x="53" y="190"/>
                  </a:lnTo>
                  <a:lnTo>
                    <a:pt x="66" y="195"/>
                  </a:lnTo>
                  <a:lnTo>
                    <a:pt x="81" y="193"/>
                  </a:lnTo>
                  <a:lnTo>
                    <a:pt x="93" y="191"/>
                  </a:lnTo>
                  <a:lnTo>
                    <a:pt x="100" y="193"/>
                  </a:lnTo>
                  <a:lnTo>
                    <a:pt x="109" y="193"/>
                  </a:lnTo>
                  <a:lnTo>
                    <a:pt x="114" y="193"/>
                  </a:lnTo>
                  <a:lnTo>
                    <a:pt x="119" y="200"/>
                  </a:lnTo>
                  <a:lnTo>
                    <a:pt x="118" y="211"/>
                  </a:lnTo>
                  <a:lnTo>
                    <a:pt x="115" y="221"/>
                  </a:lnTo>
                  <a:lnTo>
                    <a:pt x="113" y="229"/>
                  </a:lnTo>
                  <a:lnTo>
                    <a:pt x="102" y="238"/>
                  </a:lnTo>
                  <a:lnTo>
                    <a:pt x="90" y="241"/>
                  </a:lnTo>
                  <a:lnTo>
                    <a:pt x="82" y="249"/>
                  </a:lnTo>
                  <a:lnTo>
                    <a:pt x="76" y="257"/>
                  </a:lnTo>
                  <a:lnTo>
                    <a:pt x="69" y="265"/>
                  </a:lnTo>
                  <a:lnTo>
                    <a:pt x="79" y="269"/>
                  </a:lnTo>
                  <a:lnTo>
                    <a:pt x="87" y="275"/>
                  </a:lnTo>
                  <a:lnTo>
                    <a:pt x="101" y="278"/>
                  </a:lnTo>
                  <a:lnTo>
                    <a:pt x="114" y="278"/>
                  </a:lnTo>
                  <a:lnTo>
                    <a:pt x="131" y="276"/>
                  </a:lnTo>
                  <a:lnTo>
                    <a:pt x="141" y="279"/>
                  </a:lnTo>
                  <a:lnTo>
                    <a:pt x="156" y="281"/>
                  </a:lnTo>
                  <a:lnTo>
                    <a:pt x="165" y="284"/>
                  </a:lnTo>
                  <a:lnTo>
                    <a:pt x="170" y="288"/>
                  </a:lnTo>
                  <a:lnTo>
                    <a:pt x="168" y="298"/>
                  </a:lnTo>
                  <a:lnTo>
                    <a:pt x="162" y="303"/>
                  </a:lnTo>
                  <a:lnTo>
                    <a:pt x="154" y="314"/>
                  </a:lnTo>
                  <a:lnTo>
                    <a:pt x="149" y="320"/>
                  </a:lnTo>
                  <a:lnTo>
                    <a:pt x="153" y="334"/>
                  </a:lnTo>
                  <a:lnTo>
                    <a:pt x="161" y="349"/>
                  </a:lnTo>
                  <a:lnTo>
                    <a:pt x="168" y="363"/>
                  </a:lnTo>
                  <a:lnTo>
                    <a:pt x="184" y="375"/>
                  </a:lnTo>
                  <a:lnTo>
                    <a:pt x="197" y="388"/>
                  </a:lnTo>
                  <a:lnTo>
                    <a:pt x="215" y="393"/>
                  </a:lnTo>
                  <a:lnTo>
                    <a:pt x="231" y="393"/>
                  </a:lnTo>
                  <a:lnTo>
                    <a:pt x="240" y="396"/>
                  </a:lnTo>
                  <a:lnTo>
                    <a:pt x="254" y="397"/>
                  </a:lnTo>
                  <a:lnTo>
                    <a:pt x="259" y="390"/>
                  </a:lnTo>
                  <a:lnTo>
                    <a:pt x="265" y="389"/>
                  </a:lnTo>
                  <a:lnTo>
                    <a:pt x="275" y="392"/>
                  </a:lnTo>
                  <a:lnTo>
                    <a:pt x="282" y="393"/>
                  </a:lnTo>
                  <a:lnTo>
                    <a:pt x="286" y="388"/>
                  </a:lnTo>
                  <a:lnTo>
                    <a:pt x="286" y="383"/>
                  </a:lnTo>
                  <a:lnTo>
                    <a:pt x="286" y="373"/>
                  </a:lnTo>
                  <a:lnTo>
                    <a:pt x="295" y="374"/>
                  </a:lnTo>
                  <a:lnTo>
                    <a:pt x="303" y="378"/>
                  </a:lnTo>
                  <a:lnTo>
                    <a:pt x="308" y="378"/>
                  </a:lnTo>
                  <a:lnTo>
                    <a:pt x="313" y="386"/>
                  </a:lnTo>
                  <a:lnTo>
                    <a:pt x="318" y="393"/>
                  </a:lnTo>
                  <a:lnTo>
                    <a:pt x="329" y="397"/>
                  </a:lnTo>
                  <a:lnTo>
                    <a:pt x="340" y="401"/>
                  </a:lnTo>
                  <a:lnTo>
                    <a:pt x="352" y="403"/>
                  </a:lnTo>
                  <a:lnTo>
                    <a:pt x="362" y="397"/>
                  </a:lnTo>
                  <a:lnTo>
                    <a:pt x="370" y="395"/>
                  </a:lnTo>
                  <a:lnTo>
                    <a:pt x="378" y="396"/>
                  </a:lnTo>
                  <a:lnTo>
                    <a:pt x="381" y="399"/>
                  </a:lnTo>
                  <a:lnTo>
                    <a:pt x="390" y="394"/>
                  </a:lnTo>
                  <a:lnTo>
                    <a:pt x="395" y="388"/>
                  </a:lnTo>
                  <a:lnTo>
                    <a:pt x="396" y="379"/>
                  </a:lnTo>
                  <a:lnTo>
                    <a:pt x="400" y="372"/>
                  </a:lnTo>
                  <a:lnTo>
                    <a:pt x="406" y="369"/>
                  </a:lnTo>
                  <a:lnTo>
                    <a:pt x="413" y="368"/>
                  </a:lnTo>
                  <a:lnTo>
                    <a:pt x="423" y="365"/>
                  </a:lnTo>
                  <a:lnTo>
                    <a:pt x="426" y="355"/>
                  </a:lnTo>
                  <a:lnTo>
                    <a:pt x="427" y="348"/>
                  </a:lnTo>
                  <a:lnTo>
                    <a:pt x="431" y="346"/>
                  </a:lnTo>
                  <a:lnTo>
                    <a:pt x="437" y="343"/>
                  </a:lnTo>
                  <a:lnTo>
                    <a:pt x="444" y="342"/>
                  </a:lnTo>
                  <a:lnTo>
                    <a:pt x="451" y="337"/>
                  </a:lnTo>
                  <a:lnTo>
                    <a:pt x="451" y="332"/>
                  </a:lnTo>
                  <a:lnTo>
                    <a:pt x="448" y="325"/>
                  </a:lnTo>
                  <a:lnTo>
                    <a:pt x="449" y="319"/>
                  </a:lnTo>
                  <a:lnTo>
                    <a:pt x="456" y="314"/>
                  </a:lnTo>
                  <a:lnTo>
                    <a:pt x="465" y="309"/>
                  </a:lnTo>
                  <a:lnTo>
                    <a:pt x="472" y="306"/>
                  </a:lnTo>
                  <a:lnTo>
                    <a:pt x="480" y="301"/>
                  </a:lnTo>
                  <a:lnTo>
                    <a:pt x="488" y="292"/>
                  </a:lnTo>
                  <a:lnTo>
                    <a:pt x="493" y="283"/>
                  </a:lnTo>
                  <a:lnTo>
                    <a:pt x="503" y="271"/>
                  </a:lnTo>
                  <a:lnTo>
                    <a:pt x="503" y="261"/>
                  </a:lnTo>
                  <a:lnTo>
                    <a:pt x="503" y="244"/>
                  </a:lnTo>
                  <a:lnTo>
                    <a:pt x="508" y="231"/>
                  </a:lnTo>
                  <a:lnTo>
                    <a:pt x="516" y="218"/>
                  </a:lnTo>
                  <a:lnTo>
                    <a:pt x="520" y="211"/>
                  </a:lnTo>
                  <a:lnTo>
                    <a:pt x="526" y="206"/>
                  </a:lnTo>
                  <a:lnTo>
                    <a:pt x="533" y="202"/>
                  </a:lnTo>
                  <a:lnTo>
                    <a:pt x="532" y="191"/>
                  </a:lnTo>
                  <a:lnTo>
                    <a:pt x="534" y="182"/>
                  </a:lnTo>
                  <a:lnTo>
                    <a:pt x="539" y="172"/>
                  </a:lnTo>
                  <a:lnTo>
                    <a:pt x="543" y="164"/>
                  </a:lnTo>
                  <a:lnTo>
                    <a:pt x="540" y="157"/>
                  </a:lnTo>
                  <a:lnTo>
                    <a:pt x="537" y="148"/>
                  </a:lnTo>
                  <a:lnTo>
                    <a:pt x="537" y="135"/>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56" name="Freeform 6"/>
            <p:cNvSpPr>
              <a:spLocks/>
            </p:cNvSpPr>
            <p:nvPr/>
          </p:nvSpPr>
          <p:spPr bwMode="auto">
            <a:xfrm>
              <a:off x="5135563" y="4665663"/>
              <a:ext cx="787400" cy="636587"/>
            </a:xfrm>
            <a:custGeom>
              <a:avLst/>
              <a:gdLst>
                <a:gd name="T0" fmla="*/ 279 w 540"/>
                <a:gd name="T1" fmla="*/ 12 h 436"/>
                <a:gd name="T2" fmla="*/ 255 w 540"/>
                <a:gd name="T3" fmla="*/ 0 h 436"/>
                <a:gd name="T4" fmla="*/ 223 w 540"/>
                <a:gd name="T5" fmla="*/ 18 h 436"/>
                <a:gd name="T6" fmla="*/ 235 w 540"/>
                <a:gd name="T7" fmla="*/ 39 h 436"/>
                <a:gd name="T8" fmla="*/ 211 w 540"/>
                <a:gd name="T9" fmla="*/ 43 h 436"/>
                <a:gd name="T10" fmla="*/ 179 w 540"/>
                <a:gd name="T11" fmla="*/ 44 h 436"/>
                <a:gd name="T12" fmla="*/ 166 w 540"/>
                <a:gd name="T13" fmla="*/ 70 h 436"/>
                <a:gd name="T14" fmla="*/ 162 w 540"/>
                <a:gd name="T15" fmla="*/ 103 h 436"/>
                <a:gd name="T16" fmla="*/ 152 w 540"/>
                <a:gd name="T17" fmla="*/ 141 h 436"/>
                <a:gd name="T18" fmla="*/ 127 w 540"/>
                <a:gd name="T19" fmla="*/ 170 h 436"/>
                <a:gd name="T20" fmla="*/ 112 w 540"/>
                <a:gd name="T21" fmla="*/ 222 h 436"/>
                <a:gd name="T22" fmla="*/ 84 w 540"/>
                <a:gd name="T23" fmla="*/ 248 h 436"/>
                <a:gd name="T24" fmla="*/ 70 w 540"/>
                <a:gd name="T25" fmla="*/ 271 h 436"/>
                <a:gd name="T26" fmla="*/ 50 w 540"/>
                <a:gd name="T27" fmla="*/ 285 h 436"/>
                <a:gd name="T28" fmla="*/ 32 w 540"/>
                <a:gd name="T29" fmla="*/ 307 h 436"/>
                <a:gd name="T30" fmla="*/ 14 w 540"/>
                <a:gd name="T31" fmla="*/ 327 h 436"/>
                <a:gd name="T32" fmla="*/ 2 w 540"/>
                <a:gd name="T33" fmla="*/ 356 h 436"/>
                <a:gd name="T34" fmla="*/ 3 w 540"/>
                <a:gd name="T35" fmla="*/ 400 h 436"/>
                <a:gd name="T36" fmla="*/ 38 w 540"/>
                <a:gd name="T37" fmla="*/ 434 h 436"/>
                <a:gd name="T38" fmla="*/ 48 w 540"/>
                <a:gd name="T39" fmla="*/ 412 h 436"/>
                <a:gd name="T40" fmla="*/ 39 w 540"/>
                <a:gd name="T41" fmla="*/ 376 h 436"/>
                <a:gd name="T42" fmla="*/ 70 w 540"/>
                <a:gd name="T43" fmla="*/ 343 h 436"/>
                <a:gd name="T44" fmla="*/ 123 w 540"/>
                <a:gd name="T45" fmla="*/ 337 h 436"/>
                <a:gd name="T46" fmla="*/ 161 w 540"/>
                <a:gd name="T47" fmla="*/ 312 h 436"/>
                <a:gd name="T48" fmla="*/ 186 w 540"/>
                <a:gd name="T49" fmla="*/ 302 h 436"/>
                <a:gd name="T50" fmla="*/ 215 w 540"/>
                <a:gd name="T51" fmla="*/ 307 h 436"/>
                <a:gd name="T52" fmla="*/ 269 w 540"/>
                <a:gd name="T53" fmla="*/ 291 h 436"/>
                <a:gd name="T54" fmla="*/ 239 w 540"/>
                <a:gd name="T55" fmla="*/ 238 h 436"/>
                <a:gd name="T56" fmla="*/ 230 w 540"/>
                <a:gd name="T57" fmla="*/ 197 h 436"/>
                <a:gd name="T58" fmla="*/ 279 w 540"/>
                <a:gd name="T59" fmla="*/ 232 h 436"/>
                <a:gd name="T60" fmla="*/ 312 w 540"/>
                <a:gd name="T61" fmla="*/ 255 h 436"/>
                <a:gd name="T62" fmla="*/ 338 w 540"/>
                <a:gd name="T63" fmla="*/ 253 h 436"/>
                <a:gd name="T64" fmla="*/ 357 w 540"/>
                <a:gd name="T65" fmla="*/ 239 h 436"/>
                <a:gd name="T66" fmla="*/ 367 w 540"/>
                <a:gd name="T67" fmla="*/ 240 h 436"/>
                <a:gd name="T68" fmla="*/ 384 w 540"/>
                <a:gd name="T69" fmla="*/ 224 h 436"/>
                <a:gd name="T70" fmla="*/ 422 w 540"/>
                <a:gd name="T71" fmla="*/ 214 h 436"/>
                <a:gd name="T72" fmla="*/ 446 w 540"/>
                <a:gd name="T73" fmla="*/ 224 h 436"/>
                <a:gd name="T74" fmla="*/ 488 w 540"/>
                <a:gd name="T75" fmla="*/ 201 h 436"/>
                <a:gd name="T76" fmla="*/ 509 w 540"/>
                <a:gd name="T77" fmla="*/ 180 h 436"/>
                <a:gd name="T78" fmla="*/ 522 w 540"/>
                <a:gd name="T79" fmla="*/ 153 h 436"/>
                <a:gd name="T80" fmla="*/ 539 w 540"/>
                <a:gd name="T81" fmla="*/ 130 h 436"/>
                <a:gd name="T82" fmla="*/ 522 w 540"/>
                <a:gd name="T83" fmla="*/ 109 h 436"/>
                <a:gd name="T84" fmla="*/ 510 w 540"/>
                <a:gd name="T85" fmla="*/ 67 h 436"/>
                <a:gd name="T86" fmla="*/ 490 w 540"/>
                <a:gd name="T87" fmla="*/ 59 h 436"/>
                <a:gd name="T88" fmla="*/ 449 w 540"/>
                <a:gd name="T89" fmla="*/ 39 h 436"/>
                <a:gd name="T90" fmla="*/ 436 w 540"/>
                <a:gd name="T91" fmla="*/ 62 h 436"/>
                <a:gd name="T92" fmla="*/ 390 w 540"/>
                <a:gd name="T93" fmla="*/ 64 h 436"/>
                <a:gd name="T94" fmla="*/ 335 w 540"/>
                <a:gd name="T95" fmla="*/ 77 h 436"/>
                <a:gd name="T96" fmla="*/ 348 w 540"/>
                <a:gd name="T97" fmla="*/ 22 h 436"/>
                <a:gd name="T98" fmla="*/ 311 w 540"/>
                <a:gd name="T99" fmla="*/ 1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0" h="436">
                  <a:moveTo>
                    <a:pt x="301" y="11"/>
                  </a:moveTo>
                  <a:lnTo>
                    <a:pt x="292" y="15"/>
                  </a:lnTo>
                  <a:lnTo>
                    <a:pt x="286" y="13"/>
                  </a:lnTo>
                  <a:lnTo>
                    <a:pt x="279" y="12"/>
                  </a:lnTo>
                  <a:lnTo>
                    <a:pt x="269" y="16"/>
                  </a:lnTo>
                  <a:lnTo>
                    <a:pt x="257" y="15"/>
                  </a:lnTo>
                  <a:lnTo>
                    <a:pt x="257" y="8"/>
                  </a:lnTo>
                  <a:lnTo>
                    <a:pt x="255" y="0"/>
                  </a:lnTo>
                  <a:lnTo>
                    <a:pt x="248" y="4"/>
                  </a:lnTo>
                  <a:lnTo>
                    <a:pt x="242" y="11"/>
                  </a:lnTo>
                  <a:lnTo>
                    <a:pt x="232" y="13"/>
                  </a:lnTo>
                  <a:lnTo>
                    <a:pt x="223" y="18"/>
                  </a:lnTo>
                  <a:lnTo>
                    <a:pt x="224" y="24"/>
                  </a:lnTo>
                  <a:lnTo>
                    <a:pt x="233" y="26"/>
                  </a:lnTo>
                  <a:lnTo>
                    <a:pt x="237" y="31"/>
                  </a:lnTo>
                  <a:lnTo>
                    <a:pt x="235" y="39"/>
                  </a:lnTo>
                  <a:lnTo>
                    <a:pt x="230" y="45"/>
                  </a:lnTo>
                  <a:lnTo>
                    <a:pt x="223" y="54"/>
                  </a:lnTo>
                  <a:lnTo>
                    <a:pt x="212" y="51"/>
                  </a:lnTo>
                  <a:lnTo>
                    <a:pt x="211" y="43"/>
                  </a:lnTo>
                  <a:lnTo>
                    <a:pt x="205" y="37"/>
                  </a:lnTo>
                  <a:lnTo>
                    <a:pt x="191" y="35"/>
                  </a:lnTo>
                  <a:lnTo>
                    <a:pt x="182" y="39"/>
                  </a:lnTo>
                  <a:lnTo>
                    <a:pt x="179" y="44"/>
                  </a:lnTo>
                  <a:lnTo>
                    <a:pt x="176" y="51"/>
                  </a:lnTo>
                  <a:lnTo>
                    <a:pt x="175" y="58"/>
                  </a:lnTo>
                  <a:lnTo>
                    <a:pt x="171" y="65"/>
                  </a:lnTo>
                  <a:lnTo>
                    <a:pt x="166" y="70"/>
                  </a:lnTo>
                  <a:lnTo>
                    <a:pt x="156" y="74"/>
                  </a:lnTo>
                  <a:lnTo>
                    <a:pt x="156" y="87"/>
                  </a:lnTo>
                  <a:lnTo>
                    <a:pt x="159" y="96"/>
                  </a:lnTo>
                  <a:lnTo>
                    <a:pt x="162" y="103"/>
                  </a:lnTo>
                  <a:lnTo>
                    <a:pt x="158" y="111"/>
                  </a:lnTo>
                  <a:lnTo>
                    <a:pt x="153" y="121"/>
                  </a:lnTo>
                  <a:lnTo>
                    <a:pt x="151" y="130"/>
                  </a:lnTo>
                  <a:lnTo>
                    <a:pt x="152" y="141"/>
                  </a:lnTo>
                  <a:lnTo>
                    <a:pt x="145" y="145"/>
                  </a:lnTo>
                  <a:lnTo>
                    <a:pt x="139" y="150"/>
                  </a:lnTo>
                  <a:lnTo>
                    <a:pt x="135" y="157"/>
                  </a:lnTo>
                  <a:lnTo>
                    <a:pt x="127" y="170"/>
                  </a:lnTo>
                  <a:lnTo>
                    <a:pt x="122" y="183"/>
                  </a:lnTo>
                  <a:lnTo>
                    <a:pt x="122" y="200"/>
                  </a:lnTo>
                  <a:lnTo>
                    <a:pt x="122" y="210"/>
                  </a:lnTo>
                  <a:lnTo>
                    <a:pt x="112" y="222"/>
                  </a:lnTo>
                  <a:lnTo>
                    <a:pt x="107" y="231"/>
                  </a:lnTo>
                  <a:lnTo>
                    <a:pt x="99" y="240"/>
                  </a:lnTo>
                  <a:lnTo>
                    <a:pt x="91" y="245"/>
                  </a:lnTo>
                  <a:lnTo>
                    <a:pt x="84" y="248"/>
                  </a:lnTo>
                  <a:lnTo>
                    <a:pt x="75" y="253"/>
                  </a:lnTo>
                  <a:lnTo>
                    <a:pt x="68" y="258"/>
                  </a:lnTo>
                  <a:lnTo>
                    <a:pt x="67" y="264"/>
                  </a:lnTo>
                  <a:lnTo>
                    <a:pt x="70" y="271"/>
                  </a:lnTo>
                  <a:lnTo>
                    <a:pt x="70" y="276"/>
                  </a:lnTo>
                  <a:lnTo>
                    <a:pt x="63" y="281"/>
                  </a:lnTo>
                  <a:lnTo>
                    <a:pt x="56" y="282"/>
                  </a:lnTo>
                  <a:lnTo>
                    <a:pt x="50" y="285"/>
                  </a:lnTo>
                  <a:lnTo>
                    <a:pt x="46" y="287"/>
                  </a:lnTo>
                  <a:lnTo>
                    <a:pt x="45" y="294"/>
                  </a:lnTo>
                  <a:lnTo>
                    <a:pt x="42" y="304"/>
                  </a:lnTo>
                  <a:lnTo>
                    <a:pt x="32" y="307"/>
                  </a:lnTo>
                  <a:lnTo>
                    <a:pt x="25" y="308"/>
                  </a:lnTo>
                  <a:lnTo>
                    <a:pt x="19" y="311"/>
                  </a:lnTo>
                  <a:lnTo>
                    <a:pt x="15" y="318"/>
                  </a:lnTo>
                  <a:lnTo>
                    <a:pt x="14" y="327"/>
                  </a:lnTo>
                  <a:lnTo>
                    <a:pt x="9" y="333"/>
                  </a:lnTo>
                  <a:lnTo>
                    <a:pt x="0" y="338"/>
                  </a:lnTo>
                  <a:lnTo>
                    <a:pt x="10" y="345"/>
                  </a:lnTo>
                  <a:lnTo>
                    <a:pt x="2" y="356"/>
                  </a:lnTo>
                  <a:lnTo>
                    <a:pt x="0" y="366"/>
                  </a:lnTo>
                  <a:lnTo>
                    <a:pt x="3" y="375"/>
                  </a:lnTo>
                  <a:lnTo>
                    <a:pt x="3" y="386"/>
                  </a:lnTo>
                  <a:lnTo>
                    <a:pt x="3" y="400"/>
                  </a:lnTo>
                  <a:lnTo>
                    <a:pt x="5" y="410"/>
                  </a:lnTo>
                  <a:lnTo>
                    <a:pt x="15" y="427"/>
                  </a:lnTo>
                  <a:lnTo>
                    <a:pt x="25" y="433"/>
                  </a:lnTo>
                  <a:lnTo>
                    <a:pt x="38" y="434"/>
                  </a:lnTo>
                  <a:lnTo>
                    <a:pt x="47" y="435"/>
                  </a:lnTo>
                  <a:lnTo>
                    <a:pt x="60" y="426"/>
                  </a:lnTo>
                  <a:lnTo>
                    <a:pt x="56" y="416"/>
                  </a:lnTo>
                  <a:lnTo>
                    <a:pt x="48" y="412"/>
                  </a:lnTo>
                  <a:lnTo>
                    <a:pt x="48" y="402"/>
                  </a:lnTo>
                  <a:lnTo>
                    <a:pt x="41" y="398"/>
                  </a:lnTo>
                  <a:lnTo>
                    <a:pt x="38" y="390"/>
                  </a:lnTo>
                  <a:lnTo>
                    <a:pt x="39" y="376"/>
                  </a:lnTo>
                  <a:lnTo>
                    <a:pt x="49" y="367"/>
                  </a:lnTo>
                  <a:lnTo>
                    <a:pt x="63" y="361"/>
                  </a:lnTo>
                  <a:lnTo>
                    <a:pt x="66" y="353"/>
                  </a:lnTo>
                  <a:lnTo>
                    <a:pt x="70" y="343"/>
                  </a:lnTo>
                  <a:lnTo>
                    <a:pt x="78" y="346"/>
                  </a:lnTo>
                  <a:lnTo>
                    <a:pt x="87" y="348"/>
                  </a:lnTo>
                  <a:lnTo>
                    <a:pt x="110" y="338"/>
                  </a:lnTo>
                  <a:lnTo>
                    <a:pt x="123" y="337"/>
                  </a:lnTo>
                  <a:lnTo>
                    <a:pt x="133" y="327"/>
                  </a:lnTo>
                  <a:lnTo>
                    <a:pt x="140" y="318"/>
                  </a:lnTo>
                  <a:lnTo>
                    <a:pt x="146" y="317"/>
                  </a:lnTo>
                  <a:lnTo>
                    <a:pt x="161" y="312"/>
                  </a:lnTo>
                  <a:lnTo>
                    <a:pt x="176" y="310"/>
                  </a:lnTo>
                  <a:lnTo>
                    <a:pt x="189" y="314"/>
                  </a:lnTo>
                  <a:lnTo>
                    <a:pt x="190" y="309"/>
                  </a:lnTo>
                  <a:lnTo>
                    <a:pt x="186" y="302"/>
                  </a:lnTo>
                  <a:lnTo>
                    <a:pt x="193" y="292"/>
                  </a:lnTo>
                  <a:lnTo>
                    <a:pt x="197" y="302"/>
                  </a:lnTo>
                  <a:lnTo>
                    <a:pt x="204" y="316"/>
                  </a:lnTo>
                  <a:lnTo>
                    <a:pt x="215" y="307"/>
                  </a:lnTo>
                  <a:lnTo>
                    <a:pt x="223" y="303"/>
                  </a:lnTo>
                  <a:lnTo>
                    <a:pt x="240" y="304"/>
                  </a:lnTo>
                  <a:lnTo>
                    <a:pt x="253" y="302"/>
                  </a:lnTo>
                  <a:lnTo>
                    <a:pt x="269" y="291"/>
                  </a:lnTo>
                  <a:lnTo>
                    <a:pt x="268" y="278"/>
                  </a:lnTo>
                  <a:lnTo>
                    <a:pt x="261" y="263"/>
                  </a:lnTo>
                  <a:lnTo>
                    <a:pt x="252" y="255"/>
                  </a:lnTo>
                  <a:lnTo>
                    <a:pt x="239" y="238"/>
                  </a:lnTo>
                  <a:lnTo>
                    <a:pt x="230" y="230"/>
                  </a:lnTo>
                  <a:lnTo>
                    <a:pt x="218" y="217"/>
                  </a:lnTo>
                  <a:lnTo>
                    <a:pt x="215" y="200"/>
                  </a:lnTo>
                  <a:lnTo>
                    <a:pt x="230" y="197"/>
                  </a:lnTo>
                  <a:lnTo>
                    <a:pt x="240" y="213"/>
                  </a:lnTo>
                  <a:lnTo>
                    <a:pt x="251" y="227"/>
                  </a:lnTo>
                  <a:lnTo>
                    <a:pt x="265" y="230"/>
                  </a:lnTo>
                  <a:lnTo>
                    <a:pt x="279" y="232"/>
                  </a:lnTo>
                  <a:lnTo>
                    <a:pt x="288" y="233"/>
                  </a:lnTo>
                  <a:lnTo>
                    <a:pt x="295" y="241"/>
                  </a:lnTo>
                  <a:lnTo>
                    <a:pt x="301" y="248"/>
                  </a:lnTo>
                  <a:lnTo>
                    <a:pt x="312" y="255"/>
                  </a:lnTo>
                  <a:lnTo>
                    <a:pt x="319" y="264"/>
                  </a:lnTo>
                  <a:lnTo>
                    <a:pt x="330" y="264"/>
                  </a:lnTo>
                  <a:lnTo>
                    <a:pt x="337" y="258"/>
                  </a:lnTo>
                  <a:lnTo>
                    <a:pt x="338" y="253"/>
                  </a:lnTo>
                  <a:lnTo>
                    <a:pt x="342" y="248"/>
                  </a:lnTo>
                  <a:lnTo>
                    <a:pt x="349" y="248"/>
                  </a:lnTo>
                  <a:lnTo>
                    <a:pt x="354" y="245"/>
                  </a:lnTo>
                  <a:lnTo>
                    <a:pt x="357" y="239"/>
                  </a:lnTo>
                  <a:lnTo>
                    <a:pt x="356" y="232"/>
                  </a:lnTo>
                  <a:lnTo>
                    <a:pt x="359" y="225"/>
                  </a:lnTo>
                  <a:lnTo>
                    <a:pt x="364" y="230"/>
                  </a:lnTo>
                  <a:lnTo>
                    <a:pt x="367" y="240"/>
                  </a:lnTo>
                  <a:lnTo>
                    <a:pt x="371" y="240"/>
                  </a:lnTo>
                  <a:lnTo>
                    <a:pt x="373" y="230"/>
                  </a:lnTo>
                  <a:lnTo>
                    <a:pt x="377" y="225"/>
                  </a:lnTo>
                  <a:lnTo>
                    <a:pt x="384" y="224"/>
                  </a:lnTo>
                  <a:lnTo>
                    <a:pt x="395" y="224"/>
                  </a:lnTo>
                  <a:lnTo>
                    <a:pt x="410" y="225"/>
                  </a:lnTo>
                  <a:lnTo>
                    <a:pt x="419" y="224"/>
                  </a:lnTo>
                  <a:lnTo>
                    <a:pt x="422" y="214"/>
                  </a:lnTo>
                  <a:lnTo>
                    <a:pt x="423" y="205"/>
                  </a:lnTo>
                  <a:lnTo>
                    <a:pt x="433" y="204"/>
                  </a:lnTo>
                  <a:lnTo>
                    <a:pt x="438" y="215"/>
                  </a:lnTo>
                  <a:lnTo>
                    <a:pt x="446" y="224"/>
                  </a:lnTo>
                  <a:lnTo>
                    <a:pt x="458" y="213"/>
                  </a:lnTo>
                  <a:lnTo>
                    <a:pt x="467" y="206"/>
                  </a:lnTo>
                  <a:lnTo>
                    <a:pt x="477" y="203"/>
                  </a:lnTo>
                  <a:lnTo>
                    <a:pt x="488" y="201"/>
                  </a:lnTo>
                  <a:lnTo>
                    <a:pt x="500" y="197"/>
                  </a:lnTo>
                  <a:lnTo>
                    <a:pt x="500" y="189"/>
                  </a:lnTo>
                  <a:lnTo>
                    <a:pt x="505" y="182"/>
                  </a:lnTo>
                  <a:lnTo>
                    <a:pt x="509" y="180"/>
                  </a:lnTo>
                  <a:lnTo>
                    <a:pt x="515" y="173"/>
                  </a:lnTo>
                  <a:lnTo>
                    <a:pt x="511" y="163"/>
                  </a:lnTo>
                  <a:lnTo>
                    <a:pt x="516" y="157"/>
                  </a:lnTo>
                  <a:lnTo>
                    <a:pt x="522" y="153"/>
                  </a:lnTo>
                  <a:lnTo>
                    <a:pt x="523" y="143"/>
                  </a:lnTo>
                  <a:lnTo>
                    <a:pt x="524" y="138"/>
                  </a:lnTo>
                  <a:lnTo>
                    <a:pt x="530" y="136"/>
                  </a:lnTo>
                  <a:lnTo>
                    <a:pt x="539" y="130"/>
                  </a:lnTo>
                  <a:lnTo>
                    <a:pt x="531" y="126"/>
                  </a:lnTo>
                  <a:lnTo>
                    <a:pt x="528" y="119"/>
                  </a:lnTo>
                  <a:lnTo>
                    <a:pt x="523" y="114"/>
                  </a:lnTo>
                  <a:lnTo>
                    <a:pt x="522" y="109"/>
                  </a:lnTo>
                  <a:lnTo>
                    <a:pt x="522" y="98"/>
                  </a:lnTo>
                  <a:lnTo>
                    <a:pt x="517" y="87"/>
                  </a:lnTo>
                  <a:lnTo>
                    <a:pt x="508" y="74"/>
                  </a:lnTo>
                  <a:lnTo>
                    <a:pt x="510" y="67"/>
                  </a:lnTo>
                  <a:lnTo>
                    <a:pt x="511" y="56"/>
                  </a:lnTo>
                  <a:lnTo>
                    <a:pt x="505" y="49"/>
                  </a:lnTo>
                  <a:lnTo>
                    <a:pt x="500" y="52"/>
                  </a:lnTo>
                  <a:lnTo>
                    <a:pt x="490" y="59"/>
                  </a:lnTo>
                  <a:lnTo>
                    <a:pt x="480" y="51"/>
                  </a:lnTo>
                  <a:lnTo>
                    <a:pt x="472" y="51"/>
                  </a:lnTo>
                  <a:lnTo>
                    <a:pt x="459" y="47"/>
                  </a:lnTo>
                  <a:lnTo>
                    <a:pt x="449" y="39"/>
                  </a:lnTo>
                  <a:lnTo>
                    <a:pt x="441" y="42"/>
                  </a:lnTo>
                  <a:lnTo>
                    <a:pt x="440" y="46"/>
                  </a:lnTo>
                  <a:lnTo>
                    <a:pt x="436" y="49"/>
                  </a:lnTo>
                  <a:lnTo>
                    <a:pt x="436" y="62"/>
                  </a:lnTo>
                  <a:lnTo>
                    <a:pt x="431" y="67"/>
                  </a:lnTo>
                  <a:lnTo>
                    <a:pt x="416" y="63"/>
                  </a:lnTo>
                  <a:lnTo>
                    <a:pt x="401" y="60"/>
                  </a:lnTo>
                  <a:lnTo>
                    <a:pt x="390" y="64"/>
                  </a:lnTo>
                  <a:lnTo>
                    <a:pt x="369" y="73"/>
                  </a:lnTo>
                  <a:lnTo>
                    <a:pt x="359" y="70"/>
                  </a:lnTo>
                  <a:lnTo>
                    <a:pt x="350" y="69"/>
                  </a:lnTo>
                  <a:lnTo>
                    <a:pt x="335" y="77"/>
                  </a:lnTo>
                  <a:lnTo>
                    <a:pt x="327" y="68"/>
                  </a:lnTo>
                  <a:lnTo>
                    <a:pt x="331" y="52"/>
                  </a:lnTo>
                  <a:lnTo>
                    <a:pt x="341" y="36"/>
                  </a:lnTo>
                  <a:lnTo>
                    <a:pt x="348" y="22"/>
                  </a:lnTo>
                  <a:lnTo>
                    <a:pt x="349" y="10"/>
                  </a:lnTo>
                  <a:lnTo>
                    <a:pt x="336" y="13"/>
                  </a:lnTo>
                  <a:lnTo>
                    <a:pt x="323" y="17"/>
                  </a:lnTo>
                  <a:lnTo>
                    <a:pt x="311" y="18"/>
                  </a:lnTo>
                  <a:lnTo>
                    <a:pt x="301" y="11"/>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57" name="Freeform 7"/>
            <p:cNvSpPr>
              <a:spLocks/>
            </p:cNvSpPr>
            <p:nvPr/>
          </p:nvSpPr>
          <p:spPr bwMode="auto">
            <a:xfrm>
              <a:off x="1905000" y="1673225"/>
              <a:ext cx="2052638" cy="1601788"/>
            </a:xfrm>
            <a:custGeom>
              <a:avLst/>
              <a:gdLst>
                <a:gd name="T0" fmla="*/ 1376 w 1407"/>
                <a:gd name="T1" fmla="*/ 638 h 1097"/>
                <a:gd name="T2" fmla="*/ 1316 w 1407"/>
                <a:gd name="T3" fmla="*/ 682 h 1097"/>
                <a:gd name="T4" fmla="*/ 1236 w 1407"/>
                <a:gd name="T5" fmla="*/ 735 h 1097"/>
                <a:gd name="T6" fmla="*/ 1208 w 1407"/>
                <a:gd name="T7" fmla="*/ 798 h 1097"/>
                <a:gd name="T8" fmla="*/ 1196 w 1407"/>
                <a:gd name="T9" fmla="*/ 872 h 1097"/>
                <a:gd name="T10" fmla="*/ 1118 w 1407"/>
                <a:gd name="T11" fmla="*/ 877 h 1097"/>
                <a:gd name="T12" fmla="*/ 1034 w 1407"/>
                <a:gd name="T13" fmla="*/ 885 h 1097"/>
                <a:gd name="T14" fmla="*/ 991 w 1407"/>
                <a:gd name="T15" fmla="*/ 924 h 1097"/>
                <a:gd name="T16" fmla="*/ 1016 w 1407"/>
                <a:gd name="T17" fmla="*/ 983 h 1097"/>
                <a:gd name="T18" fmla="*/ 1006 w 1407"/>
                <a:gd name="T19" fmla="*/ 1028 h 1097"/>
                <a:gd name="T20" fmla="*/ 1001 w 1407"/>
                <a:gd name="T21" fmla="*/ 1065 h 1097"/>
                <a:gd name="T22" fmla="*/ 966 w 1407"/>
                <a:gd name="T23" fmla="*/ 1087 h 1097"/>
                <a:gd name="T24" fmla="*/ 922 w 1407"/>
                <a:gd name="T25" fmla="*/ 1076 h 1097"/>
                <a:gd name="T26" fmla="*/ 827 w 1407"/>
                <a:gd name="T27" fmla="*/ 1043 h 1097"/>
                <a:gd name="T28" fmla="*/ 721 w 1407"/>
                <a:gd name="T29" fmla="*/ 1043 h 1097"/>
                <a:gd name="T30" fmla="*/ 617 w 1407"/>
                <a:gd name="T31" fmla="*/ 1065 h 1097"/>
                <a:gd name="T32" fmla="*/ 514 w 1407"/>
                <a:gd name="T33" fmla="*/ 1047 h 1097"/>
                <a:gd name="T34" fmla="*/ 411 w 1407"/>
                <a:gd name="T35" fmla="*/ 1048 h 1097"/>
                <a:gd name="T36" fmla="*/ 318 w 1407"/>
                <a:gd name="T37" fmla="*/ 1013 h 1097"/>
                <a:gd name="T38" fmla="*/ 236 w 1407"/>
                <a:gd name="T39" fmla="*/ 1078 h 1097"/>
                <a:gd name="T40" fmla="*/ 184 w 1407"/>
                <a:gd name="T41" fmla="*/ 1045 h 1097"/>
                <a:gd name="T42" fmla="*/ 167 w 1407"/>
                <a:gd name="T43" fmla="*/ 975 h 1097"/>
                <a:gd name="T44" fmla="*/ 115 w 1407"/>
                <a:gd name="T45" fmla="*/ 943 h 1097"/>
                <a:gd name="T46" fmla="*/ 85 w 1407"/>
                <a:gd name="T47" fmla="*/ 913 h 1097"/>
                <a:gd name="T48" fmla="*/ 66 w 1407"/>
                <a:gd name="T49" fmla="*/ 827 h 1097"/>
                <a:gd name="T50" fmla="*/ 25 w 1407"/>
                <a:gd name="T51" fmla="*/ 789 h 1097"/>
                <a:gd name="T52" fmla="*/ 32 w 1407"/>
                <a:gd name="T53" fmla="*/ 764 h 1097"/>
                <a:gd name="T54" fmla="*/ 43 w 1407"/>
                <a:gd name="T55" fmla="*/ 700 h 1097"/>
                <a:gd name="T56" fmla="*/ 47 w 1407"/>
                <a:gd name="T57" fmla="*/ 642 h 1097"/>
                <a:gd name="T58" fmla="*/ 0 w 1407"/>
                <a:gd name="T59" fmla="*/ 629 h 1097"/>
                <a:gd name="T60" fmla="*/ 56 w 1407"/>
                <a:gd name="T61" fmla="*/ 526 h 1097"/>
                <a:gd name="T62" fmla="*/ 131 w 1407"/>
                <a:gd name="T63" fmla="*/ 504 h 1097"/>
                <a:gd name="T64" fmla="*/ 169 w 1407"/>
                <a:gd name="T65" fmla="*/ 535 h 1097"/>
                <a:gd name="T66" fmla="*/ 226 w 1407"/>
                <a:gd name="T67" fmla="*/ 510 h 1097"/>
                <a:gd name="T68" fmla="*/ 335 w 1407"/>
                <a:gd name="T69" fmla="*/ 507 h 1097"/>
                <a:gd name="T70" fmla="*/ 422 w 1407"/>
                <a:gd name="T71" fmla="*/ 485 h 1097"/>
                <a:gd name="T72" fmla="*/ 469 w 1407"/>
                <a:gd name="T73" fmla="*/ 422 h 1097"/>
                <a:gd name="T74" fmla="*/ 521 w 1407"/>
                <a:gd name="T75" fmla="*/ 360 h 1097"/>
                <a:gd name="T76" fmla="*/ 523 w 1407"/>
                <a:gd name="T77" fmla="*/ 268 h 1097"/>
                <a:gd name="T78" fmla="*/ 599 w 1407"/>
                <a:gd name="T79" fmla="*/ 244 h 1097"/>
                <a:gd name="T80" fmla="*/ 666 w 1407"/>
                <a:gd name="T81" fmla="*/ 202 h 1097"/>
                <a:gd name="T82" fmla="*/ 740 w 1407"/>
                <a:gd name="T83" fmla="*/ 112 h 1097"/>
                <a:gd name="T84" fmla="*/ 817 w 1407"/>
                <a:gd name="T85" fmla="*/ 150 h 1097"/>
                <a:gd name="T86" fmla="*/ 880 w 1407"/>
                <a:gd name="T87" fmla="*/ 98 h 1097"/>
                <a:gd name="T88" fmla="*/ 938 w 1407"/>
                <a:gd name="T89" fmla="*/ 43 h 1097"/>
                <a:gd name="T90" fmla="*/ 977 w 1407"/>
                <a:gd name="T91" fmla="*/ 1 h 1097"/>
                <a:gd name="T92" fmla="*/ 1028 w 1407"/>
                <a:gd name="T93" fmla="*/ 17 h 1097"/>
                <a:gd name="T94" fmla="*/ 1048 w 1407"/>
                <a:gd name="T95" fmla="*/ 87 h 1097"/>
                <a:gd name="T96" fmla="*/ 1100 w 1407"/>
                <a:gd name="T97" fmla="*/ 123 h 1097"/>
                <a:gd name="T98" fmla="*/ 1132 w 1407"/>
                <a:gd name="T99" fmla="*/ 168 h 1097"/>
                <a:gd name="T100" fmla="*/ 1148 w 1407"/>
                <a:gd name="T101" fmla="*/ 253 h 1097"/>
                <a:gd name="T102" fmla="*/ 1115 w 1407"/>
                <a:gd name="T103" fmla="*/ 319 h 1097"/>
                <a:gd name="T104" fmla="*/ 1159 w 1407"/>
                <a:gd name="T105" fmla="*/ 375 h 1097"/>
                <a:gd name="T106" fmla="*/ 1290 w 1407"/>
                <a:gd name="T107" fmla="*/ 427 h 1097"/>
                <a:gd name="T108" fmla="*/ 1344 w 1407"/>
                <a:gd name="T109" fmla="*/ 481 h 1097"/>
                <a:gd name="T110" fmla="*/ 1378 w 1407"/>
                <a:gd name="T111" fmla="*/ 56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7" h="1097">
                  <a:moveTo>
                    <a:pt x="1406" y="605"/>
                  </a:moveTo>
                  <a:lnTo>
                    <a:pt x="1404" y="612"/>
                  </a:lnTo>
                  <a:lnTo>
                    <a:pt x="1397" y="612"/>
                  </a:lnTo>
                  <a:lnTo>
                    <a:pt x="1388" y="613"/>
                  </a:lnTo>
                  <a:lnTo>
                    <a:pt x="1380" y="618"/>
                  </a:lnTo>
                  <a:lnTo>
                    <a:pt x="1379" y="624"/>
                  </a:lnTo>
                  <a:lnTo>
                    <a:pt x="1376" y="638"/>
                  </a:lnTo>
                  <a:lnTo>
                    <a:pt x="1376" y="649"/>
                  </a:lnTo>
                  <a:lnTo>
                    <a:pt x="1379" y="663"/>
                  </a:lnTo>
                  <a:lnTo>
                    <a:pt x="1376" y="674"/>
                  </a:lnTo>
                  <a:lnTo>
                    <a:pt x="1366" y="679"/>
                  </a:lnTo>
                  <a:lnTo>
                    <a:pt x="1348" y="680"/>
                  </a:lnTo>
                  <a:lnTo>
                    <a:pt x="1331" y="682"/>
                  </a:lnTo>
                  <a:lnTo>
                    <a:pt x="1316" y="682"/>
                  </a:lnTo>
                  <a:lnTo>
                    <a:pt x="1301" y="684"/>
                  </a:lnTo>
                  <a:lnTo>
                    <a:pt x="1286" y="688"/>
                  </a:lnTo>
                  <a:lnTo>
                    <a:pt x="1272" y="699"/>
                  </a:lnTo>
                  <a:lnTo>
                    <a:pt x="1261" y="708"/>
                  </a:lnTo>
                  <a:lnTo>
                    <a:pt x="1252" y="715"/>
                  </a:lnTo>
                  <a:lnTo>
                    <a:pt x="1243" y="726"/>
                  </a:lnTo>
                  <a:lnTo>
                    <a:pt x="1236" y="735"/>
                  </a:lnTo>
                  <a:lnTo>
                    <a:pt x="1228" y="743"/>
                  </a:lnTo>
                  <a:lnTo>
                    <a:pt x="1227" y="757"/>
                  </a:lnTo>
                  <a:lnTo>
                    <a:pt x="1221" y="761"/>
                  </a:lnTo>
                  <a:lnTo>
                    <a:pt x="1216" y="766"/>
                  </a:lnTo>
                  <a:lnTo>
                    <a:pt x="1213" y="775"/>
                  </a:lnTo>
                  <a:lnTo>
                    <a:pt x="1213" y="785"/>
                  </a:lnTo>
                  <a:lnTo>
                    <a:pt x="1208" y="798"/>
                  </a:lnTo>
                  <a:lnTo>
                    <a:pt x="1210" y="808"/>
                  </a:lnTo>
                  <a:lnTo>
                    <a:pt x="1215" y="816"/>
                  </a:lnTo>
                  <a:lnTo>
                    <a:pt x="1215" y="824"/>
                  </a:lnTo>
                  <a:lnTo>
                    <a:pt x="1209" y="841"/>
                  </a:lnTo>
                  <a:lnTo>
                    <a:pt x="1210" y="849"/>
                  </a:lnTo>
                  <a:lnTo>
                    <a:pt x="1207" y="872"/>
                  </a:lnTo>
                  <a:lnTo>
                    <a:pt x="1196" y="872"/>
                  </a:lnTo>
                  <a:lnTo>
                    <a:pt x="1184" y="870"/>
                  </a:lnTo>
                  <a:lnTo>
                    <a:pt x="1171" y="872"/>
                  </a:lnTo>
                  <a:lnTo>
                    <a:pt x="1157" y="877"/>
                  </a:lnTo>
                  <a:lnTo>
                    <a:pt x="1140" y="875"/>
                  </a:lnTo>
                  <a:lnTo>
                    <a:pt x="1133" y="871"/>
                  </a:lnTo>
                  <a:lnTo>
                    <a:pt x="1123" y="871"/>
                  </a:lnTo>
                  <a:lnTo>
                    <a:pt x="1118" y="877"/>
                  </a:lnTo>
                  <a:lnTo>
                    <a:pt x="1112" y="884"/>
                  </a:lnTo>
                  <a:lnTo>
                    <a:pt x="1099" y="883"/>
                  </a:lnTo>
                  <a:lnTo>
                    <a:pt x="1087" y="886"/>
                  </a:lnTo>
                  <a:lnTo>
                    <a:pt x="1072" y="890"/>
                  </a:lnTo>
                  <a:lnTo>
                    <a:pt x="1059" y="890"/>
                  </a:lnTo>
                  <a:lnTo>
                    <a:pt x="1045" y="889"/>
                  </a:lnTo>
                  <a:lnTo>
                    <a:pt x="1034" y="885"/>
                  </a:lnTo>
                  <a:lnTo>
                    <a:pt x="1027" y="888"/>
                  </a:lnTo>
                  <a:lnTo>
                    <a:pt x="1010" y="892"/>
                  </a:lnTo>
                  <a:lnTo>
                    <a:pt x="993" y="898"/>
                  </a:lnTo>
                  <a:lnTo>
                    <a:pt x="982" y="901"/>
                  </a:lnTo>
                  <a:lnTo>
                    <a:pt x="978" y="911"/>
                  </a:lnTo>
                  <a:lnTo>
                    <a:pt x="984" y="919"/>
                  </a:lnTo>
                  <a:lnTo>
                    <a:pt x="991" y="924"/>
                  </a:lnTo>
                  <a:lnTo>
                    <a:pt x="989" y="934"/>
                  </a:lnTo>
                  <a:lnTo>
                    <a:pt x="984" y="944"/>
                  </a:lnTo>
                  <a:lnTo>
                    <a:pt x="982" y="955"/>
                  </a:lnTo>
                  <a:lnTo>
                    <a:pt x="988" y="960"/>
                  </a:lnTo>
                  <a:lnTo>
                    <a:pt x="992" y="970"/>
                  </a:lnTo>
                  <a:lnTo>
                    <a:pt x="1004" y="978"/>
                  </a:lnTo>
                  <a:lnTo>
                    <a:pt x="1016" y="983"/>
                  </a:lnTo>
                  <a:lnTo>
                    <a:pt x="1026" y="989"/>
                  </a:lnTo>
                  <a:lnTo>
                    <a:pt x="1030" y="993"/>
                  </a:lnTo>
                  <a:lnTo>
                    <a:pt x="1029" y="1002"/>
                  </a:lnTo>
                  <a:lnTo>
                    <a:pt x="1023" y="1010"/>
                  </a:lnTo>
                  <a:lnTo>
                    <a:pt x="1018" y="1014"/>
                  </a:lnTo>
                  <a:lnTo>
                    <a:pt x="1010" y="1018"/>
                  </a:lnTo>
                  <a:lnTo>
                    <a:pt x="1006" y="1028"/>
                  </a:lnTo>
                  <a:lnTo>
                    <a:pt x="1008" y="1034"/>
                  </a:lnTo>
                  <a:lnTo>
                    <a:pt x="1002" y="1040"/>
                  </a:lnTo>
                  <a:lnTo>
                    <a:pt x="994" y="1038"/>
                  </a:lnTo>
                  <a:lnTo>
                    <a:pt x="987" y="1047"/>
                  </a:lnTo>
                  <a:lnTo>
                    <a:pt x="992" y="1052"/>
                  </a:lnTo>
                  <a:lnTo>
                    <a:pt x="995" y="1060"/>
                  </a:lnTo>
                  <a:lnTo>
                    <a:pt x="1001" y="1065"/>
                  </a:lnTo>
                  <a:lnTo>
                    <a:pt x="1008" y="1070"/>
                  </a:lnTo>
                  <a:lnTo>
                    <a:pt x="1007" y="1078"/>
                  </a:lnTo>
                  <a:lnTo>
                    <a:pt x="998" y="1081"/>
                  </a:lnTo>
                  <a:lnTo>
                    <a:pt x="991" y="1081"/>
                  </a:lnTo>
                  <a:lnTo>
                    <a:pt x="982" y="1083"/>
                  </a:lnTo>
                  <a:lnTo>
                    <a:pt x="971" y="1082"/>
                  </a:lnTo>
                  <a:lnTo>
                    <a:pt x="966" y="1087"/>
                  </a:lnTo>
                  <a:lnTo>
                    <a:pt x="961" y="1093"/>
                  </a:lnTo>
                  <a:lnTo>
                    <a:pt x="952" y="1096"/>
                  </a:lnTo>
                  <a:lnTo>
                    <a:pt x="948" y="1090"/>
                  </a:lnTo>
                  <a:lnTo>
                    <a:pt x="947" y="1085"/>
                  </a:lnTo>
                  <a:lnTo>
                    <a:pt x="943" y="1081"/>
                  </a:lnTo>
                  <a:lnTo>
                    <a:pt x="937" y="1078"/>
                  </a:lnTo>
                  <a:lnTo>
                    <a:pt x="922" y="1076"/>
                  </a:lnTo>
                  <a:lnTo>
                    <a:pt x="909" y="1073"/>
                  </a:lnTo>
                  <a:lnTo>
                    <a:pt x="895" y="1068"/>
                  </a:lnTo>
                  <a:lnTo>
                    <a:pt x="882" y="1065"/>
                  </a:lnTo>
                  <a:lnTo>
                    <a:pt x="865" y="1065"/>
                  </a:lnTo>
                  <a:lnTo>
                    <a:pt x="855" y="1057"/>
                  </a:lnTo>
                  <a:lnTo>
                    <a:pt x="838" y="1047"/>
                  </a:lnTo>
                  <a:lnTo>
                    <a:pt x="827" y="1043"/>
                  </a:lnTo>
                  <a:lnTo>
                    <a:pt x="812" y="1040"/>
                  </a:lnTo>
                  <a:lnTo>
                    <a:pt x="798" y="1035"/>
                  </a:lnTo>
                  <a:lnTo>
                    <a:pt x="783" y="1032"/>
                  </a:lnTo>
                  <a:lnTo>
                    <a:pt x="766" y="1037"/>
                  </a:lnTo>
                  <a:lnTo>
                    <a:pt x="753" y="1045"/>
                  </a:lnTo>
                  <a:lnTo>
                    <a:pt x="734" y="1052"/>
                  </a:lnTo>
                  <a:lnTo>
                    <a:pt x="721" y="1043"/>
                  </a:lnTo>
                  <a:lnTo>
                    <a:pt x="704" y="1039"/>
                  </a:lnTo>
                  <a:lnTo>
                    <a:pt x="689" y="1045"/>
                  </a:lnTo>
                  <a:lnTo>
                    <a:pt x="674" y="1058"/>
                  </a:lnTo>
                  <a:lnTo>
                    <a:pt x="665" y="1065"/>
                  </a:lnTo>
                  <a:lnTo>
                    <a:pt x="650" y="1064"/>
                  </a:lnTo>
                  <a:lnTo>
                    <a:pt x="635" y="1063"/>
                  </a:lnTo>
                  <a:lnTo>
                    <a:pt x="617" y="1065"/>
                  </a:lnTo>
                  <a:lnTo>
                    <a:pt x="602" y="1073"/>
                  </a:lnTo>
                  <a:lnTo>
                    <a:pt x="588" y="1079"/>
                  </a:lnTo>
                  <a:lnTo>
                    <a:pt x="571" y="1083"/>
                  </a:lnTo>
                  <a:lnTo>
                    <a:pt x="557" y="1073"/>
                  </a:lnTo>
                  <a:lnTo>
                    <a:pt x="546" y="1064"/>
                  </a:lnTo>
                  <a:lnTo>
                    <a:pt x="533" y="1053"/>
                  </a:lnTo>
                  <a:lnTo>
                    <a:pt x="514" y="1047"/>
                  </a:lnTo>
                  <a:lnTo>
                    <a:pt x="496" y="1042"/>
                  </a:lnTo>
                  <a:lnTo>
                    <a:pt x="475" y="1034"/>
                  </a:lnTo>
                  <a:lnTo>
                    <a:pt x="466" y="1029"/>
                  </a:lnTo>
                  <a:lnTo>
                    <a:pt x="448" y="1024"/>
                  </a:lnTo>
                  <a:lnTo>
                    <a:pt x="437" y="1031"/>
                  </a:lnTo>
                  <a:lnTo>
                    <a:pt x="420" y="1039"/>
                  </a:lnTo>
                  <a:lnTo>
                    <a:pt x="411" y="1048"/>
                  </a:lnTo>
                  <a:lnTo>
                    <a:pt x="393" y="1044"/>
                  </a:lnTo>
                  <a:lnTo>
                    <a:pt x="380" y="1034"/>
                  </a:lnTo>
                  <a:lnTo>
                    <a:pt x="371" y="1029"/>
                  </a:lnTo>
                  <a:lnTo>
                    <a:pt x="360" y="1025"/>
                  </a:lnTo>
                  <a:lnTo>
                    <a:pt x="342" y="1023"/>
                  </a:lnTo>
                  <a:lnTo>
                    <a:pt x="336" y="1012"/>
                  </a:lnTo>
                  <a:lnTo>
                    <a:pt x="318" y="1013"/>
                  </a:lnTo>
                  <a:lnTo>
                    <a:pt x="306" y="1020"/>
                  </a:lnTo>
                  <a:lnTo>
                    <a:pt x="293" y="1033"/>
                  </a:lnTo>
                  <a:lnTo>
                    <a:pt x="282" y="1046"/>
                  </a:lnTo>
                  <a:lnTo>
                    <a:pt x="283" y="1062"/>
                  </a:lnTo>
                  <a:lnTo>
                    <a:pt x="273" y="1074"/>
                  </a:lnTo>
                  <a:lnTo>
                    <a:pt x="257" y="1081"/>
                  </a:lnTo>
                  <a:lnTo>
                    <a:pt x="236" y="1078"/>
                  </a:lnTo>
                  <a:lnTo>
                    <a:pt x="221" y="1079"/>
                  </a:lnTo>
                  <a:lnTo>
                    <a:pt x="209" y="1075"/>
                  </a:lnTo>
                  <a:lnTo>
                    <a:pt x="206" y="1066"/>
                  </a:lnTo>
                  <a:lnTo>
                    <a:pt x="200" y="1060"/>
                  </a:lnTo>
                  <a:lnTo>
                    <a:pt x="195" y="1060"/>
                  </a:lnTo>
                  <a:lnTo>
                    <a:pt x="190" y="1055"/>
                  </a:lnTo>
                  <a:lnTo>
                    <a:pt x="184" y="1045"/>
                  </a:lnTo>
                  <a:lnTo>
                    <a:pt x="177" y="1034"/>
                  </a:lnTo>
                  <a:lnTo>
                    <a:pt x="172" y="1025"/>
                  </a:lnTo>
                  <a:lnTo>
                    <a:pt x="169" y="1016"/>
                  </a:lnTo>
                  <a:lnTo>
                    <a:pt x="167" y="1005"/>
                  </a:lnTo>
                  <a:lnTo>
                    <a:pt x="165" y="993"/>
                  </a:lnTo>
                  <a:lnTo>
                    <a:pt x="164" y="984"/>
                  </a:lnTo>
                  <a:lnTo>
                    <a:pt x="167" y="975"/>
                  </a:lnTo>
                  <a:lnTo>
                    <a:pt x="159" y="967"/>
                  </a:lnTo>
                  <a:lnTo>
                    <a:pt x="153" y="968"/>
                  </a:lnTo>
                  <a:lnTo>
                    <a:pt x="148" y="965"/>
                  </a:lnTo>
                  <a:lnTo>
                    <a:pt x="140" y="961"/>
                  </a:lnTo>
                  <a:lnTo>
                    <a:pt x="131" y="954"/>
                  </a:lnTo>
                  <a:lnTo>
                    <a:pt x="123" y="951"/>
                  </a:lnTo>
                  <a:lnTo>
                    <a:pt x="115" y="943"/>
                  </a:lnTo>
                  <a:lnTo>
                    <a:pt x="109" y="939"/>
                  </a:lnTo>
                  <a:lnTo>
                    <a:pt x="108" y="931"/>
                  </a:lnTo>
                  <a:lnTo>
                    <a:pt x="102" y="924"/>
                  </a:lnTo>
                  <a:lnTo>
                    <a:pt x="96" y="922"/>
                  </a:lnTo>
                  <a:lnTo>
                    <a:pt x="95" y="917"/>
                  </a:lnTo>
                  <a:lnTo>
                    <a:pt x="91" y="910"/>
                  </a:lnTo>
                  <a:lnTo>
                    <a:pt x="85" y="913"/>
                  </a:lnTo>
                  <a:lnTo>
                    <a:pt x="82" y="906"/>
                  </a:lnTo>
                  <a:lnTo>
                    <a:pt x="74" y="888"/>
                  </a:lnTo>
                  <a:lnTo>
                    <a:pt x="69" y="871"/>
                  </a:lnTo>
                  <a:lnTo>
                    <a:pt x="72" y="852"/>
                  </a:lnTo>
                  <a:lnTo>
                    <a:pt x="72" y="847"/>
                  </a:lnTo>
                  <a:lnTo>
                    <a:pt x="69" y="836"/>
                  </a:lnTo>
                  <a:lnTo>
                    <a:pt x="66" y="827"/>
                  </a:lnTo>
                  <a:lnTo>
                    <a:pt x="59" y="823"/>
                  </a:lnTo>
                  <a:lnTo>
                    <a:pt x="55" y="813"/>
                  </a:lnTo>
                  <a:lnTo>
                    <a:pt x="51" y="805"/>
                  </a:lnTo>
                  <a:lnTo>
                    <a:pt x="47" y="800"/>
                  </a:lnTo>
                  <a:lnTo>
                    <a:pt x="37" y="800"/>
                  </a:lnTo>
                  <a:lnTo>
                    <a:pt x="29" y="798"/>
                  </a:lnTo>
                  <a:lnTo>
                    <a:pt x="25" y="789"/>
                  </a:lnTo>
                  <a:lnTo>
                    <a:pt x="23" y="783"/>
                  </a:lnTo>
                  <a:lnTo>
                    <a:pt x="13" y="780"/>
                  </a:lnTo>
                  <a:lnTo>
                    <a:pt x="8" y="773"/>
                  </a:lnTo>
                  <a:lnTo>
                    <a:pt x="9" y="759"/>
                  </a:lnTo>
                  <a:lnTo>
                    <a:pt x="16" y="753"/>
                  </a:lnTo>
                  <a:lnTo>
                    <a:pt x="27" y="754"/>
                  </a:lnTo>
                  <a:lnTo>
                    <a:pt x="32" y="764"/>
                  </a:lnTo>
                  <a:lnTo>
                    <a:pt x="41" y="769"/>
                  </a:lnTo>
                  <a:lnTo>
                    <a:pt x="46" y="767"/>
                  </a:lnTo>
                  <a:lnTo>
                    <a:pt x="50" y="754"/>
                  </a:lnTo>
                  <a:lnTo>
                    <a:pt x="46" y="745"/>
                  </a:lnTo>
                  <a:lnTo>
                    <a:pt x="43" y="728"/>
                  </a:lnTo>
                  <a:lnTo>
                    <a:pt x="43" y="722"/>
                  </a:lnTo>
                  <a:lnTo>
                    <a:pt x="43" y="700"/>
                  </a:lnTo>
                  <a:lnTo>
                    <a:pt x="43" y="686"/>
                  </a:lnTo>
                  <a:lnTo>
                    <a:pt x="53" y="675"/>
                  </a:lnTo>
                  <a:lnTo>
                    <a:pt x="55" y="669"/>
                  </a:lnTo>
                  <a:lnTo>
                    <a:pt x="55" y="664"/>
                  </a:lnTo>
                  <a:lnTo>
                    <a:pt x="49" y="658"/>
                  </a:lnTo>
                  <a:lnTo>
                    <a:pt x="47" y="649"/>
                  </a:lnTo>
                  <a:lnTo>
                    <a:pt x="47" y="642"/>
                  </a:lnTo>
                  <a:lnTo>
                    <a:pt x="46" y="636"/>
                  </a:lnTo>
                  <a:lnTo>
                    <a:pt x="39" y="638"/>
                  </a:lnTo>
                  <a:lnTo>
                    <a:pt x="27" y="644"/>
                  </a:lnTo>
                  <a:lnTo>
                    <a:pt x="19" y="649"/>
                  </a:lnTo>
                  <a:lnTo>
                    <a:pt x="10" y="646"/>
                  </a:lnTo>
                  <a:lnTo>
                    <a:pt x="2" y="641"/>
                  </a:lnTo>
                  <a:lnTo>
                    <a:pt x="0" y="629"/>
                  </a:lnTo>
                  <a:lnTo>
                    <a:pt x="7" y="615"/>
                  </a:lnTo>
                  <a:lnTo>
                    <a:pt x="18" y="597"/>
                  </a:lnTo>
                  <a:lnTo>
                    <a:pt x="23" y="578"/>
                  </a:lnTo>
                  <a:lnTo>
                    <a:pt x="28" y="562"/>
                  </a:lnTo>
                  <a:lnTo>
                    <a:pt x="36" y="549"/>
                  </a:lnTo>
                  <a:lnTo>
                    <a:pt x="47" y="535"/>
                  </a:lnTo>
                  <a:lnTo>
                    <a:pt x="56" y="526"/>
                  </a:lnTo>
                  <a:lnTo>
                    <a:pt x="69" y="522"/>
                  </a:lnTo>
                  <a:lnTo>
                    <a:pt x="79" y="523"/>
                  </a:lnTo>
                  <a:lnTo>
                    <a:pt x="91" y="518"/>
                  </a:lnTo>
                  <a:lnTo>
                    <a:pt x="113" y="517"/>
                  </a:lnTo>
                  <a:lnTo>
                    <a:pt x="118" y="509"/>
                  </a:lnTo>
                  <a:lnTo>
                    <a:pt x="126" y="502"/>
                  </a:lnTo>
                  <a:lnTo>
                    <a:pt x="131" y="504"/>
                  </a:lnTo>
                  <a:lnTo>
                    <a:pt x="136" y="512"/>
                  </a:lnTo>
                  <a:lnTo>
                    <a:pt x="146" y="508"/>
                  </a:lnTo>
                  <a:lnTo>
                    <a:pt x="151" y="504"/>
                  </a:lnTo>
                  <a:lnTo>
                    <a:pt x="162" y="504"/>
                  </a:lnTo>
                  <a:lnTo>
                    <a:pt x="162" y="515"/>
                  </a:lnTo>
                  <a:lnTo>
                    <a:pt x="155" y="533"/>
                  </a:lnTo>
                  <a:lnTo>
                    <a:pt x="169" y="535"/>
                  </a:lnTo>
                  <a:lnTo>
                    <a:pt x="181" y="535"/>
                  </a:lnTo>
                  <a:lnTo>
                    <a:pt x="190" y="536"/>
                  </a:lnTo>
                  <a:lnTo>
                    <a:pt x="202" y="540"/>
                  </a:lnTo>
                  <a:lnTo>
                    <a:pt x="216" y="542"/>
                  </a:lnTo>
                  <a:lnTo>
                    <a:pt x="222" y="531"/>
                  </a:lnTo>
                  <a:lnTo>
                    <a:pt x="226" y="523"/>
                  </a:lnTo>
                  <a:lnTo>
                    <a:pt x="226" y="510"/>
                  </a:lnTo>
                  <a:lnTo>
                    <a:pt x="239" y="503"/>
                  </a:lnTo>
                  <a:lnTo>
                    <a:pt x="246" y="494"/>
                  </a:lnTo>
                  <a:lnTo>
                    <a:pt x="272" y="507"/>
                  </a:lnTo>
                  <a:lnTo>
                    <a:pt x="287" y="515"/>
                  </a:lnTo>
                  <a:lnTo>
                    <a:pt x="306" y="517"/>
                  </a:lnTo>
                  <a:lnTo>
                    <a:pt x="323" y="520"/>
                  </a:lnTo>
                  <a:lnTo>
                    <a:pt x="335" y="507"/>
                  </a:lnTo>
                  <a:lnTo>
                    <a:pt x="339" y="496"/>
                  </a:lnTo>
                  <a:lnTo>
                    <a:pt x="347" y="492"/>
                  </a:lnTo>
                  <a:lnTo>
                    <a:pt x="358" y="491"/>
                  </a:lnTo>
                  <a:lnTo>
                    <a:pt x="373" y="485"/>
                  </a:lnTo>
                  <a:lnTo>
                    <a:pt x="390" y="484"/>
                  </a:lnTo>
                  <a:lnTo>
                    <a:pt x="406" y="483"/>
                  </a:lnTo>
                  <a:lnTo>
                    <a:pt x="422" y="485"/>
                  </a:lnTo>
                  <a:lnTo>
                    <a:pt x="434" y="481"/>
                  </a:lnTo>
                  <a:lnTo>
                    <a:pt x="450" y="476"/>
                  </a:lnTo>
                  <a:lnTo>
                    <a:pt x="460" y="471"/>
                  </a:lnTo>
                  <a:lnTo>
                    <a:pt x="465" y="463"/>
                  </a:lnTo>
                  <a:lnTo>
                    <a:pt x="465" y="450"/>
                  </a:lnTo>
                  <a:lnTo>
                    <a:pt x="465" y="440"/>
                  </a:lnTo>
                  <a:lnTo>
                    <a:pt x="469" y="422"/>
                  </a:lnTo>
                  <a:lnTo>
                    <a:pt x="478" y="422"/>
                  </a:lnTo>
                  <a:lnTo>
                    <a:pt x="484" y="425"/>
                  </a:lnTo>
                  <a:lnTo>
                    <a:pt x="494" y="403"/>
                  </a:lnTo>
                  <a:lnTo>
                    <a:pt x="500" y="392"/>
                  </a:lnTo>
                  <a:lnTo>
                    <a:pt x="509" y="389"/>
                  </a:lnTo>
                  <a:lnTo>
                    <a:pt x="519" y="373"/>
                  </a:lnTo>
                  <a:lnTo>
                    <a:pt x="521" y="360"/>
                  </a:lnTo>
                  <a:lnTo>
                    <a:pt x="520" y="346"/>
                  </a:lnTo>
                  <a:lnTo>
                    <a:pt x="511" y="333"/>
                  </a:lnTo>
                  <a:lnTo>
                    <a:pt x="506" y="321"/>
                  </a:lnTo>
                  <a:lnTo>
                    <a:pt x="516" y="298"/>
                  </a:lnTo>
                  <a:lnTo>
                    <a:pt x="523" y="289"/>
                  </a:lnTo>
                  <a:lnTo>
                    <a:pt x="525" y="276"/>
                  </a:lnTo>
                  <a:lnTo>
                    <a:pt x="523" y="268"/>
                  </a:lnTo>
                  <a:lnTo>
                    <a:pt x="509" y="257"/>
                  </a:lnTo>
                  <a:lnTo>
                    <a:pt x="519" y="241"/>
                  </a:lnTo>
                  <a:lnTo>
                    <a:pt x="534" y="236"/>
                  </a:lnTo>
                  <a:lnTo>
                    <a:pt x="546" y="245"/>
                  </a:lnTo>
                  <a:lnTo>
                    <a:pt x="561" y="251"/>
                  </a:lnTo>
                  <a:lnTo>
                    <a:pt x="586" y="242"/>
                  </a:lnTo>
                  <a:lnTo>
                    <a:pt x="599" y="244"/>
                  </a:lnTo>
                  <a:lnTo>
                    <a:pt x="619" y="236"/>
                  </a:lnTo>
                  <a:lnTo>
                    <a:pt x="631" y="237"/>
                  </a:lnTo>
                  <a:lnTo>
                    <a:pt x="641" y="246"/>
                  </a:lnTo>
                  <a:lnTo>
                    <a:pt x="655" y="255"/>
                  </a:lnTo>
                  <a:lnTo>
                    <a:pt x="658" y="229"/>
                  </a:lnTo>
                  <a:lnTo>
                    <a:pt x="655" y="221"/>
                  </a:lnTo>
                  <a:lnTo>
                    <a:pt x="666" y="202"/>
                  </a:lnTo>
                  <a:lnTo>
                    <a:pt x="677" y="193"/>
                  </a:lnTo>
                  <a:lnTo>
                    <a:pt x="694" y="175"/>
                  </a:lnTo>
                  <a:lnTo>
                    <a:pt x="702" y="168"/>
                  </a:lnTo>
                  <a:lnTo>
                    <a:pt x="701" y="159"/>
                  </a:lnTo>
                  <a:lnTo>
                    <a:pt x="712" y="145"/>
                  </a:lnTo>
                  <a:lnTo>
                    <a:pt x="730" y="126"/>
                  </a:lnTo>
                  <a:lnTo>
                    <a:pt x="740" y="112"/>
                  </a:lnTo>
                  <a:lnTo>
                    <a:pt x="750" y="115"/>
                  </a:lnTo>
                  <a:lnTo>
                    <a:pt x="760" y="121"/>
                  </a:lnTo>
                  <a:lnTo>
                    <a:pt x="779" y="129"/>
                  </a:lnTo>
                  <a:lnTo>
                    <a:pt x="784" y="130"/>
                  </a:lnTo>
                  <a:lnTo>
                    <a:pt x="793" y="145"/>
                  </a:lnTo>
                  <a:lnTo>
                    <a:pt x="802" y="155"/>
                  </a:lnTo>
                  <a:lnTo>
                    <a:pt x="817" y="150"/>
                  </a:lnTo>
                  <a:lnTo>
                    <a:pt x="830" y="152"/>
                  </a:lnTo>
                  <a:lnTo>
                    <a:pt x="847" y="150"/>
                  </a:lnTo>
                  <a:lnTo>
                    <a:pt x="858" y="148"/>
                  </a:lnTo>
                  <a:lnTo>
                    <a:pt x="869" y="142"/>
                  </a:lnTo>
                  <a:lnTo>
                    <a:pt x="879" y="126"/>
                  </a:lnTo>
                  <a:lnTo>
                    <a:pt x="873" y="126"/>
                  </a:lnTo>
                  <a:lnTo>
                    <a:pt x="880" y="98"/>
                  </a:lnTo>
                  <a:lnTo>
                    <a:pt x="878" y="88"/>
                  </a:lnTo>
                  <a:lnTo>
                    <a:pt x="883" y="74"/>
                  </a:lnTo>
                  <a:lnTo>
                    <a:pt x="894" y="62"/>
                  </a:lnTo>
                  <a:lnTo>
                    <a:pt x="901" y="52"/>
                  </a:lnTo>
                  <a:lnTo>
                    <a:pt x="910" y="46"/>
                  </a:lnTo>
                  <a:lnTo>
                    <a:pt x="922" y="44"/>
                  </a:lnTo>
                  <a:lnTo>
                    <a:pt x="938" y="43"/>
                  </a:lnTo>
                  <a:lnTo>
                    <a:pt x="947" y="43"/>
                  </a:lnTo>
                  <a:lnTo>
                    <a:pt x="955" y="36"/>
                  </a:lnTo>
                  <a:lnTo>
                    <a:pt x="955" y="30"/>
                  </a:lnTo>
                  <a:lnTo>
                    <a:pt x="959" y="20"/>
                  </a:lnTo>
                  <a:lnTo>
                    <a:pt x="965" y="12"/>
                  </a:lnTo>
                  <a:lnTo>
                    <a:pt x="971" y="5"/>
                  </a:lnTo>
                  <a:lnTo>
                    <a:pt x="977" y="1"/>
                  </a:lnTo>
                  <a:lnTo>
                    <a:pt x="984" y="0"/>
                  </a:lnTo>
                  <a:lnTo>
                    <a:pt x="993" y="0"/>
                  </a:lnTo>
                  <a:lnTo>
                    <a:pt x="1007" y="6"/>
                  </a:lnTo>
                  <a:lnTo>
                    <a:pt x="1015" y="5"/>
                  </a:lnTo>
                  <a:lnTo>
                    <a:pt x="1024" y="0"/>
                  </a:lnTo>
                  <a:lnTo>
                    <a:pt x="1028" y="8"/>
                  </a:lnTo>
                  <a:lnTo>
                    <a:pt x="1028" y="17"/>
                  </a:lnTo>
                  <a:lnTo>
                    <a:pt x="1023" y="26"/>
                  </a:lnTo>
                  <a:lnTo>
                    <a:pt x="1023" y="34"/>
                  </a:lnTo>
                  <a:lnTo>
                    <a:pt x="1031" y="44"/>
                  </a:lnTo>
                  <a:lnTo>
                    <a:pt x="1028" y="59"/>
                  </a:lnTo>
                  <a:lnTo>
                    <a:pt x="1031" y="70"/>
                  </a:lnTo>
                  <a:lnTo>
                    <a:pt x="1041" y="80"/>
                  </a:lnTo>
                  <a:lnTo>
                    <a:pt x="1048" y="87"/>
                  </a:lnTo>
                  <a:lnTo>
                    <a:pt x="1055" y="98"/>
                  </a:lnTo>
                  <a:lnTo>
                    <a:pt x="1062" y="105"/>
                  </a:lnTo>
                  <a:lnTo>
                    <a:pt x="1073" y="116"/>
                  </a:lnTo>
                  <a:lnTo>
                    <a:pt x="1081" y="117"/>
                  </a:lnTo>
                  <a:lnTo>
                    <a:pt x="1087" y="112"/>
                  </a:lnTo>
                  <a:lnTo>
                    <a:pt x="1095" y="110"/>
                  </a:lnTo>
                  <a:lnTo>
                    <a:pt x="1100" y="123"/>
                  </a:lnTo>
                  <a:lnTo>
                    <a:pt x="1105" y="131"/>
                  </a:lnTo>
                  <a:lnTo>
                    <a:pt x="1109" y="129"/>
                  </a:lnTo>
                  <a:lnTo>
                    <a:pt x="1113" y="124"/>
                  </a:lnTo>
                  <a:lnTo>
                    <a:pt x="1117" y="126"/>
                  </a:lnTo>
                  <a:lnTo>
                    <a:pt x="1124" y="137"/>
                  </a:lnTo>
                  <a:lnTo>
                    <a:pt x="1127" y="154"/>
                  </a:lnTo>
                  <a:lnTo>
                    <a:pt x="1132" y="168"/>
                  </a:lnTo>
                  <a:lnTo>
                    <a:pt x="1136" y="179"/>
                  </a:lnTo>
                  <a:lnTo>
                    <a:pt x="1137" y="196"/>
                  </a:lnTo>
                  <a:lnTo>
                    <a:pt x="1141" y="208"/>
                  </a:lnTo>
                  <a:lnTo>
                    <a:pt x="1145" y="218"/>
                  </a:lnTo>
                  <a:lnTo>
                    <a:pt x="1150" y="230"/>
                  </a:lnTo>
                  <a:lnTo>
                    <a:pt x="1151" y="237"/>
                  </a:lnTo>
                  <a:lnTo>
                    <a:pt x="1148" y="253"/>
                  </a:lnTo>
                  <a:lnTo>
                    <a:pt x="1144" y="265"/>
                  </a:lnTo>
                  <a:lnTo>
                    <a:pt x="1141" y="278"/>
                  </a:lnTo>
                  <a:lnTo>
                    <a:pt x="1139" y="291"/>
                  </a:lnTo>
                  <a:lnTo>
                    <a:pt x="1133" y="297"/>
                  </a:lnTo>
                  <a:lnTo>
                    <a:pt x="1128" y="303"/>
                  </a:lnTo>
                  <a:lnTo>
                    <a:pt x="1123" y="312"/>
                  </a:lnTo>
                  <a:lnTo>
                    <a:pt x="1115" y="319"/>
                  </a:lnTo>
                  <a:lnTo>
                    <a:pt x="1112" y="327"/>
                  </a:lnTo>
                  <a:lnTo>
                    <a:pt x="1112" y="337"/>
                  </a:lnTo>
                  <a:lnTo>
                    <a:pt x="1110" y="351"/>
                  </a:lnTo>
                  <a:lnTo>
                    <a:pt x="1115" y="360"/>
                  </a:lnTo>
                  <a:lnTo>
                    <a:pt x="1130" y="367"/>
                  </a:lnTo>
                  <a:lnTo>
                    <a:pt x="1143" y="371"/>
                  </a:lnTo>
                  <a:lnTo>
                    <a:pt x="1159" y="375"/>
                  </a:lnTo>
                  <a:lnTo>
                    <a:pt x="1182" y="386"/>
                  </a:lnTo>
                  <a:lnTo>
                    <a:pt x="1208" y="393"/>
                  </a:lnTo>
                  <a:lnTo>
                    <a:pt x="1228" y="396"/>
                  </a:lnTo>
                  <a:lnTo>
                    <a:pt x="1249" y="398"/>
                  </a:lnTo>
                  <a:lnTo>
                    <a:pt x="1262" y="402"/>
                  </a:lnTo>
                  <a:lnTo>
                    <a:pt x="1277" y="412"/>
                  </a:lnTo>
                  <a:lnTo>
                    <a:pt x="1290" y="427"/>
                  </a:lnTo>
                  <a:lnTo>
                    <a:pt x="1303" y="444"/>
                  </a:lnTo>
                  <a:lnTo>
                    <a:pt x="1314" y="457"/>
                  </a:lnTo>
                  <a:lnTo>
                    <a:pt x="1327" y="465"/>
                  </a:lnTo>
                  <a:lnTo>
                    <a:pt x="1344" y="468"/>
                  </a:lnTo>
                  <a:lnTo>
                    <a:pt x="1350" y="469"/>
                  </a:lnTo>
                  <a:lnTo>
                    <a:pt x="1348" y="478"/>
                  </a:lnTo>
                  <a:lnTo>
                    <a:pt x="1344" y="481"/>
                  </a:lnTo>
                  <a:lnTo>
                    <a:pt x="1349" y="492"/>
                  </a:lnTo>
                  <a:lnTo>
                    <a:pt x="1354" y="495"/>
                  </a:lnTo>
                  <a:lnTo>
                    <a:pt x="1363" y="502"/>
                  </a:lnTo>
                  <a:lnTo>
                    <a:pt x="1365" y="516"/>
                  </a:lnTo>
                  <a:lnTo>
                    <a:pt x="1367" y="534"/>
                  </a:lnTo>
                  <a:lnTo>
                    <a:pt x="1371" y="552"/>
                  </a:lnTo>
                  <a:lnTo>
                    <a:pt x="1378" y="567"/>
                  </a:lnTo>
                  <a:lnTo>
                    <a:pt x="1387" y="578"/>
                  </a:lnTo>
                  <a:lnTo>
                    <a:pt x="1397" y="584"/>
                  </a:lnTo>
                  <a:lnTo>
                    <a:pt x="1401" y="593"/>
                  </a:lnTo>
                  <a:lnTo>
                    <a:pt x="1402" y="600"/>
                  </a:lnTo>
                  <a:lnTo>
                    <a:pt x="1406" y="605"/>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58" name="Freeform 8"/>
            <p:cNvSpPr>
              <a:spLocks/>
            </p:cNvSpPr>
            <p:nvPr/>
          </p:nvSpPr>
          <p:spPr bwMode="auto">
            <a:xfrm>
              <a:off x="3667125" y="2557463"/>
              <a:ext cx="1358900" cy="1268412"/>
            </a:xfrm>
            <a:custGeom>
              <a:avLst/>
              <a:gdLst>
                <a:gd name="T0" fmla="*/ 169 w 932"/>
                <a:gd name="T1" fmla="*/ 33 h 870"/>
                <a:gd name="T2" fmla="*/ 109 w 932"/>
                <a:gd name="T3" fmla="*/ 77 h 870"/>
                <a:gd name="T4" fmla="*/ 29 w 932"/>
                <a:gd name="T5" fmla="*/ 130 h 870"/>
                <a:gd name="T6" fmla="*/ 1 w 932"/>
                <a:gd name="T7" fmla="*/ 193 h 870"/>
                <a:gd name="T8" fmla="*/ 14 w 932"/>
                <a:gd name="T9" fmla="*/ 270 h 870"/>
                <a:gd name="T10" fmla="*/ 79 w 932"/>
                <a:gd name="T11" fmla="*/ 290 h 870"/>
                <a:gd name="T12" fmla="*/ 139 w 932"/>
                <a:gd name="T13" fmla="*/ 326 h 870"/>
                <a:gd name="T14" fmla="*/ 232 w 932"/>
                <a:gd name="T15" fmla="*/ 313 h 870"/>
                <a:gd name="T16" fmla="*/ 301 w 932"/>
                <a:gd name="T17" fmla="*/ 313 h 870"/>
                <a:gd name="T18" fmla="*/ 350 w 932"/>
                <a:gd name="T19" fmla="*/ 348 h 870"/>
                <a:gd name="T20" fmla="*/ 391 w 932"/>
                <a:gd name="T21" fmla="*/ 344 h 870"/>
                <a:gd name="T22" fmla="*/ 442 w 932"/>
                <a:gd name="T23" fmla="*/ 412 h 870"/>
                <a:gd name="T24" fmla="*/ 502 w 932"/>
                <a:gd name="T25" fmla="*/ 442 h 870"/>
                <a:gd name="T26" fmla="*/ 536 w 932"/>
                <a:gd name="T27" fmla="*/ 496 h 870"/>
                <a:gd name="T28" fmla="*/ 556 w 932"/>
                <a:gd name="T29" fmla="*/ 586 h 870"/>
                <a:gd name="T30" fmla="*/ 527 w 932"/>
                <a:gd name="T31" fmla="*/ 629 h 870"/>
                <a:gd name="T32" fmla="*/ 486 w 932"/>
                <a:gd name="T33" fmla="*/ 674 h 870"/>
                <a:gd name="T34" fmla="*/ 446 w 932"/>
                <a:gd name="T35" fmla="*/ 727 h 870"/>
                <a:gd name="T36" fmla="*/ 435 w 932"/>
                <a:gd name="T37" fmla="*/ 747 h 870"/>
                <a:gd name="T38" fmla="*/ 477 w 932"/>
                <a:gd name="T39" fmla="*/ 824 h 870"/>
                <a:gd name="T40" fmla="*/ 501 w 932"/>
                <a:gd name="T41" fmla="*/ 769 h 870"/>
                <a:gd name="T42" fmla="*/ 554 w 932"/>
                <a:gd name="T43" fmla="*/ 740 h 870"/>
                <a:gd name="T44" fmla="*/ 611 w 932"/>
                <a:gd name="T45" fmla="*/ 790 h 870"/>
                <a:gd name="T46" fmla="*/ 658 w 932"/>
                <a:gd name="T47" fmla="*/ 862 h 870"/>
                <a:gd name="T48" fmla="*/ 704 w 932"/>
                <a:gd name="T49" fmla="*/ 843 h 870"/>
                <a:gd name="T50" fmla="*/ 741 w 932"/>
                <a:gd name="T51" fmla="*/ 835 h 870"/>
                <a:gd name="T52" fmla="*/ 749 w 932"/>
                <a:gd name="T53" fmla="*/ 795 h 870"/>
                <a:gd name="T54" fmla="*/ 785 w 932"/>
                <a:gd name="T55" fmla="*/ 798 h 870"/>
                <a:gd name="T56" fmla="*/ 787 w 932"/>
                <a:gd name="T57" fmla="*/ 737 h 870"/>
                <a:gd name="T58" fmla="*/ 780 w 932"/>
                <a:gd name="T59" fmla="*/ 689 h 870"/>
                <a:gd name="T60" fmla="*/ 811 w 932"/>
                <a:gd name="T61" fmla="*/ 664 h 870"/>
                <a:gd name="T62" fmla="*/ 864 w 932"/>
                <a:gd name="T63" fmla="*/ 669 h 870"/>
                <a:gd name="T64" fmla="*/ 900 w 932"/>
                <a:gd name="T65" fmla="*/ 654 h 870"/>
                <a:gd name="T66" fmla="*/ 917 w 932"/>
                <a:gd name="T67" fmla="*/ 613 h 870"/>
                <a:gd name="T68" fmla="*/ 929 w 932"/>
                <a:gd name="T69" fmla="*/ 576 h 870"/>
                <a:gd name="T70" fmla="*/ 904 w 932"/>
                <a:gd name="T71" fmla="*/ 548 h 870"/>
                <a:gd name="T72" fmla="*/ 857 w 932"/>
                <a:gd name="T73" fmla="*/ 526 h 870"/>
                <a:gd name="T74" fmla="*/ 822 w 932"/>
                <a:gd name="T75" fmla="*/ 500 h 870"/>
                <a:gd name="T76" fmla="*/ 787 w 932"/>
                <a:gd name="T77" fmla="*/ 529 h 870"/>
                <a:gd name="T78" fmla="*/ 813 w 932"/>
                <a:gd name="T79" fmla="*/ 592 h 870"/>
                <a:gd name="T80" fmla="*/ 780 w 932"/>
                <a:gd name="T81" fmla="*/ 631 h 870"/>
                <a:gd name="T82" fmla="*/ 753 w 932"/>
                <a:gd name="T83" fmla="*/ 638 h 870"/>
                <a:gd name="T84" fmla="*/ 724 w 932"/>
                <a:gd name="T85" fmla="*/ 612 h 870"/>
                <a:gd name="T86" fmla="*/ 712 w 932"/>
                <a:gd name="T87" fmla="*/ 550 h 870"/>
                <a:gd name="T88" fmla="*/ 687 w 932"/>
                <a:gd name="T89" fmla="*/ 500 h 870"/>
                <a:gd name="T90" fmla="*/ 644 w 932"/>
                <a:gd name="T91" fmla="*/ 474 h 870"/>
                <a:gd name="T92" fmla="*/ 592 w 932"/>
                <a:gd name="T93" fmla="*/ 417 h 870"/>
                <a:gd name="T94" fmla="*/ 628 w 932"/>
                <a:gd name="T95" fmla="*/ 358 h 870"/>
                <a:gd name="T96" fmla="*/ 613 w 932"/>
                <a:gd name="T97" fmla="*/ 301 h 870"/>
                <a:gd name="T98" fmla="*/ 528 w 932"/>
                <a:gd name="T99" fmla="*/ 319 h 870"/>
                <a:gd name="T100" fmla="*/ 480 w 932"/>
                <a:gd name="T101" fmla="*/ 348 h 870"/>
                <a:gd name="T102" fmla="*/ 399 w 932"/>
                <a:gd name="T103" fmla="*/ 275 h 870"/>
                <a:gd name="T104" fmla="*/ 402 w 932"/>
                <a:gd name="T105" fmla="*/ 184 h 870"/>
                <a:gd name="T106" fmla="*/ 291 w 932"/>
                <a:gd name="T107" fmla="*/ 186 h 870"/>
                <a:gd name="T108" fmla="*/ 246 w 932"/>
                <a:gd name="T109" fmla="*/ 102 h 870"/>
                <a:gd name="T110" fmla="*/ 235 w 932"/>
                <a:gd name="T111" fmla="*/ 3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2" h="870">
                  <a:moveTo>
                    <a:pt x="199" y="0"/>
                  </a:moveTo>
                  <a:lnTo>
                    <a:pt x="197" y="7"/>
                  </a:lnTo>
                  <a:lnTo>
                    <a:pt x="190" y="7"/>
                  </a:lnTo>
                  <a:lnTo>
                    <a:pt x="181" y="8"/>
                  </a:lnTo>
                  <a:lnTo>
                    <a:pt x="173" y="13"/>
                  </a:lnTo>
                  <a:lnTo>
                    <a:pt x="172" y="19"/>
                  </a:lnTo>
                  <a:lnTo>
                    <a:pt x="169" y="33"/>
                  </a:lnTo>
                  <a:lnTo>
                    <a:pt x="169" y="44"/>
                  </a:lnTo>
                  <a:lnTo>
                    <a:pt x="172" y="58"/>
                  </a:lnTo>
                  <a:lnTo>
                    <a:pt x="169" y="69"/>
                  </a:lnTo>
                  <a:lnTo>
                    <a:pt x="159" y="74"/>
                  </a:lnTo>
                  <a:lnTo>
                    <a:pt x="141" y="75"/>
                  </a:lnTo>
                  <a:lnTo>
                    <a:pt x="124" y="77"/>
                  </a:lnTo>
                  <a:lnTo>
                    <a:pt x="109" y="77"/>
                  </a:lnTo>
                  <a:lnTo>
                    <a:pt x="94" y="79"/>
                  </a:lnTo>
                  <a:lnTo>
                    <a:pt x="79" y="83"/>
                  </a:lnTo>
                  <a:lnTo>
                    <a:pt x="65" y="94"/>
                  </a:lnTo>
                  <a:lnTo>
                    <a:pt x="54" y="103"/>
                  </a:lnTo>
                  <a:lnTo>
                    <a:pt x="45" y="110"/>
                  </a:lnTo>
                  <a:lnTo>
                    <a:pt x="36" y="121"/>
                  </a:lnTo>
                  <a:lnTo>
                    <a:pt x="29" y="130"/>
                  </a:lnTo>
                  <a:lnTo>
                    <a:pt x="21" y="138"/>
                  </a:lnTo>
                  <a:lnTo>
                    <a:pt x="20" y="152"/>
                  </a:lnTo>
                  <a:lnTo>
                    <a:pt x="14" y="156"/>
                  </a:lnTo>
                  <a:lnTo>
                    <a:pt x="9" y="161"/>
                  </a:lnTo>
                  <a:lnTo>
                    <a:pt x="6" y="170"/>
                  </a:lnTo>
                  <a:lnTo>
                    <a:pt x="6" y="180"/>
                  </a:lnTo>
                  <a:lnTo>
                    <a:pt x="1" y="193"/>
                  </a:lnTo>
                  <a:lnTo>
                    <a:pt x="3" y="203"/>
                  </a:lnTo>
                  <a:lnTo>
                    <a:pt x="8" y="211"/>
                  </a:lnTo>
                  <a:lnTo>
                    <a:pt x="8" y="219"/>
                  </a:lnTo>
                  <a:lnTo>
                    <a:pt x="2" y="236"/>
                  </a:lnTo>
                  <a:lnTo>
                    <a:pt x="3" y="244"/>
                  </a:lnTo>
                  <a:lnTo>
                    <a:pt x="0" y="267"/>
                  </a:lnTo>
                  <a:lnTo>
                    <a:pt x="14" y="270"/>
                  </a:lnTo>
                  <a:lnTo>
                    <a:pt x="23" y="267"/>
                  </a:lnTo>
                  <a:lnTo>
                    <a:pt x="34" y="267"/>
                  </a:lnTo>
                  <a:lnTo>
                    <a:pt x="44" y="269"/>
                  </a:lnTo>
                  <a:lnTo>
                    <a:pt x="53" y="276"/>
                  </a:lnTo>
                  <a:lnTo>
                    <a:pt x="62" y="280"/>
                  </a:lnTo>
                  <a:lnTo>
                    <a:pt x="71" y="284"/>
                  </a:lnTo>
                  <a:lnTo>
                    <a:pt x="79" y="290"/>
                  </a:lnTo>
                  <a:lnTo>
                    <a:pt x="89" y="290"/>
                  </a:lnTo>
                  <a:lnTo>
                    <a:pt x="100" y="289"/>
                  </a:lnTo>
                  <a:lnTo>
                    <a:pt x="107" y="291"/>
                  </a:lnTo>
                  <a:lnTo>
                    <a:pt x="117" y="301"/>
                  </a:lnTo>
                  <a:lnTo>
                    <a:pt x="126" y="316"/>
                  </a:lnTo>
                  <a:lnTo>
                    <a:pt x="129" y="323"/>
                  </a:lnTo>
                  <a:lnTo>
                    <a:pt x="139" y="326"/>
                  </a:lnTo>
                  <a:lnTo>
                    <a:pt x="153" y="322"/>
                  </a:lnTo>
                  <a:lnTo>
                    <a:pt x="170" y="316"/>
                  </a:lnTo>
                  <a:lnTo>
                    <a:pt x="186" y="307"/>
                  </a:lnTo>
                  <a:lnTo>
                    <a:pt x="198" y="305"/>
                  </a:lnTo>
                  <a:lnTo>
                    <a:pt x="210" y="305"/>
                  </a:lnTo>
                  <a:lnTo>
                    <a:pt x="219" y="310"/>
                  </a:lnTo>
                  <a:lnTo>
                    <a:pt x="232" y="313"/>
                  </a:lnTo>
                  <a:lnTo>
                    <a:pt x="245" y="311"/>
                  </a:lnTo>
                  <a:lnTo>
                    <a:pt x="256" y="311"/>
                  </a:lnTo>
                  <a:lnTo>
                    <a:pt x="266" y="309"/>
                  </a:lnTo>
                  <a:lnTo>
                    <a:pt x="281" y="300"/>
                  </a:lnTo>
                  <a:lnTo>
                    <a:pt x="288" y="302"/>
                  </a:lnTo>
                  <a:lnTo>
                    <a:pt x="296" y="307"/>
                  </a:lnTo>
                  <a:lnTo>
                    <a:pt x="301" y="313"/>
                  </a:lnTo>
                  <a:lnTo>
                    <a:pt x="308" y="321"/>
                  </a:lnTo>
                  <a:lnTo>
                    <a:pt x="317" y="329"/>
                  </a:lnTo>
                  <a:lnTo>
                    <a:pt x="327" y="336"/>
                  </a:lnTo>
                  <a:lnTo>
                    <a:pt x="330" y="333"/>
                  </a:lnTo>
                  <a:lnTo>
                    <a:pt x="335" y="332"/>
                  </a:lnTo>
                  <a:lnTo>
                    <a:pt x="343" y="337"/>
                  </a:lnTo>
                  <a:lnTo>
                    <a:pt x="350" y="348"/>
                  </a:lnTo>
                  <a:lnTo>
                    <a:pt x="354" y="354"/>
                  </a:lnTo>
                  <a:lnTo>
                    <a:pt x="361" y="348"/>
                  </a:lnTo>
                  <a:lnTo>
                    <a:pt x="367" y="343"/>
                  </a:lnTo>
                  <a:lnTo>
                    <a:pt x="373" y="339"/>
                  </a:lnTo>
                  <a:lnTo>
                    <a:pt x="381" y="337"/>
                  </a:lnTo>
                  <a:lnTo>
                    <a:pt x="386" y="341"/>
                  </a:lnTo>
                  <a:lnTo>
                    <a:pt x="391" y="344"/>
                  </a:lnTo>
                  <a:lnTo>
                    <a:pt x="394" y="364"/>
                  </a:lnTo>
                  <a:lnTo>
                    <a:pt x="399" y="376"/>
                  </a:lnTo>
                  <a:lnTo>
                    <a:pt x="410" y="387"/>
                  </a:lnTo>
                  <a:lnTo>
                    <a:pt x="420" y="389"/>
                  </a:lnTo>
                  <a:lnTo>
                    <a:pt x="430" y="393"/>
                  </a:lnTo>
                  <a:lnTo>
                    <a:pt x="435" y="404"/>
                  </a:lnTo>
                  <a:lnTo>
                    <a:pt x="442" y="412"/>
                  </a:lnTo>
                  <a:lnTo>
                    <a:pt x="448" y="424"/>
                  </a:lnTo>
                  <a:lnTo>
                    <a:pt x="462" y="439"/>
                  </a:lnTo>
                  <a:lnTo>
                    <a:pt x="472" y="437"/>
                  </a:lnTo>
                  <a:lnTo>
                    <a:pt x="481" y="433"/>
                  </a:lnTo>
                  <a:lnTo>
                    <a:pt x="487" y="432"/>
                  </a:lnTo>
                  <a:lnTo>
                    <a:pt x="494" y="435"/>
                  </a:lnTo>
                  <a:lnTo>
                    <a:pt x="502" y="442"/>
                  </a:lnTo>
                  <a:lnTo>
                    <a:pt x="510" y="453"/>
                  </a:lnTo>
                  <a:lnTo>
                    <a:pt x="519" y="463"/>
                  </a:lnTo>
                  <a:lnTo>
                    <a:pt x="526" y="476"/>
                  </a:lnTo>
                  <a:lnTo>
                    <a:pt x="529" y="481"/>
                  </a:lnTo>
                  <a:lnTo>
                    <a:pt x="534" y="484"/>
                  </a:lnTo>
                  <a:lnTo>
                    <a:pt x="538" y="490"/>
                  </a:lnTo>
                  <a:lnTo>
                    <a:pt x="536" y="496"/>
                  </a:lnTo>
                  <a:lnTo>
                    <a:pt x="529" y="500"/>
                  </a:lnTo>
                  <a:lnTo>
                    <a:pt x="530" y="510"/>
                  </a:lnTo>
                  <a:lnTo>
                    <a:pt x="536" y="525"/>
                  </a:lnTo>
                  <a:lnTo>
                    <a:pt x="547" y="540"/>
                  </a:lnTo>
                  <a:lnTo>
                    <a:pt x="556" y="558"/>
                  </a:lnTo>
                  <a:lnTo>
                    <a:pt x="557" y="571"/>
                  </a:lnTo>
                  <a:lnTo>
                    <a:pt x="556" y="586"/>
                  </a:lnTo>
                  <a:lnTo>
                    <a:pt x="554" y="594"/>
                  </a:lnTo>
                  <a:lnTo>
                    <a:pt x="548" y="609"/>
                  </a:lnTo>
                  <a:lnTo>
                    <a:pt x="545" y="620"/>
                  </a:lnTo>
                  <a:lnTo>
                    <a:pt x="538" y="620"/>
                  </a:lnTo>
                  <a:lnTo>
                    <a:pt x="530" y="620"/>
                  </a:lnTo>
                  <a:lnTo>
                    <a:pt x="527" y="624"/>
                  </a:lnTo>
                  <a:lnTo>
                    <a:pt x="527" y="629"/>
                  </a:lnTo>
                  <a:lnTo>
                    <a:pt x="523" y="638"/>
                  </a:lnTo>
                  <a:lnTo>
                    <a:pt x="518" y="637"/>
                  </a:lnTo>
                  <a:lnTo>
                    <a:pt x="511" y="637"/>
                  </a:lnTo>
                  <a:lnTo>
                    <a:pt x="508" y="645"/>
                  </a:lnTo>
                  <a:lnTo>
                    <a:pt x="498" y="669"/>
                  </a:lnTo>
                  <a:lnTo>
                    <a:pt x="490" y="671"/>
                  </a:lnTo>
                  <a:lnTo>
                    <a:pt x="486" y="674"/>
                  </a:lnTo>
                  <a:lnTo>
                    <a:pt x="482" y="679"/>
                  </a:lnTo>
                  <a:lnTo>
                    <a:pt x="479" y="694"/>
                  </a:lnTo>
                  <a:lnTo>
                    <a:pt x="479" y="712"/>
                  </a:lnTo>
                  <a:lnTo>
                    <a:pt x="481" y="724"/>
                  </a:lnTo>
                  <a:lnTo>
                    <a:pt x="474" y="729"/>
                  </a:lnTo>
                  <a:lnTo>
                    <a:pt x="461" y="730"/>
                  </a:lnTo>
                  <a:lnTo>
                    <a:pt x="446" y="727"/>
                  </a:lnTo>
                  <a:lnTo>
                    <a:pt x="440" y="720"/>
                  </a:lnTo>
                  <a:lnTo>
                    <a:pt x="433" y="718"/>
                  </a:lnTo>
                  <a:lnTo>
                    <a:pt x="425" y="718"/>
                  </a:lnTo>
                  <a:lnTo>
                    <a:pt x="421" y="718"/>
                  </a:lnTo>
                  <a:lnTo>
                    <a:pt x="420" y="725"/>
                  </a:lnTo>
                  <a:lnTo>
                    <a:pt x="423" y="734"/>
                  </a:lnTo>
                  <a:lnTo>
                    <a:pt x="435" y="747"/>
                  </a:lnTo>
                  <a:lnTo>
                    <a:pt x="448" y="751"/>
                  </a:lnTo>
                  <a:lnTo>
                    <a:pt x="463" y="759"/>
                  </a:lnTo>
                  <a:lnTo>
                    <a:pt x="469" y="766"/>
                  </a:lnTo>
                  <a:lnTo>
                    <a:pt x="471" y="780"/>
                  </a:lnTo>
                  <a:lnTo>
                    <a:pt x="475" y="792"/>
                  </a:lnTo>
                  <a:lnTo>
                    <a:pt x="476" y="808"/>
                  </a:lnTo>
                  <a:lnTo>
                    <a:pt x="477" y="824"/>
                  </a:lnTo>
                  <a:lnTo>
                    <a:pt x="489" y="810"/>
                  </a:lnTo>
                  <a:lnTo>
                    <a:pt x="494" y="802"/>
                  </a:lnTo>
                  <a:lnTo>
                    <a:pt x="501" y="802"/>
                  </a:lnTo>
                  <a:lnTo>
                    <a:pt x="508" y="797"/>
                  </a:lnTo>
                  <a:lnTo>
                    <a:pt x="510" y="790"/>
                  </a:lnTo>
                  <a:lnTo>
                    <a:pt x="504" y="775"/>
                  </a:lnTo>
                  <a:lnTo>
                    <a:pt x="501" y="769"/>
                  </a:lnTo>
                  <a:lnTo>
                    <a:pt x="494" y="758"/>
                  </a:lnTo>
                  <a:lnTo>
                    <a:pt x="496" y="742"/>
                  </a:lnTo>
                  <a:lnTo>
                    <a:pt x="502" y="733"/>
                  </a:lnTo>
                  <a:lnTo>
                    <a:pt x="515" y="731"/>
                  </a:lnTo>
                  <a:lnTo>
                    <a:pt x="531" y="731"/>
                  </a:lnTo>
                  <a:lnTo>
                    <a:pt x="545" y="734"/>
                  </a:lnTo>
                  <a:lnTo>
                    <a:pt x="554" y="740"/>
                  </a:lnTo>
                  <a:lnTo>
                    <a:pt x="554" y="749"/>
                  </a:lnTo>
                  <a:lnTo>
                    <a:pt x="555" y="761"/>
                  </a:lnTo>
                  <a:lnTo>
                    <a:pt x="560" y="767"/>
                  </a:lnTo>
                  <a:lnTo>
                    <a:pt x="571" y="774"/>
                  </a:lnTo>
                  <a:lnTo>
                    <a:pt x="585" y="779"/>
                  </a:lnTo>
                  <a:lnTo>
                    <a:pt x="599" y="781"/>
                  </a:lnTo>
                  <a:lnTo>
                    <a:pt x="611" y="790"/>
                  </a:lnTo>
                  <a:lnTo>
                    <a:pt x="620" y="795"/>
                  </a:lnTo>
                  <a:lnTo>
                    <a:pt x="628" y="803"/>
                  </a:lnTo>
                  <a:lnTo>
                    <a:pt x="629" y="813"/>
                  </a:lnTo>
                  <a:lnTo>
                    <a:pt x="628" y="826"/>
                  </a:lnTo>
                  <a:lnTo>
                    <a:pt x="633" y="844"/>
                  </a:lnTo>
                  <a:lnTo>
                    <a:pt x="644" y="858"/>
                  </a:lnTo>
                  <a:lnTo>
                    <a:pt x="658" y="862"/>
                  </a:lnTo>
                  <a:lnTo>
                    <a:pt x="670" y="866"/>
                  </a:lnTo>
                  <a:lnTo>
                    <a:pt x="677" y="869"/>
                  </a:lnTo>
                  <a:lnTo>
                    <a:pt x="689" y="868"/>
                  </a:lnTo>
                  <a:lnTo>
                    <a:pt x="698" y="864"/>
                  </a:lnTo>
                  <a:lnTo>
                    <a:pt x="707" y="857"/>
                  </a:lnTo>
                  <a:lnTo>
                    <a:pt x="705" y="851"/>
                  </a:lnTo>
                  <a:lnTo>
                    <a:pt x="704" y="843"/>
                  </a:lnTo>
                  <a:lnTo>
                    <a:pt x="709" y="842"/>
                  </a:lnTo>
                  <a:lnTo>
                    <a:pt x="719" y="840"/>
                  </a:lnTo>
                  <a:lnTo>
                    <a:pt x="727" y="843"/>
                  </a:lnTo>
                  <a:lnTo>
                    <a:pt x="732" y="846"/>
                  </a:lnTo>
                  <a:lnTo>
                    <a:pt x="735" y="846"/>
                  </a:lnTo>
                  <a:lnTo>
                    <a:pt x="737" y="841"/>
                  </a:lnTo>
                  <a:lnTo>
                    <a:pt x="741" y="835"/>
                  </a:lnTo>
                  <a:lnTo>
                    <a:pt x="743" y="830"/>
                  </a:lnTo>
                  <a:lnTo>
                    <a:pt x="746" y="823"/>
                  </a:lnTo>
                  <a:lnTo>
                    <a:pt x="747" y="818"/>
                  </a:lnTo>
                  <a:lnTo>
                    <a:pt x="748" y="815"/>
                  </a:lnTo>
                  <a:lnTo>
                    <a:pt x="746" y="807"/>
                  </a:lnTo>
                  <a:lnTo>
                    <a:pt x="746" y="800"/>
                  </a:lnTo>
                  <a:lnTo>
                    <a:pt x="749" y="795"/>
                  </a:lnTo>
                  <a:lnTo>
                    <a:pt x="751" y="801"/>
                  </a:lnTo>
                  <a:lnTo>
                    <a:pt x="758" y="797"/>
                  </a:lnTo>
                  <a:lnTo>
                    <a:pt x="764" y="798"/>
                  </a:lnTo>
                  <a:lnTo>
                    <a:pt x="770" y="796"/>
                  </a:lnTo>
                  <a:lnTo>
                    <a:pt x="775" y="795"/>
                  </a:lnTo>
                  <a:lnTo>
                    <a:pt x="780" y="797"/>
                  </a:lnTo>
                  <a:lnTo>
                    <a:pt x="785" y="798"/>
                  </a:lnTo>
                  <a:lnTo>
                    <a:pt x="787" y="791"/>
                  </a:lnTo>
                  <a:lnTo>
                    <a:pt x="786" y="781"/>
                  </a:lnTo>
                  <a:lnTo>
                    <a:pt x="783" y="771"/>
                  </a:lnTo>
                  <a:lnTo>
                    <a:pt x="784" y="759"/>
                  </a:lnTo>
                  <a:lnTo>
                    <a:pt x="784" y="754"/>
                  </a:lnTo>
                  <a:lnTo>
                    <a:pt x="786" y="748"/>
                  </a:lnTo>
                  <a:lnTo>
                    <a:pt x="787" y="737"/>
                  </a:lnTo>
                  <a:lnTo>
                    <a:pt x="790" y="730"/>
                  </a:lnTo>
                  <a:lnTo>
                    <a:pt x="793" y="723"/>
                  </a:lnTo>
                  <a:lnTo>
                    <a:pt x="790" y="716"/>
                  </a:lnTo>
                  <a:lnTo>
                    <a:pt x="785" y="709"/>
                  </a:lnTo>
                  <a:lnTo>
                    <a:pt x="779" y="705"/>
                  </a:lnTo>
                  <a:lnTo>
                    <a:pt x="777" y="699"/>
                  </a:lnTo>
                  <a:lnTo>
                    <a:pt x="780" y="689"/>
                  </a:lnTo>
                  <a:lnTo>
                    <a:pt x="780" y="683"/>
                  </a:lnTo>
                  <a:lnTo>
                    <a:pt x="782" y="677"/>
                  </a:lnTo>
                  <a:lnTo>
                    <a:pt x="784" y="672"/>
                  </a:lnTo>
                  <a:lnTo>
                    <a:pt x="787" y="666"/>
                  </a:lnTo>
                  <a:lnTo>
                    <a:pt x="795" y="661"/>
                  </a:lnTo>
                  <a:lnTo>
                    <a:pt x="803" y="662"/>
                  </a:lnTo>
                  <a:lnTo>
                    <a:pt x="811" y="664"/>
                  </a:lnTo>
                  <a:lnTo>
                    <a:pt x="820" y="668"/>
                  </a:lnTo>
                  <a:lnTo>
                    <a:pt x="826" y="674"/>
                  </a:lnTo>
                  <a:lnTo>
                    <a:pt x="833" y="679"/>
                  </a:lnTo>
                  <a:lnTo>
                    <a:pt x="839" y="682"/>
                  </a:lnTo>
                  <a:lnTo>
                    <a:pt x="849" y="681"/>
                  </a:lnTo>
                  <a:lnTo>
                    <a:pt x="861" y="676"/>
                  </a:lnTo>
                  <a:lnTo>
                    <a:pt x="864" y="669"/>
                  </a:lnTo>
                  <a:lnTo>
                    <a:pt x="862" y="663"/>
                  </a:lnTo>
                  <a:lnTo>
                    <a:pt x="862" y="657"/>
                  </a:lnTo>
                  <a:lnTo>
                    <a:pt x="867" y="653"/>
                  </a:lnTo>
                  <a:lnTo>
                    <a:pt x="876" y="654"/>
                  </a:lnTo>
                  <a:lnTo>
                    <a:pt x="883" y="658"/>
                  </a:lnTo>
                  <a:lnTo>
                    <a:pt x="890" y="656"/>
                  </a:lnTo>
                  <a:lnTo>
                    <a:pt x="900" y="654"/>
                  </a:lnTo>
                  <a:lnTo>
                    <a:pt x="906" y="649"/>
                  </a:lnTo>
                  <a:lnTo>
                    <a:pt x="915" y="646"/>
                  </a:lnTo>
                  <a:lnTo>
                    <a:pt x="921" y="640"/>
                  </a:lnTo>
                  <a:lnTo>
                    <a:pt x="922" y="635"/>
                  </a:lnTo>
                  <a:lnTo>
                    <a:pt x="922" y="625"/>
                  </a:lnTo>
                  <a:lnTo>
                    <a:pt x="920" y="620"/>
                  </a:lnTo>
                  <a:lnTo>
                    <a:pt x="917" y="613"/>
                  </a:lnTo>
                  <a:lnTo>
                    <a:pt x="916" y="605"/>
                  </a:lnTo>
                  <a:lnTo>
                    <a:pt x="916" y="601"/>
                  </a:lnTo>
                  <a:lnTo>
                    <a:pt x="916" y="596"/>
                  </a:lnTo>
                  <a:lnTo>
                    <a:pt x="919" y="591"/>
                  </a:lnTo>
                  <a:lnTo>
                    <a:pt x="922" y="586"/>
                  </a:lnTo>
                  <a:lnTo>
                    <a:pt x="926" y="583"/>
                  </a:lnTo>
                  <a:lnTo>
                    <a:pt x="929" y="576"/>
                  </a:lnTo>
                  <a:lnTo>
                    <a:pt x="930" y="571"/>
                  </a:lnTo>
                  <a:lnTo>
                    <a:pt x="931" y="566"/>
                  </a:lnTo>
                  <a:lnTo>
                    <a:pt x="927" y="557"/>
                  </a:lnTo>
                  <a:lnTo>
                    <a:pt x="924" y="553"/>
                  </a:lnTo>
                  <a:lnTo>
                    <a:pt x="917" y="550"/>
                  </a:lnTo>
                  <a:lnTo>
                    <a:pt x="910" y="549"/>
                  </a:lnTo>
                  <a:lnTo>
                    <a:pt x="904" y="548"/>
                  </a:lnTo>
                  <a:lnTo>
                    <a:pt x="898" y="545"/>
                  </a:lnTo>
                  <a:lnTo>
                    <a:pt x="892" y="542"/>
                  </a:lnTo>
                  <a:lnTo>
                    <a:pt x="884" y="540"/>
                  </a:lnTo>
                  <a:lnTo>
                    <a:pt x="878" y="538"/>
                  </a:lnTo>
                  <a:lnTo>
                    <a:pt x="870" y="534"/>
                  </a:lnTo>
                  <a:lnTo>
                    <a:pt x="862" y="530"/>
                  </a:lnTo>
                  <a:lnTo>
                    <a:pt x="857" y="526"/>
                  </a:lnTo>
                  <a:lnTo>
                    <a:pt x="853" y="520"/>
                  </a:lnTo>
                  <a:lnTo>
                    <a:pt x="848" y="514"/>
                  </a:lnTo>
                  <a:lnTo>
                    <a:pt x="843" y="512"/>
                  </a:lnTo>
                  <a:lnTo>
                    <a:pt x="840" y="508"/>
                  </a:lnTo>
                  <a:lnTo>
                    <a:pt x="836" y="504"/>
                  </a:lnTo>
                  <a:lnTo>
                    <a:pt x="830" y="501"/>
                  </a:lnTo>
                  <a:lnTo>
                    <a:pt x="822" y="500"/>
                  </a:lnTo>
                  <a:lnTo>
                    <a:pt x="818" y="500"/>
                  </a:lnTo>
                  <a:lnTo>
                    <a:pt x="811" y="496"/>
                  </a:lnTo>
                  <a:lnTo>
                    <a:pt x="806" y="498"/>
                  </a:lnTo>
                  <a:lnTo>
                    <a:pt x="798" y="504"/>
                  </a:lnTo>
                  <a:lnTo>
                    <a:pt x="797" y="510"/>
                  </a:lnTo>
                  <a:lnTo>
                    <a:pt x="793" y="524"/>
                  </a:lnTo>
                  <a:lnTo>
                    <a:pt x="787" y="529"/>
                  </a:lnTo>
                  <a:lnTo>
                    <a:pt x="780" y="544"/>
                  </a:lnTo>
                  <a:lnTo>
                    <a:pt x="782" y="558"/>
                  </a:lnTo>
                  <a:lnTo>
                    <a:pt x="793" y="565"/>
                  </a:lnTo>
                  <a:lnTo>
                    <a:pt x="799" y="572"/>
                  </a:lnTo>
                  <a:lnTo>
                    <a:pt x="806" y="578"/>
                  </a:lnTo>
                  <a:lnTo>
                    <a:pt x="811" y="585"/>
                  </a:lnTo>
                  <a:lnTo>
                    <a:pt x="813" y="592"/>
                  </a:lnTo>
                  <a:lnTo>
                    <a:pt x="811" y="600"/>
                  </a:lnTo>
                  <a:lnTo>
                    <a:pt x="810" y="605"/>
                  </a:lnTo>
                  <a:lnTo>
                    <a:pt x="804" y="612"/>
                  </a:lnTo>
                  <a:lnTo>
                    <a:pt x="795" y="614"/>
                  </a:lnTo>
                  <a:lnTo>
                    <a:pt x="786" y="616"/>
                  </a:lnTo>
                  <a:lnTo>
                    <a:pt x="782" y="622"/>
                  </a:lnTo>
                  <a:lnTo>
                    <a:pt x="780" y="631"/>
                  </a:lnTo>
                  <a:lnTo>
                    <a:pt x="778" y="641"/>
                  </a:lnTo>
                  <a:lnTo>
                    <a:pt x="777" y="650"/>
                  </a:lnTo>
                  <a:lnTo>
                    <a:pt x="775" y="655"/>
                  </a:lnTo>
                  <a:lnTo>
                    <a:pt x="769" y="658"/>
                  </a:lnTo>
                  <a:lnTo>
                    <a:pt x="764" y="652"/>
                  </a:lnTo>
                  <a:lnTo>
                    <a:pt x="758" y="642"/>
                  </a:lnTo>
                  <a:lnTo>
                    <a:pt x="753" y="638"/>
                  </a:lnTo>
                  <a:lnTo>
                    <a:pt x="746" y="640"/>
                  </a:lnTo>
                  <a:lnTo>
                    <a:pt x="741" y="635"/>
                  </a:lnTo>
                  <a:lnTo>
                    <a:pt x="738" y="628"/>
                  </a:lnTo>
                  <a:lnTo>
                    <a:pt x="738" y="621"/>
                  </a:lnTo>
                  <a:lnTo>
                    <a:pt x="736" y="615"/>
                  </a:lnTo>
                  <a:lnTo>
                    <a:pt x="731" y="610"/>
                  </a:lnTo>
                  <a:lnTo>
                    <a:pt x="724" y="612"/>
                  </a:lnTo>
                  <a:lnTo>
                    <a:pt x="716" y="612"/>
                  </a:lnTo>
                  <a:lnTo>
                    <a:pt x="708" y="604"/>
                  </a:lnTo>
                  <a:lnTo>
                    <a:pt x="708" y="593"/>
                  </a:lnTo>
                  <a:lnTo>
                    <a:pt x="710" y="580"/>
                  </a:lnTo>
                  <a:lnTo>
                    <a:pt x="716" y="571"/>
                  </a:lnTo>
                  <a:lnTo>
                    <a:pt x="714" y="559"/>
                  </a:lnTo>
                  <a:lnTo>
                    <a:pt x="712" y="550"/>
                  </a:lnTo>
                  <a:lnTo>
                    <a:pt x="708" y="537"/>
                  </a:lnTo>
                  <a:lnTo>
                    <a:pt x="705" y="529"/>
                  </a:lnTo>
                  <a:lnTo>
                    <a:pt x="707" y="519"/>
                  </a:lnTo>
                  <a:lnTo>
                    <a:pt x="705" y="512"/>
                  </a:lnTo>
                  <a:lnTo>
                    <a:pt x="702" y="509"/>
                  </a:lnTo>
                  <a:lnTo>
                    <a:pt x="696" y="506"/>
                  </a:lnTo>
                  <a:lnTo>
                    <a:pt x="687" y="500"/>
                  </a:lnTo>
                  <a:lnTo>
                    <a:pt x="682" y="496"/>
                  </a:lnTo>
                  <a:lnTo>
                    <a:pt x="675" y="494"/>
                  </a:lnTo>
                  <a:lnTo>
                    <a:pt x="668" y="492"/>
                  </a:lnTo>
                  <a:lnTo>
                    <a:pt x="664" y="487"/>
                  </a:lnTo>
                  <a:lnTo>
                    <a:pt x="662" y="477"/>
                  </a:lnTo>
                  <a:lnTo>
                    <a:pt x="653" y="476"/>
                  </a:lnTo>
                  <a:lnTo>
                    <a:pt x="644" y="474"/>
                  </a:lnTo>
                  <a:lnTo>
                    <a:pt x="638" y="479"/>
                  </a:lnTo>
                  <a:lnTo>
                    <a:pt x="631" y="467"/>
                  </a:lnTo>
                  <a:lnTo>
                    <a:pt x="624" y="460"/>
                  </a:lnTo>
                  <a:lnTo>
                    <a:pt x="613" y="446"/>
                  </a:lnTo>
                  <a:lnTo>
                    <a:pt x="603" y="438"/>
                  </a:lnTo>
                  <a:lnTo>
                    <a:pt x="594" y="427"/>
                  </a:lnTo>
                  <a:lnTo>
                    <a:pt x="592" y="417"/>
                  </a:lnTo>
                  <a:lnTo>
                    <a:pt x="600" y="409"/>
                  </a:lnTo>
                  <a:lnTo>
                    <a:pt x="599" y="401"/>
                  </a:lnTo>
                  <a:lnTo>
                    <a:pt x="599" y="386"/>
                  </a:lnTo>
                  <a:lnTo>
                    <a:pt x="605" y="380"/>
                  </a:lnTo>
                  <a:lnTo>
                    <a:pt x="613" y="378"/>
                  </a:lnTo>
                  <a:lnTo>
                    <a:pt x="617" y="368"/>
                  </a:lnTo>
                  <a:lnTo>
                    <a:pt x="628" y="358"/>
                  </a:lnTo>
                  <a:lnTo>
                    <a:pt x="643" y="355"/>
                  </a:lnTo>
                  <a:lnTo>
                    <a:pt x="647" y="346"/>
                  </a:lnTo>
                  <a:lnTo>
                    <a:pt x="646" y="329"/>
                  </a:lnTo>
                  <a:lnTo>
                    <a:pt x="644" y="319"/>
                  </a:lnTo>
                  <a:lnTo>
                    <a:pt x="637" y="308"/>
                  </a:lnTo>
                  <a:lnTo>
                    <a:pt x="623" y="303"/>
                  </a:lnTo>
                  <a:lnTo>
                    <a:pt x="613" y="301"/>
                  </a:lnTo>
                  <a:lnTo>
                    <a:pt x="600" y="306"/>
                  </a:lnTo>
                  <a:lnTo>
                    <a:pt x="590" y="316"/>
                  </a:lnTo>
                  <a:lnTo>
                    <a:pt x="580" y="323"/>
                  </a:lnTo>
                  <a:lnTo>
                    <a:pt x="569" y="330"/>
                  </a:lnTo>
                  <a:lnTo>
                    <a:pt x="555" y="325"/>
                  </a:lnTo>
                  <a:lnTo>
                    <a:pt x="542" y="321"/>
                  </a:lnTo>
                  <a:lnTo>
                    <a:pt x="528" y="319"/>
                  </a:lnTo>
                  <a:lnTo>
                    <a:pt x="515" y="317"/>
                  </a:lnTo>
                  <a:lnTo>
                    <a:pt x="507" y="330"/>
                  </a:lnTo>
                  <a:lnTo>
                    <a:pt x="500" y="344"/>
                  </a:lnTo>
                  <a:lnTo>
                    <a:pt x="496" y="357"/>
                  </a:lnTo>
                  <a:lnTo>
                    <a:pt x="500" y="360"/>
                  </a:lnTo>
                  <a:lnTo>
                    <a:pt x="488" y="356"/>
                  </a:lnTo>
                  <a:lnTo>
                    <a:pt x="480" y="348"/>
                  </a:lnTo>
                  <a:lnTo>
                    <a:pt x="470" y="334"/>
                  </a:lnTo>
                  <a:lnTo>
                    <a:pt x="461" y="327"/>
                  </a:lnTo>
                  <a:lnTo>
                    <a:pt x="446" y="321"/>
                  </a:lnTo>
                  <a:lnTo>
                    <a:pt x="433" y="316"/>
                  </a:lnTo>
                  <a:lnTo>
                    <a:pt x="417" y="308"/>
                  </a:lnTo>
                  <a:lnTo>
                    <a:pt x="407" y="290"/>
                  </a:lnTo>
                  <a:lnTo>
                    <a:pt x="399" y="275"/>
                  </a:lnTo>
                  <a:lnTo>
                    <a:pt x="396" y="264"/>
                  </a:lnTo>
                  <a:lnTo>
                    <a:pt x="386" y="257"/>
                  </a:lnTo>
                  <a:lnTo>
                    <a:pt x="381" y="247"/>
                  </a:lnTo>
                  <a:lnTo>
                    <a:pt x="384" y="236"/>
                  </a:lnTo>
                  <a:lnTo>
                    <a:pt x="388" y="221"/>
                  </a:lnTo>
                  <a:lnTo>
                    <a:pt x="397" y="205"/>
                  </a:lnTo>
                  <a:lnTo>
                    <a:pt x="402" y="184"/>
                  </a:lnTo>
                  <a:lnTo>
                    <a:pt x="393" y="179"/>
                  </a:lnTo>
                  <a:lnTo>
                    <a:pt x="374" y="174"/>
                  </a:lnTo>
                  <a:lnTo>
                    <a:pt x="361" y="171"/>
                  </a:lnTo>
                  <a:lnTo>
                    <a:pt x="344" y="175"/>
                  </a:lnTo>
                  <a:lnTo>
                    <a:pt x="327" y="179"/>
                  </a:lnTo>
                  <a:lnTo>
                    <a:pt x="310" y="186"/>
                  </a:lnTo>
                  <a:lnTo>
                    <a:pt x="291" y="186"/>
                  </a:lnTo>
                  <a:lnTo>
                    <a:pt x="274" y="176"/>
                  </a:lnTo>
                  <a:lnTo>
                    <a:pt x="263" y="163"/>
                  </a:lnTo>
                  <a:lnTo>
                    <a:pt x="261" y="153"/>
                  </a:lnTo>
                  <a:lnTo>
                    <a:pt x="249" y="143"/>
                  </a:lnTo>
                  <a:lnTo>
                    <a:pt x="245" y="129"/>
                  </a:lnTo>
                  <a:lnTo>
                    <a:pt x="245" y="111"/>
                  </a:lnTo>
                  <a:lnTo>
                    <a:pt x="246" y="102"/>
                  </a:lnTo>
                  <a:lnTo>
                    <a:pt x="253" y="92"/>
                  </a:lnTo>
                  <a:lnTo>
                    <a:pt x="254" y="85"/>
                  </a:lnTo>
                  <a:lnTo>
                    <a:pt x="250" y="78"/>
                  </a:lnTo>
                  <a:lnTo>
                    <a:pt x="246" y="70"/>
                  </a:lnTo>
                  <a:lnTo>
                    <a:pt x="248" y="56"/>
                  </a:lnTo>
                  <a:lnTo>
                    <a:pt x="240" y="41"/>
                  </a:lnTo>
                  <a:lnTo>
                    <a:pt x="235" y="32"/>
                  </a:lnTo>
                  <a:lnTo>
                    <a:pt x="230" y="13"/>
                  </a:lnTo>
                  <a:lnTo>
                    <a:pt x="226" y="9"/>
                  </a:lnTo>
                  <a:lnTo>
                    <a:pt x="219" y="7"/>
                  </a:lnTo>
                  <a:lnTo>
                    <a:pt x="213" y="4"/>
                  </a:lnTo>
                  <a:lnTo>
                    <a:pt x="206" y="0"/>
                  </a:lnTo>
                  <a:lnTo>
                    <a:pt x="199" y="0"/>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59" name="Freeform 9"/>
            <p:cNvSpPr>
              <a:spLocks/>
            </p:cNvSpPr>
            <p:nvPr/>
          </p:nvSpPr>
          <p:spPr bwMode="auto">
            <a:xfrm>
              <a:off x="3184525" y="2943225"/>
              <a:ext cx="1295400" cy="955675"/>
            </a:xfrm>
            <a:custGeom>
              <a:avLst/>
              <a:gdLst>
                <a:gd name="T0" fmla="*/ 280 w 888"/>
                <a:gd name="T1" fmla="*/ 7 h 654"/>
                <a:gd name="T2" fmla="*/ 235 w 888"/>
                <a:gd name="T3" fmla="*/ 14 h 654"/>
                <a:gd name="T4" fmla="*/ 168 w 888"/>
                <a:gd name="T5" fmla="*/ 19 h 654"/>
                <a:gd name="T6" fmla="*/ 105 w 888"/>
                <a:gd name="T7" fmla="*/ 31 h 654"/>
                <a:gd name="T8" fmla="*/ 107 w 888"/>
                <a:gd name="T9" fmla="*/ 74 h 654"/>
                <a:gd name="T10" fmla="*/ 139 w 888"/>
                <a:gd name="T11" fmla="*/ 113 h 654"/>
                <a:gd name="T12" fmla="*/ 141 w 888"/>
                <a:gd name="T13" fmla="*/ 144 h 654"/>
                <a:gd name="T14" fmla="*/ 117 w 888"/>
                <a:gd name="T15" fmla="*/ 168 h 654"/>
                <a:gd name="T16" fmla="*/ 131 w 888"/>
                <a:gd name="T17" fmla="*/ 200 h 654"/>
                <a:gd name="T18" fmla="*/ 94 w 888"/>
                <a:gd name="T19" fmla="*/ 212 h 654"/>
                <a:gd name="T20" fmla="*/ 70 w 888"/>
                <a:gd name="T21" fmla="*/ 215 h 654"/>
                <a:gd name="T22" fmla="*/ 41 w 888"/>
                <a:gd name="T23" fmla="*/ 219 h 654"/>
                <a:gd name="T24" fmla="*/ 38 w 888"/>
                <a:gd name="T25" fmla="*/ 242 h 654"/>
                <a:gd name="T26" fmla="*/ 26 w 888"/>
                <a:gd name="T27" fmla="*/ 299 h 654"/>
                <a:gd name="T28" fmla="*/ 2 w 888"/>
                <a:gd name="T29" fmla="*/ 351 h 654"/>
                <a:gd name="T30" fmla="*/ 19 w 888"/>
                <a:gd name="T31" fmla="*/ 430 h 654"/>
                <a:gd name="T32" fmla="*/ 63 w 888"/>
                <a:gd name="T33" fmla="*/ 476 h 654"/>
                <a:gd name="T34" fmla="*/ 116 w 888"/>
                <a:gd name="T35" fmla="*/ 489 h 654"/>
                <a:gd name="T36" fmla="*/ 187 w 888"/>
                <a:gd name="T37" fmla="*/ 530 h 654"/>
                <a:gd name="T38" fmla="*/ 274 w 888"/>
                <a:gd name="T39" fmla="*/ 558 h 654"/>
                <a:gd name="T40" fmla="*/ 333 w 888"/>
                <a:gd name="T41" fmla="*/ 574 h 654"/>
                <a:gd name="T42" fmla="*/ 362 w 888"/>
                <a:gd name="T43" fmla="*/ 604 h 654"/>
                <a:gd name="T44" fmla="*/ 393 w 888"/>
                <a:gd name="T45" fmla="*/ 651 h 654"/>
                <a:gd name="T46" fmla="*/ 447 w 888"/>
                <a:gd name="T47" fmla="*/ 647 h 654"/>
                <a:gd name="T48" fmla="*/ 477 w 888"/>
                <a:gd name="T49" fmla="*/ 608 h 654"/>
                <a:gd name="T50" fmla="*/ 500 w 888"/>
                <a:gd name="T51" fmla="*/ 559 h 654"/>
                <a:gd name="T52" fmla="*/ 536 w 888"/>
                <a:gd name="T53" fmla="*/ 504 h 654"/>
                <a:gd name="T54" fmla="*/ 572 w 888"/>
                <a:gd name="T55" fmla="*/ 491 h 654"/>
                <a:gd name="T56" fmla="*/ 590 w 888"/>
                <a:gd name="T57" fmla="*/ 541 h 654"/>
                <a:gd name="T58" fmla="*/ 646 w 888"/>
                <a:gd name="T59" fmla="*/ 586 h 654"/>
                <a:gd name="T60" fmla="*/ 681 w 888"/>
                <a:gd name="T61" fmla="*/ 579 h 654"/>
                <a:gd name="T62" fmla="*/ 722 w 888"/>
                <a:gd name="T63" fmla="*/ 602 h 654"/>
                <a:gd name="T64" fmla="*/ 756 w 888"/>
                <a:gd name="T65" fmla="*/ 562 h 654"/>
                <a:gd name="T66" fmla="*/ 796 w 888"/>
                <a:gd name="T67" fmla="*/ 562 h 654"/>
                <a:gd name="T68" fmla="*/ 799 w 888"/>
                <a:gd name="T69" fmla="*/ 501 h 654"/>
                <a:gd name="T70" fmla="*/ 750 w 888"/>
                <a:gd name="T71" fmla="*/ 460 h 654"/>
                <a:gd name="T72" fmla="*/ 776 w 888"/>
                <a:gd name="T73" fmla="*/ 462 h 654"/>
                <a:gd name="T74" fmla="*/ 809 w 888"/>
                <a:gd name="T75" fmla="*/ 429 h 654"/>
                <a:gd name="T76" fmla="*/ 838 w 888"/>
                <a:gd name="T77" fmla="*/ 380 h 654"/>
                <a:gd name="T78" fmla="*/ 857 w 888"/>
                <a:gd name="T79" fmla="*/ 359 h 654"/>
                <a:gd name="T80" fmla="*/ 884 w 888"/>
                <a:gd name="T81" fmla="*/ 329 h 654"/>
                <a:gd name="T82" fmla="*/ 866 w 888"/>
                <a:gd name="T83" fmla="*/ 260 h 654"/>
                <a:gd name="T84" fmla="*/ 864 w 888"/>
                <a:gd name="T85" fmla="*/ 219 h 654"/>
                <a:gd name="T86" fmla="*/ 832 w 888"/>
                <a:gd name="T87" fmla="*/ 177 h 654"/>
                <a:gd name="T88" fmla="*/ 792 w 888"/>
                <a:gd name="T89" fmla="*/ 174 h 654"/>
                <a:gd name="T90" fmla="*/ 750 w 888"/>
                <a:gd name="T91" fmla="*/ 124 h 654"/>
                <a:gd name="T92" fmla="*/ 716 w 888"/>
                <a:gd name="T93" fmla="*/ 76 h 654"/>
                <a:gd name="T94" fmla="*/ 684 w 888"/>
                <a:gd name="T95" fmla="*/ 89 h 654"/>
                <a:gd name="T96" fmla="*/ 657 w 888"/>
                <a:gd name="T97" fmla="*/ 71 h 654"/>
                <a:gd name="T98" fmla="*/ 618 w 888"/>
                <a:gd name="T99" fmla="*/ 37 h 654"/>
                <a:gd name="T100" fmla="*/ 562 w 888"/>
                <a:gd name="T101" fmla="*/ 48 h 654"/>
                <a:gd name="T102" fmla="*/ 500 w 888"/>
                <a:gd name="T103" fmla="*/ 51 h 654"/>
                <a:gd name="T104" fmla="*/ 447 w 888"/>
                <a:gd name="T105" fmla="*/ 36 h 654"/>
                <a:gd name="T106" fmla="*/ 401 w 888"/>
                <a:gd name="T107" fmla="*/ 19 h 654"/>
                <a:gd name="T108" fmla="*/ 353 w 888"/>
                <a:gd name="T109" fmla="*/ 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8" h="654">
                  <a:moveTo>
                    <a:pt x="330" y="2"/>
                  </a:moveTo>
                  <a:lnTo>
                    <a:pt x="319" y="2"/>
                  </a:lnTo>
                  <a:lnTo>
                    <a:pt x="307" y="0"/>
                  </a:lnTo>
                  <a:lnTo>
                    <a:pt x="294" y="2"/>
                  </a:lnTo>
                  <a:lnTo>
                    <a:pt x="280" y="7"/>
                  </a:lnTo>
                  <a:lnTo>
                    <a:pt x="263" y="5"/>
                  </a:lnTo>
                  <a:lnTo>
                    <a:pt x="256" y="1"/>
                  </a:lnTo>
                  <a:lnTo>
                    <a:pt x="246" y="1"/>
                  </a:lnTo>
                  <a:lnTo>
                    <a:pt x="241" y="7"/>
                  </a:lnTo>
                  <a:lnTo>
                    <a:pt x="235" y="14"/>
                  </a:lnTo>
                  <a:lnTo>
                    <a:pt x="222" y="13"/>
                  </a:lnTo>
                  <a:lnTo>
                    <a:pt x="210" y="16"/>
                  </a:lnTo>
                  <a:lnTo>
                    <a:pt x="195" y="20"/>
                  </a:lnTo>
                  <a:lnTo>
                    <a:pt x="182" y="20"/>
                  </a:lnTo>
                  <a:lnTo>
                    <a:pt x="168" y="19"/>
                  </a:lnTo>
                  <a:lnTo>
                    <a:pt x="157" y="15"/>
                  </a:lnTo>
                  <a:lnTo>
                    <a:pt x="150" y="18"/>
                  </a:lnTo>
                  <a:lnTo>
                    <a:pt x="133" y="22"/>
                  </a:lnTo>
                  <a:lnTo>
                    <a:pt x="116" y="28"/>
                  </a:lnTo>
                  <a:lnTo>
                    <a:pt x="105" y="31"/>
                  </a:lnTo>
                  <a:lnTo>
                    <a:pt x="101" y="41"/>
                  </a:lnTo>
                  <a:lnTo>
                    <a:pt x="107" y="49"/>
                  </a:lnTo>
                  <a:lnTo>
                    <a:pt x="114" y="54"/>
                  </a:lnTo>
                  <a:lnTo>
                    <a:pt x="112" y="64"/>
                  </a:lnTo>
                  <a:lnTo>
                    <a:pt x="107" y="74"/>
                  </a:lnTo>
                  <a:lnTo>
                    <a:pt x="105" y="85"/>
                  </a:lnTo>
                  <a:lnTo>
                    <a:pt x="111" y="90"/>
                  </a:lnTo>
                  <a:lnTo>
                    <a:pt x="115" y="100"/>
                  </a:lnTo>
                  <a:lnTo>
                    <a:pt x="127" y="108"/>
                  </a:lnTo>
                  <a:lnTo>
                    <a:pt x="139" y="113"/>
                  </a:lnTo>
                  <a:lnTo>
                    <a:pt x="149" y="119"/>
                  </a:lnTo>
                  <a:lnTo>
                    <a:pt x="153" y="123"/>
                  </a:lnTo>
                  <a:lnTo>
                    <a:pt x="152" y="132"/>
                  </a:lnTo>
                  <a:lnTo>
                    <a:pt x="146" y="140"/>
                  </a:lnTo>
                  <a:lnTo>
                    <a:pt x="141" y="144"/>
                  </a:lnTo>
                  <a:lnTo>
                    <a:pt x="133" y="148"/>
                  </a:lnTo>
                  <a:lnTo>
                    <a:pt x="129" y="158"/>
                  </a:lnTo>
                  <a:lnTo>
                    <a:pt x="131" y="164"/>
                  </a:lnTo>
                  <a:lnTo>
                    <a:pt x="125" y="170"/>
                  </a:lnTo>
                  <a:lnTo>
                    <a:pt x="117" y="168"/>
                  </a:lnTo>
                  <a:lnTo>
                    <a:pt x="110" y="177"/>
                  </a:lnTo>
                  <a:lnTo>
                    <a:pt x="115" y="182"/>
                  </a:lnTo>
                  <a:lnTo>
                    <a:pt x="118" y="190"/>
                  </a:lnTo>
                  <a:lnTo>
                    <a:pt x="124" y="195"/>
                  </a:lnTo>
                  <a:lnTo>
                    <a:pt x="131" y="200"/>
                  </a:lnTo>
                  <a:lnTo>
                    <a:pt x="130" y="208"/>
                  </a:lnTo>
                  <a:lnTo>
                    <a:pt x="121" y="211"/>
                  </a:lnTo>
                  <a:lnTo>
                    <a:pt x="114" y="211"/>
                  </a:lnTo>
                  <a:lnTo>
                    <a:pt x="105" y="213"/>
                  </a:lnTo>
                  <a:lnTo>
                    <a:pt x="94" y="212"/>
                  </a:lnTo>
                  <a:lnTo>
                    <a:pt x="89" y="217"/>
                  </a:lnTo>
                  <a:lnTo>
                    <a:pt x="84" y="223"/>
                  </a:lnTo>
                  <a:lnTo>
                    <a:pt x="75" y="226"/>
                  </a:lnTo>
                  <a:lnTo>
                    <a:pt x="71" y="220"/>
                  </a:lnTo>
                  <a:lnTo>
                    <a:pt x="70" y="215"/>
                  </a:lnTo>
                  <a:lnTo>
                    <a:pt x="66" y="211"/>
                  </a:lnTo>
                  <a:lnTo>
                    <a:pt x="60" y="208"/>
                  </a:lnTo>
                  <a:lnTo>
                    <a:pt x="45" y="206"/>
                  </a:lnTo>
                  <a:lnTo>
                    <a:pt x="47" y="213"/>
                  </a:lnTo>
                  <a:lnTo>
                    <a:pt x="41" y="219"/>
                  </a:lnTo>
                  <a:lnTo>
                    <a:pt x="31" y="223"/>
                  </a:lnTo>
                  <a:lnTo>
                    <a:pt x="24" y="229"/>
                  </a:lnTo>
                  <a:lnTo>
                    <a:pt x="23" y="236"/>
                  </a:lnTo>
                  <a:lnTo>
                    <a:pt x="31" y="239"/>
                  </a:lnTo>
                  <a:lnTo>
                    <a:pt x="38" y="242"/>
                  </a:lnTo>
                  <a:lnTo>
                    <a:pt x="40" y="254"/>
                  </a:lnTo>
                  <a:lnTo>
                    <a:pt x="34" y="262"/>
                  </a:lnTo>
                  <a:lnTo>
                    <a:pt x="28" y="279"/>
                  </a:lnTo>
                  <a:lnTo>
                    <a:pt x="23" y="290"/>
                  </a:lnTo>
                  <a:lnTo>
                    <a:pt x="26" y="299"/>
                  </a:lnTo>
                  <a:lnTo>
                    <a:pt x="30" y="311"/>
                  </a:lnTo>
                  <a:lnTo>
                    <a:pt x="27" y="321"/>
                  </a:lnTo>
                  <a:lnTo>
                    <a:pt x="17" y="330"/>
                  </a:lnTo>
                  <a:lnTo>
                    <a:pt x="8" y="339"/>
                  </a:lnTo>
                  <a:lnTo>
                    <a:pt x="2" y="351"/>
                  </a:lnTo>
                  <a:lnTo>
                    <a:pt x="0" y="365"/>
                  </a:lnTo>
                  <a:lnTo>
                    <a:pt x="1" y="382"/>
                  </a:lnTo>
                  <a:lnTo>
                    <a:pt x="8" y="395"/>
                  </a:lnTo>
                  <a:lnTo>
                    <a:pt x="17" y="414"/>
                  </a:lnTo>
                  <a:lnTo>
                    <a:pt x="19" y="430"/>
                  </a:lnTo>
                  <a:lnTo>
                    <a:pt x="27" y="442"/>
                  </a:lnTo>
                  <a:lnTo>
                    <a:pt x="33" y="460"/>
                  </a:lnTo>
                  <a:lnTo>
                    <a:pt x="40" y="471"/>
                  </a:lnTo>
                  <a:lnTo>
                    <a:pt x="51" y="478"/>
                  </a:lnTo>
                  <a:lnTo>
                    <a:pt x="63" y="476"/>
                  </a:lnTo>
                  <a:lnTo>
                    <a:pt x="67" y="476"/>
                  </a:lnTo>
                  <a:lnTo>
                    <a:pt x="77" y="473"/>
                  </a:lnTo>
                  <a:lnTo>
                    <a:pt x="97" y="473"/>
                  </a:lnTo>
                  <a:lnTo>
                    <a:pt x="107" y="479"/>
                  </a:lnTo>
                  <a:lnTo>
                    <a:pt x="116" y="489"/>
                  </a:lnTo>
                  <a:lnTo>
                    <a:pt x="125" y="494"/>
                  </a:lnTo>
                  <a:lnTo>
                    <a:pt x="139" y="505"/>
                  </a:lnTo>
                  <a:lnTo>
                    <a:pt x="154" y="514"/>
                  </a:lnTo>
                  <a:lnTo>
                    <a:pt x="171" y="527"/>
                  </a:lnTo>
                  <a:lnTo>
                    <a:pt x="187" y="530"/>
                  </a:lnTo>
                  <a:lnTo>
                    <a:pt x="201" y="538"/>
                  </a:lnTo>
                  <a:lnTo>
                    <a:pt x="214" y="548"/>
                  </a:lnTo>
                  <a:lnTo>
                    <a:pt x="238" y="552"/>
                  </a:lnTo>
                  <a:lnTo>
                    <a:pt x="251" y="556"/>
                  </a:lnTo>
                  <a:lnTo>
                    <a:pt x="274" y="558"/>
                  </a:lnTo>
                  <a:lnTo>
                    <a:pt x="290" y="562"/>
                  </a:lnTo>
                  <a:lnTo>
                    <a:pt x="303" y="561"/>
                  </a:lnTo>
                  <a:lnTo>
                    <a:pt x="316" y="563"/>
                  </a:lnTo>
                  <a:lnTo>
                    <a:pt x="326" y="566"/>
                  </a:lnTo>
                  <a:lnTo>
                    <a:pt x="333" y="574"/>
                  </a:lnTo>
                  <a:lnTo>
                    <a:pt x="337" y="582"/>
                  </a:lnTo>
                  <a:lnTo>
                    <a:pt x="346" y="588"/>
                  </a:lnTo>
                  <a:lnTo>
                    <a:pt x="351" y="587"/>
                  </a:lnTo>
                  <a:lnTo>
                    <a:pt x="357" y="594"/>
                  </a:lnTo>
                  <a:lnTo>
                    <a:pt x="362" y="604"/>
                  </a:lnTo>
                  <a:lnTo>
                    <a:pt x="364" y="612"/>
                  </a:lnTo>
                  <a:lnTo>
                    <a:pt x="369" y="628"/>
                  </a:lnTo>
                  <a:lnTo>
                    <a:pt x="374" y="642"/>
                  </a:lnTo>
                  <a:lnTo>
                    <a:pt x="382" y="651"/>
                  </a:lnTo>
                  <a:lnTo>
                    <a:pt x="393" y="651"/>
                  </a:lnTo>
                  <a:lnTo>
                    <a:pt x="408" y="653"/>
                  </a:lnTo>
                  <a:lnTo>
                    <a:pt x="419" y="653"/>
                  </a:lnTo>
                  <a:lnTo>
                    <a:pt x="431" y="653"/>
                  </a:lnTo>
                  <a:lnTo>
                    <a:pt x="441" y="652"/>
                  </a:lnTo>
                  <a:lnTo>
                    <a:pt x="447" y="647"/>
                  </a:lnTo>
                  <a:lnTo>
                    <a:pt x="456" y="641"/>
                  </a:lnTo>
                  <a:lnTo>
                    <a:pt x="470" y="639"/>
                  </a:lnTo>
                  <a:lnTo>
                    <a:pt x="476" y="633"/>
                  </a:lnTo>
                  <a:lnTo>
                    <a:pt x="477" y="620"/>
                  </a:lnTo>
                  <a:lnTo>
                    <a:pt x="477" y="608"/>
                  </a:lnTo>
                  <a:lnTo>
                    <a:pt x="484" y="598"/>
                  </a:lnTo>
                  <a:lnTo>
                    <a:pt x="485" y="586"/>
                  </a:lnTo>
                  <a:lnTo>
                    <a:pt x="492" y="575"/>
                  </a:lnTo>
                  <a:lnTo>
                    <a:pt x="499" y="571"/>
                  </a:lnTo>
                  <a:lnTo>
                    <a:pt x="500" y="559"/>
                  </a:lnTo>
                  <a:lnTo>
                    <a:pt x="508" y="553"/>
                  </a:lnTo>
                  <a:lnTo>
                    <a:pt x="519" y="540"/>
                  </a:lnTo>
                  <a:lnTo>
                    <a:pt x="530" y="531"/>
                  </a:lnTo>
                  <a:lnTo>
                    <a:pt x="534" y="517"/>
                  </a:lnTo>
                  <a:lnTo>
                    <a:pt x="536" y="504"/>
                  </a:lnTo>
                  <a:lnTo>
                    <a:pt x="532" y="491"/>
                  </a:lnTo>
                  <a:lnTo>
                    <a:pt x="535" y="480"/>
                  </a:lnTo>
                  <a:lnTo>
                    <a:pt x="549" y="477"/>
                  </a:lnTo>
                  <a:lnTo>
                    <a:pt x="566" y="481"/>
                  </a:lnTo>
                  <a:lnTo>
                    <a:pt x="572" y="491"/>
                  </a:lnTo>
                  <a:lnTo>
                    <a:pt x="578" y="498"/>
                  </a:lnTo>
                  <a:lnTo>
                    <a:pt x="584" y="507"/>
                  </a:lnTo>
                  <a:lnTo>
                    <a:pt x="585" y="519"/>
                  </a:lnTo>
                  <a:lnTo>
                    <a:pt x="587" y="529"/>
                  </a:lnTo>
                  <a:lnTo>
                    <a:pt x="590" y="541"/>
                  </a:lnTo>
                  <a:lnTo>
                    <a:pt x="598" y="553"/>
                  </a:lnTo>
                  <a:lnTo>
                    <a:pt x="609" y="561"/>
                  </a:lnTo>
                  <a:lnTo>
                    <a:pt x="622" y="571"/>
                  </a:lnTo>
                  <a:lnTo>
                    <a:pt x="632" y="577"/>
                  </a:lnTo>
                  <a:lnTo>
                    <a:pt x="646" y="586"/>
                  </a:lnTo>
                  <a:lnTo>
                    <a:pt x="655" y="591"/>
                  </a:lnTo>
                  <a:lnTo>
                    <a:pt x="663" y="586"/>
                  </a:lnTo>
                  <a:lnTo>
                    <a:pt x="667" y="579"/>
                  </a:lnTo>
                  <a:lnTo>
                    <a:pt x="673" y="568"/>
                  </a:lnTo>
                  <a:lnTo>
                    <a:pt x="681" y="579"/>
                  </a:lnTo>
                  <a:lnTo>
                    <a:pt x="682" y="587"/>
                  </a:lnTo>
                  <a:lnTo>
                    <a:pt x="697" y="599"/>
                  </a:lnTo>
                  <a:lnTo>
                    <a:pt x="704" y="594"/>
                  </a:lnTo>
                  <a:lnTo>
                    <a:pt x="709" y="599"/>
                  </a:lnTo>
                  <a:lnTo>
                    <a:pt x="722" y="602"/>
                  </a:lnTo>
                  <a:lnTo>
                    <a:pt x="732" y="598"/>
                  </a:lnTo>
                  <a:lnTo>
                    <a:pt x="746" y="594"/>
                  </a:lnTo>
                  <a:lnTo>
                    <a:pt x="747" y="581"/>
                  </a:lnTo>
                  <a:lnTo>
                    <a:pt x="752" y="571"/>
                  </a:lnTo>
                  <a:lnTo>
                    <a:pt x="756" y="562"/>
                  </a:lnTo>
                  <a:lnTo>
                    <a:pt x="761" y="558"/>
                  </a:lnTo>
                  <a:lnTo>
                    <a:pt x="773" y="561"/>
                  </a:lnTo>
                  <a:lnTo>
                    <a:pt x="782" y="564"/>
                  </a:lnTo>
                  <a:lnTo>
                    <a:pt x="788" y="561"/>
                  </a:lnTo>
                  <a:lnTo>
                    <a:pt x="796" y="562"/>
                  </a:lnTo>
                  <a:lnTo>
                    <a:pt x="807" y="559"/>
                  </a:lnTo>
                  <a:lnTo>
                    <a:pt x="806" y="543"/>
                  </a:lnTo>
                  <a:lnTo>
                    <a:pt x="805" y="527"/>
                  </a:lnTo>
                  <a:lnTo>
                    <a:pt x="801" y="515"/>
                  </a:lnTo>
                  <a:lnTo>
                    <a:pt x="799" y="501"/>
                  </a:lnTo>
                  <a:lnTo>
                    <a:pt x="793" y="494"/>
                  </a:lnTo>
                  <a:lnTo>
                    <a:pt x="778" y="486"/>
                  </a:lnTo>
                  <a:lnTo>
                    <a:pt x="765" y="482"/>
                  </a:lnTo>
                  <a:lnTo>
                    <a:pt x="753" y="469"/>
                  </a:lnTo>
                  <a:lnTo>
                    <a:pt x="750" y="460"/>
                  </a:lnTo>
                  <a:lnTo>
                    <a:pt x="751" y="453"/>
                  </a:lnTo>
                  <a:lnTo>
                    <a:pt x="755" y="453"/>
                  </a:lnTo>
                  <a:lnTo>
                    <a:pt x="763" y="453"/>
                  </a:lnTo>
                  <a:lnTo>
                    <a:pt x="770" y="455"/>
                  </a:lnTo>
                  <a:lnTo>
                    <a:pt x="776" y="462"/>
                  </a:lnTo>
                  <a:lnTo>
                    <a:pt x="791" y="465"/>
                  </a:lnTo>
                  <a:lnTo>
                    <a:pt x="804" y="464"/>
                  </a:lnTo>
                  <a:lnTo>
                    <a:pt x="811" y="459"/>
                  </a:lnTo>
                  <a:lnTo>
                    <a:pt x="809" y="447"/>
                  </a:lnTo>
                  <a:lnTo>
                    <a:pt x="809" y="429"/>
                  </a:lnTo>
                  <a:lnTo>
                    <a:pt x="812" y="414"/>
                  </a:lnTo>
                  <a:lnTo>
                    <a:pt x="816" y="409"/>
                  </a:lnTo>
                  <a:lnTo>
                    <a:pt x="820" y="406"/>
                  </a:lnTo>
                  <a:lnTo>
                    <a:pt x="828" y="404"/>
                  </a:lnTo>
                  <a:lnTo>
                    <a:pt x="838" y="380"/>
                  </a:lnTo>
                  <a:lnTo>
                    <a:pt x="841" y="372"/>
                  </a:lnTo>
                  <a:lnTo>
                    <a:pt x="848" y="372"/>
                  </a:lnTo>
                  <a:lnTo>
                    <a:pt x="853" y="373"/>
                  </a:lnTo>
                  <a:lnTo>
                    <a:pt x="857" y="364"/>
                  </a:lnTo>
                  <a:lnTo>
                    <a:pt x="857" y="359"/>
                  </a:lnTo>
                  <a:lnTo>
                    <a:pt x="860" y="355"/>
                  </a:lnTo>
                  <a:lnTo>
                    <a:pt x="868" y="355"/>
                  </a:lnTo>
                  <a:lnTo>
                    <a:pt x="875" y="355"/>
                  </a:lnTo>
                  <a:lnTo>
                    <a:pt x="878" y="344"/>
                  </a:lnTo>
                  <a:lnTo>
                    <a:pt x="884" y="329"/>
                  </a:lnTo>
                  <a:lnTo>
                    <a:pt x="886" y="321"/>
                  </a:lnTo>
                  <a:lnTo>
                    <a:pt x="887" y="306"/>
                  </a:lnTo>
                  <a:lnTo>
                    <a:pt x="886" y="293"/>
                  </a:lnTo>
                  <a:lnTo>
                    <a:pt x="877" y="275"/>
                  </a:lnTo>
                  <a:lnTo>
                    <a:pt x="866" y="260"/>
                  </a:lnTo>
                  <a:lnTo>
                    <a:pt x="860" y="245"/>
                  </a:lnTo>
                  <a:lnTo>
                    <a:pt x="859" y="235"/>
                  </a:lnTo>
                  <a:lnTo>
                    <a:pt x="866" y="231"/>
                  </a:lnTo>
                  <a:lnTo>
                    <a:pt x="868" y="225"/>
                  </a:lnTo>
                  <a:lnTo>
                    <a:pt x="864" y="219"/>
                  </a:lnTo>
                  <a:lnTo>
                    <a:pt x="859" y="216"/>
                  </a:lnTo>
                  <a:lnTo>
                    <a:pt x="856" y="211"/>
                  </a:lnTo>
                  <a:lnTo>
                    <a:pt x="849" y="198"/>
                  </a:lnTo>
                  <a:lnTo>
                    <a:pt x="840" y="188"/>
                  </a:lnTo>
                  <a:lnTo>
                    <a:pt x="832" y="177"/>
                  </a:lnTo>
                  <a:lnTo>
                    <a:pt x="824" y="170"/>
                  </a:lnTo>
                  <a:lnTo>
                    <a:pt x="817" y="167"/>
                  </a:lnTo>
                  <a:lnTo>
                    <a:pt x="811" y="168"/>
                  </a:lnTo>
                  <a:lnTo>
                    <a:pt x="802" y="172"/>
                  </a:lnTo>
                  <a:lnTo>
                    <a:pt x="792" y="174"/>
                  </a:lnTo>
                  <a:lnTo>
                    <a:pt x="778" y="159"/>
                  </a:lnTo>
                  <a:lnTo>
                    <a:pt x="772" y="147"/>
                  </a:lnTo>
                  <a:lnTo>
                    <a:pt x="765" y="139"/>
                  </a:lnTo>
                  <a:lnTo>
                    <a:pt x="760" y="128"/>
                  </a:lnTo>
                  <a:lnTo>
                    <a:pt x="750" y="124"/>
                  </a:lnTo>
                  <a:lnTo>
                    <a:pt x="740" y="122"/>
                  </a:lnTo>
                  <a:lnTo>
                    <a:pt x="729" y="111"/>
                  </a:lnTo>
                  <a:lnTo>
                    <a:pt x="724" y="99"/>
                  </a:lnTo>
                  <a:lnTo>
                    <a:pt x="721" y="79"/>
                  </a:lnTo>
                  <a:lnTo>
                    <a:pt x="716" y="76"/>
                  </a:lnTo>
                  <a:lnTo>
                    <a:pt x="711" y="72"/>
                  </a:lnTo>
                  <a:lnTo>
                    <a:pt x="703" y="74"/>
                  </a:lnTo>
                  <a:lnTo>
                    <a:pt x="697" y="78"/>
                  </a:lnTo>
                  <a:lnTo>
                    <a:pt x="691" y="83"/>
                  </a:lnTo>
                  <a:lnTo>
                    <a:pt x="684" y="89"/>
                  </a:lnTo>
                  <a:lnTo>
                    <a:pt x="680" y="83"/>
                  </a:lnTo>
                  <a:lnTo>
                    <a:pt x="673" y="72"/>
                  </a:lnTo>
                  <a:lnTo>
                    <a:pt x="665" y="67"/>
                  </a:lnTo>
                  <a:lnTo>
                    <a:pt x="660" y="68"/>
                  </a:lnTo>
                  <a:lnTo>
                    <a:pt x="657" y="71"/>
                  </a:lnTo>
                  <a:lnTo>
                    <a:pt x="647" y="64"/>
                  </a:lnTo>
                  <a:lnTo>
                    <a:pt x="638" y="56"/>
                  </a:lnTo>
                  <a:lnTo>
                    <a:pt x="631" y="48"/>
                  </a:lnTo>
                  <a:lnTo>
                    <a:pt x="626" y="42"/>
                  </a:lnTo>
                  <a:lnTo>
                    <a:pt x="618" y="37"/>
                  </a:lnTo>
                  <a:lnTo>
                    <a:pt x="611" y="35"/>
                  </a:lnTo>
                  <a:lnTo>
                    <a:pt x="596" y="44"/>
                  </a:lnTo>
                  <a:lnTo>
                    <a:pt x="586" y="46"/>
                  </a:lnTo>
                  <a:lnTo>
                    <a:pt x="575" y="46"/>
                  </a:lnTo>
                  <a:lnTo>
                    <a:pt x="562" y="48"/>
                  </a:lnTo>
                  <a:lnTo>
                    <a:pt x="549" y="45"/>
                  </a:lnTo>
                  <a:lnTo>
                    <a:pt x="540" y="40"/>
                  </a:lnTo>
                  <a:lnTo>
                    <a:pt x="528" y="40"/>
                  </a:lnTo>
                  <a:lnTo>
                    <a:pt x="516" y="42"/>
                  </a:lnTo>
                  <a:lnTo>
                    <a:pt x="500" y="51"/>
                  </a:lnTo>
                  <a:lnTo>
                    <a:pt x="483" y="57"/>
                  </a:lnTo>
                  <a:lnTo>
                    <a:pt x="469" y="61"/>
                  </a:lnTo>
                  <a:lnTo>
                    <a:pt x="459" y="58"/>
                  </a:lnTo>
                  <a:lnTo>
                    <a:pt x="456" y="51"/>
                  </a:lnTo>
                  <a:lnTo>
                    <a:pt x="447" y="36"/>
                  </a:lnTo>
                  <a:lnTo>
                    <a:pt x="437" y="26"/>
                  </a:lnTo>
                  <a:lnTo>
                    <a:pt x="430" y="24"/>
                  </a:lnTo>
                  <a:lnTo>
                    <a:pt x="419" y="25"/>
                  </a:lnTo>
                  <a:lnTo>
                    <a:pt x="409" y="25"/>
                  </a:lnTo>
                  <a:lnTo>
                    <a:pt x="401" y="19"/>
                  </a:lnTo>
                  <a:lnTo>
                    <a:pt x="392" y="15"/>
                  </a:lnTo>
                  <a:lnTo>
                    <a:pt x="383" y="11"/>
                  </a:lnTo>
                  <a:lnTo>
                    <a:pt x="374" y="4"/>
                  </a:lnTo>
                  <a:lnTo>
                    <a:pt x="364" y="2"/>
                  </a:lnTo>
                  <a:lnTo>
                    <a:pt x="353" y="2"/>
                  </a:lnTo>
                  <a:lnTo>
                    <a:pt x="344" y="5"/>
                  </a:lnTo>
                  <a:lnTo>
                    <a:pt x="330" y="2"/>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0" name="Freeform 10"/>
            <p:cNvSpPr>
              <a:spLocks/>
            </p:cNvSpPr>
            <p:nvPr/>
          </p:nvSpPr>
          <p:spPr bwMode="auto">
            <a:xfrm>
              <a:off x="2098675" y="3149600"/>
              <a:ext cx="1952625" cy="1277938"/>
            </a:xfrm>
            <a:custGeom>
              <a:avLst/>
              <a:gdLst>
                <a:gd name="T0" fmla="*/ 150 w 1338"/>
                <a:gd name="T1" fmla="*/ 50 h 875"/>
                <a:gd name="T2" fmla="*/ 209 w 1338"/>
                <a:gd name="T3" fmla="*/ 11 h 875"/>
                <a:gd name="T4" fmla="*/ 287 w 1338"/>
                <a:gd name="T5" fmla="*/ 27 h 875"/>
                <a:gd name="T6" fmla="*/ 381 w 1338"/>
                <a:gd name="T7" fmla="*/ 35 h 875"/>
                <a:gd name="T8" fmla="*/ 469 w 1338"/>
                <a:gd name="T9" fmla="*/ 61 h 875"/>
                <a:gd name="T10" fmla="*/ 556 w 1338"/>
                <a:gd name="T11" fmla="*/ 33 h 875"/>
                <a:gd name="T12" fmla="*/ 650 w 1338"/>
                <a:gd name="T13" fmla="*/ 20 h 875"/>
                <a:gd name="T14" fmla="*/ 732 w 1338"/>
                <a:gd name="T15" fmla="*/ 53 h 875"/>
                <a:gd name="T16" fmla="*/ 785 w 1338"/>
                <a:gd name="T17" fmla="*/ 77 h 875"/>
                <a:gd name="T18" fmla="*/ 784 w 1338"/>
                <a:gd name="T19" fmla="*/ 112 h 875"/>
                <a:gd name="T20" fmla="*/ 771 w 1338"/>
                <a:gd name="T21" fmla="*/ 179 h 875"/>
                <a:gd name="T22" fmla="*/ 752 w 1338"/>
                <a:gd name="T23" fmla="*/ 253 h 875"/>
                <a:gd name="T24" fmla="*/ 795 w 1338"/>
                <a:gd name="T25" fmla="*/ 336 h 875"/>
                <a:gd name="T26" fmla="*/ 860 w 1338"/>
                <a:gd name="T27" fmla="*/ 347 h 875"/>
                <a:gd name="T28" fmla="*/ 945 w 1338"/>
                <a:gd name="T29" fmla="*/ 396 h 875"/>
                <a:gd name="T30" fmla="*/ 1047 w 1338"/>
                <a:gd name="T31" fmla="*/ 419 h 875"/>
                <a:gd name="T32" fmla="*/ 1095 w 1338"/>
                <a:gd name="T33" fmla="*/ 445 h 875"/>
                <a:gd name="T34" fmla="*/ 1126 w 1338"/>
                <a:gd name="T35" fmla="*/ 509 h 875"/>
                <a:gd name="T36" fmla="*/ 1191 w 1338"/>
                <a:gd name="T37" fmla="*/ 505 h 875"/>
                <a:gd name="T38" fmla="*/ 1228 w 1338"/>
                <a:gd name="T39" fmla="*/ 456 h 875"/>
                <a:gd name="T40" fmla="*/ 1269 w 1338"/>
                <a:gd name="T41" fmla="*/ 452 h 875"/>
                <a:gd name="T42" fmla="*/ 1298 w 1338"/>
                <a:gd name="T43" fmla="*/ 514 h 875"/>
                <a:gd name="T44" fmla="*/ 1324 w 1338"/>
                <a:gd name="T45" fmla="*/ 556 h 875"/>
                <a:gd name="T46" fmla="*/ 1307 w 1338"/>
                <a:gd name="T47" fmla="*/ 568 h 875"/>
                <a:gd name="T48" fmla="*/ 1335 w 1338"/>
                <a:gd name="T49" fmla="*/ 667 h 875"/>
                <a:gd name="T50" fmla="*/ 1323 w 1338"/>
                <a:gd name="T51" fmla="*/ 745 h 875"/>
                <a:gd name="T52" fmla="*/ 1301 w 1338"/>
                <a:gd name="T53" fmla="*/ 763 h 875"/>
                <a:gd name="T54" fmla="*/ 1287 w 1338"/>
                <a:gd name="T55" fmla="*/ 800 h 875"/>
                <a:gd name="T56" fmla="*/ 1252 w 1338"/>
                <a:gd name="T57" fmla="*/ 806 h 875"/>
                <a:gd name="T58" fmla="*/ 1209 w 1338"/>
                <a:gd name="T59" fmla="*/ 812 h 875"/>
                <a:gd name="T60" fmla="*/ 1175 w 1338"/>
                <a:gd name="T61" fmla="*/ 824 h 875"/>
                <a:gd name="T62" fmla="*/ 1118 w 1338"/>
                <a:gd name="T63" fmla="*/ 791 h 875"/>
                <a:gd name="T64" fmla="*/ 1044 w 1338"/>
                <a:gd name="T65" fmla="*/ 804 h 875"/>
                <a:gd name="T66" fmla="*/ 992 w 1338"/>
                <a:gd name="T67" fmla="*/ 830 h 875"/>
                <a:gd name="T68" fmla="*/ 943 w 1338"/>
                <a:gd name="T69" fmla="*/ 866 h 875"/>
                <a:gd name="T70" fmla="*/ 877 w 1338"/>
                <a:gd name="T71" fmla="*/ 871 h 875"/>
                <a:gd name="T72" fmla="*/ 825 w 1338"/>
                <a:gd name="T73" fmla="*/ 853 h 875"/>
                <a:gd name="T74" fmla="*/ 820 w 1338"/>
                <a:gd name="T75" fmla="*/ 808 h 875"/>
                <a:gd name="T76" fmla="*/ 800 w 1338"/>
                <a:gd name="T77" fmla="*/ 766 h 875"/>
                <a:gd name="T78" fmla="*/ 746 w 1338"/>
                <a:gd name="T79" fmla="*/ 748 h 875"/>
                <a:gd name="T80" fmla="*/ 699 w 1338"/>
                <a:gd name="T81" fmla="*/ 725 h 875"/>
                <a:gd name="T82" fmla="*/ 648 w 1338"/>
                <a:gd name="T83" fmla="*/ 756 h 875"/>
                <a:gd name="T84" fmla="*/ 608 w 1338"/>
                <a:gd name="T85" fmla="*/ 781 h 875"/>
                <a:gd name="T86" fmla="*/ 617 w 1338"/>
                <a:gd name="T87" fmla="*/ 739 h 875"/>
                <a:gd name="T88" fmla="*/ 553 w 1338"/>
                <a:gd name="T89" fmla="*/ 729 h 875"/>
                <a:gd name="T90" fmla="*/ 482 w 1338"/>
                <a:gd name="T91" fmla="*/ 699 h 875"/>
                <a:gd name="T92" fmla="*/ 436 w 1338"/>
                <a:gd name="T93" fmla="*/ 690 h 875"/>
                <a:gd name="T94" fmla="*/ 412 w 1338"/>
                <a:gd name="T95" fmla="*/ 676 h 875"/>
                <a:gd name="T96" fmla="*/ 373 w 1338"/>
                <a:gd name="T97" fmla="*/ 645 h 875"/>
                <a:gd name="T98" fmla="*/ 332 w 1338"/>
                <a:gd name="T99" fmla="*/ 607 h 875"/>
                <a:gd name="T100" fmla="*/ 305 w 1338"/>
                <a:gd name="T101" fmla="*/ 556 h 875"/>
                <a:gd name="T102" fmla="*/ 265 w 1338"/>
                <a:gd name="T103" fmla="*/ 532 h 875"/>
                <a:gd name="T104" fmla="*/ 216 w 1338"/>
                <a:gd name="T105" fmla="*/ 483 h 875"/>
                <a:gd name="T106" fmla="*/ 177 w 1338"/>
                <a:gd name="T107" fmla="*/ 427 h 875"/>
                <a:gd name="T108" fmla="*/ 130 w 1338"/>
                <a:gd name="T109" fmla="*/ 449 h 875"/>
                <a:gd name="T110" fmla="*/ 85 w 1338"/>
                <a:gd name="T111" fmla="*/ 398 h 875"/>
                <a:gd name="T112" fmla="*/ 38 w 1338"/>
                <a:gd name="T113" fmla="*/ 350 h 875"/>
                <a:gd name="T114" fmla="*/ 1 w 1338"/>
                <a:gd name="T115" fmla="*/ 299 h 875"/>
                <a:gd name="T116" fmla="*/ 0 w 1338"/>
                <a:gd name="T117" fmla="*/ 220 h 875"/>
                <a:gd name="T118" fmla="*/ 24 w 1338"/>
                <a:gd name="T119" fmla="*/ 220 h 875"/>
                <a:gd name="T120" fmla="*/ 60 w 1338"/>
                <a:gd name="T121" fmla="*/ 179 h 875"/>
                <a:gd name="T122" fmla="*/ 49 w 1338"/>
                <a:gd name="T123" fmla="*/ 105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8" h="875">
                  <a:moveTo>
                    <a:pt x="76" y="63"/>
                  </a:moveTo>
                  <a:lnTo>
                    <a:pt x="88" y="67"/>
                  </a:lnTo>
                  <a:lnTo>
                    <a:pt x="103" y="66"/>
                  </a:lnTo>
                  <a:lnTo>
                    <a:pt x="124" y="69"/>
                  </a:lnTo>
                  <a:lnTo>
                    <a:pt x="140" y="62"/>
                  </a:lnTo>
                  <a:lnTo>
                    <a:pt x="150" y="50"/>
                  </a:lnTo>
                  <a:lnTo>
                    <a:pt x="149" y="34"/>
                  </a:lnTo>
                  <a:lnTo>
                    <a:pt x="160" y="21"/>
                  </a:lnTo>
                  <a:lnTo>
                    <a:pt x="173" y="8"/>
                  </a:lnTo>
                  <a:lnTo>
                    <a:pt x="185" y="1"/>
                  </a:lnTo>
                  <a:lnTo>
                    <a:pt x="203" y="0"/>
                  </a:lnTo>
                  <a:lnTo>
                    <a:pt x="209" y="11"/>
                  </a:lnTo>
                  <a:lnTo>
                    <a:pt x="227" y="13"/>
                  </a:lnTo>
                  <a:lnTo>
                    <a:pt x="238" y="17"/>
                  </a:lnTo>
                  <a:lnTo>
                    <a:pt x="247" y="22"/>
                  </a:lnTo>
                  <a:lnTo>
                    <a:pt x="260" y="32"/>
                  </a:lnTo>
                  <a:lnTo>
                    <a:pt x="278" y="36"/>
                  </a:lnTo>
                  <a:lnTo>
                    <a:pt x="287" y="27"/>
                  </a:lnTo>
                  <a:lnTo>
                    <a:pt x="304" y="19"/>
                  </a:lnTo>
                  <a:lnTo>
                    <a:pt x="315" y="12"/>
                  </a:lnTo>
                  <a:lnTo>
                    <a:pt x="333" y="17"/>
                  </a:lnTo>
                  <a:lnTo>
                    <a:pt x="342" y="22"/>
                  </a:lnTo>
                  <a:lnTo>
                    <a:pt x="363" y="30"/>
                  </a:lnTo>
                  <a:lnTo>
                    <a:pt x="381" y="35"/>
                  </a:lnTo>
                  <a:lnTo>
                    <a:pt x="400" y="41"/>
                  </a:lnTo>
                  <a:lnTo>
                    <a:pt x="413" y="52"/>
                  </a:lnTo>
                  <a:lnTo>
                    <a:pt x="424" y="61"/>
                  </a:lnTo>
                  <a:lnTo>
                    <a:pt x="438" y="71"/>
                  </a:lnTo>
                  <a:lnTo>
                    <a:pt x="455" y="67"/>
                  </a:lnTo>
                  <a:lnTo>
                    <a:pt x="469" y="61"/>
                  </a:lnTo>
                  <a:lnTo>
                    <a:pt x="484" y="53"/>
                  </a:lnTo>
                  <a:lnTo>
                    <a:pt x="502" y="51"/>
                  </a:lnTo>
                  <a:lnTo>
                    <a:pt x="517" y="52"/>
                  </a:lnTo>
                  <a:lnTo>
                    <a:pt x="532" y="53"/>
                  </a:lnTo>
                  <a:lnTo>
                    <a:pt x="541" y="46"/>
                  </a:lnTo>
                  <a:lnTo>
                    <a:pt x="556" y="33"/>
                  </a:lnTo>
                  <a:lnTo>
                    <a:pt x="571" y="27"/>
                  </a:lnTo>
                  <a:lnTo>
                    <a:pt x="588" y="31"/>
                  </a:lnTo>
                  <a:lnTo>
                    <a:pt x="601" y="40"/>
                  </a:lnTo>
                  <a:lnTo>
                    <a:pt x="620" y="33"/>
                  </a:lnTo>
                  <a:lnTo>
                    <a:pt x="633" y="25"/>
                  </a:lnTo>
                  <a:lnTo>
                    <a:pt x="650" y="20"/>
                  </a:lnTo>
                  <a:lnTo>
                    <a:pt x="665" y="23"/>
                  </a:lnTo>
                  <a:lnTo>
                    <a:pt x="679" y="28"/>
                  </a:lnTo>
                  <a:lnTo>
                    <a:pt x="694" y="31"/>
                  </a:lnTo>
                  <a:lnTo>
                    <a:pt x="705" y="35"/>
                  </a:lnTo>
                  <a:lnTo>
                    <a:pt x="722" y="45"/>
                  </a:lnTo>
                  <a:lnTo>
                    <a:pt x="732" y="53"/>
                  </a:lnTo>
                  <a:lnTo>
                    <a:pt x="749" y="53"/>
                  </a:lnTo>
                  <a:lnTo>
                    <a:pt x="762" y="56"/>
                  </a:lnTo>
                  <a:lnTo>
                    <a:pt x="776" y="61"/>
                  </a:lnTo>
                  <a:lnTo>
                    <a:pt x="789" y="64"/>
                  </a:lnTo>
                  <a:lnTo>
                    <a:pt x="791" y="71"/>
                  </a:lnTo>
                  <a:lnTo>
                    <a:pt x="785" y="77"/>
                  </a:lnTo>
                  <a:lnTo>
                    <a:pt x="775" y="81"/>
                  </a:lnTo>
                  <a:lnTo>
                    <a:pt x="768" y="87"/>
                  </a:lnTo>
                  <a:lnTo>
                    <a:pt x="767" y="94"/>
                  </a:lnTo>
                  <a:lnTo>
                    <a:pt x="775" y="97"/>
                  </a:lnTo>
                  <a:lnTo>
                    <a:pt x="782" y="100"/>
                  </a:lnTo>
                  <a:lnTo>
                    <a:pt x="784" y="112"/>
                  </a:lnTo>
                  <a:lnTo>
                    <a:pt x="778" y="120"/>
                  </a:lnTo>
                  <a:lnTo>
                    <a:pt x="772" y="137"/>
                  </a:lnTo>
                  <a:lnTo>
                    <a:pt x="767" y="148"/>
                  </a:lnTo>
                  <a:lnTo>
                    <a:pt x="770" y="157"/>
                  </a:lnTo>
                  <a:lnTo>
                    <a:pt x="774" y="169"/>
                  </a:lnTo>
                  <a:lnTo>
                    <a:pt x="771" y="179"/>
                  </a:lnTo>
                  <a:lnTo>
                    <a:pt x="761" y="188"/>
                  </a:lnTo>
                  <a:lnTo>
                    <a:pt x="752" y="197"/>
                  </a:lnTo>
                  <a:lnTo>
                    <a:pt x="746" y="209"/>
                  </a:lnTo>
                  <a:lnTo>
                    <a:pt x="744" y="223"/>
                  </a:lnTo>
                  <a:lnTo>
                    <a:pt x="745" y="240"/>
                  </a:lnTo>
                  <a:lnTo>
                    <a:pt x="752" y="253"/>
                  </a:lnTo>
                  <a:lnTo>
                    <a:pt x="761" y="272"/>
                  </a:lnTo>
                  <a:lnTo>
                    <a:pt x="763" y="288"/>
                  </a:lnTo>
                  <a:lnTo>
                    <a:pt x="771" y="300"/>
                  </a:lnTo>
                  <a:lnTo>
                    <a:pt x="777" y="318"/>
                  </a:lnTo>
                  <a:lnTo>
                    <a:pt x="784" y="329"/>
                  </a:lnTo>
                  <a:lnTo>
                    <a:pt x="795" y="336"/>
                  </a:lnTo>
                  <a:lnTo>
                    <a:pt x="807" y="334"/>
                  </a:lnTo>
                  <a:lnTo>
                    <a:pt x="811" y="334"/>
                  </a:lnTo>
                  <a:lnTo>
                    <a:pt x="821" y="331"/>
                  </a:lnTo>
                  <a:lnTo>
                    <a:pt x="841" y="331"/>
                  </a:lnTo>
                  <a:lnTo>
                    <a:pt x="851" y="337"/>
                  </a:lnTo>
                  <a:lnTo>
                    <a:pt x="860" y="347"/>
                  </a:lnTo>
                  <a:lnTo>
                    <a:pt x="869" y="352"/>
                  </a:lnTo>
                  <a:lnTo>
                    <a:pt x="883" y="363"/>
                  </a:lnTo>
                  <a:lnTo>
                    <a:pt x="898" y="372"/>
                  </a:lnTo>
                  <a:lnTo>
                    <a:pt x="915" y="385"/>
                  </a:lnTo>
                  <a:lnTo>
                    <a:pt x="931" y="388"/>
                  </a:lnTo>
                  <a:lnTo>
                    <a:pt x="945" y="396"/>
                  </a:lnTo>
                  <a:lnTo>
                    <a:pt x="958" y="406"/>
                  </a:lnTo>
                  <a:lnTo>
                    <a:pt x="982" y="410"/>
                  </a:lnTo>
                  <a:lnTo>
                    <a:pt x="995" y="414"/>
                  </a:lnTo>
                  <a:lnTo>
                    <a:pt x="1018" y="416"/>
                  </a:lnTo>
                  <a:lnTo>
                    <a:pt x="1034" y="420"/>
                  </a:lnTo>
                  <a:lnTo>
                    <a:pt x="1047" y="419"/>
                  </a:lnTo>
                  <a:lnTo>
                    <a:pt x="1060" y="421"/>
                  </a:lnTo>
                  <a:lnTo>
                    <a:pt x="1070" y="424"/>
                  </a:lnTo>
                  <a:lnTo>
                    <a:pt x="1077" y="432"/>
                  </a:lnTo>
                  <a:lnTo>
                    <a:pt x="1081" y="440"/>
                  </a:lnTo>
                  <a:lnTo>
                    <a:pt x="1090" y="446"/>
                  </a:lnTo>
                  <a:lnTo>
                    <a:pt x="1095" y="445"/>
                  </a:lnTo>
                  <a:lnTo>
                    <a:pt x="1101" y="452"/>
                  </a:lnTo>
                  <a:lnTo>
                    <a:pt x="1106" y="462"/>
                  </a:lnTo>
                  <a:lnTo>
                    <a:pt x="1108" y="470"/>
                  </a:lnTo>
                  <a:lnTo>
                    <a:pt x="1113" y="486"/>
                  </a:lnTo>
                  <a:lnTo>
                    <a:pt x="1118" y="500"/>
                  </a:lnTo>
                  <a:lnTo>
                    <a:pt x="1126" y="509"/>
                  </a:lnTo>
                  <a:lnTo>
                    <a:pt x="1137" y="509"/>
                  </a:lnTo>
                  <a:lnTo>
                    <a:pt x="1152" y="511"/>
                  </a:lnTo>
                  <a:lnTo>
                    <a:pt x="1163" y="511"/>
                  </a:lnTo>
                  <a:lnTo>
                    <a:pt x="1175" y="511"/>
                  </a:lnTo>
                  <a:lnTo>
                    <a:pt x="1185" y="510"/>
                  </a:lnTo>
                  <a:lnTo>
                    <a:pt x="1191" y="505"/>
                  </a:lnTo>
                  <a:lnTo>
                    <a:pt x="1200" y="499"/>
                  </a:lnTo>
                  <a:lnTo>
                    <a:pt x="1214" y="497"/>
                  </a:lnTo>
                  <a:lnTo>
                    <a:pt x="1220" y="491"/>
                  </a:lnTo>
                  <a:lnTo>
                    <a:pt x="1221" y="478"/>
                  </a:lnTo>
                  <a:lnTo>
                    <a:pt x="1221" y="466"/>
                  </a:lnTo>
                  <a:lnTo>
                    <a:pt x="1228" y="456"/>
                  </a:lnTo>
                  <a:lnTo>
                    <a:pt x="1229" y="444"/>
                  </a:lnTo>
                  <a:lnTo>
                    <a:pt x="1236" y="433"/>
                  </a:lnTo>
                  <a:lnTo>
                    <a:pt x="1243" y="429"/>
                  </a:lnTo>
                  <a:lnTo>
                    <a:pt x="1252" y="439"/>
                  </a:lnTo>
                  <a:lnTo>
                    <a:pt x="1260" y="446"/>
                  </a:lnTo>
                  <a:lnTo>
                    <a:pt x="1269" y="452"/>
                  </a:lnTo>
                  <a:lnTo>
                    <a:pt x="1278" y="462"/>
                  </a:lnTo>
                  <a:lnTo>
                    <a:pt x="1282" y="469"/>
                  </a:lnTo>
                  <a:lnTo>
                    <a:pt x="1292" y="480"/>
                  </a:lnTo>
                  <a:lnTo>
                    <a:pt x="1294" y="492"/>
                  </a:lnTo>
                  <a:lnTo>
                    <a:pt x="1296" y="506"/>
                  </a:lnTo>
                  <a:lnTo>
                    <a:pt x="1298" y="514"/>
                  </a:lnTo>
                  <a:lnTo>
                    <a:pt x="1307" y="521"/>
                  </a:lnTo>
                  <a:lnTo>
                    <a:pt x="1317" y="534"/>
                  </a:lnTo>
                  <a:lnTo>
                    <a:pt x="1322" y="539"/>
                  </a:lnTo>
                  <a:lnTo>
                    <a:pt x="1326" y="543"/>
                  </a:lnTo>
                  <a:lnTo>
                    <a:pt x="1328" y="548"/>
                  </a:lnTo>
                  <a:lnTo>
                    <a:pt x="1324" y="556"/>
                  </a:lnTo>
                  <a:lnTo>
                    <a:pt x="1319" y="558"/>
                  </a:lnTo>
                  <a:lnTo>
                    <a:pt x="1314" y="551"/>
                  </a:lnTo>
                  <a:lnTo>
                    <a:pt x="1311" y="546"/>
                  </a:lnTo>
                  <a:lnTo>
                    <a:pt x="1306" y="545"/>
                  </a:lnTo>
                  <a:lnTo>
                    <a:pt x="1305" y="551"/>
                  </a:lnTo>
                  <a:lnTo>
                    <a:pt x="1307" y="568"/>
                  </a:lnTo>
                  <a:lnTo>
                    <a:pt x="1312" y="581"/>
                  </a:lnTo>
                  <a:lnTo>
                    <a:pt x="1316" y="593"/>
                  </a:lnTo>
                  <a:lnTo>
                    <a:pt x="1319" y="612"/>
                  </a:lnTo>
                  <a:lnTo>
                    <a:pt x="1323" y="629"/>
                  </a:lnTo>
                  <a:lnTo>
                    <a:pt x="1331" y="649"/>
                  </a:lnTo>
                  <a:lnTo>
                    <a:pt x="1335" y="667"/>
                  </a:lnTo>
                  <a:lnTo>
                    <a:pt x="1336" y="680"/>
                  </a:lnTo>
                  <a:lnTo>
                    <a:pt x="1334" y="699"/>
                  </a:lnTo>
                  <a:lnTo>
                    <a:pt x="1331" y="714"/>
                  </a:lnTo>
                  <a:lnTo>
                    <a:pt x="1337" y="732"/>
                  </a:lnTo>
                  <a:lnTo>
                    <a:pt x="1330" y="740"/>
                  </a:lnTo>
                  <a:lnTo>
                    <a:pt x="1323" y="745"/>
                  </a:lnTo>
                  <a:lnTo>
                    <a:pt x="1317" y="749"/>
                  </a:lnTo>
                  <a:lnTo>
                    <a:pt x="1310" y="750"/>
                  </a:lnTo>
                  <a:lnTo>
                    <a:pt x="1306" y="748"/>
                  </a:lnTo>
                  <a:lnTo>
                    <a:pt x="1301" y="748"/>
                  </a:lnTo>
                  <a:lnTo>
                    <a:pt x="1301" y="755"/>
                  </a:lnTo>
                  <a:lnTo>
                    <a:pt x="1301" y="763"/>
                  </a:lnTo>
                  <a:lnTo>
                    <a:pt x="1299" y="771"/>
                  </a:lnTo>
                  <a:lnTo>
                    <a:pt x="1299" y="778"/>
                  </a:lnTo>
                  <a:lnTo>
                    <a:pt x="1300" y="787"/>
                  </a:lnTo>
                  <a:lnTo>
                    <a:pt x="1297" y="794"/>
                  </a:lnTo>
                  <a:lnTo>
                    <a:pt x="1293" y="800"/>
                  </a:lnTo>
                  <a:lnTo>
                    <a:pt x="1287" y="800"/>
                  </a:lnTo>
                  <a:lnTo>
                    <a:pt x="1282" y="797"/>
                  </a:lnTo>
                  <a:lnTo>
                    <a:pt x="1274" y="798"/>
                  </a:lnTo>
                  <a:lnTo>
                    <a:pt x="1264" y="801"/>
                  </a:lnTo>
                  <a:lnTo>
                    <a:pt x="1260" y="809"/>
                  </a:lnTo>
                  <a:lnTo>
                    <a:pt x="1257" y="814"/>
                  </a:lnTo>
                  <a:lnTo>
                    <a:pt x="1252" y="806"/>
                  </a:lnTo>
                  <a:lnTo>
                    <a:pt x="1243" y="789"/>
                  </a:lnTo>
                  <a:lnTo>
                    <a:pt x="1233" y="776"/>
                  </a:lnTo>
                  <a:lnTo>
                    <a:pt x="1222" y="779"/>
                  </a:lnTo>
                  <a:lnTo>
                    <a:pt x="1218" y="793"/>
                  </a:lnTo>
                  <a:lnTo>
                    <a:pt x="1214" y="802"/>
                  </a:lnTo>
                  <a:lnTo>
                    <a:pt x="1209" y="812"/>
                  </a:lnTo>
                  <a:lnTo>
                    <a:pt x="1203" y="817"/>
                  </a:lnTo>
                  <a:lnTo>
                    <a:pt x="1201" y="827"/>
                  </a:lnTo>
                  <a:lnTo>
                    <a:pt x="1196" y="836"/>
                  </a:lnTo>
                  <a:lnTo>
                    <a:pt x="1191" y="840"/>
                  </a:lnTo>
                  <a:lnTo>
                    <a:pt x="1182" y="830"/>
                  </a:lnTo>
                  <a:lnTo>
                    <a:pt x="1175" y="824"/>
                  </a:lnTo>
                  <a:lnTo>
                    <a:pt x="1167" y="818"/>
                  </a:lnTo>
                  <a:lnTo>
                    <a:pt x="1156" y="810"/>
                  </a:lnTo>
                  <a:lnTo>
                    <a:pt x="1151" y="804"/>
                  </a:lnTo>
                  <a:lnTo>
                    <a:pt x="1141" y="797"/>
                  </a:lnTo>
                  <a:lnTo>
                    <a:pt x="1129" y="794"/>
                  </a:lnTo>
                  <a:lnTo>
                    <a:pt x="1118" y="791"/>
                  </a:lnTo>
                  <a:lnTo>
                    <a:pt x="1103" y="784"/>
                  </a:lnTo>
                  <a:lnTo>
                    <a:pt x="1098" y="785"/>
                  </a:lnTo>
                  <a:lnTo>
                    <a:pt x="1081" y="788"/>
                  </a:lnTo>
                  <a:lnTo>
                    <a:pt x="1075" y="791"/>
                  </a:lnTo>
                  <a:lnTo>
                    <a:pt x="1057" y="796"/>
                  </a:lnTo>
                  <a:lnTo>
                    <a:pt x="1044" y="804"/>
                  </a:lnTo>
                  <a:lnTo>
                    <a:pt x="1034" y="811"/>
                  </a:lnTo>
                  <a:lnTo>
                    <a:pt x="1026" y="815"/>
                  </a:lnTo>
                  <a:lnTo>
                    <a:pt x="1017" y="817"/>
                  </a:lnTo>
                  <a:lnTo>
                    <a:pt x="1006" y="820"/>
                  </a:lnTo>
                  <a:lnTo>
                    <a:pt x="995" y="822"/>
                  </a:lnTo>
                  <a:lnTo>
                    <a:pt x="992" y="830"/>
                  </a:lnTo>
                  <a:lnTo>
                    <a:pt x="988" y="835"/>
                  </a:lnTo>
                  <a:lnTo>
                    <a:pt x="982" y="844"/>
                  </a:lnTo>
                  <a:lnTo>
                    <a:pt x="968" y="853"/>
                  </a:lnTo>
                  <a:lnTo>
                    <a:pt x="962" y="861"/>
                  </a:lnTo>
                  <a:lnTo>
                    <a:pt x="955" y="864"/>
                  </a:lnTo>
                  <a:lnTo>
                    <a:pt x="943" y="866"/>
                  </a:lnTo>
                  <a:lnTo>
                    <a:pt x="934" y="867"/>
                  </a:lnTo>
                  <a:lnTo>
                    <a:pt x="920" y="870"/>
                  </a:lnTo>
                  <a:lnTo>
                    <a:pt x="905" y="872"/>
                  </a:lnTo>
                  <a:lnTo>
                    <a:pt x="896" y="874"/>
                  </a:lnTo>
                  <a:lnTo>
                    <a:pt x="884" y="873"/>
                  </a:lnTo>
                  <a:lnTo>
                    <a:pt x="877" y="871"/>
                  </a:lnTo>
                  <a:lnTo>
                    <a:pt x="869" y="869"/>
                  </a:lnTo>
                  <a:lnTo>
                    <a:pt x="859" y="869"/>
                  </a:lnTo>
                  <a:lnTo>
                    <a:pt x="852" y="868"/>
                  </a:lnTo>
                  <a:lnTo>
                    <a:pt x="838" y="866"/>
                  </a:lnTo>
                  <a:lnTo>
                    <a:pt x="828" y="860"/>
                  </a:lnTo>
                  <a:lnTo>
                    <a:pt x="825" y="853"/>
                  </a:lnTo>
                  <a:lnTo>
                    <a:pt x="824" y="845"/>
                  </a:lnTo>
                  <a:lnTo>
                    <a:pt x="827" y="839"/>
                  </a:lnTo>
                  <a:lnTo>
                    <a:pt x="830" y="832"/>
                  </a:lnTo>
                  <a:lnTo>
                    <a:pt x="833" y="818"/>
                  </a:lnTo>
                  <a:lnTo>
                    <a:pt x="828" y="814"/>
                  </a:lnTo>
                  <a:lnTo>
                    <a:pt x="820" y="808"/>
                  </a:lnTo>
                  <a:lnTo>
                    <a:pt x="814" y="810"/>
                  </a:lnTo>
                  <a:lnTo>
                    <a:pt x="805" y="803"/>
                  </a:lnTo>
                  <a:lnTo>
                    <a:pt x="808" y="786"/>
                  </a:lnTo>
                  <a:lnTo>
                    <a:pt x="808" y="779"/>
                  </a:lnTo>
                  <a:lnTo>
                    <a:pt x="805" y="767"/>
                  </a:lnTo>
                  <a:lnTo>
                    <a:pt x="800" y="766"/>
                  </a:lnTo>
                  <a:lnTo>
                    <a:pt x="791" y="764"/>
                  </a:lnTo>
                  <a:lnTo>
                    <a:pt x="778" y="760"/>
                  </a:lnTo>
                  <a:lnTo>
                    <a:pt x="770" y="756"/>
                  </a:lnTo>
                  <a:lnTo>
                    <a:pt x="759" y="754"/>
                  </a:lnTo>
                  <a:lnTo>
                    <a:pt x="751" y="750"/>
                  </a:lnTo>
                  <a:lnTo>
                    <a:pt x="746" y="748"/>
                  </a:lnTo>
                  <a:lnTo>
                    <a:pt x="738" y="739"/>
                  </a:lnTo>
                  <a:lnTo>
                    <a:pt x="733" y="730"/>
                  </a:lnTo>
                  <a:lnTo>
                    <a:pt x="726" y="723"/>
                  </a:lnTo>
                  <a:lnTo>
                    <a:pt x="719" y="720"/>
                  </a:lnTo>
                  <a:lnTo>
                    <a:pt x="710" y="722"/>
                  </a:lnTo>
                  <a:lnTo>
                    <a:pt x="699" y="725"/>
                  </a:lnTo>
                  <a:lnTo>
                    <a:pt x="687" y="730"/>
                  </a:lnTo>
                  <a:lnTo>
                    <a:pt x="676" y="733"/>
                  </a:lnTo>
                  <a:lnTo>
                    <a:pt x="666" y="738"/>
                  </a:lnTo>
                  <a:lnTo>
                    <a:pt x="656" y="744"/>
                  </a:lnTo>
                  <a:lnTo>
                    <a:pt x="653" y="753"/>
                  </a:lnTo>
                  <a:lnTo>
                    <a:pt x="648" y="756"/>
                  </a:lnTo>
                  <a:lnTo>
                    <a:pt x="640" y="763"/>
                  </a:lnTo>
                  <a:lnTo>
                    <a:pt x="636" y="766"/>
                  </a:lnTo>
                  <a:lnTo>
                    <a:pt x="632" y="770"/>
                  </a:lnTo>
                  <a:lnTo>
                    <a:pt x="623" y="772"/>
                  </a:lnTo>
                  <a:lnTo>
                    <a:pt x="621" y="781"/>
                  </a:lnTo>
                  <a:lnTo>
                    <a:pt x="608" y="781"/>
                  </a:lnTo>
                  <a:lnTo>
                    <a:pt x="607" y="775"/>
                  </a:lnTo>
                  <a:lnTo>
                    <a:pt x="609" y="766"/>
                  </a:lnTo>
                  <a:lnTo>
                    <a:pt x="609" y="756"/>
                  </a:lnTo>
                  <a:lnTo>
                    <a:pt x="613" y="756"/>
                  </a:lnTo>
                  <a:lnTo>
                    <a:pt x="615" y="746"/>
                  </a:lnTo>
                  <a:lnTo>
                    <a:pt x="617" y="739"/>
                  </a:lnTo>
                  <a:lnTo>
                    <a:pt x="608" y="727"/>
                  </a:lnTo>
                  <a:lnTo>
                    <a:pt x="598" y="728"/>
                  </a:lnTo>
                  <a:lnTo>
                    <a:pt x="589" y="732"/>
                  </a:lnTo>
                  <a:lnTo>
                    <a:pt x="578" y="733"/>
                  </a:lnTo>
                  <a:lnTo>
                    <a:pt x="562" y="730"/>
                  </a:lnTo>
                  <a:lnTo>
                    <a:pt x="553" y="729"/>
                  </a:lnTo>
                  <a:lnTo>
                    <a:pt x="538" y="732"/>
                  </a:lnTo>
                  <a:lnTo>
                    <a:pt x="522" y="730"/>
                  </a:lnTo>
                  <a:lnTo>
                    <a:pt x="508" y="722"/>
                  </a:lnTo>
                  <a:lnTo>
                    <a:pt x="498" y="712"/>
                  </a:lnTo>
                  <a:lnTo>
                    <a:pt x="490" y="704"/>
                  </a:lnTo>
                  <a:lnTo>
                    <a:pt x="482" y="699"/>
                  </a:lnTo>
                  <a:lnTo>
                    <a:pt x="472" y="699"/>
                  </a:lnTo>
                  <a:lnTo>
                    <a:pt x="464" y="702"/>
                  </a:lnTo>
                  <a:lnTo>
                    <a:pt x="455" y="705"/>
                  </a:lnTo>
                  <a:lnTo>
                    <a:pt x="446" y="704"/>
                  </a:lnTo>
                  <a:lnTo>
                    <a:pt x="440" y="704"/>
                  </a:lnTo>
                  <a:lnTo>
                    <a:pt x="436" y="690"/>
                  </a:lnTo>
                  <a:lnTo>
                    <a:pt x="430" y="691"/>
                  </a:lnTo>
                  <a:lnTo>
                    <a:pt x="428" y="695"/>
                  </a:lnTo>
                  <a:lnTo>
                    <a:pt x="422" y="702"/>
                  </a:lnTo>
                  <a:lnTo>
                    <a:pt x="417" y="695"/>
                  </a:lnTo>
                  <a:lnTo>
                    <a:pt x="414" y="684"/>
                  </a:lnTo>
                  <a:lnTo>
                    <a:pt x="412" y="676"/>
                  </a:lnTo>
                  <a:lnTo>
                    <a:pt x="407" y="665"/>
                  </a:lnTo>
                  <a:lnTo>
                    <a:pt x="401" y="663"/>
                  </a:lnTo>
                  <a:lnTo>
                    <a:pt x="392" y="658"/>
                  </a:lnTo>
                  <a:lnTo>
                    <a:pt x="381" y="656"/>
                  </a:lnTo>
                  <a:lnTo>
                    <a:pt x="373" y="658"/>
                  </a:lnTo>
                  <a:lnTo>
                    <a:pt x="373" y="645"/>
                  </a:lnTo>
                  <a:lnTo>
                    <a:pt x="377" y="632"/>
                  </a:lnTo>
                  <a:lnTo>
                    <a:pt x="369" y="629"/>
                  </a:lnTo>
                  <a:lnTo>
                    <a:pt x="356" y="628"/>
                  </a:lnTo>
                  <a:lnTo>
                    <a:pt x="342" y="621"/>
                  </a:lnTo>
                  <a:lnTo>
                    <a:pt x="336" y="614"/>
                  </a:lnTo>
                  <a:lnTo>
                    <a:pt x="332" y="607"/>
                  </a:lnTo>
                  <a:lnTo>
                    <a:pt x="328" y="600"/>
                  </a:lnTo>
                  <a:lnTo>
                    <a:pt x="324" y="591"/>
                  </a:lnTo>
                  <a:lnTo>
                    <a:pt x="320" y="582"/>
                  </a:lnTo>
                  <a:lnTo>
                    <a:pt x="317" y="572"/>
                  </a:lnTo>
                  <a:lnTo>
                    <a:pt x="314" y="565"/>
                  </a:lnTo>
                  <a:lnTo>
                    <a:pt x="305" y="556"/>
                  </a:lnTo>
                  <a:lnTo>
                    <a:pt x="299" y="555"/>
                  </a:lnTo>
                  <a:lnTo>
                    <a:pt x="292" y="557"/>
                  </a:lnTo>
                  <a:lnTo>
                    <a:pt x="284" y="560"/>
                  </a:lnTo>
                  <a:lnTo>
                    <a:pt x="275" y="553"/>
                  </a:lnTo>
                  <a:lnTo>
                    <a:pt x="269" y="544"/>
                  </a:lnTo>
                  <a:lnTo>
                    <a:pt x="265" y="532"/>
                  </a:lnTo>
                  <a:lnTo>
                    <a:pt x="257" y="524"/>
                  </a:lnTo>
                  <a:lnTo>
                    <a:pt x="246" y="515"/>
                  </a:lnTo>
                  <a:lnTo>
                    <a:pt x="238" y="511"/>
                  </a:lnTo>
                  <a:lnTo>
                    <a:pt x="236" y="501"/>
                  </a:lnTo>
                  <a:lnTo>
                    <a:pt x="228" y="495"/>
                  </a:lnTo>
                  <a:lnTo>
                    <a:pt x="216" y="483"/>
                  </a:lnTo>
                  <a:lnTo>
                    <a:pt x="208" y="475"/>
                  </a:lnTo>
                  <a:lnTo>
                    <a:pt x="206" y="470"/>
                  </a:lnTo>
                  <a:lnTo>
                    <a:pt x="192" y="452"/>
                  </a:lnTo>
                  <a:lnTo>
                    <a:pt x="188" y="444"/>
                  </a:lnTo>
                  <a:lnTo>
                    <a:pt x="184" y="435"/>
                  </a:lnTo>
                  <a:lnTo>
                    <a:pt x="177" y="427"/>
                  </a:lnTo>
                  <a:lnTo>
                    <a:pt x="170" y="426"/>
                  </a:lnTo>
                  <a:lnTo>
                    <a:pt x="160" y="429"/>
                  </a:lnTo>
                  <a:lnTo>
                    <a:pt x="155" y="432"/>
                  </a:lnTo>
                  <a:lnTo>
                    <a:pt x="144" y="450"/>
                  </a:lnTo>
                  <a:lnTo>
                    <a:pt x="138" y="457"/>
                  </a:lnTo>
                  <a:lnTo>
                    <a:pt x="130" y="449"/>
                  </a:lnTo>
                  <a:lnTo>
                    <a:pt x="121" y="437"/>
                  </a:lnTo>
                  <a:lnTo>
                    <a:pt x="114" y="426"/>
                  </a:lnTo>
                  <a:lnTo>
                    <a:pt x="106" y="414"/>
                  </a:lnTo>
                  <a:lnTo>
                    <a:pt x="101" y="408"/>
                  </a:lnTo>
                  <a:lnTo>
                    <a:pt x="94" y="402"/>
                  </a:lnTo>
                  <a:lnTo>
                    <a:pt x="85" y="398"/>
                  </a:lnTo>
                  <a:lnTo>
                    <a:pt x="80" y="389"/>
                  </a:lnTo>
                  <a:lnTo>
                    <a:pt x="71" y="375"/>
                  </a:lnTo>
                  <a:lnTo>
                    <a:pt x="65" y="366"/>
                  </a:lnTo>
                  <a:lnTo>
                    <a:pt x="59" y="370"/>
                  </a:lnTo>
                  <a:lnTo>
                    <a:pt x="49" y="364"/>
                  </a:lnTo>
                  <a:lnTo>
                    <a:pt x="38" y="350"/>
                  </a:lnTo>
                  <a:lnTo>
                    <a:pt x="29" y="336"/>
                  </a:lnTo>
                  <a:lnTo>
                    <a:pt x="27" y="327"/>
                  </a:lnTo>
                  <a:lnTo>
                    <a:pt x="21" y="325"/>
                  </a:lnTo>
                  <a:lnTo>
                    <a:pt x="11" y="317"/>
                  </a:lnTo>
                  <a:lnTo>
                    <a:pt x="6" y="311"/>
                  </a:lnTo>
                  <a:lnTo>
                    <a:pt x="1" y="299"/>
                  </a:lnTo>
                  <a:lnTo>
                    <a:pt x="2" y="280"/>
                  </a:lnTo>
                  <a:lnTo>
                    <a:pt x="6" y="263"/>
                  </a:lnTo>
                  <a:lnTo>
                    <a:pt x="6" y="252"/>
                  </a:lnTo>
                  <a:lnTo>
                    <a:pt x="0" y="242"/>
                  </a:lnTo>
                  <a:lnTo>
                    <a:pt x="3" y="233"/>
                  </a:lnTo>
                  <a:lnTo>
                    <a:pt x="0" y="220"/>
                  </a:lnTo>
                  <a:lnTo>
                    <a:pt x="3" y="207"/>
                  </a:lnTo>
                  <a:lnTo>
                    <a:pt x="10" y="200"/>
                  </a:lnTo>
                  <a:lnTo>
                    <a:pt x="20" y="195"/>
                  </a:lnTo>
                  <a:lnTo>
                    <a:pt x="26" y="203"/>
                  </a:lnTo>
                  <a:lnTo>
                    <a:pt x="21" y="211"/>
                  </a:lnTo>
                  <a:lnTo>
                    <a:pt x="24" y="220"/>
                  </a:lnTo>
                  <a:lnTo>
                    <a:pt x="30" y="228"/>
                  </a:lnTo>
                  <a:lnTo>
                    <a:pt x="42" y="228"/>
                  </a:lnTo>
                  <a:lnTo>
                    <a:pt x="52" y="215"/>
                  </a:lnTo>
                  <a:lnTo>
                    <a:pt x="57" y="205"/>
                  </a:lnTo>
                  <a:lnTo>
                    <a:pt x="58" y="189"/>
                  </a:lnTo>
                  <a:lnTo>
                    <a:pt x="60" y="179"/>
                  </a:lnTo>
                  <a:lnTo>
                    <a:pt x="61" y="167"/>
                  </a:lnTo>
                  <a:lnTo>
                    <a:pt x="54" y="159"/>
                  </a:lnTo>
                  <a:lnTo>
                    <a:pt x="46" y="151"/>
                  </a:lnTo>
                  <a:lnTo>
                    <a:pt x="47" y="136"/>
                  </a:lnTo>
                  <a:lnTo>
                    <a:pt x="49" y="121"/>
                  </a:lnTo>
                  <a:lnTo>
                    <a:pt x="49" y="105"/>
                  </a:lnTo>
                  <a:lnTo>
                    <a:pt x="52" y="94"/>
                  </a:lnTo>
                  <a:lnTo>
                    <a:pt x="57" y="82"/>
                  </a:lnTo>
                  <a:lnTo>
                    <a:pt x="62" y="78"/>
                  </a:lnTo>
                  <a:lnTo>
                    <a:pt x="75" y="71"/>
                  </a:lnTo>
                  <a:lnTo>
                    <a:pt x="76" y="63"/>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1" name="Freeform 11"/>
            <p:cNvSpPr>
              <a:spLocks/>
            </p:cNvSpPr>
            <p:nvPr/>
          </p:nvSpPr>
          <p:spPr bwMode="auto">
            <a:xfrm>
              <a:off x="3913188" y="3622675"/>
              <a:ext cx="1255712" cy="993775"/>
            </a:xfrm>
            <a:custGeom>
              <a:avLst/>
              <a:gdLst>
                <a:gd name="T0" fmla="*/ 35 w 861"/>
                <a:gd name="T1" fmla="*/ 51 h 680"/>
                <a:gd name="T2" fmla="*/ 73 w 861"/>
                <a:gd name="T3" fmla="*/ 25 h 680"/>
                <a:gd name="T4" fmla="*/ 99 w 861"/>
                <a:gd name="T5" fmla="*/ 87 h 680"/>
                <a:gd name="T6" fmla="*/ 164 w 861"/>
                <a:gd name="T7" fmla="*/ 120 h 680"/>
                <a:gd name="T8" fmla="*/ 205 w 861"/>
                <a:gd name="T9" fmla="*/ 128 h 680"/>
                <a:gd name="T10" fmla="*/ 253 w 861"/>
                <a:gd name="T11" fmla="*/ 105 h 680"/>
                <a:gd name="T12" fmla="*/ 297 w 861"/>
                <a:gd name="T13" fmla="*/ 96 h 680"/>
                <a:gd name="T14" fmla="*/ 341 w 861"/>
                <a:gd name="T15" fmla="*/ 59 h 680"/>
                <a:gd name="T16" fmla="*/ 346 w 861"/>
                <a:gd name="T17" fmla="*/ 0 h 680"/>
                <a:gd name="T18" fmla="*/ 391 w 861"/>
                <a:gd name="T19" fmla="*/ 36 h 680"/>
                <a:gd name="T20" fmla="*/ 459 w 861"/>
                <a:gd name="T21" fmla="*/ 72 h 680"/>
                <a:gd name="T22" fmla="*/ 501 w 861"/>
                <a:gd name="T23" fmla="*/ 135 h 680"/>
                <a:gd name="T24" fmla="*/ 535 w 861"/>
                <a:gd name="T25" fmla="*/ 112 h 680"/>
                <a:gd name="T26" fmla="*/ 585 w 861"/>
                <a:gd name="T27" fmla="*/ 127 h 680"/>
                <a:gd name="T28" fmla="*/ 653 w 861"/>
                <a:gd name="T29" fmla="*/ 143 h 680"/>
                <a:gd name="T30" fmla="*/ 693 w 861"/>
                <a:gd name="T31" fmla="*/ 164 h 680"/>
                <a:gd name="T32" fmla="*/ 760 w 861"/>
                <a:gd name="T33" fmla="*/ 185 h 680"/>
                <a:gd name="T34" fmla="*/ 810 w 861"/>
                <a:gd name="T35" fmla="*/ 213 h 680"/>
                <a:gd name="T36" fmla="*/ 848 w 861"/>
                <a:gd name="T37" fmla="*/ 238 h 680"/>
                <a:gd name="T38" fmla="*/ 840 w 861"/>
                <a:gd name="T39" fmla="*/ 285 h 680"/>
                <a:gd name="T40" fmla="*/ 801 w 861"/>
                <a:gd name="T41" fmla="*/ 306 h 680"/>
                <a:gd name="T42" fmla="*/ 751 w 861"/>
                <a:gd name="T43" fmla="*/ 313 h 680"/>
                <a:gd name="T44" fmla="*/ 738 w 861"/>
                <a:gd name="T45" fmla="*/ 376 h 680"/>
                <a:gd name="T46" fmla="*/ 780 w 861"/>
                <a:gd name="T47" fmla="*/ 416 h 680"/>
                <a:gd name="T48" fmla="*/ 797 w 861"/>
                <a:gd name="T49" fmla="*/ 472 h 680"/>
                <a:gd name="T50" fmla="*/ 761 w 861"/>
                <a:gd name="T51" fmla="*/ 490 h 680"/>
                <a:gd name="T52" fmla="*/ 738 w 861"/>
                <a:gd name="T53" fmla="*/ 455 h 680"/>
                <a:gd name="T54" fmla="*/ 701 w 861"/>
                <a:gd name="T55" fmla="*/ 437 h 680"/>
                <a:gd name="T56" fmla="*/ 665 w 861"/>
                <a:gd name="T57" fmla="*/ 437 h 680"/>
                <a:gd name="T58" fmla="*/ 629 w 861"/>
                <a:gd name="T59" fmla="*/ 457 h 680"/>
                <a:gd name="T60" fmla="*/ 602 w 861"/>
                <a:gd name="T61" fmla="*/ 464 h 680"/>
                <a:gd name="T62" fmla="*/ 567 w 861"/>
                <a:gd name="T63" fmla="*/ 460 h 680"/>
                <a:gd name="T64" fmla="*/ 577 w 861"/>
                <a:gd name="T65" fmla="*/ 506 h 680"/>
                <a:gd name="T66" fmla="*/ 584 w 861"/>
                <a:gd name="T67" fmla="*/ 542 h 680"/>
                <a:gd name="T68" fmla="*/ 523 w 861"/>
                <a:gd name="T69" fmla="*/ 535 h 680"/>
                <a:gd name="T70" fmla="*/ 481 w 861"/>
                <a:gd name="T71" fmla="*/ 526 h 680"/>
                <a:gd name="T72" fmla="*/ 451 w 861"/>
                <a:gd name="T73" fmla="*/ 493 h 680"/>
                <a:gd name="T74" fmla="*/ 421 w 861"/>
                <a:gd name="T75" fmla="*/ 466 h 680"/>
                <a:gd name="T76" fmla="*/ 407 w 861"/>
                <a:gd name="T77" fmla="*/ 494 h 680"/>
                <a:gd name="T78" fmla="*/ 387 w 861"/>
                <a:gd name="T79" fmla="*/ 537 h 680"/>
                <a:gd name="T80" fmla="*/ 340 w 861"/>
                <a:gd name="T81" fmla="*/ 583 h 680"/>
                <a:gd name="T82" fmla="*/ 336 w 861"/>
                <a:gd name="T83" fmla="*/ 666 h 680"/>
                <a:gd name="T84" fmla="*/ 295 w 861"/>
                <a:gd name="T85" fmla="*/ 668 h 680"/>
                <a:gd name="T86" fmla="*/ 259 w 861"/>
                <a:gd name="T87" fmla="*/ 637 h 680"/>
                <a:gd name="T88" fmla="*/ 228 w 861"/>
                <a:gd name="T89" fmla="*/ 576 h 680"/>
                <a:gd name="T90" fmla="*/ 189 w 861"/>
                <a:gd name="T91" fmla="*/ 522 h 680"/>
                <a:gd name="T92" fmla="*/ 160 w 861"/>
                <a:gd name="T93" fmla="*/ 484 h 680"/>
                <a:gd name="T94" fmla="*/ 135 w 861"/>
                <a:gd name="T95" fmla="*/ 432 h 680"/>
                <a:gd name="T96" fmla="*/ 96 w 861"/>
                <a:gd name="T97" fmla="*/ 488 h 680"/>
                <a:gd name="T98" fmla="*/ 101 w 861"/>
                <a:gd name="T99" fmla="*/ 414 h 680"/>
                <a:gd name="T100" fmla="*/ 92 w 861"/>
                <a:gd name="T101" fmla="*/ 343 h 680"/>
                <a:gd name="T102" fmla="*/ 64 w 861"/>
                <a:gd name="T103" fmla="*/ 244 h 680"/>
                <a:gd name="T104" fmla="*/ 81 w 861"/>
                <a:gd name="T105" fmla="*/ 232 h 680"/>
                <a:gd name="T106" fmla="*/ 55 w 861"/>
                <a:gd name="T107" fmla="*/ 190 h 680"/>
                <a:gd name="T108" fmla="*/ 26 w 861"/>
                <a:gd name="T109" fmla="*/ 128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1" h="680">
                  <a:moveTo>
                    <a:pt x="0" y="105"/>
                  </a:moveTo>
                  <a:lnTo>
                    <a:pt x="1" y="93"/>
                  </a:lnTo>
                  <a:lnTo>
                    <a:pt x="9" y="87"/>
                  </a:lnTo>
                  <a:lnTo>
                    <a:pt x="20" y="74"/>
                  </a:lnTo>
                  <a:lnTo>
                    <a:pt x="31" y="65"/>
                  </a:lnTo>
                  <a:lnTo>
                    <a:pt x="35" y="51"/>
                  </a:lnTo>
                  <a:lnTo>
                    <a:pt x="37" y="38"/>
                  </a:lnTo>
                  <a:lnTo>
                    <a:pt x="33" y="25"/>
                  </a:lnTo>
                  <a:lnTo>
                    <a:pt x="36" y="14"/>
                  </a:lnTo>
                  <a:lnTo>
                    <a:pt x="50" y="11"/>
                  </a:lnTo>
                  <a:lnTo>
                    <a:pt x="67" y="15"/>
                  </a:lnTo>
                  <a:lnTo>
                    <a:pt x="73" y="25"/>
                  </a:lnTo>
                  <a:lnTo>
                    <a:pt x="79" y="32"/>
                  </a:lnTo>
                  <a:lnTo>
                    <a:pt x="85" y="41"/>
                  </a:lnTo>
                  <a:lnTo>
                    <a:pt x="86" y="53"/>
                  </a:lnTo>
                  <a:lnTo>
                    <a:pt x="88" y="63"/>
                  </a:lnTo>
                  <a:lnTo>
                    <a:pt x="91" y="75"/>
                  </a:lnTo>
                  <a:lnTo>
                    <a:pt x="99" y="87"/>
                  </a:lnTo>
                  <a:lnTo>
                    <a:pt x="110" y="95"/>
                  </a:lnTo>
                  <a:lnTo>
                    <a:pt x="123" y="105"/>
                  </a:lnTo>
                  <a:lnTo>
                    <a:pt x="133" y="111"/>
                  </a:lnTo>
                  <a:lnTo>
                    <a:pt x="147" y="120"/>
                  </a:lnTo>
                  <a:lnTo>
                    <a:pt x="156" y="125"/>
                  </a:lnTo>
                  <a:lnTo>
                    <a:pt x="164" y="120"/>
                  </a:lnTo>
                  <a:lnTo>
                    <a:pt x="168" y="113"/>
                  </a:lnTo>
                  <a:lnTo>
                    <a:pt x="174" y="102"/>
                  </a:lnTo>
                  <a:lnTo>
                    <a:pt x="182" y="113"/>
                  </a:lnTo>
                  <a:lnTo>
                    <a:pt x="183" y="121"/>
                  </a:lnTo>
                  <a:lnTo>
                    <a:pt x="198" y="133"/>
                  </a:lnTo>
                  <a:lnTo>
                    <a:pt x="205" y="128"/>
                  </a:lnTo>
                  <a:lnTo>
                    <a:pt x="210" y="133"/>
                  </a:lnTo>
                  <a:lnTo>
                    <a:pt x="223" y="136"/>
                  </a:lnTo>
                  <a:lnTo>
                    <a:pt x="233" y="132"/>
                  </a:lnTo>
                  <a:lnTo>
                    <a:pt x="247" y="128"/>
                  </a:lnTo>
                  <a:lnTo>
                    <a:pt x="248" y="115"/>
                  </a:lnTo>
                  <a:lnTo>
                    <a:pt x="253" y="105"/>
                  </a:lnTo>
                  <a:lnTo>
                    <a:pt x="257" y="96"/>
                  </a:lnTo>
                  <a:lnTo>
                    <a:pt x="262" y="92"/>
                  </a:lnTo>
                  <a:lnTo>
                    <a:pt x="274" y="95"/>
                  </a:lnTo>
                  <a:lnTo>
                    <a:pt x="283" y="98"/>
                  </a:lnTo>
                  <a:lnTo>
                    <a:pt x="289" y="95"/>
                  </a:lnTo>
                  <a:lnTo>
                    <a:pt x="297" y="96"/>
                  </a:lnTo>
                  <a:lnTo>
                    <a:pt x="308" y="93"/>
                  </a:lnTo>
                  <a:lnTo>
                    <a:pt x="320" y="79"/>
                  </a:lnTo>
                  <a:lnTo>
                    <a:pt x="325" y="71"/>
                  </a:lnTo>
                  <a:lnTo>
                    <a:pt x="332" y="71"/>
                  </a:lnTo>
                  <a:lnTo>
                    <a:pt x="339" y="66"/>
                  </a:lnTo>
                  <a:lnTo>
                    <a:pt x="341" y="59"/>
                  </a:lnTo>
                  <a:lnTo>
                    <a:pt x="335" y="44"/>
                  </a:lnTo>
                  <a:lnTo>
                    <a:pt x="332" y="38"/>
                  </a:lnTo>
                  <a:lnTo>
                    <a:pt x="325" y="27"/>
                  </a:lnTo>
                  <a:lnTo>
                    <a:pt x="327" y="11"/>
                  </a:lnTo>
                  <a:lnTo>
                    <a:pt x="333" y="2"/>
                  </a:lnTo>
                  <a:lnTo>
                    <a:pt x="346" y="0"/>
                  </a:lnTo>
                  <a:lnTo>
                    <a:pt x="362" y="0"/>
                  </a:lnTo>
                  <a:lnTo>
                    <a:pt x="376" y="3"/>
                  </a:lnTo>
                  <a:lnTo>
                    <a:pt x="385" y="9"/>
                  </a:lnTo>
                  <a:lnTo>
                    <a:pt x="385" y="18"/>
                  </a:lnTo>
                  <a:lnTo>
                    <a:pt x="386" y="30"/>
                  </a:lnTo>
                  <a:lnTo>
                    <a:pt x="391" y="36"/>
                  </a:lnTo>
                  <a:lnTo>
                    <a:pt x="402" y="43"/>
                  </a:lnTo>
                  <a:lnTo>
                    <a:pt x="416" y="48"/>
                  </a:lnTo>
                  <a:lnTo>
                    <a:pt x="430" y="50"/>
                  </a:lnTo>
                  <a:lnTo>
                    <a:pt x="442" y="59"/>
                  </a:lnTo>
                  <a:lnTo>
                    <a:pt x="451" y="64"/>
                  </a:lnTo>
                  <a:lnTo>
                    <a:pt x="459" y="72"/>
                  </a:lnTo>
                  <a:lnTo>
                    <a:pt x="460" y="82"/>
                  </a:lnTo>
                  <a:lnTo>
                    <a:pt x="459" y="95"/>
                  </a:lnTo>
                  <a:lnTo>
                    <a:pt x="464" y="113"/>
                  </a:lnTo>
                  <a:lnTo>
                    <a:pt x="475" y="127"/>
                  </a:lnTo>
                  <a:lnTo>
                    <a:pt x="489" y="131"/>
                  </a:lnTo>
                  <a:lnTo>
                    <a:pt x="501" y="135"/>
                  </a:lnTo>
                  <a:lnTo>
                    <a:pt x="508" y="138"/>
                  </a:lnTo>
                  <a:lnTo>
                    <a:pt x="520" y="137"/>
                  </a:lnTo>
                  <a:lnTo>
                    <a:pt x="529" y="133"/>
                  </a:lnTo>
                  <a:lnTo>
                    <a:pt x="538" y="126"/>
                  </a:lnTo>
                  <a:lnTo>
                    <a:pt x="536" y="120"/>
                  </a:lnTo>
                  <a:lnTo>
                    <a:pt x="535" y="112"/>
                  </a:lnTo>
                  <a:lnTo>
                    <a:pt x="540" y="111"/>
                  </a:lnTo>
                  <a:lnTo>
                    <a:pt x="550" y="109"/>
                  </a:lnTo>
                  <a:lnTo>
                    <a:pt x="558" y="112"/>
                  </a:lnTo>
                  <a:lnTo>
                    <a:pt x="563" y="115"/>
                  </a:lnTo>
                  <a:lnTo>
                    <a:pt x="575" y="122"/>
                  </a:lnTo>
                  <a:lnTo>
                    <a:pt x="585" y="127"/>
                  </a:lnTo>
                  <a:lnTo>
                    <a:pt x="597" y="133"/>
                  </a:lnTo>
                  <a:lnTo>
                    <a:pt x="606" y="138"/>
                  </a:lnTo>
                  <a:lnTo>
                    <a:pt x="624" y="133"/>
                  </a:lnTo>
                  <a:lnTo>
                    <a:pt x="639" y="125"/>
                  </a:lnTo>
                  <a:lnTo>
                    <a:pt x="646" y="133"/>
                  </a:lnTo>
                  <a:lnTo>
                    <a:pt x="653" y="143"/>
                  </a:lnTo>
                  <a:lnTo>
                    <a:pt x="656" y="151"/>
                  </a:lnTo>
                  <a:lnTo>
                    <a:pt x="658" y="158"/>
                  </a:lnTo>
                  <a:lnTo>
                    <a:pt x="670" y="160"/>
                  </a:lnTo>
                  <a:lnTo>
                    <a:pt x="676" y="157"/>
                  </a:lnTo>
                  <a:lnTo>
                    <a:pt x="688" y="158"/>
                  </a:lnTo>
                  <a:lnTo>
                    <a:pt x="693" y="164"/>
                  </a:lnTo>
                  <a:lnTo>
                    <a:pt x="698" y="174"/>
                  </a:lnTo>
                  <a:lnTo>
                    <a:pt x="713" y="177"/>
                  </a:lnTo>
                  <a:lnTo>
                    <a:pt x="722" y="174"/>
                  </a:lnTo>
                  <a:lnTo>
                    <a:pt x="737" y="173"/>
                  </a:lnTo>
                  <a:lnTo>
                    <a:pt x="747" y="177"/>
                  </a:lnTo>
                  <a:lnTo>
                    <a:pt x="760" y="185"/>
                  </a:lnTo>
                  <a:lnTo>
                    <a:pt x="767" y="191"/>
                  </a:lnTo>
                  <a:lnTo>
                    <a:pt x="778" y="198"/>
                  </a:lnTo>
                  <a:lnTo>
                    <a:pt x="788" y="208"/>
                  </a:lnTo>
                  <a:lnTo>
                    <a:pt x="797" y="216"/>
                  </a:lnTo>
                  <a:lnTo>
                    <a:pt x="804" y="218"/>
                  </a:lnTo>
                  <a:lnTo>
                    <a:pt x="810" y="213"/>
                  </a:lnTo>
                  <a:lnTo>
                    <a:pt x="811" y="210"/>
                  </a:lnTo>
                  <a:lnTo>
                    <a:pt x="815" y="215"/>
                  </a:lnTo>
                  <a:lnTo>
                    <a:pt x="826" y="223"/>
                  </a:lnTo>
                  <a:lnTo>
                    <a:pt x="832" y="232"/>
                  </a:lnTo>
                  <a:lnTo>
                    <a:pt x="839" y="237"/>
                  </a:lnTo>
                  <a:lnTo>
                    <a:pt x="848" y="238"/>
                  </a:lnTo>
                  <a:lnTo>
                    <a:pt x="857" y="245"/>
                  </a:lnTo>
                  <a:lnTo>
                    <a:pt x="860" y="259"/>
                  </a:lnTo>
                  <a:lnTo>
                    <a:pt x="860" y="269"/>
                  </a:lnTo>
                  <a:lnTo>
                    <a:pt x="855" y="275"/>
                  </a:lnTo>
                  <a:lnTo>
                    <a:pt x="853" y="285"/>
                  </a:lnTo>
                  <a:lnTo>
                    <a:pt x="840" y="285"/>
                  </a:lnTo>
                  <a:lnTo>
                    <a:pt x="831" y="288"/>
                  </a:lnTo>
                  <a:lnTo>
                    <a:pt x="824" y="296"/>
                  </a:lnTo>
                  <a:lnTo>
                    <a:pt x="819" y="305"/>
                  </a:lnTo>
                  <a:lnTo>
                    <a:pt x="814" y="311"/>
                  </a:lnTo>
                  <a:lnTo>
                    <a:pt x="806" y="308"/>
                  </a:lnTo>
                  <a:lnTo>
                    <a:pt x="801" y="306"/>
                  </a:lnTo>
                  <a:lnTo>
                    <a:pt x="791" y="316"/>
                  </a:lnTo>
                  <a:lnTo>
                    <a:pt x="783" y="313"/>
                  </a:lnTo>
                  <a:lnTo>
                    <a:pt x="780" y="307"/>
                  </a:lnTo>
                  <a:lnTo>
                    <a:pt x="773" y="307"/>
                  </a:lnTo>
                  <a:lnTo>
                    <a:pt x="761" y="308"/>
                  </a:lnTo>
                  <a:lnTo>
                    <a:pt x="751" y="313"/>
                  </a:lnTo>
                  <a:lnTo>
                    <a:pt x="747" y="321"/>
                  </a:lnTo>
                  <a:lnTo>
                    <a:pt x="747" y="336"/>
                  </a:lnTo>
                  <a:lnTo>
                    <a:pt x="747" y="347"/>
                  </a:lnTo>
                  <a:lnTo>
                    <a:pt x="743" y="354"/>
                  </a:lnTo>
                  <a:lnTo>
                    <a:pt x="738" y="367"/>
                  </a:lnTo>
                  <a:lnTo>
                    <a:pt x="738" y="376"/>
                  </a:lnTo>
                  <a:lnTo>
                    <a:pt x="753" y="383"/>
                  </a:lnTo>
                  <a:lnTo>
                    <a:pt x="759" y="391"/>
                  </a:lnTo>
                  <a:lnTo>
                    <a:pt x="766" y="403"/>
                  </a:lnTo>
                  <a:lnTo>
                    <a:pt x="773" y="406"/>
                  </a:lnTo>
                  <a:lnTo>
                    <a:pt x="780" y="411"/>
                  </a:lnTo>
                  <a:lnTo>
                    <a:pt x="780" y="416"/>
                  </a:lnTo>
                  <a:lnTo>
                    <a:pt x="786" y="423"/>
                  </a:lnTo>
                  <a:lnTo>
                    <a:pt x="793" y="425"/>
                  </a:lnTo>
                  <a:lnTo>
                    <a:pt x="796" y="432"/>
                  </a:lnTo>
                  <a:lnTo>
                    <a:pt x="797" y="447"/>
                  </a:lnTo>
                  <a:lnTo>
                    <a:pt x="797" y="460"/>
                  </a:lnTo>
                  <a:lnTo>
                    <a:pt x="797" y="472"/>
                  </a:lnTo>
                  <a:lnTo>
                    <a:pt x="796" y="484"/>
                  </a:lnTo>
                  <a:lnTo>
                    <a:pt x="788" y="492"/>
                  </a:lnTo>
                  <a:lnTo>
                    <a:pt x="783" y="493"/>
                  </a:lnTo>
                  <a:lnTo>
                    <a:pt x="777" y="496"/>
                  </a:lnTo>
                  <a:lnTo>
                    <a:pt x="768" y="495"/>
                  </a:lnTo>
                  <a:lnTo>
                    <a:pt x="761" y="490"/>
                  </a:lnTo>
                  <a:lnTo>
                    <a:pt x="758" y="482"/>
                  </a:lnTo>
                  <a:lnTo>
                    <a:pt x="758" y="474"/>
                  </a:lnTo>
                  <a:lnTo>
                    <a:pt x="756" y="466"/>
                  </a:lnTo>
                  <a:lnTo>
                    <a:pt x="750" y="465"/>
                  </a:lnTo>
                  <a:lnTo>
                    <a:pt x="743" y="463"/>
                  </a:lnTo>
                  <a:lnTo>
                    <a:pt x="738" y="455"/>
                  </a:lnTo>
                  <a:lnTo>
                    <a:pt x="736" y="447"/>
                  </a:lnTo>
                  <a:lnTo>
                    <a:pt x="732" y="438"/>
                  </a:lnTo>
                  <a:lnTo>
                    <a:pt x="727" y="435"/>
                  </a:lnTo>
                  <a:lnTo>
                    <a:pt x="718" y="435"/>
                  </a:lnTo>
                  <a:lnTo>
                    <a:pt x="709" y="439"/>
                  </a:lnTo>
                  <a:lnTo>
                    <a:pt x="701" y="437"/>
                  </a:lnTo>
                  <a:lnTo>
                    <a:pt x="696" y="426"/>
                  </a:lnTo>
                  <a:lnTo>
                    <a:pt x="688" y="421"/>
                  </a:lnTo>
                  <a:lnTo>
                    <a:pt x="678" y="424"/>
                  </a:lnTo>
                  <a:lnTo>
                    <a:pt x="675" y="426"/>
                  </a:lnTo>
                  <a:lnTo>
                    <a:pt x="670" y="433"/>
                  </a:lnTo>
                  <a:lnTo>
                    <a:pt x="665" y="437"/>
                  </a:lnTo>
                  <a:lnTo>
                    <a:pt x="658" y="444"/>
                  </a:lnTo>
                  <a:lnTo>
                    <a:pt x="652" y="447"/>
                  </a:lnTo>
                  <a:lnTo>
                    <a:pt x="643" y="443"/>
                  </a:lnTo>
                  <a:lnTo>
                    <a:pt x="635" y="444"/>
                  </a:lnTo>
                  <a:lnTo>
                    <a:pt x="632" y="450"/>
                  </a:lnTo>
                  <a:lnTo>
                    <a:pt x="629" y="457"/>
                  </a:lnTo>
                  <a:lnTo>
                    <a:pt x="627" y="467"/>
                  </a:lnTo>
                  <a:lnTo>
                    <a:pt x="620" y="473"/>
                  </a:lnTo>
                  <a:lnTo>
                    <a:pt x="612" y="473"/>
                  </a:lnTo>
                  <a:lnTo>
                    <a:pt x="611" y="467"/>
                  </a:lnTo>
                  <a:lnTo>
                    <a:pt x="606" y="460"/>
                  </a:lnTo>
                  <a:lnTo>
                    <a:pt x="602" y="464"/>
                  </a:lnTo>
                  <a:lnTo>
                    <a:pt x="598" y="474"/>
                  </a:lnTo>
                  <a:lnTo>
                    <a:pt x="593" y="477"/>
                  </a:lnTo>
                  <a:lnTo>
                    <a:pt x="585" y="463"/>
                  </a:lnTo>
                  <a:lnTo>
                    <a:pt x="580" y="458"/>
                  </a:lnTo>
                  <a:lnTo>
                    <a:pt x="575" y="456"/>
                  </a:lnTo>
                  <a:lnTo>
                    <a:pt x="567" y="460"/>
                  </a:lnTo>
                  <a:lnTo>
                    <a:pt x="558" y="468"/>
                  </a:lnTo>
                  <a:lnTo>
                    <a:pt x="549" y="476"/>
                  </a:lnTo>
                  <a:lnTo>
                    <a:pt x="548" y="486"/>
                  </a:lnTo>
                  <a:lnTo>
                    <a:pt x="553" y="497"/>
                  </a:lnTo>
                  <a:lnTo>
                    <a:pt x="564" y="506"/>
                  </a:lnTo>
                  <a:lnTo>
                    <a:pt x="577" y="506"/>
                  </a:lnTo>
                  <a:lnTo>
                    <a:pt x="585" y="511"/>
                  </a:lnTo>
                  <a:lnTo>
                    <a:pt x="593" y="516"/>
                  </a:lnTo>
                  <a:lnTo>
                    <a:pt x="600" y="523"/>
                  </a:lnTo>
                  <a:lnTo>
                    <a:pt x="600" y="533"/>
                  </a:lnTo>
                  <a:lnTo>
                    <a:pt x="593" y="537"/>
                  </a:lnTo>
                  <a:lnTo>
                    <a:pt x="584" y="542"/>
                  </a:lnTo>
                  <a:lnTo>
                    <a:pt x="571" y="542"/>
                  </a:lnTo>
                  <a:lnTo>
                    <a:pt x="554" y="537"/>
                  </a:lnTo>
                  <a:lnTo>
                    <a:pt x="543" y="535"/>
                  </a:lnTo>
                  <a:lnTo>
                    <a:pt x="533" y="535"/>
                  </a:lnTo>
                  <a:lnTo>
                    <a:pt x="523" y="540"/>
                  </a:lnTo>
                  <a:lnTo>
                    <a:pt x="523" y="535"/>
                  </a:lnTo>
                  <a:lnTo>
                    <a:pt x="519" y="524"/>
                  </a:lnTo>
                  <a:lnTo>
                    <a:pt x="516" y="522"/>
                  </a:lnTo>
                  <a:lnTo>
                    <a:pt x="508" y="517"/>
                  </a:lnTo>
                  <a:lnTo>
                    <a:pt x="498" y="519"/>
                  </a:lnTo>
                  <a:lnTo>
                    <a:pt x="492" y="523"/>
                  </a:lnTo>
                  <a:lnTo>
                    <a:pt x="481" y="526"/>
                  </a:lnTo>
                  <a:lnTo>
                    <a:pt x="477" y="530"/>
                  </a:lnTo>
                  <a:lnTo>
                    <a:pt x="464" y="524"/>
                  </a:lnTo>
                  <a:lnTo>
                    <a:pt x="460" y="513"/>
                  </a:lnTo>
                  <a:lnTo>
                    <a:pt x="459" y="507"/>
                  </a:lnTo>
                  <a:lnTo>
                    <a:pt x="459" y="498"/>
                  </a:lnTo>
                  <a:lnTo>
                    <a:pt x="451" y="493"/>
                  </a:lnTo>
                  <a:lnTo>
                    <a:pt x="450" y="488"/>
                  </a:lnTo>
                  <a:lnTo>
                    <a:pt x="454" y="483"/>
                  </a:lnTo>
                  <a:lnTo>
                    <a:pt x="448" y="473"/>
                  </a:lnTo>
                  <a:lnTo>
                    <a:pt x="436" y="468"/>
                  </a:lnTo>
                  <a:lnTo>
                    <a:pt x="429" y="468"/>
                  </a:lnTo>
                  <a:lnTo>
                    <a:pt x="421" y="466"/>
                  </a:lnTo>
                  <a:lnTo>
                    <a:pt x="418" y="475"/>
                  </a:lnTo>
                  <a:lnTo>
                    <a:pt x="417" y="483"/>
                  </a:lnTo>
                  <a:lnTo>
                    <a:pt x="421" y="496"/>
                  </a:lnTo>
                  <a:lnTo>
                    <a:pt x="418" y="501"/>
                  </a:lnTo>
                  <a:lnTo>
                    <a:pt x="412" y="498"/>
                  </a:lnTo>
                  <a:lnTo>
                    <a:pt x="407" y="494"/>
                  </a:lnTo>
                  <a:lnTo>
                    <a:pt x="398" y="498"/>
                  </a:lnTo>
                  <a:lnTo>
                    <a:pt x="394" y="506"/>
                  </a:lnTo>
                  <a:lnTo>
                    <a:pt x="394" y="514"/>
                  </a:lnTo>
                  <a:lnTo>
                    <a:pt x="395" y="518"/>
                  </a:lnTo>
                  <a:lnTo>
                    <a:pt x="387" y="529"/>
                  </a:lnTo>
                  <a:lnTo>
                    <a:pt x="387" y="537"/>
                  </a:lnTo>
                  <a:lnTo>
                    <a:pt x="374" y="542"/>
                  </a:lnTo>
                  <a:lnTo>
                    <a:pt x="368" y="556"/>
                  </a:lnTo>
                  <a:lnTo>
                    <a:pt x="364" y="561"/>
                  </a:lnTo>
                  <a:lnTo>
                    <a:pt x="349" y="570"/>
                  </a:lnTo>
                  <a:lnTo>
                    <a:pt x="341" y="573"/>
                  </a:lnTo>
                  <a:lnTo>
                    <a:pt x="340" y="583"/>
                  </a:lnTo>
                  <a:lnTo>
                    <a:pt x="345" y="602"/>
                  </a:lnTo>
                  <a:lnTo>
                    <a:pt x="349" y="617"/>
                  </a:lnTo>
                  <a:lnTo>
                    <a:pt x="352" y="630"/>
                  </a:lnTo>
                  <a:lnTo>
                    <a:pt x="349" y="647"/>
                  </a:lnTo>
                  <a:lnTo>
                    <a:pt x="343" y="653"/>
                  </a:lnTo>
                  <a:lnTo>
                    <a:pt x="336" y="666"/>
                  </a:lnTo>
                  <a:lnTo>
                    <a:pt x="328" y="660"/>
                  </a:lnTo>
                  <a:lnTo>
                    <a:pt x="323" y="649"/>
                  </a:lnTo>
                  <a:lnTo>
                    <a:pt x="318" y="652"/>
                  </a:lnTo>
                  <a:lnTo>
                    <a:pt x="308" y="655"/>
                  </a:lnTo>
                  <a:lnTo>
                    <a:pt x="302" y="660"/>
                  </a:lnTo>
                  <a:lnTo>
                    <a:pt x="295" y="668"/>
                  </a:lnTo>
                  <a:lnTo>
                    <a:pt x="288" y="672"/>
                  </a:lnTo>
                  <a:lnTo>
                    <a:pt x="279" y="679"/>
                  </a:lnTo>
                  <a:lnTo>
                    <a:pt x="269" y="676"/>
                  </a:lnTo>
                  <a:lnTo>
                    <a:pt x="259" y="660"/>
                  </a:lnTo>
                  <a:lnTo>
                    <a:pt x="256" y="646"/>
                  </a:lnTo>
                  <a:lnTo>
                    <a:pt x="259" y="637"/>
                  </a:lnTo>
                  <a:lnTo>
                    <a:pt x="261" y="629"/>
                  </a:lnTo>
                  <a:lnTo>
                    <a:pt x="252" y="622"/>
                  </a:lnTo>
                  <a:lnTo>
                    <a:pt x="243" y="613"/>
                  </a:lnTo>
                  <a:lnTo>
                    <a:pt x="236" y="598"/>
                  </a:lnTo>
                  <a:lnTo>
                    <a:pt x="233" y="586"/>
                  </a:lnTo>
                  <a:lnTo>
                    <a:pt x="228" y="576"/>
                  </a:lnTo>
                  <a:lnTo>
                    <a:pt x="219" y="563"/>
                  </a:lnTo>
                  <a:lnTo>
                    <a:pt x="209" y="544"/>
                  </a:lnTo>
                  <a:lnTo>
                    <a:pt x="202" y="529"/>
                  </a:lnTo>
                  <a:lnTo>
                    <a:pt x="201" y="522"/>
                  </a:lnTo>
                  <a:lnTo>
                    <a:pt x="197" y="514"/>
                  </a:lnTo>
                  <a:lnTo>
                    <a:pt x="189" y="522"/>
                  </a:lnTo>
                  <a:lnTo>
                    <a:pt x="181" y="525"/>
                  </a:lnTo>
                  <a:lnTo>
                    <a:pt x="172" y="522"/>
                  </a:lnTo>
                  <a:lnTo>
                    <a:pt x="172" y="512"/>
                  </a:lnTo>
                  <a:lnTo>
                    <a:pt x="166" y="498"/>
                  </a:lnTo>
                  <a:lnTo>
                    <a:pt x="162" y="493"/>
                  </a:lnTo>
                  <a:lnTo>
                    <a:pt x="160" y="484"/>
                  </a:lnTo>
                  <a:lnTo>
                    <a:pt x="155" y="470"/>
                  </a:lnTo>
                  <a:lnTo>
                    <a:pt x="154" y="460"/>
                  </a:lnTo>
                  <a:lnTo>
                    <a:pt x="151" y="453"/>
                  </a:lnTo>
                  <a:lnTo>
                    <a:pt x="143" y="445"/>
                  </a:lnTo>
                  <a:lnTo>
                    <a:pt x="140" y="438"/>
                  </a:lnTo>
                  <a:lnTo>
                    <a:pt x="135" y="432"/>
                  </a:lnTo>
                  <a:lnTo>
                    <a:pt x="125" y="434"/>
                  </a:lnTo>
                  <a:lnTo>
                    <a:pt x="119" y="445"/>
                  </a:lnTo>
                  <a:lnTo>
                    <a:pt x="114" y="460"/>
                  </a:lnTo>
                  <a:lnTo>
                    <a:pt x="107" y="475"/>
                  </a:lnTo>
                  <a:lnTo>
                    <a:pt x="102" y="490"/>
                  </a:lnTo>
                  <a:lnTo>
                    <a:pt x="96" y="488"/>
                  </a:lnTo>
                  <a:lnTo>
                    <a:pt x="92" y="468"/>
                  </a:lnTo>
                  <a:lnTo>
                    <a:pt x="94" y="454"/>
                  </a:lnTo>
                  <a:lnTo>
                    <a:pt x="95" y="439"/>
                  </a:lnTo>
                  <a:lnTo>
                    <a:pt x="97" y="428"/>
                  </a:lnTo>
                  <a:lnTo>
                    <a:pt x="97" y="419"/>
                  </a:lnTo>
                  <a:lnTo>
                    <a:pt x="101" y="414"/>
                  </a:lnTo>
                  <a:lnTo>
                    <a:pt x="99" y="409"/>
                  </a:lnTo>
                  <a:lnTo>
                    <a:pt x="94" y="408"/>
                  </a:lnTo>
                  <a:lnTo>
                    <a:pt x="88" y="390"/>
                  </a:lnTo>
                  <a:lnTo>
                    <a:pt x="91" y="375"/>
                  </a:lnTo>
                  <a:lnTo>
                    <a:pt x="93" y="356"/>
                  </a:lnTo>
                  <a:lnTo>
                    <a:pt x="92" y="343"/>
                  </a:lnTo>
                  <a:lnTo>
                    <a:pt x="88" y="325"/>
                  </a:lnTo>
                  <a:lnTo>
                    <a:pt x="80" y="305"/>
                  </a:lnTo>
                  <a:lnTo>
                    <a:pt x="76" y="288"/>
                  </a:lnTo>
                  <a:lnTo>
                    <a:pt x="73" y="269"/>
                  </a:lnTo>
                  <a:lnTo>
                    <a:pt x="69" y="257"/>
                  </a:lnTo>
                  <a:lnTo>
                    <a:pt x="64" y="244"/>
                  </a:lnTo>
                  <a:lnTo>
                    <a:pt x="62" y="227"/>
                  </a:lnTo>
                  <a:lnTo>
                    <a:pt x="63" y="221"/>
                  </a:lnTo>
                  <a:lnTo>
                    <a:pt x="68" y="222"/>
                  </a:lnTo>
                  <a:lnTo>
                    <a:pt x="71" y="227"/>
                  </a:lnTo>
                  <a:lnTo>
                    <a:pt x="76" y="234"/>
                  </a:lnTo>
                  <a:lnTo>
                    <a:pt x="81" y="232"/>
                  </a:lnTo>
                  <a:lnTo>
                    <a:pt x="85" y="224"/>
                  </a:lnTo>
                  <a:lnTo>
                    <a:pt x="83" y="219"/>
                  </a:lnTo>
                  <a:lnTo>
                    <a:pt x="79" y="215"/>
                  </a:lnTo>
                  <a:lnTo>
                    <a:pt x="74" y="210"/>
                  </a:lnTo>
                  <a:lnTo>
                    <a:pt x="64" y="197"/>
                  </a:lnTo>
                  <a:lnTo>
                    <a:pt x="55" y="190"/>
                  </a:lnTo>
                  <a:lnTo>
                    <a:pt x="53" y="182"/>
                  </a:lnTo>
                  <a:lnTo>
                    <a:pt x="51" y="168"/>
                  </a:lnTo>
                  <a:lnTo>
                    <a:pt x="49" y="156"/>
                  </a:lnTo>
                  <a:lnTo>
                    <a:pt x="39" y="145"/>
                  </a:lnTo>
                  <a:lnTo>
                    <a:pt x="35" y="138"/>
                  </a:lnTo>
                  <a:lnTo>
                    <a:pt x="26" y="128"/>
                  </a:lnTo>
                  <a:lnTo>
                    <a:pt x="17" y="122"/>
                  </a:lnTo>
                  <a:lnTo>
                    <a:pt x="9" y="115"/>
                  </a:lnTo>
                  <a:lnTo>
                    <a:pt x="0" y="105"/>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2" name="Freeform 12"/>
            <p:cNvSpPr>
              <a:spLocks/>
            </p:cNvSpPr>
            <p:nvPr/>
          </p:nvSpPr>
          <p:spPr bwMode="auto">
            <a:xfrm>
              <a:off x="5705475" y="2901950"/>
              <a:ext cx="149225" cy="166688"/>
            </a:xfrm>
            <a:custGeom>
              <a:avLst/>
              <a:gdLst>
                <a:gd name="T0" fmla="*/ 0 w 103"/>
                <a:gd name="T1" fmla="*/ 39 h 115"/>
                <a:gd name="T2" fmla="*/ 2 w 103"/>
                <a:gd name="T3" fmla="*/ 31 h 115"/>
                <a:gd name="T4" fmla="*/ 11 w 103"/>
                <a:gd name="T5" fmla="*/ 29 h 115"/>
                <a:gd name="T6" fmla="*/ 20 w 103"/>
                <a:gd name="T7" fmla="*/ 24 h 115"/>
                <a:gd name="T8" fmla="*/ 27 w 103"/>
                <a:gd name="T9" fmla="*/ 16 h 115"/>
                <a:gd name="T10" fmla="*/ 33 w 103"/>
                <a:gd name="T11" fmla="*/ 7 h 115"/>
                <a:gd name="T12" fmla="*/ 42 w 103"/>
                <a:gd name="T13" fmla="*/ 1 h 115"/>
                <a:gd name="T14" fmla="*/ 46 w 103"/>
                <a:gd name="T15" fmla="*/ 0 h 115"/>
                <a:gd name="T16" fmla="*/ 52 w 103"/>
                <a:gd name="T17" fmla="*/ 6 h 115"/>
                <a:gd name="T18" fmla="*/ 59 w 103"/>
                <a:gd name="T19" fmla="*/ 14 h 115"/>
                <a:gd name="T20" fmla="*/ 68 w 103"/>
                <a:gd name="T21" fmla="*/ 24 h 115"/>
                <a:gd name="T22" fmla="*/ 71 w 103"/>
                <a:gd name="T23" fmla="*/ 29 h 115"/>
                <a:gd name="T24" fmla="*/ 82 w 103"/>
                <a:gd name="T25" fmla="*/ 32 h 115"/>
                <a:gd name="T26" fmla="*/ 85 w 103"/>
                <a:gd name="T27" fmla="*/ 29 h 115"/>
                <a:gd name="T28" fmla="*/ 90 w 103"/>
                <a:gd name="T29" fmla="*/ 21 h 115"/>
                <a:gd name="T30" fmla="*/ 94 w 103"/>
                <a:gd name="T31" fmla="*/ 26 h 115"/>
                <a:gd name="T32" fmla="*/ 98 w 103"/>
                <a:gd name="T33" fmla="*/ 34 h 115"/>
                <a:gd name="T34" fmla="*/ 99 w 103"/>
                <a:gd name="T35" fmla="*/ 44 h 115"/>
                <a:gd name="T36" fmla="*/ 102 w 103"/>
                <a:gd name="T37" fmla="*/ 56 h 115"/>
                <a:gd name="T38" fmla="*/ 90 w 103"/>
                <a:gd name="T39" fmla="*/ 60 h 115"/>
                <a:gd name="T40" fmla="*/ 83 w 103"/>
                <a:gd name="T41" fmla="*/ 65 h 115"/>
                <a:gd name="T42" fmla="*/ 79 w 103"/>
                <a:gd name="T43" fmla="*/ 71 h 115"/>
                <a:gd name="T44" fmla="*/ 74 w 103"/>
                <a:gd name="T45" fmla="*/ 79 h 115"/>
                <a:gd name="T46" fmla="*/ 70 w 103"/>
                <a:gd name="T47" fmla="*/ 86 h 115"/>
                <a:gd name="T48" fmla="*/ 69 w 103"/>
                <a:gd name="T49" fmla="*/ 92 h 115"/>
                <a:gd name="T50" fmla="*/ 72 w 103"/>
                <a:gd name="T51" fmla="*/ 103 h 115"/>
                <a:gd name="T52" fmla="*/ 64 w 103"/>
                <a:gd name="T53" fmla="*/ 107 h 115"/>
                <a:gd name="T54" fmla="*/ 56 w 103"/>
                <a:gd name="T55" fmla="*/ 112 h 115"/>
                <a:gd name="T56" fmla="*/ 46 w 103"/>
                <a:gd name="T57" fmla="*/ 114 h 115"/>
                <a:gd name="T58" fmla="*/ 43 w 103"/>
                <a:gd name="T59" fmla="*/ 101 h 115"/>
                <a:gd name="T60" fmla="*/ 34 w 103"/>
                <a:gd name="T61" fmla="*/ 98 h 115"/>
                <a:gd name="T62" fmla="*/ 25 w 103"/>
                <a:gd name="T63" fmla="*/ 93 h 115"/>
                <a:gd name="T64" fmla="*/ 20 w 103"/>
                <a:gd name="T65" fmla="*/ 84 h 115"/>
                <a:gd name="T66" fmla="*/ 23 w 103"/>
                <a:gd name="T67" fmla="*/ 75 h 115"/>
                <a:gd name="T68" fmla="*/ 29 w 103"/>
                <a:gd name="T69" fmla="*/ 65 h 115"/>
                <a:gd name="T70" fmla="*/ 34 w 103"/>
                <a:gd name="T71" fmla="*/ 57 h 115"/>
                <a:gd name="T72" fmla="*/ 33 w 103"/>
                <a:gd name="T73" fmla="*/ 49 h 115"/>
                <a:gd name="T74" fmla="*/ 26 w 103"/>
                <a:gd name="T75" fmla="*/ 44 h 115"/>
                <a:gd name="T76" fmla="*/ 11 w 103"/>
                <a:gd name="T77" fmla="*/ 46 h 115"/>
                <a:gd name="T78" fmla="*/ 2 w 103"/>
                <a:gd name="T79" fmla="*/ 43 h 115"/>
                <a:gd name="T80" fmla="*/ 0 w 103"/>
                <a:gd name="T81" fmla="*/ 3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3" h="115">
                  <a:moveTo>
                    <a:pt x="0" y="39"/>
                  </a:moveTo>
                  <a:lnTo>
                    <a:pt x="2" y="31"/>
                  </a:lnTo>
                  <a:lnTo>
                    <a:pt x="11" y="29"/>
                  </a:lnTo>
                  <a:lnTo>
                    <a:pt x="20" y="24"/>
                  </a:lnTo>
                  <a:lnTo>
                    <a:pt x="27" y="16"/>
                  </a:lnTo>
                  <a:lnTo>
                    <a:pt x="33" y="7"/>
                  </a:lnTo>
                  <a:lnTo>
                    <a:pt x="42" y="1"/>
                  </a:lnTo>
                  <a:lnTo>
                    <a:pt x="46" y="0"/>
                  </a:lnTo>
                  <a:lnTo>
                    <a:pt x="52" y="6"/>
                  </a:lnTo>
                  <a:lnTo>
                    <a:pt x="59" y="14"/>
                  </a:lnTo>
                  <a:lnTo>
                    <a:pt x="68" y="24"/>
                  </a:lnTo>
                  <a:lnTo>
                    <a:pt x="71" y="29"/>
                  </a:lnTo>
                  <a:lnTo>
                    <a:pt x="82" y="32"/>
                  </a:lnTo>
                  <a:lnTo>
                    <a:pt x="85" y="29"/>
                  </a:lnTo>
                  <a:lnTo>
                    <a:pt x="90" y="21"/>
                  </a:lnTo>
                  <a:lnTo>
                    <a:pt x="94" y="26"/>
                  </a:lnTo>
                  <a:lnTo>
                    <a:pt x="98" y="34"/>
                  </a:lnTo>
                  <a:lnTo>
                    <a:pt x="99" y="44"/>
                  </a:lnTo>
                  <a:lnTo>
                    <a:pt x="102" y="56"/>
                  </a:lnTo>
                  <a:lnTo>
                    <a:pt x="90" y="60"/>
                  </a:lnTo>
                  <a:lnTo>
                    <a:pt x="83" y="65"/>
                  </a:lnTo>
                  <a:lnTo>
                    <a:pt x="79" y="71"/>
                  </a:lnTo>
                  <a:lnTo>
                    <a:pt x="74" y="79"/>
                  </a:lnTo>
                  <a:lnTo>
                    <a:pt x="70" y="86"/>
                  </a:lnTo>
                  <a:lnTo>
                    <a:pt x="69" y="92"/>
                  </a:lnTo>
                  <a:lnTo>
                    <a:pt x="72" y="103"/>
                  </a:lnTo>
                  <a:lnTo>
                    <a:pt x="64" y="107"/>
                  </a:lnTo>
                  <a:lnTo>
                    <a:pt x="56" y="112"/>
                  </a:lnTo>
                  <a:lnTo>
                    <a:pt x="46" y="114"/>
                  </a:lnTo>
                  <a:lnTo>
                    <a:pt x="43" y="101"/>
                  </a:lnTo>
                  <a:lnTo>
                    <a:pt x="34" y="98"/>
                  </a:lnTo>
                  <a:lnTo>
                    <a:pt x="25" y="93"/>
                  </a:lnTo>
                  <a:lnTo>
                    <a:pt x="20" y="84"/>
                  </a:lnTo>
                  <a:lnTo>
                    <a:pt x="23" y="75"/>
                  </a:lnTo>
                  <a:lnTo>
                    <a:pt x="29" y="65"/>
                  </a:lnTo>
                  <a:lnTo>
                    <a:pt x="34" y="57"/>
                  </a:lnTo>
                  <a:lnTo>
                    <a:pt x="33" y="49"/>
                  </a:lnTo>
                  <a:lnTo>
                    <a:pt x="26" y="44"/>
                  </a:lnTo>
                  <a:lnTo>
                    <a:pt x="11" y="46"/>
                  </a:lnTo>
                  <a:lnTo>
                    <a:pt x="2" y="43"/>
                  </a:lnTo>
                  <a:lnTo>
                    <a:pt x="0" y="39"/>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3" name="Freeform 13"/>
            <p:cNvSpPr>
              <a:spLocks/>
            </p:cNvSpPr>
            <p:nvPr/>
          </p:nvSpPr>
          <p:spPr bwMode="auto">
            <a:xfrm>
              <a:off x="4632325" y="3009900"/>
              <a:ext cx="292100" cy="508000"/>
            </a:xfrm>
            <a:custGeom>
              <a:avLst/>
              <a:gdLst>
                <a:gd name="T0" fmla="*/ 191 w 200"/>
                <a:gd name="T1" fmla="*/ 123 h 348"/>
                <a:gd name="T2" fmla="*/ 167 w 200"/>
                <a:gd name="T3" fmla="*/ 108 h 348"/>
                <a:gd name="T4" fmla="*/ 142 w 200"/>
                <a:gd name="T5" fmla="*/ 97 h 348"/>
                <a:gd name="T6" fmla="*/ 130 w 200"/>
                <a:gd name="T7" fmla="*/ 70 h 348"/>
                <a:gd name="T8" fmla="*/ 141 w 200"/>
                <a:gd name="T9" fmla="*/ 44 h 348"/>
                <a:gd name="T10" fmla="*/ 141 w 200"/>
                <a:gd name="T11" fmla="*/ 13 h 348"/>
                <a:gd name="T12" fmla="*/ 127 w 200"/>
                <a:gd name="T13" fmla="*/ 0 h 348"/>
                <a:gd name="T14" fmla="*/ 101 w 200"/>
                <a:gd name="T15" fmla="*/ 13 h 348"/>
                <a:gd name="T16" fmla="*/ 88 w 200"/>
                <a:gd name="T17" fmla="*/ 41 h 348"/>
                <a:gd name="T18" fmla="*/ 80 w 200"/>
                <a:gd name="T19" fmla="*/ 75 h 348"/>
                <a:gd name="T20" fmla="*/ 77 w 200"/>
                <a:gd name="T21" fmla="*/ 111 h 348"/>
                <a:gd name="T22" fmla="*/ 60 w 200"/>
                <a:gd name="T23" fmla="*/ 142 h 348"/>
                <a:gd name="T24" fmla="*/ 35 w 200"/>
                <a:gd name="T25" fmla="*/ 158 h 348"/>
                <a:gd name="T26" fmla="*/ 8 w 200"/>
                <a:gd name="T27" fmla="*/ 164 h 348"/>
                <a:gd name="T28" fmla="*/ 2 w 200"/>
                <a:gd name="T29" fmla="*/ 176 h 348"/>
                <a:gd name="T30" fmla="*/ 13 w 200"/>
                <a:gd name="T31" fmla="*/ 183 h 348"/>
                <a:gd name="T32" fmla="*/ 25 w 200"/>
                <a:gd name="T33" fmla="*/ 189 h 348"/>
                <a:gd name="T34" fmla="*/ 40 w 200"/>
                <a:gd name="T35" fmla="*/ 198 h 348"/>
                <a:gd name="T36" fmla="*/ 45 w 200"/>
                <a:gd name="T37" fmla="*/ 208 h 348"/>
                <a:gd name="T38" fmla="*/ 46 w 200"/>
                <a:gd name="T39" fmla="*/ 226 h 348"/>
                <a:gd name="T40" fmla="*/ 52 w 200"/>
                <a:gd name="T41" fmla="*/ 248 h 348"/>
                <a:gd name="T42" fmla="*/ 48 w 200"/>
                <a:gd name="T43" fmla="*/ 269 h 348"/>
                <a:gd name="T44" fmla="*/ 46 w 200"/>
                <a:gd name="T45" fmla="*/ 293 h 348"/>
                <a:gd name="T46" fmla="*/ 62 w 200"/>
                <a:gd name="T47" fmla="*/ 301 h 348"/>
                <a:gd name="T48" fmla="*/ 74 w 200"/>
                <a:gd name="T49" fmla="*/ 304 h 348"/>
                <a:gd name="T50" fmla="*/ 76 w 200"/>
                <a:gd name="T51" fmla="*/ 317 h 348"/>
                <a:gd name="T52" fmla="*/ 84 w 200"/>
                <a:gd name="T53" fmla="*/ 329 h 348"/>
                <a:gd name="T54" fmla="*/ 96 w 200"/>
                <a:gd name="T55" fmla="*/ 331 h 348"/>
                <a:gd name="T56" fmla="*/ 107 w 200"/>
                <a:gd name="T57" fmla="*/ 347 h 348"/>
                <a:gd name="T58" fmla="*/ 115 w 200"/>
                <a:gd name="T59" fmla="*/ 339 h 348"/>
                <a:gd name="T60" fmla="*/ 118 w 200"/>
                <a:gd name="T61" fmla="*/ 320 h 348"/>
                <a:gd name="T62" fmla="*/ 124 w 200"/>
                <a:gd name="T63" fmla="*/ 305 h 348"/>
                <a:gd name="T64" fmla="*/ 142 w 200"/>
                <a:gd name="T65" fmla="*/ 301 h 348"/>
                <a:gd name="T66" fmla="*/ 149 w 200"/>
                <a:gd name="T67" fmla="*/ 289 h 348"/>
                <a:gd name="T68" fmla="*/ 149 w 200"/>
                <a:gd name="T69" fmla="*/ 274 h 348"/>
                <a:gd name="T70" fmla="*/ 137 w 200"/>
                <a:gd name="T71" fmla="*/ 261 h 348"/>
                <a:gd name="T72" fmla="*/ 120 w 200"/>
                <a:gd name="T73" fmla="*/ 247 h 348"/>
                <a:gd name="T74" fmla="*/ 125 w 200"/>
                <a:gd name="T75" fmla="*/ 218 h 348"/>
                <a:gd name="T76" fmla="*/ 135 w 200"/>
                <a:gd name="T77" fmla="*/ 199 h 348"/>
                <a:gd name="T78" fmla="*/ 144 w 200"/>
                <a:gd name="T79" fmla="*/ 187 h 348"/>
                <a:gd name="T80" fmla="*/ 156 w 200"/>
                <a:gd name="T81" fmla="*/ 189 h 348"/>
                <a:gd name="T82" fmla="*/ 168 w 200"/>
                <a:gd name="T83" fmla="*/ 190 h 348"/>
                <a:gd name="T84" fmla="*/ 174 w 200"/>
                <a:gd name="T85" fmla="*/ 175 h 348"/>
                <a:gd name="T86" fmla="*/ 179 w 200"/>
                <a:gd name="T87" fmla="*/ 155 h 348"/>
                <a:gd name="T88" fmla="*/ 187 w 200"/>
                <a:gd name="T89" fmla="*/ 141 h 348"/>
                <a:gd name="T90" fmla="*/ 199 w 200"/>
                <a:gd name="T91" fmla="*/ 12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0" h="348">
                  <a:moveTo>
                    <a:pt x="199" y="129"/>
                  </a:moveTo>
                  <a:lnTo>
                    <a:pt x="191" y="123"/>
                  </a:lnTo>
                  <a:lnTo>
                    <a:pt x="179" y="116"/>
                  </a:lnTo>
                  <a:lnTo>
                    <a:pt x="167" y="108"/>
                  </a:lnTo>
                  <a:lnTo>
                    <a:pt x="155" y="101"/>
                  </a:lnTo>
                  <a:lnTo>
                    <a:pt x="142" y="97"/>
                  </a:lnTo>
                  <a:lnTo>
                    <a:pt x="130" y="82"/>
                  </a:lnTo>
                  <a:lnTo>
                    <a:pt x="130" y="70"/>
                  </a:lnTo>
                  <a:lnTo>
                    <a:pt x="135" y="54"/>
                  </a:lnTo>
                  <a:lnTo>
                    <a:pt x="141" y="44"/>
                  </a:lnTo>
                  <a:lnTo>
                    <a:pt x="145" y="33"/>
                  </a:lnTo>
                  <a:lnTo>
                    <a:pt x="141" y="13"/>
                  </a:lnTo>
                  <a:lnTo>
                    <a:pt x="135" y="0"/>
                  </a:lnTo>
                  <a:lnTo>
                    <a:pt x="127" y="0"/>
                  </a:lnTo>
                  <a:lnTo>
                    <a:pt x="115" y="5"/>
                  </a:lnTo>
                  <a:lnTo>
                    <a:pt x="101" y="13"/>
                  </a:lnTo>
                  <a:lnTo>
                    <a:pt x="92" y="25"/>
                  </a:lnTo>
                  <a:lnTo>
                    <a:pt x="88" y="41"/>
                  </a:lnTo>
                  <a:lnTo>
                    <a:pt x="82" y="62"/>
                  </a:lnTo>
                  <a:lnTo>
                    <a:pt x="80" y="75"/>
                  </a:lnTo>
                  <a:lnTo>
                    <a:pt x="82" y="96"/>
                  </a:lnTo>
                  <a:lnTo>
                    <a:pt x="77" y="111"/>
                  </a:lnTo>
                  <a:lnTo>
                    <a:pt x="71" y="127"/>
                  </a:lnTo>
                  <a:lnTo>
                    <a:pt x="60" y="142"/>
                  </a:lnTo>
                  <a:lnTo>
                    <a:pt x="46" y="153"/>
                  </a:lnTo>
                  <a:lnTo>
                    <a:pt x="35" y="158"/>
                  </a:lnTo>
                  <a:lnTo>
                    <a:pt x="20" y="164"/>
                  </a:lnTo>
                  <a:lnTo>
                    <a:pt x="8" y="164"/>
                  </a:lnTo>
                  <a:lnTo>
                    <a:pt x="0" y="166"/>
                  </a:lnTo>
                  <a:lnTo>
                    <a:pt x="2" y="176"/>
                  </a:lnTo>
                  <a:lnTo>
                    <a:pt x="6" y="181"/>
                  </a:lnTo>
                  <a:lnTo>
                    <a:pt x="13" y="183"/>
                  </a:lnTo>
                  <a:lnTo>
                    <a:pt x="20" y="185"/>
                  </a:lnTo>
                  <a:lnTo>
                    <a:pt x="25" y="189"/>
                  </a:lnTo>
                  <a:lnTo>
                    <a:pt x="34" y="195"/>
                  </a:lnTo>
                  <a:lnTo>
                    <a:pt x="40" y="198"/>
                  </a:lnTo>
                  <a:lnTo>
                    <a:pt x="43" y="201"/>
                  </a:lnTo>
                  <a:lnTo>
                    <a:pt x="45" y="208"/>
                  </a:lnTo>
                  <a:lnTo>
                    <a:pt x="43" y="218"/>
                  </a:lnTo>
                  <a:lnTo>
                    <a:pt x="46" y="226"/>
                  </a:lnTo>
                  <a:lnTo>
                    <a:pt x="50" y="239"/>
                  </a:lnTo>
                  <a:lnTo>
                    <a:pt x="52" y="248"/>
                  </a:lnTo>
                  <a:lnTo>
                    <a:pt x="54" y="260"/>
                  </a:lnTo>
                  <a:lnTo>
                    <a:pt x="48" y="269"/>
                  </a:lnTo>
                  <a:lnTo>
                    <a:pt x="46" y="282"/>
                  </a:lnTo>
                  <a:lnTo>
                    <a:pt x="46" y="293"/>
                  </a:lnTo>
                  <a:lnTo>
                    <a:pt x="54" y="301"/>
                  </a:lnTo>
                  <a:lnTo>
                    <a:pt x="62" y="301"/>
                  </a:lnTo>
                  <a:lnTo>
                    <a:pt x="69" y="299"/>
                  </a:lnTo>
                  <a:lnTo>
                    <a:pt x="74" y="304"/>
                  </a:lnTo>
                  <a:lnTo>
                    <a:pt x="76" y="310"/>
                  </a:lnTo>
                  <a:lnTo>
                    <a:pt x="76" y="317"/>
                  </a:lnTo>
                  <a:lnTo>
                    <a:pt x="79" y="324"/>
                  </a:lnTo>
                  <a:lnTo>
                    <a:pt x="84" y="329"/>
                  </a:lnTo>
                  <a:lnTo>
                    <a:pt x="91" y="327"/>
                  </a:lnTo>
                  <a:lnTo>
                    <a:pt x="96" y="331"/>
                  </a:lnTo>
                  <a:lnTo>
                    <a:pt x="102" y="341"/>
                  </a:lnTo>
                  <a:lnTo>
                    <a:pt x="107" y="347"/>
                  </a:lnTo>
                  <a:lnTo>
                    <a:pt x="113" y="344"/>
                  </a:lnTo>
                  <a:lnTo>
                    <a:pt x="115" y="339"/>
                  </a:lnTo>
                  <a:lnTo>
                    <a:pt x="116" y="330"/>
                  </a:lnTo>
                  <a:lnTo>
                    <a:pt x="118" y="320"/>
                  </a:lnTo>
                  <a:lnTo>
                    <a:pt x="120" y="311"/>
                  </a:lnTo>
                  <a:lnTo>
                    <a:pt x="124" y="305"/>
                  </a:lnTo>
                  <a:lnTo>
                    <a:pt x="133" y="303"/>
                  </a:lnTo>
                  <a:lnTo>
                    <a:pt x="142" y="301"/>
                  </a:lnTo>
                  <a:lnTo>
                    <a:pt x="148" y="294"/>
                  </a:lnTo>
                  <a:lnTo>
                    <a:pt x="149" y="289"/>
                  </a:lnTo>
                  <a:lnTo>
                    <a:pt x="151" y="281"/>
                  </a:lnTo>
                  <a:lnTo>
                    <a:pt x="149" y="274"/>
                  </a:lnTo>
                  <a:lnTo>
                    <a:pt x="144" y="267"/>
                  </a:lnTo>
                  <a:lnTo>
                    <a:pt x="137" y="261"/>
                  </a:lnTo>
                  <a:lnTo>
                    <a:pt x="131" y="254"/>
                  </a:lnTo>
                  <a:lnTo>
                    <a:pt x="120" y="247"/>
                  </a:lnTo>
                  <a:lnTo>
                    <a:pt x="118" y="233"/>
                  </a:lnTo>
                  <a:lnTo>
                    <a:pt x="125" y="218"/>
                  </a:lnTo>
                  <a:lnTo>
                    <a:pt x="131" y="213"/>
                  </a:lnTo>
                  <a:lnTo>
                    <a:pt x="135" y="199"/>
                  </a:lnTo>
                  <a:lnTo>
                    <a:pt x="136" y="193"/>
                  </a:lnTo>
                  <a:lnTo>
                    <a:pt x="144" y="187"/>
                  </a:lnTo>
                  <a:lnTo>
                    <a:pt x="149" y="185"/>
                  </a:lnTo>
                  <a:lnTo>
                    <a:pt x="156" y="189"/>
                  </a:lnTo>
                  <a:lnTo>
                    <a:pt x="160" y="189"/>
                  </a:lnTo>
                  <a:lnTo>
                    <a:pt x="168" y="190"/>
                  </a:lnTo>
                  <a:lnTo>
                    <a:pt x="172" y="181"/>
                  </a:lnTo>
                  <a:lnTo>
                    <a:pt x="174" y="175"/>
                  </a:lnTo>
                  <a:lnTo>
                    <a:pt x="175" y="167"/>
                  </a:lnTo>
                  <a:lnTo>
                    <a:pt x="179" y="155"/>
                  </a:lnTo>
                  <a:lnTo>
                    <a:pt x="182" y="148"/>
                  </a:lnTo>
                  <a:lnTo>
                    <a:pt x="187" y="141"/>
                  </a:lnTo>
                  <a:lnTo>
                    <a:pt x="190" y="136"/>
                  </a:lnTo>
                  <a:lnTo>
                    <a:pt x="199" y="129"/>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4" name="Freeform 14"/>
            <p:cNvSpPr>
              <a:spLocks/>
            </p:cNvSpPr>
            <p:nvPr/>
          </p:nvSpPr>
          <p:spPr bwMode="auto">
            <a:xfrm>
              <a:off x="5165725" y="2833688"/>
              <a:ext cx="350838" cy="754062"/>
            </a:xfrm>
            <a:custGeom>
              <a:avLst/>
              <a:gdLst>
                <a:gd name="T0" fmla="*/ 208 w 240"/>
                <a:gd name="T1" fmla="*/ 5 h 516"/>
                <a:gd name="T2" fmla="*/ 202 w 240"/>
                <a:gd name="T3" fmla="*/ 13 h 516"/>
                <a:gd name="T4" fmla="*/ 186 w 240"/>
                <a:gd name="T5" fmla="*/ 22 h 516"/>
                <a:gd name="T6" fmla="*/ 168 w 240"/>
                <a:gd name="T7" fmla="*/ 29 h 516"/>
                <a:gd name="T8" fmla="*/ 151 w 240"/>
                <a:gd name="T9" fmla="*/ 31 h 516"/>
                <a:gd name="T10" fmla="*/ 132 w 240"/>
                <a:gd name="T11" fmla="*/ 40 h 516"/>
                <a:gd name="T12" fmla="*/ 112 w 240"/>
                <a:gd name="T13" fmla="*/ 42 h 516"/>
                <a:gd name="T14" fmla="*/ 101 w 240"/>
                <a:gd name="T15" fmla="*/ 63 h 516"/>
                <a:gd name="T16" fmla="*/ 89 w 240"/>
                <a:gd name="T17" fmla="*/ 80 h 516"/>
                <a:gd name="T18" fmla="*/ 73 w 240"/>
                <a:gd name="T19" fmla="*/ 91 h 516"/>
                <a:gd name="T20" fmla="*/ 58 w 240"/>
                <a:gd name="T21" fmla="*/ 97 h 516"/>
                <a:gd name="T22" fmla="*/ 44 w 240"/>
                <a:gd name="T23" fmla="*/ 116 h 516"/>
                <a:gd name="T24" fmla="*/ 42 w 240"/>
                <a:gd name="T25" fmla="*/ 132 h 516"/>
                <a:gd name="T26" fmla="*/ 38 w 240"/>
                <a:gd name="T27" fmla="*/ 151 h 516"/>
                <a:gd name="T28" fmla="*/ 27 w 240"/>
                <a:gd name="T29" fmla="*/ 169 h 516"/>
                <a:gd name="T30" fmla="*/ 24 w 240"/>
                <a:gd name="T31" fmla="*/ 192 h 516"/>
                <a:gd name="T32" fmla="*/ 9 w 240"/>
                <a:gd name="T33" fmla="*/ 207 h 516"/>
                <a:gd name="T34" fmla="*/ 0 w 240"/>
                <a:gd name="T35" fmla="*/ 223 h 516"/>
                <a:gd name="T36" fmla="*/ 14 w 240"/>
                <a:gd name="T37" fmla="*/ 241 h 516"/>
                <a:gd name="T38" fmla="*/ 24 w 240"/>
                <a:gd name="T39" fmla="*/ 266 h 516"/>
                <a:gd name="T40" fmla="*/ 18 w 240"/>
                <a:gd name="T41" fmla="*/ 291 h 516"/>
                <a:gd name="T42" fmla="*/ 8 w 240"/>
                <a:gd name="T43" fmla="*/ 317 h 516"/>
                <a:gd name="T44" fmla="*/ 6 w 240"/>
                <a:gd name="T45" fmla="*/ 334 h 516"/>
                <a:gd name="T46" fmla="*/ 10 w 240"/>
                <a:gd name="T47" fmla="*/ 363 h 516"/>
                <a:gd name="T48" fmla="*/ 14 w 240"/>
                <a:gd name="T49" fmla="*/ 390 h 516"/>
                <a:gd name="T50" fmla="*/ 14 w 240"/>
                <a:gd name="T51" fmla="*/ 418 h 516"/>
                <a:gd name="T52" fmla="*/ 10 w 240"/>
                <a:gd name="T53" fmla="*/ 452 h 516"/>
                <a:gd name="T54" fmla="*/ 6 w 240"/>
                <a:gd name="T55" fmla="*/ 483 h 516"/>
                <a:gd name="T56" fmla="*/ 4 w 240"/>
                <a:gd name="T57" fmla="*/ 515 h 516"/>
                <a:gd name="T58" fmla="*/ 29 w 240"/>
                <a:gd name="T59" fmla="*/ 502 h 516"/>
                <a:gd name="T60" fmla="*/ 67 w 240"/>
                <a:gd name="T61" fmla="*/ 496 h 516"/>
                <a:gd name="T62" fmla="*/ 97 w 240"/>
                <a:gd name="T63" fmla="*/ 486 h 516"/>
                <a:gd name="T64" fmla="*/ 122 w 240"/>
                <a:gd name="T65" fmla="*/ 471 h 516"/>
                <a:gd name="T66" fmla="*/ 148 w 240"/>
                <a:gd name="T67" fmla="*/ 460 h 516"/>
                <a:gd name="T68" fmla="*/ 174 w 240"/>
                <a:gd name="T69" fmla="*/ 443 h 516"/>
                <a:gd name="T70" fmla="*/ 192 w 240"/>
                <a:gd name="T71" fmla="*/ 425 h 516"/>
                <a:gd name="T72" fmla="*/ 207 w 240"/>
                <a:gd name="T73" fmla="*/ 413 h 516"/>
                <a:gd name="T74" fmla="*/ 210 w 240"/>
                <a:gd name="T75" fmla="*/ 392 h 516"/>
                <a:gd name="T76" fmla="*/ 217 w 240"/>
                <a:gd name="T77" fmla="*/ 373 h 516"/>
                <a:gd name="T78" fmla="*/ 207 w 240"/>
                <a:gd name="T79" fmla="*/ 353 h 516"/>
                <a:gd name="T80" fmla="*/ 196 w 240"/>
                <a:gd name="T81" fmla="*/ 327 h 516"/>
                <a:gd name="T82" fmla="*/ 201 w 240"/>
                <a:gd name="T83" fmla="*/ 308 h 516"/>
                <a:gd name="T84" fmla="*/ 217 w 240"/>
                <a:gd name="T85" fmla="*/ 284 h 516"/>
                <a:gd name="T86" fmla="*/ 225 w 240"/>
                <a:gd name="T87" fmla="*/ 261 h 516"/>
                <a:gd name="T88" fmla="*/ 219 w 240"/>
                <a:gd name="T89" fmla="*/ 232 h 516"/>
                <a:gd name="T90" fmla="*/ 202 w 240"/>
                <a:gd name="T91" fmla="*/ 217 h 516"/>
                <a:gd name="T92" fmla="*/ 191 w 240"/>
                <a:gd name="T93" fmla="*/ 192 h 516"/>
                <a:gd name="T94" fmla="*/ 202 w 240"/>
                <a:gd name="T95" fmla="*/ 167 h 516"/>
                <a:gd name="T96" fmla="*/ 209 w 240"/>
                <a:gd name="T97" fmla="*/ 144 h 516"/>
                <a:gd name="T98" fmla="*/ 229 w 240"/>
                <a:gd name="T99" fmla="*/ 137 h 516"/>
                <a:gd name="T100" fmla="*/ 239 w 240"/>
                <a:gd name="T101" fmla="*/ 130 h 516"/>
                <a:gd name="T102" fmla="*/ 238 w 240"/>
                <a:gd name="T103" fmla="*/ 110 h 516"/>
                <a:gd name="T104" fmla="*/ 236 w 240"/>
                <a:gd name="T105" fmla="*/ 87 h 516"/>
                <a:gd name="T106" fmla="*/ 227 w 240"/>
                <a:gd name="T107" fmla="*/ 72 h 516"/>
                <a:gd name="T108" fmla="*/ 209 w 240"/>
                <a:gd name="T109" fmla="*/ 62 h 516"/>
                <a:gd name="T110" fmla="*/ 222 w 240"/>
                <a:gd name="T111" fmla="*/ 44 h 516"/>
                <a:gd name="T112" fmla="*/ 232 w 240"/>
                <a:gd name="T113" fmla="*/ 28 h 516"/>
                <a:gd name="T114" fmla="*/ 221 w 240"/>
                <a:gd name="T115" fmla="*/ 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 h="516">
                  <a:moveTo>
                    <a:pt x="211" y="0"/>
                  </a:moveTo>
                  <a:lnTo>
                    <a:pt x="208" y="5"/>
                  </a:lnTo>
                  <a:lnTo>
                    <a:pt x="207" y="9"/>
                  </a:lnTo>
                  <a:lnTo>
                    <a:pt x="202" y="13"/>
                  </a:lnTo>
                  <a:lnTo>
                    <a:pt x="192" y="18"/>
                  </a:lnTo>
                  <a:lnTo>
                    <a:pt x="186" y="22"/>
                  </a:lnTo>
                  <a:lnTo>
                    <a:pt x="178" y="27"/>
                  </a:lnTo>
                  <a:lnTo>
                    <a:pt x="168" y="29"/>
                  </a:lnTo>
                  <a:lnTo>
                    <a:pt x="158" y="26"/>
                  </a:lnTo>
                  <a:lnTo>
                    <a:pt x="151" y="31"/>
                  </a:lnTo>
                  <a:lnTo>
                    <a:pt x="142" y="40"/>
                  </a:lnTo>
                  <a:lnTo>
                    <a:pt x="132" y="40"/>
                  </a:lnTo>
                  <a:lnTo>
                    <a:pt x="122" y="36"/>
                  </a:lnTo>
                  <a:lnTo>
                    <a:pt x="112" y="42"/>
                  </a:lnTo>
                  <a:lnTo>
                    <a:pt x="108" y="50"/>
                  </a:lnTo>
                  <a:lnTo>
                    <a:pt x="101" y="63"/>
                  </a:lnTo>
                  <a:lnTo>
                    <a:pt x="95" y="71"/>
                  </a:lnTo>
                  <a:lnTo>
                    <a:pt x="89" y="80"/>
                  </a:lnTo>
                  <a:lnTo>
                    <a:pt x="82" y="88"/>
                  </a:lnTo>
                  <a:lnTo>
                    <a:pt x="73" y="91"/>
                  </a:lnTo>
                  <a:lnTo>
                    <a:pt x="65" y="90"/>
                  </a:lnTo>
                  <a:lnTo>
                    <a:pt x="58" y="97"/>
                  </a:lnTo>
                  <a:lnTo>
                    <a:pt x="42" y="110"/>
                  </a:lnTo>
                  <a:lnTo>
                    <a:pt x="44" y="116"/>
                  </a:lnTo>
                  <a:lnTo>
                    <a:pt x="43" y="124"/>
                  </a:lnTo>
                  <a:lnTo>
                    <a:pt x="42" y="132"/>
                  </a:lnTo>
                  <a:lnTo>
                    <a:pt x="39" y="143"/>
                  </a:lnTo>
                  <a:lnTo>
                    <a:pt x="38" y="151"/>
                  </a:lnTo>
                  <a:lnTo>
                    <a:pt x="34" y="162"/>
                  </a:lnTo>
                  <a:lnTo>
                    <a:pt x="27" y="169"/>
                  </a:lnTo>
                  <a:lnTo>
                    <a:pt x="22" y="181"/>
                  </a:lnTo>
                  <a:lnTo>
                    <a:pt x="24" y="192"/>
                  </a:lnTo>
                  <a:lnTo>
                    <a:pt x="24" y="202"/>
                  </a:lnTo>
                  <a:lnTo>
                    <a:pt x="9" y="207"/>
                  </a:lnTo>
                  <a:lnTo>
                    <a:pt x="1" y="214"/>
                  </a:lnTo>
                  <a:lnTo>
                    <a:pt x="0" y="223"/>
                  </a:lnTo>
                  <a:lnTo>
                    <a:pt x="8" y="233"/>
                  </a:lnTo>
                  <a:lnTo>
                    <a:pt x="14" y="241"/>
                  </a:lnTo>
                  <a:lnTo>
                    <a:pt x="19" y="255"/>
                  </a:lnTo>
                  <a:lnTo>
                    <a:pt x="24" y="266"/>
                  </a:lnTo>
                  <a:lnTo>
                    <a:pt x="22" y="281"/>
                  </a:lnTo>
                  <a:lnTo>
                    <a:pt x="18" y="291"/>
                  </a:lnTo>
                  <a:lnTo>
                    <a:pt x="15" y="306"/>
                  </a:lnTo>
                  <a:lnTo>
                    <a:pt x="8" y="317"/>
                  </a:lnTo>
                  <a:lnTo>
                    <a:pt x="4" y="319"/>
                  </a:lnTo>
                  <a:lnTo>
                    <a:pt x="6" y="334"/>
                  </a:lnTo>
                  <a:lnTo>
                    <a:pt x="11" y="347"/>
                  </a:lnTo>
                  <a:lnTo>
                    <a:pt x="10" y="363"/>
                  </a:lnTo>
                  <a:lnTo>
                    <a:pt x="14" y="375"/>
                  </a:lnTo>
                  <a:lnTo>
                    <a:pt x="14" y="390"/>
                  </a:lnTo>
                  <a:lnTo>
                    <a:pt x="17" y="405"/>
                  </a:lnTo>
                  <a:lnTo>
                    <a:pt x="14" y="418"/>
                  </a:lnTo>
                  <a:lnTo>
                    <a:pt x="13" y="432"/>
                  </a:lnTo>
                  <a:lnTo>
                    <a:pt x="10" y="452"/>
                  </a:lnTo>
                  <a:lnTo>
                    <a:pt x="9" y="467"/>
                  </a:lnTo>
                  <a:lnTo>
                    <a:pt x="6" y="483"/>
                  </a:lnTo>
                  <a:lnTo>
                    <a:pt x="3" y="499"/>
                  </a:lnTo>
                  <a:lnTo>
                    <a:pt x="4" y="515"/>
                  </a:lnTo>
                  <a:lnTo>
                    <a:pt x="15" y="509"/>
                  </a:lnTo>
                  <a:lnTo>
                    <a:pt x="29" y="502"/>
                  </a:lnTo>
                  <a:lnTo>
                    <a:pt x="50" y="499"/>
                  </a:lnTo>
                  <a:lnTo>
                    <a:pt x="67" y="496"/>
                  </a:lnTo>
                  <a:lnTo>
                    <a:pt x="82" y="489"/>
                  </a:lnTo>
                  <a:lnTo>
                    <a:pt x="97" y="486"/>
                  </a:lnTo>
                  <a:lnTo>
                    <a:pt x="106" y="480"/>
                  </a:lnTo>
                  <a:lnTo>
                    <a:pt x="122" y="471"/>
                  </a:lnTo>
                  <a:lnTo>
                    <a:pt x="132" y="467"/>
                  </a:lnTo>
                  <a:lnTo>
                    <a:pt x="148" y="460"/>
                  </a:lnTo>
                  <a:lnTo>
                    <a:pt x="161" y="457"/>
                  </a:lnTo>
                  <a:lnTo>
                    <a:pt x="174" y="443"/>
                  </a:lnTo>
                  <a:lnTo>
                    <a:pt x="181" y="435"/>
                  </a:lnTo>
                  <a:lnTo>
                    <a:pt x="192" y="425"/>
                  </a:lnTo>
                  <a:lnTo>
                    <a:pt x="202" y="420"/>
                  </a:lnTo>
                  <a:lnTo>
                    <a:pt x="207" y="413"/>
                  </a:lnTo>
                  <a:lnTo>
                    <a:pt x="212" y="404"/>
                  </a:lnTo>
                  <a:lnTo>
                    <a:pt x="210" y="392"/>
                  </a:lnTo>
                  <a:lnTo>
                    <a:pt x="211" y="386"/>
                  </a:lnTo>
                  <a:lnTo>
                    <a:pt x="217" y="373"/>
                  </a:lnTo>
                  <a:lnTo>
                    <a:pt x="210" y="363"/>
                  </a:lnTo>
                  <a:lnTo>
                    <a:pt x="207" y="353"/>
                  </a:lnTo>
                  <a:lnTo>
                    <a:pt x="204" y="339"/>
                  </a:lnTo>
                  <a:lnTo>
                    <a:pt x="196" y="327"/>
                  </a:lnTo>
                  <a:lnTo>
                    <a:pt x="199" y="319"/>
                  </a:lnTo>
                  <a:lnTo>
                    <a:pt x="201" y="308"/>
                  </a:lnTo>
                  <a:lnTo>
                    <a:pt x="211" y="298"/>
                  </a:lnTo>
                  <a:lnTo>
                    <a:pt x="217" y="284"/>
                  </a:lnTo>
                  <a:lnTo>
                    <a:pt x="222" y="274"/>
                  </a:lnTo>
                  <a:lnTo>
                    <a:pt x="225" y="261"/>
                  </a:lnTo>
                  <a:lnTo>
                    <a:pt x="223" y="245"/>
                  </a:lnTo>
                  <a:lnTo>
                    <a:pt x="219" y="232"/>
                  </a:lnTo>
                  <a:lnTo>
                    <a:pt x="212" y="227"/>
                  </a:lnTo>
                  <a:lnTo>
                    <a:pt x="202" y="217"/>
                  </a:lnTo>
                  <a:lnTo>
                    <a:pt x="194" y="206"/>
                  </a:lnTo>
                  <a:lnTo>
                    <a:pt x="191" y="192"/>
                  </a:lnTo>
                  <a:lnTo>
                    <a:pt x="196" y="177"/>
                  </a:lnTo>
                  <a:lnTo>
                    <a:pt x="202" y="167"/>
                  </a:lnTo>
                  <a:lnTo>
                    <a:pt x="207" y="156"/>
                  </a:lnTo>
                  <a:lnTo>
                    <a:pt x="209" y="144"/>
                  </a:lnTo>
                  <a:lnTo>
                    <a:pt x="217" y="136"/>
                  </a:lnTo>
                  <a:lnTo>
                    <a:pt x="229" y="137"/>
                  </a:lnTo>
                  <a:lnTo>
                    <a:pt x="236" y="136"/>
                  </a:lnTo>
                  <a:lnTo>
                    <a:pt x="239" y="130"/>
                  </a:lnTo>
                  <a:lnTo>
                    <a:pt x="238" y="118"/>
                  </a:lnTo>
                  <a:lnTo>
                    <a:pt x="238" y="110"/>
                  </a:lnTo>
                  <a:lnTo>
                    <a:pt x="235" y="98"/>
                  </a:lnTo>
                  <a:lnTo>
                    <a:pt x="236" y="87"/>
                  </a:lnTo>
                  <a:lnTo>
                    <a:pt x="234" y="75"/>
                  </a:lnTo>
                  <a:lnTo>
                    <a:pt x="227" y="72"/>
                  </a:lnTo>
                  <a:lnTo>
                    <a:pt x="214" y="70"/>
                  </a:lnTo>
                  <a:lnTo>
                    <a:pt x="209" y="62"/>
                  </a:lnTo>
                  <a:lnTo>
                    <a:pt x="212" y="52"/>
                  </a:lnTo>
                  <a:lnTo>
                    <a:pt x="222" y="44"/>
                  </a:lnTo>
                  <a:lnTo>
                    <a:pt x="235" y="42"/>
                  </a:lnTo>
                  <a:lnTo>
                    <a:pt x="232" y="28"/>
                  </a:lnTo>
                  <a:lnTo>
                    <a:pt x="227" y="16"/>
                  </a:lnTo>
                  <a:lnTo>
                    <a:pt x="221" y="9"/>
                  </a:lnTo>
                  <a:lnTo>
                    <a:pt x="211" y="0"/>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5" name="Freeform 15"/>
            <p:cNvSpPr>
              <a:spLocks/>
            </p:cNvSpPr>
            <p:nvPr/>
          </p:nvSpPr>
          <p:spPr bwMode="auto">
            <a:xfrm>
              <a:off x="5013325" y="5324475"/>
              <a:ext cx="268288" cy="225425"/>
            </a:xfrm>
            <a:custGeom>
              <a:avLst/>
              <a:gdLst>
                <a:gd name="T0" fmla="*/ 137 w 184"/>
                <a:gd name="T1" fmla="*/ 102 h 154"/>
                <a:gd name="T2" fmla="*/ 149 w 184"/>
                <a:gd name="T3" fmla="*/ 79 h 154"/>
                <a:gd name="T4" fmla="*/ 160 w 184"/>
                <a:gd name="T5" fmla="*/ 61 h 154"/>
                <a:gd name="T6" fmla="*/ 166 w 184"/>
                <a:gd name="T7" fmla="*/ 45 h 154"/>
                <a:gd name="T8" fmla="*/ 180 w 184"/>
                <a:gd name="T9" fmla="*/ 35 h 154"/>
                <a:gd name="T10" fmla="*/ 183 w 184"/>
                <a:gd name="T11" fmla="*/ 21 h 154"/>
                <a:gd name="T12" fmla="*/ 173 w 184"/>
                <a:gd name="T13" fmla="*/ 9 h 154"/>
                <a:gd name="T14" fmla="*/ 159 w 184"/>
                <a:gd name="T15" fmla="*/ 2 h 154"/>
                <a:gd name="T16" fmla="*/ 142 w 184"/>
                <a:gd name="T17" fmla="*/ 4 h 154"/>
                <a:gd name="T18" fmla="*/ 124 w 184"/>
                <a:gd name="T19" fmla="*/ 13 h 154"/>
                <a:gd name="T20" fmla="*/ 106 w 184"/>
                <a:gd name="T21" fmla="*/ 14 h 154"/>
                <a:gd name="T22" fmla="*/ 91 w 184"/>
                <a:gd name="T23" fmla="*/ 9 h 154"/>
                <a:gd name="T24" fmla="*/ 75 w 184"/>
                <a:gd name="T25" fmla="*/ 22 h 154"/>
                <a:gd name="T26" fmla="*/ 64 w 184"/>
                <a:gd name="T27" fmla="*/ 22 h 154"/>
                <a:gd name="T28" fmla="*/ 51 w 184"/>
                <a:gd name="T29" fmla="*/ 30 h 154"/>
                <a:gd name="T30" fmla="*/ 45 w 184"/>
                <a:gd name="T31" fmla="*/ 42 h 154"/>
                <a:gd name="T32" fmla="*/ 27 w 184"/>
                <a:gd name="T33" fmla="*/ 55 h 154"/>
                <a:gd name="T34" fmla="*/ 12 w 184"/>
                <a:gd name="T35" fmla="*/ 63 h 154"/>
                <a:gd name="T36" fmla="*/ 5 w 184"/>
                <a:gd name="T37" fmla="*/ 75 h 154"/>
                <a:gd name="T38" fmla="*/ 1 w 184"/>
                <a:gd name="T39" fmla="*/ 89 h 154"/>
                <a:gd name="T40" fmla="*/ 8 w 184"/>
                <a:gd name="T41" fmla="*/ 96 h 154"/>
                <a:gd name="T42" fmla="*/ 8 w 184"/>
                <a:gd name="T43" fmla="*/ 107 h 154"/>
                <a:gd name="T44" fmla="*/ 4 w 184"/>
                <a:gd name="T45" fmla="*/ 121 h 154"/>
                <a:gd name="T46" fmla="*/ 9 w 184"/>
                <a:gd name="T47" fmla="*/ 130 h 154"/>
                <a:gd name="T48" fmla="*/ 21 w 184"/>
                <a:gd name="T49" fmla="*/ 138 h 154"/>
                <a:gd name="T50" fmla="*/ 34 w 184"/>
                <a:gd name="T51" fmla="*/ 138 h 154"/>
                <a:gd name="T52" fmla="*/ 43 w 184"/>
                <a:gd name="T53" fmla="*/ 140 h 154"/>
                <a:gd name="T54" fmla="*/ 55 w 184"/>
                <a:gd name="T55" fmla="*/ 147 h 154"/>
                <a:gd name="T56" fmla="*/ 67 w 184"/>
                <a:gd name="T57" fmla="*/ 151 h 154"/>
                <a:gd name="T58" fmla="*/ 82 w 184"/>
                <a:gd name="T59" fmla="*/ 153 h 154"/>
                <a:gd name="T60" fmla="*/ 91 w 184"/>
                <a:gd name="T61" fmla="*/ 150 h 154"/>
                <a:gd name="T62" fmla="*/ 96 w 184"/>
                <a:gd name="T63" fmla="*/ 140 h 154"/>
                <a:gd name="T64" fmla="*/ 106 w 184"/>
                <a:gd name="T65" fmla="*/ 135 h 154"/>
                <a:gd name="T66" fmla="*/ 119 w 184"/>
                <a:gd name="T67" fmla="*/ 127 h 154"/>
                <a:gd name="T68" fmla="*/ 127 w 184"/>
                <a:gd name="T69" fmla="*/ 11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154">
                  <a:moveTo>
                    <a:pt x="133" y="108"/>
                  </a:moveTo>
                  <a:lnTo>
                    <a:pt x="137" y="102"/>
                  </a:lnTo>
                  <a:lnTo>
                    <a:pt x="141" y="91"/>
                  </a:lnTo>
                  <a:lnTo>
                    <a:pt x="149" y="79"/>
                  </a:lnTo>
                  <a:lnTo>
                    <a:pt x="153" y="70"/>
                  </a:lnTo>
                  <a:lnTo>
                    <a:pt x="160" y="61"/>
                  </a:lnTo>
                  <a:lnTo>
                    <a:pt x="163" y="53"/>
                  </a:lnTo>
                  <a:lnTo>
                    <a:pt x="166" y="45"/>
                  </a:lnTo>
                  <a:lnTo>
                    <a:pt x="173" y="40"/>
                  </a:lnTo>
                  <a:lnTo>
                    <a:pt x="180" y="35"/>
                  </a:lnTo>
                  <a:lnTo>
                    <a:pt x="182" y="28"/>
                  </a:lnTo>
                  <a:lnTo>
                    <a:pt x="183" y="21"/>
                  </a:lnTo>
                  <a:lnTo>
                    <a:pt x="181" y="12"/>
                  </a:lnTo>
                  <a:lnTo>
                    <a:pt x="173" y="9"/>
                  </a:lnTo>
                  <a:lnTo>
                    <a:pt x="166" y="4"/>
                  </a:lnTo>
                  <a:lnTo>
                    <a:pt x="159" y="2"/>
                  </a:lnTo>
                  <a:lnTo>
                    <a:pt x="151" y="0"/>
                  </a:lnTo>
                  <a:lnTo>
                    <a:pt x="142" y="4"/>
                  </a:lnTo>
                  <a:lnTo>
                    <a:pt x="135" y="9"/>
                  </a:lnTo>
                  <a:lnTo>
                    <a:pt x="124" y="13"/>
                  </a:lnTo>
                  <a:lnTo>
                    <a:pt x="114" y="14"/>
                  </a:lnTo>
                  <a:lnTo>
                    <a:pt x="106" y="14"/>
                  </a:lnTo>
                  <a:lnTo>
                    <a:pt x="98" y="12"/>
                  </a:lnTo>
                  <a:lnTo>
                    <a:pt x="91" y="9"/>
                  </a:lnTo>
                  <a:lnTo>
                    <a:pt x="83" y="12"/>
                  </a:lnTo>
                  <a:lnTo>
                    <a:pt x="75" y="22"/>
                  </a:lnTo>
                  <a:lnTo>
                    <a:pt x="70" y="23"/>
                  </a:lnTo>
                  <a:lnTo>
                    <a:pt x="64" y="22"/>
                  </a:lnTo>
                  <a:lnTo>
                    <a:pt x="57" y="25"/>
                  </a:lnTo>
                  <a:lnTo>
                    <a:pt x="51" y="30"/>
                  </a:lnTo>
                  <a:lnTo>
                    <a:pt x="50" y="35"/>
                  </a:lnTo>
                  <a:lnTo>
                    <a:pt x="45" y="42"/>
                  </a:lnTo>
                  <a:lnTo>
                    <a:pt x="37" y="48"/>
                  </a:lnTo>
                  <a:lnTo>
                    <a:pt x="27" y="55"/>
                  </a:lnTo>
                  <a:lnTo>
                    <a:pt x="18" y="59"/>
                  </a:lnTo>
                  <a:lnTo>
                    <a:pt x="12" y="63"/>
                  </a:lnTo>
                  <a:lnTo>
                    <a:pt x="8" y="70"/>
                  </a:lnTo>
                  <a:lnTo>
                    <a:pt x="5" y="75"/>
                  </a:lnTo>
                  <a:lnTo>
                    <a:pt x="0" y="80"/>
                  </a:lnTo>
                  <a:lnTo>
                    <a:pt x="1" y="89"/>
                  </a:lnTo>
                  <a:lnTo>
                    <a:pt x="6" y="91"/>
                  </a:lnTo>
                  <a:lnTo>
                    <a:pt x="8" y="96"/>
                  </a:lnTo>
                  <a:lnTo>
                    <a:pt x="9" y="102"/>
                  </a:lnTo>
                  <a:lnTo>
                    <a:pt x="8" y="107"/>
                  </a:lnTo>
                  <a:lnTo>
                    <a:pt x="6" y="113"/>
                  </a:lnTo>
                  <a:lnTo>
                    <a:pt x="4" y="121"/>
                  </a:lnTo>
                  <a:lnTo>
                    <a:pt x="8" y="124"/>
                  </a:lnTo>
                  <a:lnTo>
                    <a:pt x="9" y="130"/>
                  </a:lnTo>
                  <a:lnTo>
                    <a:pt x="15" y="134"/>
                  </a:lnTo>
                  <a:lnTo>
                    <a:pt x="21" y="138"/>
                  </a:lnTo>
                  <a:lnTo>
                    <a:pt x="29" y="137"/>
                  </a:lnTo>
                  <a:lnTo>
                    <a:pt x="34" y="138"/>
                  </a:lnTo>
                  <a:lnTo>
                    <a:pt x="38" y="140"/>
                  </a:lnTo>
                  <a:lnTo>
                    <a:pt x="43" y="140"/>
                  </a:lnTo>
                  <a:lnTo>
                    <a:pt x="50" y="143"/>
                  </a:lnTo>
                  <a:lnTo>
                    <a:pt x="55" y="147"/>
                  </a:lnTo>
                  <a:lnTo>
                    <a:pt x="61" y="151"/>
                  </a:lnTo>
                  <a:lnTo>
                    <a:pt x="67" y="151"/>
                  </a:lnTo>
                  <a:lnTo>
                    <a:pt x="73" y="151"/>
                  </a:lnTo>
                  <a:lnTo>
                    <a:pt x="82" y="153"/>
                  </a:lnTo>
                  <a:lnTo>
                    <a:pt x="87" y="152"/>
                  </a:lnTo>
                  <a:lnTo>
                    <a:pt x="91" y="150"/>
                  </a:lnTo>
                  <a:lnTo>
                    <a:pt x="94" y="144"/>
                  </a:lnTo>
                  <a:lnTo>
                    <a:pt x="96" y="140"/>
                  </a:lnTo>
                  <a:lnTo>
                    <a:pt x="100" y="137"/>
                  </a:lnTo>
                  <a:lnTo>
                    <a:pt x="106" y="135"/>
                  </a:lnTo>
                  <a:lnTo>
                    <a:pt x="111" y="133"/>
                  </a:lnTo>
                  <a:lnTo>
                    <a:pt x="119" y="127"/>
                  </a:lnTo>
                  <a:lnTo>
                    <a:pt x="122" y="123"/>
                  </a:lnTo>
                  <a:lnTo>
                    <a:pt x="127" y="117"/>
                  </a:lnTo>
                  <a:lnTo>
                    <a:pt x="133" y="108"/>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6" name="Freeform 16"/>
            <p:cNvSpPr>
              <a:spLocks/>
            </p:cNvSpPr>
            <p:nvPr/>
          </p:nvSpPr>
          <p:spPr bwMode="auto">
            <a:xfrm>
              <a:off x="4733925" y="2976563"/>
              <a:ext cx="506413" cy="966787"/>
            </a:xfrm>
            <a:custGeom>
              <a:avLst/>
              <a:gdLst>
                <a:gd name="T0" fmla="*/ 320 w 347"/>
                <a:gd name="T1" fmla="*/ 5 h 662"/>
                <a:gd name="T2" fmla="*/ 283 w 347"/>
                <a:gd name="T3" fmla="*/ 22 h 662"/>
                <a:gd name="T4" fmla="*/ 245 w 347"/>
                <a:gd name="T5" fmla="*/ 49 h 662"/>
                <a:gd name="T6" fmla="*/ 218 w 347"/>
                <a:gd name="T7" fmla="*/ 98 h 662"/>
                <a:gd name="T8" fmla="*/ 189 w 347"/>
                <a:gd name="T9" fmla="*/ 159 h 662"/>
                <a:gd name="T10" fmla="*/ 135 w 347"/>
                <a:gd name="T11" fmla="*/ 159 h 662"/>
                <a:gd name="T12" fmla="*/ 112 w 347"/>
                <a:gd name="T13" fmla="*/ 171 h 662"/>
                <a:gd name="T14" fmla="*/ 102 w 347"/>
                <a:gd name="T15" fmla="*/ 204 h 662"/>
                <a:gd name="T16" fmla="*/ 111 w 347"/>
                <a:gd name="T17" fmla="*/ 224 h 662"/>
                <a:gd name="T18" fmla="*/ 130 w 347"/>
                <a:gd name="T19" fmla="*/ 242 h 662"/>
                <a:gd name="T20" fmla="*/ 160 w 347"/>
                <a:gd name="T21" fmla="*/ 254 h 662"/>
                <a:gd name="T22" fmla="*/ 185 w 347"/>
                <a:gd name="T23" fmla="*/ 262 h 662"/>
                <a:gd name="T24" fmla="*/ 198 w 347"/>
                <a:gd name="T25" fmla="*/ 283 h 662"/>
                <a:gd name="T26" fmla="*/ 187 w 347"/>
                <a:gd name="T27" fmla="*/ 303 h 662"/>
                <a:gd name="T28" fmla="*/ 185 w 347"/>
                <a:gd name="T29" fmla="*/ 325 h 662"/>
                <a:gd name="T30" fmla="*/ 189 w 347"/>
                <a:gd name="T31" fmla="*/ 352 h 662"/>
                <a:gd name="T32" fmla="*/ 158 w 347"/>
                <a:gd name="T33" fmla="*/ 368 h 662"/>
                <a:gd name="T34" fmla="*/ 130 w 347"/>
                <a:gd name="T35" fmla="*/ 369 h 662"/>
                <a:gd name="T36" fmla="*/ 117 w 347"/>
                <a:gd name="T37" fmla="*/ 393 h 662"/>
                <a:gd name="T38" fmla="*/ 88 w 347"/>
                <a:gd name="T39" fmla="*/ 380 h 662"/>
                <a:gd name="T40" fmla="*/ 55 w 347"/>
                <a:gd name="T41" fmla="*/ 378 h 662"/>
                <a:gd name="T42" fmla="*/ 48 w 347"/>
                <a:gd name="T43" fmla="*/ 401 h 662"/>
                <a:gd name="T44" fmla="*/ 58 w 347"/>
                <a:gd name="T45" fmla="*/ 428 h 662"/>
                <a:gd name="T46" fmla="*/ 54 w 347"/>
                <a:gd name="T47" fmla="*/ 460 h 662"/>
                <a:gd name="T48" fmla="*/ 54 w 347"/>
                <a:gd name="T49" fmla="*/ 493 h 662"/>
                <a:gd name="T50" fmla="*/ 43 w 347"/>
                <a:gd name="T51" fmla="*/ 507 h 662"/>
                <a:gd name="T52" fmla="*/ 19 w 347"/>
                <a:gd name="T53" fmla="*/ 513 h 662"/>
                <a:gd name="T54" fmla="*/ 16 w 347"/>
                <a:gd name="T55" fmla="*/ 527 h 662"/>
                <a:gd name="T56" fmla="*/ 9 w 347"/>
                <a:gd name="T57" fmla="*/ 547 h 662"/>
                <a:gd name="T58" fmla="*/ 12 w 347"/>
                <a:gd name="T59" fmla="*/ 565 h 662"/>
                <a:gd name="T60" fmla="*/ 61 w 347"/>
                <a:gd name="T61" fmla="*/ 576 h 662"/>
                <a:gd name="T62" fmla="*/ 93 w 347"/>
                <a:gd name="T63" fmla="*/ 594 h 662"/>
                <a:gd name="T64" fmla="*/ 125 w 347"/>
                <a:gd name="T65" fmla="*/ 601 h 662"/>
                <a:gd name="T66" fmla="*/ 159 w 347"/>
                <a:gd name="T67" fmla="*/ 617 h 662"/>
                <a:gd name="T68" fmla="*/ 204 w 347"/>
                <a:gd name="T69" fmla="*/ 634 h 662"/>
                <a:gd name="T70" fmla="*/ 241 w 347"/>
                <a:gd name="T71" fmla="*/ 661 h 662"/>
                <a:gd name="T72" fmla="*/ 249 w 347"/>
                <a:gd name="T73" fmla="*/ 628 h 662"/>
                <a:gd name="T74" fmla="*/ 274 w 347"/>
                <a:gd name="T75" fmla="*/ 591 h 662"/>
                <a:gd name="T76" fmla="*/ 272 w 347"/>
                <a:gd name="T77" fmla="*/ 570 h 662"/>
                <a:gd name="T78" fmla="*/ 246 w 347"/>
                <a:gd name="T79" fmla="*/ 538 h 662"/>
                <a:gd name="T80" fmla="*/ 284 w 347"/>
                <a:gd name="T81" fmla="*/ 542 h 662"/>
                <a:gd name="T82" fmla="*/ 323 w 347"/>
                <a:gd name="T83" fmla="*/ 542 h 662"/>
                <a:gd name="T84" fmla="*/ 338 w 347"/>
                <a:gd name="T85" fmla="*/ 514 h 662"/>
                <a:gd name="T86" fmla="*/ 313 w 347"/>
                <a:gd name="T87" fmla="*/ 466 h 662"/>
                <a:gd name="T88" fmla="*/ 302 w 347"/>
                <a:gd name="T89" fmla="*/ 424 h 662"/>
                <a:gd name="T90" fmla="*/ 305 w 347"/>
                <a:gd name="T91" fmla="*/ 369 h 662"/>
                <a:gd name="T92" fmla="*/ 313 w 347"/>
                <a:gd name="T93" fmla="*/ 307 h 662"/>
                <a:gd name="T94" fmla="*/ 307 w 347"/>
                <a:gd name="T95" fmla="*/ 249 h 662"/>
                <a:gd name="T96" fmla="*/ 311 w 347"/>
                <a:gd name="T97" fmla="*/ 208 h 662"/>
                <a:gd name="T98" fmla="*/ 315 w 347"/>
                <a:gd name="T99" fmla="*/ 157 h 662"/>
                <a:gd name="T100" fmla="*/ 297 w 347"/>
                <a:gd name="T101" fmla="*/ 116 h 662"/>
                <a:gd name="T102" fmla="*/ 318 w 347"/>
                <a:gd name="T103" fmla="*/ 83 h 662"/>
                <a:gd name="T104" fmla="*/ 335 w 347"/>
                <a:gd name="T105" fmla="*/ 45 h 662"/>
                <a:gd name="T106" fmla="*/ 338 w 347"/>
                <a:gd name="T107" fmla="*/ 1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7" h="662">
                  <a:moveTo>
                    <a:pt x="338" y="12"/>
                  </a:moveTo>
                  <a:lnTo>
                    <a:pt x="336" y="4"/>
                  </a:lnTo>
                  <a:lnTo>
                    <a:pt x="328" y="0"/>
                  </a:lnTo>
                  <a:lnTo>
                    <a:pt x="320" y="5"/>
                  </a:lnTo>
                  <a:lnTo>
                    <a:pt x="315" y="13"/>
                  </a:lnTo>
                  <a:lnTo>
                    <a:pt x="306" y="22"/>
                  </a:lnTo>
                  <a:lnTo>
                    <a:pt x="295" y="23"/>
                  </a:lnTo>
                  <a:lnTo>
                    <a:pt x="283" y="22"/>
                  </a:lnTo>
                  <a:lnTo>
                    <a:pt x="270" y="28"/>
                  </a:lnTo>
                  <a:lnTo>
                    <a:pt x="259" y="37"/>
                  </a:lnTo>
                  <a:lnTo>
                    <a:pt x="251" y="38"/>
                  </a:lnTo>
                  <a:lnTo>
                    <a:pt x="245" y="49"/>
                  </a:lnTo>
                  <a:lnTo>
                    <a:pt x="242" y="58"/>
                  </a:lnTo>
                  <a:lnTo>
                    <a:pt x="234" y="71"/>
                  </a:lnTo>
                  <a:lnTo>
                    <a:pt x="225" y="83"/>
                  </a:lnTo>
                  <a:lnTo>
                    <a:pt x="218" y="98"/>
                  </a:lnTo>
                  <a:lnTo>
                    <a:pt x="213" y="118"/>
                  </a:lnTo>
                  <a:lnTo>
                    <a:pt x="208" y="134"/>
                  </a:lnTo>
                  <a:lnTo>
                    <a:pt x="202" y="144"/>
                  </a:lnTo>
                  <a:lnTo>
                    <a:pt x="189" y="159"/>
                  </a:lnTo>
                  <a:lnTo>
                    <a:pt x="178" y="162"/>
                  </a:lnTo>
                  <a:lnTo>
                    <a:pt x="160" y="162"/>
                  </a:lnTo>
                  <a:lnTo>
                    <a:pt x="149" y="164"/>
                  </a:lnTo>
                  <a:lnTo>
                    <a:pt x="135" y="159"/>
                  </a:lnTo>
                  <a:lnTo>
                    <a:pt x="129" y="152"/>
                  </a:lnTo>
                  <a:lnTo>
                    <a:pt x="120" y="159"/>
                  </a:lnTo>
                  <a:lnTo>
                    <a:pt x="117" y="164"/>
                  </a:lnTo>
                  <a:lnTo>
                    <a:pt x="112" y="171"/>
                  </a:lnTo>
                  <a:lnTo>
                    <a:pt x="109" y="178"/>
                  </a:lnTo>
                  <a:lnTo>
                    <a:pt x="105" y="190"/>
                  </a:lnTo>
                  <a:lnTo>
                    <a:pt x="104" y="198"/>
                  </a:lnTo>
                  <a:lnTo>
                    <a:pt x="102" y="204"/>
                  </a:lnTo>
                  <a:lnTo>
                    <a:pt x="98" y="213"/>
                  </a:lnTo>
                  <a:lnTo>
                    <a:pt x="104" y="216"/>
                  </a:lnTo>
                  <a:lnTo>
                    <a:pt x="108" y="220"/>
                  </a:lnTo>
                  <a:lnTo>
                    <a:pt x="111" y="224"/>
                  </a:lnTo>
                  <a:lnTo>
                    <a:pt x="116" y="226"/>
                  </a:lnTo>
                  <a:lnTo>
                    <a:pt x="121" y="232"/>
                  </a:lnTo>
                  <a:lnTo>
                    <a:pt x="125" y="238"/>
                  </a:lnTo>
                  <a:lnTo>
                    <a:pt x="130" y="242"/>
                  </a:lnTo>
                  <a:lnTo>
                    <a:pt x="138" y="246"/>
                  </a:lnTo>
                  <a:lnTo>
                    <a:pt x="146" y="250"/>
                  </a:lnTo>
                  <a:lnTo>
                    <a:pt x="152" y="252"/>
                  </a:lnTo>
                  <a:lnTo>
                    <a:pt x="160" y="254"/>
                  </a:lnTo>
                  <a:lnTo>
                    <a:pt x="166" y="257"/>
                  </a:lnTo>
                  <a:lnTo>
                    <a:pt x="172" y="260"/>
                  </a:lnTo>
                  <a:lnTo>
                    <a:pt x="178" y="261"/>
                  </a:lnTo>
                  <a:lnTo>
                    <a:pt x="185" y="262"/>
                  </a:lnTo>
                  <a:lnTo>
                    <a:pt x="192" y="265"/>
                  </a:lnTo>
                  <a:lnTo>
                    <a:pt x="195" y="269"/>
                  </a:lnTo>
                  <a:lnTo>
                    <a:pt x="199" y="278"/>
                  </a:lnTo>
                  <a:lnTo>
                    <a:pt x="198" y="283"/>
                  </a:lnTo>
                  <a:lnTo>
                    <a:pt x="197" y="288"/>
                  </a:lnTo>
                  <a:lnTo>
                    <a:pt x="194" y="295"/>
                  </a:lnTo>
                  <a:lnTo>
                    <a:pt x="190" y="298"/>
                  </a:lnTo>
                  <a:lnTo>
                    <a:pt x="187" y="303"/>
                  </a:lnTo>
                  <a:lnTo>
                    <a:pt x="184" y="308"/>
                  </a:lnTo>
                  <a:lnTo>
                    <a:pt x="184" y="313"/>
                  </a:lnTo>
                  <a:lnTo>
                    <a:pt x="184" y="317"/>
                  </a:lnTo>
                  <a:lnTo>
                    <a:pt x="185" y="325"/>
                  </a:lnTo>
                  <a:lnTo>
                    <a:pt x="188" y="332"/>
                  </a:lnTo>
                  <a:lnTo>
                    <a:pt x="190" y="337"/>
                  </a:lnTo>
                  <a:lnTo>
                    <a:pt x="190" y="347"/>
                  </a:lnTo>
                  <a:lnTo>
                    <a:pt x="189" y="352"/>
                  </a:lnTo>
                  <a:lnTo>
                    <a:pt x="183" y="358"/>
                  </a:lnTo>
                  <a:lnTo>
                    <a:pt x="174" y="361"/>
                  </a:lnTo>
                  <a:lnTo>
                    <a:pt x="168" y="366"/>
                  </a:lnTo>
                  <a:lnTo>
                    <a:pt x="158" y="368"/>
                  </a:lnTo>
                  <a:lnTo>
                    <a:pt x="151" y="370"/>
                  </a:lnTo>
                  <a:lnTo>
                    <a:pt x="144" y="366"/>
                  </a:lnTo>
                  <a:lnTo>
                    <a:pt x="135" y="365"/>
                  </a:lnTo>
                  <a:lnTo>
                    <a:pt x="130" y="369"/>
                  </a:lnTo>
                  <a:lnTo>
                    <a:pt x="130" y="375"/>
                  </a:lnTo>
                  <a:lnTo>
                    <a:pt x="132" y="381"/>
                  </a:lnTo>
                  <a:lnTo>
                    <a:pt x="129" y="388"/>
                  </a:lnTo>
                  <a:lnTo>
                    <a:pt x="117" y="393"/>
                  </a:lnTo>
                  <a:lnTo>
                    <a:pt x="107" y="394"/>
                  </a:lnTo>
                  <a:lnTo>
                    <a:pt x="101" y="391"/>
                  </a:lnTo>
                  <a:lnTo>
                    <a:pt x="94" y="386"/>
                  </a:lnTo>
                  <a:lnTo>
                    <a:pt x="88" y="380"/>
                  </a:lnTo>
                  <a:lnTo>
                    <a:pt x="79" y="376"/>
                  </a:lnTo>
                  <a:lnTo>
                    <a:pt x="71" y="374"/>
                  </a:lnTo>
                  <a:lnTo>
                    <a:pt x="63" y="373"/>
                  </a:lnTo>
                  <a:lnTo>
                    <a:pt x="55" y="378"/>
                  </a:lnTo>
                  <a:lnTo>
                    <a:pt x="52" y="384"/>
                  </a:lnTo>
                  <a:lnTo>
                    <a:pt x="50" y="389"/>
                  </a:lnTo>
                  <a:lnTo>
                    <a:pt x="48" y="395"/>
                  </a:lnTo>
                  <a:lnTo>
                    <a:pt x="48" y="401"/>
                  </a:lnTo>
                  <a:lnTo>
                    <a:pt x="45" y="411"/>
                  </a:lnTo>
                  <a:lnTo>
                    <a:pt x="47" y="417"/>
                  </a:lnTo>
                  <a:lnTo>
                    <a:pt x="53" y="421"/>
                  </a:lnTo>
                  <a:lnTo>
                    <a:pt x="58" y="428"/>
                  </a:lnTo>
                  <a:lnTo>
                    <a:pt x="61" y="435"/>
                  </a:lnTo>
                  <a:lnTo>
                    <a:pt x="58" y="442"/>
                  </a:lnTo>
                  <a:lnTo>
                    <a:pt x="55" y="449"/>
                  </a:lnTo>
                  <a:lnTo>
                    <a:pt x="54" y="460"/>
                  </a:lnTo>
                  <a:lnTo>
                    <a:pt x="52" y="466"/>
                  </a:lnTo>
                  <a:lnTo>
                    <a:pt x="52" y="471"/>
                  </a:lnTo>
                  <a:lnTo>
                    <a:pt x="51" y="483"/>
                  </a:lnTo>
                  <a:lnTo>
                    <a:pt x="54" y="493"/>
                  </a:lnTo>
                  <a:lnTo>
                    <a:pt x="55" y="503"/>
                  </a:lnTo>
                  <a:lnTo>
                    <a:pt x="53" y="510"/>
                  </a:lnTo>
                  <a:lnTo>
                    <a:pt x="48" y="509"/>
                  </a:lnTo>
                  <a:lnTo>
                    <a:pt x="43" y="507"/>
                  </a:lnTo>
                  <a:lnTo>
                    <a:pt x="38" y="508"/>
                  </a:lnTo>
                  <a:lnTo>
                    <a:pt x="32" y="510"/>
                  </a:lnTo>
                  <a:lnTo>
                    <a:pt x="26" y="509"/>
                  </a:lnTo>
                  <a:lnTo>
                    <a:pt x="19" y="513"/>
                  </a:lnTo>
                  <a:lnTo>
                    <a:pt x="17" y="507"/>
                  </a:lnTo>
                  <a:lnTo>
                    <a:pt x="14" y="512"/>
                  </a:lnTo>
                  <a:lnTo>
                    <a:pt x="14" y="519"/>
                  </a:lnTo>
                  <a:lnTo>
                    <a:pt x="16" y="527"/>
                  </a:lnTo>
                  <a:lnTo>
                    <a:pt x="15" y="530"/>
                  </a:lnTo>
                  <a:lnTo>
                    <a:pt x="14" y="535"/>
                  </a:lnTo>
                  <a:lnTo>
                    <a:pt x="11" y="542"/>
                  </a:lnTo>
                  <a:lnTo>
                    <a:pt x="9" y="547"/>
                  </a:lnTo>
                  <a:lnTo>
                    <a:pt x="5" y="553"/>
                  </a:lnTo>
                  <a:lnTo>
                    <a:pt x="3" y="558"/>
                  </a:lnTo>
                  <a:lnTo>
                    <a:pt x="0" y="558"/>
                  </a:lnTo>
                  <a:lnTo>
                    <a:pt x="12" y="565"/>
                  </a:lnTo>
                  <a:lnTo>
                    <a:pt x="22" y="570"/>
                  </a:lnTo>
                  <a:lnTo>
                    <a:pt x="34" y="576"/>
                  </a:lnTo>
                  <a:lnTo>
                    <a:pt x="43" y="581"/>
                  </a:lnTo>
                  <a:lnTo>
                    <a:pt x="61" y="576"/>
                  </a:lnTo>
                  <a:lnTo>
                    <a:pt x="76" y="568"/>
                  </a:lnTo>
                  <a:lnTo>
                    <a:pt x="83" y="576"/>
                  </a:lnTo>
                  <a:lnTo>
                    <a:pt x="90" y="586"/>
                  </a:lnTo>
                  <a:lnTo>
                    <a:pt x="93" y="594"/>
                  </a:lnTo>
                  <a:lnTo>
                    <a:pt x="95" y="601"/>
                  </a:lnTo>
                  <a:lnTo>
                    <a:pt x="107" y="603"/>
                  </a:lnTo>
                  <a:lnTo>
                    <a:pt x="113" y="600"/>
                  </a:lnTo>
                  <a:lnTo>
                    <a:pt x="125" y="601"/>
                  </a:lnTo>
                  <a:lnTo>
                    <a:pt x="130" y="607"/>
                  </a:lnTo>
                  <a:lnTo>
                    <a:pt x="135" y="617"/>
                  </a:lnTo>
                  <a:lnTo>
                    <a:pt x="150" y="620"/>
                  </a:lnTo>
                  <a:lnTo>
                    <a:pt x="159" y="617"/>
                  </a:lnTo>
                  <a:lnTo>
                    <a:pt x="174" y="616"/>
                  </a:lnTo>
                  <a:lnTo>
                    <a:pt x="184" y="620"/>
                  </a:lnTo>
                  <a:lnTo>
                    <a:pt x="197" y="628"/>
                  </a:lnTo>
                  <a:lnTo>
                    <a:pt x="204" y="634"/>
                  </a:lnTo>
                  <a:lnTo>
                    <a:pt x="215" y="641"/>
                  </a:lnTo>
                  <a:lnTo>
                    <a:pt x="225" y="651"/>
                  </a:lnTo>
                  <a:lnTo>
                    <a:pt x="234" y="659"/>
                  </a:lnTo>
                  <a:lnTo>
                    <a:pt x="241" y="661"/>
                  </a:lnTo>
                  <a:lnTo>
                    <a:pt x="247" y="656"/>
                  </a:lnTo>
                  <a:lnTo>
                    <a:pt x="248" y="653"/>
                  </a:lnTo>
                  <a:lnTo>
                    <a:pt x="248" y="646"/>
                  </a:lnTo>
                  <a:lnTo>
                    <a:pt x="249" y="628"/>
                  </a:lnTo>
                  <a:lnTo>
                    <a:pt x="251" y="615"/>
                  </a:lnTo>
                  <a:lnTo>
                    <a:pt x="255" y="603"/>
                  </a:lnTo>
                  <a:lnTo>
                    <a:pt x="261" y="597"/>
                  </a:lnTo>
                  <a:lnTo>
                    <a:pt x="274" y="591"/>
                  </a:lnTo>
                  <a:lnTo>
                    <a:pt x="284" y="583"/>
                  </a:lnTo>
                  <a:lnTo>
                    <a:pt x="290" y="572"/>
                  </a:lnTo>
                  <a:lnTo>
                    <a:pt x="283" y="569"/>
                  </a:lnTo>
                  <a:lnTo>
                    <a:pt x="272" y="570"/>
                  </a:lnTo>
                  <a:lnTo>
                    <a:pt x="262" y="563"/>
                  </a:lnTo>
                  <a:lnTo>
                    <a:pt x="261" y="557"/>
                  </a:lnTo>
                  <a:lnTo>
                    <a:pt x="248" y="548"/>
                  </a:lnTo>
                  <a:lnTo>
                    <a:pt x="246" y="538"/>
                  </a:lnTo>
                  <a:lnTo>
                    <a:pt x="251" y="534"/>
                  </a:lnTo>
                  <a:lnTo>
                    <a:pt x="264" y="535"/>
                  </a:lnTo>
                  <a:lnTo>
                    <a:pt x="273" y="536"/>
                  </a:lnTo>
                  <a:lnTo>
                    <a:pt x="284" y="542"/>
                  </a:lnTo>
                  <a:lnTo>
                    <a:pt x="295" y="539"/>
                  </a:lnTo>
                  <a:lnTo>
                    <a:pt x="306" y="539"/>
                  </a:lnTo>
                  <a:lnTo>
                    <a:pt x="314" y="538"/>
                  </a:lnTo>
                  <a:lnTo>
                    <a:pt x="323" y="542"/>
                  </a:lnTo>
                  <a:lnTo>
                    <a:pt x="337" y="543"/>
                  </a:lnTo>
                  <a:lnTo>
                    <a:pt x="341" y="540"/>
                  </a:lnTo>
                  <a:lnTo>
                    <a:pt x="346" y="530"/>
                  </a:lnTo>
                  <a:lnTo>
                    <a:pt x="338" y="514"/>
                  </a:lnTo>
                  <a:lnTo>
                    <a:pt x="333" y="504"/>
                  </a:lnTo>
                  <a:lnTo>
                    <a:pt x="324" y="494"/>
                  </a:lnTo>
                  <a:lnTo>
                    <a:pt x="317" y="481"/>
                  </a:lnTo>
                  <a:lnTo>
                    <a:pt x="313" y="466"/>
                  </a:lnTo>
                  <a:lnTo>
                    <a:pt x="314" y="455"/>
                  </a:lnTo>
                  <a:lnTo>
                    <a:pt x="310" y="447"/>
                  </a:lnTo>
                  <a:lnTo>
                    <a:pt x="309" y="436"/>
                  </a:lnTo>
                  <a:lnTo>
                    <a:pt x="302" y="424"/>
                  </a:lnTo>
                  <a:lnTo>
                    <a:pt x="300" y="417"/>
                  </a:lnTo>
                  <a:lnTo>
                    <a:pt x="299" y="401"/>
                  </a:lnTo>
                  <a:lnTo>
                    <a:pt x="302" y="385"/>
                  </a:lnTo>
                  <a:lnTo>
                    <a:pt x="305" y="369"/>
                  </a:lnTo>
                  <a:lnTo>
                    <a:pt x="306" y="354"/>
                  </a:lnTo>
                  <a:lnTo>
                    <a:pt x="309" y="334"/>
                  </a:lnTo>
                  <a:lnTo>
                    <a:pt x="310" y="320"/>
                  </a:lnTo>
                  <a:lnTo>
                    <a:pt x="313" y="307"/>
                  </a:lnTo>
                  <a:lnTo>
                    <a:pt x="310" y="292"/>
                  </a:lnTo>
                  <a:lnTo>
                    <a:pt x="310" y="277"/>
                  </a:lnTo>
                  <a:lnTo>
                    <a:pt x="306" y="265"/>
                  </a:lnTo>
                  <a:lnTo>
                    <a:pt x="307" y="249"/>
                  </a:lnTo>
                  <a:lnTo>
                    <a:pt x="302" y="236"/>
                  </a:lnTo>
                  <a:lnTo>
                    <a:pt x="300" y="221"/>
                  </a:lnTo>
                  <a:lnTo>
                    <a:pt x="304" y="219"/>
                  </a:lnTo>
                  <a:lnTo>
                    <a:pt x="311" y="208"/>
                  </a:lnTo>
                  <a:lnTo>
                    <a:pt x="314" y="193"/>
                  </a:lnTo>
                  <a:lnTo>
                    <a:pt x="318" y="183"/>
                  </a:lnTo>
                  <a:lnTo>
                    <a:pt x="320" y="168"/>
                  </a:lnTo>
                  <a:lnTo>
                    <a:pt x="315" y="157"/>
                  </a:lnTo>
                  <a:lnTo>
                    <a:pt x="310" y="143"/>
                  </a:lnTo>
                  <a:lnTo>
                    <a:pt x="304" y="135"/>
                  </a:lnTo>
                  <a:lnTo>
                    <a:pt x="296" y="125"/>
                  </a:lnTo>
                  <a:lnTo>
                    <a:pt x="297" y="116"/>
                  </a:lnTo>
                  <a:lnTo>
                    <a:pt x="305" y="109"/>
                  </a:lnTo>
                  <a:lnTo>
                    <a:pt x="320" y="104"/>
                  </a:lnTo>
                  <a:lnTo>
                    <a:pt x="320" y="94"/>
                  </a:lnTo>
                  <a:lnTo>
                    <a:pt x="318" y="83"/>
                  </a:lnTo>
                  <a:lnTo>
                    <a:pt x="323" y="71"/>
                  </a:lnTo>
                  <a:lnTo>
                    <a:pt x="330" y="64"/>
                  </a:lnTo>
                  <a:lnTo>
                    <a:pt x="334" y="53"/>
                  </a:lnTo>
                  <a:lnTo>
                    <a:pt x="335" y="45"/>
                  </a:lnTo>
                  <a:lnTo>
                    <a:pt x="338" y="34"/>
                  </a:lnTo>
                  <a:lnTo>
                    <a:pt x="339" y="26"/>
                  </a:lnTo>
                  <a:lnTo>
                    <a:pt x="340" y="18"/>
                  </a:lnTo>
                  <a:lnTo>
                    <a:pt x="338" y="12"/>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7" name="Freeform 17"/>
            <p:cNvSpPr>
              <a:spLocks/>
            </p:cNvSpPr>
            <p:nvPr/>
          </p:nvSpPr>
          <p:spPr bwMode="auto">
            <a:xfrm>
              <a:off x="5172075" y="3368675"/>
              <a:ext cx="593725" cy="596900"/>
            </a:xfrm>
            <a:custGeom>
              <a:avLst/>
              <a:gdLst>
                <a:gd name="T0" fmla="*/ 239 w 407"/>
                <a:gd name="T1" fmla="*/ 0 h 409"/>
                <a:gd name="T2" fmla="*/ 264 w 407"/>
                <a:gd name="T3" fmla="*/ 10 h 409"/>
                <a:gd name="T4" fmla="*/ 298 w 407"/>
                <a:gd name="T5" fmla="*/ 7 h 409"/>
                <a:gd name="T6" fmla="*/ 313 w 407"/>
                <a:gd name="T7" fmla="*/ 7 h 409"/>
                <a:gd name="T8" fmla="*/ 324 w 407"/>
                <a:gd name="T9" fmla="*/ 23 h 409"/>
                <a:gd name="T10" fmla="*/ 358 w 407"/>
                <a:gd name="T11" fmla="*/ 14 h 409"/>
                <a:gd name="T12" fmla="*/ 331 w 407"/>
                <a:gd name="T13" fmla="*/ 47 h 409"/>
                <a:gd name="T14" fmla="*/ 295 w 407"/>
                <a:gd name="T15" fmla="*/ 89 h 409"/>
                <a:gd name="T16" fmla="*/ 321 w 407"/>
                <a:gd name="T17" fmla="*/ 107 h 409"/>
                <a:gd name="T18" fmla="*/ 364 w 407"/>
                <a:gd name="T19" fmla="*/ 136 h 409"/>
                <a:gd name="T20" fmla="*/ 384 w 407"/>
                <a:gd name="T21" fmla="*/ 138 h 409"/>
                <a:gd name="T22" fmla="*/ 401 w 407"/>
                <a:gd name="T23" fmla="*/ 160 h 409"/>
                <a:gd name="T24" fmla="*/ 400 w 407"/>
                <a:gd name="T25" fmla="*/ 190 h 409"/>
                <a:gd name="T26" fmla="*/ 367 w 407"/>
                <a:gd name="T27" fmla="*/ 176 h 409"/>
                <a:gd name="T28" fmla="*/ 347 w 407"/>
                <a:gd name="T29" fmla="*/ 192 h 409"/>
                <a:gd name="T30" fmla="*/ 334 w 407"/>
                <a:gd name="T31" fmla="*/ 223 h 409"/>
                <a:gd name="T32" fmla="*/ 316 w 407"/>
                <a:gd name="T33" fmla="*/ 252 h 409"/>
                <a:gd name="T34" fmla="*/ 324 w 407"/>
                <a:gd name="T35" fmla="*/ 282 h 409"/>
                <a:gd name="T36" fmla="*/ 332 w 407"/>
                <a:gd name="T37" fmla="*/ 313 h 409"/>
                <a:gd name="T38" fmla="*/ 375 w 407"/>
                <a:gd name="T39" fmla="*/ 322 h 409"/>
                <a:gd name="T40" fmla="*/ 373 w 407"/>
                <a:gd name="T41" fmla="*/ 372 h 409"/>
                <a:gd name="T42" fmla="*/ 348 w 407"/>
                <a:gd name="T43" fmla="*/ 396 h 409"/>
                <a:gd name="T44" fmla="*/ 330 w 407"/>
                <a:gd name="T45" fmla="*/ 390 h 409"/>
                <a:gd name="T46" fmla="*/ 308 w 407"/>
                <a:gd name="T47" fmla="*/ 397 h 409"/>
                <a:gd name="T48" fmla="*/ 283 w 407"/>
                <a:gd name="T49" fmla="*/ 385 h 409"/>
                <a:gd name="T50" fmla="*/ 265 w 407"/>
                <a:gd name="T51" fmla="*/ 370 h 409"/>
                <a:gd name="T52" fmla="*/ 241 w 407"/>
                <a:gd name="T53" fmla="*/ 365 h 409"/>
                <a:gd name="T54" fmla="*/ 231 w 407"/>
                <a:gd name="T55" fmla="*/ 326 h 409"/>
                <a:gd name="T56" fmla="*/ 214 w 407"/>
                <a:gd name="T57" fmla="*/ 338 h 409"/>
                <a:gd name="T58" fmla="*/ 181 w 407"/>
                <a:gd name="T59" fmla="*/ 336 h 409"/>
                <a:gd name="T60" fmla="*/ 141 w 407"/>
                <a:gd name="T61" fmla="*/ 331 h 409"/>
                <a:gd name="T62" fmla="*/ 106 w 407"/>
                <a:gd name="T63" fmla="*/ 321 h 409"/>
                <a:gd name="T64" fmla="*/ 79 w 407"/>
                <a:gd name="T65" fmla="*/ 299 h 409"/>
                <a:gd name="T66" fmla="*/ 59 w 407"/>
                <a:gd name="T67" fmla="*/ 275 h 409"/>
                <a:gd name="T68" fmla="*/ 38 w 407"/>
                <a:gd name="T69" fmla="*/ 246 h 409"/>
                <a:gd name="T70" fmla="*/ 17 w 407"/>
                <a:gd name="T71" fmla="*/ 213 h 409"/>
                <a:gd name="T72" fmla="*/ 10 w 407"/>
                <a:gd name="T73" fmla="*/ 179 h 409"/>
                <a:gd name="T74" fmla="*/ 0 w 407"/>
                <a:gd name="T75" fmla="*/ 149 h 409"/>
                <a:gd name="T76" fmla="*/ 46 w 407"/>
                <a:gd name="T77" fmla="*/ 133 h 409"/>
                <a:gd name="T78" fmla="*/ 93 w 407"/>
                <a:gd name="T79" fmla="*/ 120 h 409"/>
                <a:gd name="T80" fmla="*/ 128 w 407"/>
                <a:gd name="T81" fmla="*/ 101 h 409"/>
                <a:gd name="T82" fmla="*/ 170 w 407"/>
                <a:gd name="T83" fmla="*/ 77 h 409"/>
                <a:gd name="T84" fmla="*/ 198 w 407"/>
                <a:gd name="T85" fmla="*/ 54 h 409"/>
                <a:gd name="T86" fmla="*/ 206 w 407"/>
                <a:gd name="T87" fmla="*/ 26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09">
                  <a:moveTo>
                    <a:pt x="213" y="7"/>
                  </a:moveTo>
                  <a:lnTo>
                    <a:pt x="223" y="5"/>
                  </a:lnTo>
                  <a:lnTo>
                    <a:pt x="239" y="0"/>
                  </a:lnTo>
                  <a:lnTo>
                    <a:pt x="249" y="5"/>
                  </a:lnTo>
                  <a:lnTo>
                    <a:pt x="254" y="13"/>
                  </a:lnTo>
                  <a:lnTo>
                    <a:pt x="264" y="10"/>
                  </a:lnTo>
                  <a:lnTo>
                    <a:pt x="276" y="10"/>
                  </a:lnTo>
                  <a:lnTo>
                    <a:pt x="288" y="13"/>
                  </a:lnTo>
                  <a:lnTo>
                    <a:pt x="298" y="7"/>
                  </a:lnTo>
                  <a:lnTo>
                    <a:pt x="307" y="6"/>
                  </a:lnTo>
                  <a:lnTo>
                    <a:pt x="311" y="0"/>
                  </a:lnTo>
                  <a:lnTo>
                    <a:pt x="313" y="7"/>
                  </a:lnTo>
                  <a:lnTo>
                    <a:pt x="316" y="19"/>
                  </a:lnTo>
                  <a:lnTo>
                    <a:pt x="317" y="35"/>
                  </a:lnTo>
                  <a:lnTo>
                    <a:pt x="324" y="23"/>
                  </a:lnTo>
                  <a:lnTo>
                    <a:pt x="340" y="12"/>
                  </a:lnTo>
                  <a:lnTo>
                    <a:pt x="355" y="8"/>
                  </a:lnTo>
                  <a:lnTo>
                    <a:pt x="358" y="14"/>
                  </a:lnTo>
                  <a:lnTo>
                    <a:pt x="356" y="24"/>
                  </a:lnTo>
                  <a:lnTo>
                    <a:pt x="345" y="35"/>
                  </a:lnTo>
                  <a:lnTo>
                    <a:pt x="331" y="47"/>
                  </a:lnTo>
                  <a:lnTo>
                    <a:pt x="319" y="59"/>
                  </a:lnTo>
                  <a:lnTo>
                    <a:pt x="303" y="71"/>
                  </a:lnTo>
                  <a:lnTo>
                    <a:pt x="295" y="89"/>
                  </a:lnTo>
                  <a:lnTo>
                    <a:pt x="294" y="109"/>
                  </a:lnTo>
                  <a:lnTo>
                    <a:pt x="311" y="102"/>
                  </a:lnTo>
                  <a:lnTo>
                    <a:pt x="321" y="107"/>
                  </a:lnTo>
                  <a:lnTo>
                    <a:pt x="335" y="126"/>
                  </a:lnTo>
                  <a:lnTo>
                    <a:pt x="347" y="136"/>
                  </a:lnTo>
                  <a:lnTo>
                    <a:pt x="364" y="136"/>
                  </a:lnTo>
                  <a:lnTo>
                    <a:pt x="382" y="137"/>
                  </a:lnTo>
                  <a:lnTo>
                    <a:pt x="386" y="132"/>
                  </a:lnTo>
                  <a:lnTo>
                    <a:pt x="384" y="138"/>
                  </a:lnTo>
                  <a:lnTo>
                    <a:pt x="384" y="149"/>
                  </a:lnTo>
                  <a:lnTo>
                    <a:pt x="391" y="156"/>
                  </a:lnTo>
                  <a:lnTo>
                    <a:pt x="401" y="160"/>
                  </a:lnTo>
                  <a:lnTo>
                    <a:pt x="405" y="166"/>
                  </a:lnTo>
                  <a:lnTo>
                    <a:pt x="406" y="177"/>
                  </a:lnTo>
                  <a:lnTo>
                    <a:pt x="400" y="190"/>
                  </a:lnTo>
                  <a:lnTo>
                    <a:pt x="388" y="196"/>
                  </a:lnTo>
                  <a:lnTo>
                    <a:pt x="376" y="187"/>
                  </a:lnTo>
                  <a:lnTo>
                    <a:pt x="367" y="176"/>
                  </a:lnTo>
                  <a:lnTo>
                    <a:pt x="358" y="169"/>
                  </a:lnTo>
                  <a:lnTo>
                    <a:pt x="348" y="177"/>
                  </a:lnTo>
                  <a:lnTo>
                    <a:pt x="347" y="192"/>
                  </a:lnTo>
                  <a:lnTo>
                    <a:pt x="349" y="208"/>
                  </a:lnTo>
                  <a:lnTo>
                    <a:pt x="339" y="216"/>
                  </a:lnTo>
                  <a:lnTo>
                    <a:pt x="334" y="223"/>
                  </a:lnTo>
                  <a:lnTo>
                    <a:pt x="333" y="241"/>
                  </a:lnTo>
                  <a:lnTo>
                    <a:pt x="328" y="246"/>
                  </a:lnTo>
                  <a:lnTo>
                    <a:pt x="316" y="252"/>
                  </a:lnTo>
                  <a:lnTo>
                    <a:pt x="306" y="259"/>
                  </a:lnTo>
                  <a:lnTo>
                    <a:pt x="311" y="272"/>
                  </a:lnTo>
                  <a:lnTo>
                    <a:pt x="324" y="282"/>
                  </a:lnTo>
                  <a:lnTo>
                    <a:pt x="329" y="297"/>
                  </a:lnTo>
                  <a:lnTo>
                    <a:pt x="331" y="308"/>
                  </a:lnTo>
                  <a:lnTo>
                    <a:pt x="332" y="313"/>
                  </a:lnTo>
                  <a:lnTo>
                    <a:pt x="360" y="308"/>
                  </a:lnTo>
                  <a:lnTo>
                    <a:pt x="370" y="308"/>
                  </a:lnTo>
                  <a:lnTo>
                    <a:pt x="375" y="322"/>
                  </a:lnTo>
                  <a:lnTo>
                    <a:pt x="371" y="336"/>
                  </a:lnTo>
                  <a:lnTo>
                    <a:pt x="370" y="355"/>
                  </a:lnTo>
                  <a:lnTo>
                    <a:pt x="373" y="372"/>
                  </a:lnTo>
                  <a:lnTo>
                    <a:pt x="362" y="381"/>
                  </a:lnTo>
                  <a:lnTo>
                    <a:pt x="352" y="390"/>
                  </a:lnTo>
                  <a:lnTo>
                    <a:pt x="348" y="396"/>
                  </a:lnTo>
                  <a:lnTo>
                    <a:pt x="342" y="408"/>
                  </a:lnTo>
                  <a:lnTo>
                    <a:pt x="335" y="398"/>
                  </a:lnTo>
                  <a:lnTo>
                    <a:pt x="330" y="390"/>
                  </a:lnTo>
                  <a:lnTo>
                    <a:pt x="321" y="392"/>
                  </a:lnTo>
                  <a:lnTo>
                    <a:pt x="317" y="398"/>
                  </a:lnTo>
                  <a:lnTo>
                    <a:pt x="308" y="397"/>
                  </a:lnTo>
                  <a:lnTo>
                    <a:pt x="303" y="394"/>
                  </a:lnTo>
                  <a:lnTo>
                    <a:pt x="293" y="388"/>
                  </a:lnTo>
                  <a:lnTo>
                    <a:pt x="283" y="385"/>
                  </a:lnTo>
                  <a:lnTo>
                    <a:pt x="278" y="377"/>
                  </a:lnTo>
                  <a:lnTo>
                    <a:pt x="271" y="370"/>
                  </a:lnTo>
                  <a:lnTo>
                    <a:pt x="265" y="370"/>
                  </a:lnTo>
                  <a:lnTo>
                    <a:pt x="256" y="372"/>
                  </a:lnTo>
                  <a:lnTo>
                    <a:pt x="250" y="375"/>
                  </a:lnTo>
                  <a:lnTo>
                    <a:pt x="241" y="365"/>
                  </a:lnTo>
                  <a:lnTo>
                    <a:pt x="236" y="352"/>
                  </a:lnTo>
                  <a:lnTo>
                    <a:pt x="234" y="338"/>
                  </a:lnTo>
                  <a:lnTo>
                    <a:pt x="231" y="326"/>
                  </a:lnTo>
                  <a:lnTo>
                    <a:pt x="225" y="327"/>
                  </a:lnTo>
                  <a:lnTo>
                    <a:pt x="220" y="334"/>
                  </a:lnTo>
                  <a:lnTo>
                    <a:pt x="214" y="338"/>
                  </a:lnTo>
                  <a:lnTo>
                    <a:pt x="204" y="336"/>
                  </a:lnTo>
                  <a:lnTo>
                    <a:pt x="193" y="334"/>
                  </a:lnTo>
                  <a:lnTo>
                    <a:pt x="181" y="336"/>
                  </a:lnTo>
                  <a:lnTo>
                    <a:pt x="174" y="339"/>
                  </a:lnTo>
                  <a:lnTo>
                    <a:pt x="158" y="336"/>
                  </a:lnTo>
                  <a:lnTo>
                    <a:pt x="141" y="331"/>
                  </a:lnTo>
                  <a:lnTo>
                    <a:pt x="128" y="331"/>
                  </a:lnTo>
                  <a:lnTo>
                    <a:pt x="115" y="326"/>
                  </a:lnTo>
                  <a:lnTo>
                    <a:pt x="106" y="321"/>
                  </a:lnTo>
                  <a:lnTo>
                    <a:pt x="100" y="313"/>
                  </a:lnTo>
                  <a:lnTo>
                    <a:pt x="92" y="306"/>
                  </a:lnTo>
                  <a:lnTo>
                    <a:pt x="79" y="299"/>
                  </a:lnTo>
                  <a:lnTo>
                    <a:pt x="71" y="289"/>
                  </a:lnTo>
                  <a:lnTo>
                    <a:pt x="66" y="282"/>
                  </a:lnTo>
                  <a:lnTo>
                    <a:pt x="59" y="275"/>
                  </a:lnTo>
                  <a:lnTo>
                    <a:pt x="52" y="268"/>
                  </a:lnTo>
                  <a:lnTo>
                    <a:pt x="46" y="262"/>
                  </a:lnTo>
                  <a:lnTo>
                    <a:pt x="38" y="246"/>
                  </a:lnTo>
                  <a:lnTo>
                    <a:pt x="33" y="236"/>
                  </a:lnTo>
                  <a:lnTo>
                    <a:pt x="24" y="226"/>
                  </a:lnTo>
                  <a:lnTo>
                    <a:pt x="17" y="213"/>
                  </a:lnTo>
                  <a:lnTo>
                    <a:pt x="13" y="198"/>
                  </a:lnTo>
                  <a:lnTo>
                    <a:pt x="14" y="187"/>
                  </a:lnTo>
                  <a:lnTo>
                    <a:pt x="10" y="179"/>
                  </a:lnTo>
                  <a:lnTo>
                    <a:pt x="9" y="168"/>
                  </a:lnTo>
                  <a:lnTo>
                    <a:pt x="2" y="156"/>
                  </a:lnTo>
                  <a:lnTo>
                    <a:pt x="0" y="149"/>
                  </a:lnTo>
                  <a:lnTo>
                    <a:pt x="11" y="143"/>
                  </a:lnTo>
                  <a:lnTo>
                    <a:pt x="25" y="136"/>
                  </a:lnTo>
                  <a:lnTo>
                    <a:pt x="46" y="133"/>
                  </a:lnTo>
                  <a:lnTo>
                    <a:pt x="63" y="130"/>
                  </a:lnTo>
                  <a:lnTo>
                    <a:pt x="78" y="123"/>
                  </a:lnTo>
                  <a:lnTo>
                    <a:pt x="93" y="120"/>
                  </a:lnTo>
                  <a:lnTo>
                    <a:pt x="102" y="114"/>
                  </a:lnTo>
                  <a:lnTo>
                    <a:pt x="118" y="105"/>
                  </a:lnTo>
                  <a:lnTo>
                    <a:pt x="128" y="101"/>
                  </a:lnTo>
                  <a:lnTo>
                    <a:pt x="144" y="94"/>
                  </a:lnTo>
                  <a:lnTo>
                    <a:pt x="157" y="91"/>
                  </a:lnTo>
                  <a:lnTo>
                    <a:pt x="170" y="77"/>
                  </a:lnTo>
                  <a:lnTo>
                    <a:pt x="177" y="69"/>
                  </a:lnTo>
                  <a:lnTo>
                    <a:pt x="188" y="59"/>
                  </a:lnTo>
                  <a:lnTo>
                    <a:pt x="198" y="54"/>
                  </a:lnTo>
                  <a:lnTo>
                    <a:pt x="203" y="47"/>
                  </a:lnTo>
                  <a:lnTo>
                    <a:pt x="208" y="38"/>
                  </a:lnTo>
                  <a:lnTo>
                    <a:pt x="206" y="26"/>
                  </a:lnTo>
                  <a:lnTo>
                    <a:pt x="207" y="20"/>
                  </a:lnTo>
                  <a:lnTo>
                    <a:pt x="213" y="7"/>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8" name="Freeform 18"/>
            <p:cNvSpPr>
              <a:spLocks/>
            </p:cNvSpPr>
            <p:nvPr/>
          </p:nvSpPr>
          <p:spPr bwMode="auto">
            <a:xfrm>
              <a:off x="4989513" y="3751263"/>
              <a:ext cx="779462" cy="495300"/>
            </a:xfrm>
            <a:custGeom>
              <a:avLst/>
              <a:gdLst>
                <a:gd name="T0" fmla="*/ 74 w 534"/>
                <a:gd name="T1" fmla="*/ 98 h 340"/>
                <a:gd name="T2" fmla="*/ 86 w 534"/>
                <a:gd name="T3" fmla="*/ 67 h 340"/>
                <a:gd name="T4" fmla="*/ 115 w 534"/>
                <a:gd name="T5" fmla="*/ 42 h 340"/>
                <a:gd name="T6" fmla="*/ 87 w 534"/>
                <a:gd name="T7" fmla="*/ 33 h 340"/>
                <a:gd name="T8" fmla="*/ 71 w 534"/>
                <a:gd name="T9" fmla="*/ 8 h 340"/>
                <a:gd name="T10" fmla="*/ 98 w 534"/>
                <a:gd name="T11" fmla="*/ 6 h 340"/>
                <a:gd name="T12" fmla="*/ 131 w 534"/>
                <a:gd name="T13" fmla="*/ 9 h 340"/>
                <a:gd name="T14" fmla="*/ 162 w 534"/>
                <a:gd name="T15" fmla="*/ 13 h 340"/>
                <a:gd name="T16" fmla="*/ 177 w 534"/>
                <a:gd name="T17" fmla="*/ 6 h 340"/>
                <a:gd name="T18" fmla="*/ 196 w 534"/>
                <a:gd name="T19" fmla="*/ 27 h 340"/>
                <a:gd name="T20" fmla="*/ 225 w 534"/>
                <a:gd name="T21" fmla="*/ 51 h 340"/>
                <a:gd name="T22" fmla="*/ 253 w 534"/>
                <a:gd name="T23" fmla="*/ 69 h 340"/>
                <a:gd name="T24" fmla="*/ 299 w 534"/>
                <a:gd name="T25" fmla="*/ 77 h 340"/>
                <a:gd name="T26" fmla="*/ 329 w 534"/>
                <a:gd name="T27" fmla="*/ 74 h 340"/>
                <a:gd name="T28" fmla="*/ 350 w 534"/>
                <a:gd name="T29" fmla="*/ 65 h 340"/>
                <a:gd name="T30" fmla="*/ 361 w 534"/>
                <a:gd name="T31" fmla="*/ 90 h 340"/>
                <a:gd name="T32" fmla="*/ 381 w 534"/>
                <a:gd name="T33" fmla="*/ 110 h 340"/>
                <a:gd name="T34" fmla="*/ 403 w 534"/>
                <a:gd name="T35" fmla="*/ 115 h 340"/>
                <a:gd name="T36" fmla="*/ 428 w 534"/>
                <a:gd name="T37" fmla="*/ 132 h 340"/>
                <a:gd name="T38" fmla="*/ 446 w 534"/>
                <a:gd name="T39" fmla="*/ 130 h 340"/>
                <a:gd name="T40" fmla="*/ 467 w 534"/>
                <a:gd name="T41" fmla="*/ 146 h 340"/>
                <a:gd name="T42" fmla="*/ 483 w 534"/>
                <a:gd name="T43" fmla="*/ 153 h 340"/>
                <a:gd name="T44" fmla="*/ 507 w 534"/>
                <a:gd name="T45" fmla="*/ 171 h 340"/>
                <a:gd name="T46" fmla="*/ 510 w 534"/>
                <a:gd name="T47" fmla="*/ 211 h 340"/>
                <a:gd name="T48" fmla="*/ 523 w 534"/>
                <a:gd name="T49" fmla="*/ 247 h 340"/>
                <a:gd name="T50" fmla="*/ 522 w 534"/>
                <a:gd name="T51" fmla="*/ 273 h 340"/>
                <a:gd name="T52" fmla="*/ 486 w 534"/>
                <a:gd name="T53" fmla="*/ 268 h 340"/>
                <a:gd name="T54" fmla="*/ 456 w 534"/>
                <a:gd name="T55" fmla="*/ 300 h 340"/>
                <a:gd name="T56" fmla="*/ 413 w 534"/>
                <a:gd name="T57" fmla="*/ 307 h 340"/>
                <a:gd name="T58" fmla="*/ 378 w 534"/>
                <a:gd name="T59" fmla="*/ 339 h 340"/>
                <a:gd name="T60" fmla="*/ 366 w 534"/>
                <a:gd name="T61" fmla="*/ 306 h 340"/>
                <a:gd name="T62" fmla="*/ 350 w 534"/>
                <a:gd name="T63" fmla="*/ 283 h 340"/>
                <a:gd name="T64" fmla="*/ 329 w 534"/>
                <a:gd name="T65" fmla="*/ 300 h 340"/>
                <a:gd name="T66" fmla="*/ 313 w 534"/>
                <a:gd name="T67" fmla="*/ 277 h 340"/>
                <a:gd name="T68" fmla="*/ 290 w 534"/>
                <a:gd name="T69" fmla="*/ 296 h 340"/>
                <a:gd name="T70" fmla="*/ 252 w 534"/>
                <a:gd name="T71" fmla="*/ 288 h 340"/>
                <a:gd name="T72" fmla="*/ 192 w 534"/>
                <a:gd name="T73" fmla="*/ 273 h 340"/>
                <a:gd name="T74" fmla="*/ 148 w 534"/>
                <a:gd name="T75" fmla="*/ 261 h 340"/>
                <a:gd name="T76" fmla="*/ 142 w 534"/>
                <a:gd name="T77" fmla="*/ 290 h 340"/>
                <a:gd name="T78" fmla="*/ 97 w 534"/>
                <a:gd name="T79" fmla="*/ 294 h 340"/>
                <a:gd name="T80" fmla="*/ 65 w 534"/>
                <a:gd name="T81" fmla="*/ 327 h 340"/>
                <a:gd name="T82" fmla="*/ 42 w 534"/>
                <a:gd name="T83" fmla="*/ 329 h 340"/>
                <a:gd name="T84" fmla="*/ 28 w 534"/>
                <a:gd name="T85" fmla="*/ 316 h 340"/>
                <a:gd name="T86" fmla="*/ 0 w 534"/>
                <a:gd name="T87" fmla="*/ 289 h 340"/>
                <a:gd name="T88" fmla="*/ 9 w 534"/>
                <a:gd name="T89" fmla="*/ 260 h 340"/>
                <a:gd name="T90" fmla="*/ 13 w 534"/>
                <a:gd name="T91" fmla="*/ 226 h 340"/>
                <a:gd name="T92" fmla="*/ 42 w 534"/>
                <a:gd name="T93" fmla="*/ 220 h 340"/>
                <a:gd name="T94" fmla="*/ 63 w 534"/>
                <a:gd name="T95" fmla="*/ 219 h 340"/>
                <a:gd name="T96" fmla="*/ 81 w 534"/>
                <a:gd name="T97" fmla="*/ 218 h 340"/>
                <a:gd name="T98" fmla="*/ 102 w 534"/>
                <a:gd name="T99" fmla="*/ 198 h 340"/>
                <a:gd name="T100" fmla="*/ 122 w 534"/>
                <a:gd name="T101" fmla="*/ 182 h 340"/>
                <a:gd name="T102" fmla="*/ 110 w 534"/>
                <a:gd name="T103" fmla="*/ 151 h 340"/>
                <a:gd name="T104" fmla="*/ 88 w 534"/>
                <a:gd name="T105" fmla="*/ 13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4" h="340">
                  <a:moveTo>
                    <a:pt x="73" y="123"/>
                  </a:moveTo>
                  <a:lnTo>
                    <a:pt x="73" y="116"/>
                  </a:lnTo>
                  <a:lnTo>
                    <a:pt x="74" y="98"/>
                  </a:lnTo>
                  <a:lnTo>
                    <a:pt x="76" y="85"/>
                  </a:lnTo>
                  <a:lnTo>
                    <a:pt x="80" y="73"/>
                  </a:lnTo>
                  <a:lnTo>
                    <a:pt x="86" y="67"/>
                  </a:lnTo>
                  <a:lnTo>
                    <a:pt x="99" y="61"/>
                  </a:lnTo>
                  <a:lnTo>
                    <a:pt x="109" y="53"/>
                  </a:lnTo>
                  <a:lnTo>
                    <a:pt x="115" y="42"/>
                  </a:lnTo>
                  <a:lnTo>
                    <a:pt x="108" y="39"/>
                  </a:lnTo>
                  <a:lnTo>
                    <a:pt x="97" y="40"/>
                  </a:lnTo>
                  <a:lnTo>
                    <a:pt x="87" y="33"/>
                  </a:lnTo>
                  <a:lnTo>
                    <a:pt x="86" y="27"/>
                  </a:lnTo>
                  <a:lnTo>
                    <a:pt x="73" y="18"/>
                  </a:lnTo>
                  <a:lnTo>
                    <a:pt x="71" y="8"/>
                  </a:lnTo>
                  <a:lnTo>
                    <a:pt x="76" y="4"/>
                  </a:lnTo>
                  <a:lnTo>
                    <a:pt x="89" y="5"/>
                  </a:lnTo>
                  <a:lnTo>
                    <a:pt x="98" y="6"/>
                  </a:lnTo>
                  <a:lnTo>
                    <a:pt x="109" y="12"/>
                  </a:lnTo>
                  <a:lnTo>
                    <a:pt x="120" y="9"/>
                  </a:lnTo>
                  <a:lnTo>
                    <a:pt x="131" y="9"/>
                  </a:lnTo>
                  <a:lnTo>
                    <a:pt x="139" y="8"/>
                  </a:lnTo>
                  <a:lnTo>
                    <a:pt x="148" y="12"/>
                  </a:lnTo>
                  <a:lnTo>
                    <a:pt x="162" y="13"/>
                  </a:lnTo>
                  <a:lnTo>
                    <a:pt x="166" y="10"/>
                  </a:lnTo>
                  <a:lnTo>
                    <a:pt x="171" y="0"/>
                  </a:lnTo>
                  <a:lnTo>
                    <a:pt x="177" y="6"/>
                  </a:lnTo>
                  <a:lnTo>
                    <a:pt x="184" y="13"/>
                  </a:lnTo>
                  <a:lnTo>
                    <a:pt x="191" y="20"/>
                  </a:lnTo>
                  <a:lnTo>
                    <a:pt x="196" y="27"/>
                  </a:lnTo>
                  <a:lnTo>
                    <a:pt x="204" y="37"/>
                  </a:lnTo>
                  <a:lnTo>
                    <a:pt x="217" y="44"/>
                  </a:lnTo>
                  <a:lnTo>
                    <a:pt x="225" y="51"/>
                  </a:lnTo>
                  <a:lnTo>
                    <a:pt x="231" y="59"/>
                  </a:lnTo>
                  <a:lnTo>
                    <a:pt x="240" y="64"/>
                  </a:lnTo>
                  <a:lnTo>
                    <a:pt x="253" y="69"/>
                  </a:lnTo>
                  <a:lnTo>
                    <a:pt x="266" y="69"/>
                  </a:lnTo>
                  <a:lnTo>
                    <a:pt x="283" y="74"/>
                  </a:lnTo>
                  <a:lnTo>
                    <a:pt x="299" y="77"/>
                  </a:lnTo>
                  <a:lnTo>
                    <a:pt x="306" y="74"/>
                  </a:lnTo>
                  <a:lnTo>
                    <a:pt x="318" y="72"/>
                  </a:lnTo>
                  <a:lnTo>
                    <a:pt x="329" y="74"/>
                  </a:lnTo>
                  <a:lnTo>
                    <a:pt x="339" y="76"/>
                  </a:lnTo>
                  <a:lnTo>
                    <a:pt x="345" y="72"/>
                  </a:lnTo>
                  <a:lnTo>
                    <a:pt x="350" y="65"/>
                  </a:lnTo>
                  <a:lnTo>
                    <a:pt x="356" y="64"/>
                  </a:lnTo>
                  <a:lnTo>
                    <a:pt x="359" y="76"/>
                  </a:lnTo>
                  <a:lnTo>
                    <a:pt x="361" y="90"/>
                  </a:lnTo>
                  <a:lnTo>
                    <a:pt x="366" y="103"/>
                  </a:lnTo>
                  <a:lnTo>
                    <a:pt x="375" y="113"/>
                  </a:lnTo>
                  <a:lnTo>
                    <a:pt x="381" y="110"/>
                  </a:lnTo>
                  <a:lnTo>
                    <a:pt x="390" y="108"/>
                  </a:lnTo>
                  <a:lnTo>
                    <a:pt x="396" y="108"/>
                  </a:lnTo>
                  <a:lnTo>
                    <a:pt x="403" y="115"/>
                  </a:lnTo>
                  <a:lnTo>
                    <a:pt x="408" y="123"/>
                  </a:lnTo>
                  <a:lnTo>
                    <a:pt x="418" y="126"/>
                  </a:lnTo>
                  <a:lnTo>
                    <a:pt x="428" y="132"/>
                  </a:lnTo>
                  <a:lnTo>
                    <a:pt x="433" y="135"/>
                  </a:lnTo>
                  <a:lnTo>
                    <a:pt x="442" y="136"/>
                  </a:lnTo>
                  <a:lnTo>
                    <a:pt x="446" y="130"/>
                  </a:lnTo>
                  <a:lnTo>
                    <a:pt x="455" y="128"/>
                  </a:lnTo>
                  <a:lnTo>
                    <a:pt x="460" y="136"/>
                  </a:lnTo>
                  <a:lnTo>
                    <a:pt x="467" y="146"/>
                  </a:lnTo>
                  <a:lnTo>
                    <a:pt x="470" y="150"/>
                  </a:lnTo>
                  <a:lnTo>
                    <a:pt x="479" y="146"/>
                  </a:lnTo>
                  <a:lnTo>
                    <a:pt x="483" y="153"/>
                  </a:lnTo>
                  <a:lnTo>
                    <a:pt x="492" y="159"/>
                  </a:lnTo>
                  <a:lnTo>
                    <a:pt x="505" y="162"/>
                  </a:lnTo>
                  <a:lnTo>
                    <a:pt x="507" y="171"/>
                  </a:lnTo>
                  <a:lnTo>
                    <a:pt x="505" y="184"/>
                  </a:lnTo>
                  <a:lnTo>
                    <a:pt x="507" y="198"/>
                  </a:lnTo>
                  <a:lnTo>
                    <a:pt x="510" y="211"/>
                  </a:lnTo>
                  <a:lnTo>
                    <a:pt x="513" y="221"/>
                  </a:lnTo>
                  <a:lnTo>
                    <a:pt x="519" y="237"/>
                  </a:lnTo>
                  <a:lnTo>
                    <a:pt x="523" y="247"/>
                  </a:lnTo>
                  <a:lnTo>
                    <a:pt x="532" y="262"/>
                  </a:lnTo>
                  <a:lnTo>
                    <a:pt x="533" y="267"/>
                  </a:lnTo>
                  <a:lnTo>
                    <a:pt x="522" y="273"/>
                  </a:lnTo>
                  <a:lnTo>
                    <a:pt x="506" y="273"/>
                  </a:lnTo>
                  <a:lnTo>
                    <a:pt x="496" y="269"/>
                  </a:lnTo>
                  <a:lnTo>
                    <a:pt x="486" y="268"/>
                  </a:lnTo>
                  <a:lnTo>
                    <a:pt x="476" y="278"/>
                  </a:lnTo>
                  <a:lnTo>
                    <a:pt x="469" y="293"/>
                  </a:lnTo>
                  <a:lnTo>
                    <a:pt x="456" y="300"/>
                  </a:lnTo>
                  <a:lnTo>
                    <a:pt x="440" y="306"/>
                  </a:lnTo>
                  <a:lnTo>
                    <a:pt x="423" y="311"/>
                  </a:lnTo>
                  <a:lnTo>
                    <a:pt x="413" y="307"/>
                  </a:lnTo>
                  <a:lnTo>
                    <a:pt x="401" y="317"/>
                  </a:lnTo>
                  <a:lnTo>
                    <a:pt x="390" y="332"/>
                  </a:lnTo>
                  <a:lnTo>
                    <a:pt x="378" y="339"/>
                  </a:lnTo>
                  <a:lnTo>
                    <a:pt x="372" y="334"/>
                  </a:lnTo>
                  <a:lnTo>
                    <a:pt x="364" y="317"/>
                  </a:lnTo>
                  <a:lnTo>
                    <a:pt x="366" y="306"/>
                  </a:lnTo>
                  <a:lnTo>
                    <a:pt x="365" y="298"/>
                  </a:lnTo>
                  <a:lnTo>
                    <a:pt x="356" y="285"/>
                  </a:lnTo>
                  <a:lnTo>
                    <a:pt x="350" y="283"/>
                  </a:lnTo>
                  <a:lnTo>
                    <a:pt x="342" y="282"/>
                  </a:lnTo>
                  <a:lnTo>
                    <a:pt x="333" y="292"/>
                  </a:lnTo>
                  <a:lnTo>
                    <a:pt x="329" y="300"/>
                  </a:lnTo>
                  <a:lnTo>
                    <a:pt x="318" y="298"/>
                  </a:lnTo>
                  <a:lnTo>
                    <a:pt x="314" y="285"/>
                  </a:lnTo>
                  <a:lnTo>
                    <a:pt x="313" y="277"/>
                  </a:lnTo>
                  <a:lnTo>
                    <a:pt x="308" y="278"/>
                  </a:lnTo>
                  <a:lnTo>
                    <a:pt x="301" y="288"/>
                  </a:lnTo>
                  <a:lnTo>
                    <a:pt x="290" y="296"/>
                  </a:lnTo>
                  <a:lnTo>
                    <a:pt x="276" y="301"/>
                  </a:lnTo>
                  <a:lnTo>
                    <a:pt x="263" y="296"/>
                  </a:lnTo>
                  <a:lnTo>
                    <a:pt x="252" y="288"/>
                  </a:lnTo>
                  <a:lnTo>
                    <a:pt x="232" y="285"/>
                  </a:lnTo>
                  <a:lnTo>
                    <a:pt x="210" y="275"/>
                  </a:lnTo>
                  <a:lnTo>
                    <a:pt x="192" y="273"/>
                  </a:lnTo>
                  <a:lnTo>
                    <a:pt x="174" y="265"/>
                  </a:lnTo>
                  <a:lnTo>
                    <a:pt x="162" y="259"/>
                  </a:lnTo>
                  <a:lnTo>
                    <a:pt x="148" y="261"/>
                  </a:lnTo>
                  <a:lnTo>
                    <a:pt x="144" y="270"/>
                  </a:lnTo>
                  <a:lnTo>
                    <a:pt x="144" y="282"/>
                  </a:lnTo>
                  <a:lnTo>
                    <a:pt x="142" y="290"/>
                  </a:lnTo>
                  <a:lnTo>
                    <a:pt x="126" y="291"/>
                  </a:lnTo>
                  <a:lnTo>
                    <a:pt x="112" y="291"/>
                  </a:lnTo>
                  <a:lnTo>
                    <a:pt x="97" y="294"/>
                  </a:lnTo>
                  <a:lnTo>
                    <a:pt x="82" y="302"/>
                  </a:lnTo>
                  <a:lnTo>
                    <a:pt x="70" y="314"/>
                  </a:lnTo>
                  <a:lnTo>
                    <a:pt x="65" y="327"/>
                  </a:lnTo>
                  <a:lnTo>
                    <a:pt x="55" y="338"/>
                  </a:lnTo>
                  <a:lnTo>
                    <a:pt x="48" y="336"/>
                  </a:lnTo>
                  <a:lnTo>
                    <a:pt x="42" y="329"/>
                  </a:lnTo>
                  <a:lnTo>
                    <a:pt x="42" y="324"/>
                  </a:lnTo>
                  <a:lnTo>
                    <a:pt x="35" y="319"/>
                  </a:lnTo>
                  <a:lnTo>
                    <a:pt x="28" y="316"/>
                  </a:lnTo>
                  <a:lnTo>
                    <a:pt x="21" y="304"/>
                  </a:lnTo>
                  <a:lnTo>
                    <a:pt x="15" y="296"/>
                  </a:lnTo>
                  <a:lnTo>
                    <a:pt x="0" y="289"/>
                  </a:lnTo>
                  <a:lnTo>
                    <a:pt x="0" y="280"/>
                  </a:lnTo>
                  <a:lnTo>
                    <a:pt x="5" y="267"/>
                  </a:lnTo>
                  <a:lnTo>
                    <a:pt x="9" y="260"/>
                  </a:lnTo>
                  <a:lnTo>
                    <a:pt x="9" y="249"/>
                  </a:lnTo>
                  <a:lnTo>
                    <a:pt x="9" y="234"/>
                  </a:lnTo>
                  <a:lnTo>
                    <a:pt x="13" y="226"/>
                  </a:lnTo>
                  <a:lnTo>
                    <a:pt x="23" y="221"/>
                  </a:lnTo>
                  <a:lnTo>
                    <a:pt x="35" y="220"/>
                  </a:lnTo>
                  <a:lnTo>
                    <a:pt x="42" y="220"/>
                  </a:lnTo>
                  <a:lnTo>
                    <a:pt x="45" y="226"/>
                  </a:lnTo>
                  <a:lnTo>
                    <a:pt x="53" y="229"/>
                  </a:lnTo>
                  <a:lnTo>
                    <a:pt x="63" y="219"/>
                  </a:lnTo>
                  <a:lnTo>
                    <a:pt x="68" y="221"/>
                  </a:lnTo>
                  <a:lnTo>
                    <a:pt x="76" y="224"/>
                  </a:lnTo>
                  <a:lnTo>
                    <a:pt x="81" y="218"/>
                  </a:lnTo>
                  <a:lnTo>
                    <a:pt x="86" y="209"/>
                  </a:lnTo>
                  <a:lnTo>
                    <a:pt x="93" y="201"/>
                  </a:lnTo>
                  <a:lnTo>
                    <a:pt x="102" y="198"/>
                  </a:lnTo>
                  <a:lnTo>
                    <a:pt x="115" y="198"/>
                  </a:lnTo>
                  <a:lnTo>
                    <a:pt x="117" y="188"/>
                  </a:lnTo>
                  <a:lnTo>
                    <a:pt x="122" y="182"/>
                  </a:lnTo>
                  <a:lnTo>
                    <a:pt x="122" y="172"/>
                  </a:lnTo>
                  <a:lnTo>
                    <a:pt x="119" y="158"/>
                  </a:lnTo>
                  <a:lnTo>
                    <a:pt x="110" y="151"/>
                  </a:lnTo>
                  <a:lnTo>
                    <a:pt x="101" y="150"/>
                  </a:lnTo>
                  <a:lnTo>
                    <a:pt x="94" y="145"/>
                  </a:lnTo>
                  <a:lnTo>
                    <a:pt x="88" y="136"/>
                  </a:lnTo>
                  <a:lnTo>
                    <a:pt x="77" y="128"/>
                  </a:lnTo>
                  <a:lnTo>
                    <a:pt x="73" y="123"/>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69" name="Freeform 19"/>
            <p:cNvSpPr>
              <a:spLocks/>
            </p:cNvSpPr>
            <p:nvPr/>
          </p:nvSpPr>
          <p:spPr bwMode="auto">
            <a:xfrm>
              <a:off x="5035550" y="4129088"/>
              <a:ext cx="550863" cy="654050"/>
            </a:xfrm>
            <a:custGeom>
              <a:avLst/>
              <a:gdLst>
                <a:gd name="T0" fmla="*/ 38 w 377"/>
                <a:gd name="T1" fmla="*/ 55 h 448"/>
                <a:gd name="T2" fmla="*/ 80 w 377"/>
                <a:gd name="T3" fmla="*/ 32 h 448"/>
                <a:gd name="T4" fmla="*/ 112 w 377"/>
                <a:gd name="T5" fmla="*/ 23 h 448"/>
                <a:gd name="T6" fmla="*/ 130 w 377"/>
                <a:gd name="T7" fmla="*/ 0 h 448"/>
                <a:gd name="T8" fmla="*/ 178 w 377"/>
                <a:gd name="T9" fmla="*/ 16 h 448"/>
                <a:gd name="T10" fmla="*/ 231 w 377"/>
                <a:gd name="T11" fmla="*/ 37 h 448"/>
                <a:gd name="T12" fmla="*/ 269 w 377"/>
                <a:gd name="T13" fmla="*/ 29 h 448"/>
                <a:gd name="T14" fmla="*/ 282 w 377"/>
                <a:gd name="T15" fmla="*/ 26 h 448"/>
                <a:gd name="T16" fmla="*/ 301 w 377"/>
                <a:gd name="T17" fmla="*/ 33 h 448"/>
                <a:gd name="T18" fmla="*/ 324 w 377"/>
                <a:gd name="T19" fmla="*/ 26 h 448"/>
                <a:gd name="T20" fmla="*/ 332 w 377"/>
                <a:gd name="T21" fmla="*/ 58 h 448"/>
                <a:gd name="T22" fmla="*/ 347 w 377"/>
                <a:gd name="T23" fmla="*/ 83 h 448"/>
                <a:gd name="T24" fmla="*/ 357 w 377"/>
                <a:gd name="T25" fmla="*/ 96 h 448"/>
                <a:gd name="T26" fmla="*/ 372 w 377"/>
                <a:gd name="T27" fmla="*/ 114 h 448"/>
                <a:gd name="T28" fmla="*/ 375 w 377"/>
                <a:gd name="T29" fmla="*/ 133 h 448"/>
                <a:gd name="T30" fmla="*/ 359 w 377"/>
                <a:gd name="T31" fmla="*/ 150 h 448"/>
                <a:gd name="T32" fmla="*/ 344 w 377"/>
                <a:gd name="T33" fmla="*/ 169 h 448"/>
                <a:gd name="T34" fmla="*/ 338 w 377"/>
                <a:gd name="T35" fmla="*/ 193 h 448"/>
                <a:gd name="T36" fmla="*/ 334 w 377"/>
                <a:gd name="T37" fmla="*/ 215 h 448"/>
                <a:gd name="T38" fmla="*/ 346 w 377"/>
                <a:gd name="T39" fmla="*/ 222 h 448"/>
                <a:gd name="T40" fmla="*/ 355 w 377"/>
                <a:gd name="T41" fmla="*/ 235 h 448"/>
                <a:gd name="T42" fmla="*/ 355 w 377"/>
                <a:gd name="T43" fmla="*/ 255 h 448"/>
                <a:gd name="T44" fmla="*/ 356 w 377"/>
                <a:gd name="T45" fmla="*/ 278 h 448"/>
                <a:gd name="T46" fmla="*/ 367 w 377"/>
                <a:gd name="T47" fmla="*/ 291 h 448"/>
                <a:gd name="T48" fmla="*/ 372 w 377"/>
                <a:gd name="T49" fmla="*/ 312 h 448"/>
                <a:gd name="T50" fmla="*/ 375 w 377"/>
                <a:gd name="T51" fmla="*/ 328 h 448"/>
                <a:gd name="T52" fmla="*/ 371 w 377"/>
                <a:gd name="T53" fmla="*/ 350 h 448"/>
                <a:gd name="T54" fmla="*/ 373 w 377"/>
                <a:gd name="T55" fmla="*/ 369 h 448"/>
                <a:gd name="T56" fmla="*/ 369 w 377"/>
                <a:gd name="T57" fmla="*/ 379 h 448"/>
                <a:gd name="T58" fmla="*/ 347 w 377"/>
                <a:gd name="T59" fmla="*/ 380 h 448"/>
                <a:gd name="T60" fmla="*/ 325 w 377"/>
                <a:gd name="T61" fmla="*/ 376 h 448"/>
                <a:gd name="T62" fmla="*/ 310 w 377"/>
                <a:gd name="T63" fmla="*/ 379 h 448"/>
                <a:gd name="T64" fmla="*/ 292 w 377"/>
                <a:gd name="T65" fmla="*/ 392 h 448"/>
                <a:gd name="T66" fmla="*/ 303 w 377"/>
                <a:gd name="T67" fmla="*/ 407 h 448"/>
                <a:gd name="T68" fmla="*/ 280 w 377"/>
                <a:gd name="T69" fmla="*/ 419 h 448"/>
                <a:gd name="T70" fmla="*/ 259 w 377"/>
                <a:gd name="T71" fmla="*/ 403 h 448"/>
                <a:gd name="T72" fmla="*/ 244 w 377"/>
                <a:gd name="T73" fmla="*/ 419 h 448"/>
                <a:gd name="T74" fmla="*/ 234 w 377"/>
                <a:gd name="T75" fmla="*/ 438 h 448"/>
                <a:gd name="T76" fmla="*/ 208 w 377"/>
                <a:gd name="T77" fmla="*/ 446 h 448"/>
                <a:gd name="T78" fmla="*/ 192 w 377"/>
                <a:gd name="T79" fmla="*/ 430 h 448"/>
                <a:gd name="T80" fmla="*/ 186 w 377"/>
                <a:gd name="T81" fmla="*/ 407 h 448"/>
                <a:gd name="T82" fmla="*/ 168 w 377"/>
                <a:gd name="T83" fmla="*/ 420 h 448"/>
                <a:gd name="T84" fmla="*/ 165 w 377"/>
                <a:gd name="T85" fmla="*/ 405 h 448"/>
                <a:gd name="T86" fmla="*/ 179 w 377"/>
                <a:gd name="T87" fmla="*/ 377 h 448"/>
                <a:gd name="T88" fmla="*/ 187 w 377"/>
                <a:gd name="T89" fmla="*/ 353 h 448"/>
                <a:gd name="T90" fmla="*/ 175 w 377"/>
                <a:gd name="T91" fmla="*/ 330 h 448"/>
                <a:gd name="T92" fmla="*/ 167 w 377"/>
                <a:gd name="T93" fmla="*/ 307 h 448"/>
                <a:gd name="T94" fmla="*/ 139 w 377"/>
                <a:gd name="T95" fmla="*/ 309 h 448"/>
                <a:gd name="T96" fmla="*/ 120 w 377"/>
                <a:gd name="T97" fmla="*/ 333 h 448"/>
                <a:gd name="T98" fmla="*/ 107 w 377"/>
                <a:gd name="T99" fmla="*/ 335 h 448"/>
                <a:gd name="T100" fmla="*/ 95 w 377"/>
                <a:gd name="T101" fmla="*/ 328 h 448"/>
                <a:gd name="T102" fmla="*/ 77 w 377"/>
                <a:gd name="T103" fmla="*/ 332 h 448"/>
                <a:gd name="T104" fmla="*/ 72 w 377"/>
                <a:gd name="T105" fmla="*/ 353 h 448"/>
                <a:gd name="T106" fmla="*/ 61 w 377"/>
                <a:gd name="T107" fmla="*/ 343 h 448"/>
                <a:gd name="T108" fmla="*/ 41 w 377"/>
                <a:gd name="T109" fmla="*/ 329 h 448"/>
                <a:gd name="T110" fmla="*/ 27 w 377"/>
                <a:gd name="T111" fmla="*/ 307 h 448"/>
                <a:gd name="T112" fmla="*/ 44 w 377"/>
                <a:gd name="T113" fmla="*/ 265 h 448"/>
                <a:gd name="T114" fmla="*/ 23 w 377"/>
                <a:gd name="T115" fmla="*/ 253 h 448"/>
                <a:gd name="T116" fmla="*/ 7 w 377"/>
                <a:gd name="T117" fmla="*/ 245 h 448"/>
                <a:gd name="T118" fmla="*/ 34 w 377"/>
                <a:gd name="T119" fmla="*/ 214 h 448"/>
                <a:gd name="T120" fmla="*/ 38 w 377"/>
                <a:gd name="T121" fmla="*/ 180 h 448"/>
                <a:gd name="T122" fmla="*/ 26 w 377"/>
                <a:gd name="T123" fmla="*/ 138 h 448"/>
                <a:gd name="T124" fmla="*/ 27 w 377"/>
                <a:gd name="T125" fmla="*/ 10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7" h="448">
                  <a:moveTo>
                    <a:pt x="23" y="79"/>
                  </a:moveTo>
                  <a:lnTo>
                    <a:pt x="33" y="68"/>
                  </a:lnTo>
                  <a:lnTo>
                    <a:pt x="38" y="55"/>
                  </a:lnTo>
                  <a:lnTo>
                    <a:pt x="50" y="43"/>
                  </a:lnTo>
                  <a:lnTo>
                    <a:pt x="65" y="35"/>
                  </a:lnTo>
                  <a:lnTo>
                    <a:pt x="80" y="32"/>
                  </a:lnTo>
                  <a:lnTo>
                    <a:pt x="94" y="32"/>
                  </a:lnTo>
                  <a:lnTo>
                    <a:pt x="110" y="31"/>
                  </a:lnTo>
                  <a:lnTo>
                    <a:pt x="112" y="23"/>
                  </a:lnTo>
                  <a:lnTo>
                    <a:pt x="112" y="11"/>
                  </a:lnTo>
                  <a:lnTo>
                    <a:pt x="116" y="2"/>
                  </a:lnTo>
                  <a:lnTo>
                    <a:pt x="130" y="0"/>
                  </a:lnTo>
                  <a:lnTo>
                    <a:pt x="142" y="6"/>
                  </a:lnTo>
                  <a:lnTo>
                    <a:pt x="160" y="14"/>
                  </a:lnTo>
                  <a:lnTo>
                    <a:pt x="178" y="16"/>
                  </a:lnTo>
                  <a:lnTo>
                    <a:pt x="200" y="26"/>
                  </a:lnTo>
                  <a:lnTo>
                    <a:pt x="220" y="29"/>
                  </a:lnTo>
                  <a:lnTo>
                    <a:pt x="231" y="37"/>
                  </a:lnTo>
                  <a:lnTo>
                    <a:pt x="244" y="42"/>
                  </a:lnTo>
                  <a:lnTo>
                    <a:pt x="258" y="37"/>
                  </a:lnTo>
                  <a:lnTo>
                    <a:pt x="269" y="29"/>
                  </a:lnTo>
                  <a:lnTo>
                    <a:pt x="276" y="19"/>
                  </a:lnTo>
                  <a:lnTo>
                    <a:pt x="281" y="18"/>
                  </a:lnTo>
                  <a:lnTo>
                    <a:pt x="282" y="26"/>
                  </a:lnTo>
                  <a:lnTo>
                    <a:pt x="286" y="39"/>
                  </a:lnTo>
                  <a:lnTo>
                    <a:pt x="297" y="41"/>
                  </a:lnTo>
                  <a:lnTo>
                    <a:pt x="301" y="33"/>
                  </a:lnTo>
                  <a:lnTo>
                    <a:pt x="310" y="23"/>
                  </a:lnTo>
                  <a:lnTo>
                    <a:pt x="318" y="24"/>
                  </a:lnTo>
                  <a:lnTo>
                    <a:pt x="324" y="26"/>
                  </a:lnTo>
                  <a:lnTo>
                    <a:pt x="333" y="39"/>
                  </a:lnTo>
                  <a:lnTo>
                    <a:pt x="334" y="47"/>
                  </a:lnTo>
                  <a:lnTo>
                    <a:pt x="332" y="58"/>
                  </a:lnTo>
                  <a:lnTo>
                    <a:pt x="340" y="75"/>
                  </a:lnTo>
                  <a:lnTo>
                    <a:pt x="346" y="80"/>
                  </a:lnTo>
                  <a:lnTo>
                    <a:pt x="347" y="83"/>
                  </a:lnTo>
                  <a:lnTo>
                    <a:pt x="347" y="85"/>
                  </a:lnTo>
                  <a:lnTo>
                    <a:pt x="353" y="90"/>
                  </a:lnTo>
                  <a:lnTo>
                    <a:pt x="357" y="96"/>
                  </a:lnTo>
                  <a:lnTo>
                    <a:pt x="363" y="101"/>
                  </a:lnTo>
                  <a:lnTo>
                    <a:pt x="368" y="106"/>
                  </a:lnTo>
                  <a:lnTo>
                    <a:pt x="372" y="114"/>
                  </a:lnTo>
                  <a:lnTo>
                    <a:pt x="375" y="119"/>
                  </a:lnTo>
                  <a:lnTo>
                    <a:pt x="375" y="125"/>
                  </a:lnTo>
                  <a:lnTo>
                    <a:pt x="375" y="133"/>
                  </a:lnTo>
                  <a:lnTo>
                    <a:pt x="373" y="140"/>
                  </a:lnTo>
                  <a:lnTo>
                    <a:pt x="367" y="147"/>
                  </a:lnTo>
                  <a:lnTo>
                    <a:pt x="359" y="150"/>
                  </a:lnTo>
                  <a:lnTo>
                    <a:pt x="352" y="155"/>
                  </a:lnTo>
                  <a:lnTo>
                    <a:pt x="347" y="163"/>
                  </a:lnTo>
                  <a:lnTo>
                    <a:pt x="344" y="169"/>
                  </a:lnTo>
                  <a:lnTo>
                    <a:pt x="343" y="177"/>
                  </a:lnTo>
                  <a:lnTo>
                    <a:pt x="340" y="186"/>
                  </a:lnTo>
                  <a:lnTo>
                    <a:pt x="338" y="193"/>
                  </a:lnTo>
                  <a:lnTo>
                    <a:pt x="335" y="201"/>
                  </a:lnTo>
                  <a:lnTo>
                    <a:pt x="334" y="208"/>
                  </a:lnTo>
                  <a:lnTo>
                    <a:pt x="334" y="215"/>
                  </a:lnTo>
                  <a:lnTo>
                    <a:pt x="337" y="223"/>
                  </a:lnTo>
                  <a:lnTo>
                    <a:pt x="342" y="223"/>
                  </a:lnTo>
                  <a:lnTo>
                    <a:pt x="346" y="222"/>
                  </a:lnTo>
                  <a:lnTo>
                    <a:pt x="352" y="225"/>
                  </a:lnTo>
                  <a:lnTo>
                    <a:pt x="354" y="230"/>
                  </a:lnTo>
                  <a:lnTo>
                    <a:pt x="355" y="235"/>
                  </a:lnTo>
                  <a:lnTo>
                    <a:pt x="355" y="244"/>
                  </a:lnTo>
                  <a:lnTo>
                    <a:pt x="355" y="248"/>
                  </a:lnTo>
                  <a:lnTo>
                    <a:pt x="355" y="255"/>
                  </a:lnTo>
                  <a:lnTo>
                    <a:pt x="355" y="263"/>
                  </a:lnTo>
                  <a:lnTo>
                    <a:pt x="355" y="270"/>
                  </a:lnTo>
                  <a:lnTo>
                    <a:pt x="356" y="278"/>
                  </a:lnTo>
                  <a:lnTo>
                    <a:pt x="359" y="285"/>
                  </a:lnTo>
                  <a:lnTo>
                    <a:pt x="365" y="286"/>
                  </a:lnTo>
                  <a:lnTo>
                    <a:pt x="367" y="291"/>
                  </a:lnTo>
                  <a:lnTo>
                    <a:pt x="367" y="297"/>
                  </a:lnTo>
                  <a:lnTo>
                    <a:pt x="368" y="307"/>
                  </a:lnTo>
                  <a:lnTo>
                    <a:pt x="372" y="312"/>
                  </a:lnTo>
                  <a:lnTo>
                    <a:pt x="376" y="315"/>
                  </a:lnTo>
                  <a:lnTo>
                    <a:pt x="376" y="322"/>
                  </a:lnTo>
                  <a:lnTo>
                    <a:pt x="375" y="328"/>
                  </a:lnTo>
                  <a:lnTo>
                    <a:pt x="372" y="336"/>
                  </a:lnTo>
                  <a:lnTo>
                    <a:pt x="373" y="344"/>
                  </a:lnTo>
                  <a:lnTo>
                    <a:pt x="371" y="350"/>
                  </a:lnTo>
                  <a:lnTo>
                    <a:pt x="370" y="356"/>
                  </a:lnTo>
                  <a:lnTo>
                    <a:pt x="371" y="362"/>
                  </a:lnTo>
                  <a:lnTo>
                    <a:pt x="373" y="369"/>
                  </a:lnTo>
                  <a:lnTo>
                    <a:pt x="373" y="374"/>
                  </a:lnTo>
                  <a:lnTo>
                    <a:pt x="373" y="376"/>
                  </a:lnTo>
                  <a:lnTo>
                    <a:pt x="369" y="379"/>
                  </a:lnTo>
                  <a:lnTo>
                    <a:pt x="360" y="383"/>
                  </a:lnTo>
                  <a:lnTo>
                    <a:pt x="354" y="381"/>
                  </a:lnTo>
                  <a:lnTo>
                    <a:pt x="347" y="380"/>
                  </a:lnTo>
                  <a:lnTo>
                    <a:pt x="337" y="384"/>
                  </a:lnTo>
                  <a:lnTo>
                    <a:pt x="325" y="383"/>
                  </a:lnTo>
                  <a:lnTo>
                    <a:pt x="325" y="376"/>
                  </a:lnTo>
                  <a:lnTo>
                    <a:pt x="323" y="368"/>
                  </a:lnTo>
                  <a:lnTo>
                    <a:pt x="316" y="372"/>
                  </a:lnTo>
                  <a:lnTo>
                    <a:pt x="310" y="379"/>
                  </a:lnTo>
                  <a:lnTo>
                    <a:pt x="300" y="381"/>
                  </a:lnTo>
                  <a:lnTo>
                    <a:pt x="291" y="386"/>
                  </a:lnTo>
                  <a:lnTo>
                    <a:pt x="292" y="392"/>
                  </a:lnTo>
                  <a:lnTo>
                    <a:pt x="301" y="394"/>
                  </a:lnTo>
                  <a:lnTo>
                    <a:pt x="305" y="399"/>
                  </a:lnTo>
                  <a:lnTo>
                    <a:pt x="303" y="407"/>
                  </a:lnTo>
                  <a:lnTo>
                    <a:pt x="298" y="413"/>
                  </a:lnTo>
                  <a:lnTo>
                    <a:pt x="291" y="422"/>
                  </a:lnTo>
                  <a:lnTo>
                    <a:pt x="280" y="419"/>
                  </a:lnTo>
                  <a:lnTo>
                    <a:pt x="279" y="411"/>
                  </a:lnTo>
                  <a:lnTo>
                    <a:pt x="273" y="405"/>
                  </a:lnTo>
                  <a:lnTo>
                    <a:pt x="259" y="403"/>
                  </a:lnTo>
                  <a:lnTo>
                    <a:pt x="250" y="407"/>
                  </a:lnTo>
                  <a:lnTo>
                    <a:pt x="247" y="412"/>
                  </a:lnTo>
                  <a:lnTo>
                    <a:pt x="244" y="419"/>
                  </a:lnTo>
                  <a:lnTo>
                    <a:pt x="243" y="426"/>
                  </a:lnTo>
                  <a:lnTo>
                    <a:pt x="239" y="433"/>
                  </a:lnTo>
                  <a:lnTo>
                    <a:pt x="234" y="438"/>
                  </a:lnTo>
                  <a:lnTo>
                    <a:pt x="224" y="442"/>
                  </a:lnTo>
                  <a:lnTo>
                    <a:pt x="218" y="441"/>
                  </a:lnTo>
                  <a:lnTo>
                    <a:pt x="208" y="446"/>
                  </a:lnTo>
                  <a:lnTo>
                    <a:pt x="197" y="447"/>
                  </a:lnTo>
                  <a:lnTo>
                    <a:pt x="191" y="443"/>
                  </a:lnTo>
                  <a:lnTo>
                    <a:pt x="192" y="430"/>
                  </a:lnTo>
                  <a:lnTo>
                    <a:pt x="194" y="420"/>
                  </a:lnTo>
                  <a:lnTo>
                    <a:pt x="191" y="412"/>
                  </a:lnTo>
                  <a:lnTo>
                    <a:pt x="186" y="407"/>
                  </a:lnTo>
                  <a:lnTo>
                    <a:pt x="180" y="407"/>
                  </a:lnTo>
                  <a:lnTo>
                    <a:pt x="174" y="414"/>
                  </a:lnTo>
                  <a:lnTo>
                    <a:pt x="168" y="420"/>
                  </a:lnTo>
                  <a:lnTo>
                    <a:pt x="155" y="421"/>
                  </a:lnTo>
                  <a:lnTo>
                    <a:pt x="157" y="412"/>
                  </a:lnTo>
                  <a:lnTo>
                    <a:pt x="165" y="405"/>
                  </a:lnTo>
                  <a:lnTo>
                    <a:pt x="172" y="393"/>
                  </a:lnTo>
                  <a:lnTo>
                    <a:pt x="180" y="387"/>
                  </a:lnTo>
                  <a:lnTo>
                    <a:pt x="179" y="377"/>
                  </a:lnTo>
                  <a:lnTo>
                    <a:pt x="172" y="371"/>
                  </a:lnTo>
                  <a:lnTo>
                    <a:pt x="178" y="362"/>
                  </a:lnTo>
                  <a:lnTo>
                    <a:pt x="187" y="353"/>
                  </a:lnTo>
                  <a:lnTo>
                    <a:pt x="181" y="347"/>
                  </a:lnTo>
                  <a:lnTo>
                    <a:pt x="170" y="342"/>
                  </a:lnTo>
                  <a:lnTo>
                    <a:pt x="175" y="330"/>
                  </a:lnTo>
                  <a:lnTo>
                    <a:pt x="178" y="319"/>
                  </a:lnTo>
                  <a:lnTo>
                    <a:pt x="172" y="313"/>
                  </a:lnTo>
                  <a:lnTo>
                    <a:pt x="167" y="307"/>
                  </a:lnTo>
                  <a:lnTo>
                    <a:pt x="158" y="307"/>
                  </a:lnTo>
                  <a:lnTo>
                    <a:pt x="148" y="307"/>
                  </a:lnTo>
                  <a:lnTo>
                    <a:pt x="139" y="309"/>
                  </a:lnTo>
                  <a:lnTo>
                    <a:pt x="131" y="316"/>
                  </a:lnTo>
                  <a:lnTo>
                    <a:pt x="124" y="323"/>
                  </a:lnTo>
                  <a:lnTo>
                    <a:pt x="120" y="333"/>
                  </a:lnTo>
                  <a:lnTo>
                    <a:pt x="113" y="344"/>
                  </a:lnTo>
                  <a:lnTo>
                    <a:pt x="108" y="340"/>
                  </a:lnTo>
                  <a:lnTo>
                    <a:pt x="107" y="335"/>
                  </a:lnTo>
                  <a:lnTo>
                    <a:pt x="98" y="337"/>
                  </a:lnTo>
                  <a:lnTo>
                    <a:pt x="94" y="335"/>
                  </a:lnTo>
                  <a:lnTo>
                    <a:pt x="95" y="328"/>
                  </a:lnTo>
                  <a:lnTo>
                    <a:pt x="90" y="323"/>
                  </a:lnTo>
                  <a:lnTo>
                    <a:pt x="85" y="327"/>
                  </a:lnTo>
                  <a:lnTo>
                    <a:pt x="77" y="332"/>
                  </a:lnTo>
                  <a:lnTo>
                    <a:pt x="72" y="337"/>
                  </a:lnTo>
                  <a:lnTo>
                    <a:pt x="72" y="343"/>
                  </a:lnTo>
                  <a:lnTo>
                    <a:pt x="72" y="353"/>
                  </a:lnTo>
                  <a:lnTo>
                    <a:pt x="66" y="353"/>
                  </a:lnTo>
                  <a:lnTo>
                    <a:pt x="63" y="348"/>
                  </a:lnTo>
                  <a:lnTo>
                    <a:pt x="61" y="343"/>
                  </a:lnTo>
                  <a:lnTo>
                    <a:pt x="54" y="342"/>
                  </a:lnTo>
                  <a:lnTo>
                    <a:pt x="41" y="343"/>
                  </a:lnTo>
                  <a:lnTo>
                    <a:pt x="41" y="329"/>
                  </a:lnTo>
                  <a:lnTo>
                    <a:pt x="35" y="324"/>
                  </a:lnTo>
                  <a:lnTo>
                    <a:pt x="27" y="317"/>
                  </a:lnTo>
                  <a:lnTo>
                    <a:pt x="27" y="307"/>
                  </a:lnTo>
                  <a:lnTo>
                    <a:pt x="33" y="294"/>
                  </a:lnTo>
                  <a:lnTo>
                    <a:pt x="36" y="281"/>
                  </a:lnTo>
                  <a:lnTo>
                    <a:pt x="44" y="265"/>
                  </a:lnTo>
                  <a:lnTo>
                    <a:pt x="41" y="259"/>
                  </a:lnTo>
                  <a:lnTo>
                    <a:pt x="31" y="253"/>
                  </a:lnTo>
                  <a:lnTo>
                    <a:pt x="23" y="253"/>
                  </a:lnTo>
                  <a:lnTo>
                    <a:pt x="8" y="253"/>
                  </a:lnTo>
                  <a:lnTo>
                    <a:pt x="0" y="250"/>
                  </a:lnTo>
                  <a:lnTo>
                    <a:pt x="7" y="245"/>
                  </a:lnTo>
                  <a:lnTo>
                    <a:pt x="16" y="235"/>
                  </a:lnTo>
                  <a:lnTo>
                    <a:pt x="27" y="223"/>
                  </a:lnTo>
                  <a:lnTo>
                    <a:pt x="34" y="214"/>
                  </a:lnTo>
                  <a:lnTo>
                    <a:pt x="39" y="201"/>
                  </a:lnTo>
                  <a:lnTo>
                    <a:pt x="39" y="190"/>
                  </a:lnTo>
                  <a:lnTo>
                    <a:pt x="38" y="180"/>
                  </a:lnTo>
                  <a:lnTo>
                    <a:pt x="35" y="166"/>
                  </a:lnTo>
                  <a:lnTo>
                    <a:pt x="31" y="155"/>
                  </a:lnTo>
                  <a:lnTo>
                    <a:pt x="26" y="138"/>
                  </a:lnTo>
                  <a:lnTo>
                    <a:pt x="27" y="126"/>
                  </a:lnTo>
                  <a:lnTo>
                    <a:pt x="27" y="114"/>
                  </a:lnTo>
                  <a:lnTo>
                    <a:pt x="27" y="101"/>
                  </a:lnTo>
                  <a:lnTo>
                    <a:pt x="26" y="86"/>
                  </a:lnTo>
                  <a:lnTo>
                    <a:pt x="23" y="79"/>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0" name="Freeform 20"/>
            <p:cNvSpPr>
              <a:spLocks/>
            </p:cNvSpPr>
            <p:nvPr/>
          </p:nvSpPr>
          <p:spPr bwMode="auto">
            <a:xfrm>
              <a:off x="3840163" y="4219575"/>
              <a:ext cx="914400" cy="963613"/>
            </a:xfrm>
            <a:custGeom>
              <a:avLst/>
              <a:gdLst>
                <a:gd name="T0" fmla="*/ 94 w 627"/>
                <a:gd name="T1" fmla="*/ 68 h 660"/>
                <a:gd name="T2" fmla="*/ 108 w 627"/>
                <a:gd name="T3" fmla="*/ 31 h 660"/>
                <a:gd name="T4" fmla="*/ 130 w 627"/>
                <a:gd name="T5" fmla="*/ 13 h 660"/>
                <a:gd name="T6" fmla="*/ 147 w 627"/>
                <a:gd name="T7" fmla="*/ 20 h 660"/>
                <a:gd name="T8" fmla="*/ 157 w 627"/>
                <a:gd name="T9" fmla="*/ 67 h 660"/>
                <a:gd name="T10" fmla="*/ 193 w 627"/>
                <a:gd name="T11" fmla="*/ 37 h 660"/>
                <a:gd name="T12" fmla="*/ 216 w 627"/>
                <a:gd name="T13" fmla="*/ 90 h 660"/>
                <a:gd name="T14" fmla="*/ 251 w 627"/>
                <a:gd name="T15" fmla="*/ 114 h 660"/>
                <a:gd name="T16" fmla="*/ 286 w 627"/>
                <a:gd name="T17" fmla="*/ 190 h 660"/>
                <a:gd name="T18" fmla="*/ 309 w 627"/>
                <a:gd name="T19" fmla="*/ 252 h 660"/>
                <a:gd name="T20" fmla="*/ 358 w 627"/>
                <a:gd name="T21" fmla="*/ 247 h 660"/>
                <a:gd name="T22" fmla="*/ 399 w 627"/>
                <a:gd name="T23" fmla="*/ 239 h 660"/>
                <a:gd name="T24" fmla="*/ 399 w 627"/>
                <a:gd name="T25" fmla="*/ 162 h 660"/>
                <a:gd name="T26" fmla="*/ 445 w 627"/>
                <a:gd name="T27" fmla="*/ 110 h 660"/>
                <a:gd name="T28" fmla="*/ 468 w 627"/>
                <a:gd name="T29" fmla="*/ 93 h 660"/>
                <a:gd name="T30" fmla="*/ 486 w 627"/>
                <a:gd name="T31" fmla="*/ 60 h 660"/>
                <a:gd name="T32" fmla="*/ 509 w 627"/>
                <a:gd name="T33" fmla="*/ 99 h 660"/>
                <a:gd name="T34" fmla="*/ 548 w 627"/>
                <a:gd name="T35" fmla="*/ 111 h 660"/>
                <a:gd name="T36" fmla="*/ 571 w 627"/>
                <a:gd name="T37" fmla="*/ 142 h 660"/>
                <a:gd name="T38" fmla="*/ 523 w 627"/>
                <a:gd name="T39" fmla="*/ 169 h 660"/>
                <a:gd name="T40" fmla="*/ 471 w 627"/>
                <a:gd name="T41" fmla="*/ 171 h 660"/>
                <a:gd name="T42" fmla="*/ 466 w 627"/>
                <a:gd name="T43" fmla="*/ 204 h 660"/>
                <a:gd name="T44" fmla="*/ 501 w 627"/>
                <a:gd name="T45" fmla="*/ 232 h 660"/>
                <a:gd name="T46" fmla="*/ 517 w 627"/>
                <a:gd name="T47" fmla="*/ 272 h 660"/>
                <a:gd name="T48" fmla="*/ 520 w 627"/>
                <a:gd name="T49" fmla="*/ 325 h 660"/>
                <a:gd name="T50" fmla="*/ 516 w 627"/>
                <a:gd name="T51" fmla="*/ 360 h 660"/>
                <a:gd name="T52" fmla="*/ 507 w 627"/>
                <a:gd name="T53" fmla="*/ 400 h 660"/>
                <a:gd name="T54" fmla="*/ 555 w 627"/>
                <a:gd name="T55" fmla="*/ 416 h 660"/>
                <a:gd name="T56" fmla="*/ 607 w 627"/>
                <a:gd name="T57" fmla="*/ 438 h 660"/>
                <a:gd name="T58" fmla="*/ 620 w 627"/>
                <a:gd name="T59" fmla="*/ 474 h 660"/>
                <a:gd name="T60" fmla="*/ 563 w 627"/>
                <a:gd name="T61" fmla="*/ 497 h 660"/>
                <a:gd name="T62" fmla="*/ 533 w 627"/>
                <a:gd name="T63" fmla="*/ 530 h 660"/>
                <a:gd name="T64" fmla="*/ 486 w 627"/>
                <a:gd name="T65" fmla="*/ 533 h 660"/>
                <a:gd name="T66" fmla="*/ 449 w 627"/>
                <a:gd name="T67" fmla="*/ 548 h 660"/>
                <a:gd name="T68" fmla="*/ 420 w 627"/>
                <a:gd name="T69" fmla="*/ 544 h 660"/>
                <a:gd name="T70" fmla="*/ 368 w 627"/>
                <a:gd name="T71" fmla="*/ 548 h 660"/>
                <a:gd name="T72" fmla="*/ 322 w 627"/>
                <a:gd name="T73" fmla="*/ 553 h 660"/>
                <a:gd name="T74" fmla="*/ 296 w 627"/>
                <a:gd name="T75" fmla="*/ 592 h 660"/>
                <a:gd name="T76" fmla="*/ 296 w 627"/>
                <a:gd name="T77" fmla="*/ 656 h 660"/>
                <a:gd name="T78" fmla="*/ 255 w 627"/>
                <a:gd name="T79" fmla="*/ 633 h 660"/>
                <a:gd name="T80" fmla="*/ 205 w 627"/>
                <a:gd name="T81" fmla="*/ 631 h 660"/>
                <a:gd name="T82" fmla="*/ 167 w 627"/>
                <a:gd name="T83" fmla="*/ 599 h 660"/>
                <a:gd name="T84" fmla="*/ 116 w 627"/>
                <a:gd name="T85" fmla="*/ 581 h 660"/>
                <a:gd name="T86" fmla="*/ 131 w 627"/>
                <a:gd name="T87" fmla="*/ 514 h 660"/>
                <a:gd name="T88" fmla="*/ 97 w 627"/>
                <a:gd name="T89" fmla="*/ 484 h 660"/>
                <a:gd name="T90" fmla="*/ 73 w 627"/>
                <a:gd name="T91" fmla="*/ 412 h 660"/>
                <a:gd name="T92" fmla="*/ 7 w 627"/>
                <a:gd name="T93" fmla="*/ 423 h 660"/>
                <a:gd name="T94" fmla="*/ 0 w 627"/>
                <a:gd name="T95" fmla="*/ 369 h 660"/>
                <a:gd name="T96" fmla="*/ 20 w 627"/>
                <a:gd name="T97" fmla="*/ 326 h 660"/>
                <a:gd name="T98" fmla="*/ 48 w 627"/>
                <a:gd name="T99" fmla="*/ 288 h 660"/>
                <a:gd name="T100" fmla="*/ 85 w 627"/>
                <a:gd name="T101" fmla="*/ 265 h 660"/>
                <a:gd name="T102" fmla="*/ 95 w 627"/>
                <a:gd name="T103" fmla="*/ 231 h 660"/>
                <a:gd name="T104" fmla="*/ 98 w 627"/>
                <a:gd name="T105" fmla="*/ 169 h 660"/>
                <a:gd name="T106" fmla="*/ 93 w 627"/>
                <a:gd name="T107" fmla="*/ 120 h 660"/>
                <a:gd name="T108" fmla="*/ 64 w 627"/>
                <a:gd name="T109" fmla="*/ 82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7" h="660">
                  <a:moveTo>
                    <a:pt x="64" y="82"/>
                  </a:moveTo>
                  <a:lnTo>
                    <a:pt x="67" y="77"/>
                  </a:lnTo>
                  <a:lnTo>
                    <a:pt x="71" y="69"/>
                  </a:lnTo>
                  <a:lnTo>
                    <a:pt x="81" y="66"/>
                  </a:lnTo>
                  <a:lnTo>
                    <a:pt x="89" y="65"/>
                  </a:lnTo>
                  <a:lnTo>
                    <a:pt x="94" y="68"/>
                  </a:lnTo>
                  <a:lnTo>
                    <a:pt x="100" y="68"/>
                  </a:lnTo>
                  <a:lnTo>
                    <a:pt x="104" y="62"/>
                  </a:lnTo>
                  <a:lnTo>
                    <a:pt x="107" y="55"/>
                  </a:lnTo>
                  <a:lnTo>
                    <a:pt x="106" y="46"/>
                  </a:lnTo>
                  <a:lnTo>
                    <a:pt x="106" y="39"/>
                  </a:lnTo>
                  <a:lnTo>
                    <a:pt x="108" y="31"/>
                  </a:lnTo>
                  <a:lnTo>
                    <a:pt x="108" y="23"/>
                  </a:lnTo>
                  <a:lnTo>
                    <a:pt x="108" y="16"/>
                  </a:lnTo>
                  <a:lnTo>
                    <a:pt x="113" y="16"/>
                  </a:lnTo>
                  <a:lnTo>
                    <a:pt x="117" y="18"/>
                  </a:lnTo>
                  <a:lnTo>
                    <a:pt x="124" y="17"/>
                  </a:lnTo>
                  <a:lnTo>
                    <a:pt x="130" y="13"/>
                  </a:lnTo>
                  <a:lnTo>
                    <a:pt x="137" y="8"/>
                  </a:lnTo>
                  <a:lnTo>
                    <a:pt x="144" y="0"/>
                  </a:lnTo>
                  <a:lnTo>
                    <a:pt x="149" y="1"/>
                  </a:lnTo>
                  <a:lnTo>
                    <a:pt x="151" y="6"/>
                  </a:lnTo>
                  <a:lnTo>
                    <a:pt x="147" y="11"/>
                  </a:lnTo>
                  <a:lnTo>
                    <a:pt x="147" y="20"/>
                  </a:lnTo>
                  <a:lnTo>
                    <a:pt x="145" y="31"/>
                  </a:lnTo>
                  <a:lnTo>
                    <a:pt x="144" y="46"/>
                  </a:lnTo>
                  <a:lnTo>
                    <a:pt x="142" y="60"/>
                  </a:lnTo>
                  <a:lnTo>
                    <a:pt x="146" y="80"/>
                  </a:lnTo>
                  <a:lnTo>
                    <a:pt x="152" y="82"/>
                  </a:lnTo>
                  <a:lnTo>
                    <a:pt x="157" y="67"/>
                  </a:lnTo>
                  <a:lnTo>
                    <a:pt x="164" y="52"/>
                  </a:lnTo>
                  <a:lnTo>
                    <a:pt x="169" y="37"/>
                  </a:lnTo>
                  <a:lnTo>
                    <a:pt x="175" y="26"/>
                  </a:lnTo>
                  <a:lnTo>
                    <a:pt x="185" y="24"/>
                  </a:lnTo>
                  <a:lnTo>
                    <a:pt x="190" y="30"/>
                  </a:lnTo>
                  <a:lnTo>
                    <a:pt x="193" y="37"/>
                  </a:lnTo>
                  <a:lnTo>
                    <a:pt x="201" y="45"/>
                  </a:lnTo>
                  <a:lnTo>
                    <a:pt x="204" y="52"/>
                  </a:lnTo>
                  <a:lnTo>
                    <a:pt x="205" y="62"/>
                  </a:lnTo>
                  <a:lnTo>
                    <a:pt x="210" y="76"/>
                  </a:lnTo>
                  <a:lnTo>
                    <a:pt x="212" y="85"/>
                  </a:lnTo>
                  <a:lnTo>
                    <a:pt x="216" y="90"/>
                  </a:lnTo>
                  <a:lnTo>
                    <a:pt x="222" y="104"/>
                  </a:lnTo>
                  <a:lnTo>
                    <a:pt x="222" y="114"/>
                  </a:lnTo>
                  <a:lnTo>
                    <a:pt x="231" y="117"/>
                  </a:lnTo>
                  <a:lnTo>
                    <a:pt x="239" y="114"/>
                  </a:lnTo>
                  <a:lnTo>
                    <a:pt x="247" y="106"/>
                  </a:lnTo>
                  <a:lnTo>
                    <a:pt x="251" y="114"/>
                  </a:lnTo>
                  <a:lnTo>
                    <a:pt x="252" y="121"/>
                  </a:lnTo>
                  <a:lnTo>
                    <a:pt x="259" y="136"/>
                  </a:lnTo>
                  <a:lnTo>
                    <a:pt x="269" y="155"/>
                  </a:lnTo>
                  <a:lnTo>
                    <a:pt x="278" y="168"/>
                  </a:lnTo>
                  <a:lnTo>
                    <a:pt x="283" y="178"/>
                  </a:lnTo>
                  <a:lnTo>
                    <a:pt x="286" y="190"/>
                  </a:lnTo>
                  <a:lnTo>
                    <a:pt x="293" y="205"/>
                  </a:lnTo>
                  <a:lnTo>
                    <a:pt x="302" y="214"/>
                  </a:lnTo>
                  <a:lnTo>
                    <a:pt x="311" y="221"/>
                  </a:lnTo>
                  <a:lnTo>
                    <a:pt x="309" y="229"/>
                  </a:lnTo>
                  <a:lnTo>
                    <a:pt x="306" y="238"/>
                  </a:lnTo>
                  <a:lnTo>
                    <a:pt x="309" y="252"/>
                  </a:lnTo>
                  <a:lnTo>
                    <a:pt x="319" y="268"/>
                  </a:lnTo>
                  <a:lnTo>
                    <a:pt x="329" y="271"/>
                  </a:lnTo>
                  <a:lnTo>
                    <a:pt x="338" y="264"/>
                  </a:lnTo>
                  <a:lnTo>
                    <a:pt x="345" y="260"/>
                  </a:lnTo>
                  <a:lnTo>
                    <a:pt x="352" y="252"/>
                  </a:lnTo>
                  <a:lnTo>
                    <a:pt x="358" y="247"/>
                  </a:lnTo>
                  <a:lnTo>
                    <a:pt x="368" y="244"/>
                  </a:lnTo>
                  <a:lnTo>
                    <a:pt x="373" y="241"/>
                  </a:lnTo>
                  <a:lnTo>
                    <a:pt x="378" y="252"/>
                  </a:lnTo>
                  <a:lnTo>
                    <a:pt x="386" y="258"/>
                  </a:lnTo>
                  <a:lnTo>
                    <a:pt x="393" y="245"/>
                  </a:lnTo>
                  <a:lnTo>
                    <a:pt x="399" y="239"/>
                  </a:lnTo>
                  <a:lnTo>
                    <a:pt x="402" y="222"/>
                  </a:lnTo>
                  <a:lnTo>
                    <a:pt x="399" y="209"/>
                  </a:lnTo>
                  <a:lnTo>
                    <a:pt x="395" y="194"/>
                  </a:lnTo>
                  <a:lnTo>
                    <a:pt x="390" y="175"/>
                  </a:lnTo>
                  <a:lnTo>
                    <a:pt x="391" y="165"/>
                  </a:lnTo>
                  <a:lnTo>
                    <a:pt x="399" y="162"/>
                  </a:lnTo>
                  <a:lnTo>
                    <a:pt x="414" y="153"/>
                  </a:lnTo>
                  <a:lnTo>
                    <a:pt x="418" y="148"/>
                  </a:lnTo>
                  <a:lnTo>
                    <a:pt x="424" y="134"/>
                  </a:lnTo>
                  <a:lnTo>
                    <a:pt x="437" y="129"/>
                  </a:lnTo>
                  <a:lnTo>
                    <a:pt x="437" y="121"/>
                  </a:lnTo>
                  <a:lnTo>
                    <a:pt x="445" y="110"/>
                  </a:lnTo>
                  <a:lnTo>
                    <a:pt x="444" y="106"/>
                  </a:lnTo>
                  <a:lnTo>
                    <a:pt x="444" y="98"/>
                  </a:lnTo>
                  <a:lnTo>
                    <a:pt x="448" y="90"/>
                  </a:lnTo>
                  <a:lnTo>
                    <a:pt x="457" y="86"/>
                  </a:lnTo>
                  <a:lnTo>
                    <a:pt x="462" y="90"/>
                  </a:lnTo>
                  <a:lnTo>
                    <a:pt x="468" y="93"/>
                  </a:lnTo>
                  <a:lnTo>
                    <a:pt x="471" y="88"/>
                  </a:lnTo>
                  <a:lnTo>
                    <a:pt x="467" y="75"/>
                  </a:lnTo>
                  <a:lnTo>
                    <a:pt x="468" y="67"/>
                  </a:lnTo>
                  <a:lnTo>
                    <a:pt x="471" y="58"/>
                  </a:lnTo>
                  <a:lnTo>
                    <a:pt x="479" y="60"/>
                  </a:lnTo>
                  <a:lnTo>
                    <a:pt x="486" y="60"/>
                  </a:lnTo>
                  <a:lnTo>
                    <a:pt x="498" y="65"/>
                  </a:lnTo>
                  <a:lnTo>
                    <a:pt x="504" y="75"/>
                  </a:lnTo>
                  <a:lnTo>
                    <a:pt x="500" y="80"/>
                  </a:lnTo>
                  <a:lnTo>
                    <a:pt x="501" y="85"/>
                  </a:lnTo>
                  <a:lnTo>
                    <a:pt x="509" y="90"/>
                  </a:lnTo>
                  <a:lnTo>
                    <a:pt x="509" y="99"/>
                  </a:lnTo>
                  <a:lnTo>
                    <a:pt x="510" y="105"/>
                  </a:lnTo>
                  <a:lnTo>
                    <a:pt x="514" y="116"/>
                  </a:lnTo>
                  <a:lnTo>
                    <a:pt x="527" y="122"/>
                  </a:lnTo>
                  <a:lnTo>
                    <a:pt x="531" y="118"/>
                  </a:lnTo>
                  <a:lnTo>
                    <a:pt x="542" y="115"/>
                  </a:lnTo>
                  <a:lnTo>
                    <a:pt x="548" y="111"/>
                  </a:lnTo>
                  <a:lnTo>
                    <a:pt x="558" y="109"/>
                  </a:lnTo>
                  <a:lnTo>
                    <a:pt x="566" y="114"/>
                  </a:lnTo>
                  <a:lnTo>
                    <a:pt x="569" y="116"/>
                  </a:lnTo>
                  <a:lnTo>
                    <a:pt x="573" y="127"/>
                  </a:lnTo>
                  <a:lnTo>
                    <a:pt x="573" y="132"/>
                  </a:lnTo>
                  <a:lnTo>
                    <a:pt x="571" y="142"/>
                  </a:lnTo>
                  <a:lnTo>
                    <a:pt x="566" y="147"/>
                  </a:lnTo>
                  <a:lnTo>
                    <a:pt x="560" y="157"/>
                  </a:lnTo>
                  <a:lnTo>
                    <a:pt x="555" y="162"/>
                  </a:lnTo>
                  <a:lnTo>
                    <a:pt x="550" y="168"/>
                  </a:lnTo>
                  <a:lnTo>
                    <a:pt x="537" y="168"/>
                  </a:lnTo>
                  <a:lnTo>
                    <a:pt x="523" y="169"/>
                  </a:lnTo>
                  <a:lnTo>
                    <a:pt x="511" y="171"/>
                  </a:lnTo>
                  <a:lnTo>
                    <a:pt x="499" y="173"/>
                  </a:lnTo>
                  <a:lnTo>
                    <a:pt x="491" y="165"/>
                  </a:lnTo>
                  <a:lnTo>
                    <a:pt x="484" y="160"/>
                  </a:lnTo>
                  <a:lnTo>
                    <a:pt x="475" y="161"/>
                  </a:lnTo>
                  <a:lnTo>
                    <a:pt x="471" y="171"/>
                  </a:lnTo>
                  <a:lnTo>
                    <a:pt x="460" y="178"/>
                  </a:lnTo>
                  <a:lnTo>
                    <a:pt x="452" y="187"/>
                  </a:lnTo>
                  <a:lnTo>
                    <a:pt x="450" y="195"/>
                  </a:lnTo>
                  <a:lnTo>
                    <a:pt x="460" y="196"/>
                  </a:lnTo>
                  <a:lnTo>
                    <a:pt x="465" y="198"/>
                  </a:lnTo>
                  <a:lnTo>
                    <a:pt x="466" y="204"/>
                  </a:lnTo>
                  <a:lnTo>
                    <a:pt x="463" y="214"/>
                  </a:lnTo>
                  <a:lnTo>
                    <a:pt x="463" y="227"/>
                  </a:lnTo>
                  <a:lnTo>
                    <a:pt x="466" y="240"/>
                  </a:lnTo>
                  <a:lnTo>
                    <a:pt x="479" y="236"/>
                  </a:lnTo>
                  <a:lnTo>
                    <a:pt x="489" y="233"/>
                  </a:lnTo>
                  <a:lnTo>
                    <a:pt x="501" y="232"/>
                  </a:lnTo>
                  <a:lnTo>
                    <a:pt x="510" y="234"/>
                  </a:lnTo>
                  <a:lnTo>
                    <a:pt x="521" y="235"/>
                  </a:lnTo>
                  <a:lnTo>
                    <a:pt x="524" y="246"/>
                  </a:lnTo>
                  <a:lnTo>
                    <a:pt x="525" y="256"/>
                  </a:lnTo>
                  <a:lnTo>
                    <a:pt x="521" y="263"/>
                  </a:lnTo>
                  <a:lnTo>
                    <a:pt x="517" y="272"/>
                  </a:lnTo>
                  <a:lnTo>
                    <a:pt x="514" y="280"/>
                  </a:lnTo>
                  <a:lnTo>
                    <a:pt x="507" y="287"/>
                  </a:lnTo>
                  <a:lnTo>
                    <a:pt x="504" y="298"/>
                  </a:lnTo>
                  <a:lnTo>
                    <a:pt x="501" y="309"/>
                  </a:lnTo>
                  <a:lnTo>
                    <a:pt x="506" y="319"/>
                  </a:lnTo>
                  <a:lnTo>
                    <a:pt x="520" y="325"/>
                  </a:lnTo>
                  <a:lnTo>
                    <a:pt x="525" y="336"/>
                  </a:lnTo>
                  <a:lnTo>
                    <a:pt x="530" y="339"/>
                  </a:lnTo>
                  <a:lnTo>
                    <a:pt x="532" y="347"/>
                  </a:lnTo>
                  <a:lnTo>
                    <a:pt x="527" y="351"/>
                  </a:lnTo>
                  <a:lnTo>
                    <a:pt x="522" y="353"/>
                  </a:lnTo>
                  <a:lnTo>
                    <a:pt x="516" y="360"/>
                  </a:lnTo>
                  <a:lnTo>
                    <a:pt x="522" y="364"/>
                  </a:lnTo>
                  <a:lnTo>
                    <a:pt x="522" y="371"/>
                  </a:lnTo>
                  <a:lnTo>
                    <a:pt x="525" y="377"/>
                  </a:lnTo>
                  <a:lnTo>
                    <a:pt x="519" y="381"/>
                  </a:lnTo>
                  <a:lnTo>
                    <a:pt x="512" y="389"/>
                  </a:lnTo>
                  <a:lnTo>
                    <a:pt x="507" y="400"/>
                  </a:lnTo>
                  <a:lnTo>
                    <a:pt x="508" y="408"/>
                  </a:lnTo>
                  <a:lnTo>
                    <a:pt x="522" y="413"/>
                  </a:lnTo>
                  <a:lnTo>
                    <a:pt x="534" y="409"/>
                  </a:lnTo>
                  <a:lnTo>
                    <a:pt x="547" y="409"/>
                  </a:lnTo>
                  <a:lnTo>
                    <a:pt x="549" y="415"/>
                  </a:lnTo>
                  <a:lnTo>
                    <a:pt x="555" y="416"/>
                  </a:lnTo>
                  <a:lnTo>
                    <a:pt x="557" y="430"/>
                  </a:lnTo>
                  <a:lnTo>
                    <a:pt x="560" y="435"/>
                  </a:lnTo>
                  <a:lnTo>
                    <a:pt x="573" y="440"/>
                  </a:lnTo>
                  <a:lnTo>
                    <a:pt x="588" y="438"/>
                  </a:lnTo>
                  <a:lnTo>
                    <a:pt x="600" y="436"/>
                  </a:lnTo>
                  <a:lnTo>
                    <a:pt x="607" y="438"/>
                  </a:lnTo>
                  <a:lnTo>
                    <a:pt x="616" y="438"/>
                  </a:lnTo>
                  <a:lnTo>
                    <a:pt x="621" y="438"/>
                  </a:lnTo>
                  <a:lnTo>
                    <a:pt x="626" y="445"/>
                  </a:lnTo>
                  <a:lnTo>
                    <a:pt x="625" y="456"/>
                  </a:lnTo>
                  <a:lnTo>
                    <a:pt x="622" y="466"/>
                  </a:lnTo>
                  <a:lnTo>
                    <a:pt x="620" y="474"/>
                  </a:lnTo>
                  <a:lnTo>
                    <a:pt x="609" y="483"/>
                  </a:lnTo>
                  <a:lnTo>
                    <a:pt x="597" y="486"/>
                  </a:lnTo>
                  <a:lnTo>
                    <a:pt x="589" y="494"/>
                  </a:lnTo>
                  <a:lnTo>
                    <a:pt x="583" y="502"/>
                  </a:lnTo>
                  <a:lnTo>
                    <a:pt x="576" y="510"/>
                  </a:lnTo>
                  <a:lnTo>
                    <a:pt x="563" y="497"/>
                  </a:lnTo>
                  <a:lnTo>
                    <a:pt x="551" y="498"/>
                  </a:lnTo>
                  <a:lnTo>
                    <a:pt x="543" y="502"/>
                  </a:lnTo>
                  <a:lnTo>
                    <a:pt x="540" y="510"/>
                  </a:lnTo>
                  <a:lnTo>
                    <a:pt x="537" y="517"/>
                  </a:lnTo>
                  <a:lnTo>
                    <a:pt x="537" y="524"/>
                  </a:lnTo>
                  <a:lnTo>
                    <a:pt x="533" y="530"/>
                  </a:lnTo>
                  <a:lnTo>
                    <a:pt x="524" y="533"/>
                  </a:lnTo>
                  <a:lnTo>
                    <a:pt x="512" y="538"/>
                  </a:lnTo>
                  <a:lnTo>
                    <a:pt x="504" y="544"/>
                  </a:lnTo>
                  <a:lnTo>
                    <a:pt x="496" y="548"/>
                  </a:lnTo>
                  <a:lnTo>
                    <a:pt x="489" y="538"/>
                  </a:lnTo>
                  <a:lnTo>
                    <a:pt x="486" y="533"/>
                  </a:lnTo>
                  <a:lnTo>
                    <a:pt x="477" y="540"/>
                  </a:lnTo>
                  <a:lnTo>
                    <a:pt x="473" y="548"/>
                  </a:lnTo>
                  <a:lnTo>
                    <a:pt x="465" y="553"/>
                  </a:lnTo>
                  <a:lnTo>
                    <a:pt x="458" y="556"/>
                  </a:lnTo>
                  <a:lnTo>
                    <a:pt x="453" y="559"/>
                  </a:lnTo>
                  <a:lnTo>
                    <a:pt x="449" y="548"/>
                  </a:lnTo>
                  <a:lnTo>
                    <a:pt x="443" y="543"/>
                  </a:lnTo>
                  <a:lnTo>
                    <a:pt x="437" y="541"/>
                  </a:lnTo>
                  <a:lnTo>
                    <a:pt x="430" y="548"/>
                  </a:lnTo>
                  <a:lnTo>
                    <a:pt x="427" y="554"/>
                  </a:lnTo>
                  <a:lnTo>
                    <a:pt x="422" y="554"/>
                  </a:lnTo>
                  <a:lnTo>
                    <a:pt x="420" y="544"/>
                  </a:lnTo>
                  <a:lnTo>
                    <a:pt x="414" y="537"/>
                  </a:lnTo>
                  <a:lnTo>
                    <a:pt x="405" y="543"/>
                  </a:lnTo>
                  <a:lnTo>
                    <a:pt x="400" y="550"/>
                  </a:lnTo>
                  <a:lnTo>
                    <a:pt x="391" y="555"/>
                  </a:lnTo>
                  <a:lnTo>
                    <a:pt x="379" y="555"/>
                  </a:lnTo>
                  <a:lnTo>
                    <a:pt x="368" y="548"/>
                  </a:lnTo>
                  <a:lnTo>
                    <a:pt x="363" y="541"/>
                  </a:lnTo>
                  <a:lnTo>
                    <a:pt x="357" y="542"/>
                  </a:lnTo>
                  <a:lnTo>
                    <a:pt x="352" y="544"/>
                  </a:lnTo>
                  <a:lnTo>
                    <a:pt x="344" y="545"/>
                  </a:lnTo>
                  <a:lnTo>
                    <a:pt x="331" y="553"/>
                  </a:lnTo>
                  <a:lnTo>
                    <a:pt x="322" y="553"/>
                  </a:lnTo>
                  <a:lnTo>
                    <a:pt x="314" y="559"/>
                  </a:lnTo>
                  <a:lnTo>
                    <a:pt x="303" y="563"/>
                  </a:lnTo>
                  <a:lnTo>
                    <a:pt x="293" y="564"/>
                  </a:lnTo>
                  <a:lnTo>
                    <a:pt x="289" y="570"/>
                  </a:lnTo>
                  <a:lnTo>
                    <a:pt x="291" y="579"/>
                  </a:lnTo>
                  <a:lnTo>
                    <a:pt x="296" y="592"/>
                  </a:lnTo>
                  <a:lnTo>
                    <a:pt x="298" y="599"/>
                  </a:lnTo>
                  <a:lnTo>
                    <a:pt x="298" y="623"/>
                  </a:lnTo>
                  <a:lnTo>
                    <a:pt x="293" y="629"/>
                  </a:lnTo>
                  <a:lnTo>
                    <a:pt x="293" y="643"/>
                  </a:lnTo>
                  <a:lnTo>
                    <a:pt x="301" y="650"/>
                  </a:lnTo>
                  <a:lnTo>
                    <a:pt x="296" y="656"/>
                  </a:lnTo>
                  <a:lnTo>
                    <a:pt x="285" y="659"/>
                  </a:lnTo>
                  <a:lnTo>
                    <a:pt x="277" y="656"/>
                  </a:lnTo>
                  <a:lnTo>
                    <a:pt x="268" y="656"/>
                  </a:lnTo>
                  <a:lnTo>
                    <a:pt x="260" y="653"/>
                  </a:lnTo>
                  <a:lnTo>
                    <a:pt x="257" y="642"/>
                  </a:lnTo>
                  <a:lnTo>
                    <a:pt x="255" y="633"/>
                  </a:lnTo>
                  <a:lnTo>
                    <a:pt x="250" y="623"/>
                  </a:lnTo>
                  <a:lnTo>
                    <a:pt x="244" y="620"/>
                  </a:lnTo>
                  <a:lnTo>
                    <a:pt x="234" y="619"/>
                  </a:lnTo>
                  <a:lnTo>
                    <a:pt x="231" y="626"/>
                  </a:lnTo>
                  <a:lnTo>
                    <a:pt x="219" y="633"/>
                  </a:lnTo>
                  <a:lnTo>
                    <a:pt x="205" y="631"/>
                  </a:lnTo>
                  <a:lnTo>
                    <a:pt x="192" y="627"/>
                  </a:lnTo>
                  <a:lnTo>
                    <a:pt x="182" y="623"/>
                  </a:lnTo>
                  <a:lnTo>
                    <a:pt x="173" y="621"/>
                  </a:lnTo>
                  <a:lnTo>
                    <a:pt x="172" y="616"/>
                  </a:lnTo>
                  <a:lnTo>
                    <a:pt x="171" y="609"/>
                  </a:lnTo>
                  <a:lnTo>
                    <a:pt x="167" y="599"/>
                  </a:lnTo>
                  <a:lnTo>
                    <a:pt x="160" y="596"/>
                  </a:lnTo>
                  <a:lnTo>
                    <a:pt x="154" y="590"/>
                  </a:lnTo>
                  <a:lnTo>
                    <a:pt x="144" y="585"/>
                  </a:lnTo>
                  <a:lnTo>
                    <a:pt x="134" y="579"/>
                  </a:lnTo>
                  <a:lnTo>
                    <a:pt x="126" y="579"/>
                  </a:lnTo>
                  <a:lnTo>
                    <a:pt x="116" y="581"/>
                  </a:lnTo>
                  <a:lnTo>
                    <a:pt x="112" y="577"/>
                  </a:lnTo>
                  <a:lnTo>
                    <a:pt x="117" y="564"/>
                  </a:lnTo>
                  <a:lnTo>
                    <a:pt x="121" y="550"/>
                  </a:lnTo>
                  <a:lnTo>
                    <a:pt x="125" y="536"/>
                  </a:lnTo>
                  <a:lnTo>
                    <a:pt x="127" y="520"/>
                  </a:lnTo>
                  <a:lnTo>
                    <a:pt x="131" y="514"/>
                  </a:lnTo>
                  <a:lnTo>
                    <a:pt x="136" y="511"/>
                  </a:lnTo>
                  <a:lnTo>
                    <a:pt x="134" y="502"/>
                  </a:lnTo>
                  <a:lnTo>
                    <a:pt x="126" y="494"/>
                  </a:lnTo>
                  <a:lnTo>
                    <a:pt x="115" y="488"/>
                  </a:lnTo>
                  <a:lnTo>
                    <a:pt x="104" y="489"/>
                  </a:lnTo>
                  <a:lnTo>
                    <a:pt x="97" y="484"/>
                  </a:lnTo>
                  <a:lnTo>
                    <a:pt x="93" y="469"/>
                  </a:lnTo>
                  <a:lnTo>
                    <a:pt x="97" y="458"/>
                  </a:lnTo>
                  <a:lnTo>
                    <a:pt x="92" y="448"/>
                  </a:lnTo>
                  <a:lnTo>
                    <a:pt x="87" y="437"/>
                  </a:lnTo>
                  <a:lnTo>
                    <a:pt x="80" y="422"/>
                  </a:lnTo>
                  <a:lnTo>
                    <a:pt x="73" y="412"/>
                  </a:lnTo>
                  <a:lnTo>
                    <a:pt x="69" y="409"/>
                  </a:lnTo>
                  <a:lnTo>
                    <a:pt x="59" y="406"/>
                  </a:lnTo>
                  <a:lnTo>
                    <a:pt x="48" y="404"/>
                  </a:lnTo>
                  <a:lnTo>
                    <a:pt x="30" y="412"/>
                  </a:lnTo>
                  <a:lnTo>
                    <a:pt x="16" y="417"/>
                  </a:lnTo>
                  <a:lnTo>
                    <a:pt x="7" y="423"/>
                  </a:lnTo>
                  <a:lnTo>
                    <a:pt x="1" y="423"/>
                  </a:lnTo>
                  <a:lnTo>
                    <a:pt x="3" y="402"/>
                  </a:lnTo>
                  <a:lnTo>
                    <a:pt x="4" y="389"/>
                  </a:lnTo>
                  <a:lnTo>
                    <a:pt x="10" y="384"/>
                  </a:lnTo>
                  <a:lnTo>
                    <a:pt x="5" y="379"/>
                  </a:lnTo>
                  <a:lnTo>
                    <a:pt x="0" y="369"/>
                  </a:lnTo>
                  <a:lnTo>
                    <a:pt x="1" y="358"/>
                  </a:lnTo>
                  <a:lnTo>
                    <a:pt x="5" y="352"/>
                  </a:lnTo>
                  <a:lnTo>
                    <a:pt x="9" y="350"/>
                  </a:lnTo>
                  <a:lnTo>
                    <a:pt x="14" y="345"/>
                  </a:lnTo>
                  <a:lnTo>
                    <a:pt x="17" y="333"/>
                  </a:lnTo>
                  <a:lnTo>
                    <a:pt x="20" y="326"/>
                  </a:lnTo>
                  <a:lnTo>
                    <a:pt x="21" y="317"/>
                  </a:lnTo>
                  <a:lnTo>
                    <a:pt x="26" y="312"/>
                  </a:lnTo>
                  <a:lnTo>
                    <a:pt x="34" y="304"/>
                  </a:lnTo>
                  <a:lnTo>
                    <a:pt x="40" y="299"/>
                  </a:lnTo>
                  <a:lnTo>
                    <a:pt x="43" y="295"/>
                  </a:lnTo>
                  <a:lnTo>
                    <a:pt x="48" y="288"/>
                  </a:lnTo>
                  <a:lnTo>
                    <a:pt x="55" y="288"/>
                  </a:lnTo>
                  <a:lnTo>
                    <a:pt x="64" y="289"/>
                  </a:lnTo>
                  <a:lnTo>
                    <a:pt x="68" y="286"/>
                  </a:lnTo>
                  <a:lnTo>
                    <a:pt x="75" y="280"/>
                  </a:lnTo>
                  <a:lnTo>
                    <a:pt x="82" y="269"/>
                  </a:lnTo>
                  <a:lnTo>
                    <a:pt x="85" y="265"/>
                  </a:lnTo>
                  <a:lnTo>
                    <a:pt x="95" y="261"/>
                  </a:lnTo>
                  <a:lnTo>
                    <a:pt x="93" y="255"/>
                  </a:lnTo>
                  <a:lnTo>
                    <a:pt x="88" y="252"/>
                  </a:lnTo>
                  <a:lnTo>
                    <a:pt x="85" y="243"/>
                  </a:lnTo>
                  <a:lnTo>
                    <a:pt x="93" y="240"/>
                  </a:lnTo>
                  <a:lnTo>
                    <a:pt x="95" y="231"/>
                  </a:lnTo>
                  <a:lnTo>
                    <a:pt x="95" y="223"/>
                  </a:lnTo>
                  <a:lnTo>
                    <a:pt x="99" y="209"/>
                  </a:lnTo>
                  <a:lnTo>
                    <a:pt x="103" y="198"/>
                  </a:lnTo>
                  <a:lnTo>
                    <a:pt x="103" y="189"/>
                  </a:lnTo>
                  <a:lnTo>
                    <a:pt x="104" y="178"/>
                  </a:lnTo>
                  <a:lnTo>
                    <a:pt x="98" y="169"/>
                  </a:lnTo>
                  <a:lnTo>
                    <a:pt x="97" y="159"/>
                  </a:lnTo>
                  <a:lnTo>
                    <a:pt x="100" y="150"/>
                  </a:lnTo>
                  <a:lnTo>
                    <a:pt x="104" y="147"/>
                  </a:lnTo>
                  <a:lnTo>
                    <a:pt x="103" y="138"/>
                  </a:lnTo>
                  <a:lnTo>
                    <a:pt x="101" y="129"/>
                  </a:lnTo>
                  <a:lnTo>
                    <a:pt x="93" y="120"/>
                  </a:lnTo>
                  <a:lnTo>
                    <a:pt x="85" y="120"/>
                  </a:lnTo>
                  <a:lnTo>
                    <a:pt x="77" y="116"/>
                  </a:lnTo>
                  <a:lnTo>
                    <a:pt x="72" y="108"/>
                  </a:lnTo>
                  <a:lnTo>
                    <a:pt x="71" y="101"/>
                  </a:lnTo>
                  <a:lnTo>
                    <a:pt x="68" y="91"/>
                  </a:lnTo>
                  <a:lnTo>
                    <a:pt x="64" y="82"/>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1" name="Freeform 21"/>
            <p:cNvSpPr>
              <a:spLocks/>
            </p:cNvSpPr>
            <p:nvPr/>
          </p:nvSpPr>
          <p:spPr bwMode="auto">
            <a:xfrm>
              <a:off x="4495800" y="4237038"/>
              <a:ext cx="606425" cy="547687"/>
            </a:xfrm>
            <a:custGeom>
              <a:avLst/>
              <a:gdLst>
                <a:gd name="T0" fmla="*/ 143 w 415"/>
                <a:gd name="T1" fmla="*/ 114 h 374"/>
                <a:gd name="T2" fmla="*/ 184 w 415"/>
                <a:gd name="T3" fmla="*/ 121 h 374"/>
                <a:gd name="T4" fmla="*/ 200 w 415"/>
                <a:gd name="T5" fmla="*/ 102 h 374"/>
                <a:gd name="T6" fmla="*/ 177 w 415"/>
                <a:gd name="T7" fmla="*/ 85 h 374"/>
                <a:gd name="T8" fmla="*/ 148 w 415"/>
                <a:gd name="T9" fmla="*/ 65 h 374"/>
                <a:gd name="T10" fmla="*/ 167 w 415"/>
                <a:gd name="T11" fmla="*/ 39 h 374"/>
                <a:gd name="T12" fmla="*/ 185 w 415"/>
                <a:gd name="T13" fmla="*/ 42 h 374"/>
                <a:gd name="T14" fmla="*/ 202 w 415"/>
                <a:gd name="T15" fmla="*/ 43 h 374"/>
                <a:gd name="T16" fmla="*/ 212 w 415"/>
                <a:gd name="T17" fmla="*/ 52 h 374"/>
                <a:gd name="T18" fmla="*/ 229 w 415"/>
                <a:gd name="T19" fmla="*/ 36 h 374"/>
                <a:gd name="T20" fmla="*/ 243 w 415"/>
                <a:gd name="T21" fmla="*/ 22 h 374"/>
                <a:gd name="T22" fmla="*/ 265 w 415"/>
                <a:gd name="T23" fmla="*/ 16 h 374"/>
                <a:gd name="T24" fmla="*/ 278 w 415"/>
                <a:gd name="T25" fmla="*/ 3 h 374"/>
                <a:gd name="T26" fmla="*/ 301 w 415"/>
                <a:gd name="T27" fmla="*/ 16 h 374"/>
                <a:gd name="T28" fmla="*/ 327 w 415"/>
                <a:gd name="T29" fmla="*/ 14 h 374"/>
                <a:gd name="T30" fmla="*/ 338 w 415"/>
                <a:gd name="T31" fmla="*/ 34 h 374"/>
                <a:gd name="T32" fmla="*/ 356 w 415"/>
                <a:gd name="T33" fmla="*/ 45 h 374"/>
                <a:gd name="T34" fmla="*/ 361 w 415"/>
                <a:gd name="T35" fmla="*/ 69 h 374"/>
                <a:gd name="T36" fmla="*/ 383 w 415"/>
                <a:gd name="T37" fmla="*/ 72 h 374"/>
                <a:gd name="T38" fmla="*/ 401 w 415"/>
                <a:gd name="T39" fmla="*/ 80 h 374"/>
                <a:gd name="T40" fmla="*/ 409 w 415"/>
                <a:gd name="T41" fmla="*/ 115 h 374"/>
                <a:gd name="T42" fmla="*/ 397 w 415"/>
                <a:gd name="T43" fmla="*/ 148 h 374"/>
                <a:gd name="T44" fmla="*/ 370 w 415"/>
                <a:gd name="T45" fmla="*/ 175 h 374"/>
                <a:gd name="T46" fmla="*/ 401 w 415"/>
                <a:gd name="T47" fmla="*/ 178 h 374"/>
                <a:gd name="T48" fmla="*/ 406 w 415"/>
                <a:gd name="T49" fmla="*/ 206 h 374"/>
                <a:gd name="T50" fmla="*/ 397 w 415"/>
                <a:gd name="T51" fmla="*/ 242 h 374"/>
                <a:gd name="T52" fmla="*/ 411 w 415"/>
                <a:gd name="T53" fmla="*/ 268 h 374"/>
                <a:gd name="T54" fmla="*/ 394 w 415"/>
                <a:gd name="T55" fmla="*/ 288 h 374"/>
                <a:gd name="T56" fmla="*/ 385 w 415"/>
                <a:gd name="T57" fmla="*/ 310 h 374"/>
                <a:gd name="T58" fmla="*/ 357 w 415"/>
                <a:gd name="T59" fmla="*/ 308 h 374"/>
                <a:gd name="T60" fmla="*/ 347 w 415"/>
                <a:gd name="T61" fmla="*/ 319 h 374"/>
                <a:gd name="T62" fmla="*/ 326 w 415"/>
                <a:gd name="T63" fmla="*/ 324 h 374"/>
                <a:gd name="T64" fmla="*/ 298 w 415"/>
                <a:gd name="T65" fmla="*/ 342 h 374"/>
                <a:gd name="T66" fmla="*/ 268 w 415"/>
                <a:gd name="T67" fmla="*/ 323 h 374"/>
                <a:gd name="T68" fmla="*/ 253 w 415"/>
                <a:gd name="T69" fmla="*/ 304 h 374"/>
                <a:gd name="T70" fmla="*/ 229 w 415"/>
                <a:gd name="T71" fmla="*/ 325 h 374"/>
                <a:gd name="T72" fmla="*/ 192 w 415"/>
                <a:gd name="T73" fmla="*/ 339 h 374"/>
                <a:gd name="T74" fmla="*/ 177 w 415"/>
                <a:gd name="T75" fmla="*/ 368 h 374"/>
                <a:gd name="T76" fmla="*/ 141 w 415"/>
                <a:gd name="T77" fmla="*/ 361 h 374"/>
                <a:gd name="T78" fmla="*/ 111 w 415"/>
                <a:gd name="T79" fmla="*/ 353 h 374"/>
                <a:gd name="T80" fmla="*/ 83 w 415"/>
                <a:gd name="T81" fmla="*/ 367 h 374"/>
                <a:gd name="T82" fmla="*/ 72 w 415"/>
                <a:gd name="T83" fmla="*/ 351 h 374"/>
                <a:gd name="T84" fmla="*/ 77 w 415"/>
                <a:gd name="T85" fmla="*/ 338 h 374"/>
                <a:gd name="T86" fmla="*/ 75 w 415"/>
                <a:gd name="T87" fmla="*/ 323 h 374"/>
                <a:gd name="T88" fmla="*/ 51 w 415"/>
                <a:gd name="T89" fmla="*/ 296 h 374"/>
                <a:gd name="T90" fmla="*/ 64 w 415"/>
                <a:gd name="T91" fmla="*/ 267 h 374"/>
                <a:gd name="T92" fmla="*/ 75 w 415"/>
                <a:gd name="T93" fmla="*/ 243 h 374"/>
                <a:gd name="T94" fmla="*/ 60 w 415"/>
                <a:gd name="T95" fmla="*/ 221 h 374"/>
                <a:gd name="T96" fmla="*/ 29 w 415"/>
                <a:gd name="T97" fmla="*/ 223 h 374"/>
                <a:gd name="T98" fmla="*/ 13 w 415"/>
                <a:gd name="T99" fmla="*/ 201 h 374"/>
                <a:gd name="T100" fmla="*/ 10 w 415"/>
                <a:gd name="T101" fmla="*/ 183 h 374"/>
                <a:gd name="T102" fmla="*/ 10 w 415"/>
                <a:gd name="T103" fmla="*/ 165 h 374"/>
                <a:gd name="T104" fmla="*/ 34 w 415"/>
                <a:gd name="T105" fmla="*/ 147 h 374"/>
                <a:gd name="T106" fmla="*/ 61 w 415"/>
                <a:gd name="T107" fmla="*/ 158 h 374"/>
                <a:gd name="T108" fmla="*/ 100 w 415"/>
                <a:gd name="T109" fmla="*/ 155 h 374"/>
                <a:gd name="T110" fmla="*/ 116 w 415"/>
                <a:gd name="T111" fmla="*/ 13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5" h="374">
                  <a:moveTo>
                    <a:pt x="123" y="119"/>
                  </a:moveTo>
                  <a:lnTo>
                    <a:pt x="133" y="114"/>
                  </a:lnTo>
                  <a:lnTo>
                    <a:pt x="143" y="114"/>
                  </a:lnTo>
                  <a:lnTo>
                    <a:pt x="154" y="116"/>
                  </a:lnTo>
                  <a:lnTo>
                    <a:pt x="171" y="121"/>
                  </a:lnTo>
                  <a:lnTo>
                    <a:pt x="184" y="121"/>
                  </a:lnTo>
                  <a:lnTo>
                    <a:pt x="193" y="116"/>
                  </a:lnTo>
                  <a:lnTo>
                    <a:pt x="200" y="112"/>
                  </a:lnTo>
                  <a:lnTo>
                    <a:pt x="200" y="102"/>
                  </a:lnTo>
                  <a:lnTo>
                    <a:pt x="193" y="95"/>
                  </a:lnTo>
                  <a:lnTo>
                    <a:pt x="185" y="90"/>
                  </a:lnTo>
                  <a:lnTo>
                    <a:pt x="177" y="85"/>
                  </a:lnTo>
                  <a:lnTo>
                    <a:pt x="164" y="85"/>
                  </a:lnTo>
                  <a:lnTo>
                    <a:pt x="153" y="76"/>
                  </a:lnTo>
                  <a:lnTo>
                    <a:pt x="148" y="65"/>
                  </a:lnTo>
                  <a:lnTo>
                    <a:pt x="149" y="55"/>
                  </a:lnTo>
                  <a:lnTo>
                    <a:pt x="158" y="47"/>
                  </a:lnTo>
                  <a:lnTo>
                    <a:pt x="167" y="39"/>
                  </a:lnTo>
                  <a:lnTo>
                    <a:pt x="175" y="35"/>
                  </a:lnTo>
                  <a:lnTo>
                    <a:pt x="180" y="37"/>
                  </a:lnTo>
                  <a:lnTo>
                    <a:pt x="185" y="42"/>
                  </a:lnTo>
                  <a:lnTo>
                    <a:pt x="193" y="56"/>
                  </a:lnTo>
                  <a:lnTo>
                    <a:pt x="198" y="53"/>
                  </a:lnTo>
                  <a:lnTo>
                    <a:pt x="202" y="43"/>
                  </a:lnTo>
                  <a:lnTo>
                    <a:pt x="206" y="39"/>
                  </a:lnTo>
                  <a:lnTo>
                    <a:pt x="211" y="46"/>
                  </a:lnTo>
                  <a:lnTo>
                    <a:pt x="212" y="52"/>
                  </a:lnTo>
                  <a:lnTo>
                    <a:pt x="220" y="52"/>
                  </a:lnTo>
                  <a:lnTo>
                    <a:pt x="227" y="46"/>
                  </a:lnTo>
                  <a:lnTo>
                    <a:pt x="229" y="36"/>
                  </a:lnTo>
                  <a:lnTo>
                    <a:pt x="232" y="29"/>
                  </a:lnTo>
                  <a:lnTo>
                    <a:pt x="235" y="23"/>
                  </a:lnTo>
                  <a:lnTo>
                    <a:pt x="243" y="22"/>
                  </a:lnTo>
                  <a:lnTo>
                    <a:pt x="252" y="26"/>
                  </a:lnTo>
                  <a:lnTo>
                    <a:pt x="258" y="23"/>
                  </a:lnTo>
                  <a:lnTo>
                    <a:pt x="265" y="16"/>
                  </a:lnTo>
                  <a:lnTo>
                    <a:pt x="270" y="12"/>
                  </a:lnTo>
                  <a:lnTo>
                    <a:pt x="275" y="5"/>
                  </a:lnTo>
                  <a:lnTo>
                    <a:pt x="278" y="3"/>
                  </a:lnTo>
                  <a:lnTo>
                    <a:pt x="288" y="0"/>
                  </a:lnTo>
                  <a:lnTo>
                    <a:pt x="296" y="5"/>
                  </a:lnTo>
                  <a:lnTo>
                    <a:pt x="301" y="16"/>
                  </a:lnTo>
                  <a:lnTo>
                    <a:pt x="309" y="18"/>
                  </a:lnTo>
                  <a:lnTo>
                    <a:pt x="318" y="14"/>
                  </a:lnTo>
                  <a:lnTo>
                    <a:pt x="327" y="14"/>
                  </a:lnTo>
                  <a:lnTo>
                    <a:pt x="332" y="17"/>
                  </a:lnTo>
                  <a:lnTo>
                    <a:pt x="336" y="26"/>
                  </a:lnTo>
                  <a:lnTo>
                    <a:pt x="338" y="34"/>
                  </a:lnTo>
                  <a:lnTo>
                    <a:pt x="343" y="42"/>
                  </a:lnTo>
                  <a:lnTo>
                    <a:pt x="350" y="44"/>
                  </a:lnTo>
                  <a:lnTo>
                    <a:pt x="356" y="45"/>
                  </a:lnTo>
                  <a:lnTo>
                    <a:pt x="358" y="53"/>
                  </a:lnTo>
                  <a:lnTo>
                    <a:pt x="358" y="61"/>
                  </a:lnTo>
                  <a:lnTo>
                    <a:pt x="361" y="69"/>
                  </a:lnTo>
                  <a:lnTo>
                    <a:pt x="368" y="74"/>
                  </a:lnTo>
                  <a:lnTo>
                    <a:pt x="377" y="75"/>
                  </a:lnTo>
                  <a:lnTo>
                    <a:pt x="383" y="72"/>
                  </a:lnTo>
                  <a:lnTo>
                    <a:pt x="388" y="71"/>
                  </a:lnTo>
                  <a:lnTo>
                    <a:pt x="396" y="63"/>
                  </a:lnTo>
                  <a:lnTo>
                    <a:pt x="401" y="80"/>
                  </a:lnTo>
                  <a:lnTo>
                    <a:pt x="405" y="91"/>
                  </a:lnTo>
                  <a:lnTo>
                    <a:pt x="408" y="105"/>
                  </a:lnTo>
                  <a:lnTo>
                    <a:pt x="409" y="115"/>
                  </a:lnTo>
                  <a:lnTo>
                    <a:pt x="409" y="126"/>
                  </a:lnTo>
                  <a:lnTo>
                    <a:pt x="404" y="139"/>
                  </a:lnTo>
                  <a:lnTo>
                    <a:pt x="397" y="148"/>
                  </a:lnTo>
                  <a:lnTo>
                    <a:pt x="386" y="160"/>
                  </a:lnTo>
                  <a:lnTo>
                    <a:pt x="377" y="170"/>
                  </a:lnTo>
                  <a:lnTo>
                    <a:pt x="370" y="175"/>
                  </a:lnTo>
                  <a:lnTo>
                    <a:pt x="378" y="178"/>
                  </a:lnTo>
                  <a:lnTo>
                    <a:pt x="393" y="178"/>
                  </a:lnTo>
                  <a:lnTo>
                    <a:pt x="401" y="178"/>
                  </a:lnTo>
                  <a:lnTo>
                    <a:pt x="411" y="184"/>
                  </a:lnTo>
                  <a:lnTo>
                    <a:pt x="414" y="190"/>
                  </a:lnTo>
                  <a:lnTo>
                    <a:pt x="406" y="206"/>
                  </a:lnTo>
                  <a:lnTo>
                    <a:pt x="403" y="219"/>
                  </a:lnTo>
                  <a:lnTo>
                    <a:pt x="397" y="232"/>
                  </a:lnTo>
                  <a:lnTo>
                    <a:pt x="397" y="242"/>
                  </a:lnTo>
                  <a:lnTo>
                    <a:pt x="405" y="249"/>
                  </a:lnTo>
                  <a:lnTo>
                    <a:pt x="411" y="254"/>
                  </a:lnTo>
                  <a:lnTo>
                    <a:pt x="411" y="268"/>
                  </a:lnTo>
                  <a:lnTo>
                    <a:pt x="405" y="277"/>
                  </a:lnTo>
                  <a:lnTo>
                    <a:pt x="399" y="286"/>
                  </a:lnTo>
                  <a:lnTo>
                    <a:pt x="394" y="288"/>
                  </a:lnTo>
                  <a:lnTo>
                    <a:pt x="389" y="295"/>
                  </a:lnTo>
                  <a:lnTo>
                    <a:pt x="389" y="302"/>
                  </a:lnTo>
                  <a:lnTo>
                    <a:pt x="385" y="310"/>
                  </a:lnTo>
                  <a:lnTo>
                    <a:pt x="373" y="306"/>
                  </a:lnTo>
                  <a:lnTo>
                    <a:pt x="365" y="304"/>
                  </a:lnTo>
                  <a:lnTo>
                    <a:pt x="357" y="308"/>
                  </a:lnTo>
                  <a:lnTo>
                    <a:pt x="356" y="313"/>
                  </a:lnTo>
                  <a:lnTo>
                    <a:pt x="352" y="320"/>
                  </a:lnTo>
                  <a:lnTo>
                    <a:pt x="347" y="319"/>
                  </a:lnTo>
                  <a:lnTo>
                    <a:pt x="340" y="312"/>
                  </a:lnTo>
                  <a:lnTo>
                    <a:pt x="336" y="315"/>
                  </a:lnTo>
                  <a:lnTo>
                    <a:pt x="326" y="324"/>
                  </a:lnTo>
                  <a:lnTo>
                    <a:pt x="314" y="330"/>
                  </a:lnTo>
                  <a:lnTo>
                    <a:pt x="306" y="332"/>
                  </a:lnTo>
                  <a:lnTo>
                    <a:pt x="298" y="342"/>
                  </a:lnTo>
                  <a:lnTo>
                    <a:pt x="285" y="342"/>
                  </a:lnTo>
                  <a:lnTo>
                    <a:pt x="275" y="334"/>
                  </a:lnTo>
                  <a:lnTo>
                    <a:pt x="268" y="323"/>
                  </a:lnTo>
                  <a:lnTo>
                    <a:pt x="260" y="314"/>
                  </a:lnTo>
                  <a:lnTo>
                    <a:pt x="259" y="309"/>
                  </a:lnTo>
                  <a:lnTo>
                    <a:pt x="253" y="304"/>
                  </a:lnTo>
                  <a:lnTo>
                    <a:pt x="247" y="306"/>
                  </a:lnTo>
                  <a:lnTo>
                    <a:pt x="236" y="317"/>
                  </a:lnTo>
                  <a:lnTo>
                    <a:pt x="229" y="325"/>
                  </a:lnTo>
                  <a:lnTo>
                    <a:pt x="219" y="334"/>
                  </a:lnTo>
                  <a:lnTo>
                    <a:pt x="206" y="335"/>
                  </a:lnTo>
                  <a:lnTo>
                    <a:pt x="192" y="339"/>
                  </a:lnTo>
                  <a:lnTo>
                    <a:pt x="182" y="348"/>
                  </a:lnTo>
                  <a:lnTo>
                    <a:pt x="179" y="357"/>
                  </a:lnTo>
                  <a:lnTo>
                    <a:pt x="177" y="368"/>
                  </a:lnTo>
                  <a:lnTo>
                    <a:pt x="168" y="373"/>
                  </a:lnTo>
                  <a:lnTo>
                    <a:pt x="153" y="367"/>
                  </a:lnTo>
                  <a:lnTo>
                    <a:pt x="141" y="361"/>
                  </a:lnTo>
                  <a:lnTo>
                    <a:pt x="132" y="360"/>
                  </a:lnTo>
                  <a:lnTo>
                    <a:pt x="120" y="353"/>
                  </a:lnTo>
                  <a:lnTo>
                    <a:pt x="111" y="353"/>
                  </a:lnTo>
                  <a:lnTo>
                    <a:pt x="102" y="358"/>
                  </a:lnTo>
                  <a:lnTo>
                    <a:pt x="93" y="363"/>
                  </a:lnTo>
                  <a:lnTo>
                    <a:pt x="83" y="367"/>
                  </a:lnTo>
                  <a:lnTo>
                    <a:pt x="75" y="364"/>
                  </a:lnTo>
                  <a:lnTo>
                    <a:pt x="72" y="358"/>
                  </a:lnTo>
                  <a:lnTo>
                    <a:pt x="72" y="351"/>
                  </a:lnTo>
                  <a:lnTo>
                    <a:pt x="66" y="347"/>
                  </a:lnTo>
                  <a:lnTo>
                    <a:pt x="72" y="340"/>
                  </a:lnTo>
                  <a:lnTo>
                    <a:pt x="77" y="338"/>
                  </a:lnTo>
                  <a:lnTo>
                    <a:pt x="82" y="334"/>
                  </a:lnTo>
                  <a:lnTo>
                    <a:pt x="80" y="326"/>
                  </a:lnTo>
                  <a:lnTo>
                    <a:pt x="75" y="323"/>
                  </a:lnTo>
                  <a:lnTo>
                    <a:pt x="70" y="312"/>
                  </a:lnTo>
                  <a:lnTo>
                    <a:pt x="56" y="306"/>
                  </a:lnTo>
                  <a:lnTo>
                    <a:pt x="51" y="296"/>
                  </a:lnTo>
                  <a:lnTo>
                    <a:pt x="54" y="285"/>
                  </a:lnTo>
                  <a:lnTo>
                    <a:pt x="57" y="274"/>
                  </a:lnTo>
                  <a:lnTo>
                    <a:pt x="64" y="267"/>
                  </a:lnTo>
                  <a:lnTo>
                    <a:pt x="67" y="259"/>
                  </a:lnTo>
                  <a:lnTo>
                    <a:pt x="71" y="250"/>
                  </a:lnTo>
                  <a:lnTo>
                    <a:pt x="75" y="243"/>
                  </a:lnTo>
                  <a:lnTo>
                    <a:pt x="74" y="233"/>
                  </a:lnTo>
                  <a:lnTo>
                    <a:pt x="71" y="222"/>
                  </a:lnTo>
                  <a:lnTo>
                    <a:pt x="60" y="221"/>
                  </a:lnTo>
                  <a:lnTo>
                    <a:pt x="51" y="219"/>
                  </a:lnTo>
                  <a:lnTo>
                    <a:pt x="39" y="220"/>
                  </a:lnTo>
                  <a:lnTo>
                    <a:pt x="29" y="223"/>
                  </a:lnTo>
                  <a:lnTo>
                    <a:pt x="16" y="227"/>
                  </a:lnTo>
                  <a:lnTo>
                    <a:pt x="13" y="214"/>
                  </a:lnTo>
                  <a:lnTo>
                    <a:pt x="13" y="201"/>
                  </a:lnTo>
                  <a:lnTo>
                    <a:pt x="16" y="191"/>
                  </a:lnTo>
                  <a:lnTo>
                    <a:pt x="15" y="185"/>
                  </a:lnTo>
                  <a:lnTo>
                    <a:pt x="10" y="183"/>
                  </a:lnTo>
                  <a:lnTo>
                    <a:pt x="0" y="182"/>
                  </a:lnTo>
                  <a:lnTo>
                    <a:pt x="2" y="174"/>
                  </a:lnTo>
                  <a:lnTo>
                    <a:pt x="10" y="165"/>
                  </a:lnTo>
                  <a:lnTo>
                    <a:pt x="21" y="158"/>
                  </a:lnTo>
                  <a:lnTo>
                    <a:pt x="25" y="148"/>
                  </a:lnTo>
                  <a:lnTo>
                    <a:pt x="34" y="147"/>
                  </a:lnTo>
                  <a:lnTo>
                    <a:pt x="41" y="152"/>
                  </a:lnTo>
                  <a:lnTo>
                    <a:pt x="49" y="160"/>
                  </a:lnTo>
                  <a:lnTo>
                    <a:pt x="61" y="158"/>
                  </a:lnTo>
                  <a:lnTo>
                    <a:pt x="73" y="156"/>
                  </a:lnTo>
                  <a:lnTo>
                    <a:pt x="87" y="155"/>
                  </a:lnTo>
                  <a:lnTo>
                    <a:pt x="100" y="155"/>
                  </a:lnTo>
                  <a:lnTo>
                    <a:pt x="105" y="149"/>
                  </a:lnTo>
                  <a:lnTo>
                    <a:pt x="110" y="144"/>
                  </a:lnTo>
                  <a:lnTo>
                    <a:pt x="116" y="134"/>
                  </a:lnTo>
                  <a:lnTo>
                    <a:pt x="121" y="129"/>
                  </a:lnTo>
                  <a:lnTo>
                    <a:pt x="123" y="119"/>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2" name="Freeform 22"/>
            <p:cNvSpPr>
              <a:spLocks/>
            </p:cNvSpPr>
            <p:nvPr/>
          </p:nvSpPr>
          <p:spPr bwMode="auto">
            <a:xfrm>
              <a:off x="5778500" y="4297363"/>
              <a:ext cx="452438" cy="560387"/>
            </a:xfrm>
            <a:custGeom>
              <a:avLst/>
              <a:gdLst>
                <a:gd name="T0" fmla="*/ 304 w 310"/>
                <a:gd name="T1" fmla="*/ 67 h 383"/>
                <a:gd name="T2" fmla="*/ 278 w 310"/>
                <a:gd name="T3" fmla="*/ 68 h 383"/>
                <a:gd name="T4" fmla="*/ 257 w 310"/>
                <a:gd name="T5" fmla="*/ 54 h 383"/>
                <a:gd name="T6" fmla="*/ 245 w 310"/>
                <a:gd name="T7" fmla="*/ 37 h 383"/>
                <a:gd name="T8" fmla="*/ 239 w 310"/>
                <a:gd name="T9" fmla="*/ 53 h 383"/>
                <a:gd name="T10" fmla="*/ 218 w 310"/>
                <a:gd name="T11" fmla="*/ 56 h 383"/>
                <a:gd name="T12" fmla="*/ 197 w 310"/>
                <a:gd name="T13" fmla="*/ 49 h 383"/>
                <a:gd name="T14" fmla="*/ 188 w 310"/>
                <a:gd name="T15" fmla="*/ 26 h 383"/>
                <a:gd name="T16" fmla="*/ 184 w 310"/>
                <a:gd name="T17" fmla="*/ 2 h 383"/>
                <a:gd name="T18" fmla="*/ 166 w 310"/>
                <a:gd name="T19" fmla="*/ 1 h 383"/>
                <a:gd name="T20" fmla="*/ 156 w 310"/>
                <a:gd name="T21" fmla="*/ 11 h 383"/>
                <a:gd name="T22" fmla="*/ 147 w 310"/>
                <a:gd name="T23" fmla="*/ 25 h 383"/>
                <a:gd name="T24" fmla="*/ 125 w 310"/>
                <a:gd name="T25" fmla="*/ 33 h 383"/>
                <a:gd name="T26" fmla="*/ 113 w 310"/>
                <a:gd name="T27" fmla="*/ 49 h 383"/>
                <a:gd name="T28" fmla="*/ 101 w 310"/>
                <a:gd name="T29" fmla="*/ 45 h 383"/>
                <a:gd name="T30" fmla="*/ 84 w 310"/>
                <a:gd name="T31" fmla="*/ 54 h 383"/>
                <a:gd name="T32" fmla="*/ 67 w 310"/>
                <a:gd name="T33" fmla="*/ 73 h 383"/>
                <a:gd name="T34" fmla="*/ 75 w 310"/>
                <a:gd name="T35" fmla="*/ 88 h 383"/>
                <a:gd name="T36" fmla="*/ 73 w 310"/>
                <a:gd name="T37" fmla="*/ 107 h 383"/>
                <a:gd name="T38" fmla="*/ 51 w 310"/>
                <a:gd name="T39" fmla="*/ 117 h 383"/>
                <a:gd name="T40" fmla="*/ 39 w 310"/>
                <a:gd name="T41" fmla="*/ 142 h 383"/>
                <a:gd name="T42" fmla="*/ 37 w 310"/>
                <a:gd name="T43" fmla="*/ 166 h 383"/>
                <a:gd name="T44" fmla="*/ 28 w 310"/>
                <a:gd name="T45" fmla="*/ 190 h 383"/>
                <a:gd name="T46" fmla="*/ 13 w 310"/>
                <a:gd name="T47" fmla="*/ 214 h 383"/>
                <a:gd name="T48" fmla="*/ 5 w 310"/>
                <a:gd name="T49" fmla="*/ 250 h 383"/>
                <a:gd name="T50" fmla="*/ 0 w 310"/>
                <a:gd name="T51" fmla="*/ 294 h 383"/>
                <a:gd name="T52" fmla="*/ 18 w 310"/>
                <a:gd name="T53" fmla="*/ 299 h 383"/>
                <a:gd name="T54" fmla="*/ 39 w 310"/>
                <a:gd name="T55" fmla="*/ 303 h 383"/>
                <a:gd name="T56" fmla="*/ 59 w 310"/>
                <a:gd name="T57" fmla="*/ 304 h 383"/>
                <a:gd name="T58" fmla="*/ 70 w 310"/>
                <a:gd name="T59" fmla="*/ 308 h 383"/>
                <a:gd name="T60" fmla="*/ 67 w 310"/>
                <a:gd name="T61" fmla="*/ 326 h 383"/>
                <a:gd name="T62" fmla="*/ 81 w 310"/>
                <a:gd name="T63" fmla="*/ 350 h 383"/>
                <a:gd name="T64" fmla="*/ 82 w 310"/>
                <a:gd name="T65" fmla="*/ 366 h 383"/>
                <a:gd name="T66" fmla="*/ 90 w 310"/>
                <a:gd name="T67" fmla="*/ 378 h 383"/>
                <a:gd name="T68" fmla="*/ 103 w 310"/>
                <a:gd name="T69" fmla="*/ 377 h 383"/>
                <a:gd name="T70" fmla="*/ 117 w 310"/>
                <a:gd name="T71" fmla="*/ 369 h 383"/>
                <a:gd name="T72" fmla="*/ 126 w 310"/>
                <a:gd name="T73" fmla="*/ 376 h 383"/>
                <a:gd name="T74" fmla="*/ 129 w 310"/>
                <a:gd name="T75" fmla="*/ 358 h 383"/>
                <a:gd name="T76" fmla="*/ 146 w 310"/>
                <a:gd name="T77" fmla="*/ 349 h 383"/>
                <a:gd name="T78" fmla="*/ 157 w 310"/>
                <a:gd name="T79" fmla="*/ 329 h 383"/>
                <a:gd name="T80" fmla="*/ 167 w 310"/>
                <a:gd name="T81" fmla="*/ 314 h 383"/>
                <a:gd name="T82" fmla="*/ 185 w 310"/>
                <a:gd name="T83" fmla="*/ 309 h 383"/>
                <a:gd name="T84" fmla="*/ 199 w 310"/>
                <a:gd name="T85" fmla="*/ 293 h 383"/>
                <a:gd name="T86" fmla="*/ 203 w 310"/>
                <a:gd name="T87" fmla="*/ 277 h 383"/>
                <a:gd name="T88" fmla="*/ 211 w 310"/>
                <a:gd name="T89" fmla="*/ 274 h 383"/>
                <a:gd name="T90" fmla="*/ 219 w 310"/>
                <a:gd name="T91" fmla="*/ 263 h 383"/>
                <a:gd name="T92" fmla="*/ 231 w 310"/>
                <a:gd name="T93" fmla="*/ 260 h 383"/>
                <a:gd name="T94" fmla="*/ 239 w 310"/>
                <a:gd name="T95" fmla="*/ 241 h 383"/>
                <a:gd name="T96" fmla="*/ 239 w 310"/>
                <a:gd name="T97" fmla="*/ 223 h 383"/>
                <a:gd name="T98" fmla="*/ 253 w 310"/>
                <a:gd name="T99" fmla="*/ 211 h 383"/>
                <a:gd name="T100" fmla="*/ 257 w 310"/>
                <a:gd name="T101" fmla="*/ 224 h 383"/>
                <a:gd name="T102" fmla="*/ 267 w 310"/>
                <a:gd name="T103" fmla="*/ 229 h 383"/>
                <a:gd name="T104" fmla="*/ 262 w 310"/>
                <a:gd name="T105" fmla="*/ 205 h 383"/>
                <a:gd name="T106" fmla="*/ 259 w 310"/>
                <a:gd name="T107" fmla="*/ 187 h 383"/>
                <a:gd name="T108" fmla="*/ 261 w 310"/>
                <a:gd name="T109" fmla="*/ 161 h 383"/>
                <a:gd name="T110" fmla="*/ 261 w 310"/>
                <a:gd name="T111" fmla="*/ 145 h 383"/>
                <a:gd name="T112" fmla="*/ 271 w 310"/>
                <a:gd name="T113" fmla="*/ 141 h 383"/>
                <a:gd name="T114" fmla="*/ 281 w 310"/>
                <a:gd name="T115" fmla="*/ 129 h 383"/>
                <a:gd name="T116" fmla="*/ 293 w 310"/>
                <a:gd name="T117" fmla="*/ 120 h 383"/>
                <a:gd name="T118" fmla="*/ 292 w 310"/>
                <a:gd name="T119" fmla="*/ 104 h 383"/>
                <a:gd name="T120" fmla="*/ 302 w 310"/>
                <a:gd name="T121" fmla="*/ 8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0" h="383">
                  <a:moveTo>
                    <a:pt x="309" y="75"/>
                  </a:moveTo>
                  <a:lnTo>
                    <a:pt x="304" y="67"/>
                  </a:lnTo>
                  <a:lnTo>
                    <a:pt x="291" y="66"/>
                  </a:lnTo>
                  <a:lnTo>
                    <a:pt x="278" y="68"/>
                  </a:lnTo>
                  <a:lnTo>
                    <a:pt x="262" y="64"/>
                  </a:lnTo>
                  <a:lnTo>
                    <a:pt x="257" y="54"/>
                  </a:lnTo>
                  <a:lnTo>
                    <a:pt x="252" y="42"/>
                  </a:lnTo>
                  <a:lnTo>
                    <a:pt x="245" y="37"/>
                  </a:lnTo>
                  <a:lnTo>
                    <a:pt x="240" y="42"/>
                  </a:lnTo>
                  <a:lnTo>
                    <a:pt x="239" y="53"/>
                  </a:lnTo>
                  <a:lnTo>
                    <a:pt x="231" y="60"/>
                  </a:lnTo>
                  <a:lnTo>
                    <a:pt x="218" y="56"/>
                  </a:lnTo>
                  <a:lnTo>
                    <a:pt x="206" y="56"/>
                  </a:lnTo>
                  <a:lnTo>
                    <a:pt x="197" y="49"/>
                  </a:lnTo>
                  <a:lnTo>
                    <a:pt x="190" y="35"/>
                  </a:lnTo>
                  <a:lnTo>
                    <a:pt x="188" y="26"/>
                  </a:lnTo>
                  <a:lnTo>
                    <a:pt x="186" y="11"/>
                  </a:lnTo>
                  <a:lnTo>
                    <a:pt x="184" y="2"/>
                  </a:lnTo>
                  <a:lnTo>
                    <a:pt x="177" y="0"/>
                  </a:lnTo>
                  <a:lnTo>
                    <a:pt x="166" y="1"/>
                  </a:lnTo>
                  <a:lnTo>
                    <a:pt x="155" y="4"/>
                  </a:lnTo>
                  <a:lnTo>
                    <a:pt x="156" y="11"/>
                  </a:lnTo>
                  <a:lnTo>
                    <a:pt x="154" y="24"/>
                  </a:lnTo>
                  <a:lnTo>
                    <a:pt x="147" y="25"/>
                  </a:lnTo>
                  <a:lnTo>
                    <a:pt x="134" y="29"/>
                  </a:lnTo>
                  <a:lnTo>
                    <a:pt x="125" y="33"/>
                  </a:lnTo>
                  <a:lnTo>
                    <a:pt x="119" y="42"/>
                  </a:lnTo>
                  <a:lnTo>
                    <a:pt x="113" y="49"/>
                  </a:lnTo>
                  <a:lnTo>
                    <a:pt x="105" y="51"/>
                  </a:lnTo>
                  <a:lnTo>
                    <a:pt x="101" y="45"/>
                  </a:lnTo>
                  <a:lnTo>
                    <a:pt x="93" y="43"/>
                  </a:lnTo>
                  <a:lnTo>
                    <a:pt x="84" y="54"/>
                  </a:lnTo>
                  <a:lnTo>
                    <a:pt x="73" y="62"/>
                  </a:lnTo>
                  <a:lnTo>
                    <a:pt x="67" y="73"/>
                  </a:lnTo>
                  <a:lnTo>
                    <a:pt x="69" y="84"/>
                  </a:lnTo>
                  <a:lnTo>
                    <a:pt x="75" y="88"/>
                  </a:lnTo>
                  <a:lnTo>
                    <a:pt x="79" y="98"/>
                  </a:lnTo>
                  <a:lnTo>
                    <a:pt x="73" y="107"/>
                  </a:lnTo>
                  <a:lnTo>
                    <a:pt x="57" y="110"/>
                  </a:lnTo>
                  <a:lnTo>
                    <a:pt x="51" y="117"/>
                  </a:lnTo>
                  <a:lnTo>
                    <a:pt x="43" y="124"/>
                  </a:lnTo>
                  <a:lnTo>
                    <a:pt x="39" y="142"/>
                  </a:lnTo>
                  <a:lnTo>
                    <a:pt x="38" y="155"/>
                  </a:lnTo>
                  <a:lnTo>
                    <a:pt x="37" y="166"/>
                  </a:lnTo>
                  <a:lnTo>
                    <a:pt x="34" y="178"/>
                  </a:lnTo>
                  <a:lnTo>
                    <a:pt x="28" y="190"/>
                  </a:lnTo>
                  <a:lnTo>
                    <a:pt x="20" y="200"/>
                  </a:lnTo>
                  <a:lnTo>
                    <a:pt x="13" y="214"/>
                  </a:lnTo>
                  <a:lnTo>
                    <a:pt x="9" y="234"/>
                  </a:lnTo>
                  <a:lnTo>
                    <a:pt x="5" y="250"/>
                  </a:lnTo>
                  <a:lnTo>
                    <a:pt x="2" y="271"/>
                  </a:lnTo>
                  <a:lnTo>
                    <a:pt x="0" y="294"/>
                  </a:lnTo>
                  <a:lnTo>
                    <a:pt x="8" y="291"/>
                  </a:lnTo>
                  <a:lnTo>
                    <a:pt x="18" y="299"/>
                  </a:lnTo>
                  <a:lnTo>
                    <a:pt x="31" y="303"/>
                  </a:lnTo>
                  <a:lnTo>
                    <a:pt x="39" y="303"/>
                  </a:lnTo>
                  <a:lnTo>
                    <a:pt x="49" y="311"/>
                  </a:lnTo>
                  <a:lnTo>
                    <a:pt x="59" y="304"/>
                  </a:lnTo>
                  <a:lnTo>
                    <a:pt x="64" y="301"/>
                  </a:lnTo>
                  <a:lnTo>
                    <a:pt x="70" y="308"/>
                  </a:lnTo>
                  <a:lnTo>
                    <a:pt x="69" y="319"/>
                  </a:lnTo>
                  <a:lnTo>
                    <a:pt x="67" y="326"/>
                  </a:lnTo>
                  <a:lnTo>
                    <a:pt x="76" y="339"/>
                  </a:lnTo>
                  <a:lnTo>
                    <a:pt x="81" y="350"/>
                  </a:lnTo>
                  <a:lnTo>
                    <a:pt x="81" y="361"/>
                  </a:lnTo>
                  <a:lnTo>
                    <a:pt x="82" y="366"/>
                  </a:lnTo>
                  <a:lnTo>
                    <a:pt x="87" y="371"/>
                  </a:lnTo>
                  <a:lnTo>
                    <a:pt x="90" y="378"/>
                  </a:lnTo>
                  <a:lnTo>
                    <a:pt x="98" y="382"/>
                  </a:lnTo>
                  <a:lnTo>
                    <a:pt x="103" y="377"/>
                  </a:lnTo>
                  <a:lnTo>
                    <a:pt x="112" y="374"/>
                  </a:lnTo>
                  <a:lnTo>
                    <a:pt x="117" y="369"/>
                  </a:lnTo>
                  <a:lnTo>
                    <a:pt x="122" y="368"/>
                  </a:lnTo>
                  <a:lnTo>
                    <a:pt x="126" y="376"/>
                  </a:lnTo>
                  <a:lnTo>
                    <a:pt x="127" y="363"/>
                  </a:lnTo>
                  <a:lnTo>
                    <a:pt x="129" y="358"/>
                  </a:lnTo>
                  <a:lnTo>
                    <a:pt x="136" y="352"/>
                  </a:lnTo>
                  <a:lnTo>
                    <a:pt x="146" y="349"/>
                  </a:lnTo>
                  <a:lnTo>
                    <a:pt x="150" y="341"/>
                  </a:lnTo>
                  <a:lnTo>
                    <a:pt x="157" y="329"/>
                  </a:lnTo>
                  <a:lnTo>
                    <a:pt x="162" y="319"/>
                  </a:lnTo>
                  <a:lnTo>
                    <a:pt x="167" y="314"/>
                  </a:lnTo>
                  <a:lnTo>
                    <a:pt x="174" y="314"/>
                  </a:lnTo>
                  <a:lnTo>
                    <a:pt x="185" y="309"/>
                  </a:lnTo>
                  <a:lnTo>
                    <a:pt x="193" y="299"/>
                  </a:lnTo>
                  <a:lnTo>
                    <a:pt x="199" y="293"/>
                  </a:lnTo>
                  <a:lnTo>
                    <a:pt x="201" y="285"/>
                  </a:lnTo>
                  <a:lnTo>
                    <a:pt x="203" y="277"/>
                  </a:lnTo>
                  <a:lnTo>
                    <a:pt x="206" y="273"/>
                  </a:lnTo>
                  <a:lnTo>
                    <a:pt x="211" y="274"/>
                  </a:lnTo>
                  <a:lnTo>
                    <a:pt x="217" y="275"/>
                  </a:lnTo>
                  <a:lnTo>
                    <a:pt x="219" y="263"/>
                  </a:lnTo>
                  <a:lnTo>
                    <a:pt x="222" y="259"/>
                  </a:lnTo>
                  <a:lnTo>
                    <a:pt x="231" y="260"/>
                  </a:lnTo>
                  <a:lnTo>
                    <a:pt x="242" y="253"/>
                  </a:lnTo>
                  <a:lnTo>
                    <a:pt x="239" y="241"/>
                  </a:lnTo>
                  <a:lnTo>
                    <a:pt x="237" y="235"/>
                  </a:lnTo>
                  <a:lnTo>
                    <a:pt x="239" y="223"/>
                  </a:lnTo>
                  <a:lnTo>
                    <a:pt x="247" y="216"/>
                  </a:lnTo>
                  <a:lnTo>
                    <a:pt x="253" y="211"/>
                  </a:lnTo>
                  <a:lnTo>
                    <a:pt x="257" y="217"/>
                  </a:lnTo>
                  <a:lnTo>
                    <a:pt x="257" y="224"/>
                  </a:lnTo>
                  <a:lnTo>
                    <a:pt x="263" y="232"/>
                  </a:lnTo>
                  <a:lnTo>
                    <a:pt x="267" y="229"/>
                  </a:lnTo>
                  <a:lnTo>
                    <a:pt x="267" y="220"/>
                  </a:lnTo>
                  <a:lnTo>
                    <a:pt x="262" y="205"/>
                  </a:lnTo>
                  <a:lnTo>
                    <a:pt x="260" y="196"/>
                  </a:lnTo>
                  <a:lnTo>
                    <a:pt x="259" y="187"/>
                  </a:lnTo>
                  <a:lnTo>
                    <a:pt x="260" y="175"/>
                  </a:lnTo>
                  <a:lnTo>
                    <a:pt x="261" y="161"/>
                  </a:lnTo>
                  <a:lnTo>
                    <a:pt x="260" y="152"/>
                  </a:lnTo>
                  <a:lnTo>
                    <a:pt x="261" y="145"/>
                  </a:lnTo>
                  <a:lnTo>
                    <a:pt x="265" y="145"/>
                  </a:lnTo>
                  <a:lnTo>
                    <a:pt x="271" y="141"/>
                  </a:lnTo>
                  <a:lnTo>
                    <a:pt x="277" y="132"/>
                  </a:lnTo>
                  <a:lnTo>
                    <a:pt x="281" y="129"/>
                  </a:lnTo>
                  <a:lnTo>
                    <a:pt x="288" y="132"/>
                  </a:lnTo>
                  <a:lnTo>
                    <a:pt x="293" y="120"/>
                  </a:lnTo>
                  <a:lnTo>
                    <a:pt x="286" y="106"/>
                  </a:lnTo>
                  <a:lnTo>
                    <a:pt x="292" y="104"/>
                  </a:lnTo>
                  <a:lnTo>
                    <a:pt x="296" y="93"/>
                  </a:lnTo>
                  <a:lnTo>
                    <a:pt x="302" y="85"/>
                  </a:lnTo>
                  <a:lnTo>
                    <a:pt x="309" y="75"/>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3" name="Freeform 23"/>
            <p:cNvSpPr>
              <a:spLocks/>
            </p:cNvSpPr>
            <p:nvPr/>
          </p:nvSpPr>
          <p:spPr bwMode="auto">
            <a:xfrm>
              <a:off x="6243638" y="4619625"/>
              <a:ext cx="179387" cy="423863"/>
            </a:xfrm>
            <a:custGeom>
              <a:avLst/>
              <a:gdLst>
                <a:gd name="T0" fmla="*/ 97 w 123"/>
                <a:gd name="T1" fmla="*/ 136 h 291"/>
                <a:gd name="T2" fmla="*/ 96 w 123"/>
                <a:gd name="T3" fmla="*/ 120 h 291"/>
                <a:gd name="T4" fmla="*/ 98 w 123"/>
                <a:gd name="T5" fmla="*/ 104 h 291"/>
                <a:gd name="T6" fmla="*/ 101 w 123"/>
                <a:gd name="T7" fmla="*/ 89 h 291"/>
                <a:gd name="T8" fmla="*/ 109 w 123"/>
                <a:gd name="T9" fmla="*/ 79 h 291"/>
                <a:gd name="T10" fmla="*/ 114 w 123"/>
                <a:gd name="T11" fmla="*/ 66 h 291"/>
                <a:gd name="T12" fmla="*/ 114 w 123"/>
                <a:gd name="T13" fmla="*/ 54 h 291"/>
                <a:gd name="T14" fmla="*/ 114 w 123"/>
                <a:gd name="T15" fmla="*/ 41 h 291"/>
                <a:gd name="T16" fmla="*/ 117 w 123"/>
                <a:gd name="T17" fmla="*/ 29 h 291"/>
                <a:gd name="T18" fmla="*/ 122 w 123"/>
                <a:gd name="T19" fmla="*/ 14 h 291"/>
                <a:gd name="T20" fmla="*/ 112 w 123"/>
                <a:gd name="T21" fmla="*/ 12 h 291"/>
                <a:gd name="T22" fmla="*/ 101 w 123"/>
                <a:gd name="T23" fmla="*/ 7 h 291"/>
                <a:gd name="T24" fmla="*/ 93 w 123"/>
                <a:gd name="T25" fmla="*/ 2 h 291"/>
                <a:gd name="T26" fmla="*/ 83 w 123"/>
                <a:gd name="T27" fmla="*/ 4 h 291"/>
                <a:gd name="T28" fmla="*/ 77 w 123"/>
                <a:gd name="T29" fmla="*/ 15 h 291"/>
                <a:gd name="T30" fmla="*/ 65 w 123"/>
                <a:gd name="T31" fmla="*/ 18 h 291"/>
                <a:gd name="T32" fmla="*/ 55 w 123"/>
                <a:gd name="T33" fmla="*/ 26 h 291"/>
                <a:gd name="T34" fmla="*/ 48 w 123"/>
                <a:gd name="T35" fmla="*/ 38 h 291"/>
                <a:gd name="T36" fmla="*/ 44 w 123"/>
                <a:gd name="T37" fmla="*/ 50 h 291"/>
                <a:gd name="T38" fmla="*/ 40 w 123"/>
                <a:gd name="T39" fmla="*/ 63 h 291"/>
                <a:gd name="T40" fmla="*/ 28 w 123"/>
                <a:gd name="T41" fmla="*/ 76 h 291"/>
                <a:gd name="T42" fmla="*/ 22 w 123"/>
                <a:gd name="T43" fmla="*/ 89 h 291"/>
                <a:gd name="T44" fmla="*/ 14 w 123"/>
                <a:gd name="T45" fmla="*/ 106 h 291"/>
                <a:gd name="T46" fmla="*/ 7 w 123"/>
                <a:gd name="T47" fmla="*/ 126 h 291"/>
                <a:gd name="T48" fmla="*/ 2 w 123"/>
                <a:gd name="T49" fmla="*/ 143 h 291"/>
                <a:gd name="T50" fmla="*/ 1 w 123"/>
                <a:gd name="T51" fmla="*/ 164 h 291"/>
                <a:gd name="T52" fmla="*/ 0 w 123"/>
                <a:gd name="T53" fmla="*/ 179 h 291"/>
                <a:gd name="T54" fmla="*/ 2 w 123"/>
                <a:gd name="T55" fmla="*/ 197 h 291"/>
                <a:gd name="T56" fmla="*/ 6 w 123"/>
                <a:gd name="T57" fmla="*/ 208 h 291"/>
                <a:gd name="T58" fmla="*/ 8 w 123"/>
                <a:gd name="T59" fmla="*/ 220 h 291"/>
                <a:gd name="T60" fmla="*/ 16 w 123"/>
                <a:gd name="T61" fmla="*/ 238 h 291"/>
                <a:gd name="T62" fmla="*/ 29 w 123"/>
                <a:gd name="T63" fmla="*/ 244 h 291"/>
                <a:gd name="T64" fmla="*/ 38 w 123"/>
                <a:gd name="T65" fmla="*/ 253 h 291"/>
                <a:gd name="T66" fmla="*/ 45 w 123"/>
                <a:gd name="T67" fmla="*/ 267 h 291"/>
                <a:gd name="T68" fmla="*/ 55 w 123"/>
                <a:gd name="T69" fmla="*/ 281 h 291"/>
                <a:gd name="T70" fmla="*/ 67 w 123"/>
                <a:gd name="T71" fmla="*/ 290 h 291"/>
                <a:gd name="T72" fmla="*/ 65 w 123"/>
                <a:gd name="T73" fmla="*/ 277 h 291"/>
                <a:gd name="T74" fmla="*/ 65 w 123"/>
                <a:gd name="T75" fmla="*/ 262 h 291"/>
                <a:gd name="T76" fmla="*/ 63 w 123"/>
                <a:gd name="T77" fmla="*/ 242 h 291"/>
                <a:gd name="T78" fmla="*/ 69 w 123"/>
                <a:gd name="T79" fmla="*/ 226 h 291"/>
                <a:gd name="T80" fmla="*/ 80 w 123"/>
                <a:gd name="T81" fmla="*/ 210 h 291"/>
                <a:gd name="T82" fmla="*/ 92 w 123"/>
                <a:gd name="T83" fmla="*/ 192 h 291"/>
                <a:gd name="T84" fmla="*/ 92 w 123"/>
                <a:gd name="T85" fmla="*/ 172 h 291"/>
                <a:gd name="T86" fmla="*/ 93 w 123"/>
                <a:gd name="T87" fmla="*/ 15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291">
                  <a:moveTo>
                    <a:pt x="96" y="145"/>
                  </a:moveTo>
                  <a:lnTo>
                    <a:pt x="97" y="136"/>
                  </a:lnTo>
                  <a:lnTo>
                    <a:pt x="96" y="128"/>
                  </a:lnTo>
                  <a:lnTo>
                    <a:pt x="96" y="120"/>
                  </a:lnTo>
                  <a:lnTo>
                    <a:pt x="97" y="113"/>
                  </a:lnTo>
                  <a:lnTo>
                    <a:pt x="98" y="104"/>
                  </a:lnTo>
                  <a:lnTo>
                    <a:pt x="98" y="97"/>
                  </a:lnTo>
                  <a:lnTo>
                    <a:pt x="101" y="89"/>
                  </a:lnTo>
                  <a:lnTo>
                    <a:pt x="104" y="83"/>
                  </a:lnTo>
                  <a:lnTo>
                    <a:pt x="109" y="79"/>
                  </a:lnTo>
                  <a:lnTo>
                    <a:pt x="112" y="74"/>
                  </a:lnTo>
                  <a:lnTo>
                    <a:pt x="114" y="66"/>
                  </a:lnTo>
                  <a:lnTo>
                    <a:pt x="115" y="61"/>
                  </a:lnTo>
                  <a:lnTo>
                    <a:pt x="114" y="54"/>
                  </a:lnTo>
                  <a:lnTo>
                    <a:pt x="112" y="46"/>
                  </a:lnTo>
                  <a:lnTo>
                    <a:pt x="114" y="41"/>
                  </a:lnTo>
                  <a:lnTo>
                    <a:pt x="114" y="35"/>
                  </a:lnTo>
                  <a:lnTo>
                    <a:pt x="117" y="29"/>
                  </a:lnTo>
                  <a:lnTo>
                    <a:pt x="120" y="21"/>
                  </a:lnTo>
                  <a:lnTo>
                    <a:pt x="122" y="14"/>
                  </a:lnTo>
                  <a:lnTo>
                    <a:pt x="117" y="9"/>
                  </a:lnTo>
                  <a:lnTo>
                    <a:pt x="112" y="12"/>
                  </a:lnTo>
                  <a:lnTo>
                    <a:pt x="107" y="13"/>
                  </a:lnTo>
                  <a:lnTo>
                    <a:pt x="101" y="7"/>
                  </a:lnTo>
                  <a:lnTo>
                    <a:pt x="99" y="4"/>
                  </a:lnTo>
                  <a:lnTo>
                    <a:pt x="93" y="2"/>
                  </a:lnTo>
                  <a:lnTo>
                    <a:pt x="88" y="0"/>
                  </a:lnTo>
                  <a:lnTo>
                    <a:pt x="83" y="4"/>
                  </a:lnTo>
                  <a:lnTo>
                    <a:pt x="79" y="9"/>
                  </a:lnTo>
                  <a:lnTo>
                    <a:pt x="77" y="15"/>
                  </a:lnTo>
                  <a:lnTo>
                    <a:pt x="70" y="16"/>
                  </a:lnTo>
                  <a:lnTo>
                    <a:pt x="65" y="18"/>
                  </a:lnTo>
                  <a:lnTo>
                    <a:pt x="60" y="22"/>
                  </a:lnTo>
                  <a:lnTo>
                    <a:pt x="55" y="26"/>
                  </a:lnTo>
                  <a:lnTo>
                    <a:pt x="52" y="33"/>
                  </a:lnTo>
                  <a:lnTo>
                    <a:pt x="48" y="38"/>
                  </a:lnTo>
                  <a:lnTo>
                    <a:pt x="47" y="43"/>
                  </a:lnTo>
                  <a:lnTo>
                    <a:pt x="44" y="50"/>
                  </a:lnTo>
                  <a:lnTo>
                    <a:pt x="43" y="56"/>
                  </a:lnTo>
                  <a:lnTo>
                    <a:pt x="40" y="63"/>
                  </a:lnTo>
                  <a:lnTo>
                    <a:pt x="34" y="69"/>
                  </a:lnTo>
                  <a:lnTo>
                    <a:pt x="28" y="76"/>
                  </a:lnTo>
                  <a:lnTo>
                    <a:pt x="24" y="84"/>
                  </a:lnTo>
                  <a:lnTo>
                    <a:pt x="22" y="89"/>
                  </a:lnTo>
                  <a:lnTo>
                    <a:pt x="18" y="99"/>
                  </a:lnTo>
                  <a:lnTo>
                    <a:pt x="14" y="106"/>
                  </a:lnTo>
                  <a:lnTo>
                    <a:pt x="9" y="117"/>
                  </a:lnTo>
                  <a:lnTo>
                    <a:pt x="7" y="126"/>
                  </a:lnTo>
                  <a:lnTo>
                    <a:pt x="4" y="134"/>
                  </a:lnTo>
                  <a:lnTo>
                    <a:pt x="2" y="143"/>
                  </a:lnTo>
                  <a:lnTo>
                    <a:pt x="1" y="153"/>
                  </a:lnTo>
                  <a:lnTo>
                    <a:pt x="1" y="164"/>
                  </a:lnTo>
                  <a:lnTo>
                    <a:pt x="0" y="171"/>
                  </a:lnTo>
                  <a:lnTo>
                    <a:pt x="0" y="179"/>
                  </a:lnTo>
                  <a:lnTo>
                    <a:pt x="1" y="189"/>
                  </a:lnTo>
                  <a:lnTo>
                    <a:pt x="2" y="197"/>
                  </a:lnTo>
                  <a:lnTo>
                    <a:pt x="3" y="203"/>
                  </a:lnTo>
                  <a:lnTo>
                    <a:pt x="6" y="208"/>
                  </a:lnTo>
                  <a:lnTo>
                    <a:pt x="8" y="215"/>
                  </a:lnTo>
                  <a:lnTo>
                    <a:pt x="8" y="220"/>
                  </a:lnTo>
                  <a:lnTo>
                    <a:pt x="9" y="230"/>
                  </a:lnTo>
                  <a:lnTo>
                    <a:pt x="16" y="238"/>
                  </a:lnTo>
                  <a:lnTo>
                    <a:pt x="22" y="241"/>
                  </a:lnTo>
                  <a:lnTo>
                    <a:pt x="29" y="244"/>
                  </a:lnTo>
                  <a:lnTo>
                    <a:pt x="34" y="247"/>
                  </a:lnTo>
                  <a:lnTo>
                    <a:pt x="38" y="253"/>
                  </a:lnTo>
                  <a:lnTo>
                    <a:pt x="41" y="261"/>
                  </a:lnTo>
                  <a:lnTo>
                    <a:pt x="45" y="267"/>
                  </a:lnTo>
                  <a:lnTo>
                    <a:pt x="50" y="274"/>
                  </a:lnTo>
                  <a:lnTo>
                    <a:pt x="55" y="281"/>
                  </a:lnTo>
                  <a:lnTo>
                    <a:pt x="62" y="290"/>
                  </a:lnTo>
                  <a:lnTo>
                    <a:pt x="67" y="290"/>
                  </a:lnTo>
                  <a:lnTo>
                    <a:pt x="68" y="285"/>
                  </a:lnTo>
                  <a:lnTo>
                    <a:pt x="65" y="277"/>
                  </a:lnTo>
                  <a:lnTo>
                    <a:pt x="63" y="271"/>
                  </a:lnTo>
                  <a:lnTo>
                    <a:pt x="65" y="262"/>
                  </a:lnTo>
                  <a:lnTo>
                    <a:pt x="61" y="254"/>
                  </a:lnTo>
                  <a:lnTo>
                    <a:pt x="63" y="242"/>
                  </a:lnTo>
                  <a:lnTo>
                    <a:pt x="63" y="233"/>
                  </a:lnTo>
                  <a:lnTo>
                    <a:pt x="69" y="226"/>
                  </a:lnTo>
                  <a:lnTo>
                    <a:pt x="73" y="220"/>
                  </a:lnTo>
                  <a:lnTo>
                    <a:pt x="80" y="210"/>
                  </a:lnTo>
                  <a:lnTo>
                    <a:pt x="87" y="201"/>
                  </a:lnTo>
                  <a:lnTo>
                    <a:pt x="92" y="192"/>
                  </a:lnTo>
                  <a:lnTo>
                    <a:pt x="93" y="182"/>
                  </a:lnTo>
                  <a:lnTo>
                    <a:pt x="92" y="172"/>
                  </a:lnTo>
                  <a:lnTo>
                    <a:pt x="93" y="161"/>
                  </a:lnTo>
                  <a:lnTo>
                    <a:pt x="93" y="155"/>
                  </a:lnTo>
                  <a:lnTo>
                    <a:pt x="96" y="145"/>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4" name="Freeform 24"/>
            <p:cNvSpPr>
              <a:spLocks/>
            </p:cNvSpPr>
            <p:nvPr/>
          </p:nvSpPr>
          <p:spPr bwMode="auto">
            <a:xfrm>
              <a:off x="5735638" y="3468688"/>
              <a:ext cx="571500" cy="506412"/>
            </a:xfrm>
            <a:custGeom>
              <a:avLst/>
              <a:gdLst>
                <a:gd name="T0" fmla="*/ 10 w 392"/>
                <a:gd name="T1" fmla="*/ 56 h 347"/>
                <a:gd name="T2" fmla="*/ 17 w 392"/>
                <a:gd name="T3" fmla="*/ 25 h 347"/>
                <a:gd name="T4" fmla="*/ 43 w 392"/>
                <a:gd name="T5" fmla="*/ 44 h 347"/>
                <a:gd name="T6" fmla="*/ 75 w 392"/>
                <a:gd name="T7" fmla="*/ 74 h 347"/>
                <a:gd name="T8" fmla="*/ 98 w 392"/>
                <a:gd name="T9" fmla="*/ 54 h 347"/>
                <a:gd name="T10" fmla="*/ 120 w 392"/>
                <a:gd name="T11" fmla="*/ 55 h 347"/>
                <a:gd name="T12" fmla="*/ 138 w 392"/>
                <a:gd name="T13" fmla="*/ 49 h 347"/>
                <a:gd name="T14" fmla="*/ 154 w 392"/>
                <a:gd name="T15" fmla="*/ 38 h 347"/>
                <a:gd name="T16" fmla="*/ 175 w 392"/>
                <a:gd name="T17" fmla="*/ 8 h 347"/>
                <a:gd name="T18" fmla="*/ 195 w 392"/>
                <a:gd name="T19" fmla="*/ 0 h 347"/>
                <a:gd name="T20" fmla="*/ 194 w 392"/>
                <a:gd name="T21" fmla="*/ 22 h 347"/>
                <a:gd name="T22" fmla="*/ 220 w 392"/>
                <a:gd name="T23" fmla="*/ 35 h 347"/>
                <a:gd name="T24" fmla="*/ 246 w 392"/>
                <a:gd name="T25" fmla="*/ 42 h 347"/>
                <a:gd name="T26" fmla="*/ 268 w 392"/>
                <a:gd name="T27" fmla="*/ 62 h 347"/>
                <a:gd name="T28" fmla="*/ 278 w 392"/>
                <a:gd name="T29" fmla="*/ 82 h 347"/>
                <a:gd name="T30" fmla="*/ 290 w 392"/>
                <a:gd name="T31" fmla="*/ 111 h 347"/>
                <a:gd name="T32" fmla="*/ 303 w 392"/>
                <a:gd name="T33" fmla="*/ 136 h 347"/>
                <a:gd name="T34" fmla="*/ 322 w 392"/>
                <a:gd name="T35" fmla="*/ 167 h 347"/>
                <a:gd name="T36" fmla="*/ 336 w 392"/>
                <a:gd name="T37" fmla="*/ 191 h 347"/>
                <a:gd name="T38" fmla="*/ 352 w 392"/>
                <a:gd name="T39" fmla="*/ 206 h 347"/>
                <a:gd name="T40" fmla="*/ 375 w 392"/>
                <a:gd name="T41" fmla="*/ 224 h 347"/>
                <a:gd name="T42" fmla="*/ 389 w 392"/>
                <a:gd name="T43" fmla="*/ 241 h 347"/>
                <a:gd name="T44" fmla="*/ 383 w 392"/>
                <a:gd name="T45" fmla="*/ 256 h 347"/>
                <a:gd name="T46" fmla="*/ 366 w 392"/>
                <a:gd name="T47" fmla="*/ 253 h 347"/>
                <a:gd name="T48" fmla="*/ 354 w 392"/>
                <a:gd name="T49" fmla="*/ 258 h 347"/>
                <a:gd name="T50" fmla="*/ 339 w 392"/>
                <a:gd name="T51" fmla="*/ 271 h 347"/>
                <a:gd name="T52" fmla="*/ 344 w 392"/>
                <a:gd name="T53" fmla="*/ 299 h 347"/>
                <a:gd name="T54" fmla="*/ 339 w 392"/>
                <a:gd name="T55" fmla="*/ 319 h 347"/>
                <a:gd name="T56" fmla="*/ 332 w 392"/>
                <a:gd name="T57" fmla="*/ 334 h 347"/>
                <a:gd name="T58" fmla="*/ 313 w 392"/>
                <a:gd name="T59" fmla="*/ 346 h 347"/>
                <a:gd name="T60" fmla="*/ 294 w 392"/>
                <a:gd name="T61" fmla="*/ 341 h 347"/>
                <a:gd name="T62" fmla="*/ 264 w 392"/>
                <a:gd name="T63" fmla="*/ 328 h 347"/>
                <a:gd name="T64" fmla="*/ 241 w 392"/>
                <a:gd name="T65" fmla="*/ 321 h 347"/>
                <a:gd name="T66" fmla="*/ 220 w 392"/>
                <a:gd name="T67" fmla="*/ 316 h 347"/>
                <a:gd name="T68" fmla="*/ 202 w 392"/>
                <a:gd name="T69" fmla="*/ 309 h 347"/>
                <a:gd name="T70" fmla="*/ 179 w 392"/>
                <a:gd name="T71" fmla="*/ 290 h 347"/>
                <a:gd name="T72" fmla="*/ 171 w 392"/>
                <a:gd name="T73" fmla="*/ 277 h 347"/>
                <a:gd name="T74" fmla="*/ 160 w 392"/>
                <a:gd name="T75" fmla="*/ 262 h 347"/>
                <a:gd name="T76" fmla="*/ 169 w 392"/>
                <a:gd name="T77" fmla="*/ 229 h 347"/>
                <a:gd name="T78" fmla="*/ 184 w 392"/>
                <a:gd name="T79" fmla="*/ 208 h 347"/>
                <a:gd name="T80" fmla="*/ 199 w 392"/>
                <a:gd name="T81" fmla="*/ 208 h 347"/>
                <a:gd name="T82" fmla="*/ 213 w 392"/>
                <a:gd name="T83" fmla="*/ 183 h 347"/>
                <a:gd name="T84" fmla="*/ 205 w 392"/>
                <a:gd name="T85" fmla="*/ 164 h 347"/>
                <a:gd name="T86" fmla="*/ 197 w 392"/>
                <a:gd name="T87" fmla="*/ 180 h 347"/>
                <a:gd name="T88" fmla="*/ 187 w 392"/>
                <a:gd name="T89" fmla="*/ 179 h 347"/>
                <a:gd name="T90" fmla="*/ 169 w 392"/>
                <a:gd name="T91" fmla="*/ 195 h 347"/>
                <a:gd name="T92" fmla="*/ 146 w 392"/>
                <a:gd name="T93" fmla="*/ 185 h 347"/>
                <a:gd name="T94" fmla="*/ 121 w 392"/>
                <a:gd name="T95" fmla="*/ 159 h 347"/>
                <a:gd name="T96" fmla="*/ 111 w 392"/>
                <a:gd name="T97" fmla="*/ 143 h 347"/>
                <a:gd name="T98" fmla="*/ 122 w 392"/>
                <a:gd name="T99" fmla="*/ 138 h 347"/>
                <a:gd name="T100" fmla="*/ 125 w 392"/>
                <a:gd name="T101" fmla="*/ 127 h 347"/>
                <a:gd name="T102" fmla="*/ 101 w 392"/>
                <a:gd name="T103" fmla="*/ 108 h 347"/>
                <a:gd name="T104" fmla="*/ 48 w 392"/>
                <a:gd name="T105" fmla="*/ 93 h 347"/>
                <a:gd name="T106" fmla="*/ 22 w 392"/>
                <a:gd name="T107" fmla="*/ 67 h 347"/>
                <a:gd name="T108" fmla="*/ 0 w 392"/>
                <a:gd name="T109" fmla="*/ 63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2" h="347">
                  <a:moveTo>
                    <a:pt x="0" y="63"/>
                  </a:moveTo>
                  <a:lnTo>
                    <a:pt x="10" y="56"/>
                  </a:lnTo>
                  <a:lnTo>
                    <a:pt x="9" y="43"/>
                  </a:lnTo>
                  <a:lnTo>
                    <a:pt x="17" y="25"/>
                  </a:lnTo>
                  <a:lnTo>
                    <a:pt x="31" y="32"/>
                  </a:lnTo>
                  <a:lnTo>
                    <a:pt x="43" y="44"/>
                  </a:lnTo>
                  <a:lnTo>
                    <a:pt x="58" y="60"/>
                  </a:lnTo>
                  <a:lnTo>
                    <a:pt x="75" y="74"/>
                  </a:lnTo>
                  <a:lnTo>
                    <a:pt x="88" y="65"/>
                  </a:lnTo>
                  <a:lnTo>
                    <a:pt x="98" y="54"/>
                  </a:lnTo>
                  <a:lnTo>
                    <a:pt x="112" y="49"/>
                  </a:lnTo>
                  <a:lnTo>
                    <a:pt x="120" y="55"/>
                  </a:lnTo>
                  <a:lnTo>
                    <a:pt x="131" y="58"/>
                  </a:lnTo>
                  <a:lnTo>
                    <a:pt x="138" y="49"/>
                  </a:lnTo>
                  <a:lnTo>
                    <a:pt x="146" y="46"/>
                  </a:lnTo>
                  <a:lnTo>
                    <a:pt x="154" y="38"/>
                  </a:lnTo>
                  <a:lnTo>
                    <a:pt x="162" y="24"/>
                  </a:lnTo>
                  <a:lnTo>
                    <a:pt x="175" y="8"/>
                  </a:lnTo>
                  <a:lnTo>
                    <a:pt x="184" y="3"/>
                  </a:lnTo>
                  <a:lnTo>
                    <a:pt x="195" y="0"/>
                  </a:lnTo>
                  <a:lnTo>
                    <a:pt x="192" y="11"/>
                  </a:lnTo>
                  <a:lnTo>
                    <a:pt x="194" y="22"/>
                  </a:lnTo>
                  <a:lnTo>
                    <a:pt x="203" y="29"/>
                  </a:lnTo>
                  <a:lnTo>
                    <a:pt x="220" y="35"/>
                  </a:lnTo>
                  <a:lnTo>
                    <a:pt x="231" y="35"/>
                  </a:lnTo>
                  <a:lnTo>
                    <a:pt x="246" y="42"/>
                  </a:lnTo>
                  <a:lnTo>
                    <a:pt x="258" y="50"/>
                  </a:lnTo>
                  <a:lnTo>
                    <a:pt x="268" y="62"/>
                  </a:lnTo>
                  <a:lnTo>
                    <a:pt x="277" y="72"/>
                  </a:lnTo>
                  <a:lnTo>
                    <a:pt x="278" y="82"/>
                  </a:lnTo>
                  <a:lnTo>
                    <a:pt x="281" y="99"/>
                  </a:lnTo>
                  <a:lnTo>
                    <a:pt x="290" y="111"/>
                  </a:lnTo>
                  <a:lnTo>
                    <a:pt x="296" y="125"/>
                  </a:lnTo>
                  <a:lnTo>
                    <a:pt x="303" y="136"/>
                  </a:lnTo>
                  <a:lnTo>
                    <a:pt x="312" y="152"/>
                  </a:lnTo>
                  <a:lnTo>
                    <a:pt x="322" y="167"/>
                  </a:lnTo>
                  <a:lnTo>
                    <a:pt x="326" y="182"/>
                  </a:lnTo>
                  <a:lnTo>
                    <a:pt x="336" y="191"/>
                  </a:lnTo>
                  <a:lnTo>
                    <a:pt x="341" y="200"/>
                  </a:lnTo>
                  <a:lnTo>
                    <a:pt x="352" y="206"/>
                  </a:lnTo>
                  <a:lnTo>
                    <a:pt x="365" y="212"/>
                  </a:lnTo>
                  <a:lnTo>
                    <a:pt x="375" y="224"/>
                  </a:lnTo>
                  <a:lnTo>
                    <a:pt x="383" y="231"/>
                  </a:lnTo>
                  <a:lnTo>
                    <a:pt x="389" y="241"/>
                  </a:lnTo>
                  <a:lnTo>
                    <a:pt x="391" y="252"/>
                  </a:lnTo>
                  <a:lnTo>
                    <a:pt x="383" y="256"/>
                  </a:lnTo>
                  <a:lnTo>
                    <a:pt x="375" y="252"/>
                  </a:lnTo>
                  <a:lnTo>
                    <a:pt x="366" y="253"/>
                  </a:lnTo>
                  <a:lnTo>
                    <a:pt x="365" y="257"/>
                  </a:lnTo>
                  <a:lnTo>
                    <a:pt x="354" y="258"/>
                  </a:lnTo>
                  <a:lnTo>
                    <a:pt x="344" y="264"/>
                  </a:lnTo>
                  <a:lnTo>
                    <a:pt x="339" y="271"/>
                  </a:lnTo>
                  <a:lnTo>
                    <a:pt x="341" y="285"/>
                  </a:lnTo>
                  <a:lnTo>
                    <a:pt x="344" y="299"/>
                  </a:lnTo>
                  <a:lnTo>
                    <a:pt x="342" y="311"/>
                  </a:lnTo>
                  <a:lnTo>
                    <a:pt x="339" y="319"/>
                  </a:lnTo>
                  <a:lnTo>
                    <a:pt x="336" y="329"/>
                  </a:lnTo>
                  <a:lnTo>
                    <a:pt x="332" y="334"/>
                  </a:lnTo>
                  <a:lnTo>
                    <a:pt x="321" y="344"/>
                  </a:lnTo>
                  <a:lnTo>
                    <a:pt x="313" y="346"/>
                  </a:lnTo>
                  <a:lnTo>
                    <a:pt x="303" y="346"/>
                  </a:lnTo>
                  <a:lnTo>
                    <a:pt x="294" y="341"/>
                  </a:lnTo>
                  <a:lnTo>
                    <a:pt x="276" y="330"/>
                  </a:lnTo>
                  <a:lnTo>
                    <a:pt x="264" y="328"/>
                  </a:lnTo>
                  <a:lnTo>
                    <a:pt x="250" y="328"/>
                  </a:lnTo>
                  <a:lnTo>
                    <a:pt x="241" y="321"/>
                  </a:lnTo>
                  <a:lnTo>
                    <a:pt x="234" y="312"/>
                  </a:lnTo>
                  <a:lnTo>
                    <a:pt x="220" y="316"/>
                  </a:lnTo>
                  <a:lnTo>
                    <a:pt x="211" y="316"/>
                  </a:lnTo>
                  <a:lnTo>
                    <a:pt x="202" y="309"/>
                  </a:lnTo>
                  <a:lnTo>
                    <a:pt x="186" y="299"/>
                  </a:lnTo>
                  <a:lnTo>
                    <a:pt x="179" y="290"/>
                  </a:lnTo>
                  <a:lnTo>
                    <a:pt x="178" y="280"/>
                  </a:lnTo>
                  <a:lnTo>
                    <a:pt x="171" y="277"/>
                  </a:lnTo>
                  <a:lnTo>
                    <a:pt x="161" y="274"/>
                  </a:lnTo>
                  <a:lnTo>
                    <a:pt x="160" y="262"/>
                  </a:lnTo>
                  <a:lnTo>
                    <a:pt x="163" y="246"/>
                  </a:lnTo>
                  <a:lnTo>
                    <a:pt x="169" y="229"/>
                  </a:lnTo>
                  <a:lnTo>
                    <a:pt x="171" y="213"/>
                  </a:lnTo>
                  <a:lnTo>
                    <a:pt x="184" y="208"/>
                  </a:lnTo>
                  <a:lnTo>
                    <a:pt x="190" y="213"/>
                  </a:lnTo>
                  <a:lnTo>
                    <a:pt x="199" y="208"/>
                  </a:lnTo>
                  <a:lnTo>
                    <a:pt x="209" y="192"/>
                  </a:lnTo>
                  <a:lnTo>
                    <a:pt x="213" y="183"/>
                  </a:lnTo>
                  <a:lnTo>
                    <a:pt x="211" y="169"/>
                  </a:lnTo>
                  <a:lnTo>
                    <a:pt x="205" y="164"/>
                  </a:lnTo>
                  <a:lnTo>
                    <a:pt x="201" y="170"/>
                  </a:lnTo>
                  <a:lnTo>
                    <a:pt x="197" y="180"/>
                  </a:lnTo>
                  <a:lnTo>
                    <a:pt x="192" y="183"/>
                  </a:lnTo>
                  <a:lnTo>
                    <a:pt x="187" y="179"/>
                  </a:lnTo>
                  <a:lnTo>
                    <a:pt x="178" y="187"/>
                  </a:lnTo>
                  <a:lnTo>
                    <a:pt x="169" y="195"/>
                  </a:lnTo>
                  <a:lnTo>
                    <a:pt x="159" y="198"/>
                  </a:lnTo>
                  <a:lnTo>
                    <a:pt x="146" y="185"/>
                  </a:lnTo>
                  <a:lnTo>
                    <a:pt x="133" y="174"/>
                  </a:lnTo>
                  <a:lnTo>
                    <a:pt x="121" y="159"/>
                  </a:lnTo>
                  <a:lnTo>
                    <a:pt x="115" y="153"/>
                  </a:lnTo>
                  <a:lnTo>
                    <a:pt x="111" y="143"/>
                  </a:lnTo>
                  <a:lnTo>
                    <a:pt x="117" y="140"/>
                  </a:lnTo>
                  <a:lnTo>
                    <a:pt x="122" y="138"/>
                  </a:lnTo>
                  <a:lnTo>
                    <a:pt x="125" y="134"/>
                  </a:lnTo>
                  <a:lnTo>
                    <a:pt x="125" y="127"/>
                  </a:lnTo>
                  <a:lnTo>
                    <a:pt x="117" y="116"/>
                  </a:lnTo>
                  <a:lnTo>
                    <a:pt x="101" y="108"/>
                  </a:lnTo>
                  <a:lnTo>
                    <a:pt x="74" y="105"/>
                  </a:lnTo>
                  <a:lnTo>
                    <a:pt x="48" y="93"/>
                  </a:lnTo>
                  <a:lnTo>
                    <a:pt x="36" y="80"/>
                  </a:lnTo>
                  <a:lnTo>
                    <a:pt x="22" y="67"/>
                  </a:lnTo>
                  <a:lnTo>
                    <a:pt x="12" y="59"/>
                  </a:lnTo>
                  <a:lnTo>
                    <a:pt x="0" y="63"/>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5" name="Freeform 25"/>
            <p:cNvSpPr>
              <a:spLocks/>
            </p:cNvSpPr>
            <p:nvPr/>
          </p:nvSpPr>
          <p:spPr bwMode="auto">
            <a:xfrm>
              <a:off x="5600700" y="3103563"/>
              <a:ext cx="693738" cy="474662"/>
            </a:xfrm>
            <a:custGeom>
              <a:avLst/>
              <a:gdLst>
                <a:gd name="T0" fmla="*/ 24 w 475"/>
                <a:gd name="T1" fmla="*/ 153 h 325"/>
                <a:gd name="T2" fmla="*/ 37 w 475"/>
                <a:gd name="T3" fmla="*/ 123 h 325"/>
                <a:gd name="T4" fmla="*/ 69 w 475"/>
                <a:gd name="T5" fmla="*/ 77 h 325"/>
                <a:gd name="T6" fmla="*/ 107 w 475"/>
                <a:gd name="T7" fmla="*/ 51 h 325"/>
                <a:gd name="T8" fmla="*/ 133 w 475"/>
                <a:gd name="T9" fmla="*/ 35 h 325"/>
                <a:gd name="T10" fmla="*/ 158 w 475"/>
                <a:gd name="T11" fmla="*/ 7 h 325"/>
                <a:gd name="T12" fmla="*/ 179 w 475"/>
                <a:gd name="T13" fmla="*/ 21 h 325"/>
                <a:gd name="T14" fmla="*/ 194 w 475"/>
                <a:gd name="T15" fmla="*/ 13 h 325"/>
                <a:gd name="T16" fmla="*/ 233 w 475"/>
                <a:gd name="T17" fmla="*/ 16 h 325"/>
                <a:gd name="T18" fmla="*/ 243 w 475"/>
                <a:gd name="T19" fmla="*/ 42 h 325"/>
                <a:gd name="T20" fmla="*/ 255 w 475"/>
                <a:gd name="T21" fmla="*/ 77 h 325"/>
                <a:gd name="T22" fmla="*/ 292 w 475"/>
                <a:gd name="T23" fmla="*/ 76 h 325"/>
                <a:gd name="T24" fmla="*/ 312 w 475"/>
                <a:gd name="T25" fmla="*/ 54 h 325"/>
                <a:gd name="T26" fmla="*/ 343 w 475"/>
                <a:gd name="T27" fmla="*/ 21 h 325"/>
                <a:gd name="T28" fmla="*/ 379 w 475"/>
                <a:gd name="T29" fmla="*/ 24 h 325"/>
                <a:gd name="T30" fmla="*/ 420 w 475"/>
                <a:gd name="T31" fmla="*/ 31 h 325"/>
                <a:gd name="T32" fmla="*/ 451 w 475"/>
                <a:gd name="T33" fmla="*/ 31 h 325"/>
                <a:gd name="T34" fmla="*/ 474 w 475"/>
                <a:gd name="T35" fmla="*/ 45 h 325"/>
                <a:gd name="T36" fmla="*/ 469 w 475"/>
                <a:gd name="T37" fmla="*/ 71 h 325"/>
                <a:gd name="T38" fmla="*/ 450 w 475"/>
                <a:gd name="T39" fmla="*/ 70 h 325"/>
                <a:gd name="T40" fmla="*/ 422 w 475"/>
                <a:gd name="T41" fmla="*/ 87 h 325"/>
                <a:gd name="T42" fmla="*/ 385 w 475"/>
                <a:gd name="T43" fmla="*/ 101 h 325"/>
                <a:gd name="T44" fmla="*/ 364 w 475"/>
                <a:gd name="T45" fmla="*/ 129 h 325"/>
                <a:gd name="T46" fmla="*/ 344 w 475"/>
                <a:gd name="T47" fmla="*/ 158 h 325"/>
                <a:gd name="T48" fmla="*/ 335 w 475"/>
                <a:gd name="T49" fmla="*/ 138 h 325"/>
                <a:gd name="T50" fmla="*/ 325 w 475"/>
                <a:gd name="T51" fmla="*/ 157 h 325"/>
                <a:gd name="T52" fmla="*/ 341 w 475"/>
                <a:gd name="T53" fmla="*/ 175 h 325"/>
                <a:gd name="T54" fmla="*/ 310 w 475"/>
                <a:gd name="T55" fmla="*/ 197 h 325"/>
                <a:gd name="T56" fmla="*/ 287 w 475"/>
                <a:gd name="T57" fmla="*/ 226 h 325"/>
                <a:gd name="T58" fmla="*/ 276 w 475"/>
                <a:gd name="T59" fmla="*/ 253 h 325"/>
                <a:gd name="T60" fmla="*/ 246 w 475"/>
                <a:gd name="T61" fmla="*/ 288 h 325"/>
                <a:gd name="T62" fmla="*/ 223 w 475"/>
                <a:gd name="T63" fmla="*/ 308 h 325"/>
                <a:gd name="T64" fmla="*/ 190 w 475"/>
                <a:gd name="T65" fmla="*/ 304 h 325"/>
                <a:gd name="T66" fmla="*/ 150 w 475"/>
                <a:gd name="T67" fmla="*/ 310 h 325"/>
                <a:gd name="T68" fmla="*/ 109 w 475"/>
                <a:gd name="T69" fmla="*/ 275 h 325"/>
                <a:gd name="T70" fmla="*/ 92 w 475"/>
                <a:gd name="T71" fmla="*/ 313 h 325"/>
                <a:gd name="T72" fmla="*/ 53 w 475"/>
                <a:gd name="T73" fmla="*/ 317 h 325"/>
                <a:gd name="T74" fmla="*/ 17 w 475"/>
                <a:gd name="T75" fmla="*/ 283 h 325"/>
                <a:gd name="T76" fmla="*/ 9 w 475"/>
                <a:gd name="T77" fmla="*/ 252 h 325"/>
                <a:gd name="T78" fmla="*/ 51 w 475"/>
                <a:gd name="T79" fmla="*/ 216 h 325"/>
                <a:gd name="T80" fmla="*/ 61 w 475"/>
                <a:gd name="T81" fmla="*/ 189 h 325"/>
                <a:gd name="T82" fmla="*/ 23 w 475"/>
                <a:gd name="T83" fmla="*/ 216 h 325"/>
                <a:gd name="T84" fmla="*/ 17 w 475"/>
                <a:gd name="T85" fmla="*/ 18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5" h="325">
                  <a:moveTo>
                    <a:pt x="17" y="181"/>
                  </a:moveTo>
                  <a:lnTo>
                    <a:pt x="19" y="168"/>
                  </a:lnTo>
                  <a:lnTo>
                    <a:pt x="24" y="153"/>
                  </a:lnTo>
                  <a:lnTo>
                    <a:pt x="30" y="147"/>
                  </a:lnTo>
                  <a:lnTo>
                    <a:pt x="34" y="133"/>
                  </a:lnTo>
                  <a:lnTo>
                    <a:pt x="37" y="123"/>
                  </a:lnTo>
                  <a:lnTo>
                    <a:pt x="42" y="104"/>
                  </a:lnTo>
                  <a:lnTo>
                    <a:pt x="45" y="92"/>
                  </a:lnTo>
                  <a:lnTo>
                    <a:pt x="69" y="77"/>
                  </a:lnTo>
                  <a:lnTo>
                    <a:pt x="86" y="65"/>
                  </a:lnTo>
                  <a:lnTo>
                    <a:pt x="98" y="60"/>
                  </a:lnTo>
                  <a:lnTo>
                    <a:pt x="107" y="51"/>
                  </a:lnTo>
                  <a:lnTo>
                    <a:pt x="112" y="36"/>
                  </a:lnTo>
                  <a:lnTo>
                    <a:pt x="120" y="34"/>
                  </a:lnTo>
                  <a:lnTo>
                    <a:pt x="133" y="35"/>
                  </a:lnTo>
                  <a:lnTo>
                    <a:pt x="145" y="27"/>
                  </a:lnTo>
                  <a:lnTo>
                    <a:pt x="150" y="18"/>
                  </a:lnTo>
                  <a:lnTo>
                    <a:pt x="158" y="7"/>
                  </a:lnTo>
                  <a:lnTo>
                    <a:pt x="163" y="0"/>
                  </a:lnTo>
                  <a:lnTo>
                    <a:pt x="171" y="11"/>
                  </a:lnTo>
                  <a:lnTo>
                    <a:pt x="179" y="21"/>
                  </a:lnTo>
                  <a:lnTo>
                    <a:pt x="186" y="26"/>
                  </a:lnTo>
                  <a:lnTo>
                    <a:pt x="190" y="18"/>
                  </a:lnTo>
                  <a:lnTo>
                    <a:pt x="194" y="13"/>
                  </a:lnTo>
                  <a:lnTo>
                    <a:pt x="207" y="15"/>
                  </a:lnTo>
                  <a:lnTo>
                    <a:pt x="220" y="14"/>
                  </a:lnTo>
                  <a:lnTo>
                    <a:pt x="233" y="16"/>
                  </a:lnTo>
                  <a:lnTo>
                    <a:pt x="240" y="24"/>
                  </a:lnTo>
                  <a:lnTo>
                    <a:pt x="244" y="32"/>
                  </a:lnTo>
                  <a:lnTo>
                    <a:pt x="243" y="42"/>
                  </a:lnTo>
                  <a:lnTo>
                    <a:pt x="239" y="54"/>
                  </a:lnTo>
                  <a:lnTo>
                    <a:pt x="245" y="67"/>
                  </a:lnTo>
                  <a:lnTo>
                    <a:pt x="255" y="77"/>
                  </a:lnTo>
                  <a:lnTo>
                    <a:pt x="269" y="80"/>
                  </a:lnTo>
                  <a:lnTo>
                    <a:pt x="279" y="80"/>
                  </a:lnTo>
                  <a:lnTo>
                    <a:pt x="292" y="76"/>
                  </a:lnTo>
                  <a:lnTo>
                    <a:pt x="299" y="70"/>
                  </a:lnTo>
                  <a:lnTo>
                    <a:pt x="299" y="60"/>
                  </a:lnTo>
                  <a:lnTo>
                    <a:pt x="312" y="54"/>
                  </a:lnTo>
                  <a:lnTo>
                    <a:pt x="323" y="43"/>
                  </a:lnTo>
                  <a:lnTo>
                    <a:pt x="333" y="30"/>
                  </a:lnTo>
                  <a:lnTo>
                    <a:pt x="343" y="21"/>
                  </a:lnTo>
                  <a:lnTo>
                    <a:pt x="356" y="16"/>
                  </a:lnTo>
                  <a:lnTo>
                    <a:pt x="371" y="18"/>
                  </a:lnTo>
                  <a:lnTo>
                    <a:pt x="379" y="24"/>
                  </a:lnTo>
                  <a:lnTo>
                    <a:pt x="395" y="36"/>
                  </a:lnTo>
                  <a:lnTo>
                    <a:pt x="410" y="34"/>
                  </a:lnTo>
                  <a:lnTo>
                    <a:pt x="420" y="31"/>
                  </a:lnTo>
                  <a:lnTo>
                    <a:pt x="434" y="31"/>
                  </a:lnTo>
                  <a:lnTo>
                    <a:pt x="443" y="26"/>
                  </a:lnTo>
                  <a:lnTo>
                    <a:pt x="451" y="31"/>
                  </a:lnTo>
                  <a:lnTo>
                    <a:pt x="465" y="31"/>
                  </a:lnTo>
                  <a:lnTo>
                    <a:pt x="472" y="35"/>
                  </a:lnTo>
                  <a:lnTo>
                    <a:pt x="474" y="45"/>
                  </a:lnTo>
                  <a:lnTo>
                    <a:pt x="466" y="51"/>
                  </a:lnTo>
                  <a:lnTo>
                    <a:pt x="468" y="60"/>
                  </a:lnTo>
                  <a:lnTo>
                    <a:pt x="469" y="71"/>
                  </a:lnTo>
                  <a:lnTo>
                    <a:pt x="465" y="85"/>
                  </a:lnTo>
                  <a:lnTo>
                    <a:pt x="450" y="80"/>
                  </a:lnTo>
                  <a:lnTo>
                    <a:pt x="450" y="70"/>
                  </a:lnTo>
                  <a:lnTo>
                    <a:pt x="439" y="73"/>
                  </a:lnTo>
                  <a:lnTo>
                    <a:pt x="426" y="80"/>
                  </a:lnTo>
                  <a:lnTo>
                    <a:pt x="422" y="87"/>
                  </a:lnTo>
                  <a:lnTo>
                    <a:pt x="406" y="93"/>
                  </a:lnTo>
                  <a:lnTo>
                    <a:pt x="393" y="95"/>
                  </a:lnTo>
                  <a:lnTo>
                    <a:pt x="385" y="101"/>
                  </a:lnTo>
                  <a:lnTo>
                    <a:pt x="375" y="111"/>
                  </a:lnTo>
                  <a:lnTo>
                    <a:pt x="366" y="118"/>
                  </a:lnTo>
                  <a:lnTo>
                    <a:pt x="364" y="129"/>
                  </a:lnTo>
                  <a:lnTo>
                    <a:pt x="364" y="138"/>
                  </a:lnTo>
                  <a:lnTo>
                    <a:pt x="355" y="151"/>
                  </a:lnTo>
                  <a:lnTo>
                    <a:pt x="344" y="158"/>
                  </a:lnTo>
                  <a:lnTo>
                    <a:pt x="342" y="152"/>
                  </a:lnTo>
                  <a:lnTo>
                    <a:pt x="341" y="142"/>
                  </a:lnTo>
                  <a:lnTo>
                    <a:pt x="335" y="138"/>
                  </a:lnTo>
                  <a:lnTo>
                    <a:pt x="325" y="144"/>
                  </a:lnTo>
                  <a:lnTo>
                    <a:pt x="325" y="152"/>
                  </a:lnTo>
                  <a:lnTo>
                    <a:pt x="325" y="157"/>
                  </a:lnTo>
                  <a:lnTo>
                    <a:pt x="335" y="162"/>
                  </a:lnTo>
                  <a:lnTo>
                    <a:pt x="341" y="166"/>
                  </a:lnTo>
                  <a:lnTo>
                    <a:pt x="341" y="175"/>
                  </a:lnTo>
                  <a:lnTo>
                    <a:pt x="330" y="181"/>
                  </a:lnTo>
                  <a:lnTo>
                    <a:pt x="323" y="188"/>
                  </a:lnTo>
                  <a:lnTo>
                    <a:pt x="310" y="197"/>
                  </a:lnTo>
                  <a:lnTo>
                    <a:pt x="305" y="206"/>
                  </a:lnTo>
                  <a:lnTo>
                    <a:pt x="297" y="217"/>
                  </a:lnTo>
                  <a:lnTo>
                    <a:pt x="287" y="226"/>
                  </a:lnTo>
                  <a:lnTo>
                    <a:pt x="284" y="237"/>
                  </a:lnTo>
                  <a:lnTo>
                    <a:pt x="287" y="250"/>
                  </a:lnTo>
                  <a:lnTo>
                    <a:pt x="276" y="253"/>
                  </a:lnTo>
                  <a:lnTo>
                    <a:pt x="267" y="258"/>
                  </a:lnTo>
                  <a:lnTo>
                    <a:pt x="254" y="274"/>
                  </a:lnTo>
                  <a:lnTo>
                    <a:pt x="246" y="288"/>
                  </a:lnTo>
                  <a:lnTo>
                    <a:pt x="238" y="296"/>
                  </a:lnTo>
                  <a:lnTo>
                    <a:pt x="230" y="299"/>
                  </a:lnTo>
                  <a:lnTo>
                    <a:pt x="223" y="308"/>
                  </a:lnTo>
                  <a:lnTo>
                    <a:pt x="212" y="305"/>
                  </a:lnTo>
                  <a:lnTo>
                    <a:pt x="204" y="299"/>
                  </a:lnTo>
                  <a:lnTo>
                    <a:pt x="190" y="304"/>
                  </a:lnTo>
                  <a:lnTo>
                    <a:pt x="180" y="315"/>
                  </a:lnTo>
                  <a:lnTo>
                    <a:pt x="167" y="324"/>
                  </a:lnTo>
                  <a:lnTo>
                    <a:pt x="150" y="310"/>
                  </a:lnTo>
                  <a:lnTo>
                    <a:pt x="135" y="294"/>
                  </a:lnTo>
                  <a:lnTo>
                    <a:pt x="123" y="282"/>
                  </a:lnTo>
                  <a:lnTo>
                    <a:pt x="109" y="275"/>
                  </a:lnTo>
                  <a:lnTo>
                    <a:pt x="101" y="293"/>
                  </a:lnTo>
                  <a:lnTo>
                    <a:pt x="102" y="306"/>
                  </a:lnTo>
                  <a:lnTo>
                    <a:pt x="92" y="313"/>
                  </a:lnTo>
                  <a:lnTo>
                    <a:pt x="88" y="318"/>
                  </a:lnTo>
                  <a:lnTo>
                    <a:pt x="70" y="317"/>
                  </a:lnTo>
                  <a:lnTo>
                    <a:pt x="53" y="317"/>
                  </a:lnTo>
                  <a:lnTo>
                    <a:pt x="41" y="307"/>
                  </a:lnTo>
                  <a:lnTo>
                    <a:pt x="27" y="288"/>
                  </a:lnTo>
                  <a:lnTo>
                    <a:pt x="17" y="283"/>
                  </a:lnTo>
                  <a:lnTo>
                    <a:pt x="0" y="290"/>
                  </a:lnTo>
                  <a:lnTo>
                    <a:pt x="1" y="270"/>
                  </a:lnTo>
                  <a:lnTo>
                    <a:pt x="9" y="252"/>
                  </a:lnTo>
                  <a:lnTo>
                    <a:pt x="25" y="240"/>
                  </a:lnTo>
                  <a:lnTo>
                    <a:pt x="37" y="228"/>
                  </a:lnTo>
                  <a:lnTo>
                    <a:pt x="51" y="216"/>
                  </a:lnTo>
                  <a:lnTo>
                    <a:pt x="62" y="205"/>
                  </a:lnTo>
                  <a:lnTo>
                    <a:pt x="64" y="195"/>
                  </a:lnTo>
                  <a:lnTo>
                    <a:pt x="61" y="189"/>
                  </a:lnTo>
                  <a:lnTo>
                    <a:pt x="46" y="193"/>
                  </a:lnTo>
                  <a:lnTo>
                    <a:pt x="30" y="204"/>
                  </a:lnTo>
                  <a:lnTo>
                    <a:pt x="23" y="216"/>
                  </a:lnTo>
                  <a:lnTo>
                    <a:pt x="22" y="200"/>
                  </a:lnTo>
                  <a:lnTo>
                    <a:pt x="19" y="188"/>
                  </a:lnTo>
                  <a:lnTo>
                    <a:pt x="17" y="181"/>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6" name="Freeform 26"/>
            <p:cNvSpPr>
              <a:spLocks/>
            </p:cNvSpPr>
            <p:nvPr/>
          </p:nvSpPr>
          <p:spPr bwMode="auto">
            <a:xfrm>
              <a:off x="5618163" y="3556000"/>
              <a:ext cx="482600" cy="636588"/>
            </a:xfrm>
            <a:custGeom>
              <a:avLst/>
              <a:gdLst>
                <a:gd name="T0" fmla="*/ 102 w 331"/>
                <a:gd name="T1" fmla="*/ 8 h 437"/>
                <a:gd name="T2" fmla="*/ 154 w 331"/>
                <a:gd name="T3" fmla="*/ 46 h 437"/>
                <a:gd name="T4" fmla="*/ 205 w 331"/>
                <a:gd name="T5" fmla="*/ 68 h 437"/>
                <a:gd name="T6" fmla="*/ 197 w 331"/>
                <a:gd name="T7" fmla="*/ 81 h 437"/>
                <a:gd name="T8" fmla="*/ 201 w 331"/>
                <a:gd name="T9" fmla="*/ 100 h 437"/>
                <a:gd name="T10" fmla="*/ 239 w 331"/>
                <a:gd name="T11" fmla="*/ 139 h 437"/>
                <a:gd name="T12" fmla="*/ 267 w 331"/>
                <a:gd name="T13" fmla="*/ 120 h 437"/>
                <a:gd name="T14" fmla="*/ 281 w 331"/>
                <a:gd name="T15" fmla="*/ 111 h 437"/>
                <a:gd name="T16" fmla="*/ 293 w 331"/>
                <a:gd name="T17" fmla="*/ 124 h 437"/>
                <a:gd name="T18" fmla="*/ 270 w 331"/>
                <a:gd name="T19" fmla="*/ 154 h 437"/>
                <a:gd name="T20" fmla="*/ 249 w 331"/>
                <a:gd name="T21" fmla="*/ 170 h 437"/>
                <a:gd name="T22" fmla="*/ 241 w 331"/>
                <a:gd name="T23" fmla="*/ 215 h 437"/>
                <a:gd name="T24" fmla="*/ 259 w 331"/>
                <a:gd name="T25" fmla="*/ 231 h 437"/>
                <a:gd name="T26" fmla="*/ 291 w 331"/>
                <a:gd name="T27" fmla="*/ 257 h 437"/>
                <a:gd name="T28" fmla="*/ 321 w 331"/>
                <a:gd name="T29" fmla="*/ 262 h 437"/>
                <a:gd name="T30" fmla="*/ 326 w 331"/>
                <a:gd name="T31" fmla="*/ 291 h 437"/>
                <a:gd name="T32" fmla="*/ 307 w 331"/>
                <a:gd name="T33" fmla="*/ 313 h 437"/>
                <a:gd name="T34" fmla="*/ 325 w 331"/>
                <a:gd name="T35" fmla="*/ 332 h 437"/>
                <a:gd name="T36" fmla="*/ 298 w 331"/>
                <a:gd name="T37" fmla="*/ 338 h 437"/>
                <a:gd name="T38" fmla="*/ 285 w 331"/>
                <a:gd name="T39" fmla="*/ 379 h 437"/>
                <a:gd name="T40" fmla="*/ 257 w 331"/>
                <a:gd name="T41" fmla="*/ 412 h 437"/>
                <a:gd name="T42" fmla="*/ 240 w 331"/>
                <a:gd name="T43" fmla="*/ 425 h 437"/>
                <a:gd name="T44" fmla="*/ 223 w 331"/>
                <a:gd name="T45" fmla="*/ 414 h 437"/>
                <a:gd name="T46" fmla="*/ 198 w 331"/>
                <a:gd name="T47" fmla="*/ 414 h 437"/>
                <a:gd name="T48" fmla="*/ 190 w 331"/>
                <a:gd name="T49" fmla="*/ 389 h 437"/>
                <a:gd name="T50" fmla="*/ 162 w 331"/>
                <a:gd name="T51" fmla="*/ 407 h 437"/>
                <a:gd name="T52" fmla="*/ 138 w 331"/>
                <a:gd name="T53" fmla="*/ 404 h 437"/>
                <a:gd name="T54" fmla="*/ 144 w 331"/>
                <a:gd name="T55" fmla="*/ 378 h 437"/>
                <a:gd name="T56" fmla="*/ 108 w 331"/>
                <a:gd name="T57" fmla="*/ 396 h 437"/>
                <a:gd name="T58" fmla="*/ 88 w 331"/>
                <a:gd name="T59" fmla="*/ 371 h 437"/>
                <a:gd name="T60" fmla="*/ 76 w 331"/>
                <a:gd name="T61" fmla="*/ 332 h 437"/>
                <a:gd name="T62" fmla="*/ 74 w 331"/>
                <a:gd name="T63" fmla="*/ 296 h 437"/>
                <a:gd name="T64" fmla="*/ 48 w 331"/>
                <a:gd name="T65" fmla="*/ 280 h 437"/>
                <a:gd name="T66" fmla="*/ 42 w 331"/>
                <a:gd name="T67" fmla="*/ 268 h 437"/>
                <a:gd name="T68" fmla="*/ 67 w 331"/>
                <a:gd name="T69" fmla="*/ 244 h 437"/>
                <a:gd name="T70" fmla="*/ 69 w 331"/>
                <a:gd name="T71" fmla="*/ 194 h 437"/>
                <a:gd name="T72" fmla="*/ 26 w 331"/>
                <a:gd name="T73" fmla="*/ 185 h 437"/>
                <a:gd name="T74" fmla="*/ 18 w 331"/>
                <a:gd name="T75" fmla="*/ 154 h 437"/>
                <a:gd name="T76" fmla="*/ 10 w 331"/>
                <a:gd name="T77" fmla="*/ 124 h 437"/>
                <a:gd name="T78" fmla="*/ 28 w 331"/>
                <a:gd name="T79" fmla="*/ 95 h 437"/>
                <a:gd name="T80" fmla="*/ 41 w 331"/>
                <a:gd name="T81" fmla="*/ 64 h 437"/>
                <a:gd name="T82" fmla="*/ 61 w 331"/>
                <a:gd name="T83" fmla="*/ 48 h 437"/>
                <a:gd name="T84" fmla="*/ 94 w 331"/>
                <a:gd name="T85" fmla="*/ 62 h 437"/>
                <a:gd name="T86" fmla="*/ 95 w 331"/>
                <a:gd name="T87" fmla="*/ 32 h 437"/>
                <a:gd name="T88" fmla="*/ 78 w 331"/>
                <a:gd name="T89" fmla="*/ 1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1" h="437">
                  <a:moveTo>
                    <a:pt x="80" y="4"/>
                  </a:moveTo>
                  <a:lnTo>
                    <a:pt x="92" y="0"/>
                  </a:lnTo>
                  <a:lnTo>
                    <a:pt x="102" y="8"/>
                  </a:lnTo>
                  <a:lnTo>
                    <a:pt x="116" y="21"/>
                  </a:lnTo>
                  <a:lnTo>
                    <a:pt x="128" y="34"/>
                  </a:lnTo>
                  <a:lnTo>
                    <a:pt x="154" y="46"/>
                  </a:lnTo>
                  <a:lnTo>
                    <a:pt x="181" y="49"/>
                  </a:lnTo>
                  <a:lnTo>
                    <a:pt x="197" y="57"/>
                  </a:lnTo>
                  <a:lnTo>
                    <a:pt x="205" y="68"/>
                  </a:lnTo>
                  <a:lnTo>
                    <a:pt x="205" y="75"/>
                  </a:lnTo>
                  <a:lnTo>
                    <a:pt x="202" y="79"/>
                  </a:lnTo>
                  <a:lnTo>
                    <a:pt x="197" y="81"/>
                  </a:lnTo>
                  <a:lnTo>
                    <a:pt x="191" y="84"/>
                  </a:lnTo>
                  <a:lnTo>
                    <a:pt x="195" y="94"/>
                  </a:lnTo>
                  <a:lnTo>
                    <a:pt x="201" y="100"/>
                  </a:lnTo>
                  <a:lnTo>
                    <a:pt x="213" y="115"/>
                  </a:lnTo>
                  <a:lnTo>
                    <a:pt x="226" y="126"/>
                  </a:lnTo>
                  <a:lnTo>
                    <a:pt x="239" y="139"/>
                  </a:lnTo>
                  <a:lnTo>
                    <a:pt x="249" y="136"/>
                  </a:lnTo>
                  <a:lnTo>
                    <a:pt x="258" y="128"/>
                  </a:lnTo>
                  <a:lnTo>
                    <a:pt x="267" y="120"/>
                  </a:lnTo>
                  <a:lnTo>
                    <a:pt x="272" y="124"/>
                  </a:lnTo>
                  <a:lnTo>
                    <a:pt x="277" y="121"/>
                  </a:lnTo>
                  <a:lnTo>
                    <a:pt x="281" y="111"/>
                  </a:lnTo>
                  <a:lnTo>
                    <a:pt x="285" y="105"/>
                  </a:lnTo>
                  <a:lnTo>
                    <a:pt x="291" y="110"/>
                  </a:lnTo>
                  <a:lnTo>
                    <a:pt x="293" y="124"/>
                  </a:lnTo>
                  <a:lnTo>
                    <a:pt x="289" y="133"/>
                  </a:lnTo>
                  <a:lnTo>
                    <a:pt x="279" y="149"/>
                  </a:lnTo>
                  <a:lnTo>
                    <a:pt x="270" y="154"/>
                  </a:lnTo>
                  <a:lnTo>
                    <a:pt x="264" y="149"/>
                  </a:lnTo>
                  <a:lnTo>
                    <a:pt x="251" y="154"/>
                  </a:lnTo>
                  <a:lnTo>
                    <a:pt x="249" y="170"/>
                  </a:lnTo>
                  <a:lnTo>
                    <a:pt x="243" y="187"/>
                  </a:lnTo>
                  <a:lnTo>
                    <a:pt x="240" y="203"/>
                  </a:lnTo>
                  <a:lnTo>
                    <a:pt x="241" y="215"/>
                  </a:lnTo>
                  <a:lnTo>
                    <a:pt x="251" y="218"/>
                  </a:lnTo>
                  <a:lnTo>
                    <a:pt x="258" y="221"/>
                  </a:lnTo>
                  <a:lnTo>
                    <a:pt x="259" y="231"/>
                  </a:lnTo>
                  <a:lnTo>
                    <a:pt x="266" y="240"/>
                  </a:lnTo>
                  <a:lnTo>
                    <a:pt x="282" y="250"/>
                  </a:lnTo>
                  <a:lnTo>
                    <a:pt x="291" y="257"/>
                  </a:lnTo>
                  <a:lnTo>
                    <a:pt x="300" y="257"/>
                  </a:lnTo>
                  <a:lnTo>
                    <a:pt x="314" y="253"/>
                  </a:lnTo>
                  <a:lnTo>
                    <a:pt x="321" y="262"/>
                  </a:lnTo>
                  <a:lnTo>
                    <a:pt x="330" y="269"/>
                  </a:lnTo>
                  <a:lnTo>
                    <a:pt x="326" y="283"/>
                  </a:lnTo>
                  <a:lnTo>
                    <a:pt x="326" y="291"/>
                  </a:lnTo>
                  <a:lnTo>
                    <a:pt x="323" y="303"/>
                  </a:lnTo>
                  <a:lnTo>
                    <a:pt x="316" y="304"/>
                  </a:lnTo>
                  <a:lnTo>
                    <a:pt x="307" y="313"/>
                  </a:lnTo>
                  <a:lnTo>
                    <a:pt x="309" y="319"/>
                  </a:lnTo>
                  <a:lnTo>
                    <a:pt x="317" y="327"/>
                  </a:lnTo>
                  <a:lnTo>
                    <a:pt x="325" y="332"/>
                  </a:lnTo>
                  <a:lnTo>
                    <a:pt x="324" y="340"/>
                  </a:lnTo>
                  <a:lnTo>
                    <a:pt x="309" y="339"/>
                  </a:lnTo>
                  <a:lnTo>
                    <a:pt x="298" y="338"/>
                  </a:lnTo>
                  <a:lnTo>
                    <a:pt x="289" y="346"/>
                  </a:lnTo>
                  <a:lnTo>
                    <a:pt x="287" y="365"/>
                  </a:lnTo>
                  <a:lnTo>
                    <a:pt x="285" y="379"/>
                  </a:lnTo>
                  <a:lnTo>
                    <a:pt x="280" y="389"/>
                  </a:lnTo>
                  <a:lnTo>
                    <a:pt x="265" y="396"/>
                  </a:lnTo>
                  <a:lnTo>
                    <a:pt x="257" y="412"/>
                  </a:lnTo>
                  <a:lnTo>
                    <a:pt x="244" y="422"/>
                  </a:lnTo>
                  <a:lnTo>
                    <a:pt x="241" y="436"/>
                  </a:lnTo>
                  <a:lnTo>
                    <a:pt x="240" y="425"/>
                  </a:lnTo>
                  <a:lnTo>
                    <a:pt x="239" y="417"/>
                  </a:lnTo>
                  <a:lnTo>
                    <a:pt x="231" y="415"/>
                  </a:lnTo>
                  <a:lnTo>
                    <a:pt x="223" y="414"/>
                  </a:lnTo>
                  <a:lnTo>
                    <a:pt x="226" y="417"/>
                  </a:lnTo>
                  <a:lnTo>
                    <a:pt x="208" y="416"/>
                  </a:lnTo>
                  <a:lnTo>
                    <a:pt x="198" y="414"/>
                  </a:lnTo>
                  <a:lnTo>
                    <a:pt x="192" y="404"/>
                  </a:lnTo>
                  <a:lnTo>
                    <a:pt x="194" y="394"/>
                  </a:lnTo>
                  <a:lnTo>
                    <a:pt x="190" y="389"/>
                  </a:lnTo>
                  <a:lnTo>
                    <a:pt x="182" y="386"/>
                  </a:lnTo>
                  <a:lnTo>
                    <a:pt x="172" y="396"/>
                  </a:lnTo>
                  <a:lnTo>
                    <a:pt x="162" y="407"/>
                  </a:lnTo>
                  <a:lnTo>
                    <a:pt x="154" y="417"/>
                  </a:lnTo>
                  <a:lnTo>
                    <a:pt x="145" y="415"/>
                  </a:lnTo>
                  <a:lnTo>
                    <a:pt x="138" y="404"/>
                  </a:lnTo>
                  <a:lnTo>
                    <a:pt x="141" y="392"/>
                  </a:lnTo>
                  <a:lnTo>
                    <a:pt x="147" y="389"/>
                  </a:lnTo>
                  <a:lnTo>
                    <a:pt x="144" y="378"/>
                  </a:lnTo>
                  <a:lnTo>
                    <a:pt x="128" y="381"/>
                  </a:lnTo>
                  <a:lnTo>
                    <a:pt x="118" y="390"/>
                  </a:lnTo>
                  <a:lnTo>
                    <a:pt x="108" y="396"/>
                  </a:lnTo>
                  <a:lnTo>
                    <a:pt x="101" y="396"/>
                  </a:lnTo>
                  <a:lnTo>
                    <a:pt x="92" y="381"/>
                  </a:lnTo>
                  <a:lnTo>
                    <a:pt x="88" y="371"/>
                  </a:lnTo>
                  <a:lnTo>
                    <a:pt x="82" y="355"/>
                  </a:lnTo>
                  <a:lnTo>
                    <a:pt x="79" y="345"/>
                  </a:lnTo>
                  <a:lnTo>
                    <a:pt x="76" y="332"/>
                  </a:lnTo>
                  <a:lnTo>
                    <a:pt x="74" y="318"/>
                  </a:lnTo>
                  <a:lnTo>
                    <a:pt x="76" y="305"/>
                  </a:lnTo>
                  <a:lnTo>
                    <a:pt x="74" y="296"/>
                  </a:lnTo>
                  <a:lnTo>
                    <a:pt x="61" y="293"/>
                  </a:lnTo>
                  <a:lnTo>
                    <a:pt x="52" y="287"/>
                  </a:lnTo>
                  <a:lnTo>
                    <a:pt x="48" y="280"/>
                  </a:lnTo>
                  <a:lnTo>
                    <a:pt x="39" y="284"/>
                  </a:lnTo>
                  <a:lnTo>
                    <a:pt x="36" y="280"/>
                  </a:lnTo>
                  <a:lnTo>
                    <a:pt x="42" y="268"/>
                  </a:lnTo>
                  <a:lnTo>
                    <a:pt x="46" y="262"/>
                  </a:lnTo>
                  <a:lnTo>
                    <a:pt x="56" y="253"/>
                  </a:lnTo>
                  <a:lnTo>
                    <a:pt x="67" y="244"/>
                  </a:lnTo>
                  <a:lnTo>
                    <a:pt x="64" y="227"/>
                  </a:lnTo>
                  <a:lnTo>
                    <a:pt x="65" y="208"/>
                  </a:lnTo>
                  <a:lnTo>
                    <a:pt x="69" y="194"/>
                  </a:lnTo>
                  <a:lnTo>
                    <a:pt x="64" y="180"/>
                  </a:lnTo>
                  <a:lnTo>
                    <a:pt x="54" y="180"/>
                  </a:lnTo>
                  <a:lnTo>
                    <a:pt x="26" y="185"/>
                  </a:lnTo>
                  <a:lnTo>
                    <a:pt x="25" y="180"/>
                  </a:lnTo>
                  <a:lnTo>
                    <a:pt x="23" y="169"/>
                  </a:lnTo>
                  <a:lnTo>
                    <a:pt x="18" y="154"/>
                  </a:lnTo>
                  <a:lnTo>
                    <a:pt x="5" y="144"/>
                  </a:lnTo>
                  <a:lnTo>
                    <a:pt x="0" y="131"/>
                  </a:lnTo>
                  <a:lnTo>
                    <a:pt x="10" y="124"/>
                  </a:lnTo>
                  <a:lnTo>
                    <a:pt x="22" y="118"/>
                  </a:lnTo>
                  <a:lnTo>
                    <a:pt x="27" y="113"/>
                  </a:lnTo>
                  <a:lnTo>
                    <a:pt x="28" y="95"/>
                  </a:lnTo>
                  <a:lnTo>
                    <a:pt x="33" y="88"/>
                  </a:lnTo>
                  <a:lnTo>
                    <a:pt x="43" y="80"/>
                  </a:lnTo>
                  <a:lnTo>
                    <a:pt x="41" y="64"/>
                  </a:lnTo>
                  <a:lnTo>
                    <a:pt x="42" y="49"/>
                  </a:lnTo>
                  <a:lnTo>
                    <a:pt x="52" y="41"/>
                  </a:lnTo>
                  <a:lnTo>
                    <a:pt x="61" y="48"/>
                  </a:lnTo>
                  <a:lnTo>
                    <a:pt x="70" y="59"/>
                  </a:lnTo>
                  <a:lnTo>
                    <a:pt x="82" y="68"/>
                  </a:lnTo>
                  <a:lnTo>
                    <a:pt x="94" y="62"/>
                  </a:lnTo>
                  <a:lnTo>
                    <a:pt x="100" y="49"/>
                  </a:lnTo>
                  <a:lnTo>
                    <a:pt x="99" y="38"/>
                  </a:lnTo>
                  <a:lnTo>
                    <a:pt x="95" y="32"/>
                  </a:lnTo>
                  <a:lnTo>
                    <a:pt x="85" y="28"/>
                  </a:lnTo>
                  <a:lnTo>
                    <a:pt x="78" y="21"/>
                  </a:lnTo>
                  <a:lnTo>
                    <a:pt x="78" y="10"/>
                  </a:lnTo>
                  <a:lnTo>
                    <a:pt x="80" y="4"/>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7" name="Freeform 27"/>
            <p:cNvSpPr>
              <a:spLocks/>
            </p:cNvSpPr>
            <p:nvPr/>
          </p:nvSpPr>
          <p:spPr bwMode="auto">
            <a:xfrm>
              <a:off x="6226175" y="3838575"/>
              <a:ext cx="96838" cy="134938"/>
            </a:xfrm>
            <a:custGeom>
              <a:avLst/>
              <a:gdLst>
                <a:gd name="T0" fmla="*/ 0 w 67"/>
                <a:gd name="T1" fmla="*/ 76 h 93"/>
                <a:gd name="T2" fmla="*/ 3 w 67"/>
                <a:gd name="T3" fmla="*/ 66 h 93"/>
                <a:gd name="T4" fmla="*/ 6 w 67"/>
                <a:gd name="T5" fmla="*/ 58 h 93"/>
                <a:gd name="T6" fmla="*/ 8 w 67"/>
                <a:gd name="T7" fmla="*/ 46 h 93"/>
                <a:gd name="T8" fmla="*/ 5 w 67"/>
                <a:gd name="T9" fmla="*/ 32 h 93"/>
                <a:gd name="T10" fmla="*/ 3 w 67"/>
                <a:gd name="T11" fmla="*/ 18 h 93"/>
                <a:gd name="T12" fmla="*/ 8 w 67"/>
                <a:gd name="T13" fmla="*/ 11 h 93"/>
                <a:gd name="T14" fmla="*/ 18 w 67"/>
                <a:gd name="T15" fmla="*/ 5 h 93"/>
                <a:gd name="T16" fmla="*/ 29 w 67"/>
                <a:gd name="T17" fmla="*/ 4 h 93"/>
                <a:gd name="T18" fmla="*/ 30 w 67"/>
                <a:gd name="T19" fmla="*/ 0 h 93"/>
                <a:gd name="T20" fmla="*/ 35 w 67"/>
                <a:gd name="T21" fmla="*/ 8 h 93"/>
                <a:gd name="T22" fmla="*/ 43 w 67"/>
                <a:gd name="T23" fmla="*/ 10 h 93"/>
                <a:gd name="T24" fmla="*/ 50 w 67"/>
                <a:gd name="T25" fmla="*/ 16 h 93"/>
                <a:gd name="T26" fmla="*/ 54 w 67"/>
                <a:gd name="T27" fmla="*/ 20 h 93"/>
                <a:gd name="T28" fmla="*/ 52 w 67"/>
                <a:gd name="T29" fmla="*/ 27 h 93"/>
                <a:gd name="T30" fmla="*/ 44 w 67"/>
                <a:gd name="T31" fmla="*/ 27 h 93"/>
                <a:gd name="T32" fmla="*/ 33 w 67"/>
                <a:gd name="T33" fmla="*/ 23 h 93"/>
                <a:gd name="T34" fmla="*/ 26 w 67"/>
                <a:gd name="T35" fmla="*/ 21 h 93"/>
                <a:gd name="T36" fmla="*/ 28 w 67"/>
                <a:gd name="T37" fmla="*/ 28 h 93"/>
                <a:gd name="T38" fmla="*/ 39 w 67"/>
                <a:gd name="T39" fmla="*/ 35 h 93"/>
                <a:gd name="T40" fmla="*/ 50 w 67"/>
                <a:gd name="T41" fmla="*/ 40 h 93"/>
                <a:gd name="T42" fmla="*/ 57 w 67"/>
                <a:gd name="T43" fmla="*/ 48 h 93"/>
                <a:gd name="T44" fmla="*/ 64 w 67"/>
                <a:gd name="T45" fmla="*/ 59 h 93"/>
                <a:gd name="T46" fmla="*/ 65 w 67"/>
                <a:gd name="T47" fmla="*/ 70 h 93"/>
                <a:gd name="T48" fmla="*/ 66 w 67"/>
                <a:gd name="T49" fmla="*/ 78 h 93"/>
                <a:gd name="T50" fmla="*/ 60 w 67"/>
                <a:gd name="T51" fmla="*/ 82 h 93"/>
                <a:gd name="T52" fmla="*/ 51 w 67"/>
                <a:gd name="T53" fmla="*/ 84 h 93"/>
                <a:gd name="T54" fmla="*/ 41 w 67"/>
                <a:gd name="T55" fmla="*/ 86 h 93"/>
                <a:gd name="T56" fmla="*/ 33 w 67"/>
                <a:gd name="T57" fmla="*/ 91 h 93"/>
                <a:gd name="T58" fmla="*/ 32 w 67"/>
                <a:gd name="T59" fmla="*/ 92 h 93"/>
                <a:gd name="T60" fmla="*/ 24 w 67"/>
                <a:gd name="T61" fmla="*/ 92 h 93"/>
                <a:gd name="T62" fmla="*/ 15 w 67"/>
                <a:gd name="T63" fmla="*/ 89 h 93"/>
                <a:gd name="T64" fmla="*/ 8 w 67"/>
                <a:gd name="T65" fmla="*/ 84 h 93"/>
                <a:gd name="T66" fmla="*/ 0 w 67"/>
                <a:gd name="T67" fmla="*/ 7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 h="93">
                  <a:moveTo>
                    <a:pt x="0" y="76"/>
                  </a:moveTo>
                  <a:lnTo>
                    <a:pt x="3" y="66"/>
                  </a:lnTo>
                  <a:lnTo>
                    <a:pt x="6" y="58"/>
                  </a:lnTo>
                  <a:lnTo>
                    <a:pt x="8" y="46"/>
                  </a:lnTo>
                  <a:lnTo>
                    <a:pt x="5" y="32"/>
                  </a:lnTo>
                  <a:lnTo>
                    <a:pt x="3" y="18"/>
                  </a:lnTo>
                  <a:lnTo>
                    <a:pt x="8" y="11"/>
                  </a:lnTo>
                  <a:lnTo>
                    <a:pt x="18" y="5"/>
                  </a:lnTo>
                  <a:lnTo>
                    <a:pt x="29" y="4"/>
                  </a:lnTo>
                  <a:lnTo>
                    <a:pt x="30" y="0"/>
                  </a:lnTo>
                  <a:lnTo>
                    <a:pt x="35" y="8"/>
                  </a:lnTo>
                  <a:lnTo>
                    <a:pt x="43" y="10"/>
                  </a:lnTo>
                  <a:lnTo>
                    <a:pt x="50" y="16"/>
                  </a:lnTo>
                  <a:lnTo>
                    <a:pt x="54" y="20"/>
                  </a:lnTo>
                  <a:lnTo>
                    <a:pt x="52" y="27"/>
                  </a:lnTo>
                  <a:lnTo>
                    <a:pt x="44" y="27"/>
                  </a:lnTo>
                  <a:lnTo>
                    <a:pt x="33" y="23"/>
                  </a:lnTo>
                  <a:lnTo>
                    <a:pt x="26" y="21"/>
                  </a:lnTo>
                  <a:lnTo>
                    <a:pt x="28" y="28"/>
                  </a:lnTo>
                  <a:lnTo>
                    <a:pt x="39" y="35"/>
                  </a:lnTo>
                  <a:lnTo>
                    <a:pt x="50" y="40"/>
                  </a:lnTo>
                  <a:lnTo>
                    <a:pt x="57" y="48"/>
                  </a:lnTo>
                  <a:lnTo>
                    <a:pt x="64" y="59"/>
                  </a:lnTo>
                  <a:lnTo>
                    <a:pt x="65" y="70"/>
                  </a:lnTo>
                  <a:lnTo>
                    <a:pt x="66" y="78"/>
                  </a:lnTo>
                  <a:lnTo>
                    <a:pt x="60" y="82"/>
                  </a:lnTo>
                  <a:lnTo>
                    <a:pt x="51" y="84"/>
                  </a:lnTo>
                  <a:lnTo>
                    <a:pt x="41" y="86"/>
                  </a:lnTo>
                  <a:lnTo>
                    <a:pt x="33" y="91"/>
                  </a:lnTo>
                  <a:lnTo>
                    <a:pt x="32" y="92"/>
                  </a:lnTo>
                  <a:lnTo>
                    <a:pt x="24" y="92"/>
                  </a:lnTo>
                  <a:lnTo>
                    <a:pt x="15" y="89"/>
                  </a:lnTo>
                  <a:lnTo>
                    <a:pt x="8" y="84"/>
                  </a:lnTo>
                  <a:lnTo>
                    <a:pt x="0" y="76"/>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8" name="Freeform 28"/>
            <p:cNvSpPr>
              <a:spLocks/>
            </p:cNvSpPr>
            <p:nvPr/>
          </p:nvSpPr>
          <p:spPr bwMode="auto">
            <a:xfrm>
              <a:off x="5965825" y="3948113"/>
              <a:ext cx="392113" cy="460375"/>
            </a:xfrm>
            <a:custGeom>
              <a:avLst/>
              <a:gdLst>
                <a:gd name="T0" fmla="*/ 202 w 269"/>
                <a:gd name="T1" fmla="*/ 17 h 316"/>
                <a:gd name="T2" fmla="*/ 186 w 269"/>
                <a:gd name="T3" fmla="*/ 9 h 316"/>
                <a:gd name="T4" fmla="*/ 174 w 269"/>
                <a:gd name="T5" fmla="*/ 6 h 316"/>
                <a:gd name="T6" fmla="*/ 155 w 269"/>
                <a:gd name="T7" fmla="*/ 18 h 316"/>
                <a:gd name="T8" fmla="*/ 136 w 269"/>
                <a:gd name="T9" fmla="*/ 13 h 316"/>
                <a:gd name="T10" fmla="*/ 106 w 269"/>
                <a:gd name="T11" fmla="*/ 0 h 316"/>
                <a:gd name="T12" fmla="*/ 88 w 269"/>
                <a:gd name="T13" fmla="*/ 14 h 316"/>
                <a:gd name="T14" fmla="*/ 85 w 269"/>
                <a:gd name="T15" fmla="*/ 34 h 316"/>
                <a:gd name="T16" fmla="*/ 69 w 269"/>
                <a:gd name="T17" fmla="*/ 44 h 316"/>
                <a:gd name="T18" fmla="*/ 79 w 269"/>
                <a:gd name="T19" fmla="*/ 58 h 316"/>
                <a:gd name="T20" fmla="*/ 86 w 269"/>
                <a:gd name="T21" fmla="*/ 71 h 316"/>
                <a:gd name="T22" fmla="*/ 60 w 269"/>
                <a:gd name="T23" fmla="*/ 69 h 316"/>
                <a:gd name="T24" fmla="*/ 49 w 269"/>
                <a:gd name="T25" fmla="*/ 96 h 316"/>
                <a:gd name="T26" fmla="*/ 42 w 269"/>
                <a:gd name="T27" fmla="*/ 120 h 316"/>
                <a:gd name="T28" fmla="*/ 19 w 269"/>
                <a:gd name="T29" fmla="*/ 143 h 316"/>
                <a:gd name="T30" fmla="*/ 3 w 269"/>
                <a:gd name="T31" fmla="*/ 167 h 316"/>
                <a:gd name="T32" fmla="*/ 7 w 269"/>
                <a:gd name="T33" fmla="*/ 187 h 316"/>
                <a:gd name="T34" fmla="*/ 21 w 269"/>
                <a:gd name="T35" fmla="*/ 200 h 316"/>
                <a:gd name="T36" fmla="*/ 34 w 269"/>
                <a:gd name="T37" fmla="*/ 215 h 316"/>
                <a:gd name="T38" fmla="*/ 29 w 269"/>
                <a:gd name="T39" fmla="*/ 234 h 316"/>
                <a:gd name="T40" fmla="*/ 38 w 269"/>
                <a:gd name="T41" fmla="*/ 241 h 316"/>
                <a:gd name="T42" fmla="*/ 56 w 269"/>
                <a:gd name="T43" fmla="*/ 242 h 316"/>
                <a:gd name="T44" fmla="*/ 60 w 269"/>
                <a:gd name="T45" fmla="*/ 266 h 316"/>
                <a:gd name="T46" fmla="*/ 69 w 269"/>
                <a:gd name="T47" fmla="*/ 289 h 316"/>
                <a:gd name="T48" fmla="*/ 90 w 269"/>
                <a:gd name="T49" fmla="*/ 296 h 316"/>
                <a:gd name="T50" fmla="*/ 111 w 269"/>
                <a:gd name="T51" fmla="*/ 293 h 316"/>
                <a:gd name="T52" fmla="*/ 117 w 269"/>
                <a:gd name="T53" fmla="*/ 277 h 316"/>
                <a:gd name="T54" fmla="*/ 129 w 269"/>
                <a:gd name="T55" fmla="*/ 294 h 316"/>
                <a:gd name="T56" fmla="*/ 150 w 269"/>
                <a:gd name="T57" fmla="*/ 308 h 316"/>
                <a:gd name="T58" fmla="*/ 176 w 269"/>
                <a:gd name="T59" fmla="*/ 307 h 316"/>
                <a:gd name="T60" fmla="*/ 188 w 269"/>
                <a:gd name="T61" fmla="*/ 309 h 316"/>
                <a:gd name="T62" fmla="*/ 191 w 269"/>
                <a:gd name="T63" fmla="*/ 287 h 316"/>
                <a:gd name="T64" fmla="*/ 198 w 269"/>
                <a:gd name="T65" fmla="*/ 271 h 316"/>
                <a:gd name="T66" fmla="*/ 203 w 269"/>
                <a:gd name="T67" fmla="*/ 263 h 316"/>
                <a:gd name="T68" fmla="*/ 193 w 269"/>
                <a:gd name="T69" fmla="*/ 256 h 316"/>
                <a:gd name="T70" fmla="*/ 203 w 269"/>
                <a:gd name="T71" fmla="*/ 246 h 316"/>
                <a:gd name="T72" fmla="*/ 216 w 269"/>
                <a:gd name="T73" fmla="*/ 227 h 316"/>
                <a:gd name="T74" fmla="*/ 226 w 269"/>
                <a:gd name="T75" fmla="*/ 212 h 316"/>
                <a:gd name="T76" fmla="*/ 240 w 269"/>
                <a:gd name="T77" fmla="*/ 226 h 316"/>
                <a:gd name="T78" fmla="*/ 252 w 269"/>
                <a:gd name="T79" fmla="*/ 222 h 316"/>
                <a:gd name="T80" fmla="*/ 249 w 269"/>
                <a:gd name="T81" fmla="*/ 201 h 316"/>
                <a:gd name="T82" fmla="*/ 249 w 269"/>
                <a:gd name="T83" fmla="*/ 174 h 316"/>
                <a:gd name="T84" fmla="*/ 250 w 269"/>
                <a:gd name="T85" fmla="*/ 154 h 316"/>
                <a:gd name="T86" fmla="*/ 245 w 269"/>
                <a:gd name="T87" fmla="*/ 138 h 316"/>
                <a:gd name="T88" fmla="*/ 264 w 269"/>
                <a:gd name="T89" fmla="*/ 120 h 316"/>
                <a:gd name="T90" fmla="*/ 260 w 269"/>
                <a:gd name="T91" fmla="*/ 97 h 316"/>
                <a:gd name="T92" fmla="*/ 261 w 269"/>
                <a:gd name="T93" fmla="*/ 86 h 316"/>
                <a:gd name="T94" fmla="*/ 229 w 269"/>
                <a:gd name="T95" fmla="*/ 73 h 316"/>
                <a:gd name="T96" fmla="*/ 214 w 269"/>
                <a:gd name="T97" fmla="*/ 54 h 316"/>
                <a:gd name="T98" fmla="*/ 194 w 269"/>
                <a:gd name="T99" fmla="*/ 69 h 316"/>
                <a:gd name="T100" fmla="*/ 174 w 269"/>
                <a:gd name="T101" fmla="*/ 78 h 316"/>
                <a:gd name="T102" fmla="*/ 152 w 269"/>
                <a:gd name="T103" fmla="*/ 70 h 316"/>
                <a:gd name="T104" fmla="*/ 163 w 269"/>
                <a:gd name="T105" fmla="*/ 53 h 316"/>
                <a:gd name="T106" fmla="*/ 182 w 269"/>
                <a:gd name="T107" fmla="*/ 45 h 316"/>
                <a:gd name="T108" fmla="*/ 193 w 269"/>
                <a:gd name="T109" fmla="*/ 37 h 316"/>
                <a:gd name="T110" fmla="*/ 210 w 269"/>
                <a:gd name="T111" fmla="*/ 17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9" h="316">
                  <a:moveTo>
                    <a:pt x="210" y="17"/>
                  </a:moveTo>
                  <a:lnTo>
                    <a:pt x="202" y="17"/>
                  </a:lnTo>
                  <a:lnTo>
                    <a:pt x="193" y="14"/>
                  </a:lnTo>
                  <a:lnTo>
                    <a:pt x="186" y="9"/>
                  </a:lnTo>
                  <a:lnTo>
                    <a:pt x="178" y="1"/>
                  </a:lnTo>
                  <a:lnTo>
                    <a:pt x="174" y="6"/>
                  </a:lnTo>
                  <a:lnTo>
                    <a:pt x="163" y="16"/>
                  </a:lnTo>
                  <a:lnTo>
                    <a:pt x="155" y="18"/>
                  </a:lnTo>
                  <a:lnTo>
                    <a:pt x="145" y="18"/>
                  </a:lnTo>
                  <a:lnTo>
                    <a:pt x="136" y="13"/>
                  </a:lnTo>
                  <a:lnTo>
                    <a:pt x="118" y="2"/>
                  </a:lnTo>
                  <a:lnTo>
                    <a:pt x="106" y="0"/>
                  </a:lnTo>
                  <a:lnTo>
                    <a:pt x="92" y="0"/>
                  </a:lnTo>
                  <a:lnTo>
                    <a:pt x="88" y="14"/>
                  </a:lnTo>
                  <a:lnTo>
                    <a:pt x="88" y="22"/>
                  </a:lnTo>
                  <a:lnTo>
                    <a:pt x="85" y="34"/>
                  </a:lnTo>
                  <a:lnTo>
                    <a:pt x="78" y="35"/>
                  </a:lnTo>
                  <a:lnTo>
                    <a:pt x="69" y="44"/>
                  </a:lnTo>
                  <a:lnTo>
                    <a:pt x="71" y="50"/>
                  </a:lnTo>
                  <a:lnTo>
                    <a:pt x="79" y="58"/>
                  </a:lnTo>
                  <a:lnTo>
                    <a:pt x="87" y="63"/>
                  </a:lnTo>
                  <a:lnTo>
                    <a:pt x="86" y="71"/>
                  </a:lnTo>
                  <a:lnTo>
                    <a:pt x="71" y="70"/>
                  </a:lnTo>
                  <a:lnTo>
                    <a:pt x="60" y="69"/>
                  </a:lnTo>
                  <a:lnTo>
                    <a:pt x="51" y="77"/>
                  </a:lnTo>
                  <a:lnTo>
                    <a:pt x="49" y="96"/>
                  </a:lnTo>
                  <a:lnTo>
                    <a:pt x="47" y="110"/>
                  </a:lnTo>
                  <a:lnTo>
                    <a:pt x="42" y="120"/>
                  </a:lnTo>
                  <a:lnTo>
                    <a:pt x="27" y="127"/>
                  </a:lnTo>
                  <a:lnTo>
                    <a:pt x="19" y="143"/>
                  </a:lnTo>
                  <a:lnTo>
                    <a:pt x="6" y="153"/>
                  </a:lnTo>
                  <a:lnTo>
                    <a:pt x="3" y="167"/>
                  </a:lnTo>
                  <a:lnTo>
                    <a:pt x="0" y="179"/>
                  </a:lnTo>
                  <a:lnTo>
                    <a:pt x="7" y="187"/>
                  </a:lnTo>
                  <a:lnTo>
                    <a:pt x="15" y="197"/>
                  </a:lnTo>
                  <a:lnTo>
                    <a:pt x="21" y="200"/>
                  </a:lnTo>
                  <a:lnTo>
                    <a:pt x="26" y="213"/>
                  </a:lnTo>
                  <a:lnTo>
                    <a:pt x="34" y="215"/>
                  </a:lnTo>
                  <a:lnTo>
                    <a:pt x="34" y="222"/>
                  </a:lnTo>
                  <a:lnTo>
                    <a:pt x="29" y="234"/>
                  </a:lnTo>
                  <a:lnTo>
                    <a:pt x="27" y="244"/>
                  </a:lnTo>
                  <a:lnTo>
                    <a:pt x="38" y="241"/>
                  </a:lnTo>
                  <a:lnTo>
                    <a:pt x="49" y="240"/>
                  </a:lnTo>
                  <a:lnTo>
                    <a:pt x="56" y="242"/>
                  </a:lnTo>
                  <a:lnTo>
                    <a:pt x="58" y="251"/>
                  </a:lnTo>
                  <a:lnTo>
                    <a:pt x="60" y="266"/>
                  </a:lnTo>
                  <a:lnTo>
                    <a:pt x="62" y="275"/>
                  </a:lnTo>
                  <a:lnTo>
                    <a:pt x="69" y="289"/>
                  </a:lnTo>
                  <a:lnTo>
                    <a:pt x="78" y="296"/>
                  </a:lnTo>
                  <a:lnTo>
                    <a:pt x="90" y="296"/>
                  </a:lnTo>
                  <a:lnTo>
                    <a:pt x="103" y="300"/>
                  </a:lnTo>
                  <a:lnTo>
                    <a:pt x="111" y="293"/>
                  </a:lnTo>
                  <a:lnTo>
                    <a:pt x="112" y="282"/>
                  </a:lnTo>
                  <a:lnTo>
                    <a:pt x="117" y="277"/>
                  </a:lnTo>
                  <a:lnTo>
                    <a:pt x="124" y="282"/>
                  </a:lnTo>
                  <a:lnTo>
                    <a:pt x="129" y="294"/>
                  </a:lnTo>
                  <a:lnTo>
                    <a:pt x="134" y="304"/>
                  </a:lnTo>
                  <a:lnTo>
                    <a:pt x="150" y="308"/>
                  </a:lnTo>
                  <a:lnTo>
                    <a:pt x="163" y="306"/>
                  </a:lnTo>
                  <a:lnTo>
                    <a:pt x="176" y="307"/>
                  </a:lnTo>
                  <a:lnTo>
                    <a:pt x="181" y="315"/>
                  </a:lnTo>
                  <a:lnTo>
                    <a:pt x="188" y="309"/>
                  </a:lnTo>
                  <a:lnTo>
                    <a:pt x="191" y="298"/>
                  </a:lnTo>
                  <a:lnTo>
                    <a:pt x="191" y="287"/>
                  </a:lnTo>
                  <a:lnTo>
                    <a:pt x="192" y="278"/>
                  </a:lnTo>
                  <a:lnTo>
                    <a:pt x="198" y="271"/>
                  </a:lnTo>
                  <a:lnTo>
                    <a:pt x="202" y="267"/>
                  </a:lnTo>
                  <a:lnTo>
                    <a:pt x="203" y="263"/>
                  </a:lnTo>
                  <a:lnTo>
                    <a:pt x="199" y="258"/>
                  </a:lnTo>
                  <a:lnTo>
                    <a:pt x="193" y="256"/>
                  </a:lnTo>
                  <a:lnTo>
                    <a:pt x="189" y="246"/>
                  </a:lnTo>
                  <a:lnTo>
                    <a:pt x="203" y="246"/>
                  </a:lnTo>
                  <a:lnTo>
                    <a:pt x="211" y="240"/>
                  </a:lnTo>
                  <a:lnTo>
                    <a:pt x="216" y="227"/>
                  </a:lnTo>
                  <a:lnTo>
                    <a:pt x="220" y="216"/>
                  </a:lnTo>
                  <a:lnTo>
                    <a:pt x="226" y="212"/>
                  </a:lnTo>
                  <a:lnTo>
                    <a:pt x="229" y="222"/>
                  </a:lnTo>
                  <a:lnTo>
                    <a:pt x="240" y="226"/>
                  </a:lnTo>
                  <a:lnTo>
                    <a:pt x="243" y="222"/>
                  </a:lnTo>
                  <a:lnTo>
                    <a:pt x="252" y="222"/>
                  </a:lnTo>
                  <a:lnTo>
                    <a:pt x="254" y="210"/>
                  </a:lnTo>
                  <a:lnTo>
                    <a:pt x="249" y="201"/>
                  </a:lnTo>
                  <a:lnTo>
                    <a:pt x="246" y="188"/>
                  </a:lnTo>
                  <a:lnTo>
                    <a:pt x="249" y="174"/>
                  </a:lnTo>
                  <a:lnTo>
                    <a:pt x="254" y="160"/>
                  </a:lnTo>
                  <a:lnTo>
                    <a:pt x="250" y="154"/>
                  </a:lnTo>
                  <a:lnTo>
                    <a:pt x="242" y="148"/>
                  </a:lnTo>
                  <a:lnTo>
                    <a:pt x="245" y="138"/>
                  </a:lnTo>
                  <a:lnTo>
                    <a:pt x="261" y="128"/>
                  </a:lnTo>
                  <a:lnTo>
                    <a:pt x="264" y="120"/>
                  </a:lnTo>
                  <a:lnTo>
                    <a:pt x="257" y="108"/>
                  </a:lnTo>
                  <a:lnTo>
                    <a:pt x="260" y="97"/>
                  </a:lnTo>
                  <a:lnTo>
                    <a:pt x="268" y="89"/>
                  </a:lnTo>
                  <a:lnTo>
                    <a:pt x="261" y="86"/>
                  </a:lnTo>
                  <a:lnTo>
                    <a:pt x="248" y="81"/>
                  </a:lnTo>
                  <a:lnTo>
                    <a:pt x="229" y="73"/>
                  </a:lnTo>
                  <a:lnTo>
                    <a:pt x="222" y="58"/>
                  </a:lnTo>
                  <a:lnTo>
                    <a:pt x="214" y="54"/>
                  </a:lnTo>
                  <a:lnTo>
                    <a:pt x="203" y="61"/>
                  </a:lnTo>
                  <a:lnTo>
                    <a:pt x="194" y="69"/>
                  </a:lnTo>
                  <a:lnTo>
                    <a:pt x="185" y="80"/>
                  </a:lnTo>
                  <a:lnTo>
                    <a:pt x="174" y="78"/>
                  </a:lnTo>
                  <a:lnTo>
                    <a:pt x="164" y="71"/>
                  </a:lnTo>
                  <a:lnTo>
                    <a:pt x="152" y="70"/>
                  </a:lnTo>
                  <a:lnTo>
                    <a:pt x="152" y="57"/>
                  </a:lnTo>
                  <a:lnTo>
                    <a:pt x="163" y="53"/>
                  </a:lnTo>
                  <a:lnTo>
                    <a:pt x="176" y="53"/>
                  </a:lnTo>
                  <a:lnTo>
                    <a:pt x="182" y="45"/>
                  </a:lnTo>
                  <a:lnTo>
                    <a:pt x="186" y="38"/>
                  </a:lnTo>
                  <a:lnTo>
                    <a:pt x="193" y="37"/>
                  </a:lnTo>
                  <a:lnTo>
                    <a:pt x="201" y="32"/>
                  </a:lnTo>
                  <a:lnTo>
                    <a:pt x="210" y="17"/>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79" name="Freeform 29"/>
            <p:cNvSpPr>
              <a:spLocks/>
            </p:cNvSpPr>
            <p:nvPr/>
          </p:nvSpPr>
          <p:spPr bwMode="auto">
            <a:xfrm>
              <a:off x="5524500" y="4106863"/>
              <a:ext cx="492125" cy="673100"/>
            </a:xfrm>
            <a:custGeom>
              <a:avLst/>
              <a:gdLst>
                <a:gd name="T0" fmla="*/ 183 w 338"/>
                <a:gd name="T1" fmla="*/ 12 h 461"/>
                <a:gd name="T2" fmla="*/ 212 w 338"/>
                <a:gd name="T3" fmla="*/ 11 h 461"/>
                <a:gd name="T4" fmla="*/ 210 w 338"/>
                <a:gd name="T5" fmla="*/ 37 h 461"/>
                <a:gd name="T6" fmla="*/ 237 w 338"/>
                <a:gd name="T7" fmla="*/ 18 h 461"/>
                <a:gd name="T8" fmla="*/ 259 w 338"/>
                <a:gd name="T9" fmla="*/ 16 h 461"/>
                <a:gd name="T10" fmla="*/ 273 w 338"/>
                <a:gd name="T11" fmla="*/ 38 h 461"/>
                <a:gd name="T12" fmla="*/ 296 w 338"/>
                <a:gd name="T13" fmla="*/ 37 h 461"/>
                <a:gd name="T14" fmla="*/ 306 w 338"/>
                <a:gd name="T15" fmla="*/ 58 h 461"/>
                <a:gd name="T16" fmla="*/ 318 w 338"/>
                <a:gd name="T17" fmla="*/ 88 h 461"/>
                <a:gd name="T18" fmla="*/ 337 w 338"/>
                <a:gd name="T19" fmla="*/ 106 h 461"/>
                <a:gd name="T20" fmla="*/ 330 w 338"/>
                <a:gd name="T21" fmla="*/ 135 h 461"/>
                <a:gd name="T22" fmla="*/ 322 w 338"/>
                <a:gd name="T23" fmla="*/ 156 h 461"/>
                <a:gd name="T24" fmla="*/ 294 w 338"/>
                <a:gd name="T25" fmla="*/ 173 h 461"/>
                <a:gd name="T26" fmla="*/ 276 w 338"/>
                <a:gd name="T27" fmla="*/ 176 h 461"/>
                <a:gd name="T28" fmla="*/ 248 w 338"/>
                <a:gd name="T29" fmla="*/ 193 h 461"/>
                <a:gd name="T30" fmla="*/ 250 w 338"/>
                <a:gd name="T31" fmla="*/ 219 h 461"/>
                <a:gd name="T32" fmla="*/ 232 w 338"/>
                <a:gd name="T33" fmla="*/ 241 h 461"/>
                <a:gd name="T34" fmla="*/ 214 w 338"/>
                <a:gd name="T35" fmla="*/ 273 h 461"/>
                <a:gd name="T36" fmla="*/ 209 w 338"/>
                <a:gd name="T37" fmla="*/ 309 h 461"/>
                <a:gd name="T38" fmla="*/ 188 w 338"/>
                <a:gd name="T39" fmla="*/ 345 h 461"/>
                <a:gd name="T40" fmla="*/ 177 w 338"/>
                <a:gd name="T41" fmla="*/ 402 h 461"/>
                <a:gd name="T42" fmla="*/ 170 w 338"/>
                <a:gd name="T43" fmla="*/ 432 h 461"/>
                <a:gd name="T44" fmla="*/ 150 w 338"/>
                <a:gd name="T45" fmla="*/ 446 h 461"/>
                <a:gd name="T46" fmla="*/ 103 w 338"/>
                <a:gd name="T47" fmla="*/ 456 h 461"/>
                <a:gd name="T48" fmla="*/ 69 w 338"/>
                <a:gd name="T49" fmla="*/ 460 h 461"/>
                <a:gd name="T50" fmla="*/ 75 w 338"/>
                <a:gd name="T51" fmla="*/ 419 h 461"/>
                <a:gd name="T52" fmla="*/ 70 w 338"/>
                <a:gd name="T53" fmla="*/ 396 h 461"/>
                <a:gd name="T54" fmla="*/ 35 w 338"/>
                <a:gd name="T55" fmla="*/ 394 h 461"/>
                <a:gd name="T56" fmla="*/ 39 w 338"/>
                <a:gd name="T57" fmla="*/ 384 h 461"/>
                <a:gd name="T58" fmla="*/ 37 w 338"/>
                <a:gd name="T59" fmla="*/ 365 h 461"/>
                <a:gd name="T60" fmla="*/ 41 w 338"/>
                <a:gd name="T61" fmla="*/ 343 h 461"/>
                <a:gd name="T62" fmla="*/ 38 w 338"/>
                <a:gd name="T63" fmla="*/ 327 h 461"/>
                <a:gd name="T64" fmla="*/ 33 w 338"/>
                <a:gd name="T65" fmla="*/ 306 h 461"/>
                <a:gd name="T66" fmla="*/ 22 w 338"/>
                <a:gd name="T67" fmla="*/ 293 h 461"/>
                <a:gd name="T68" fmla="*/ 21 w 338"/>
                <a:gd name="T69" fmla="*/ 270 h 461"/>
                <a:gd name="T70" fmla="*/ 21 w 338"/>
                <a:gd name="T71" fmla="*/ 250 h 461"/>
                <a:gd name="T72" fmla="*/ 12 w 338"/>
                <a:gd name="T73" fmla="*/ 237 h 461"/>
                <a:gd name="T74" fmla="*/ 0 w 338"/>
                <a:gd name="T75" fmla="*/ 230 h 461"/>
                <a:gd name="T76" fmla="*/ 4 w 338"/>
                <a:gd name="T77" fmla="*/ 208 h 461"/>
                <a:gd name="T78" fmla="*/ 10 w 338"/>
                <a:gd name="T79" fmla="*/ 184 h 461"/>
                <a:gd name="T80" fmla="*/ 25 w 338"/>
                <a:gd name="T81" fmla="*/ 165 h 461"/>
                <a:gd name="T82" fmla="*/ 41 w 338"/>
                <a:gd name="T83" fmla="*/ 148 h 461"/>
                <a:gd name="T84" fmla="*/ 38 w 338"/>
                <a:gd name="T85" fmla="*/ 129 h 461"/>
                <a:gd name="T86" fmla="*/ 23 w 338"/>
                <a:gd name="T87" fmla="*/ 111 h 461"/>
                <a:gd name="T88" fmla="*/ 13 w 338"/>
                <a:gd name="T89" fmla="*/ 98 h 461"/>
                <a:gd name="T90" fmla="*/ 35 w 338"/>
                <a:gd name="T91" fmla="*/ 73 h 461"/>
                <a:gd name="T92" fmla="*/ 74 w 338"/>
                <a:gd name="T93" fmla="*/ 62 h 461"/>
                <a:gd name="T94" fmla="*/ 110 w 338"/>
                <a:gd name="T95" fmla="*/ 34 h 461"/>
                <a:gd name="T96" fmla="*/ 140 w 338"/>
                <a:gd name="T97" fmla="*/ 29 h 461"/>
                <a:gd name="T98" fmla="*/ 166 w 338"/>
                <a:gd name="T99" fmla="*/ 18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8" h="461">
                  <a:moveTo>
                    <a:pt x="166" y="18"/>
                  </a:moveTo>
                  <a:lnTo>
                    <a:pt x="173" y="18"/>
                  </a:lnTo>
                  <a:lnTo>
                    <a:pt x="183" y="12"/>
                  </a:lnTo>
                  <a:lnTo>
                    <a:pt x="193" y="3"/>
                  </a:lnTo>
                  <a:lnTo>
                    <a:pt x="209" y="0"/>
                  </a:lnTo>
                  <a:lnTo>
                    <a:pt x="212" y="11"/>
                  </a:lnTo>
                  <a:lnTo>
                    <a:pt x="206" y="14"/>
                  </a:lnTo>
                  <a:lnTo>
                    <a:pt x="203" y="26"/>
                  </a:lnTo>
                  <a:lnTo>
                    <a:pt x="210" y="37"/>
                  </a:lnTo>
                  <a:lnTo>
                    <a:pt x="219" y="39"/>
                  </a:lnTo>
                  <a:lnTo>
                    <a:pt x="227" y="29"/>
                  </a:lnTo>
                  <a:lnTo>
                    <a:pt x="237" y="18"/>
                  </a:lnTo>
                  <a:lnTo>
                    <a:pt x="247" y="8"/>
                  </a:lnTo>
                  <a:lnTo>
                    <a:pt x="255" y="11"/>
                  </a:lnTo>
                  <a:lnTo>
                    <a:pt x="259" y="16"/>
                  </a:lnTo>
                  <a:lnTo>
                    <a:pt x="257" y="26"/>
                  </a:lnTo>
                  <a:lnTo>
                    <a:pt x="263" y="36"/>
                  </a:lnTo>
                  <a:lnTo>
                    <a:pt x="273" y="38"/>
                  </a:lnTo>
                  <a:lnTo>
                    <a:pt x="291" y="39"/>
                  </a:lnTo>
                  <a:lnTo>
                    <a:pt x="288" y="36"/>
                  </a:lnTo>
                  <a:lnTo>
                    <a:pt x="296" y="37"/>
                  </a:lnTo>
                  <a:lnTo>
                    <a:pt x="304" y="39"/>
                  </a:lnTo>
                  <a:lnTo>
                    <a:pt x="305" y="47"/>
                  </a:lnTo>
                  <a:lnTo>
                    <a:pt x="306" y="58"/>
                  </a:lnTo>
                  <a:lnTo>
                    <a:pt x="303" y="70"/>
                  </a:lnTo>
                  <a:lnTo>
                    <a:pt x="310" y="78"/>
                  </a:lnTo>
                  <a:lnTo>
                    <a:pt x="318" y="88"/>
                  </a:lnTo>
                  <a:lnTo>
                    <a:pt x="324" y="91"/>
                  </a:lnTo>
                  <a:lnTo>
                    <a:pt x="329" y="104"/>
                  </a:lnTo>
                  <a:lnTo>
                    <a:pt x="337" y="106"/>
                  </a:lnTo>
                  <a:lnTo>
                    <a:pt x="337" y="113"/>
                  </a:lnTo>
                  <a:lnTo>
                    <a:pt x="332" y="125"/>
                  </a:lnTo>
                  <a:lnTo>
                    <a:pt x="330" y="135"/>
                  </a:lnTo>
                  <a:lnTo>
                    <a:pt x="331" y="142"/>
                  </a:lnTo>
                  <a:lnTo>
                    <a:pt x="329" y="155"/>
                  </a:lnTo>
                  <a:lnTo>
                    <a:pt x="322" y="156"/>
                  </a:lnTo>
                  <a:lnTo>
                    <a:pt x="309" y="160"/>
                  </a:lnTo>
                  <a:lnTo>
                    <a:pt x="300" y="164"/>
                  </a:lnTo>
                  <a:lnTo>
                    <a:pt x="294" y="173"/>
                  </a:lnTo>
                  <a:lnTo>
                    <a:pt x="288" y="180"/>
                  </a:lnTo>
                  <a:lnTo>
                    <a:pt x="280" y="182"/>
                  </a:lnTo>
                  <a:lnTo>
                    <a:pt x="276" y="176"/>
                  </a:lnTo>
                  <a:lnTo>
                    <a:pt x="268" y="174"/>
                  </a:lnTo>
                  <a:lnTo>
                    <a:pt x="259" y="185"/>
                  </a:lnTo>
                  <a:lnTo>
                    <a:pt x="248" y="193"/>
                  </a:lnTo>
                  <a:lnTo>
                    <a:pt x="242" y="204"/>
                  </a:lnTo>
                  <a:lnTo>
                    <a:pt x="244" y="215"/>
                  </a:lnTo>
                  <a:lnTo>
                    <a:pt x="250" y="219"/>
                  </a:lnTo>
                  <a:lnTo>
                    <a:pt x="254" y="229"/>
                  </a:lnTo>
                  <a:lnTo>
                    <a:pt x="248" y="238"/>
                  </a:lnTo>
                  <a:lnTo>
                    <a:pt x="232" y="241"/>
                  </a:lnTo>
                  <a:lnTo>
                    <a:pt x="226" y="248"/>
                  </a:lnTo>
                  <a:lnTo>
                    <a:pt x="218" y="255"/>
                  </a:lnTo>
                  <a:lnTo>
                    <a:pt x="214" y="273"/>
                  </a:lnTo>
                  <a:lnTo>
                    <a:pt x="213" y="286"/>
                  </a:lnTo>
                  <a:lnTo>
                    <a:pt x="212" y="297"/>
                  </a:lnTo>
                  <a:lnTo>
                    <a:pt x="209" y="309"/>
                  </a:lnTo>
                  <a:lnTo>
                    <a:pt x="203" y="321"/>
                  </a:lnTo>
                  <a:lnTo>
                    <a:pt x="195" y="331"/>
                  </a:lnTo>
                  <a:lnTo>
                    <a:pt x="188" y="345"/>
                  </a:lnTo>
                  <a:lnTo>
                    <a:pt x="184" y="365"/>
                  </a:lnTo>
                  <a:lnTo>
                    <a:pt x="180" y="381"/>
                  </a:lnTo>
                  <a:lnTo>
                    <a:pt x="177" y="402"/>
                  </a:lnTo>
                  <a:lnTo>
                    <a:pt x="175" y="425"/>
                  </a:lnTo>
                  <a:lnTo>
                    <a:pt x="174" y="429"/>
                  </a:lnTo>
                  <a:lnTo>
                    <a:pt x="170" y="432"/>
                  </a:lnTo>
                  <a:lnTo>
                    <a:pt x="170" y="445"/>
                  </a:lnTo>
                  <a:lnTo>
                    <a:pt x="165" y="450"/>
                  </a:lnTo>
                  <a:lnTo>
                    <a:pt x="150" y="446"/>
                  </a:lnTo>
                  <a:lnTo>
                    <a:pt x="135" y="443"/>
                  </a:lnTo>
                  <a:lnTo>
                    <a:pt x="124" y="447"/>
                  </a:lnTo>
                  <a:lnTo>
                    <a:pt x="103" y="456"/>
                  </a:lnTo>
                  <a:lnTo>
                    <a:pt x="93" y="453"/>
                  </a:lnTo>
                  <a:lnTo>
                    <a:pt x="84" y="452"/>
                  </a:lnTo>
                  <a:lnTo>
                    <a:pt x="69" y="460"/>
                  </a:lnTo>
                  <a:lnTo>
                    <a:pt x="61" y="451"/>
                  </a:lnTo>
                  <a:lnTo>
                    <a:pt x="65" y="435"/>
                  </a:lnTo>
                  <a:lnTo>
                    <a:pt x="75" y="419"/>
                  </a:lnTo>
                  <a:lnTo>
                    <a:pt x="82" y="405"/>
                  </a:lnTo>
                  <a:lnTo>
                    <a:pt x="83" y="393"/>
                  </a:lnTo>
                  <a:lnTo>
                    <a:pt x="70" y="396"/>
                  </a:lnTo>
                  <a:lnTo>
                    <a:pt x="57" y="400"/>
                  </a:lnTo>
                  <a:lnTo>
                    <a:pt x="45" y="401"/>
                  </a:lnTo>
                  <a:lnTo>
                    <a:pt x="35" y="394"/>
                  </a:lnTo>
                  <a:lnTo>
                    <a:pt x="39" y="391"/>
                  </a:lnTo>
                  <a:lnTo>
                    <a:pt x="39" y="389"/>
                  </a:lnTo>
                  <a:lnTo>
                    <a:pt x="39" y="384"/>
                  </a:lnTo>
                  <a:lnTo>
                    <a:pt x="37" y="377"/>
                  </a:lnTo>
                  <a:lnTo>
                    <a:pt x="36" y="371"/>
                  </a:lnTo>
                  <a:lnTo>
                    <a:pt x="37" y="365"/>
                  </a:lnTo>
                  <a:lnTo>
                    <a:pt x="39" y="359"/>
                  </a:lnTo>
                  <a:lnTo>
                    <a:pt x="38" y="351"/>
                  </a:lnTo>
                  <a:lnTo>
                    <a:pt x="41" y="343"/>
                  </a:lnTo>
                  <a:lnTo>
                    <a:pt x="42" y="337"/>
                  </a:lnTo>
                  <a:lnTo>
                    <a:pt x="42" y="330"/>
                  </a:lnTo>
                  <a:lnTo>
                    <a:pt x="38" y="327"/>
                  </a:lnTo>
                  <a:lnTo>
                    <a:pt x="34" y="322"/>
                  </a:lnTo>
                  <a:lnTo>
                    <a:pt x="33" y="312"/>
                  </a:lnTo>
                  <a:lnTo>
                    <a:pt x="33" y="306"/>
                  </a:lnTo>
                  <a:lnTo>
                    <a:pt x="31" y="301"/>
                  </a:lnTo>
                  <a:lnTo>
                    <a:pt x="25" y="300"/>
                  </a:lnTo>
                  <a:lnTo>
                    <a:pt x="22" y="293"/>
                  </a:lnTo>
                  <a:lnTo>
                    <a:pt x="21" y="285"/>
                  </a:lnTo>
                  <a:lnTo>
                    <a:pt x="21" y="278"/>
                  </a:lnTo>
                  <a:lnTo>
                    <a:pt x="21" y="270"/>
                  </a:lnTo>
                  <a:lnTo>
                    <a:pt x="21" y="263"/>
                  </a:lnTo>
                  <a:lnTo>
                    <a:pt x="21" y="259"/>
                  </a:lnTo>
                  <a:lnTo>
                    <a:pt x="21" y="250"/>
                  </a:lnTo>
                  <a:lnTo>
                    <a:pt x="20" y="245"/>
                  </a:lnTo>
                  <a:lnTo>
                    <a:pt x="18" y="240"/>
                  </a:lnTo>
                  <a:lnTo>
                    <a:pt x="12" y="237"/>
                  </a:lnTo>
                  <a:lnTo>
                    <a:pt x="8" y="238"/>
                  </a:lnTo>
                  <a:lnTo>
                    <a:pt x="3" y="238"/>
                  </a:lnTo>
                  <a:lnTo>
                    <a:pt x="0" y="230"/>
                  </a:lnTo>
                  <a:lnTo>
                    <a:pt x="0" y="223"/>
                  </a:lnTo>
                  <a:lnTo>
                    <a:pt x="1" y="216"/>
                  </a:lnTo>
                  <a:lnTo>
                    <a:pt x="4" y="208"/>
                  </a:lnTo>
                  <a:lnTo>
                    <a:pt x="6" y="201"/>
                  </a:lnTo>
                  <a:lnTo>
                    <a:pt x="9" y="192"/>
                  </a:lnTo>
                  <a:lnTo>
                    <a:pt x="10" y="184"/>
                  </a:lnTo>
                  <a:lnTo>
                    <a:pt x="13" y="178"/>
                  </a:lnTo>
                  <a:lnTo>
                    <a:pt x="18" y="170"/>
                  </a:lnTo>
                  <a:lnTo>
                    <a:pt x="25" y="165"/>
                  </a:lnTo>
                  <a:lnTo>
                    <a:pt x="33" y="162"/>
                  </a:lnTo>
                  <a:lnTo>
                    <a:pt x="39" y="155"/>
                  </a:lnTo>
                  <a:lnTo>
                    <a:pt x="41" y="148"/>
                  </a:lnTo>
                  <a:lnTo>
                    <a:pt x="41" y="140"/>
                  </a:lnTo>
                  <a:lnTo>
                    <a:pt x="41" y="134"/>
                  </a:lnTo>
                  <a:lnTo>
                    <a:pt x="38" y="129"/>
                  </a:lnTo>
                  <a:lnTo>
                    <a:pt x="34" y="121"/>
                  </a:lnTo>
                  <a:lnTo>
                    <a:pt x="29" y="116"/>
                  </a:lnTo>
                  <a:lnTo>
                    <a:pt x="23" y="111"/>
                  </a:lnTo>
                  <a:lnTo>
                    <a:pt x="19" y="105"/>
                  </a:lnTo>
                  <a:lnTo>
                    <a:pt x="13" y="100"/>
                  </a:lnTo>
                  <a:lnTo>
                    <a:pt x="13" y="98"/>
                  </a:lnTo>
                  <a:lnTo>
                    <a:pt x="12" y="95"/>
                  </a:lnTo>
                  <a:lnTo>
                    <a:pt x="24" y="88"/>
                  </a:lnTo>
                  <a:lnTo>
                    <a:pt x="35" y="73"/>
                  </a:lnTo>
                  <a:lnTo>
                    <a:pt x="47" y="63"/>
                  </a:lnTo>
                  <a:lnTo>
                    <a:pt x="57" y="67"/>
                  </a:lnTo>
                  <a:lnTo>
                    <a:pt x="74" y="62"/>
                  </a:lnTo>
                  <a:lnTo>
                    <a:pt x="90" y="56"/>
                  </a:lnTo>
                  <a:lnTo>
                    <a:pt x="103" y="49"/>
                  </a:lnTo>
                  <a:lnTo>
                    <a:pt x="110" y="34"/>
                  </a:lnTo>
                  <a:lnTo>
                    <a:pt x="120" y="24"/>
                  </a:lnTo>
                  <a:lnTo>
                    <a:pt x="130" y="25"/>
                  </a:lnTo>
                  <a:lnTo>
                    <a:pt x="140" y="29"/>
                  </a:lnTo>
                  <a:lnTo>
                    <a:pt x="156" y="29"/>
                  </a:lnTo>
                  <a:lnTo>
                    <a:pt x="167" y="23"/>
                  </a:lnTo>
                  <a:lnTo>
                    <a:pt x="166" y="18"/>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80" name="Freeform 30"/>
            <p:cNvSpPr>
              <a:spLocks/>
            </p:cNvSpPr>
            <p:nvPr/>
          </p:nvSpPr>
          <p:spPr bwMode="auto">
            <a:xfrm>
              <a:off x="6057900" y="2066925"/>
              <a:ext cx="833438" cy="620713"/>
            </a:xfrm>
            <a:custGeom>
              <a:avLst/>
              <a:gdLst>
                <a:gd name="T0" fmla="*/ 549 w 572"/>
                <a:gd name="T1" fmla="*/ 138 h 426"/>
                <a:gd name="T2" fmla="*/ 521 w 572"/>
                <a:gd name="T3" fmla="*/ 140 h 426"/>
                <a:gd name="T4" fmla="*/ 503 w 572"/>
                <a:gd name="T5" fmla="*/ 110 h 426"/>
                <a:gd name="T6" fmla="*/ 493 w 572"/>
                <a:gd name="T7" fmla="*/ 120 h 426"/>
                <a:gd name="T8" fmla="*/ 474 w 572"/>
                <a:gd name="T9" fmla="*/ 134 h 426"/>
                <a:gd name="T10" fmla="*/ 453 w 572"/>
                <a:gd name="T11" fmla="*/ 148 h 426"/>
                <a:gd name="T12" fmla="*/ 427 w 572"/>
                <a:gd name="T13" fmla="*/ 164 h 426"/>
                <a:gd name="T14" fmla="*/ 398 w 572"/>
                <a:gd name="T15" fmla="*/ 125 h 426"/>
                <a:gd name="T16" fmla="*/ 382 w 572"/>
                <a:gd name="T17" fmla="*/ 88 h 426"/>
                <a:gd name="T18" fmla="*/ 367 w 572"/>
                <a:gd name="T19" fmla="*/ 101 h 426"/>
                <a:gd name="T20" fmla="*/ 373 w 572"/>
                <a:gd name="T21" fmla="*/ 132 h 426"/>
                <a:gd name="T22" fmla="*/ 342 w 572"/>
                <a:gd name="T23" fmla="*/ 122 h 426"/>
                <a:gd name="T24" fmla="*/ 319 w 572"/>
                <a:gd name="T25" fmla="*/ 99 h 426"/>
                <a:gd name="T26" fmla="*/ 303 w 572"/>
                <a:gd name="T27" fmla="*/ 87 h 426"/>
                <a:gd name="T28" fmla="*/ 285 w 572"/>
                <a:gd name="T29" fmla="*/ 62 h 426"/>
                <a:gd name="T30" fmla="*/ 256 w 572"/>
                <a:gd name="T31" fmla="*/ 60 h 426"/>
                <a:gd name="T32" fmla="*/ 225 w 572"/>
                <a:gd name="T33" fmla="*/ 46 h 426"/>
                <a:gd name="T34" fmla="*/ 189 w 572"/>
                <a:gd name="T35" fmla="*/ 55 h 426"/>
                <a:gd name="T36" fmla="*/ 145 w 572"/>
                <a:gd name="T37" fmla="*/ 59 h 426"/>
                <a:gd name="T38" fmla="*/ 128 w 572"/>
                <a:gd name="T39" fmla="*/ 29 h 426"/>
                <a:gd name="T40" fmla="*/ 94 w 572"/>
                <a:gd name="T41" fmla="*/ 0 h 426"/>
                <a:gd name="T42" fmla="*/ 65 w 572"/>
                <a:gd name="T43" fmla="*/ 12 h 426"/>
                <a:gd name="T44" fmla="*/ 26 w 572"/>
                <a:gd name="T45" fmla="*/ 49 h 426"/>
                <a:gd name="T46" fmla="*/ 0 w 572"/>
                <a:gd name="T47" fmla="*/ 69 h 426"/>
                <a:gd name="T48" fmla="*/ 26 w 572"/>
                <a:gd name="T49" fmla="*/ 81 h 426"/>
                <a:gd name="T50" fmla="*/ 34 w 572"/>
                <a:gd name="T51" fmla="*/ 124 h 426"/>
                <a:gd name="T52" fmla="*/ 54 w 572"/>
                <a:gd name="T53" fmla="*/ 182 h 426"/>
                <a:gd name="T54" fmla="*/ 94 w 572"/>
                <a:gd name="T55" fmla="*/ 158 h 426"/>
                <a:gd name="T56" fmla="*/ 114 w 572"/>
                <a:gd name="T57" fmla="*/ 181 h 426"/>
                <a:gd name="T58" fmla="*/ 137 w 572"/>
                <a:gd name="T59" fmla="*/ 238 h 426"/>
                <a:gd name="T60" fmla="*/ 162 w 572"/>
                <a:gd name="T61" fmla="*/ 233 h 426"/>
                <a:gd name="T62" fmla="*/ 185 w 572"/>
                <a:gd name="T63" fmla="*/ 264 h 426"/>
                <a:gd name="T64" fmla="*/ 205 w 572"/>
                <a:gd name="T65" fmla="*/ 265 h 426"/>
                <a:gd name="T66" fmla="*/ 223 w 572"/>
                <a:gd name="T67" fmla="*/ 263 h 426"/>
                <a:gd name="T68" fmla="*/ 244 w 572"/>
                <a:gd name="T69" fmla="*/ 302 h 426"/>
                <a:gd name="T70" fmla="*/ 253 w 572"/>
                <a:gd name="T71" fmla="*/ 343 h 426"/>
                <a:gd name="T72" fmla="*/ 286 w 572"/>
                <a:gd name="T73" fmla="*/ 397 h 426"/>
                <a:gd name="T74" fmla="*/ 298 w 572"/>
                <a:gd name="T75" fmla="*/ 415 h 426"/>
                <a:gd name="T76" fmla="*/ 326 w 572"/>
                <a:gd name="T77" fmla="*/ 392 h 426"/>
                <a:gd name="T78" fmla="*/ 346 w 572"/>
                <a:gd name="T79" fmla="*/ 339 h 426"/>
                <a:gd name="T80" fmla="*/ 369 w 572"/>
                <a:gd name="T81" fmla="*/ 352 h 426"/>
                <a:gd name="T82" fmla="*/ 403 w 572"/>
                <a:gd name="T83" fmla="*/ 354 h 426"/>
                <a:gd name="T84" fmla="*/ 434 w 572"/>
                <a:gd name="T85" fmla="*/ 345 h 426"/>
                <a:gd name="T86" fmla="*/ 427 w 572"/>
                <a:gd name="T87" fmla="*/ 317 h 426"/>
                <a:gd name="T88" fmla="*/ 440 w 572"/>
                <a:gd name="T89" fmla="*/ 293 h 426"/>
                <a:gd name="T90" fmla="*/ 476 w 572"/>
                <a:gd name="T91" fmla="*/ 276 h 426"/>
                <a:gd name="T92" fmla="*/ 495 w 572"/>
                <a:gd name="T93" fmla="*/ 238 h 426"/>
                <a:gd name="T94" fmla="*/ 504 w 572"/>
                <a:gd name="T95" fmla="*/ 210 h 426"/>
                <a:gd name="T96" fmla="*/ 526 w 572"/>
                <a:gd name="T97" fmla="*/ 204 h 426"/>
                <a:gd name="T98" fmla="*/ 550 w 572"/>
                <a:gd name="T99" fmla="*/ 224 h 426"/>
                <a:gd name="T100" fmla="*/ 546 w 572"/>
                <a:gd name="T101" fmla="*/ 197 h 426"/>
                <a:gd name="T102" fmla="*/ 571 w 572"/>
                <a:gd name="T103" fmla="*/ 179 h 426"/>
                <a:gd name="T104" fmla="*/ 567 w 572"/>
                <a:gd name="T105"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2" h="426">
                  <a:moveTo>
                    <a:pt x="565" y="140"/>
                  </a:moveTo>
                  <a:lnTo>
                    <a:pt x="557" y="137"/>
                  </a:lnTo>
                  <a:lnTo>
                    <a:pt x="549" y="138"/>
                  </a:lnTo>
                  <a:lnTo>
                    <a:pt x="540" y="140"/>
                  </a:lnTo>
                  <a:lnTo>
                    <a:pt x="529" y="141"/>
                  </a:lnTo>
                  <a:lnTo>
                    <a:pt x="521" y="140"/>
                  </a:lnTo>
                  <a:lnTo>
                    <a:pt x="516" y="127"/>
                  </a:lnTo>
                  <a:lnTo>
                    <a:pt x="509" y="113"/>
                  </a:lnTo>
                  <a:lnTo>
                    <a:pt x="503" y="110"/>
                  </a:lnTo>
                  <a:lnTo>
                    <a:pt x="502" y="120"/>
                  </a:lnTo>
                  <a:lnTo>
                    <a:pt x="499" y="124"/>
                  </a:lnTo>
                  <a:lnTo>
                    <a:pt x="493" y="120"/>
                  </a:lnTo>
                  <a:lnTo>
                    <a:pt x="485" y="117"/>
                  </a:lnTo>
                  <a:lnTo>
                    <a:pt x="480" y="125"/>
                  </a:lnTo>
                  <a:lnTo>
                    <a:pt x="474" y="134"/>
                  </a:lnTo>
                  <a:lnTo>
                    <a:pt x="466" y="136"/>
                  </a:lnTo>
                  <a:lnTo>
                    <a:pt x="459" y="139"/>
                  </a:lnTo>
                  <a:lnTo>
                    <a:pt x="453" y="148"/>
                  </a:lnTo>
                  <a:lnTo>
                    <a:pt x="449" y="158"/>
                  </a:lnTo>
                  <a:lnTo>
                    <a:pt x="438" y="165"/>
                  </a:lnTo>
                  <a:lnTo>
                    <a:pt x="427" y="164"/>
                  </a:lnTo>
                  <a:lnTo>
                    <a:pt x="415" y="148"/>
                  </a:lnTo>
                  <a:lnTo>
                    <a:pt x="410" y="136"/>
                  </a:lnTo>
                  <a:lnTo>
                    <a:pt x="398" y="125"/>
                  </a:lnTo>
                  <a:lnTo>
                    <a:pt x="392" y="114"/>
                  </a:lnTo>
                  <a:lnTo>
                    <a:pt x="387" y="103"/>
                  </a:lnTo>
                  <a:lnTo>
                    <a:pt x="382" y="88"/>
                  </a:lnTo>
                  <a:lnTo>
                    <a:pt x="372" y="84"/>
                  </a:lnTo>
                  <a:lnTo>
                    <a:pt x="363" y="92"/>
                  </a:lnTo>
                  <a:lnTo>
                    <a:pt x="367" y="101"/>
                  </a:lnTo>
                  <a:lnTo>
                    <a:pt x="371" y="114"/>
                  </a:lnTo>
                  <a:lnTo>
                    <a:pt x="374" y="124"/>
                  </a:lnTo>
                  <a:lnTo>
                    <a:pt x="373" y="132"/>
                  </a:lnTo>
                  <a:lnTo>
                    <a:pt x="358" y="135"/>
                  </a:lnTo>
                  <a:lnTo>
                    <a:pt x="351" y="125"/>
                  </a:lnTo>
                  <a:lnTo>
                    <a:pt x="342" y="122"/>
                  </a:lnTo>
                  <a:lnTo>
                    <a:pt x="334" y="115"/>
                  </a:lnTo>
                  <a:lnTo>
                    <a:pt x="328" y="103"/>
                  </a:lnTo>
                  <a:lnTo>
                    <a:pt x="319" y="99"/>
                  </a:lnTo>
                  <a:lnTo>
                    <a:pt x="310" y="103"/>
                  </a:lnTo>
                  <a:lnTo>
                    <a:pt x="305" y="99"/>
                  </a:lnTo>
                  <a:lnTo>
                    <a:pt x="303" y="87"/>
                  </a:lnTo>
                  <a:lnTo>
                    <a:pt x="298" y="79"/>
                  </a:lnTo>
                  <a:lnTo>
                    <a:pt x="289" y="71"/>
                  </a:lnTo>
                  <a:lnTo>
                    <a:pt x="285" y="62"/>
                  </a:lnTo>
                  <a:lnTo>
                    <a:pt x="275" y="55"/>
                  </a:lnTo>
                  <a:lnTo>
                    <a:pt x="264" y="58"/>
                  </a:lnTo>
                  <a:lnTo>
                    <a:pt x="256" y="60"/>
                  </a:lnTo>
                  <a:lnTo>
                    <a:pt x="246" y="60"/>
                  </a:lnTo>
                  <a:lnTo>
                    <a:pt x="236" y="55"/>
                  </a:lnTo>
                  <a:lnTo>
                    <a:pt x="225" y="46"/>
                  </a:lnTo>
                  <a:lnTo>
                    <a:pt x="211" y="45"/>
                  </a:lnTo>
                  <a:lnTo>
                    <a:pt x="202" y="51"/>
                  </a:lnTo>
                  <a:lnTo>
                    <a:pt x="189" y="55"/>
                  </a:lnTo>
                  <a:lnTo>
                    <a:pt x="179" y="59"/>
                  </a:lnTo>
                  <a:lnTo>
                    <a:pt x="156" y="63"/>
                  </a:lnTo>
                  <a:lnTo>
                    <a:pt x="145" y="59"/>
                  </a:lnTo>
                  <a:lnTo>
                    <a:pt x="139" y="52"/>
                  </a:lnTo>
                  <a:lnTo>
                    <a:pt x="129" y="41"/>
                  </a:lnTo>
                  <a:lnTo>
                    <a:pt x="128" y="29"/>
                  </a:lnTo>
                  <a:lnTo>
                    <a:pt x="118" y="16"/>
                  </a:lnTo>
                  <a:lnTo>
                    <a:pt x="107" y="6"/>
                  </a:lnTo>
                  <a:lnTo>
                    <a:pt x="94" y="0"/>
                  </a:lnTo>
                  <a:lnTo>
                    <a:pt x="83" y="1"/>
                  </a:lnTo>
                  <a:lnTo>
                    <a:pt x="69" y="3"/>
                  </a:lnTo>
                  <a:lnTo>
                    <a:pt x="65" y="12"/>
                  </a:lnTo>
                  <a:lnTo>
                    <a:pt x="53" y="21"/>
                  </a:lnTo>
                  <a:lnTo>
                    <a:pt x="43" y="35"/>
                  </a:lnTo>
                  <a:lnTo>
                    <a:pt x="26" y="49"/>
                  </a:lnTo>
                  <a:lnTo>
                    <a:pt x="12" y="48"/>
                  </a:lnTo>
                  <a:lnTo>
                    <a:pt x="1" y="55"/>
                  </a:lnTo>
                  <a:lnTo>
                    <a:pt x="0" y="69"/>
                  </a:lnTo>
                  <a:lnTo>
                    <a:pt x="12" y="73"/>
                  </a:lnTo>
                  <a:lnTo>
                    <a:pt x="17" y="71"/>
                  </a:lnTo>
                  <a:lnTo>
                    <a:pt x="26" y="81"/>
                  </a:lnTo>
                  <a:lnTo>
                    <a:pt x="29" y="89"/>
                  </a:lnTo>
                  <a:lnTo>
                    <a:pt x="33" y="109"/>
                  </a:lnTo>
                  <a:lnTo>
                    <a:pt x="34" y="124"/>
                  </a:lnTo>
                  <a:lnTo>
                    <a:pt x="43" y="158"/>
                  </a:lnTo>
                  <a:lnTo>
                    <a:pt x="46" y="175"/>
                  </a:lnTo>
                  <a:lnTo>
                    <a:pt x="54" y="182"/>
                  </a:lnTo>
                  <a:lnTo>
                    <a:pt x="64" y="173"/>
                  </a:lnTo>
                  <a:lnTo>
                    <a:pt x="79" y="168"/>
                  </a:lnTo>
                  <a:lnTo>
                    <a:pt x="94" y="158"/>
                  </a:lnTo>
                  <a:lnTo>
                    <a:pt x="105" y="159"/>
                  </a:lnTo>
                  <a:lnTo>
                    <a:pt x="112" y="169"/>
                  </a:lnTo>
                  <a:lnTo>
                    <a:pt x="114" y="181"/>
                  </a:lnTo>
                  <a:lnTo>
                    <a:pt x="125" y="207"/>
                  </a:lnTo>
                  <a:lnTo>
                    <a:pt x="133" y="226"/>
                  </a:lnTo>
                  <a:lnTo>
                    <a:pt x="137" y="238"/>
                  </a:lnTo>
                  <a:lnTo>
                    <a:pt x="142" y="228"/>
                  </a:lnTo>
                  <a:lnTo>
                    <a:pt x="153" y="227"/>
                  </a:lnTo>
                  <a:lnTo>
                    <a:pt x="162" y="233"/>
                  </a:lnTo>
                  <a:lnTo>
                    <a:pt x="172" y="238"/>
                  </a:lnTo>
                  <a:lnTo>
                    <a:pt x="178" y="251"/>
                  </a:lnTo>
                  <a:lnTo>
                    <a:pt x="185" y="264"/>
                  </a:lnTo>
                  <a:lnTo>
                    <a:pt x="190" y="278"/>
                  </a:lnTo>
                  <a:lnTo>
                    <a:pt x="199" y="279"/>
                  </a:lnTo>
                  <a:lnTo>
                    <a:pt x="205" y="265"/>
                  </a:lnTo>
                  <a:lnTo>
                    <a:pt x="208" y="254"/>
                  </a:lnTo>
                  <a:lnTo>
                    <a:pt x="218" y="250"/>
                  </a:lnTo>
                  <a:lnTo>
                    <a:pt x="223" y="263"/>
                  </a:lnTo>
                  <a:lnTo>
                    <a:pt x="223" y="280"/>
                  </a:lnTo>
                  <a:lnTo>
                    <a:pt x="231" y="288"/>
                  </a:lnTo>
                  <a:lnTo>
                    <a:pt x="244" y="302"/>
                  </a:lnTo>
                  <a:lnTo>
                    <a:pt x="256" y="320"/>
                  </a:lnTo>
                  <a:lnTo>
                    <a:pt x="261" y="331"/>
                  </a:lnTo>
                  <a:lnTo>
                    <a:pt x="253" y="343"/>
                  </a:lnTo>
                  <a:lnTo>
                    <a:pt x="264" y="360"/>
                  </a:lnTo>
                  <a:lnTo>
                    <a:pt x="278" y="379"/>
                  </a:lnTo>
                  <a:lnTo>
                    <a:pt x="286" y="397"/>
                  </a:lnTo>
                  <a:lnTo>
                    <a:pt x="289" y="409"/>
                  </a:lnTo>
                  <a:lnTo>
                    <a:pt x="292" y="425"/>
                  </a:lnTo>
                  <a:lnTo>
                    <a:pt x="298" y="415"/>
                  </a:lnTo>
                  <a:lnTo>
                    <a:pt x="307" y="406"/>
                  </a:lnTo>
                  <a:lnTo>
                    <a:pt x="314" y="397"/>
                  </a:lnTo>
                  <a:lnTo>
                    <a:pt x="326" y="392"/>
                  </a:lnTo>
                  <a:lnTo>
                    <a:pt x="337" y="372"/>
                  </a:lnTo>
                  <a:lnTo>
                    <a:pt x="342" y="358"/>
                  </a:lnTo>
                  <a:lnTo>
                    <a:pt x="346" y="339"/>
                  </a:lnTo>
                  <a:lnTo>
                    <a:pt x="354" y="331"/>
                  </a:lnTo>
                  <a:lnTo>
                    <a:pt x="367" y="340"/>
                  </a:lnTo>
                  <a:lnTo>
                    <a:pt x="369" y="352"/>
                  </a:lnTo>
                  <a:lnTo>
                    <a:pt x="381" y="359"/>
                  </a:lnTo>
                  <a:lnTo>
                    <a:pt x="390" y="356"/>
                  </a:lnTo>
                  <a:lnTo>
                    <a:pt x="403" y="354"/>
                  </a:lnTo>
                  <a:lnTo>
                    <a:pt x="411" y="356"/>
                  </a:lnTo>
                  <a:lnTo>
                    <a:pt x="423" y="353"/>
                  </a:lnTo>
                  <a:lnTo>
                    <a:pt x="434" y="345"/>
                  </a:lnTo>
                  <a:lnTo>
                    <a:pt x="436" y="336"/>
                  </a:lnTo>
                  <a:lnTo>
                    <a:pt x="435" y="323"/>
                  </a:lnTo>
                  <a:lnTo>
                    <a:pt x="427" y="317"/>
                  </a:lnTo>
                  <a:lnTo>
                    <a:pt x="419" y="305"/>
                  </a:lnTo>
                  <a:lnTo>
                    <a:pt x="425" y="296"/>
                  </a:lnTo>
                  <a:lnTo>
                    <a:pt x="440" y="293"/>
                  </a:lnTo>
                  <a:lnTo>
                    <a:pt x="450" y="288"/>
                  </a:lnTo>
                  <a:lnTo>
                    <a:pt x="469" y="283"/>
                  </a:lnTo>
                  <a:lnTo>
                    <a:pt x="476" y="276"/>
                  </a:lnTo>
                  <a:lnTo>
                    <a:pt x="482" y="259"/>
                  </a:lnTo>
                  <a:lnTo>
                    <a:pt x="486" y="246"/>
                  </a:lnTo>
                  <a:lnTo>
                    <a:pt x="495" y="238"/>
                  </a:lnTo>
                  <a:lnTo>
                    <a:pt x="503" y="230"/>
                  </a:lnTo>
                  <a:lnTo>
                    <a:pt x="506" y="221"/>
                  </a:lnTo>
                  <a:lnTo>
                    <a:pt x="504" y="210"/>
                  </a:lnTo>
                  <a:lnTo>
                    <a:pt x="509" y="197"/>
                  </a:lnTo>
                  <a:lnTo>
                    <a:pt x="519" y="197"/>
                  </a:lnTo>
                  <a:lnTo>
                    <a:pt x="526" y="204"/>
                  </a:lnTo>
                  <a:lnTo>
                    <a:pt x="529" y="215"/>
                  </a:lnTo>
                  <a:lnTo>
                    <a:pt x="539" y="219"/>
                  </a:lnTo>
                  <a:lnTo>
                    <a:pt x="550" y="224"/>
                  </a:lnTo>
                  <a:lnTo>
                    <a:pt x="553" y="217"/>
                  </a:lnTo>
                  <a:lnTo>
                    <a:pt x="549" y="207"/>
                  </a:lnTo>
                  <a:lnTo>
                    <a:pt x="546" y="197"/>
                  </a:lnTo>
                  <a:lnTo>
                    <a:pt x="554" y="189"/>
                  </a:lnTo>
                  <a:lnTo>
                    <a:pt x="565" y="186"/>
                  </a:lnTo>
                  <a:lnTo>
                    <a:pt x="571" y="179"/>
                  </a:lnTo>
                  <a:lnTo>
                    <a:pt x="570" y="169"/>
                  </a:lnTo>
                  <a:lnTo>
                    <a:pt x="569" y="160"/>
                  </a:lnTo>
                  <a:lnTo>
                    <a:pt x="567" y="151"/>
                  </a:lnTo>
                  <a:lnTo>
                    <a:pt x="565" y="140"/>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81" name="Freeform 31"/>
            <p:cNvSpPr>
              <a:spLocks/>
            </p:cNvSpPr>
            <p:nvPr/>
          </p:nvSpPr>
          <p:spPr bwMode="auto">
            <a:xfrm>
              <a:off x="5899150" y="2397125"/>
              <a:ext cx="585788" cy="577850"/>
            </a:xfrm>
            <a:custGeom>
              <a:avLst/>
              <a:gdLst>
                <a:gd name="T0" fmla="*/ 398 w 402"/>
                <a:gd name="T1" fmla="*/ 182 h 395"/>
                <a:gd name="T2" fmla="*/ 387 w 402"/>
                <a:gd name="T3" fmla="*/ 152 h 395"/>
                <a:gd name="T4" fmla="*/ 362 w 402"/>
                <a:gd name="T5" fmla="*/ 116 h 395"/>
                <a:gd name="T6" fmla="*/ 365 w 402"/>
                <a:gd name="T7" fmla="*/ 93 h 395"/>
                <a:gd name="T8" fmla="*/ 340 w 402"/>
                <a:gd name="T9" fmla="*/ 61 h 395"/>
                <a:gd name="T10" fmla="*/ 332 w 402"/>
                <a:gd name="T11" fmla="*/ 36 h 395"/>
                <a:gd name="T12" fmla="*/ 317 w 402"/>
                <a:gd name="T13" fmla="*/ 27 h 395"/>
                <a:gd name="T14" fmla="*/ 308 w 402"/>
                <a:gd name="T15" fmla="*/ 52 h 395"/>
                <a:gd name="T16" fmla="*/ 294 w 402"/>
                <a:gd name="T17" fmla="*/ 37 h 395"/>
                <a:gd name="T18" fmla="*/ 281 w 402"/>
                <a:gd name="T19" fmla="*/ 11 h 395"/>
                <a:gd name="T20" fmla="*/ 262 w 402"/>
                <a:gd name="T21" fmla="*/ 0 h 395"/>
                <a:gd name="T22" fmla="*/ 246 w 402"/>
                <a:gd name="T23" fmla="*/ 11 h 395"/>
                <a:gd name="T24" fmla="*/ 234 w 402"/>
                <a:gd name="T25" fmla="*/ 40 h 395"/>
                <a:gd name="T26" fmla="*/ 206 w 402"/>
                <a:gd name="T27" fmla="*/ 66 h 395"/>
                <a:gd name="T28" fmla="*/ 187 w 402"/>
                <a:gd name="T29" fmla="*/ 68 h 395"/>
                <a:gd name="T30" fmla="*/ 170 w 402"/>
                <a:gd name="T31" fmla="*/ 75 h 395"/>
                <a:gd name="T32" fmla="*/ 152 w 402"/>
                <a:gd name="T33" fmla="*/ 103 h 395"/>
                <a:gd name="T34" fmla="*/ 125 w 402"/>
                <a:gd name="T35" fmla="*/ 114 h 395"/>
                <a:gd name="T36" fmla="*/ 108 w 402"/>
                <a:gd name="T37" fmla="*/ 135 h 395"/>
                <a:gd name="T38" fmla="*/ 86 w 402"/>
                <a:gd name="T39" fmla="*/ 140 h 395"/>
                <a:gd name="T40" fmla="*/ 74 w 402"/>
                <a:gd name="T41" fmla="*/ 170 h 395"/>
                <a:gd name="T42" fmla="*/ 53 w 402"/>
                <a:gd name="T43" fmla="*/ 159 h 395"/>
                <a:gd name="T44" fmla="*/ 34 w 402"/>
                <a:gd name="T45" fmla="*/ 130 h 395"/>
                <a:gd name="T46" fmla="*/ 11 w 402"/>
                <a:gd name="T47" fmla="*/ 143 h 395"/>
                <a:gd name="T48" fmla="*/ 11 w 402"/>
                <a:gd name="T49" fmla="*/ 175 h 395"/>
                <a:gd name="T50" fmla="*/ 16 w 402"/>
                <a:gd name="T51" fmla="*/ 205 h 395"/>
                <a:gd name="T52" fmla="*/ 7 w 402"/>
                <a:gd name="T53" fmla="*/ 238 h 395"/>
                <a:gd name="T54" fmla="*/ 0 w 402"/>
                <a:gd name="T55" fmla="*/ 262 h 395"/>
                <a:gd name="T56" fmla="*/ 18 w 402"/>
                <a:gd name="T57" fmla="*/ 286 h 395"/>
                <a:gd name="T58" fmla="*/ 42 w 402"/>
                <a:gd name="T59" fmla="*/ 291 h 395"/>
                <a:gd name="T60" fmla="*/ 59 w 402"/>
                <a:gd name="T61" fmla="*/ 310 h 395"/>
                <a:gd name="T62" fmla="*/ 83 w 402"/>
                <a:gd name="T63" fmla="*/ 312 h 395"/>
                <a:gd name="T64" fmla="*/ 105 w 402"/>
                <a:gd name="T65" fmla="*/ 289 h 395"/>
                <a:gd name="T66" fmla="*/ 121 w 402"/>
                <a:gd name="T67" fmla="*/ 268 h 395"/>
                <a:gd name="T68" fmla="*/ 126 w 402"/>
                <a:gd name="T69" fmla="*/ 243 h 395"/>
                <a:gd name="T70" fmla="*/ 155 w 402"/>
                <a:gd name="T71" fmla="*/ 238 h 395"/>
                <a:gd name="T72" fmla="*/ 169 w 402"/>
                <a:gd name="T73" fmla="*/ 228 h 395"/>
                <a:gd name="T74" fmla="*/ 180 w 402"/>
                <a:gd name="T75" fmla="*/ 231 h 395"/>
                <a:gd name="T76" fmla="*/ 185 w 402"/>
                <a:gd name="T77" fmla="*/ 246 h 395"/>
                <a:gd name="T78" fmla="*/ 197 w 402"/>
                <a:gd name="T79" fmla="*/ 263 h 395"/>
                <a:gd name="T80" fmla="*/ 195 w 402"/>
                <a:gd name="T81" fmla="*/ 299 h 395"/>
                <a:gd name="T82" fmla="*/ 178 w 402"/>
                <a:gd name="T83" fmla="*/ 330 h 395"/>
                <a:gd name="T84" fmla="*/ 180 w 402"/>
                <a:gd name="T85" fmla="*/ 358 h 395"/>
                <a:gd name="T86" fmla="*/ 195 w 402"/>
                <a:gd name="T87" fmla="*/ 371 h 395"/>
                <a:gd name="T88" fmla="*/ 171 w 402"/>
                <a:gd name="T89" fmla="*/ 390 h 395"/>
                <a:gd name="T90" fmla="*/ 199 w 402"/>
                <a:gd name="T91" fmla="*/ 388 h 395"/>
                <a:gd name="T92" fmla="*/ 224 w 402"/>
                <a:gd name="T93" fmla="*/ 372 h 395"/>
                <a:gd name="T94" fmla="*/ 237 w 402"/>
                <a:gd name="T95" fmla="*/ 343 h 395"/>
                <a:gd name="T96" fmla="*/ 263 w 402"/>
                <a:gd name="T97" fmla="*/ 327 h 395"/>
                <a:gd name="T98" fmla="*/ 278 w 402"/>
                <a:gd name="T99" fmla="*/ 308 h 395"/>
                <a:gd name="T100" fmla="*/ 293 w 402"/>
                <a:gd name="T101" fmla="*/ 296 h 395"/>
                <a:gd name="T102" fmla="*/ 319 w 402"/>
                <a:gd name="T103" fmla="*/ 295 h 395"/>
                <a:gd name="T104" fmla="*/ 340 w 402"/>
                <a:gd name="T105" fmla="*/ 284 h 395"/>
                <a:gd name="T106" fmla="*/ 352 w 402"/>
                <a:gd name="T107" fmla="*/ 257 h 395"/>
                <a:gd name="T108" fmla="*/ 367 w 402"/>
                <a:gd name="T109" fmla="*/ 231 h 395"/>
                <a:gd name="T110" fmla="*/ 386 w 402"/>
                <a:gd name="T111" fmla="*/ 213 h 395"/>
                <a:gd name="T112" fmla="*/ 401 w 402"/>
                <a:gd name="T113" fmla="*/ 19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5">
                  <a:moveTo>
                    <a:pt x="401" y="198"/>
                  </a:moveTo>
                  <a:lnTo>
                    <a:pt x="398" y="182"/>
                  </a:lnTo>
                  <a:lnTo>
                    <a:pt x="395" y="170"/>
                  </a:lnTo>
                  <a:lnTo>
                    <a:pt x="387" y="152"/>
                  </a:lnTo>
                  <a:lnTo>
                    <a:pt x="373" y="133"/>
                  </a:lnTo>
                  <a:lnTo>
                    <a:pt x="362" y="116"/>
                  </a:lnTo>
                  <a:lnTo>
                    <a:pt x="370" y="104"/>
                  </a:lnTo>
                  <a:lnTo>
                    <a:pt x="365" y="93"/>
                  </a:lnTo>
                  <a:lnTo>
                    <a:pt x="353" y="75"/>
                  </a:lnTo>
                  <a:lnTo>
                    <a:pt x="340" y="61"/>
                  </a:lnTo>
                  <a:lnTo>
                    <a:pt x="332" y="53"/>
                  </a:lnTo>
                  <a:lnTo>
                    <a:pt x="332" y="36"/>
                  </a:lnTo>
                  <a:lnTo>
                    <a:pt x="327" y="23"/>
                  </a:lnTo>
                  <a:lnTo>
                    <a:pt x="317" y="27"/>
                  </a:lnTo>
                  <a:lnTo>
                    <a:pt x="314" y="38"/>
                  </a:lnTo>
                  <a:lnTo>
                    <a:pt x="308" y="52"/>
                  </a:lnTo>
                  <a:lnTo>
                    <a:pt x="299" y="51"/>
                  </a:lnTo>
                  <a:lnTo>
                    <a:pt x="294" y="37"/>
                  </a:lnTo>
                  <a:lnTo>
                    <a:pt x="287" y="24"/>
                  </a:lnTo>
                  <a:lnTo>
                    <a:pt x="281" y="11"/>
                  </a:lnTo>
                  <a:lnTo>
                    <a:pt x="271" y="6"/>
                  </a:lnTo>
                  <a:lnTo>
                    <a:pt x="262" y="0"/>
                  </a:lnTo>
                  <a:lnTo>
                    <a:pt x="251" y="1"/>
                  </a:lnTo>
                  <a:lnTo>
                    <a:pt x="246" y="11"/>
                  </a:lnTo>
                  <a:lnTo>
                    <a:pt x="244" y="29"/>
                  </a:lnTo>
                  <a:lnTo>
                    <a:pt x="234" y="40"/>
                  </a:lnTo>
                  <a:lnTo>
                    <a:pt x="221" y="57"/>
                  </a:lnTo>
                  <a:lnTo>
                    <a:pt x="206" y="66"/>
                  </a:lnTo>
                  <a:lnTo>
                    <a:pt x="198" y="65"/>
                  </a:lnTo>
                  <a:lnTo>
                    <a:pt x="187" y="68"/>
                  </a:lnTo>
                  <a:lnTo>
                    <a:pt x="183" y="78"/>
                  </a:lnTo>
                  <a:lnTo>
                    <a:pt x="170" y="75"/>
                  </a:lnTo>
                  <a:lnTo>
                    <a:pt x="160" y="91"/>
                  </a:lnTo>
                  <a:lnTo>
                    <a:pt x="152" y="103"/>
                  </a:lnTo>
                  <a:lnTo>
                    <a:pt x="138" y="105"/>
                  </a:lnTo>
                  <a:lnTo>
                    <a:pt x="125" y="114"/>
                  </a:lnTo>
                  <a:lnTo>
                    <a:pt x="115" y="132"/>
                  </a:lnTo>
                  <a:lnTo>
                    <a:pt x="108" y="135"/>
                  </a:lnTo>
                  <a:lnTo>
                    <a:pt x="96" y="137"/>
                  </a:lnTo>
                  <a:lnTo>
                    <a:pt x="86" y="140"/>
                  </a:lnTo>
                  <a:lnTo>
                    <a:pt x="80" y="154"/>
                  </a:lnTo>
                  <a:lnTo>
                    <a:pt x="74" y="170"/>
                  </a:lnTo>
                  <a:lnTo>
                    <a:pt x="58" y="173"/>
                  </a:lnTo>
                  <a:lnTo>
                    <a:pt x="53" y="159"/>
                  </a:lnTo>
                  <a:lnTo>
                    <a:pt x="44" y="142"/>
                  </a:lnTo>
                  <a:lnTo>
                    <a:pt x="34" y="130"/>
                  </a:lnTo>
                  <a:lnTo>
                    <a:pt x="18" y="131"/>
                  </a:lnTo>
                  <a:lnTo>
                    <a:pt x="11" y="143"/>
                  </a:lnTo>
                  <a:lnTo>
                    <a:pt x="5" y="162"/>
                  </a:lnTo>
                  <a:lnTo>
                    <a:pt x="11" y="175"/>
                  </a:lnTo>
                  <a:lnTo>
                    <a:pt x="13" y="191"/>
                  </a:lnTo>
                  <a:lnTo>
                    <a:pt x="16" y="205"/>
                  </a:lnTo>
                  <a:lnTo>
                    <a:pt x="13" y="219"/>
                  </a:lnTo>
                  <a:lnTo>
                    <a:pt x="7" y="238"/>
                  </a:lnTo>
                  <a:lnTo>
                    <a:pt x="0" y="248"/>
                  </a:lnTo>
                  <a:lnTo>
                    <a:pt x="0" y="262"/>
                  </a:lnTo>
                  <a:lnTo>
                    <a:pt x="4" y="277"/>
                  </a:lnTo>
                  <a:lnTo>
                    <a:pt x="18" y="286"/>
                  </a:lnTo>
                  <a:lnTo>
                    <a:pt x="30" y="287"/>
                  </a:lnTo>
                  <a:lnTo>
                    <a:pt x="42" y="291"/>
                  </a:lnTo>
                  <a:lnTo>
                    <a:pt x="51" y="302"/>
                  </a:lnTo>
                  <a:lnTo>
                    <a:pt x="59" y="310"/>
                  </a:lnTo>
                  <a:lnTo>
                    <a:pt x="69" y="322"/>
                  </a:lnTo>
                  <a:lnTo>
                    <a:pt x="83" y="312"/>
                  </a:lnTo>
                  <a:lnTo>
                    <a:pt x="95" y="302"/>
                  </a:lnTo>
                  <a:lnTo>
                    <a:pt x="105" y="289"/>
                  </a:lnTo>
                  <a:lnTo>
                    <a:pt x="114" y="281"/>
                  </a:lnTo>
                  <a:lnTo>
                    <a:pt x="121" y="268"/>
                  </a:lnTo>
                  <a:lnTo>
                    <a:pt x="121" y="253"/>
                  </a:lnTo>
                  <a:lnTo>
                    <a:pt x="126" y="243"/>
                  </a:lnTo>
                  <a:lnTo>
                    <a:pt x="143" y="239"/>
                  </a:lnTo>
                  <a:lnTo>
                    <a:pt x="155" y="238"/>
                  </a:lnTo>
                  <a:lnTo>
                    <a:pt x="160" y="233"/>
                  </a:lnTo>
                  <a:lnTo>
                    <a:pt x="169" y="228"/>
                  </a:lnTo>
                  <a:lnTo>
                    <a:pt x="175" y="227"/>
                  </a:lnTo>
                  <a:lnTo>
                    <a:pt x="180" y="231"/>
                  </a:lnTo>
                  <a:lnTo>
                    <a:pt x="180" y="241"/>
                  </a:lnTo>
                  <a:lnTo>
                    <a:pt x="185" y="246"/>
                  </a:lnTo>
                  <a:lnTo>
                    <a:pt x="194" y="248"/>
                  </a:lnTo>
                  <a:lnTo>
                    <a:pt x="197" y="263"/>
                  </a:lnTo>
                  <a:lnTo>
                    <a:pt x="196" y="280"/>
                  </a:lnTo>
                  <a:lnTo>
                    <a:pt x="195" y="299"/>
                  </a:lnTo>
                  <a:lnTo>
                    <a:pt x="187" y="312"/>
                  </a:lnTo>
                  <a:lnTo>
                    <a:pt x="178" y="330"/>
                  </a:lnTo>
                  <a:lnTo>
                    <a:pt x="172" y="349"/>
                  </a:lnTo>
                  <a:lnTo>
                    <a:pt x="180" y="358"/>
                  </a:lnTo>
                  <a:lnTo>
                    <a:pt x="196" y="361"/>
                  </a:lnTo>
                  <a:lnTo>
                    <a:pt x="195" y="371"/>
                  </a:lnTo>
                  <a:lnTo>
                    <a:pt x="182" y="380"/>
                  </a:lnTo>
                  <a:lnTo>
                    <a:pt x="171" y="390"/>
                  </a:lnTo>
                  <a:lnTo>
                    <a:pt x="178" y="394"/>
                  </a:lnTo>
                  <a:lnTo>
                    <a:pt x="199" y="388"/>
                  </a:lnTo>
                  <a:lnTo>
                    <a:pt x="208" y="376"/>
                  </a:lnTo>
                  <a:lnTo>
                    <a:pt x="224" y="372"/>
                  </a:lnTo>
                  <a:lnTo>
                    <a:pt x="229" y="360"/>
                  </a:lnTo>
                  <a:lnTo>
                    <a:pt x="237" y="343"/>
                  </a:lnTo>
                  <a:lnTo>
                    <a:pt x="250" y="340"/>
                  </a:lnTo>
                  <a:lnTo>
                    <a:pt x="263" y="327"/>
                  </a:lnTo>
                  <a:lnTo>
                    <a:pt x="268" y="320"/>
                  </a:lnTo>
                  <a:lnTo>
                    <a:pt x="278" y="308"/>
                  </a:lnTo>
                  <a:lnTo>
                    <a:pt x="287" y="307"/>
                  </a:lnTo>
                  <a:lnTo>
                    <a:pt x="293" y="296"/>
                  </a:lnTo>
                  <a:lnTo>
                    <a:pt x="306" y="299"/>
                  </a:lnTo>
                  <a:lnTo>
                    <a:pt x="319" y="295"/>
                  </a:lnTo>
                  <a:lnTo>
                    <a:pt x="327" y="291"/>
                  </a:lnTo>
                  <a:lnTo>
                    <a:pt x="340" y="284"/>
                  </a:lnTo>
                  <a:lnTo>
                    <a:pt x="342" y="269"/>
                  </a:lnTo>
                  <a:lnTo>
                    <a:pt x="352" y="257"/>
                  </a:lnTo>
                  <a:lnTo>
                    <a:pt x="360" y="248"/>
                  </a:lnTo>
                  <a:lnTo>
                    <a:pt x="367" y="231"/>
                  </a:lnTo>
                  <a:lnTo>
                    <a:pt x="377" y="223"/>
                  </a:lnTo>
                  <a:lnTo>
                    <a:pt x="386" y="213"/>
                  </a:lnTo>
                  <a:lnTo>
                    <a:pt x="395" y="208"/>
                  </a:lnTo>
                  <a:lnTo>
                    <a:pt x="401" y="198"/>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82" name="Freeform 32"/>
            <p:cNvSpPr>
              <a:spLocks/>
            </p:cNvSpPr>
            <p:nvPr/>
          </p:nvSpPr>
          <p:spPr bwMode="auto">
            <a:xfrm>
              <a:off x="5443538" y="2581275"/>
              <a:ext cx="557212" cy="806450"/>
            </a:xfrm>
            <a:custGeom>
              <a:avLst/>
              <a:gdLst>
                <a:gd name="T0" fmla="*/ 283 w 381"/>
                <a:gd name="T1" fmla="*/ 94 h 553"/>
                <a:gd name="T2" fmla="*/ 262 w 381"/>
                <a:gd name="T3" fmla="*/ 74 h 553"/>
                <a:gd name="T4" fmla="*/ 264 w 381"/>
                <a:gd name="T5" fmla="*/ 47 h 553"/>
                <a:gd name="T6" fmla="*/ 236 w 381"/>
                <a:gd name="T7" fmla="*/ 5 h 553"/>
                <a:gd name="T8" fmla="*/ 188 w 381"/>
                <a:gd name="T9" fmla="*/ 9 h 553"/>
                <a:gd name="T10" fmla="*/ 179 w 381"/>
                <a:gd name="T11" fmla="*/ 53 h 553"/>
                <a:gd name="T12" fmla="*/ 142 w 381"/>
                <a:gd name="T13" fmla="*/ 56 h 553"/>
                <a:gd name="T14" fmla="*/ 117 w 381"/>
                <a:gd name="T15" fmla="*/ 66 h 553"/>
                <a:gd name="T16" fmla="*/ 65 w 381"/>
                <a:gd name="T17" fmla="*/ 88 h 553"/>
                <a:gd name="T18" fmla="*/ 47 w 381"/>
                <a:gd name="T19" fmla="*/ 49 h 553"/>
                <a:gd name="T20" fmla="*/ 22 w 381"/>
                <a:gd name="T21" fmla="*/ 99 h 553"/>
                <a:gd name="T22" fmla="*/ 10 w 381"/>
                <a:gd name="T23" fmla="*/ 139 h 553"/>
                <a:gd name="T24" fmla="*/ 30 w 381"/>
                <a:gd name="T25" fmla="*/ 182 h 553"/>
                <a:gd name="T26" fmla="*/ 31 w 381"/>
                <a:gd name="T27" fmla="*/ 217 h 553"/>
                <a:gd name="T28" fmla="*/ 36 w 381"/>
                <a:gd name="T29" fmla="*/ 245 h 553"/>
                <a:gd name="T30" fmla="*/ 47 w 381"/>
                <a:gd name="T31" fmla="*/ 283 h 553"/>
                <a:gd name="T32" fmla="*/ 38 w 381"/>
                <a:gd name="T33" fmla="*/ 310 h 553"/>
                <a:gd name="T34" fmla="*/ 11 w 381"/>
                <a:gd name="T35" fmla="*/ 340 h 553"/>
                <a:gd name="T36" fmla="*/ 11 w 381"/>
                <a:gd name="T37" fmla="*/ 390 h 553"/>
                <a:gd name="T38" fmla="*/ 34 w 381"/>
                <a:gd name="T39" fmla="*/ 434 h 553"/>
                <a:gd name="T40" fmla="*/ 10 w 381"/>
                <a:gd name="T41" fmla="*/ 481 h 553"/>
                <a:gd name="T42" fmla="*/ 16 w 381"/>
                <a:gd name="T43" fmla="*/ 526 h 553"/>
                <a:gd name="T44" fmla="*/ 52 w 381"/>
                <a:gd name="T45" fmla="*/ 539 h 553"/>
                <a:gd name="T46" fmla="*/ 89 w 381"/>
                <a:gd name="T47" fmla="*/ 549 h 553"/>
                <a:gd name="T48" fmla="*/ 124 w 381"/>
                <a:gd name="T49" fmla="*/ 539 h 553"/>
                <a:gd name="T50" fmla="*/ 141 w 381"/>
                <a:gd name="T51" fmla="*/ 491 h 553"/>
                <a:gd name="T52" fmla="*/ 176 w 381"/>
                <a:gd name="T53" fmla="*/ 435 h 553"/>
                <a:gd name="T54" fmla="*/ 219 w 381"/>
                <a:gd name="T55" fmla="*/ 394 h 553"/>
                <a:gd name="T56" fmla="*/ 257 w 381"/>
                <a:gd name="T57" fmla="*/ 376 h 553"/>
                <a:gd name="T58" fmla="*/ 264 w 381"/>
                <a:gd name="T59" fmla="*/ 343 h 553"/>
                <a:gd name="T60" fmla="*/ 242 w 381"/>
                <a:gd name="T61" fmla="*/ 326 h 553"/>
                <a:gd name="T62" fmla="*/ 212 w 381"/>
                <a:gd name="T63" fmla="*/ 317 h 553"/>
                <a:gd name="T64" fmla="*/ 207 w 381"/>
                <a:gd name="T65" fmla="*/ 284 h 553"/>
                <a:gd name="T66" fmla="*/ 189 w 381"/>
                <a:gd name="T67" fmla="*/ 265 h 553"/>
                <a:gd name="T68" fmla="*/ 164 w 381"/>
                <a:gd name="T69" fmla="*/ 258 h 553"/>
                <a:gd name="T70" fmla="*/ 116 w 381"/>
                <a:gd name="T71" fmla="*/ 250 h 553"/>
                <a:gd name="T72" fmla="*/ 131 w 381"/>
                <a:gd name="T73" fmla="*/ 209 h 553"/>
                <a:gd name="T74" fmla="*/ 129 w 381"/>
                <a:gd name="T75" fmla="*/ 182 h 553"/>
                <a:gd name="T76" fmla="*/ 149 w 381"/>
                <a:gd name="T77" fmla="*/ 154 h 553"/>
                <a:gd name="T78" fmla="*/ 172 w 381"/>
                <a:gd name="T79" fmla="*/ 135 h 553"/>
                <a:gd name="T80" fmla="*/ 204 w 381"/>
                <a:gd name="T81" fmla="*/ 161 h 553"/>
                <a:gd name="T82" fmla="*/ 215 w 381"/>
                <a:gd name="T83" fmla="*/ 188 h 553"/>
                <a:gd name="T84" fmla="*/ 224 w 381"/>
                <a:gd name="T85" fmla="*/ 219 h 553"/>
                <a:gd name="T86" fmla="*/ 249 w 381"/>
                <a:gd name="T87" fmla="*/ 248 h 553"/>
                <a:gd name="T88" fmla="*/ 272 w 381"/>
                <a:gd name="T89" fmla="*/ 245 h 553"/>
                <a:gd name="T90" fmla="*/ 293 w 381"/>
                <a:gd name="T91" fmla="*/ 281 h 553"/>
                <a:gd name="T92" fmla="*/ 332 w 381"/>
                <a:gd name="T93" fmla="*/ 271 h 553"/>
                <a:gd name="T94" fmla="*/ 362 w 381"/>
                <a:gd name="T95" fmla="*/ 225 h 553"/>
                <a:gd name="T96" fmla="*/ 362 w 381"/>
                <a:gd name="T97" fmla="*/ 176 h 553"/>
                <a:gd name="T98" fmla="*/ 315 w 381"/>
                <a:gd name="T99" fmla="*/ 151 h 553"/>
                <a:gd name="T100" fmla="*/ 324 w 381"/>
                <a:gd name="T101" fmla="*/ 9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1" h="553">
                  <a:moveTo>
                    <a:pt x="324" y="93"/>
                  </a:moveTo>
                  <a:lnTo>
                    <a:pt x="311" y="91"/>
                  </a:lnTo>
                  <a:lnTo>
                    <a:pt x="298" y="95"/>
                  </a:lnTo>
                  <a:lnTo>
                    <a:pt x="283" y="94"/>
                  </a:lnTo>
                  <a:lnTo>
                    <a:pt x="273" y="91"/>
                  </a:lnTo>
                  <a:lnTo>
                    <a:pt x="271" y="83"/>
                  </a:lnTo>
                  <a:lnTo>
                    <a:pt x="270" y="78"/>
                  </a:lnTo>
                  <a:lnTo>
                    <a:pt x="262" y="74"/>
                  </a:lnTo>
                  <a:lnTo>
                    <a:pt x="257" y="65"/>
                  </a:lnTo>
                  <a:lnTo>
                    <a:pt x="262" y="59"/>
                  </a:lnTo>
                  <a:lnTo>
                    <a:pt x="267" y="55"/>
                  </a:lnTo>
                  <a:lnTo>
                    <a:pt x="264" y="47"/>
                  </a:lnTo>
                  <a:lnTo>
                    <a:pt x="256" y="41"/>
                  </a:lnTo>
                  <a:lnTo>
                    <a:pt x="246" y="29"/>
                  </a:lnTo>
                  <a:lnTo>
                    <a:pt x="242" y="18"/>
                  </a:lnTo>
                  <a:lnTo>
                    <a:pt x="236" y="5"/>
                  </a:lnTo>
                  <a:lnTo>
                    <a:pt x="219" y="0"/>
                  </a:lnTo>
                  <a:lnTo>
                    <a:pt x="208" y="2"/>
                  </a:lnTo>
                  <a:lnTo>
                    <a:pt x="197" y="8"/>
                  </a:lnTo>
                  <a:lnTo>
                    <a:pt x="188" y="9"/>
                  </a:lnTo>
                  <a:lnTo>
                    <a:pt x="180" y="21"/>
                  </a:lnTo>
                  <a:lnTo>
                    <a:pt x="181" y="31"/>
                  </a:lnTo>
                  <a:lnTo>
                    <a:pt x="184" y="43"/>
                  </a:lnTo>
                  <a:lnTo>
                    <a:pt x="179" y="53"/>
                  </a:lnTo>
                  <a:lnTo>
                    <a:pt x="165" y="56"/>
                  </a:lnTo>
                  <a:lnTo>
                    <a:pt x="161" y="54"/>
                  </a:lnTo>
                  <a:lnTo>
                    <a:pt x="149" y="51"/>
                  </a:lnTo>
                  <a:lnTo>
                    <a:pt x="142" y="56"/>
                  </a:lnTo>
                  <a:lnTo>
                    <a:pt x="139" y="65"/>
                  </a:lnTo>
                  <a:lnTo>
                    <a:pt x="133" y="73"/>
                  </a:lnTo>
                  <a:lnTo>
                    <a:pt x="126" y="68"/>
                  </a:lnTo>
                  <a:lnTo>
                    <a:pt x="117" y="66"/>
                  </a:lnTo>
                  <a:lnTo>
                    <a:pt x="103" y="76"/>
                  </a:lnTo>
                  <a:lnTo>
                    <a:pt x="91" y="86"/>
                  </a:lnTo>
                  <a:lnTo>
                    <a:pt x="72" y="91"/>
                  </a:lnTo>
                  <a:lnTo>
                    <a:pt x="65" y="88"/>
                  </a:lnTo>
                  <a:lnTo>
                    <a:pt x="67" y="77"/>
                  </a:lnTo>
                  <a:lnTo>
                    <a:pt x="69" y="65"/>
                  </a:lnTo>
                  <a:lnTo>
                    <a:pt x="60" y="48"/>
                  </a:lnTo>
                  <a:lnTo>
                    <a:pt x="47" y="49"/>
                  </a:lnTo>
                  <a:lnTo>
                    <a:pt x="39" y="57"/>
                  </a:lnTo>
                  <a:lnTo>
                    <a:pt x="31" y="70"/>
                  </a:lnTo>
                  <a:lnTo>
                    <a:pt x="22" y="91"/>
                  </a:lnTo>
                  <a:lnTo>
                    <a:pt x="22" y="99"/>
                  </a:lnTo>
                  <a:lnTo>
                    <a:pt x="15" y="107"/>
                  </a:lnTo>
                  <a:lnTo>
                    <a:pt x="11" y="119"/>
                  </a:lnTo>
                  <a:lnTo>
                    <a:pt x="6" y="129"/>
                  </a:lnTo>
                  <a:lnTo>
                    <a:pt x="10" y="139"/>
                  </a:lnTo>
                  <a:lnTo>
                    <a:pt x="11" y="148"/>
                  </a:lnTo>
                  <a:lnTo>
                    <a:pt x="15" y="164"/>
                  </a:lnTo>
                  <a:lnTo>
                    <a:pt x="20" y="173"/>
                  </a:lnTo>
                  <a:lnTo>
                    <a:pt x="30" y="182"/>
                  </a:lnTo>
                  <a:lnTo>
                    <a:pt x="36" y="189"/>
                  </a:lnTo>
                  <a:lnTo>
                    <a:pt x="41" y="201"/>
                  </a:lnTo>
                  <a:lnTo>
                    <a:pt x="44" y="215"/>
                  </a:lnTo>
                  <a:lnTo>
                    <a:pt x="31" y="217"/>
                  </a:lnTo>
                  <a:lnTo>
                    <a:pt x="21" y="225"/>
                  </a:lnTo>
                  <a:lnTo>
                    <a:pt x="18" y="235"/>
                  </a:lnTo>
                  <a:lnTo>
                    <a:pt x="23" y="243"/>
                  </a:lnTo>
                  <a:lnTo>
                    <a:pt x="36" y="245"/>
                  </a:lnTo>
                  <a:lnTo>
                    <a:pt x="43" y="248"/>
                  </a:lnTo>
                  <a:lnTo>
                    <a:pt x="45" y="260"/>
                  </a:lnTo>
                  <a:lnTo>
                    <a:pt x="44" y="271"/>
                  </a:lnTo>
                  <a:lnTo>
                    <a:pt x="47" y="283"/>
                  </a:lnTo>
                  <a:lnTo>
                    <a:pt x="47" y="291"/>
                  </a:lnTo>
                  <a:lnTo>
                    <a:pt x="48" y="303"/>
                  </a:lnTo>
                  <a:lnTo>
                    <a:pt x="45" y="309"/>
                  </a:lnTo>
                  <a:lnTo>
                    <a:pt x="38" y="310"/>
                  </a:lnTo>
                  <a:lnTo>
                    <a:pt x="26" y="309"/>
                  </a:lnTo>
                  <a:lnTo>
                    <a:pt x="18" y="317"/>
                  </a:lnTo>
                  <a:lnTo>
                    <a:pt x="16" y="329"/>
                  </a:lnTo>
                  <a:lnTo>
                    <a:pt x="11" y="340"/>
                  </a:lnTo>
                  <a:lnTo>
                    <a:pt x="5" y="350"/>
                  </a:lnTo>
                  <a:lnTo>
                    <a:pt x="0" y="365"/>
                  </a:lnTo>
                  <a:lnTo>
                    <a:pt x="3" y="379"/>
                  </a:lnTo>
                  <a:lnTo>
                    <a:pt x="11" y="390"/>
                  </a:lnTo>
                  <a:lnTo>
                    <a:pt x="21" y="400"/>
                  </a:lnTo>
                  <a:lnTo>
                    <a:pt x="28" y="405"/>
                  </a:lnTo>
                  <a:lnTo>
                    <a:pt x="32" y="418"/>
                  </a:lnTo>
                  <a:lnTo>
                    <a:pt x="34" y="434"/>
                  </a:lnTo>
                  <a:lnTo>
                    <a:pt x="31" y="447"/>
                  </a:lnTo>
                  <a:lnTo>
                    <a:pt x="26" y="457"/>
                  </a:lnTo>
                  <a:lnTo>
                    <a:pt x="20" y="471"/>
                  </a:lnTo>
                  <a:lnTo>
                    <a:pt x="10" y="481"/>
                  </a:lnTo>
                  <a:lnTo>
                    <a:pt x="8" y="492"/>
                  </a:lnTo>
                  <a:lnTo>
                    <a:pt x="5" y="500"/>
                  </a:lnTo>
                  <a:lnTo>
                    <a:pt x="13" y="512"/>
                  </a:lnTo>
                  <a:lnTo>
                    <a:pt x="16" y="526"/>
                  </a:lnTo>
                  <a:lnTo>
                    <a:pt x="19" y="536"/>
                  </a:lnTo>
                  <a:lnTo>
                    <a:pt x="26" y="546"/>
                  </a:lnTo>
                  <a:lnTo>
                    <a:pt x="36" y="544"/>
                  </a:lnTo>
                  <a:lnTo>
                    <a:pt x="52" y="539"/>
                  </a:lnTo>
                  <a:lnTo>
                    <a:pt x="62" y="544"/>
                  </a:lnTo>
                  <a:lnTo>
                    <a:pt x="67" y="552"/>
                  </a:lnTo>
                  <a:lnTo>
                    <a:pt x="77" y="549"/>
                  </a:lnTo>
                  <a:lnTo>
                    <a:pt x="89" y="549"/>
                  </a:lnTo>
                  <a:lnTo>
                    <a:pt x="101" y="552"/>
                  </a:lnTo>
                  <a:lnTo>
                    <a:pt x="111" y="546"/>
                  </a:lnTo>
                  <a:lnTo>
                    <a:pt x="120" y="545"/>
                  </a:lnTo>
                  <a:lnTo>
                    <a:pt x="124" y="539"/>
                  </a:lnTo>
                  <a:lnTo>
                    <a:pt x="126" y="526"/>
                  </a:lnTo>
                  <a:lnTo>
                    <a:pt x="131" y="511"/>
                  </a:lnTo>
                  <a:lnTo>
                    <a:pt x="137" y="505"/>
                  </a:lnTo>
                  <a:lnTo>
                    <a:pt x="141" y="491"/>
                  </a:lnTo>
                  <a:lnTo>
                    <a:pt x="144" y="481"/>
                  </a:lnTo>
                  <a:lnTo>
                    <a:pt x="149" y="462"/>
                  </a:lnTo>
                  <a:lnTo>
                    <a:pt x="152" y="450"/>
                  </a:lnTo>
                  <a:lnTo>
                    <a:pt x="176" y="435"/>
                  </a:lnTo>
                  <a:lnTo>
                    <a:pt x="193" y="423"/>
                  </a:lnTo>
                  <a:lnTo>
                    <a:pt x="205" y="418"/>
                  </a:lnTo>
                  <a:lnTo>
                    <a:pt x="214" y="409"/>
                  </a:lnTo>
                  <a:lnTo>
                    <a:pt x="219" y="394"/>
                  </a:lnTo>
                  <a:lnTo>
                    <a:pt x="227" y="392"/>
                  </a:lnTo>
                  <a:lnTo>
                    <a:pt x="240" y="393"/>
                  </a:lnTo>
                  <a:lnTo>
                    <a:pt x="252" y="385"/>
                  </a:lnTo>
                  <a:lnTo>
                    <a:pt x="257" y="376"/>
                  </a:lnTo>
                  <a:lnTo>
                    <a:pt x="265" y="365"/>
                  </a:lnTo>
                  <a:lnTo>
                    <a:pt x="270" y="358"/>
                  </a:lnTo>
                  <a:lnTo>
                    <a:pt x="270" y="354"/>
                  </a:lnTo>
                  <a:lnTo>
                    <a:pt x="264" y="343"/>
                  </a:lnTo>
                  <a:lnTo>
                    <a:pt x="257" y="338"/>
                  </a:lnTo>
                  <a:lnTo>
                    <a:pt x="255" y="328"/>
                  </a:lnTo>
                  <a:lnTo>
                    <a:pt x="250" y="322"/>
                  </a:lnTo>
                  <a:lnTo>
                    <a:pt x="242" y="326"/>
                  </a:lnTo>
                  <a:lnTo>
                    <a:pt x="234" y="331"/>
                  </a:lnTo>
                  <a:lnTo>
                    <a:pt x="224" y="333"/>
                  </a:lnTo>
                  <a:lnTo>
                    <a:pt x="221" y="320"/>
                  </a:lnTo>
                  <a:lnTo>
                    <a:pt x="212" y="317"/>
                  </a:lnTo>
                  <a:lnTo>
                    <a:pt x="203" y="312"/>
                  </a:lnTo>
                  <a:lnTo>
                    <a:pt x="198" y="303"/>
                  </a:lnTo>
                  <a:lnTo>
                    <a:pt x="201" y="294"/>
                  </a:lnTo>
                  <a:lnTo>
                    <a:pt x="207" y="284"/>
                  </a:lnTo>
                  <a:lnTo>
                    <a:pt x="212" y="276"/>
                  </a:lnTo>
                  <a:lnTo>
                    <a:pt x="211" y="268"/>
                  </a:lnTo>
                  <a:lnTo>
                    <a:pt x="204" y="263"/>
                  </a:lnTo>
                  <a:lnTo>
                    <a:pt x="189" y="265"/>
                  </a:lnTo>
                  <a:lnTo>
                    <a:pt x="180" y="262"/>
                  </a:lnTo>
                  <a:lnTo>
                    <a:pt x="178" y="258"/>
                  </a:lnTo>
                  <a:lnTo>
                    <a:pt x="173" y="255"/>
                  </a:lnTo>
                  <a:lnTo>
                    <a:pt x="164" y="258"/>
                  </a:lnTo>
                  <a:lnTo>
                    <a:pt x="149" y="263"/>
                  </a:lnTo>
                  <a:lnTo>
                    <a:pt x="138" y="266"/>
                  </a:lnTo>
                  <a:lnTo>
                    <a:pt x="126" y="261"/>
                  </a:lnTo>
                  <a:lnTo>
                    <a:pt x="116" y="250"/>
                  </a:lnTo>
                  <a:lnTo>
                    <a:pt x="115" y="237"/>
                  </a:lnTo>
                  <a:lnTo>
                    <a:pt x="117" y="225"/>
                  </a:lnTo>
                  <a:lnTo>
                    <a:pt x="121" y="217"/>
                  </a:lnTo>
                  <a:lnTo>
                    <a:pt x="131" y="209"/>
                  </a:lnTo>
                  <a:lnTo>
                    <a:pt x="137" y="202"/>
                  </a:lnTo>
                  <a:lnTo>
                    <a:pt x="138" y="196"/>
                  </a:lnTo>
                  <a:lnTo>
                    <a:pt x="129" y="189"/>
                  </a:lnTo>
                  <a:lnTo>
                    <a:pt x="129" y="182"/>
                  </a:lnTo>
                  <a:lnTo>
                    <a:pt x="133" y="173"/>
                  </a:lnTo>
                  <a:lnTo>
                    <a:pt x="144" y="171"/>
                  </a:lnTo>
                  <a:lnTo>
                    <a:pt x="146" y="162"/>
                  </a:lnTo>
                  <a:lnTo>
                    <a:pt x="149" y="154"/>
                  </a:lnTo>
                  <a:lnTo>
                    <a:pt x="157" y="154"/>
                  </a:lnTo>
                  <a:lnTo>
                    <a:pt x="163" y="147"/>
                  </a:lnTo>
                  <a:lnTo>
                    <a:pt x="165" y="141"/>
                  </a:lnTo>
                  <a:lnTo>
                    <a:pt x="172" y="135"/>
                  </a:lnTo>
                  <a:lnTo>
                    <a:pt x="179" y="138"/>
                  </a:lnTo>
                  <a:lnTo>
                    <a:pt x="185" y="151"/>
                  </a:lnTo>
                  <a:lnTo>
                    <a:pt x="191" y="158"/>
                  </a:lnTo>
                  <a:lnTo>
                    <a:pt x="204" y="161"/>
                  </a:lnTo>
                  <a:lnTo>
                    <a:pt x="216" y="167"/>
                  </a:lnTo>
                  <a:lnTo>
                    <a:pt x="221" y="169"/>
                  </a:lnTo>
                  <a:lnTo>
                    <a:pt x="214" y="179"/>
                  </a:lnTo>
                  <a:lnTo>
                    <a:pt x="215" y="188"/>
                  </a:lnTo>
                  <a:lnTo>
                    <a:pt x="220" y="196"/>
                  </a:lnTo>
                  <a:lnTo>
                    <a:pt x="225" y="202"/>
                  </a:lnTo>
                  <a:lnTo>
                    <a:pt x="226" y="210"/>
                  </a:lnTo>
                  <a:lnTo>
                    <a:pt x="224" y="219"/>
                  </a:lnTo>
                  <a:lnTo>
                    <a:pt x="230" y="225"/>
                  </a:lnTo>
                  <a:lnTo>
                    <a:pt x="237" y="233"/>
                  </a:lnTo>
                  <a:lnTo>
                    <a:pt x="246" y="243"/>
                  </a:lnTo>
                  <a:lnTo>
                    <a:pt x="249" y="248"/>
                  </a:lnTo>
                  <a:lnTo>
                    <a:pt x="260" y="251"/>
                  </a:lnTo>
                  <a:lnTo>
                    <a:pt x="263" y="248"/>
                  </a:lnTo>
                  <a:lnTo>
                    <a:pt x="268" y="240"/>
                  </a:lnTo>
                  <a:lnTo>
                    <a:pt x="272" y="245"/>
                  </a:lnTo>
                  <a:lnTo>
                    <a:pt x="276" y="253"/>
                  </a:lnTo>
                  <a:lnTo>
                    <a:pt x="277" y="263"/>
                  </a:lnTo>
                  <a:lnTo>
                    <a:pt x="280" y="275"/>
                  </a:lnTo>
                  <a:lnTo>
                    <a:pt x="293" y="281"/>
                  </a:lnTo>
                  <a:lnTo>
                    <a:pt x="302" y="281"/>
                  </a:lnTo>
                  <a:lnTo>
                    <a:pt x="309" y="278"/>
                  </a:lnTo>
                  <a:lnTo>
                    <a:pt x="317" y="275"/>
                  </a:lnTo>
                  <a:lnTo>
                    <a:pt x="332" y="271"/>
                  </a:lnTo>
                  <a:lnTo>
                    <a:pt x="346" y="261"/>
                  </a:lnTo>
                  <a:lnTo>
                    <a:pt x="350" y="245"/>
                  </a:lnTo>
                  <a:lnTo>
                    <a:pt x="353" y="235"/>
                  </a:lnTo>
                  <a:lnTo>
                    <a:pt x="362" y="225"/>
                  </a:lnTo>
                  <a:lnTo>
                    <a:pt x="371" y="212"/>
                  </a:lnTo>
                  <a:lnTo>
                    <a:pt x="380" y="196"/>
                  </a:lnTo>
                  <a:lnTo>
                    <a:pt x="370" y="184"/>
                  </a:lnTo>
                  <a:lnTo>
                    <a:pt x="362" y="176"/>
                  </a:lnTo>
                  <a:lnTo>
                    <a:pt x="353" y="165"/>
                  </a:lnTo>
                  <a:lnTo>
                    <a:pt x="341" y="161"/>
                  </a:lnTo>
                  <a:lnTo>
                    <a:pt x="329" y="160"/>
                  </a:lnTo>
                  <a:lnTo>
                    <a:pt x="315" y="151"/>
                  </a:lnTo>
                  <a:lnTo>
                    <a:pt x="311" y="136"/>
                  </a:lnTo>
                  <a:lnTo>
                    <a:pt x="311" y="122"/>
                  </a:lnTo>
                  <a:lnTo>
                    <a:pt x="318" y="112"/>
                  </a:lnTo>
                  <a:lnTo>
                    <a:pt x="324" y="93"/>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83" name="Freeform 33"/>
            <p:cNvSpPr>
              <a:spLocks/>
            </p:cNvSpPr>
            <p:nvPr/>
          </p:nvSpPr>
          <p:spPr bwMode="auto">
            <a:xfrm>
              <a:off x="5613400" y="2778125"/>
              <a:ext cx="163513" cy="192088"/>
            </a:xfrm>
            <a:custGeom>
              <a:avLst/>
              <a:gdLst>
                <a:gd name="T0" fmla="*/ 63 w 112"/>
                <a:gd name="T1" fmla="*/ 123 h 132"/>
                <a:gd name="T2" fmla="*/ 65 w 112"/>
                <a:gd name="T3" fmla="*/ 115 h 132"/>
                <a:gd name="T4" fmla="*/ 74 w 112"/>
                <a:gd name="T5" fmla="*/ 113 h 132"/>
                <a:gd name="T6" fmla="*/ 83 w 112"/>
                <a:gd name="T7" fmla="*/ 108 h 132"/>
                <a:gd name="T8" fmla="*/ 90 w 112"/>
                <a:gd name="T9" fmla="*/ 100 h 132"/>
                <a:gd name="T10" fmla="*/ 96 w 112"/>
                <a:gd name="T11" fmla="*/ 91 h 132"/>
                <a:gd name="T12" fmla="*/ 105 w 112"/>
                <a:gd name="T13" fmla="*/ 85 h 132"/>
                <a:gd name="T14" fmla="*/ 109 w 112"/>
                <a:gd name="T15" fmla="*/ 84 h 132"/>
                <a:gd name="T16" fmla="*/ 111 w 112"/>
                <a:gd name="T17" fmla="*/ 75 h 132"/>
                <a:gd name="T18" fmla="*/ 110 w 112"/>
                <a:gd name="T19" fmla="*/ 67 h 132"/>
                <a:gd name="T20" fmla="*/ 105 w 112"/>
                <a:gd name="T21" fmla="*/ 61 h 132"/>
                <a:gd name="T22" fmla="*/ 100 w 112"/>
                <a:gd name="T23" fmla="*/ 53 h 132"/>
                <a:gd name="T24" fmla="*/ 99 w 112"/>
                <a:gd name="T25" fmla="*/ 44 h 132"/>
                <a:gd name="T26" fmla="*/ 106 w 112"/>
                <a:gd name="T27" fmla="*/ 34 h 132"/>
                <a:gd name="T28" fmla="*/ 101 w 112"/>
                <a:gd name="T29" fmla="*/ 32 h 132"/>
                <a:gd name="T30" fmla="*/ 89 w 112"/>
                <a:gd name="T31" fmla="*/ 26 h 132"/>
                <a:gd name="T32" fmla="*/ 76 w 112"/>
                <a:gd name="T33" fmla="*/ 23 h 132"/>
                <a:gd name="T34" fmla="*/ 70 w 112"/>
                <a:gd name="T35" fmla="*/ 16 h 132"/>
                <a:gd name="T36" fmla="*/ 64 w 112"/>
                <a:gd name="T37" fmla="*/ 3 h 132"/>
                <a:gd name="T38" fmla="*/ 57 w 112"/>
                <a:gd name="T39" fmla="*/ 0 h 132"/>
                <a:gd name="T40" fmla="*/ 50 w 112"/>
                <a:gd name="T41" fmla="*/ 6 h 132"/>
                <a:gd name="T42" fmla="*/ 48 w 112"/>
                <a:gd name="T43" fmla="*/ 12 h 132"/>
                <a:gd name="T44" fmla="*/ 42 w 112"/>
                <a:gd name="T45" fmla="*/ 19 h 132"/>
                <a:gd name="T46" fmla="*/ 34 w 112"/>
                <a:gd name="T47" fmla="*/ 19 h 132"/>
                <a:gd name="T48" fmla="*/ 31 w 112"/>
                <a:gd name="T49" fmla="*/ 27 h 132"/>
                <a:gd name="T50" fmla="*/ 29 w 112"/>
                <a:gd name="T51" fmla="*/ 36 h 132"/>
                <a:gd name="T52" fmla="*/ 18 w 112"/>
                <a:gd name="T53" fmla="*/ 38 h 132"/>
                <a:gd name="T54" fmla="*/ 14 w 112"/>
                <a:gd name="T55" fmla="*/ 47 h 132"/>
                <a:gd name="T56" fmla="*/ 14 w 112"/>
                <a:gd name="T57" fmla="*/ 54 h 132"/>
                <a:gd name="T58" fmla="*/ 23 w 112"/>
                <a:gd name="T59" fmla="*/ 61 h 132"/>
                <a:gd name="T60" fmla="*/ 22 w 112"/>
                <a:gd name="T61" fmla="*/ 67 h 132"/>
                <a:gd name="T62" fmla="*/ 16 w 112"/>
                <a:gd name="T63" fmla="*/ 74 h 132"/>
                <a:gd name="T64" fmla="*/ 6 w 112"/>
                <a:gd name="T65" fmla="*/ 82 h 132"/>
                <a:gd name="T66" fmla="*/ 2 w 112"/>
                <a:gd name="T67" fmla="*/ 90 h 132"/>
                <a:gd name="T68" fmla="*/ 0 w 112"/>
                <a:gd name="T69" fmla="*/ 102 h 132"/>
                <a:gd name="T70" fmla="*/ 1 w 112"/>
                <a:gd name="T71" fmla="*/ 115 h 132"/>
                <a:gd name="T72" fmla="*/ 11 w 112"/>
                <a:gd name="T73" fmla="*/ 126 h 132"/>
                <a:gd name="T74" fmla="*/ 23 w 112"/>
                <a:gd name="T75" fmla="*/ 131 h 132"/>
                <a:gd name="T76" fmla="*/ 34 w 112"/>
                <a:gd name="T77" fmla="*/ 128 h 132"/>
                <a:gd name="T78" fmla="*/ 49 w 112"/>
                <a:gd name="T79" fmla="*/ 123 h 132"/>
                <a:gd name="T80" fmla="*/ 58 w 112"/>
                <a:gd name="T81" fmla="*/ 120 h 132"/>
                <a:gd name="T82" fmla="*/ 63 w 112"/>
                <a:gd name="T83" fmla="*/ 1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32">
                  <a:moveTo>
                    <a:pt x="63" y="123"/>
                  </a:moveTo>
                  <a:lnTo>
                    <a:pt x="65" y="115"/>
                  </a:lnTo>
                  <a:lnTo>
                    <a:pt x="74" y="113"/>
                  </a:lnTo>
                  <a:lnTo>
                    <a:pt x="83" y="108"/>
                  </a:lnTo>
                  <a:lnTo>
                    <a:pt x="90" y="100"/>
                  </a:lnTo>
                  <a:lnTo>
                    <a:pt x="96" y="91"/>
                  </a:lnTo>
                  <a:lnTo>
                    <a:pt x="105" y="85"/>
                  </a:lnTo>
                  <a:lnTo>
                    <a:pt x="109" y="84"/>
                  </a:lnTo>
                  <a:lnTo>
                    <a:pt x="111" y="75"/>
                  </a:lnTo>
                  <a:lnTo>
                    <a:pt x="110" y="67"/>
                  </a:lnTo>
                  <a:lnTo>
                    <a:pt x="105" y="61"/>
                  </a:lnTo>
                  <a:lnTo>
                    <a:pt x="100" y="53"/>
                  </a:lnTo>
                  <a:lnTo>
                    <a:pt x="99" y="44"/>
                  </a:lnTo>
                  <a:lnTo>
                    <a:pt x="106" y="34"/>
                  </a:lnTo>
                  <a:lnTo>
                    <a:pt x="101" y="32"/>
                  </a:lnTo>
                  <a:lnTo>
                    <a:pt x="89" y="26"/>
                  </a:lnTo>
                  <a:lnTo>
                    <a:pt x="76" y="23"/>
                  </a:lnTo>
                  <a:lnTo>
                    <a:pt x="70" y="16"/>
                  </a:lnTo>
                  <a:lnTo>
                    <a:pt x="64" y="3"/>
                  </a:lnTo>
                  <a:lnTo>
                    <a:pt x="57" y="0"/>
                  </a:lnTo>
                  <a:lnTo>
                    <a:pt x="50" y="6"/>
                  </a:lnTo>
                  <a:lnTo>
                    <a:pt x="48" y="12"/>
                  </a:lnTo>
                  <a:lnTo>
                    <a:pt x="42" y="19"/>
                  </a:lnTo>
                  <a:lnTo>
                    <a:pt x="34" y="19"/>
                  </a:lnTo>
                  <a:lnTo>
                    <a:pt x="31" y="27"/>
                  </a:lnTo>
                  <a:lnTo>
                    <a:pt x="29" y="36"/>
                  </a:lnTo>
                  <a:lnTo>
                    <a:pt x="18" y="38"/>
                  </a:lnTo>
                  <a:lnTo>
                    <a:pt x="14" y="47"/>
                  </a:lnTo>
                  <a:lnTo>
                    <a:pt x="14" y="54"/>
                  </a:lnTo>
                  <a:lnTo>
                    <a:pt x="23" y="61"/>
                  </a:lnTo>
                  <a:lnTo>
                    <a:pt x="22" y="67"/>
                  </a:lnTo>
                  <a:lnTo>
                    <a:pt x="16" y="74"/>
                  </a:lnTo>
                  <a:lnTo>
                    <a:pt x="6" y="82"/>
                  </a:lnTo>
                  <a:lnTo>
                    <a:pt x="2" y="90"/>
                  </a:lnTo>
                  <a:lnTo>
                    <a:pt x="0" y="102"/>
                  </a:lnTo>
                  <a:lnTo>
                    <a:pt x="1" y="115"/>
                  </a:lnTo>
                  <a:lnTo>
                    <a:pt x="11" y="126"/>
                  </a:lnTo>
                  <a:lnTo>
                    <a:pt x="23" y="131"/>
                  </a:lnTo>
                  <a:lnTo>
                    <a:pt x="34" y="128"/>
                  </a:lnTo>
                  <a:lnTo>
                    <a:pt x="49" y="123"/>
                  </a:lnTo>
                  <a:lnTo>
                    <a:pt x="58" y="120"/>
                  </a:lnTo>
                  <a:lnTo>
                    <a:pt x="63" y="123"/>
                  </a:lnTo>
                </a:path>
              </a:pathLst>
            </a:custGeom>
            <a:solidFill>
              <a:schemeClr val="bg2"/>
            </a:solidFill>
            <a:ln w="12700" cap="rnd" cmpd="sng">
              <a:solidFill>
                <a:schemeClr val="bg2"/>
              </a:solidFill>
              <a:prstDash val="solid"/>
              <a:round/>
              <a:headEnd type="none" w="sm" len="sm"/>
              <a:tailEnd type="none" w="sm" len="sm"/>
            </a:ln>
            <a:effectLst/>
          </p:spPr>
          <p:txBody>
            <a:bodyPr/>
            <a:lstStyle/>
            <a:p>
              <a:endParaRPr lang="en-US">
                <a:latin typeface="Arial" panose="020B0604020202020204" pitchFamily="34" charset="0"/>
                <a:cs typeface="Arial" panose="020B0604020202020204" pitchFamily="34" charset="0"/>
              </a:endParaRPr>
            </a:p>
          </p:txBody>
        </p:sp>
        <p:sp>
          <p:nvSpPr>
            <p:cNvPr id="584" name="Freeform 34"/>
            <p:cNvSpPr>
              <a:spLocks/>
            </p:cNvSpPr>
            <p:nvPr/>
          </p:nvSpPr>
          <p:spPr bwMode="auto">
            <a:xfrm>
              <a:off x="4676775" y="3875088"/>
              <a:ext cx="490538" cy="471487"/>
            </a:xfrm>
            <a:custGeom>
              <a:avLst/>
              <a:gdLst>
                <a:gd name="T0" fmla="*/ 215 w 369"/>
                <a:gd name="T1" fmla="*/ 21 h 355"/>
                <a:gd name="T2" fmla="*/ 210 w 369"/>
                <a:gd name="T3" fmla="*/ 45 h 355"/>
                <a:gd name="T4" fmla="*/ 222 w 369"/>
                <a:gd name="T5" fmla="*/ 60 h 355"/>
                <a:gd name="T6" fmla="*/ 200 w 369"/>
                <a:gd name="T7" fmla="*/ 93 h 355"/>
                <a:gd name="T8" fmla="*/ 192 w 369"/>
                <a:gd name="T9" fmla="*/ 126 h 355"/>
                <a:gd name="T10" fmla="*/ 149 w 369"/>
                <a:gd name="T11" fmla="*/ 169 h 355"/>
                <a:gd name="T12" fmla="*/ 98 w 369"/>
                <a:gd name="T13" fmla="*/ 198 h 355"/>
                <a:gd name="T14" fmla="*/ 65 w 369"/>
                <a:gd name="T15" fmla="*/ 189 h 355"/>
                <a:gd name="T16" fmla="*/ 21 w 369"/>
                <a:gd name="T17" fmla="*/ 189 h 355"/>
                <a:gd name="T18" fmla="*/ 11 w 369"/>
                <a:gd name="T19" fmla="*/ 235 h 355"/>
                <a:gd name="T20" fmla="*/ 20 w 369"/>
                <a:gd name="T21" fmla="*/ 277 h 355"/>
                <a:gd name="T22" fmla="*/ 39 w 369"/>
                <a:gd name="T23" fmla="*/ 318 h 355"/>
                <a:gd name="T24" fmla="*/ 71 w 369"/>
                <a:gd name="T25" fmla="*/ 324 h 355"/>
                <a:gd name="T26" fmla="*/ 84 w 369"/>
                <a:gd name="T27" fmla="*/ 319 h 355"/>
                <a:gd name="T28" fmla="*/ 99 w 369"/>
                <a:gd name="T29" fmla="*/ 334 h 355"/>
                <a:gd name="T30" fmla="*/ 122 w 369"/>
                <a:gd name="T31" fmla="*/ 301 h 355"/>
                <a:gd name="T32" fmla="*/ 143 w 369"/>
                <a:gd name="T33" fmla="*/ 303 h 355"/>
                <a:gd name="T34" fmla="*/ 168 w 369"/>
                <a:gd name="T35" fmla="*/ 276 h 355"/>
                <a:gd name="T36" fmla="*/ 191 w 369"/>
                <a:gd name="T37" fmla="*/ 279 h 355"/>
                <a:gd name="T38" fmla="*/ 210 w 369"/>
                <a:gd name="T39" fmla="*/ 289 h 355"/>
                <a:gd name="T40" fmla="*/ 230 w 369"/>
                <a:gd name="T41" fmla="*/ 294 h 355"/>
                <a:gd name="T42" fmla="*/ 243 w 369"/>
                <a:gd name="T43" fmla="*/ 321 h 355"/>
                <a:gd name="T44" fmla="*/ 257 w 369"/>
                <a:gd name="T45" fmla="*/ 346 h 355"/>
                <a:gd name="T46" fmla="*/ 296 w 369"/>
                <a:gd name="T47" fmla="*/ 346 h 355"/>
                <a:gd name="T48" fmla="*/ 302 w 369"/>
                <a:gd name="T49" fmla="*/ 301 h 355"/>
                <a:gd name="T50" fmla="*/ 284 w 369"/>
                <a:gd name="T51" fmla="*/ 277 h 355"/>
                <a:gd name="T52" fmla="*/ 264 w 369"/>
                <a:gd name="T53" fmla="*/ 252 h 355"/>
                <a:gd name="T54" fmla="*/ 243 w 369"/>
                <a:gd name="T55" fmla="*/ 234 h 355"/>
                <a:gd name="T56" fmla="*/ 242 w 369"/>
                <a:gd name="T57" fmla="*/ 193 h 355"/>
                <a:gd name="T58" fmla="*/ 242 w 369"/>
                <a:gd name="T59" fmla="*/ 175 h 355"/>
                <a:gd name="T60" fmla="*/ 260 w 369"/>
                <a:gd name="T61" fmla="*/ 148 h 355"/>
                <a:gd name="T62" fmla="*/ 287 w 369"/>
                <a:gd name="T63" fmla="*/ 153 h 355"/>
                <a:gd name="T64" fmla="*/ 305 w 369"/>
                <a:gd name="T65" fmla="*/ 148 h 355"/>
                <a:gd name="T66" fmla="*/ 332 w 369"/>
                <a:gd name="T67" fmla="*/ 139 h 355"/>
                <a:gd name="T68" fmla="*/ 348 w 369"/>
                <a:gd name="T69" fmla="*/ 123 h 355"/>
                <a:gd name="T70" fmla="*/ 369 w 369"/>
                <a:gd name="T71" fmla="*/ 108 h 355"/>
                <a:gd name="T72" fmla="*/ 356 w 369"/>
                <a:gd name="T73" fmla="*/ 75 h 355"/>
                <a:gd name="T74" fmla="*/ 332 w 369"/>
                <a:gd name="T75" fmla="*/ 61 h 355"/>
                <a:gd name="T76" fmla="*/ 308 w 369"/>
                <a:gd name="T77" fmla="*/ 51 h 355"/>
                <a:gd name="T78" fmla="*/ 282 w 369"/>
                <a:gd name="T79" fmla="*/ 33 h 355"/>
                <a:gd name="T80" fmla="*/ 237 w 369"/>
                <a:gd name="T81"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9" h="355">
                  <a:moveTo>
                    <a:pt x="215" y="9"/>
                  </a:moveTo>
                  <a:cubicBezTo>
                    <a:pt x="215" y="11"/>
                    <a:pt x="216" y="16"/>
                    <a:pt x="215" y="21"/>
                  </a:cubicBezTo>
                  <a:cubicBezTo>
                    <a:pt x="214" y="26"/>
                    <a:pt x="210" y="35"/>
                    <a:pt x="209" y="39"/>
                  </a:cubicBezTo>
                  <a:cubicBezTo>
                    <a:pt x="209" y="41"/>
                    <a:pt x="209" y="43"/>
                    <a:pt x="210" y="45"/>
                  </a:cubicBezTo>
                  <a:cubicBezTo>
                    <a:pt x="211" y="46"/>
                    <a:pt x="214" y="45"/>
                    <a:pt x="215" y="46"/>
                  </a:cubicBezTo>
                  <a:cubicBezTo>
                    <a:pt x="217" y="48"/>
                    <a:pt x="220" y="57"/>
                    <a:pt x="222" y="60"/>
                  </a:cubicBezTo>
                  <a:cubicBezTo>
                    <a:pt x="221" y="69"/>
                    <a:pt x="218" y="74"/>
                    <a:pt x="210" y="79"/>
                  </a:cubicBezTo>
                  <a:cubicBezTo>
                    <a:pt x="205" y="88"/>
                    <a:pt x="209" y="82"/>
                    <a:pt x="200" y="93"/>
                  </a:cubicBezTo>
                  <a:cubicBezTo>
                    <a:pt x="199" y="94"/>
                    <a:pt x="197" y="97"/>
                    <a:pt x="197" y="97"/>
                  </a:cubicBezTo>
                  <a:cubicBezTo>
                    <a:pt x="196" y="107"/>
                    <a:pt x="196" y="117"/>
                    <a:pt x="192" y="126"/>
                  </a:cubicBezTo>
                  <a:cubicBezTo>
                    <a:pt x="190" y="145"/>
                    <a:pt x="180" y="138"/>
                    <a:pt x="159" y="139"/>
                  </a:cubicBezTo>
                  <a:cubicBezTo>
                    <a:pt x="152" y="150"/>
                    <a:pt x="162" y="159"/>
                    <a:pt x="149" y="169"/>
                  </a:cubicBezTo>
                  <a:lnTo>
                    <a:pt x="111" y="208"/>
                  </a:lnTo>
                  <a:cubicBezTo>
                    <a:pt x="98" y="207"/>
                    <a:pt x="104" y="206"/>
                    <a:pt x="98" y="198"/>
                  </a:cubicBezTo>
                  <a:cubicBezTo>
                    <a:pt x="95" y="186"/>
                    <a:pt x="95" y="186"/>
                    <a:pt x="83" y="187"/>
                  </a:cubicBezTo>
                  <a:cubicBezTo>
                    <a:pt x="76" y="189"/>
                    <a:pt x="73" y="190"/>
                    <a:pt x="65" y="189"/>
                  </a:cubicBezTo>
                  <a:cubicBezTo>
                    <a:pt x="61" y="180"/>
                    <a:pt x="51" y="176"/>
                    <a:pt x="42" y="174"/>
                  </a:cubicBezTo>
                  <a:cubicBezTo>
                    <a:pt x="32" y="175"/>
                    <a:pt x="31" y="185"/>
                    <a:pt x="21" y="189"/>
                  </a:cubicBezTo>
                  <a:cubicBezTo>
                    <a:pt x="17" y="195"/>
                    <a:pt x="18" y="197"/>
                    <a:pt x="24" y="201"/>
                  </a:cubicBezTo>
                  <a:cubicBezTo>
                    <a:pt x="26" y="226"/>
                    <a:pt x="27" y="223"/>
                    <a:pt x="11" y="235"/>
                  </a:cubicBezTo>
                  <a:cubicBezTo>
                    <a:pt x="7" y="242"/>
                    <a:pt x="4" y="246"/>
                    <a:pt x="0" y="253"/>
                  </a:cubicBezTo>
                  <a:cubicBezTo>
                    <a:pt x="2" y="267"/>
                    <a:pt x="6" y="274"/>
                    <a:pt x="20" y="277"/>
                  </a:cubicBezTo>
                  <a:cubicBezTo>
                    <a:pt x="26" y="282"/>
                    <a:pt x="24" y="284"/>
                    <a:pt x="27" y="291"/>
                  </a:cubicBezTo>
                  <a:cubicBezTo>
                    <a:pt x="31" y="301"/>
                    <a:pt x="31" y="310"/>
                    <a:pt x="39" y="318"/>
                  </a:cubicBezTo>
                  <a:cubicBezTo>
                    <a:pt x="45" y="322"/>
                    <a:pt x="58" y="309"/>
                    <a:pt x="63" y="310"/>
                  </a:cubicBezTo>
                  <a:cubicBezTo>
                    <a:pt x="68" y="311"/>
                    <a:pt x="68" y="321"/>
                    <a:pt x="71" y="324"/>
                  </a:cubicBezTo>
                  <a:cubicBezTo>
                    <a:pt x="74" y="327"/>
                    <a:pt x="78" y="332"/>
                    <a:pt x="80" y="331"/>
                  </a:cubicBezTo>
                  <a:cubicBezTo>
                    <a:pt x="82" y="330"/>
                    <a:pt x="81" y="321"/>
                    <a:pt x="84" y="319"/>
                  </a:cubicBezTo>
                  <a:cubicBezTo>
                    <a:pt x="87" y="317"/>
                    <a:pt x="96" y="319"/>
                    <a:pt x="98" y="321"/>
                  </a:cubicBezTo>
                  <a:cubicBezTo>
                    <a:pt x="100" y="323"/>
                    <a:pt x="97" y="334"/>
                    <a:pt x="99" y="334"/>
                  </a:cubicBezTo>
                  <a:cubicBezTo>
                    <a:pt x="101" y="334"/>
                    <a:pt x="109" y="329"/>
                    <a:pt x="113" y="324"/>
                  </a:cubicBezTo>
                  <a:cubicBezTo>
                    <a:pt x="117" y="319"/>
                    <a:pt x="120" y="306"/>
                    <a:pt x="122" y="301"/>
                  </a:cubicBezTo>
                  <a:cubicBezTo>
                    <a:pt x="124" y="296"/>
                    <a:pt x="122" y="295"/>
                    <a:pt x="125" y="295"/>
                  </a:cubicBezTo>
                  <a:lnTo>
                    <a:pt x="143" y="303"/>
                  </a:lnTo>
                  <a:lnTo>
                    <a:pt x="158" y="288"/>
                  </a:lnTo>
                  <a:lnTo>
                    <a:pt x="168" y="276"/>
                  </a:lnTo>
                  <a:lnTo>
                    <a:pt x="180" y="271"/>
                  </a:lnTo>
                  <a:lnTo>
                    <a:pt x="191" y="279"/>
                  </a:lnTo>
                  <a:lnTo>
                    <a:pt x="203" y="292"/>
                  </a:lnTo>
                  <a:lnTo>
                    <a:pt x="210" y="289"/>
                  </a:lnTo>
                  <a:lnTo>
                    <a:pt x="224" y="288"/>
                  </a:lnTo>
                  <a:lnTo>
                    <a:pt x="230" y="294"/>
                  </a:lnTo>
                  <a:lnTo>
                    <a:pt x="239" y="312"/>
                  </a:lnTo>
                  <a:lnTo>
                    <a:pt x="243" y="321"/>
                  </a:lnTo>
                  <a:lnTo>
                    <a:pt x="258" y="328"/>
                  </a:lnTo>
                  <a:cubicBezTo>
                    <a:pt x="260" y="332"/>
                    <a:pt x="254" y="342"/>
                    <a:pt x="257" y="346"/>
                  </a:cubicBezTo>
                  <a:cubicBezTo>
                    <a:pt x="260" y="350"/>
                    <a:pt x="270" y="355"/>
                    <a:pt x="276" y="355"/>
                  </a:cubicBezTo>
                  <a:cubicBezTo>
                    <a:pt x="282" y="355"/>
                    <a:pt x="292" y="350"/>
                    <a:pt x="296" y="346"/>
                  </a:cubicBezTo>
                  <a:lnTo>
                    <a:pt x="302" y="330"/>
                  </a:lnTo>
                  <a:lnTo>
                    <a:pt x="302" y="301"/>
                  </a:lnTo>
                  <a:lnTo>
                    <a:pt x="299" y="280"/>
                  </a:lnTo>
                  <a:lnTo>
                    <a:pt x="284" y="277"/>
                  </a:lnTo>
                  <a:lnTo>
                    <a:pt x="279" y="264"/>
                  </a:lnTo>
                  <a:lnTo>
                    <a:pt x="264" y="252"/>
                  </a:lnTo>
                  <a:lnTo>
                    <a:pt x="255" y="240"/>
                  </a:lnTo>
                  <a:lnTo>
                    <a:pt x="243" y="234"/>
                  </a:lnTo>
                  <a:lnTo>
                    <a:pt x="237" y="217"/>
                  </a:lnTo>
                  <a:lnTo>
                    <a:pt x="242" y="193"/>
                  </a:lnTo>
                  <a:lnTo>
                    <a:pt x="246" y="181"/>
                  </a:lnTo>
                  <a:lnTo>
                    <a:pt x="242" y="175"/>
                  </a:lnTo>
                  <a:lnTo>
                    <a:pt x="248" y="157"/>
                  </a:lnTo>
                  <a:lnTo>
                    <a:pt x="260" y="148"/>
                  </a:lnTo>
                  <a:lnTo>
                    <a:pt x="275" y="148"/>
                  </a:lnTo>
                  <a:lnTo>
                    <a:pt x="287" y="153"/>
                  </a:lnTo>
                  <a:lnTo>
                    <a:pt x="293" y="159"/>
                  </a:lnTo>
                  <a:lnTo>
                    <a:pt x="305" y="148"/>
                  </a:lnTo>
                  <a:lnTo>
                    <a:pt x="315" y="156"/>
                  </a:lnTo>
                  <a:lnTo>
                    <a:pt x="332" y="139"/>
                  </a:lnTo>
                  <a:lnTo>
                    <a:pt x="341" y="129"/>
                  </a:lnTo>
                  <a:lnTo>
                    <a:pt x="348" y="123"/>
                  </a:lnTo>
                  <a:lnTo>
                    <a:pt x="362" y="123"/>
                  </a:lnTo>
                  <a:lnTo>
                    <a:pt x="369" y="108"/>
                  </a:lnTo>
                  <a:lnTo>
                    <a:pt x="369" y="81"/>
                  </a:lnTo>
                  <a:lnTo>
                    <a:pt x="356" y="75"/>
                  </a:lnTo>
                  <a:lnTo>
                    <a:pt x="345" y="67"/>
                  </a:lnTo>
                  <a:lnTo>
                    <a:pt x="332" y="61"/>
                  </a:lnTo>
                  <a:lnTo>
                    <a:pt x="320" y="45"/>
                  </a:lnTo>
                  <a:lnTo>
                    <a:pt x="308" y="51"/>
                  </a:lnTo>
                  <a:lnTo>
                    <a:pt x="293" y="43"/>
                  </a:lnTo>
                  <a:lnTo>
                    <a:pt x="282" y="33"/>
                  </a:lnTo>
                  <a:lnTo>
                    <a:pt x="266" y="19"/>
                  </a:lnTo>
                  <a:lnTo>
                    <a:pt x="237" y="0"/>
                  </a:lnTo>
                  <a:lnTo>
                    <a:pt x="216" y="6"/>
                  </a:lnTo>
                </a:path>
              </a:pathLst>
            </a:custGeom>
            <a:solidFill>
              <a:schemeClr val="bg2"/>
            </a:solidFill>
            <a:ln w="12700" cap="flat" cmpd="sng">
              <a:solidFill>
                <a:schemeClr val="bg2"/>
              </a:solidFill>
              <a:prstDash val="solid"/>
              <a:round/>
              <a:headEnd type="none" w="med" len="med"/>
              <a:tailEnd type="none" w="med" len="med"/>
            </a:ln>
            <a:effectLst/>
          </p:spPr>
          <p:txBody>
            <a:bodyPr wrap="none" lIns="90000" tIns="46800" rIns="90000" bIns="46800" anchor="ctr"/>
            <a:lstStyle/>
            <a:p>
              <a:endParaRPr lang="en-US">
                <a:latin typeface="Arial" panose="020B0604020202020204" pitchFamily="34" charset="0"/>
                <a:cs typeface="Arial" panose="020B0604020202020204" pitchFamily="34" charset="0"/>
              </a:endParaRPr>
            </a:p>
          </p:txBody>
        </p:sp>
      </p:grpSp>
      <p:cxnSp>
        <p:nvCxnSpPr>
          <p:cNvPr id="10" name="Straight Connector 9"/>
          <p:cNvCxnSpPr/>
          <p:nvPr/>
        </p:nvCxnSpPr>
        <p:spPr>
          <a:xfrm>
            <a:off x="6974120" y="3860801"/>
            <a:ext cx="0" cy="2084865"/>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6929120" y="3799840"/>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244926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29169049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1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Rectangle 1"/>
          <p:cNvSpPr/>
          <p:nvPr/>
        </p:nvSpPr>
        <p:spPr>
          <a:xfrm>
            <a:off x="1524000" y="1544320"/>
            <a:ext cx="9144000" cy="28956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
        <p:nvSpPr>
          <p:cNvPr id="6" name="Text Placeholder 5"/>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grpSp>
        <p:nvGrpSpPr>
          <p:cNvPr id="17" name="Group 16"/>
          <p:cNvGrpSpPr>
            <a:grpSpLocks noChangeAspect="1"/>
          </p:cNvGrpSpPr>
          <p:nvPr/>
        </p:nvGrpSpPr>
        <p:grpSpPr bwMode="gray">
          <a:xfrm>
            <a:off x="1836669" y="1710693"/>
            <a:ext cx="3388598" cy="1980000"/>
            <a:chOff x="236680" y="1501996"/>
            <a:chExt cx="6583681" cy="3846923"/>
          </a:xfrm>
          <a:solidFill>
            <a:schemeClr val="tx1">
              <a:lumMod val="60000"/>
              <a:lumOff val="40000"/>
            </a:schemeClr>
          </a:solidFill>
        </p:grpSpPr>
        <p:sp>
          <p:nvSpPr>
            <p:cNvPr id="41" name="Freeform 7"/>
            <p:cNvSpPr>
              <a:spLocks noEditPoints="1"/>
            </p:cNvSpPr>
            <p:nvPr/>
          </p:nvSpPr>
          <p:spPr bwMode="gray">
            <a:xfrm>
              <a:off x="800638" y="1560515"/>
              <a:ext cx="1606930" cy="1923462"/>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2" name="Freeform 8"/>
            <p:cNvSpPr>
              <a:spLocks noEditPoints="1"/>
            </p:cNvSpPr>
            <p:nvPr/>
          </p:nvSpPr>
          <p:spPr bwMode="gray">
            <a:xfrm>
              <a:off x="2046913" y="1501996"/>
              <a:ext cx="1091710" cy="1499842"/>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3" name="Freeform 9"/>
            <p:cNvSpPr>
              <a:spLocks noEditPoints="1"/>
            </p:cNvSpPr>
            <p:nvPr/>
          </p:nvSpPr>
          <p:spPr bwMode="gray">
            <a:xfrm>
              <a:off x="236680" y="2527333"/>
              <a:ext cx="1911885" cy="1400617"/>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4" name="Freeform 10"/>
            <p:cNvSpPr>
              <a:spLocks/>
            </p:cNvSpPr>
            <p:nvPr/>
          </p:nvSpPr>
          <p:spPr bwMode="gray">
            <a:xfrm>
              <a:off x="1235095" y="3673524"/>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5" name="Freeform 11"/>
            <p:cNvSpPr>
              <a:spLocks/>
            </p:cNvSpPr>
            <p:nvPr/>
          </p:nvSpPr>
          <p:spPr bwMode="gray">
            <a:xfrm>
              <a:off x="1825508" y="3852894"/>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6" name="Freeform 12"/>
            <p:cNvSpPr>
              <a:spLocks/>
            </p:cNvSpPr>
            <p:nvPr/>
          </p:nvSpPr>
          <p:spPr bwMode="gray">
            <a:xfrm>
              <a:off x="1743352" y="393558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7" name="Freeform 13"/>
            <p:cNvSpPr>
              <a:spLocks/>
            </p:cNvSpPr>
            <p:nvPr/>
          </p:nvSpPr>
          <p:spPr bwMode="gray">
            <a:xfrm>
              <a:off x="1687653" y="394703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8" name="Freeform 14"/>
            <p:cNvSpPr>
              <a:spLocks/>
            </p:cNvSpPr>
            <p:nvPr/>
          </p:nvSpPr>
          <p:spPr bwMode="gray">
            <a:xfrm>
              <a:off x="2926967" y="2753773"/>
              <a:ext cx="193556" cy="123397"/>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9" name="Freeform 15"/>
            <p:cNvSpPr>
              <a:spLocks/>
            </p:cNvSpPr>
            <p:nvPr/>
          </p:nvSpPr>
          <p:spPr bwMode="gray">
            <a:xfrm>
              <a:off x="1726643" y="4005550"/>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16"/>
            <p:cNvSpPr>
              <a:spLocks/>
            </p:cNvSpPr>
            <p:nvPr/>
          </p:nvSpPr>
          <p:spPr bwMode="gray">
            <a:xfrm>
              <a:off x="1740567" y="397883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17"/>
            <p:cNvSpPr>
              <a:spLocks/>
            </p:cNvSpPr>
            <p:nvPr/>
          </p:nvSpPr>
          <p:spPr bwMode="gray">
            <a:xfrm>
              <a:off x="1941085" y="3935582"/>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18"/>
            <p:cNvSpPr>
              <a:spLocks/>
            </p:cNvSpPr>
            <p:nvPr/>
          </p:nvSpPr>
          <p:spPr bwMode="gray">
            <a:xfrm>
              <a:off x="1771202" y="399664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3" name="Freeform 19"/>
            <p:cNvSpPr>
              <a:spLocks/>
            </p:cNvSpPr>
            <p:nvPr/>
          </p:nvSpPr>
          <p:spPr bwMode="gray">
            <a:xfrm>
              <a:off x="2012103" y="391014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20"/>
            <p:cNvSpPr>
              <a:spLocks/>
            </p:cNvSpPr>
            <p:nvPr/>
          </p:nvSpPr>
          <p:spPr bwMode="gray">
            <a:xfrm>
              <a:off x="2058053" y="3910140"/>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21"/>
            <p:cNvSpPr>
              <a:spLocks/>
            </p:cNvSpPr>
            <p:nvPr/>
          </p:nvSpPr>
          <p:spPr bwMode="gray">
            <a:xfrm>
              <a:off x="1804622" y="4061523"/>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22"/>
            <p:cNvSpPr>
              <a:spLocks/>
            </p:cNvSpPr>
            <p:nvPr/>
          </p:nvSpPr>
          <p:spPr bwMode="gray">
            <a:xfrm>
              <a:off x="2144389" y="393431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23"/>
            <p:cNvSpPr>
              <a:spLocks/>
            </p:cNvSpPr>
            <p:nvPr/>
          </p:nvSpPr>
          <p:spPr bwMode="gray">
            <a:xfrm>
              <a:off x="1857536" y="4086966"/>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24"/>
            <p:cNvSpPr>
              <a:spLocks/>
            </p:cNvSpPr>
            <p:nvPr/>
          </p:nvSpPr>
          <p:spPr bwMode="gray">
            <a:xfrm>
              <a:off x="2237685" y="4066612"/>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Freeform 25"/>
            <p:cNvSpPr>
              <a:spLocks/>
            </p:cNvSpPr>
            <p:nvPr/>
          </p:nvSpPr>
          <p:spPr bwMode="gray">
            <a:xfrm>
              <a:off x="2032989" y="4043714"/>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26"/>
            <p:cNvSpPr>
              <a:spLocks/>
            </p:cNvSpPr>
            <p:nvPr/>
          </p:nvSpPr>
          <p:spPr bwMode="gray">
            <a:xfrm>
              <a:off x="1893741" y="422562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7"/>
            <p:cNvSpPr>
              <a:spLocks/>
            </p:cNvSpPr>
            <p:nvPr/>
          </p:nvSpPr>
          <p:spPr bwMode="gray">
            <a:xfrm>
              <a:off x="1928554" y="4039897"/>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Freeform 28"/>
            <p:cNvSpPr>
              <a:spLocks/>
            </p:cNvSpPr>
            <p:nvPr/>
          </p:nvSpPr>
          <p:spPr bwMode="gray">
            <a:xfrm>
              <a:off x="3176222" y="3141772"/>
              <a:ext cx="80764" cy="105587"/>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3" name="Freeform 29"/>
            <p:cNvSpPr>
              <a:spLocks/>
            </p:cNvSpPr>
            <p:nvPr/>
          </p:nvSpPr>
          <p:spPr bwMode="gray">
            <a:xfrm>
              <a:off x="2251610" y="410732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4" name="Freeform 30"/>
            <p:cNvSpPr>
              <a:spLocks noEditPoints="1"/>
            </p:cNvSpPr>
            <p:nvPr/>
          </p:nvSpPr>
          <p:spPr bwMode="gray">
            <a:xfrm>
              <a:off x="3219388" y="3040002"/>
              <a:ext cx="178238" cy="246794"/>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5" name="Freeform 31"/>
            <p:cNvSpPr>
              <a:spLocks/>
            </p:cNvSpPr>
            <p:nvPr/>
          </p:nvSpPr>
          <p:spPr bwMode="gray">
            <a:xfrm>
              <a:off x="2311487" y="414802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Freeform 32"/>
            <p:cNvSpPr>
              <a:spLocks/>
            </p:cNvSpPr>
            <p:nvPr/>
          </p:nvSpPr>
          <p:spPr bwMode="gray">
            <a:xfrm>
              <a:off x="2376934" y="415311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7" name="Freeform 33"/>
            <p:cNvSpPr>
              <a:spLocks noEditPoints="1"/>
            </p:cNvSpPr>
            <p:nvPr/>
          </p:nvSpPr>
          <p:spPr bwMode="gray">
            <a:xfrm>
              <a:off x="3457504" y="1863281"/>
              <a:ext cx="473445" cy="1195803"/>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Freeform 34"/>
            <p:cNvSpPr>
              <a:spLocks/>
            </p:cNvSpPr>
            <p:nvPr/>
          </p:nvSpPr>
          <p:spPr bwMode="gray">
            <a:xfrm>
              <a:off x="1885386" y="4249798"/>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9" name="Freeform 35"/>
            <p:cNvSpPr>
              <a:spLocks/>
            </p:cNvSpPr>
            <p:nvPr/>
          </p:nvSpPr>
          <p:spPr bwMode="gray">
            <a:xfrm>
              <a:off x="3192932" y="3475070"/>
              <a:ext cx="62663" cy="110676"/>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Freeform 36"/>
            <p:cNvSpPr>
              <a:spLocks/>
            </p:cNvSpPr>
            <p:nvPr/>
          </p:nvSpPr>
          <p:spPr bwMode="gray">
            <a:xfrm>
              <a:off x="3431047" y="3195202"/>
              <a:ext cx="66839" cy="71239"/>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Freeform 37"/>
            <p:cNvSpPr>
              <a:spLocks/>
            </p:cNvSpPr>
            <p:nvPr/>
          </p:nvSpPr>
          <p:spPr bwMode="gray">
            <a:xfrm>
              <a:off x="3412944" y="3246086"/>
              <a:ext cx="68233" cy="5215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Freeform 38"/>
            <p:cNvSpPr>
              <a:spLocks noEditPoints="1"/>
            </p:cNvSpPr>
            <p:nvPr/>
          </p:nvSpPr>
          <p:spPr bwMode="gray">
            <a:xfrm>
              <a:off x="3279266" y="3256264"/>
              <a:ext cx="260395" cy="235345"/>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3" name="Freeform 39"/>
            <p:cNvSpPr>
              <a:spLocks/>
            </p:cNvSpPr>
            <p:nvPr/>
          </p:nvSpPr>
          <p:spPr bwMode="gray">
            <a:xfrm>
              <a:off x="3198502" y="3438179"/>
              <a:ext cx="225583" cy="167921"/>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40"/>
            <p:cNvSpPr>
              <a:spLocks noEditPoints="1"/>
            </p:cNvSpPr>
            <p:nvPr/>
          </p:nvSpPr>
          <p:spPr bwMode="gray">
            <a:xfrm>
              <a:off x="3513202" y="3065444"/>
              <a:ext cx="80764" cy="86505"/>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5" name="Freeform 41"/>
            <p:cNvSpPr>
              <a:spLocks/>
            </p:cNvSpPr>
            <p:nvPr/>
          </p:nvSpPr>
          <p:spPr bwMode="gray">
            <a:xfrm>
              <a:off x="3471428" y="3281707"/>
              <a:ext cx="13925" cy="17810"/>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Freeform 42"/>
            <p:cNvSpPr>
              <a:spLocks/>
            </p:cNvSpPr>
            <p:nvPr/>
          </p:nvSpPr>
          <p:spPr bwMode="gray">
            <a:xfrm>
              <a:off x="3567510" y="2643096"/>
              <a:ext cx="235331" cy="496132"/>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Freeform 43"/>
            <p:cNvSpPr>
              <a:spLocks/>
            </p:cNvSpPr>
            <p:nvPr/>
          </p:nvSpPr>
          <p:spPr bwMode="gray">
            <a:xfrm>
              <a:off x="3127484" y="3608644"/>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44"/>
            <p:cNvSpPr>
              <a:spLocks noEditPoints="1"/>
            </p:cNvSpPr>
            <p:nvPr/>
          </p:nvSpPr>
          <p:spPr bwMode="gray">
            <a:xfrm>
              <a:off x="3474213" y="3150676"/>
              <a:ext cx="165706" cy="202269"/>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45"/>
            <p:cNvSpPr>
              <a:spLocks/>
            </p:cNvSpPr>
            <p:nvPr/>
          </p:nvSpPr>
          <p:spPr bwMode="gray">
            <a:xfrm>
              <a:off x="3057860" y="3771477"/>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0" name="Freeform 46"/>
            <p:cNvSpPr>
              <a:spLocks/>
            </p:cNvSpPr>
            <p:nvPr/>
          </p:nvSpPr>
          <p:spPr bwMode="gray">
            <a:xfrm>
              <a:off x="3474213" y="3341497"/>
              <a:ext cx="82157" cy="45796"/>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1" name="Freeform 47"/>
            <p:cNvSpPr>
              <a:spLocks/>
            </p:cNvSpPr>
            <p:nvPr/>
          </p:nvSpPr>
          <p:spPr bwMode="gray">
            <a:xfrm>
              <a:off x="2101222" y="441263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Freeform 48"/>
            <p:cNvSpPr>
              <a:spLocks/>
            </p:cNvSpPr>
            <p:nvPr/>
          </p:nvSpPr>
          <p:spPr bwMode="gray">
            <a:xfrm>
              <a:off x="3745747" y="2599843"/>
              <a:ext cx="192163" cy="399449"/>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3" name="Freeform 49"/>
            <p:cNvSpPr>
              <a:spLocks/>
            </p:cNvSpPr>
            <p:nvPr/>
          </p:nvSpPr>
          <p:spPr bwMode="gray">
            <a:xfrm>
              <a:off x="3538269" y="3312237"/>
              <a:ext cx="143427" cy="63607"/>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Freeform 50"/>
            <p:cNvSpPr>
              <a:spLocks/>
            </p:cNvSpPr>
            <p:nvPr/>
          </p:nvSpPr>
          <p:spPr bwMode="gray">
            <a:xfrm>
              <a:off x="3589790" y="3257537"/>
              <a:ext cx="119754" cy="64879"/>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51"/>
            <p:cNvSpPr>
              <a:spLocks/>
            </p:cNvSpPr>
            <p:nvPr/>
          </p:nvSpPr>
          <p:spPr bwMode="gray">
            <a:xfrm>
              <a:off x="3056467" y="3779109"/>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Freeform 52"/>
            <p:cNvSpPr>
              <a:spLocks noEditPoints="1"/>
            </p:cNvSpPr>
            <p:nvPr/>
          </p:nvSpPr>
          <p:spPr bwMode="gray">
            <a:xfrm>
              <a:off x="3623209" y="3157038"/>
              <a:ext cx="182416" cy="152656"/>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7" name="Freeform 53"/>
            <p:cNvSpPr>
              <a:spLocks/>
            </p:cNvSpPr>
            <p:nvPr/>
          </p:nvSpPr>
          <p:spPr bwMode="gray">
            <a:xfrm>
              <a:off x="3062037" y="4015726"/>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Freeform 54"/>
            <p:cNvSpPr>
              <a:spLocks/>
            </p:cNvSpPr>
            <p:nvPr/>
          </p:nvSpPr>
          <p:spPr bwMode="gray">
            <a:xfrm>
              <a:off x="3049505" y="3964842"/>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9" name="Freeform 55"/>
            <p:cNvSpPr>
              <a:spLocks/>
            </p:cNvSpPr>
            <p:nvPr/>
          </p:nvSpPr>
          <p:spPr bwMode="gray">
            <a:xfrm>
              <a:off x="3747141" y="3056540"/>
              <a:ext cx="132287" cy="72512"/>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Freeform 56"/>
            <p:cNvSpPr>
              <a:spLocks/>
            </p:cNvSpPr>
            <p:nvPr/>
          </p:nvSpPr>
          <p:spPr bwMode="gray">
            <a:xfrm>
              <a:off x="3791701" y="3010742"/>
              <a:ext cx="87727" cy="62335"/>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1" name="Freeform 57"/>
            <p:cNvSpPr>
              <a:spLocks/>
            </p:cNvSpPr>
            <p:nvPr/>
          </p:nvSpPr>
          <p:spPr bwMode="gray">
            <a:xfrm>
              <a:off x="3609285" y="3363123"/>
              <a:ext cx="58484" cy="3562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Freeform 58"/>
            <p:cNvSpPr>
              <a:spLocks/>
            </p:cNvSpPr>
            <p:nvPr/>
          </p:nvSpPr>
          <p:spPr bwMode="gray">
            <a:xfrm>
              <a:off x="3064822" y="4036081"/>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3" name="Freeform 59"/>
            <p:cNvSpPr>
              <a:spLocks noEditPoints="1"/>
            </p:cNvSpPr>
            <p:nvPr/>
          </p:nvSpPr>
          <p:spPr bwMode="gray">
            <a:xfrm>
              <a:off x="3485353" y="3358035"/>
              <a:ext cx="218621" cy="232800"/>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4" name="Freeform 60"/>
            <p:cNvSpPr>
              <a:spLocks/>
            </p:cNvSpPr>
            <p:nvPr/>
          </p:nvSpPr>
          <p:spPr bwMode="gray">
            <a:xfrm>
              <a:off x="3747141" y="3107424"/>
              <a:ext cx="107222" cy="73784"/>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Freeform 61"/>
            <p:cNvSpPr>
              <a:spLocks/>
            </p:cNvSpPr>
            <p:nvPr/>
          </p:nvSpPr>
          <p:spPr bwMode="gray">
            <a:xfrm>
              <a:off x="3209642" y="3583201"/>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Freeform 62"/>
            <p:cNvSpPr>
              <a:spLocks/>
            </p:cNvSpPr>
            <p:nvPr/>
          </p:nvSpPr>
          <p:spPr bwMode="gray">
            <a:xfrm>
              <a:off x="3674732" y="3294428"/>
              <a:ext cx="103044" cy="44525"/>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7" name="Freeform 63"/>
            <p:cNvSpPr>
              <a:spLocks/>
            </p:cNvSpPr>
            <p:nvPr/>
          </p:nvSpPr>
          <p:spPr bwMode="gray">
            <a:xfrm>
              <a:off x="2227938" y="457546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Freeform 64"/>
            <p:cNvSpPr>
              <a:spLocks/>
            </p:cNvSpPr>
            <p:nvPr/>
          </p:nvSpPr>
          <p:spPr bwMode="gray">
            <a:xfrm>
              <a:off x="3662199" y="3321143"/>
              <a:ext cx="123932" cy="69967"/>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9" name="Freeform 65"/>
            <p:cNvSpPr>
              <a:spLocks noEditPoints="1"/>
            </p:cNvSpPr>
            <p:nvPr/>
          </p:nvSpPr>
          <p:spPr bwMode="gray">
            <a:xfrm>
              <a:off x="3613463" y="3372028"/>
              <a:ext cx="107222" cy="97955"/>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0" name="Freeform 66"/>
            <p:cNvSpPr>
              <a:spLocks noEditPoints="1"/>
            </p:cNvSpPr>
            <p:nvPr/>
          </p:nvSpPr>
          <p:spPr bwMode="gray">
            <a:xfrm>
              <a:off x="2021849" y="416202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Freeform 67"/>
            <p:cNvSpPr>
              <a:spLocks/>
            </p:cNvSpPr>
            <p:nvPr/>
          </p:nvSpPr>
          <p:spPr bwMode="gray">
            <a:xfrm>
              <a:off x="3094065" y="4036081"/>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Freeform 68"/>
            <p:cNvSpPr>
              <a:spLocks/>
            </p:cNvSpPr>
            <p:nvPr/>
          </p:nvSpPr>
          <p:spPr bwMode="gray">
            <a:xfrm>
              <a:off x="3145587" y="3818545"/>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3" name="Freeform 69"/>
            <p:cNvSpPr>
              <a:spLocks/>
            </p:cNvSpPr>
            <p:nvPr/>
          </p:nvSpPr>
          <p:spPr bwMode="gray">
            <a:xfrm>
              <a:off x="3653844" y="3402559"/>
              <a:ext cx="69624" cy="62335"/>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Freeform 70"/>
            <p:cNvSpPr>
              <a:spLocks/>
            </p:cNvSpPr>
            <p:nvPr/>
          </p:nvSpPr>
          <p:spPr bwMode="gray">
            <a:xfrm>
              <a:off x="3788916" y="3115057"/>
              <a:ext cx="172668" cy="13739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Freeform 71"/>
            <p:cNvSpPr>
              <a:spLocks/>
            </p:cNvSpPr>
            <p:nvPr/>
          </p:nvSpPr>
          <p:spPr bwMode="gray">
            <a:xfrm>
              <a:off x="3126093" y="4081876"/>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Freeform 72"/>
            <p:cNvSpPr>
              <a:spLocks/>
            </p:cNvSpPr>
            <p:nvPr/>
          </p:nvSpPr>
          <p:spPr bwMode="gray">
            <a:xfrm>
              <a:off x="3503456" y="3579385"/>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7" name="Freeform 73"/>
            <p:cNvSpPr>
              <a:spLocks/>
            </p:cNvSpPr>
            <p:nvPr/>
          </p:nvSpPr>
          <p:spPr bwMode="gray">
            <a:xfrm>
              <a:off x="3702582" y="3443268"/>
              <a:ext cx="34813" cy="38164"/>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Freeform 74"/>
            <p:cNvSpPr>
              <a:spLocks/>
            </p:cNvSpPr>
            <p:nvPr/>
          </p:nvSpPr>
          <p:spPr bwMode="gray">
            <a:xfrm>
              <a:off x="3736002" y="3328776"/>
              <a:ext cx="171276" cy="109403"/>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9" name="Freeform 75"/>
            <p:cNvSpPr>
              <a:spLocks/>
            </p:cNvSpPr>
            <p:nvPr/>
          </p:nvSpPr>
          <p:spPr bwMode="gray">
            <a:xfrm>
              <a:off x="3709543" y="3380933"/>
              <a:ext cx="73803" cy="99226"/>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Freeform 76"/>
            <p:cNvSpPr>
              <a:spLocks/>
            </p:cNvSpPr>
            <p:nvPr/>
          </p:nvSpPr>
          <p:spPr bwMode="gray">
            <a:xfrm>
              <a:off x="3768029" y="3221916"/>
              <a:ext cx="328627" cy="198452"/>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77"/>
            <p:cNvSpPr>
              <a:spLocks/>
            </p:cNvSpPr>
            <p:nvPr/>
          </p:nvSpPr>
          <p:spPr bwMode="gray">
            <a:xfrm>
              <a:off x="3158119" y="4107319"/>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2" name="Freeform 78"/>
            <p:cNvSpPr>
              <a:spLocks noEditPoints="1"/>
            </p:cNvSpPr>
            <p:nvPr/>
          </p:nvSpPr>
          <p:spPr bwMode="gray">
            <a:xfrm>
              <a:off x="3727647" y="2134244"/>
              <a:ext cx="2910298" cy="1361179"/>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3" name="Freeform 79"/>
            <p:cNvSpPr>
              <a:spLocks/>
            </p:cNvSpPr>
            <p:nvPr/>
          </p:nvSpPr>
          <p:spPr bwMode="gray">
            <a:xfrm>
              <a:off x="3265341" y="3994100"/>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4" name="Freeform 80"/>
            <p:cNvSpPr>
              <a:spLocks/>
            </p:cNvSpPr>
            <p:nvPr/>
          </p:nvSpPr>
          <p:spPr bwMode="gray">
            <a:xfrm>
              <a:off x="3717897" y="3464893"/>
              <a:ext cx="32028" cy="66151"/>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5" name="Freeform 81"/>
            <p:cNvSpPr>
              <a:spLocks/>
            </p:cNvSpPr>
            <p:nvPr/>
          </p:nvSpPr>
          <p:spPr bwMode="gray">
            <a:xfrm>
              <a:off x="3740177" y="3469981"/>
              <a:ext cx="44559" cy="3562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6" name="Freeform 82"/>
            <p:cNvSpPr>
              <a:spLocks/>
            </p:cNvSpPr>
            <p:nvPr/>
          </p:nvSpPr>
          <p:spPr bwMode="gray">
            <a:xfrm>
              <a:off x="3211033" y="4070428"/>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7" name="Freeform 83"/>
            <p:cNvSpPr>
              <a:spLocks/>
            </p:cNvSpPr>
            <p:nvPr/>
          </p:nvSpPr>
          <p:spPr bwMode="gray">
            <a:xfrm>
              <a:off x="3772206" y="3425458"/>
              <a:ext cx="112792" cy="71239"/>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8" name="Freeform 84"/>
            <p:cNvSpPr>
              <a:spLocks/>
            </p:cNvSpPr>
            <p:nvPr/>
          </p:nvSpPr>
          <p:spPr bwMode="gray">
            <a:xfrm>
              <a:off x="3851578" y="3324959"/>
              <a:ext cx="62663" cy="72512"/>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Freeform 85"/>
            <p:cNvSpPr>
              <a:spLocks/>
            </p:cNvSpPr>
            <p:nvPr/>
          </p:nvSpPr>
          <p:spPr bwMode="gray">
            <a:xfrm>
              <a:off x="2304525" y="477646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86"/>
            <p:cNvSpPr>
              <a:spLocks/>
            </p:cNvSpPr>
            <p:nvPr/>
          </p:nvSpPr>
          <p:spPr bwMode="gray">
            <a:xfrm>
              <a:off x="3369777" y="3846532"/>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1" name="Freeform 87"/>
            <p:cNvSpPr>
              <a:spLocks noEditPoints="1"/>
            </p:cNvSpPr>
            <p:nvPr/>
          </p:nvSpPr>
          <p:spPr bwMode="gray">
            <a:xfrm>
              <a:off x="3733217" y="3485247"/>
              <a:ext cx="118362" cy="142478"/>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2" name="Freeform 88"/>
            <p:cNvSpPr>
              <a:spLocks/>
            </p:cNvSpPr>
            <p:nvPr/>
          </p:nvSpPr>
          <p:spPr bwMode="gray">
            <a:xfrm>
              <a:off x="3536875" y="3663346"/>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3" name="Freeform 89"/>
            <p:cNvSpPr>
              <a:spLocks/>
            </p:cNvSpPr>
            <p:nvPr/>
          </p:nvSpPr>
          <p:spPr bwMode="gray">
            <a:xfrm>
              <a:off x="3308506" y="4061522"/>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4" name="Freeform 90"/>
            <p:cNvSpPr>
              <a:spLocks/>
            </p:cNvSpPr>
            <p:nvPr/>
          </p:nvSpPr>
          <p:spPr bwMode="gray">
            <a:xfrm>
              <a:off x="3365600" y="4062794"/>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Freeform 91"/>
            <p:cNvSpPr>
              <a:spLocks/>
            </p:cNvSpPr>
            <p:nvPr/>
          </p:nvSpPr>
          <p:spPr bwMode="gray">
            <a:xfrm>
              <a:off x="3382310" y="4041170"/>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6" name="Freeform 92"/>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7" name="Freeform 93"/>
            <p:cNvSpPr>
              <a:spLocks/>
            </p:cNvSpPr>
            <p:nvPr/>
          </p:nvSpPr>
          <p:spPr bwMode="gray">
            <a:xfrm>
              <a:off x="3415729" y="4016999"/>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8" name="Freeform 94"/>
            <p:cNvSpPr>
              <a:spLocks/>
            </p:cNvSpPr>
            <p:nvPr/>
          </p:nvSpPr>
          <p:spPr bwMode="gray">
            <a:xfrm>
              <a:off x="3951837" y="3612460"/>
              <a:ext cx="41775" cy="22898"/>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9" name="Freeform 95"/>
            <p:cNvSpPr>
              <a:spLocks/>
            </p:cNvSpPr>
            <p:nvPr/>
          </p:nvSpPr>
          <p:spPr bwMode="gray">
            <a:xfrm>
              <a:off x="3816766" y="3695149"/>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0" name="Freeform 96"/>
            <p:cNvSpPr>
              <a:spLocks/>
            </p:cNvSpPr>
            <p:nvPr/>
          </p:nvSpPr>
          <p:spPr bwMode="gray">
            <a:xfrm>
              <a:off x="3612070" y="3847805"/>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Freeform 97"/>
            <p:cNvSpPr>
              <a:spLocks/>
            </p:cNvSpPr>
            <p:nvPr/>
          </p:nvSpPr>
          <p:spPr bwMode="gray">
            <a:xfrm>
              <a:off x="3522951" y="4028447"/>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Freeform 98"/>
            <p:cNvSpPr>
              <a:spLocks/>
            </p:cNvSpPr>
            <p:nvPr/>
          </p:nvSpPr>
          <p:spPr bwMode="gray">
            <a:xfrm>
              <a:off x="4096655" y="3440723"/>
              <a:ext cx="122539" cy="57246"/>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Freeform 99"/>
            <p:cNvSpPr>
              <a:spLocks/>
            </p:cNvSpPr>
            <p:nvPr/>
          </p:nvSpPr>
          <p:spPr bwMode="gray">
            <a:xfrm>
              <a:off x="4003359" y="3635359"/>
              <a:ext cx="27850" cy="330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4" name="Freeform 100"/>
            <p:cNvSpPr>
              <a:spLocks/>
            </p:cNvSpPr>
            <p:nvPr/>
          </p:nvSpPr>
          <p:spPr bwMode="gray">
            <a:xfrm>
              <a:off x="4013106" y="3578114"/>
              <a:ext cx="128109" cy="104314"/>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Freeform 101"/>
            <p:cNvSpPr>
              <a:spLocks/>
            </p:cNvSpPr>
            <p:nvPr/>
          </p:nvSpPr>
          <p:spPr bwMode="gray">
            <a:xfrm>
              <a:off x="3988041" y="3664617"/>
              <a:ext cx="27850" cy="71239"/>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6" name="Freeform 102"/>
            <p:cNvSpPr>
              <a:spLocks/>
            </p:cNvSpPr>
            <p:nvPr/>
          </p:nvSpPr>
          <p:spPr bwMode="gray">
            <a:xfrm>
              <a:off x="3527127" y="4210361"/>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Freeform 103"/>
            <p:cNvSpPr>
              <a:spLocks noEditPoints="1"/>
            </p:cNvSpPr>
            <p:nvPr/>
          </p:nvSpPr>
          <p:spPr bwMode="gray">
            <a:xfrm>
              <a:off x="1992608" y="4546204"/>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8" name="Freeform 104"/>
            <p:cNvSpPr>
              <a:spLocks/>
            </p:cNvSpPr>
            <p:nvPr/>
          </p:nvSpPr>
          <p:spPr bwMode="gray">
            <a:xfrm>
              <a:off x="3628779" y="4064067"/>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9" name="Freeform 105"/>
            <p:cNvSpPr>
              <a:spLocks/>
            </p:cNvSpPr>
            <p:nvPr/>
          </p:nvSpPr>
          <p:spPr bwMode="gray">
            <a:xfrm>
              <a:off x="4003359" y="3662074"/>
              <a:ext cx="79372" cy="80144"/>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0" name="Freeform 106"/>
            <p:cNvSpPr>
              <a:spLocks noEditPoints="1"/>
            </p:cNvSpPr>
            <p:nvPr/>
          </p:nvSpPr>
          <p:spPr bwMode="gray">
            <a:xfrm>
              <a:off x="2028813" y="4622531"/>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1" name="Freeform 107"/>
            <p:cNvSpPr>
              <a:spLocks/>
            </p:cNvSpPr>
            <p:nvPr/>
          </p:nvSpPr>
          <p:spPr bwMode="gray">
            <a:xfrm>
              <a:off x="4157925" y="3492880"/>
              <a:ext cx="58484" cy="53430"/>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2" name="Freeform 108"/>
            <p:cNvSpPr>
              <a:spLocks/>
            </p:cNvSpPr>
            <p:nvPr/>
          </p:nvSpPr>
          <p:spPr bwMode="gray">
            <a:xfrm>
              <a:off x="3570295" y="4188737"/>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3" name="Freeform 109"/>
            <p:cNvSpPr>
              <a:spLocks noEditPoints="1"/>
            </p:cNvSpPr>
            <p:nvPr/>
          </p:nvSpPr>
          <p:spPr bwMode="gray">
            <a:xfrm>
              <a:off x="4180206" y="3480159"/>
              <a:ext cx="104437" cy="77601"/>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4" name="Freeform 110"/>
            <p:cNvSpPr>
              <a:spLocks/>
            </p:cNvSpPr>
            <p:nvPr/>
          </p:nvSpPr>
          <p:spPr bwMode="gray">
            <a:xfrm>
              <a:off x="4213625" y="3135411"/>
              <a:ext cx="743588" cy="372734"/>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5" name="Freeform 111"/>
            <p:cNvSpPr>
              <a:spLocks/>
            </p:cNvSpPr>
            <p:nvPr/>
          </p:nvSpPr>
          <p:spPr bwMode="gray">
            <a:xfrm>
              <a:off x="4071590" y="3578114"/>
              <a:ext cx="178238" cy="166649"/>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6" name="Freeform 112"/>
            <p:cNvSpPr>
              <a:spLocks/>
            </p:cNvSpPr>
            <p:nvPr/>
          </p:nvSpPr>
          <p:spPr bwMode="gray">
            <a:xfrm>
              <a:off x="3762460" y="3874519"/>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7" name="Freeform 113"/>
            <p:cNvSpPr>
              <a:spLocks/>
            </p:cNvSpPr>
            <p:nvPr/>
          </p:nvSpPr>
          <p:spPr bwMode="gray">
            <a:xfrm>
              <a:off x="3999181" y="3683699"/>
              <a:ext cx="387111" cy="31040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8" name="Freeform 114"/>
            <p:cNvSpPr>
              <a:spLocks/>
            </p:cNvSpPr>
            <p:nvPr/>
          </p:nvSpPr>
          <p:spPr bwMode="gray">
            <a:xfrm>
              <a:off x="3588398" y="4159476"/>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9" name="Freeform 115"/>
            <p:cNvSpPr>
              <a:spLocks/>
            </p:cNvSpPr>
            <p:nvPr/>
          </p:nvSpPr>
          <p:spPr bwMode="gray">
            <a:xfrm>
              <a:off x="4169066" y="3527228"/>
              <a:ext cx="349514" cy="29131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0" name="Freeform 116"/>
            <p:cNvSpPr>
              <a:spLocks/>
            </p:cNvSpPr>
            <p:nvPr/>
          </p:nvSpPr>
          <p:spPr bwMode="gray">
            <a:xfrm>
              <a:off x="4213625" y="3726951"/>
              <a:ext cx="34813" cy="27987"/>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1" name="Freeform 117"/>
            <p:cNvSpPr>
              <a:spLocks/>
            </p:cNvSpPr>
            <p:nvPr/>
          </p:nvSpPr>
          <p:spPr bwMode="gray">
            <a:xfrm>
              <a:off x="4029816" y="3943214"/>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2" name="Freeform 118"/>
            <p:cNvSpPr>
              <a:spLocks/>
            </p:cNvSpPr>
            <p:nvPr/>
          </p:nvSpPr>
          <p:spPr bwMode="gray">
            <a:xfrm>
              <a:off x="4323631" y="3461077"/>
              <a:ext cx="257610" cy="160289"/>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3" name="Freeform 119"/>
            <p:cNvSpPr>
              <a:spLocks noEditPoints="1"/>
            </p:cNvSpPr>
            <p:nvPr/>
          </p:nvSpPr>
          <p:spPr bwMode="gray">
            <a:xfrm>
              <a:off x="3581435" y="4323583"/>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4" name="Freeform 120"/>
            <p:cNvSpPr>
              <a:spLocks/>
            </p:cNvSpPr>
            <p:nvPr/>
          </p:nvSpPr>
          <p:spPr bwMode="gray">
            <a:xfrm>
              <a:off x="4387686" y="3394926"/>
              <a:ext cx="311917" cy="190819"/>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5" name="Freeform 121"/>
            <p:cNvSpPr>
              <a:spLocks/>
            </p:cNvSpPr>
            <p:nvPr/>
          </p:nvSpPr>
          <p:spPr bwMode="gray">
            <a:xfrm>
              <a:off x="3967155" y="3999187"/>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6" name="Freeform 122"/>
            <p:cNvSpPr>
              <a:spLocks/>
            </p:cNvSpPr>
            <p:nvPr/>
          </p:nvSpPr>
          <p:spPr bwMode="gray">
            <a:xfrm>
              <a:off x="3904492" y="4181102"/>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7" name="Freeform 123"/>
            <p:cNvSpPr>
              <a:spLocks/>
            </p:cNvSpPr>
            <p:nvPr/>
          </p:nvSpPr>
          <p:spPr bwMode="gray">
            <a:xfrm>
              <a:off x="3890567" y="4267607"/>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8" name="Freeform 124"/>
            <p:cNvSpPr>
              <a:spLocks/>
            </p:cNvSpPr>
            <p:nvPr/>
          </p:nvSpPr>
          <p:spPr bwMode="gray">
            <a:xfrm>
              <a:off x="3891960" y="4289235"/>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9" name="Freeform 125"/>
            <p:cNvSpPr>
              <a:spLocks/>
            </p:cNvSpPr>
            <p:nvPr/>
          </p:nvSpPr>
          <p:spPr bwMode="gray">
            <a:xfrm>
              <a:off x="4143999" y="3926678"/>
              <a:ext cx="187986" cy="109403"/>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0" name="Freeform 126"/>
            <p:cNvSpPr>
              <a:spLocks/>
            </p:cNvSpPr>
            <p:nvPr/>
          </p:nvSpPr>
          <p:spPr bwMode="gray">
            <a:xfrm>
              <a:off x="4291604" y="3799463"/>
              <a:ext cx="13925" cy="30532"/>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1" name="Freeform 127"/>
            <p:cNvSpPr>
              <a:spLocks/>
            </p:cNvSpPr>
            <p:nvPr/>
          </p:nvSpPr>
          <p:spPr bwMode="gray">
            <a:xfrm>
              <a:off x="4127290" y="4034807"/>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2" name="Freeform 128"/>
            <p:cNvSpPr>
              <a:spLocks/>
            </p:cNvSpPr>
            <p:nvPr/>
          </p:nvSpPr>
          <p:spPr bwMode="gray">
            <a:xfrm>
              <a:off x="4297174" y="3800735"/>
              <a:ext cx="96082" cy="71239"/>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3" name="Freeform 129"/>
            <p:cNvSpPr>
              <a:spLocks/>
            </p:cNvSpPr>
            <p:nvPr/>
          </p:nvSpPr>
          <p:spPr bwMode="gray">
            <a:xfrm>
              <a:off x="3972725" y="4172197"/>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4" name="Freeform 130"/>
            <p:cNvSpPr>
              <a:spLocks/>
            </p:cNvSpPr>
            <p:nvPr/>
          </p:nvSpPr>
          <p:spPr bwMode="gray">
            <a:xfrm>
              <a:off x="3766636" y="4385917"/>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5" name="Freeform 131"/>
            <p:cNvSpPr>
              <a:spLocks/>
            </p:cNvSpPr>
            <p:nvPr/>
          </p:nvSpPr>
          <p:spPr bwMode="gray">
            <a:xfrm>
              <a:off x="3581435" y="4534755"/>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6" name="Freeform 132"/>
            <p:cNvSpPr>
              <a:spLocks/>
            </p:cNvSpPr>
            <p:nvPr/>
          </p:nvSpPr>
          <p:spPr bwMode="gray">
            <a:xfrm>
              <a:off x="3900315" y="4266336"/>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7" name="Freeform 133"/>
            <p:cNvSpPr>
              <a:spLocks noEditPoints="1"/>
            </p:cNvSpPr>
            <p:nvPr/>
          </p:nvSpPr>
          <p:spPr bwMode="gray">
            <a:xfrm>
              <a:off x="4309706" y="3795647"/>
              <a:ext cx="146212" cy="171738"/>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8" name="Freeform 134"/>
            <p:cNvSpPr>
              <a:spLocks/>
            </p:cNvSpPr>
            <p:nvPr/>
          </p:nvSpPr>
          <p:spPr bwMode="gray">
            <a:xfrm>
              <a:off x="4465665" y="3556486"/>
              <a:ext cx="260395" cy="180642"/>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9" name="Freeform 135"/>
            <p:cNvSpPr>
              <a:spLocks/>
            </p:cNvSpPr>
            <p:nvPr/>
          </p:nvSpPr>
          <p:spPr bwMode="gray">
            <a:xfrm>
              <a:off x="4113365" y="4047528"/>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Freeform 136"/>
            <p:cNvSpPr>
              <a:spLocks/>
            </p:cNvSpPr>
            <p:nvPr/>
          </p:nvSpPr>
          <p:spPr bwMode="gray">
            <a:xfrm>
              <a:off x="4595167" y="3497968"/>
              <a:ext cx="136463" cy="94137"/>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Freeform 137"/>
            <p:cNvSpPr>
              <a:spLocks/>
            </p:cNvSpPr>
            <p:nvPr/>
          </p:nvSpPr>
          <p:spPr bwMode="gray">
            <a:xfrm>
              <a:off x="4628586" y="3450900"/>
              <a:ext cx="199126" cy="8777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Freeform 138"/>
            <p:cNvSpPr>
              <a:spLocks/>
            </p:cNvSpPr>
            <p:nvPr/>
          </p:nvSpPr>
          <p:spPr bwMode="gray">
            <a:xfrm>
              <a:off x="3727647" y="4548748"/>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Freeform 139"/>
            <p:cNvSpPr>
              <a:spLocks/>
            </p:cNvSpPr>
            <p:nvPr/>
          </p:nvSpPr>
          <p:spPr bwMode="gray">
            <a:xfrm>
              <a:off x="3826513" y="4511857"/>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4" name="Freeform 140"/>
            <p:cNvSpPr>
              <a:spLocks/>
            </p:cNvSpPr>
            <p:nvPr/>
          </p:nvSpPr>
          <p:spPr bwMode="gray">
            <a:xfrm>
              <a:off x="4474020" y="3585746"/>
              <a:ext cx="304955" cy="25569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5" name="Freeform 141"/>
            <p:cNvSpPr>
              <a:spLocks/>
            </p:cNvSpPr>
            <p:nvPr/>
          </p:nvSpPr>
          <p:spPr bwMode="gray">
            <a:xfrm>
              <a:off x="3962977" y="4408815"/>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6" name="Freeform 142"/>
            <p:cNvSpPr>
              <a:spLocks noEditPoints="1"/>
            </p:cNvSpPr>
            <p:nvPr/>
          </p:nvSpPr>
          <p:spPr bwMode="gray">
            <a:xfrm>
              <a:off x="3628779" y="4626349"/>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7" name="Freeform 143"/>
            <p:cNvSpPr>
              <a:spLocks/>
            </p:cNvSpPr>
            <p:nvPr/>
          </p:nvSpPr>
          <p:spPr bwMode="gray">
            <a:xfrm>
              <a:off x="3918418" y="4422808"/>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Freeform 144"/>
            <p:cNvSpPr>
              <a:spLocks/>
            </p:cNvSpPr>
            <p:nvPr/>
          </p:nvSpPr>
          <p:spPr bwMode="gray">
            <a:xfrm>
              <a:off x="3859934" y="4747200"/>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Freeform 145"/>
            <p:cNvSpPr>
              <a:spLocks/>
            </p:cNvSpPr>
            <p:nvPr/>
          </p:nvSpPr>
          <p:spPr bwMode="gray">
            <a:xfrm>
              <a:off x="3926773" y="4692500"/>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Freeform 147"/>
            <p:cNvSpPr>
              <a:spLocks/>
            </p:cNvSpPr>
            <p:nvPr/>
          </p:nvSpPr>
          <p:spPr bwMode="gray">
            <a:xfrm>
              <a:off x="4965567" y="3230821"/>
              <a:ext cx="580668" cy="25569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1" name="Freeform 149"/>
            <p:cNvSpPr>
              <a:spLocks/>
            </p:cNvSpPr>
            <p:nvPr/>
          </p:nvSpPr>
          <p:spPr bwMode="gray">
            <a:xfrm>
              <a:off x="4193925" y="4385916"/>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2" name="Freeform 150"/>
            <p:cNvSpPr>
              <a:spLocks/>
            </p:cNvSpPr>
            <p:nvPr/>
          </p:nvSpPr>
          <p:spPr bwMode="gray">
            <a:xfrm>
              <a:off x="4823534" y="3715504"/>
              <a:ext cx="148997" cy="77601"/>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3" name="Freeform 151"/>
            <p:cNvSpPr>
              <a:spLocks/>
            </p:cNvSpPr>
            <p:nvPr/>
          </p:nvSpPr>
          <p:spPr bwMode="gray">
            <a:xfrm>
              <a:off x="4982279" y="3757483"/>
              <a:ext cx="58484" cy="30532"/>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4" name="Freeform 152"/>
            <p:cNvSpPr>
              <a:spLocks/>
            </p:cNvSpPr>
            <p:nvPr/>
          </p:nvSpPr>
          <p:spPr bwMode="gray">
            <a:xfrm>
              <a:off x="4968352" y="3794375"/>
              <a:ext cx="83549" cy="96682"/>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5" name="Freeform 153"/>
            <p:cNvSpPr>
              <a:spLocks/>
            </p:cNvSpPr>
            <p:nvPr/>
          </p:nvSpPr>
          <p:spPr bwMode="gray">
            <a:xfrm>
              <a:off x="4816573" y="4085692"/>
              <a:ext cx="40383" cy="63607"/>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6" name="Freeform 154"/>
            <p:cNvSpPr>
              <a:spLocks/>
            </p:cNvSpPr>
            <p:nvPr/>
          </p:nvSpPr>
          <p:spPr bwMode="gray">
            <a:xfrm>
              <a:off x="5042155" y="3754939"/>
              <a:ext cx="162922" cy="32439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7" name="Freeform 155"/>
            <p:cNvSpPr>
              <a:spLocks/>
            </p:cNvSpPr>
            <p:nvPr/>
          </p:nvSpPr>
          <p:spPr bwMode="gray">
            <a:xfrm>
              <a:off x="5186975" y="3863070"/>
              <a:ext cx="135072" cy="152656"/>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8" name="Freeform 156"/>
            <p:cNvSpPr>
              <a:spLocks/>
            </p:cNvSpPr>
            <p:nvPr/>
          </p:nvSpPr>
          <p:spPr bwMode="gray">
            <a:xfrm>
              <a:off x="5138237" y="3901234"/>
              <a:ext cx="147603" cy="254426"/>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9" name="Freeform 157"/>
            <p:cNvSpPr>
              <a:spLocks/>
            </p:cNvSpPr>
            <p:nvPr/>
          </p:nvSpPr>
          <p:spPr bwMode="gray">
            <a:xfrm>
              <a:off x="5228749" y="4003006"/>
              <a:ext cx="94689" cy="72512"/>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0" name="Freeform 158"/>
            <p:cNvSpPr>
              <a:spLocks/>
            </p:cNvSpPr>
            <p:nvPr/>
          </p:nvSpPr>
          <p:spPr bwMode="gray">
            <a:xfrm>
              <a:off x="5221786" y="3849078"/>
              <a:ext cx="133678" cy="25824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1" name="Freeform 159"/>
            <p:cNvSpPr>
              <a:spLocks noEditPoints="1"/>
            </p:cNvSpPr>
            <p:nvPr/>
          </p:nvSpPr>
          <p:spPr bwMode="gray">
            <a:xfrm>
              <a:off x="5188366" y="4132762"/>
              <a:ext cx="343944" cy="103043"/>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2" name="Freeform 160"/>
            <p:cNvSpPr>
              <a:spLocks noEditPoints="1"/>
            </p:cNvSpPr>
            <p:nvPr/>
          </p:nvSpPr>
          <p:spPr bwMode="gray">
            <a:xfrm>
              <a:off x="5099247" y="4155661"/>
              <a:ext cx="832707" cy="265876"/>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3" name="Freeform 161"/>
            <p:cNvSpPr>
              <a:spLocks/>
            </p:cNvSpPr>
            <p:nvPr/>
          </p:nvSpPr>
          <p:spPr bwMode="gray">
            <a:xfrm>
              <a:off x="5625607" y="3455989"/>
              <a:ext cx="114184" cy="11830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4" name="Freeform 162"/>
            <p:cNvSpPr>
              <a:spLocks/>
            </p:cNvSpPr>
            <p:nvPr/>
          </p:nvSpPr>
          <p:spPr bwMode="gray">
            <a:xfrm>
              <a:off x="5659027" y="3552671"/>
              <a:ext cx="62663" cy="89049"/>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5" name="Freeform 163"/>
            <p:cNvSpPr>
              <a:spLocks/>
            </p:cNvSpPr>
            <p:nvPr/>
          </p:nvSpPr>
          <p:spPr bwMode="gray">
            <a:xfrm>
              <a:off x="5549019" y="3816002"/>
              <a:ext cx="33420" cy="58518"/>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164"/>
            <p:cNvSpPr>
              <a:spLocks/>
            </p:cNvSpPr>
            <p:nvPr/>
          </p:nvSpPr>
          <p:spPr bwMode="gray">
            <a:xfrm>
              <a:off x="5441799" y="4164565"/>
              <a:ext cx="20888" cy="16539"/>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65"/>
            <p:cNvSpPr>
              <a:spLocks noEditPoints="1"/>
            </p:cNvSpPr>
            <p:nvPr/>
          </p:nvSpPr>
          <p:spPr bwMode="gray">
            <a:xfrm>
              <a:off x="5720296" y="3398742"/>
              <a:ext cx="292423" cy="309129"/>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8" name="Freeform 166"/>
            <p:cNvSpPr>
              <a:spLocks noEditPoints="1"/>
            </p:cNvSpPr>
            <p:nvPr/>
          </p:nvSpPr>
          <p:spPr bwMode="gray">
            <a:xfrm>
              <a:off x="5497499" y="3934309"/>
              <a:ext cx="168491" cy="222624"/>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9" name="Freeform 167"/>
            <p:cNvSpPr>
              <a:spLocks noEditPoints="1"/>
            </p:cNvSpPr>
            <p:nvPr/>
          </p:nvSpPr>
          <p:spPr bwMode="gray">
            <a:xfrm>
              <a:off x="5423697" y="4430440"/>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0" name="Freeform 168"/>
            <p:cNvSpPr>
              <a:spLocks noEditPoints="1"/>
            </p:cNvSpPr>
            <p:nvPr/>
          </p:nvSpPr>
          <p:spPr bwMode="gray">
            <a:xfrm>
              <a:off x="5927777" y="4294323"/>
              <a:ext cx="208874" cy="133574"/>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1" name="Freeform 169"/>
            <p:cNvSpPr>
              <a:spLocks noEditPoints="1"/>
            </p:cNvSpPr>
            <p:nvPr/>
          </p:nvSpPr>
          <p:spPr bwMode="gray">
            <a:xfrm>
              <a:off x="6395652" y="4860421"/>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2" name="Freeform 170"/>
            <p:cNvSpPr>
              <a:spLocks noEditPoints="1"/>
            </p:cNvSpPr>
            <p:nvPr/>
          </p:nvSpPr>
          <p:spPr bwMode="gray">
            <a:xfrm>
              <a:off x="3840438" y="347634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3" name="Freeform 6"/>
            <p:cNvSpPr>
              <a:spLocks/>
            </p:cNvSpPr>
            <p:nvPr/>
          </p:nvSpPr>
          <p:spPr bwMode="gray">
            <a:xfrm>
              <a:off x="6637945" y="2645642"/>
              <a:ext cx="182416" cy="184460"/>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4" name="Freeform 22"/>
            <p:cNvSpPr>
              <a:spLocks/>
            </p:cNvSpPr>
            <p:nvPr/>
          </p:nvSpPr>
          <p:spPr bwMode="gray">
            <a:xfrm>
              <a:off x="5339719" y="3907448"/>
              <a:ext cx="43156" cy="32881"/>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5" name="Freeform 13"/>
            <p:cNvSpPr>
              <a:spLocks/>
            </p:cNvSpPr>
            <p:nvPr/>
          </p:nvSpPr>
          <p:spPr bwMode="gray">
            <a:xfrm>
              <a:off x="4604913" y="3592104"/>
              <a:ext cx="533323" cy="523482"/>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6" name="Freeform 23"/>
            <p:cNvSpPr>
              <a:spLocks/>
            </p:cNvSpPr>
            <p:nvPr/>
          </p:nvSpPr>
          <p:spPr bwMode="gray">
            <a:xfrm>
              <a:off x="4707956" y="3192162"/>
              <a:ext cx="1106861" cy="712383"/>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grp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210" name="Rectangle 209">
            <a:extLst>
              <a:ext uri="{FF2B5EF4-FFF2-40B4-BE49-F238E27FC236}">
                <a16:creationId xmlns:a16="http://schemas.microsoft.com/office/drawing/2014/main" id="{19976663-18BF-2F43-BD8B-71D43A575608}"/>
              </a:ext>
            </a:extLst>
          </p:cNvPr>
          <p:cNvSpPr/>
          <p:nvPr/>
        </p:nvSpPr>
        <p:spPr>
          <a:xfrm>
            <a:off x="1828800" y="2742215"/>
            <a:ext cx="2253822" cy="307777"/>
          </a:xfrm>
          <a:prstGeom prst="rect">
            <a:avLst/>
          </a:prstGeom>
        </p:spPr>
        <p:txBody>
          <a:bodyPr wrap="none" lIns="0" tIns="0" rIns="0" bIns="0">
            <a:spAutoFit/>
          </a:bodyPr>
          <a:lstStyle/>
          <a:p>
            <a:r>
              <a:rPr lang="en-US" sz="2000" b="1" cap="all">
                <a:solidFill>
                  <a:srgbClr val="FFFFFF"/>
                </a:solidFill>
                <a:latin typeface="Arial" panose="020B0604020202020204" pitchFamily="34" charset="0"/>
                <a:ea typeface="Roboto" panose="02000000000000000000" pitchFamily="2" charset="0"/>
                <a:cs typeface="Arial" panose="020B0604020202020204" pitchFamily="34" charset="0"/>
              </a:rPr>
              <a:t>Text Goes Here</a:t>
            </a:r>
          </a:p>
        </p:txBody>
      </p:sp>
      <p:sp>
        <p:nvSpPr>
          <p:cNvPr id="211" name="Rectangle 210">
            <a:extLst>
              <a:ext uri="{FF2B5EF4-FFF2-40B4-BE49-F238E27FC236}">
                <a16:creationId xmlns:a16="http://schemas.microsoft.com/office/drawing/2014/main" id="{E1B366C1-2BEE-0843-A828-BAFC8F7820A7}"/>
              </a:ext>
            </a:extLst>
          </p:cNvPr>
          <p:cNvSpPr/>
          <p:nvPr/>
        </p:nvSpPr>
        <p:spPr>
          <a:xfrm>
            <a:off x="1848577" y="3100826"/>
            <a:ext cx="2745547" cy="1206484"/>
          </a:xfrm>
          <a:prstGeom prst="rect">
            <a:avLst/>
          </a:prstGeom>
        </p:spPr>
        <p:txBody>
          <a:bodyPr wrap="square" lIns="0" tIns="0" rIns="0" bIns="0">
            <a:spAutoFit/>
          </a:bodyPr>
          <a:lstStyle/>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Dratat quat ad gui is molup tasioi</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natur acesto dolore noneta huild</a:t>
            </a:r>
          </a:p>
          <a:p>
            <a:pPr>
              <a:lnSpc>
                <a:spcPct val="140000"/>
              </a:lnSpc>
            </a:pPr>
            <a:r>
              <a:rPr lang="en-US" sz="1400">
                <a:solidFill>
                  <a:srgbClr val="FFFFFF"/>
                </a:solidFill>
                <a:latin typeface="Arial" panose="020B0604020202020204" pitchFamily="34" charset="0"/>
                <a:ea typeface="Roboto" panose="02000000000000000000" pitchFamily="2" charset="0"/>
                <a:cs typeface="Arial" panose="020B0604020202020204" pitchFamily="34" charset="0"/>
              </a:rPr>
              <a:t>quasit. Sundah avel sequin foryip ais experipdo lorem ipsum.</a:t>
            </a:r>
          </a:p>
        </p:txBody>
      </p:sp>
      <p:sp>
        <p:nvSpPr>
          <p:cNvPr id="212" name="Rectangle 211">
            <a:extLst>
              <a:ext uri="{FF2B5EF4-FFF2-40B4-BE49-F238E27FC236}">
                <a16:creationId xmlns:a16="http://schemas.microsoft.com/office/drawing/2014/main" id="{113FE46C-48CE-B741-AD01-273C8AD6FDE4}"/>
              </a:ext>
            </a:extLst>
          </p:cNvPr>
          <p:cNvSpPr/>
          <p:nvPr/>
        </p:nvSpPr>
        <p:spPr>
          <a:xfrm>
            <a:off x="7381875" y="5112735"/>
            <a:ext cx="496418" cy="215444"/>
          </a:xfrm>
          <a:prstGeom prst="rect">
            <a:avLst/>
          </a:prstGeom>
        </p:spPr>
        <p:txBody>
          <a:bodyPr wrap="none" lIns="0" tIns="0" rIns="0" bIns="0">
            <a:spAutoFit/>
          </a:bodyPr>
          <a:lstStyle/>
          <a:p>
            <a:r>
              <a:rPr lang="en-US" sz="1400" b="1">
                <a:solidFill>
                  <a:schemeClr val="bg2"/>
                </a:solidFill>
                <a:latin typeface="Arial" panose="020B0604020202020204" pitchFamily="34" charset="0"/>
                <a:ea typeface="Roboto" panose="02000000000000000000" pitchFamily="2" charset="0"/>
                <a:cs typeface="Arial" panose="020B0604020202020204" pitchFamily="34" charset="0"/>
              </a:rPr>
              <a:t>APAC</a:t>
            </a:r>
          </a:p>
        </p:txBody>
      </p:sp>
      <p:sp>
        <p:nvSpPr>
          <p:cNvPr id="213" name="Rectangle 212">
            <a:extLst>
              <a:ext uri="{FF2B5EF4-FFF2-40B4-BE49-F238E27FC236}">
                <a16:creationId xmlns:a16="http://schemas.microsoft.com/office/drawing/2014/main" id="{79067EF4-DB2A-2641-91B6-2F2D59CB752C}"/>
              </a:ext>
            </a:extLst>
          </p:cNvPr>
          <p:cNvSpPr/>
          <p:nvPr/>
        </p:nvSpPr>
        <p:spPr>
          <a:xfrm>
            <a:off x="7378700" y="5405774"/>
            <a:ext cx="2745547" cy="553998"/>
          </a:xfrm>
          <a:prstGeom prst="rect">
            <a:avLst/>
          </a:prstGeom>
        </p:spPr>
        <p:txBody>
          <a:bodyPr wrap="square" lIns="0" tIns="0" rIns="0" bIns="0">
            <a:spAutoFit/>
          </a:bodyPr>
          <a:lstStyle/>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Dratat quat ad gui is molup tasioi natur acesto</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natur acesto dolore noneta huilda vel seq uodi.</a:t>
            </a:r>
          </a:p>
          <a:p>
            <a:pPr>
              <a:lnSpc>
                <a:spcPct val="120000"/>
              </a:lnSpc>
            </a:pPr>
            <a:r>
              <a:rPr lang="en-US" sz="1000">
                <a:solidFill>
                  <a:schemeClr val="bg1"/>
                </a:solidFill>
                <a:latin typeface="Arial" panose="020B0604020202020204" pitchFamily="34" charset="0"/>
                <a:ea typeface="Roboto" panose="02000000000000000000" pitchFamily="2" charset="0"/>
                <a:cs typeface="Arial" panose="020B0604020202020204" pitchFamily="34" charset="0"/>
              </a:rPr>
              <a:t>Sundah quasitavel sequin.</a:t>
            </a:r>
          </a:p>
        </p:txBody>
      </p:sp>
      <p:grpSp>
        <p:nvGrpSpPr>
          <p:cNvPr id="552" name="Group 551"/>
          <p:cNvGrpSpPr>
            <a:grpSpLocks noChangeAspect="1"/>
          </p:cNvGrpSpPr>
          <p:nvPr/>
        </p:nvGrpSpPr>
        <p:grpSpPr>
          <a:xfrm>
            <a:off x="5324416" y="994045"/>
            <a:ext cx="4248000" cy="3525172"/>
            <a:chOff x="1522413" y="677863"/>
            <a:chExt cx="6961188" cy="5807075"/>
          </a:xfrm>
        </p:grpSpPr>
        <p:grpSp>
          <p:nvGrpSpPr>
            <p:cNvPr id="553" name="Group 552"/>
            <p:cNvGrpSpPr/>
            <p:nvPr/>
          </p:nvGrpSpPr>
          <p:grpSpPr>
            <a:xfrm>
              <a:off x="1560244" y="2547938"/>
              <a:ext cx="6840807" cy="3937000"/>
              <a:chOff x="1560244" y="2547938"/>
              <a:chExt cx="6840807" cy="3937000"/>
            </a:xfrm>
          </p:grpSpPr>
          <p:sp>
            <p:nvSpPr>
              <p:cNvPr id="856" name="Freeform 6"/>
              <p:cNvSpPr>
                <a:spLocks/>
              </p:cNvSpPr>
              <p:nvPr/>
            </p:nvSpPr>
            <p:spPr bwMode="auto">
              <a:xfrm>
                <a:off x="1632470" y="3589338"/>
                <a:ext cx="68786" cy="57150"/>
              </a:xfrm>
              <a:custGeom>
                <a:avLst/>
                <a:gdLst>
                  <a:gd name="T0" fmla="*/ 18 w 40"/>
                  <a:gd name="T1" fmla="*/ 36 h 36"/>
                  <a:gd name="T2" fmla="*/ 20 w 40"/>
                  <a:gd name="T3" fmla="*/ 34 h 36"/>
                  <a:gd name="T4" fmla="*/ 26 w 40"/>
                  <a:gd name="T5" fmla="*/ 30 h 36"/>
                  <a:gd name="T6" fmla="*/ 28 w 40"/>
                  <a:gd name="T7" fmla="*/ 24 h 36"/>
                  <a:gd name="T8" fmla="*/ 40 w 40"/>
                  <a:gd name="T9" fmla="*/ 10 h 36"/>
                  <a:gd name="T10" fmla="*/ 40 w 40"/>
                  <a:gd name="T11" fmla="*/ 10 h 36"/>
                  <a:gd name="T12" fmla="*/ 38 w 40"/>
                  <a:gd name="T13" fmla="*/ 10 h 36"/>
                  <a:gd name="T14" fmla="*/ 38 w 40"/>
                  <a:gd name="T15" fmla="*/ 8 h 36"/>
                  <a:gd name="T16" fmla="*/ 38 w 40"/>
                  <a:gd name="T17" fmla="*/ 4 h 36"/>
                  <a:gd name="T18" fmla="*/ 36 w 40"/>
                  <a:gd name="T19" fmla="*/ 2 h 36"/>
                  <a:gd name="T20" fmla="*/ 32 w 40"/>
                  <a:gd name="T21" fmla="*/ 0 h 36"/>
                  <a:gd name="T22" fmla="*/ 30 w 40"/>
                  <a:gd name="T23" fmla="*/ 0 h 36"/>
                  <a:gd name="T24" fmla="*/ 28 w 40"/>
                  <a:gd name="T25" fmla="*/ 0 h 36"/>
                  <a:gd name="T26" fmla="*/ 26 w 40"/>
                  <a:gd name="T27" fmla="*/ 4 h 36"/>
                  <a:gd name="T28" fmla="*/ 20 w 40"/>
                  <a:gd name="T29" fmla="*/ 6 h 36"/>
                  <a:gd name="T30" fmla="*/ 16 w 40"/>
                  <a:gd name="T31" fmla="*/ 12 h 36"/>
                  <a:gd name="T32" fmla="*/ 16 w 40"/>
                  <a:gd name="T33" fmla="*/ 16 h 36"/>
                  <a:gd name="T34" fmla="*/ 12 w 40"/>
                  <a:gd name="T35" fmla="*/ 18 h 36"/>
                  <a:gd name="T36" fmla="*/ 18 w 40"/>
                  <a:gd name="T37" fmla="*/ 20 h 36"/>
                  <a:gd name="T38" fmla="*/ 20 w 40"/>
                  <a:gd name="T39" fmla="*/ 22 h 36"/>
                  <a:gd name="T40" fmla="*/ 18 w 40"/>
                  <a:gd name="T41" fmla="*/ 24 h 36"/>
                  <a:gd name="T42" fmla="*/ 18 w 40"/>
                  <a:gd name="T43" fmla="*/ 24 h 36"/>
                  <a:gd name="T44" fmla="*/ 14 w 40"/>
                  <a:gd name="T45" fmla="*/ 22 h 36"/>
                  <a:gd name="T46" fmla="*/ 12 w 40"/>
                  <a:gd name="T47" fmla="*/ 22 h 36"/>
                  <a:gd name="T48" fmla="*/ 10 w 40"/>
                  <a:gd name="T49" fmla="*/ 22 h 36"/>
                  <a:gd name="T50" fmla="*/ 6 w 40"/>
                  <a:gd name="T51" fmla="*/ 26 h 36"/>
                  <a:gd name="T52" fmla="*/ 2 w 40"/>
                  <a:gd name="T53" fmla="*/ 28 h 36"/>
                  <a:gd name="T54" fmla="*/ 0 w 40"/>
                  <a:gd name="T55" fmla="*/ 30 h 36"/>
                  <a:gd name="T56" fmla="*/ 0 w 40"/>
                  <a:gd name="T57" fmla="*/ 34 h 36"/>
                  <a:gd name="T58" fmla="*/ 2 w 40"/>
                  <a:gd name="T59" fmla="*/ 32 h 36"/>
                  <a:gd name="T60" fmla="*/ 8 w 40"/>
                  <a:gd name="T61" fmla="*/ 34 h 36"/>
                  <a:gd name="T62" fmla="*/ 16 w 40"/>
                  <a:gd name="T63" fmla="*/ 34 h 36"/>
                  <a:gd name="T64" fmla="*/ 18 w 40"/>
                  <a:gd name="T6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6">
                    <a:moveTo>
                      <a:pt x="18" y="36"/>
                    </a:moveTo>
                    <a:lnTo>
                      <a:pt x="20" y="34"/>
                    </a:lnTo>
                    <a:lnTo>
                      <a:pt x="26" y="30"/>
                    </a:lnTo>
                    <a:lnTo>
                      <a:pt x="28" y="24"/>
                    </a:lnTo>
                    <a:lnTo>
                      <a:pt x="40" y="10"/>
                    </a:lnTo>
                    <a:lnTo>
                      <a:pt x="40" y="10"/>
                    </a:lnTo>
                    <a:lnTo>
                      <a:pt x="38" y="10"/>
                    </a:lnTo>
                    <a:lnTo>
                      <a:pt x="38" y="8"/>
                    </a:lnTo>
                    <a:lnTo>
                      <a:pt x="38" y="4"/>
                    </a:lnTo>
                    <a:lnTo>
                      <a:pt x="36" y="2"/>
                    </a:lnTo>
                    <a:lnTo>
                      <a:pt x="32" y="0"/>
                    </a:lnTo>
                    <a:lnTo>
                      <a:pt x="30" y="0"/>
                    </a:lnTo>
                    <a:lnTo>
                      <a:pt x="28" y="0"/>
                    </a:lnTo>
                    <a:lnTo>
                      <a:pt x="26" y="4"/>
                    </a:lnTo>
                    <a:lnTo>
                      <a:pt x="20" y="6"/>
                    </a:lnTo>
                    <a:lnTo>
                      <a:pt x="16" y="12"/>
                    </a:lnTo>
                    <a:lnTo>
                      <a:pt x="16" y="16"/>
                    </a:lnTo>
                    <a:lnTo>
                      <a:pt x="12" y="18"/>
                    </a:lnTo>
                    <a:lnTo>
                      <a:pt x="18" y="20"/>
                    </a:lnTo>
                    <a:lnTo>
                      <a:pt x="20" y="22"/>
                    </a:lnTo>
                    <a:lnTo>
                      <a:pt x="18" y="24"/>
                    </a:lnTo>
                    <a:lnTo>
                      <a:pt x="18" y="24"/>
                    </a:lnTo>
                    <a:lnTo>
                      <a:pt x="14" y="22"/>
                    </a:lnTo>
                    <a:lnTo>
                      <a:pt x="12" y="22"/>
                    </a:lnTo>
                    <a:lnTo>
                      <a:pt x="10" y="22"/>
                    </a:lnTo>
                    <a:lnTo>
                      <a:pt x="6" y="26"/>
                    </a:lnTo>
                    <a:lnTo>
                      <a:pt x="2" y="28"/>
                    </a:lnTo>
                    <a:lnTo>
                      <a:pt x="0" y="30"/>
                    </a:lnTo>
                    <a:lnTo>
                      <a:pt x="0" y="34"/>
                    </a:lnTo>
                    <a:lnTo>
                      <a:pt x="2" y="32"/>
                    </a:lnTo>
                    <a:lnTo>
                      <a:pt x="8" y="34"/>
                    </a:lnTo>
                    <a:lnTo>
                      <a:pt x="16" y="34"/>
                    </a:lnTo>
                    <a:lnTo>
                      <a:pt x="18" y="3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57" name="Freeform 7"/>
              <p:cNvSpPr>
                <a:spLocks/>
              </p:cNvSpPr>
              <p:nvPr/>
            </p:nvSpPr>
            <p:spPr bwMode="auto">
              <a:xfrm>
                <a:off x="1632470" y="3589338"/>
                <a:ext cx="68786" cy="57150"/>
              </a:xfrm>
              <a:custGeom>
                <a:avLst/>
                <a:gdLst>
                  <a:gd name="T0" fmla="*/ 18 w 40"/>
                  <a:gd name="T1" fmla="*/ 36 h 36"/>
                  <a:gd name="T2" fmla="*/ 20 w 40"/>
                  <a:gd name="T3" fmla="*/ 34 h 36"/>
                  <a:gd name="T4" fmla="*/ 26 w 40"/>
                  <a:gd name="T5" fmla="*/ 30 h 36"/>
                  <a:gd name="T6" fmla="*/ 28 w 40"/>
                  <a:gd name="T7" fmla="*/ 24 h 36"/>
                  <a:gd name="T8" fmla="*/ 40 w 40"/>
                  <a:gd name="T9" fmla="*/ 10 h 36"/>
                  <a:gd name="T10" fmla="*/ 40 w 40"/>
                  <a:gd name="T11" fmla="*/ 10 h 36"/>
                  <a:gd name="T12" fmla="*/ 38 w 40"/>
                  <a:gd name="T13" fmla="*/ 10 h 36"/>
                  <a:gd name="T14" fmla="*/ 38 w 40"/>
                  <a:gd name="T15" fmla="*/ 8 h 36"/>
                  <a:gd name="T16" fmla="*/ 38 w 40"/>
                  <a:gd name="T17" fmla="*/ 4 h 36"/>
                  <a:gd name="T18" fmla="*/ 36 w 40"/>
                  <a:gd name="T19" fmla="*/ 2 h 36"/>
                  <a:gd name="T20" fmla="*/ 32 w 40"/>
                  <a:gd name="T21" fmla="*/ 0 h 36"/>
                  <a:gd name="T22" fmla="*/ 30 w 40"/>
                  <a:gd name="T23" fmla="*/ 0 h 36"/>
                  <a:gd name="T24" fmla="*/ 28 w 40"/>
                  <a:gd name="T25" fmla="*/ 0 h 36"/>
                  <a:gd name="T26" fmla="*/ 26 w 40"/>
                  <a:gd name="T27" fmla="*/ 4 h 36"/>
                  <a:gd name="T28" fmla="*/ 20 w 40"/>
                  <a:gd name="T29" fmla="*/ 6 h 36"/>
                  <a:gd name="T30" fmla="*/ 16 w 40"/>
                  <a:gd name="T31" fmla="*/ 12 h 36"/>
                  <a:gd name="T32" fmla="*/ 16 w 40"/>
                  <a:gd name="T33" fmla="*/ 16 h 36"/>
                  <a:gd name="T34" fmla="*/ 12 w 40"/>
                  <a:gd name="T35" fmla="*/ 18 h 36"/>
                  <a:gd name="T36" fmla="*/ 18 w 40"/>
                  <a:gd name="T37" fmla="*/ 20 h 36"/>
                  <a:gd name="T38" fmla="*/ 20 w 40"/>
                  <a:gd name="T39" fmla="*/ 22 h 36"/>
                  <a:gd name="T40" fmla="*/ 18 w 40"/>
                  <a:gd name="T41" fmla="*/ 24 h 36"/>
                  <a:gd name="T42" fmla="*/ 18 w 40"/>
                  <a:gd name="T43" fmla="*/ 24 h 36"/>
                  <a:gd name="T44" fmla="*/ 14 w 40"/>
                  <a:gd name="T45" fmla="*/ 22 h 36"/>
                  <a:gd name="T46" fmla="*/ 12 w 40"/>
                  <a:gd name="T47" fmla="*/ 22 h 36"/>
                  <a:gd name="T48" fmla="*/ 10 w 40"/>
                  <a:gd name="T49" fmla="*/ 22 h 36"/>
                  <a:gd name="T50" fmla="*/ 6 w 40"/>
                  <a:gd name="T51" fmla="*/ 26 h 36"/>
                  <a:gd name="T52" fmla="*/ 2 w 40"/>
                  <a:gd name="T53" fmla="*/ 28 h 36"/>
                  <a:gd name="T54" fmla="*/ 0 w 40"/>
                  <a:gd name="T55" fmla="*/ 30 h 36"/>
                  <a:gd name="T56" fmla="*/ 0 w 40"/>
                  <a:gd name="T57" fmla="*/ 34 h 36"/>
                  <a:gd name="T58" fmla="*/ 2 w 40"/>
                  <a:gd name="T59" fmla="*/ 32 h 36"/>
                  <a:gd name="T60" fmla="*/ 8 w 40"/>
                  <a:gd name="T61" fmla="*/ 34 h 36"/>
                  <a:gd name="T62" fmla="*/ 16 w 40"/>
                  <a:gd name="T63" fmla="*/ 34 h 36"/>
                  <a:gd name="T64" fmla="*/ 18 w 40"/>
                  <a:gd name="T6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6">
                    <a:moveTo>
                      <a:pt x="18" y="36"/>
                    </a:moveTo>
                    <a:lnTo>
                      <a:pt x="20" y="34"/>
                    </a:lnTo>
                    <a:lnTo>
                      <a:pt x="26" y="30"/>
                    </a:lnTo>
                    <a:lnTo>
                      <a:pt x="28" y="24"/>
                    </a:lnTo>
                    <a:lnTo>
                      <a:pt x="40" y="10"/>
                    </a:lnTo>
                    <a:lnTo>
                      <a:pt x="40" y="10"/>
                    </a:lnTo>
                    <a:lnTo>
                      <a:pt x="38" y="10"/>
                    </a:lnTo>
                    <a:lnTo>
                      <a:pt x="38" y="8"/>
                    </a:lnTo>
                    <a:lnTo>
                      <a:pt x="38" y="4"/>
                    </a:lnTo>
                    <a:lnTo>
                      <a:pt x="36" y="2"/>
                    </a:lnTo>
                    <a:lnTo>
                      <a:pt x="32" y="0"/>
                    </a:lnTo>
                    <a:lnTo>
                      <a:pt x="30" y="0"/>
                    </a:lnTo>
                    <a:lnTo>
                      <a:pt x="28" y="0"/>
                    </a:lnTo>
                    <a:lnTo>
                      <a:pt x="26" y="4"/>
                    </a:lnTo>
                    <a:lnTo>
                      <a:pt x="20" y="6"/>
                    </a:lnTo>
                    <a:lnTo>
                      <a:pt x="16" y="12"/>
                    </a:lnTo>
                    <a:lnTo>
                      <a:pt x="16" y="16"/>
                    </a:lnTo>
                    <a:lnTo>
                      <a:pt x="12" y="18"/>
                    </a:lnTo>
                    <a:lnTo>
                      <a:pt x="18" y="20"/>
                    </a:lnTo>
                    <a:lnTo>
                      <a:pt x="20" y="22"/>
                    </a:lnTo>
                    <a:lnTo>
                      <a:pt x="18" y="24"/>
                    </a:lnTo>
                    <a:lnTo>
                      <a:pt x="18" y="24"/>
                    </a:lnTo>
                    <a:lnTo>
                      <a:pt x="14" y="22"/>
                    </a:lnTo>
                    <a:lnTo>
                      <a:pt x="12" y="22"/>
                    </a:lnTo>
                    <a:lnTo>
                      <a:pt x="10" y="22"/>
                    </a:lnTo>
                    <a:lnTo>
                      <a:pt x="6" y="26"/>
                    </a:lnTo>
                    <a:lnTo>
                      <a:pt x="2" y="28"/>
                    </a:lnTo>
                    <a:lnTo>
                      <a:pt x="0" y="30"/>
                    </a:lnTo>
                    <a:lnTo>
                      <a:pt x="0" y="34"/>
                    </a:lnTo>
                    <a:lnTo>
                      <a:pt x="2" y="32"/>
                    </a:lnTo>
                    <a:lnTo>
                      <a:pt x="8" y="34"/>
                    </a:lnTo>
                    <a:lnTo>
                      <a:pt x="16" y="34"/>
                    </a:lnTo>
                    <a:lnTo>
                      <a:pt x="18" y="3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58" name="Freeform 8"/>
              <p:cNvSpPr>
                <a:spLocks/>
              </p:cNvSpPr>
              <p:nvPr/>
            </p:nvSpPr>
            <p:spPr bwMode="auto">
              <a:xfrm>
                <a:off x="1591198" y="3614738"/>
                <a:ext cx="27515" cy="12700"/>
              </a:xfrm>
              <a:custGeom>
                <a:avLst/>
                <a:gdLst>
                  <a:gd name="T0" fmla="*/ 0 w 16"/>
                  <a:gd name="T1" fmla="*/ 8 h 8"/>
                  <a:gd name="T2" fmla="*/ 6 w 16"/>
                  <a:gd name="T3" fmla="*/ 8 h 8"/>
                  <a:gd name="T4" fmla="*/ 6 w 16"/>
                  <a:gd name="T5" fmla="*/ 6 h 8"/>
                  <a:gd name="T6" fmla="*/ 16 w 16"/>
                  <a:gd name="T7" fmla="*/ 4 h 8"/>
                  <a:gd name="T8" fmla="*/ 16 w 16"/>
                  <a:gd name="T9" fmla="*/ 0 h 8"/>
                  <a:gd name="T10" fmla="*/ 2 w 16"/>
                  <a:gd name="T11" fmla="*/ 2 h 8"/>
                  <a:gd name="T12" fmla="*/ 0 w 1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8"/>
                    </a:moveTo>
                    <a:lnTo>
                      <a:pt x="6" y="8"/>
                    </a:lnTo>
                    <a:lnTo>
                      <a:pt x="6" y="6"/>
                    </a:lnTo>
                    <a:lnTo>
                      <a:pt x="16" y="4"/>
                    </a:lnTo>
                    <a:lnTo>
                      <a:pt x="16" y="0"/>
                    </a:lnTo>
                    <a:lnTo>
                      <a:pt x="2" y="2"/>
                    </a:lnTo>
                    <a:lnTo>
                      <a:pt x="0"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59" name="Freeform 9"/>
              <p:cNvSpPr>
                <a:spLocks/>
              </p:cNvSpPr>
              <p:nvPr/>
            </p:nvSpPr>
            <p:spPr bwMode="auto">
              <a:xfrm>
                <a:off x="1591198" y="3614738"/>
                <a:ext cx="27515" cy="12700"/>
              </a:xfrm>
              <a:custGeom>
                <a:avLst/>
                <a:gdLst>
                  <a:gd name="T0" fmla="*/ 0 w 16"/>
                  <a:gd name="T1" fmla="*/ 8 h 8"/>
                  <a:gd name="T2" fmla="*/ 6 w 16"/>
                  <a:gd name="T3" fmla="*/ 8 h 8"/>
                  <a:gd name="T4" fmla="*/ 6 w 16"/>
                  <a:gd name="T5" fmla="*/ 6 h 8"/>
                  <a:gd name="T6" fmla="*/ 16 w 16"/>
                  <a:gd name="T7" fmla="*/ 4 h 8"/>
                  <a:gd name="T8" fmla="*/ 16 w 16"/>
                  <a:gd name="T9" fmla="*/ 0 h 8"/>
                  <a:gd name="T10" fmla="*/ 2 w 16"/>
                  <a:gd name="T11" fmla="*/ 2 h 8"/>
                  <a:gd name="T12" fmla="*/ 0 w 1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8"/>
                    </a:moveTo>
                    <a:lnTo>
                      <a:pt x="6" y="8"/>
                    </a:lnTo>
                    <a:lnTo>
                      <a:pt x="6" y="6"/>
                    </a:lnTo>
                    <a:lnTo>
                      <a:pt x="16" y="4"/>
                    </a:lnTo>
                    <a:lnTo>
                      <a:pt x="16" y="0"/>
                    </a:lnTo>
                    <a:lnTo>
                      <a:pt x="2" y="2"/>
                    </a:lnTo>
                    <a:lnTo>
                      <a:pt x="0"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60" name="Freeform 16"/>
              <p:cNvSpPr>
                <a:spLocks/>
              </p:cNvSpPr>
              <p:nvPr/>
            </p:nvSpPr>
            <p:spPr bwMode="auto">
              <a:xfrm>
                <a:off x="4655632" y="4837113"/>
                <a:ext cx="13757" cy="28575"/>
              </a:xfrm>
              <a:custGeom>
                <a:avLst/>
                <a:gdLst>
                  <a:gd name="T0" fmla="*/ 0 w 8"/>
                  <a:gd name="T1" fmla="*/ 4 h 18"/>
                  <a:gd name="T2" fmla="*/ 0 w 8"/>
                  <a:gd name="T3" fmla="*/ 16 h 18"/>
                  <a:gd name="T4" fmla="*/ 6 w 8"/>
                  <a:gd name="T5" fmla="*/ 18 h 18"/>
                  <a:gd name="T6" fmla="*/ 8 w 8"/>
                  <a:gd name="T7" fmla="*/ 12 h 18"/>
                  <a:gd name="T8" fmla="*/ 8 w 8"/>
                  <a:gd name="T9" fmla="*/ 8 h 18"/>
                  <a:gd name="T10" fmla="*/ 6 w 8"/>
                  <a:gd name="T11" fmla="*/ 2 h 18"/>
                  <a:gd name="T12" fmla="*/ 2 w 8"/>
                  <a:gd name="T13" fmla="*/ 0 h 18"/>
                  <a:gd name="T14" fmla="*/ 0 w 8"/>
                  <a:gd name="T15" fmla="*/ 4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8">
                    <a:moveTo>
                      <a:pt x="0" y="4"/>
                    </a:moveTo>
                    <a:lnTo>
                      <a:pt x="0" y="16"/>
                    </a:lnTo>
                    <a:lnTo>
                      <a:pt x="6" y="18"/>
                    </a:lnTo>
                    <a:lnTo>
                      <a:pt x="8" y="12"/>
                    </a:lnTo>
                    <a:lnTo>
                      <a:pt x="8" y="8"/>
                    </a:lnTo>
                    <a:lnTo>
                      <a:pt x="6" y="2"/>
                    </a:lnTo>
                    <a:lnTo>
                      <a:pt x="2" y="0"/>
                    </a:lnTo>
                    <a:lnTo>
                      <a:pt x="0"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61" name="Freeform 17"/>
              <p:cNvSpPr>
                <a:spLocks/>
              </p:cNvSpPr>
              <p:nvPr/>
            </p:nvSpPr>
            <p:spPr bwMode="auto">
              <a:xfrm>
                <a:off x="4655632" y="4837113"/>
                <a:ext cx="13757" cy="28575"/>
              </a:xfrm>
              <a:custGeom>
                <a:avLst/>
                <a:gdLst>
                  <a:gd name="T0" fmla="*/ 0 w 8"/>
                  <a:gd name="T1" fmla="*/ 4 h 18"/>
                  <a:gd name="T2" fmla="*/ 0 w 8"/>
                  <a:gd name="T3" fmla="*/ 16 h 18"/>
                  <a:gd name="T4" fmla="*/ 6 w 8"/>
                  <a:gd name="T5" fmla="*/ 18 h 18"/>
                  <a:gd name="T6" fmla="*/ 8 w 8"/>
                  <a:gd name="T7" fmla="*/ 12 h 18"/>
                  <a:gd name="T8" fmla="*/ 8 w 8"/>
                  <a:gd name="T9" fmla="*/ 8 h 18"/>
                  <a:gd name="T10" fmla="*/ 6 w 8"/>
                  <a:gd name="T11" fmla="*/ 2 h 18"/>
                  <a:gd name="T12" fmla="*/ 2 w 8"/>
                  <a:gd name="T13" fmla="*/ 0 h 18"/>
                  <a:gd name="T14" fmla="*/ 0 w 8"/>
                  <a:gd name="T15" fmla="*/ 4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8">
                    <a:moveTo>
                      <a:pt x="0" y="4"/>
                    </a:moveTo>
                    <a:lnTo>
                      <a:pt x="0" y="16"/>
                    </a:lnTo>
                    <a:lnTo>
                      <a:pt x="6" y="18"/>
                    </a:lnTo>
                    <a:lnTo>
                      <a:pt x="8" y="12"/>
                    </a:lnTo>
                    <a:lnTo>
                      <a:pt x="8" y="8"/>
                    </a:lnTo>
                    <a:lnTo>
                      <a:pt x="6" y="2"/>
                    </a:lnTo>
                    <a:lnTo>
                      <a:pt x="2" y="0"/>
                    </a:lnTo>
                    <a:lnTo>
                      <a:pt x="0"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62" name="Freeform 18"/>
              <p:cNvSpPr>
                <a:spLocks/>
              </p:cNvSpPr>
              <p:nvPr/>
            </p:nvSpPr>
            <p:spPr bwMode="auto">
              <a:xfrm>
                <a:off x="1711574" y="3424238"/>
                <a:ext cx="481505" cy="225425"/>
              </a:xfrm>
              <a:custGeom>
                <a:avLst/>
                <a:gdLst>
                  <a:gd name="T0" fmla="*/ 188 w 280"/>
                  <a:gd name="T1" fmla="*/ 142 h 142"/>
                  <a:gd name="T2" fmla="*/ 234 w 280"/>
                  <a:gd name="T3" fmla="*/ 84 h 142"/>
                  <a:gd name="T4" fmla="*/ 270 w 280"/>
                  <a:gd name="T5" fmla="*/ 78 h 142"/>
                  <a:gd name="T6" fmla="*/ 274 w 280"/>
                  <a:gd name="T7" fmla="*/ 76 h 142"/>
                  <a:gd name="T8" fmla="*/ 276 w 280"/>
                  <a:gd name="T9" fmla="*/ 72 h 142"/>
                  <a:gd name="T10" fmla="*/ 274 w 280"/>
                  <a:gd name="T11" fmla="*/ 70 h 142"/>
                  <a:gd name="T12" fmla="*/ 258 w 280"/>
                  <a:gd name="T13" fmla="*/ 70 h 142"/>
                  <a:gd name="T14" fmla="*/ 236 w 280"/>
                  <a:gd name="T15" fmla="*/ 56 h 142"/>
                  <a:gd name="T16" fmla="*/ 210 w 280"/>
                  <a:gd name="T17" fmla="*/ 52 h 142"/>
                  <a:gd name="T18" fmla="*/ 200 w 280"/>
                  <a:gd name="T19" fmla="*/ 50 h 142"/>
                  <a:gd name="T20" fmla="*/ 172 w 280"/>
                  <a:gd name="T21" fmla="*/ 36 h 142"/>
                  <a:gd name="T22" fmla="*/ 166 w 280"/>
                  <a:gd name="T23" fmla="*/ 24 h 142"/>
                  <a:gd name="T24" fmla="*/ 140 w 280"/>
                  <a:gd name="T25" fmla="*/ 18 h 142"/>
                  <a:gd name="T26" fmla="*/ 130 w 280"/>
                  <a:gd name="T27" fmla="*/ 14 h 142"/>
                  <a:gd name="T28" fmla="*/ 126 w 280"/>
                  <a:gd name="T29" fmla="*/ 10 h 142"/>
                  <a:gd name="T30" fmla="*/ 128 w 280"/>
                  <a:gd name="T31" fmla="*/ 10 h 142"/>
                  <a:gd name="T32" fmla="*/ 126 w 280"/>
                  <a:gd name="T33" fmla="*/ 6 h 142"/>
                  <a:gd name="T34" fmla="*/ 120 w 280"/>
                  <a:gd name="T35" fmla="*/ 0 h 142"/>
                  <a:gd name="T36" fmla="*/ 114 w 280"/>
                  <a:gd name="T37" fmla="*/ 4 h 142"/>
                  <a:gd name="T38" fmla="*/ 110 w 280"/>
                  <a:gd name="T39" fmla="*/ 8 h 142"/>
                  <a:gd name="T40" fmla="*/ 108 w 280"/>
                  <a:gd name="T41" fmla="*/ 18 h 142"/>
                  <a:gd name="T42" fmla="*/ 104 w 280"/>
                  <a:gd name="T43" fmla="*/ 16 h 142"/>
                  <a:gd name="T44" fmla="*/ 98 w 280"/>
                  <a:gd name="T45" fmla="*/ 16 h 142"/>
                  <a:gd name="T46" fmla="*/ 90 w 280"/>
                  <a:gd name="T47" fmla="*/ 20 h 142"/>
                  <a:gd name="T48" fmla="*/ 86 w 280"/>
                  <a:gd name="T49" fmla="*/ 22 h 142"/>
                  <a:gd name="T50" fmla="*/ 84 w 280"/>
                  <a:gd name="T51" fmla="*/ 16 h 142"/>
                  <a:gd name="T52" fmla="*/ 78 w 280"/>
                  <a:gd name="T53" fmla="*/ 20 h 142"/>
                  <a:gd name="T54" fmla="*/ 72 w 280"/>
                  <a:gd name="T55" fmla="*/ 26 h 142"/>
                  <a:gd name="T56" fmla="*/ 64 w 280"/>
                  <a:gd name="T57" fmla="*/ 42 h 142"/>
                  <a:gd name="T58" fmla="*/ 56 w 280"/>
                  <a:gd name="T59" fmla="*/ 52 h 142"/>
                  <a:gd name="T60" fmla="*/ 68 w 280"/>
                  <a:gd name="T61" fmla="*/ 58 h 142"/>
                  <a:gd name="T62" fmla="*/ 68 w 280"/>
                  <a:gd name="T63" fmla="*/ 60 h 142"/>
                  <a:gd name="T64" fmla="*/ 70 w 280"/>
                  <a:gd name="T65" fmla="*/ 62 h 142"/>
                  <a:gd name="T66" fmla="*/ 68 w 280"/>
                  <a:gd name="T67" fmla="*/ 62 h 142"/>
                  <a:gd name="T68" fmla="*/ 64 w 280"/>
                  <a:gd name="T69" fmla="*/ 64 h 142"/>
                  <a:gd name="T70" fmla="*/ 66 w 280"/>
                  <a:gd name="T71" fmla="*/ 66 h 142"/>
                  <a:gd name="T72" fmla="*/ 68 w 280"/>
                  <a:gd name="T73" fmla="*/ 72 h 142"/>
                  <a:gd name="T74" fmla="*/ 66 w 280"/>
                  <a:gd name="T75" fmla="*/ 76 h 142"/>
                  <a:gd name="T76" fmla="*/ 66 w 280"/>
                  <a:gd name="T77" fmla="*/ 80 h 142"/>
                  <a:gd name="T78" fmla="*/ 62 w 280"/>
                  <a:gd name="T79" fmla="*/ 82 h 142"/>
                  <a:gd name="T80" fmla="*/ 56 w 280"/>
                  <a:gd name="T81" fmla="*/ 80 h 142"/>
                  <a:gd name="T82" fmla="*/ 52 w 280"/>
                  <a:gd name="T83" fmla="*/ 82 h 142"/>
                  <a:gd name="T84" fmla="*/ 48 w 280"/>
                  <a:gd name="T85" fmla="*/ 82 h 142"/>
                  <a:gd name="T86" fmla="*/ 50 w 280"/>
                  <a:gd name="T87" fmla="*/ 86 h 142"/>
                  <a:gd name="T88" fmla="*/ 48 w 280"/>
                  <a:gd name="T89" fmla="*/ 84 h 142"/>
                  <a:gd name="T90" fmla="*/ 38 w 280"/>
                  <a:gd name="T91" fmla="*/ 82 h 142"/>
                  <a:gd name="T92" fmla="*/ 34 w 280"/>
                  <a:gd name="T93" fmla="*/ 84 h 142"/>
                  <a:gd name="T94" fmla="*/ 34 w 280"/>
                  <a:gd name="T95" fmla="*/ 88 h 142"/>
                  <a:gd name="T96" fmla="*/ 32 w 280"/>
                  <a:gd name="T97" fmla="*/ 90 h 142"/>
                  <a:gd name="T98" fmla="*/ 22 w 280"/>
                  <a:gd name="T99" fmla="*/ 92 h 142"/>
                  <a:gd name="T100" fmla="*/ 14 w 280"/>
                  <a:gd name="T101" fmla="*/ 90 h 142"/>
                  <a:gd name="T102" fmla="*/ 8 w 280"/>
                  <a:gd name="T103" fmla="*/ 96 h 142"/>
                  <a:gd name="T104" fmla="*/ 6 w 280"/>
                  <a:gd name="T105" fmla="*/ 100 h 142"/>
                  <a:gd name="T106" fmla="*/ 0 w 280"/>
                  <a:gd name="T107" fmla="*/ 106 h 142"/>
                  <a:gd name="T108" fmla="*/ 8 w 280"/>
                  <a:gd name="T109" fmla="*/ 110 h 142"/>
                  <a:gd name="T110" fmla="*/ 14 w 280"/>
                  <a:gd name="T111" fmla="*/ 130 h 142"/>
                  <a:gd name="T112" fmla="*/ 24 w 280"/>
                  <a:gd name="T113" fmla="*/ 13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 h="142">
                    <a:moveTo>
                      <a:pt x="106" y="140"/>
                    </a:moveTo>
                    <a:lnTo>
                      <a:pt x="188" y="142"/>
                    </a:lnTo>
                    <a:lnTo>
                      <a:pt x="200" y="132"/>
                    </a:lnTo>
                    <a:lnTo>
                      <a:pt x="234" y="84"/>
                    </a:lnTo>
                    <a:lnTo>
                      <a:pt x="252" y="88"/>
                    </a:lnTo>
                    <a:lnTo>
                      <a:pt x="270" y="78"/>
                    </a:lnTo>
                    <a:lnTo>
                      <a:pt x="280" y="78"/>
                    </a:lnTo>
                    <a:lnTo>
                      <a:pt x="274" y="76"/>
                    </a:lnTo>
                    <a:lnTo>
                      <a:pt x="274" y="76"/>
                    </a:lnTo>
                    <a:lnTo>
                      <a:pt x="276" y="72"/>
                    </a:lnTo>
                    <a:lnTo>
                      <a:pt x="274" y="72"/>
                    </a:lnTo>
                    <a:lnTo>
                      <a:pt x="274" y="70"/>
                    </a:lnTo>
                    <a:lnTo>
                      <a:pt x="268" y="70"/>
                    </a:lnTo>
                    <a:lnTo>
                      <a:pt x="258" y="70"/>
                    </a:lnTo>
                    <a:lnTo>
                      <a:pt x="240" y="60"/>
                    </a:lnTo>
                    <a:lnTo>
                      <a:pt x="236" y="56"/>
                    </a:lnTo>
                    <a:lnTo>
                      <a:pt x="224" y="52"/>
                    </a:lnTo>
                    <a:lnTo>
                      <a:pt x="210" y="52"/>
                    </a:lnTo>
                    <a:lnTo>
                      <a:pt x="204" y="50"/>
                    </a:lnTo>
                    <a:lnTo>
                      <a:pt x="200" y="50"/>
                    </a:lnTo>
                    <a:lnTo>
                      <a:pt x="182" y="44"/>
                    </a:lnTo>
                    <a:lnTo>
                      <a:pt x="172" y="36"/>
                    </a:lnTo>
                    <a:lnTo>
                      <a:pt x="168" y="28"/>
                    </a:lnTo>
                    <a:lnTo>
                      <a:pt x="166" y="24"/>
                    </a:lnTo>
                    <a:lnTo>
                      <a:pt x="160" y="22"/>
                    </a:lnTo>
                    <a:lnTo>
                      <a:pt x="140" y="18"/>
                    </a:lnTo>
                    <a:lnTo>
                      <a:pt x="138" y="18"/>
                    </a:lnTo>
                    <a:lnTo>
                      <a:pt x="130" y="14"/>
                    </a:lnTo>
                    <a:lnTo>
                      <a:pt x="126" y="12"/>
                    </a:lnTo>
                    <a:lnTo>
                      <a:pt x="126" y="10"/>
                    </a:lnTo>
                    <a:lnTo>
                      <a:pt x="128" y="10"/>
                    </a:lnTo>
                    <a:lnTo>
                      <a:pt x="128" y="10"/>
                    </a:lnTo>
                    <a:lnTo>
                      <a:pt x="128" y="8"/>
                    </a:lnTo>
                    <a:lnTo>
                      <a:pt x="126" y="6"/>
                    </a:lnTo>
                    <a:lnTo>
                      <a:pt x="122" y="2"/>
                    </a:lnTo>
                    <a:lnTo>
                      <a:pt x="120" y="0"/>
                    </a:lnTo>
                    <a:lnTo>
                      <a:pt x="114" y="4"/>
                    </a:lnTo>
                    <a:lnTo>
                      <a:pt x="114" y="4"/>
                    </a:lnTo>
                    <a:lnTo>
                      <a:pt x="112" y="6"/>
                    </a:lnTo>
                    <a:lnTo>
                      <a:pt x="110" y="8"/>
                    </a:lnTo>
                    <a:lnTo>
                      <a:pt x="110" y="16"/>
                    </a:lnTo>
                    <a:lnTo>
                      <a:pt x="108" y="18"/>
                    </a:lnTo>
                    <a:lnTo>
                      <a:pt x="108" y="18"/>
                    </a:lnTo>
                    <a:lnTo>
                      <a:pt x="104" y="16"/>
                    </a:lnTo>
                    <a:lnTo>
                      <a:pt x="98" y="14"/>
                    </a:lnTo>
                    <a:lnTo>
                      <a:pt x="98" y="16"/>
                    </a:lnTo>
                    <a:lnTo>
                      <a:pt x="96" y="20"/>
                    </a:lnTo>
                    <a:lnTo>
                      <a:pt x="90" y="20"/>
                    </a:lnTo>
                    <a:lnTo>
                      <a:pt x="88" y="20"/>
                    </a:lnTo>
                    <a:lnTo>
                      <a:pt x="86" y="22"/>
                    </a:lnTo>
                    <a:lnTo>
                      <a:pt x="84" y="18"/>
                    </a:lnTo>
                    <a:lnTo>
                      <a:pt x="84" y="16"/>
                    </a:lnTo>
                    <a:lnTo>
                      <a:pt x="82" y="14"/>
                    </a:lnTo>
                    <a:lnTo>
                      <a:pt x="78" y="20"/>
                    </a:lnTo>
                    <a:lnTo>
                      <a:pt x="72" y="24"/>
                    </a:lnTo>
                    <a:lnTo>
                      <a:pt x="72" y="26"/>
                    </a:lnTo>
                    <a:lnTo>
                      <a:pt x="70" y="34"/>
                    </a:lnTo>
                    <a:lnTo>
                      <a:pt x="64" y="42"/>
                    </a:lnTo>
                    <a:lnTo>
                      <a:pt x="60" y="48"/>
                    </a:lnTo>
                    <a:lnTo>
                      <a:pt x="56" y="52"/>
                    </a:lnTo>
                    <a:lnTo>
                      <a:pt x="64" y="58"/>
                    </a:lnTo>
                    <a:lnTo>
                      <a:pt x="68" y="58"/>
                    </a:lnTo>
                    <a:lnTo>
                      <a:pt x="68" y="58"/>
                    </a:lnTo>
                    <a:lnTo>
                      <a:pt x="68" y="60"/>
                    </a:lnTo>
                    <a:lnTo>
                      <a:pt x="70" y="62"/>
                    </a:lnTo>
                    <a:lnTo>
                      <a:pt x="70" y="62"/>
                    </a:lnTo>
                    <a:lnTo>
                      <a:pt x="70" y="64"/>
                    </a:lnTo>
                    <a:lnTo>
                      <a:pt x="68" y="62"/>
                    </a:lnTo>
                    <a:lnTo>
                      <a:pt x="66" y="64"/>
                    </a:lnTo>
                    <a:lnTo>
                      <a:pt x="64" y="64"/>
                    </a:lnTo>
                    <a:lnTo>
                      <a:pt x="64" y="64"/>
                    </a:lnTo>
                    <a:lnTo>
                      <a:pt x="66" y="66"/>
                    </a:lnTo>
                    <a:lnTo>
                      <a:pt x="66" y="68"/>
                    </a:lnTo>
                    <a:lnTo>
                      <a:pt x="68" y="72"/>
                    </a:lnTo>
                    <a:lnTo>
                      <a:pt x="66" y="72"/>
                    </a:lnTo>
                    <a:lnTo>
                      <a:pt x="66" y="76"/>
                    </a:lnTo>
                    <a:lnTo>
                      <a:pt x="64" y="78"/>
                    </a:lnTo>
                    <a:lnTo>
                      <a:pt x="66" y="80"/>
                    </a:lnTo>
                    <a:lnTo>
                      <a:pt x="64" y="80"/>
                    </a:lnTo>
                    <a:lnTo>
                      <a:pt x="62" y="82"/>
                    </a:lnTo>
                    <a:lnTo>
                      <a:pt x="60" y="80"/>
                    </a:lnTo>
                    <a:lnTo>
                      <a:pt x="56" y="80"/>
                    </a:lnTo>
                    <a:lnTo>
                      <a:pt x="54" y="80"/>
                    </a:lnTo>
                    <a:lnTo>
                      <a:pt x="52" y="82"/>
                    </a:lnTo>
                    <a:lnTo>
                      <a:pt x="50" y="82"/>
                    </a:lnTo>
                    <a:lnTo>
                      <a:pt x="48" y="82"/>
                    </a:lnTo>
                    <a:lnTo>
                      <a:pt x="50" y="86"/>
                    </a:lnTo>
                    <a:lnTo>
                      <a:pt x="50" y="86"/>
                    </a:lnTo>
                    <a:lnTo>
                      <a:pt x="48" y="86"/>
                    </a:lnTo>
                    <a:lnTo>
                      <a:pt x="48" y="84"/>
                    </a:lnTo>
                    <a:lnTo>
                      <a:pt x="40" y="80"/>
                    </a:lnTo>
                    <a:lnTo>
                      <a:pt x="38" y="82"/>
                    </a:lnTo>
                    <a:lnTo>
                      <a:pt x="36" y="82"/>
                    </a:lnTo>
                    <a:lnTo>
                      <a:pt x="34" y="84"/>
                    </a:lnTo>
                    <a:lnTo>
                      <a:pt x="32" y="86"/>
                    </a:lnTo>
                    <a:lnTo>
                      <a:pt x="34" y="88"/>
                    </a:lnTo>
                    <a:lnTo>
                      <a:pt x="34" y="90"/>
                    </a:lnTo>
                    <a:lnTo>
                      <a:pt x="32" y="90"/>
                    </a:lnTo>
                    <a:lnTo>
                      <a:pt x="24" y="90"/>
                    </a:lnTo>
                    <a:lnTo>
                      <a:pt x="22" y="92"/>
                    </a:lnTo>
                    <a:lnTo>
                      <a:pt x="20" y="90"/>
                    </a:lnTo>
                    <a:lnTo>
                      <a:pt x="14" y="90"/>
                    </a:lnTo>
                    <a:lnTo>
                      <a:pt x="10" y="96"/>
                    </a:lnTo>
                    <a:lnTo>
                      <a:pt x="8" y="96"/>
                    </a:lnTo>
                    <a:lnTo>
                      <a:pt x="8" y="98"/>
                    </a:lnTo>
                    <a:lnTo>
                      <a:pt x="6" y="100"/>
                    </a:lnTo>
                    <a:lnTo>
                      <a:pt x="4" y="104"/>
                    </a:lnTo>
                    <a:lnTo>
                      <a:pt x="0" y="106"/>
                    </a:lnTo>
                    <a:lnTo>
                      <a:pt x="8" y="108"/>
                    </a:lnTo>
                    <a:lnTo>
                      <a:pt x="8" y="110"/>
                    </a:lnTo>
                    <a:lnTo>
                      <a:pt x="8" y="116"/>
                    </a:lnTo>
                    <a:lnTo>
                      <a:pt x="14" y="130"/>
                    </a:lnTo>
                    <a:lnTo>
                      <a:pt x="20" y="134"/>
                    </a:lnTo>
                    <a:lnTo>
                      <a:pt x="24" y="136"/>
                    </a:lnTo>
                    <a:lnTo>
                      <a:pt x="106" y="14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63" name="Freeform 19"/>
              <p:cNvSpPr>
                <a:spLocks/>
              </p:cNvSpPr>
              <p:nvPr/>
            </p:nvSpPr>
            <p:spPr bwMode="auto">
              <a:xfrm>
                <a:off x="1711574" y="3424238"/>
                <a:ext cx="481505" cy="225425"/>
              </a:xfrm>
              <a:custGeom>
                <a:avLst/>
                <a:gdLst>
                  <a:gd name="T0" fmla="*/ 188 w 280"/>
                  <a:gd name="T1" fmla="*/ 142 h 142"/>
                  <a:gd name="T2" fmla="*/ 234 w 280"/>
                  <a:gd name="T3" fmla="*/ 84 h 142"/>
                  <a:gd name="T4" fmla="*/ 270 w 280"/>
                  <a:gd name="T5" fmla="*/ 78 h 142"/>
                  <a:gd name="T6" fmla="*/ 274 w 280"/>
                  <a:gd name="T7" fmla="*/ 76 h 142"/>
                  <a:gd name="T8" fmla="*/ 276 w 280"/>
                  <a:gd name="T9" fmla="*/ 72 h 142"/>
                  <a:gd name="T10" fmla="*/ 274 w 280"/>
                  <a:gd name="T11" fmla="*/ 70 h 142"/>
                  <a:gd name="T12" fmla="*/ 258 w 280"/>
                  <a:gd name="T13" fmla="*/ 70 h 142"/>
                  <a:gd name="T14" fmla="*/ 236 w 280"/>
                  <a:gd name="T15" fmla="*/ 56 h 142"/>
                  <a:gd name="T16" fmla="*/ 210 w 280"/>
                  <a:gd name="T17" fmla="*/ 52 h 142"/>
                  <a:gd name="T18" fmla="*/ 200 w 280"/>
                  <a:gd name="T19" fmla="*/ 50 h 142"/>
                  <a:gd name="T20" fmla="*/ 172 w 280"/>
                  <a:gd name="T21" fmla="*/ 36 h 142"/>
                  <a:gd name="T22" fmla="*/ 166 w 280"/>
                  <a:gd name="T23" fmla="*/ 24 h 142"/>
                  <a:gd name="T24" fmla="*/ 140 w 280"/>
                  <a:gd name="T25" fmla="*/ 18 h 142"/>
                  <a:gd name="T26" fmla="*/ 130 w 280"/>
                  <a:gd name="T27" fmla="*/ 14 h 142"/>
                  <a:gd name="T28" fmla="*/ 126 w 280"/>
                  <a:gd name="T29" fmla="*/ 10 h 142"/>
                  <a:gd name="T30" fmla="*/ 128 w 280"/>
                  <a:gd name="T31" fmla="*/ 10 h 142"/>
                  <a:gd name="T32" fmla="*/ 126 w 280"/>
                  <a:gd name="T33" fmla="*/ 6 h 142"/>
                  <a:gd name="T34" fmla="*/ 120 w 280"/>
                  <a:gd name="T35" fmla="*/ 0 h 142"/>
                  <a:gd name="T36" fmla="*/ 114 w 280"/>
                  <a:gd name="T37" fmla="*/ 4 h 142"/>
                  <a:gd name="T38" fmla="*/ 110 w 280"/>
                  <a:gd name="T39" fmla="*/ 8 h 142"/>
                  <a:gd name="T40" fmla="*/ 108 w 280"/>
                  <a:gd name="T41" fmla="*/ 18 h 142"/>
                  <a:gd name="T42" fmla="*/ 104 w 280"/>
                  <a:gd name="T43" fmla="*/ 16 h 142"/>
                  <a:gd name="T44" fmla="*/ 98 w 280"/>
                  <a:gd name="T45" fmla="*/ 16 h 142"/>
                  <a:gd name="T46" fmla="*/ 90 w 280"/>
                  <a:gd name="T47" fmla="*/ 20 h 142"/>
                  <a:gd name="T48" fmla="*/ 86 w 280"/>
                  <a:gd name="T49" fmla="*/ 22 h 142"/>
                  <a:gd name="T50" fmla="*/ 84 w 280"/>
                  <a:gd name="T51" fmla="*/ 16 h 142"/>
                  <a:gd name="T52" fmla="*/ 78 w 280"/>
                  <a:gd name="T53" fmla="*/ 20 h 142"/>
                  <a:gd name="T54" fmla="*/ 72 w 280"/>
                  <a:gd name="T55" fmla="*/ 26 h 142"/>
                  <a:gd name="T56" fmla="*/ 64 w 280"/>
                  <a:gd name="T57" fmla="*/ 42 h 142"/>
                  <a:gd name="T58" fmla="*/ 56 w 280"/>
                  <a:gd name="T59" fmla="*/ 52 h 142"/>
                  <a:gd name="T60" fmla="*/ 68 w 280"/>
                  <a:gd name="T61" fmla="*/ 58 h 142"/>
                  <a:gd name="T62" fmla="*/ 68 w 280"/>
                  <a:gd name="T63" fmla="*/ 60 h 142"/>
                  <a:gd name="T64" fmla="*/ 70 w 280"/>
                  <a:gd name="T65" fmla="*/ 62 h 142"/>
                  <a:gd name="T66" fmla="*/ 68 w 280"/>
                  <a:gd name="T67" fmla="*/ 62 h 142"/>
                  <a:gd name="T68" fmla="*/ 64 w 280"/>
                  <a:gd name="T69" fmla="*/ 64 h 142"/>
                  <a:gd name="T70" fmla="*/ 66 w 280"/>
                  <a:gd name="T71" fmla="*/ 66 h 142"/>
                  <a:gd name="T72" fmla="*/ 68 w 280"/>
                  <a:gd name="T73" fmla="*/ 72 h 142"/>
                  <a:gd name="T74" fmla="*/ 66 w 280"/>
                  <a:gd name="T75" fmla="*/ 76 h 142"/>
                  <a:gd name="T76" fmla="*/ 66 w 280"/>
                  <a:gd name="T77" fmla="*/ 80 h 142"/>
                  <a:gd name="T78" fmla="*/ 62 w 280"/>
                  <a:gd name="T79" fmla="*/ 82 h 142"/>
                  <a:gd name="T80" fmla="*/ 56 w 280"/>
                  <a:gd name="T81" fmla="*/ 80 h 142"/>
                  <a:gd name="T82" fmla="*/ 52 w 280"/>
                  <a:gd name="T83" fmla="*/ 82 h 142"/>
                  <a:gd name="T84" fmla="*/ 48 w 280"/>
                  <a:gd name="T85" fmla="*/ 82 h 142"/>
                  <a:gd name="T86" fmla="*/ 50 w 280"/>
                  <a:gd name="T87" fmla="*/ 86 h 142"/>
                  <a:gd name="T88" fmla="*/ 48 w 280"/>
                  <a:gd name="T89" fmla="*/ 84 h 142"/>
                  <a:gd name="T90" fmla="*/ 38 w 280"/>
                  <a:gd name="T91" fmla="*/ 82 h 142"/>
                  <a:gd name="T92" fmla="*/ 34 w 280"/>
                  <a:gd name="T93" fmla="*/ 84 h 142"/>
                  <a:gd name="T94" fmla="*/ 34 w 280"/>
                  <a:gd name="T95" fmla="*/ 88 h 142"/>
                  <a:gd name="T96" fmla="*/ 32 w 280"/>
                  <a:gd name="T97" fmla="*/ 90 h 142"/>
                  <a:gd name="T98" fmla="*/ 22 w 280"/>
                  <a:gd name="T99" fmla="*/ 92 h 142"/>
                  <a:gd name="T100" fmla="*/ 14 w 280"/>
                  <a:gd name="T101" fmla="*/ 90 h 142"/>
                  <a:gd name="T102" fmla="*/ 8 w 280"/>
                  <a:gd name="T103" fmla="*/ 96 h 142"/>
                  <a:gd name="T104" fmla="*/ 6 w 280"/>
                  <a:gd name="T105" fmla="*/ 100 h 142"/>
                  <a:gd name="T106" fmla="*/ 0 w 280"/>
                  <a:gd name="T107" fmla="*/ 106 h 142"/>
                  <a:gd name="T108" fmla="*/ 8 w 280"/>
                  <a:gd name="T109" fmla="*/ 110 h 142"/>
                  <a:gd name="T110" fmla="*/ 14 w 280"/>
                  <a:gd name="T111" fmla="*/ 130 h 142"/>
                  <a:gd name="T112" fmla="*/ 24 w 280"/>
                  <a:gd name="T113" fmla="*/ 13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 h="142">
                    <a:moveTo>
                      <a:pt x="106" y="140"/>
                    </a:moveTo>
                    <a:lnTo>
                      <a:pt x="188" y="142"/>
                    </a:lnTo>
                    <a:lnTo>
                      <a:pt x="200" y="132"/>
                    </a:lnTo>
                    <a:lnTo>
                      <a:pt x="234" y="84"/>
                    </a:lnTo>
                    <a:lnTo>
                      <a:pt x="252" y="88"/>
                    </a:lnTo>
                    <a:lnTo>
                      <a:pt x="270" y="78"/>
                    </a:lnTo>
                    <a:lnTo>
                      <a:pt x="280" y="78"/>
                    </a:lnTo>
                    <a:lnTo>
                      <a:pt x="274" y="76"/>
                    </a:lnTo>
                    <a:lnTo>
                      <a:pt x="274" y="76"/>
                    </a:lnTo>
                    <a:lnTo>
                      <a:pt x="276" y="72"/>
                    </a:lnTo>
                    <a:lnTo>
                      <a:pt x="274" y="72"/>
                    </a:lnTo>
                    <a:lnTo>
                      <a:pt x="274" y="70"/>
                    </a:lnTo>
                    <a:lnTo>
                      <a:pt x="268" y="70"/>
                    </a:lnTo>
                    <a:lnTo>
                      <a:pt x="258" y="70"/>
                    </a:lnTo>
                    <a:lnTo>
                      <a:pt x="240" y="60"/>
                    </a:lnTo>
                    <a:lnTo>
                      <a:pt x="236" y="56"/>
                    </a:lnTo>
                    <a:lnTo>
                      <a:pt x="224" y="52"/>
                    </a:lnTo>
                    <a:lnTo>
                      <a:pt x="210" y="52"/>
                    </a:lnTo>
                    <a:lnTo>
                      <a:pt x="204" y="50"/>
                    </a:lnTo>
                    <a:lnTo>
                      <a:pt x="200" y="50"/>
                    </a:lnTo>
                    <a:lnTo>
                      <a:pt x="182" y="44"/>
                    </a:lnTo>
                    <a:lnTo>
                      <a:pt x="172" y="36"/>
                    </a:lnTo>
                    <a:lnTo>
                      <a:pt x="168" y="28"/>
                    </a:lnTo>
                    <a:lnTo>
                      <a:pt x="166" y="24"/>
                    </a:lnTo>
                    <a:lnTo>
                      <a:pt x="160" y="22"/>
                    </a:lnTo>
                    <a:lnTo>
                      <a:pt x="140" y="18"/>
                    </a:lnTo>
                    <a:lnTo>
                      <a:pt x="138" y="18"/>
                    </a:lnTo>
                    <a:lnTo>
                      <a:pt x="130" y="14"/>
                    </a:lnTo>
                    <a:lnTo>
                      <a:pt x="126" y="12"/>
                    </a:lnTo>
                    <a:lnTo>
                      <a:pt x="126" y="10"/>
                    </a:lnTo>
                    <a:lnTo>
                      <a:pt x="128" y="10"/>
                    </a:lnTo>
                    <a:lnTo>
                      <a:pt x="128" y="10"/>
                    </a:lnTo>
                    <a:lnTo>
                      <a:pt x="128" y="8"/>
                    </a:lnTo>
                    <a:lnTo>
                      <a:pt x="126" y="6"/>
                    </a:lnTo>
                    <a:lnTo>
                      <a:pt x="122" y="2"/>
                    </a:lnTo>
                    <a:lnTo>
                      <a:pt x="120" y="0"/>
                    </a:lnTo>
                    <a:lnTo>
                      <a:pt x="114" y="4"/>
                    </a:lnTo>
                    <a:lnTo>
                      <a:pt x="114" y="4"/>
                    </a:lnTo>
                    <a:lnTo>
                      <a:pt x="112" y="6"/>
                    </a:lnTo>
                    <a:lnTo>
                      <a:pt x="110" y="8"/>
                    </a:lnTo>
                    <a:lnTo>
                      <a:pt x="110" y="16"/>
                    </a:lnTo>
                    <a:lnTo>
                      <a:pt x="108" y="18"/>
                    </a:lnTo>
                    <a:lnTo>
                      <a:pt x="108" y="18"/>
                    </a:lnTo>
                    <a:lnTo>
                      <a:pt x="104" y="16"/>
                    </a:lnTo>
                    <a:lnTo>
                      <a:pt x="98" y="14"/>
                    </a:lnTo>
                    <a:lnTo>
                      <a:pt x="98" y="16"/>
                    </a:lnTo>
                    <a:lnTo>
                      <a:pt x="96" y="20"/>
                    </a:lnTo>
                    <a:lnTo>
                      <a:pt x="90" y="20"/>
                    </a:lnTo>
                    <a:lnTo>
                      <a:pt x="88" y="20"/>
                    </a:lnTo>
                    <a:lnTo>
                      <a:pt x="86" y="22"/>
                    </a:lnTo>
                    <a:lnTo>
                      <a:pt x="84" y="18"/>
                    </a:lnTo>
                    <a:lnTo>
                      <a:pt x="84" y="16"/>
                    </a:lnTo>
                    <a:lnTo>
                      <a:pt x="82" y="14"/>
                    </a:lnTo>
                    <a:lnTo>
                      <a:pt x="78" y="20"/>
                    </a:lnTo>
                    <a:lnTo>
                      <a:pt x="72" y="24"/>
                    </a:lnTo>
                    <a:lnTo>
                      <a:pt x="72" y="26"/>
                    </a:lnTo>
                    <a:lnTo>
                      <a:pt x="70" y="34"/>
                    </a:lnTo>
                    <a:lnTo>
                      <a:pt x="64" y="42"/>
                    </a:lnTo>
                    <a:lnTo>
                      <a:pt x="60" y="48"/>
                    </a:lnTo>
                    <a:lnTo>
                      <a:pt x="56" y="52"/>
                    </a:lnTo>
                    <a:lnTo>
                      <a:pt x="64" y="58"/>
                    </a:lnTo>
                    <a:lnTo>
                      <a:pt x="68" y="58"/>
                    </a:lnTo>
                    <a:lnTo>
                      <a:pt x="68" y="58"/>
                    </a:lnTo>
                    <a:lnTo>
                      <a:pt x="68" y="60"/>
                    </a:lnTo>
                    <a:lnTo>
                      <a:pt x="70" y="62"/>
                    </a:lnTo>
                    <a:lnTo>
                      <a:pt x="70" y="62"/>
                    </a:lnTo>
                    <a:lnTo>
                      <a:pt x="70" y="64"/>
                    </a:lnTo>
                    <a:lnTo>
                      <a:pt x="68" y="62"/>
                    </a:lnTo>
                    <a:lnTo>
                      <a:pt x="66" y="64"/>
                    </a:lnTo>
                    <a:lnTo>
                      <a:pt x="64" y="64"/>
                    </a:lnTo>
                    <a:lnTo>
                      <a:pt x="64" y="64"/>
                    </a:lnTo>
                    <a:lnTo>
                      <a:pt x="66" y="66"/>
                    </a:lnTo>
                    <a:lnTo>
                      <a:pt x="66" y="68"/>
                    </a:lnTo>
                    <a:lnTo>
                      <a:pt x="68" y="72"/>
                    </a:lnTo>
                    <a:lnTo>
                      <a:pt x="66" y="72"/>
                    </a:lnTo>
                    <a:lnTo>
                      <a:pt x="66" y="76"/>
                    </a:lnTo>
                    <a:lnTo>
                      <a:pt x="64" y="78"/>
                    </a:lnTo>
                    <a:lnTo>
                      <a:pt x="66" y="80"/>
                    </a:lnTo>
                    <a:lnTo>
                      <a:pt x="64" y="80"/>
                    </a:lnTo>
                    <a:lnTo>
                      <a:pt x="62" y="82"/>
                    </a:lnTo>
                    <a:lnTo>
                      <a:pt x="60" y="80"/>
                    </a:lnTo>
                    <a:lnTo>
                      <a:pt x="56" y="80"/>
                    </a:lnTo>
                    <a:lnTo>
                      <a:pt x="54" y="80"/>
                    </a:lnTo>
                    <a:lnTo>
                      <a:pt x="52" y="82"/>
                    </a:lnTo>
                    <a:lnTo>
                      <a:pt x="50" y="82"/>
                    </a:lnTo>
                    <a:lnTo>
                      <a:pt x="48" y="82"/>
                    </a:lnTo>
                    <a:lnTo>
                      <a:pt x="50" y="86"/>
                    </a:lnTo>
                    <a:lnTo>
                      <a:pt x="50" y="86"/>
                    </a:lnTo>
                    <a:lnTo>
                      <a:pt x="48" y="86"/>
                    </a:lnTo>
                    <a:lnTo>
                      <a:pt x="48" y="84"/>
                    </a:lnTo>
                    <a:lnTo>
                      <a:pt x="40" y="80"/>
                    </a:lnTo>
                    <a:lnTo>
                      <a:pt x="38" y="82"/>
                    </a:lnTo>
                    <a:lnTo>
                      <a:pt x="36" y="82"/>
                    </a:lnTo>
                    <a:lnTo>
                      <a:pt x="34" y="84"/>
                    </a:lnTo>
                    <a:lnTo>
                      <a:pt x="32" y="86"/>
                    </a:lnTo>
                    <a:lnTo>
                      <a:pt x="34" y="88"/>
                    </a:lnTo>
                    <a:lnTo>
                      <a:pt x="34" y="90"/>
                    </a:lnTo>
                    <a:lnTo>
                      <a:pt x="32" y="90"/>
                    </a:lnTo>
                    <a:lnTo>
                      <a:pt x="24" y="90"/>
                    </a:lnTo>
                    <a:lnTo>
                      <a:pt x="22" y="92"/>
                    </a:lnTo>
                    <a:lnTo>
                      <a:pt x="20" y="90"/>
                    </a:lnTo>
                    <a:lnTo>
                      <a:pt x="14" y="90"/>
                    </a:lnTo>
                    <a:lnTo>
                      <a:pt x="10" y="96"/>
                    </a:lnTo>
                    <a:lnTo>
                      <a:pt x="8" y="96"/>
                    </a:lnTo>
                    <a:lnTo>
                      <a:pt x="8" y="98"/>
                    </a:lnTo>
                    <a:lnTo>
                      <a:pt x="6" y="100"/>
                    </a:lnTo>
                    <a:lnTo>
                      <a:pt x="4" y="104"/>
                    </a:lnTo>
                    <a:lnTo>
                      <a:pt x="0" y="106"/>
                    </a:lnTo>
                    <a:lnTo>
                      <a:pt x="8" y="108"/>
                    </a:lnTo>
                    <a:lnTo>
                      <a:pt x="8" y="110"/>
                    </a:lnTo>
                    <a:lnTo>
                      <a:pt x="8" y="116"/>
                    </a:lnTo>
                    <a:lnTo>
                      <a:pt x="14" y="130"/>
                    </a:lnTo>
                    <a:lnTo>
                      <a:pt x="20" y="134"/>
                    </a:lnTo>
                    <a:lnTo>
                      <a:pt x="24" y="136"/>
                    </a:lnTo>
                    <a:lnTo>
                      <a:pt x="106" y="14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64" name="Freeform 20"/>
              <p:cNvSpPr>
                <a:spLocks/>
              </p:cNvSpPr>
              <p:nvPr/>
            </p:nvSpPr>
            <p:spPr bwMode="auto">
              <a:xfrm>
                <a:off x="2942851" y="3906838"/>
                <a:ext cx="859830" cy="431800"/>
              </a:xfrm>
              <a:custGeom>
                <a:avLst/>
                <a:gdLst>
                  <a:gd name="T0" fmla="*/ 38 w 500"/>
                  <a:gd name="T1" fmla="*/ 182 h 272"/>
                  <a:gd name="T2" fmla="*/ 24 w 500"/>
                  <a:gd name="T3" fmla="*/ 120 h 272"/>
                  <a:gd name="T4" fmla="*/ 48 w 500"/>
                  <a:gd name="T5" fmla="*/ 76 h 272"/>
                  <a:gd name="T6" fmla="*/ 80 w 500"/>
                  <a:gd name="T7" fmla="*/ 44 h 272"/>
                  <a:gd name="T8" fmla="*/ 100 w 500"/>
                  <a:gd name="T9" fmla="*/ 58 h 272"/>
                  <a:gd name="T10" fmla="*/ 124 w 500"/>
                  <a:gd name="T11" fmla="*/ 58 h 272"/>
                  <a:gd name="T12" fmla="*/ 134 w 500"/>
                  <a:gd name="T13" fmla="*/ 46 h 272"/>
                  <a:gd name="T14" fmla="*/ 170 w 500"/>
                  <a:gd name="T15" fmla="*/ 40 h 272"/>
                  <a:gd name="T16" fmla="*/ 192 w 500"/>
                  <a:gd name="T17" fmla="*/ 16 h 272"/>
                  <a:gd name="T18" fmla="*/ 206 w 500"/>
                  <a:gd name="T19" fmla="*/ 8 h 272"/>
                  <a:gd name="T20" fmla="*/ 222 w 500"/>
                  <a:gd name="T21" fmla="*/ 4 h 272"/>
                  <a:gd name="T22" fmla="*/ 270 w 500"/>
                  <a:gd name="T23" fmla="*/ 22 h 272"/>
                  <a:gd name="T24" fmla="*/ 300 w 500"/>
                  <a:gd name="T25" fmla="*/ 36 h 272"/>
                  <a:gd name="T26" fmla="*/ 320 w 500"/>
                  <a:gd name="T27" fmla="*/ 30 h 272"/>
                  <a:gd name="T28" fmla="*/ 334 w 500"/>
                  <a:gd name="T29" fmla="*/ 36 h 272"/>
                  <a:gd name="T30" fmla="*/ 342 w 500"/>
                  <a:gd name="T31" fmla="*/ 24 h 272"/>
                  <a:gd name="T32" fmla="*/ 358 w 500"/>
                  <a:gd name="T33" fmla="*/ 28 h 272"/>
                  <a:gd name="T34" fmla="*/ 376 w 500"/>
                  <a:gd name="T35" fmla="*/ 4 h 272"/>
                  <a:gd name="T36" fmla="*/ 388 w 500"/>
                  <a:gd name="T37" fmla="*/ 0 h 272"/>
                  <a:gd name="T38" fmla="*/ 394 w 500"/>
                  <a:gd name="T39" fmla="*/ 18 h 272"/>
                  <a:gd name="T40" fmla="*/ 402 w 500"/>
                  <a:gd name="T41" fmla="*/ 22 h 272"/>
                  <a:gd name="T42" fmla="*/ 398 w 500"/>
                  <a:gd name="T43" fmla="*/ 36 h 272"/>
                  <a:gd name="T44" fmla="*/ 398 w 500"/>
                  <a:gd name="T45" fmla="*/ 66 h 272"/>
                  <a:gd name="T46" fmla="*/ 434 w 500"/>
                  <a:gd name="T47" fmla="*/ 58 h 272"/>
                  <a:gd name="T48" fmla="*/ 450 w 500"/>
                  <a:gd name="T49" fmla="*/ 48 h 272"/>
                  <a:gd name="T50" fmla="*/ 466 w 500"/>
                  <a:gd name="T51" fmla="*/ 48 h 272"/>
                  <a:gd name="T52" fmla="*/ 474 w 500"/>
                  <a:gd name="T53" fmla="*/ 54 h 272"/>
                  <a:gd name="T54" fmla="*/ 498 w 500"/>
                  <a:gd name="T55" fmla="*/ 58 h 272"/>
                  <a:gd name="T56" fmla="*/ 492 w 500"/>
                  <a:gd name="T57" fmla="*/ 58 h 272"/>
                  <a:gd name="T58" fmla="*/ 490 w 500"/>
                  <a:gd name="T59" fmla="*/ 68 h 272"/>
                  <a:gd name="T60" fmla="*/ 474 w 500"/>
                  <a:gd name="T61" fmla="*/ 70 h 272"/>
                  <a:gd name="T62" fmla="*/ 438 w 500"/>
                  <a:gd name="T63" fmla="*/ 64 h 272"/>
                  <a:gd name="T64" fmla="*/ 414 w 500"/>
                  <a:gd name="T65" fmla="*/ 68 h 272"/>
                  <a:gd name="T66" fmla="*/ 404 w 500"/>
                  <a:gd name="T67" fmla="*/ 76 h 272"/>
                  <a:gd name="T68" fmla="*/ 396 w 500"/>
                  <a:gd name="T69" fmla="*/ 76 h 272"/>
                  <a:gd name="T70" fmla="*/ 388 w 500"/>
                  <a:gd name="T71" fmla="*/ 96 h 272"/>
                  <a:gd name="T72" fmla="*/ 388 w 500"/>
                  <a:gd name="T73" fmla="*/ 116 h 272"/>
                  <a:gd name="T74" fmla="*/ 368 w 500"/>
                  <a:gd name="T75" fmla="*/ 144 h 272"/>
                  <a:gd name="T76" fmla="*/ 330 w 500"/>
                  <a:gd name="T77" fmla="*/ 150 h 272"/>
                  <a:gd name="T78" fmla="*/ 332 w 500"/>
                  <a:gd name="T79" fmla="*/ 170 h 272"/>
                  <a:gd name="T80" fmla="*/ 316 w 500"/>
                  <a:gd name="T81" fmla="*/ 180 h 272"/>
                  <a:gd name="T82" fmla="*/ 302 w 500"/>
                  <a:gd name="T83" fmla="*/ 194 h 272"/>
                  <a:gd name="T84" fmla="*/ 292 w 500"/>
                  <a:gd name="T85" fmla="*/ 218 h 272"/>
                  <a:gd name="T86" fmla="*/ 272 w 500"/>
                  <a:gd name="T87" fmla="*/ 224 h 272"/>
                  <a:gd name="T88" fmla="*/ 266 w 500"/>
                  <a:gd name="T89" fmla="*/ 222 h 272"/>
                  <a:gd name="T90" fmla="*/ 236 w 500"/>
                  <a:gd name="T91" fmla="*/ 222 h 272"/>
                  <a:gd name="T92" fmla="*/ 236 w 500"/>
                  <a:gd name="T93" fmla="*/ 230 h 272"/>
                  <a:gd name="T94" fmla="*/ 200 w 500"/>
                  <a:gd name="T95" fmla="*/ 230 h 272"/>
                  <a:gd name="T96" fmla="*/ 180 w 500"/>
                  <a:gd name="T97" fmla="*/ 262 h 272"/>
                  <a:gd name="T98" fmla="*/ 134 w 500"/>
                  <a:gd name="T99" fmla="*/ 272 h 272"/>
                  <a:gd name="T100" fmla="*/ 100 w 500"/>
                  <a:gd name="T101" fmla="*/ 270 h 272"/>
                  <a:gd name="T102" fmla="*/ 0 w 500"/>
                  <a:gd name="T103" fmla="*/ 23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0" h="272">
                    <a:moveTo>
                      <a:pt x="0" y="230"/>
                    </a:moveTo>
                    <a:lnTo>
                      <a:pt x="30" y="206"/>
                    </a:lnTo>
                    <a:lnTo>
                      <a:pt x="36" y="198"/>
                    </a:lnTo>
                    <a:lnTo>
                      <a:pt x="40" y="192"/>
                    </a:lnTo>
                    <a:lnTo>
                      <a:pt x="38" y="182"/>
                    </a:lnTo>
                    <a:lnTo>
                      <a:pt x="34" y="174"/>
                    </a:lnTo>
                    <a:lnTo>
                      <a:pt x="20" y="168"/>
                    </a:lnTo>
                    <a:lnTo>
                      <a:pt x="16" y="162"/>
                    </a:lnTo>
                    <a:lnTo>
                      <a:pt x="24" y="136"/>
                    </a:lnTo>
                    <a:lnTo>
                      <a:pt x="24" y="120"/>
                    </a:lnTo>
                    <a:lnTo>
                      <a:pt x="36" y="104"/>
                    </a:lnTo>
                    <a:lnTo>
                      <a:pt x="38" y="98"/>
                    </a:lnTo>
                    <a:lnTo>
                      <a:pt x="30" y="92"/>
                    </a:lnTo>
                    <a:lnTo>
                      <a:pt x="34" y="78"/>
                    </a:lnTo>
                    <a:lnTo>
                      <a:pt x="48" y="76"/>
                    </a:lnTo>
                    <a:lnTo>
                      <a:pt x="50" y="70"/>
                    </a:lnTo>
                    <a:lnTo>
                      <a:pt x="62" y="60"/>
                    </a:lnTo>
                    <a:lnTo>
                      <a:pt x="74" y="34"/>
                    </a:lnTo>
                    <a:lnTo>
                      <a:pt x="80" y="42"/>
                    </a:lnTo>
                    <a:lnTo>
                      <a:pt x="80" y="44"/>
                    </a:lnTo>
                    <a:lnTo>
                      <a:pt x="86" y="46"/>
                    </a:lnTo>
                    <a:lnTo>
                      <a:pt x="94" y="48"/>
                    </a:lnTo>
                    <a:lnTo>
                      <a:pt x="96" y="50"/>
                    </a:lnTo>
                    <a:lnTo>
                      <a:pt x="98" y="54"/>
                    </a:lnTo>
                    <a:lnTo>
                      <a:pt x="100" y="58"/>
                    </a:lnTo>
                    <a:lnTo>
                      <a:pt x="104" y="58"/>
                    </a:lnTo>
                    <a:lnTo>
                      <a:pt x="108" y="58"/>
                    </a:lnTo>
                    <a:lnTo>
                      <a:pt x="116" y="60"/>
                    </a:lnTo>
                    <a:lnTo>
                      <a:pt x="120" y="58"/>
                    </a:lnTo>
                    <a:lnTo>
                      <a:pt x="124" y="58"/>
                    </a:lnTo>
                    <a:lnTo>
                      <a:pt x="128" y="56"/>
                    </a:lnTo>
                    <a:lnTo>
                      <a:pt x="130" y="50"/>
                    </a:lnTo>
                    <a:lnTo>
                      <a:pt x="134" y="50"/>
                    </a:lnTo>
                    <a:lnTo>
                      <a:pt x="136" y="48"/>
                    </a:lnTo>
                    <a:lnTo>
                      <a:pt x="134" y="46"/>
                    </a:lnTo>
                    <a:lnTo>
                      <a:pt x="134" y="42"/>
                    </a:lnTo>
                    <a:lnTo>
                      <a:pt x="138" y="44"/>
                    </a:lnTo>
                    <a:lnTo>
                      <a:pt x="162" y="42"/>
                    </a:lnTo>
                    <a:lnTo>
                      <a:pt x="166" y="40"/>
                    </a:lnTo>
                    <a:lnTo>
                      <a:pt x="170" y="40"/>
                    </a:lnTo>
                    <a:lnTo>
                      <a:pt x="180" y="36"/>
                    </a:lnTo>
                    <a:lnTo>
                      <a:pt x="182" y="34"/>
                    </a:lnTo>
                    <a:lnTo>
                      <a:pt x="186" y="26"/>
                    </a:lnTo>
                    <a:lnTo>
                      <a:pt x="188" y="24"/>
                    </a:lnTo>
                    <a:lnTo>
                      <a:pt x="192" y="16"/>
                    </a:lnTo>
                    <a:lnTo>
                      <a:pt x="194" y="12"/>
                    </a:lnTo>
                    <a:lnTo>
                      <a:pt x="194" y="12"/>
                    </a:lnTo>
                    <a:lnTo>
                      <a:pt x="198" y="10"/>
                    </a:lnTo>
                    <a:lnTo>
                      <a:pt x="200" y="8"/>
                    </a:lnTo>
                    <a:lnTo>
                      <a:pt x="206" y="8"/>
                    </a:lnTo>
                    <a:lnTo>
                      <a:pt x="208" y="10"/>
                    </a:lnTo>
                    <a:lnTo>
                      <a:pt x="218" y="12"/>
                    </a:lnTo>
                    <a:lnTo>
                      <a:pt x="218" y="10"/>
                    </a:lnTo>
                    <a:lnTo>
                      <a:pt x="220" y="8"/>
                    </a:lnTo>
                    <a:lnTo>
                      <a:pt x="222" y="4"/>
                    </a:lnTo>
                    <a:lnTo>
                      <a:pt x="224" y="4"/>
                    </a:lnTo>
                    <a:lnTo>
                      <a:pt x="228" y="4"/>
                    </a:lnTo>
                    <a:lnTo>
                      <a:pt x="240" y="14"/>
                    </a:lnTo>
                    <a:lnTo>
                      <a:pt x="264" y="18"/>
                    </a:lnTo>
                    <a:lnTo>
                      <a:pt x="270" y="22"/>
                    </a:lnTo>
                    <a:lnTo>
                      <a:pt x="276" y="22"/>
                    </a:lnTo>
                    <a:lnTo>
                      <a:pt x="284" y="24"/>
                    </a:lnTo>
                    <a:lnTo>
                      <a:pt x="292" y="36"/>
                    </a:lnTo>
                    <a:lnTo>
                      <a:pt x="296" y="36"/>
                    </a:lnTo>
                    <a:lnTo>
                      <a:pt x="300" y="36"/>
                    </a:lnTo>
                    <a:lnTo>
                      <a:pt x="300" y="34"/>
                    </a:lnTo>
                    <a:lnTo>
                      <a:pt x="312" y="32"/>
                    </a:lnTo>
                    <a:lnTo>
                      <a:pt x="314" y="32"/>
                    </a:lnTo>
                    <a:lnTo>
                      <a:pt x="316" y="32"/>
                    </a:lnTo>
                    <a:lnTo>
                      <a:pt x="320" y="30"/>
                    </a:lnTo>
                    <a:lnTo>
                      <a:pt x="322" y="32"/>
                    </a:lnTo>
                    <a:lnTo>
                      <a:pt x="324" y="34"/>
                    </a:lnTo>
                    <a:lnTo>
                      <a:pt x="332" y="38"/>
                    </a:lnTo>
                    <a:lnTo>
                      <a:pt x="334" y="38"/>
                    </a:lnTo>
                    <a:lnTo>
                      <a:pt x="334" y="36"/>
                    </a:lnTo>
                    <a:lnTo>
                      <a:pt x="334" y="34"/>
                    </a:lnTo>
                    <a:lnTo>
                      <a:pt x="334" y="32"/>
                    </a:lnTo>
                    <a:lnTo>
                      <a:pt x="334" y="28"/>
                    </a:lnTo>
                    <a:lnTo>
                      <a:pt x="340" y="22"/>
                    </a:lnTo>
                    <a:lnTo>
                      <a:pt x="342" y="24"/>
                    </a:lnTo>
                    <a:lnTo>
                      <a:pt x="346" y="26"/>
                    </a:lnTo>
                    <a:lnTo>
                      <a:pt x="350" y="24"/>
                    </a:lnTo>
                    <a:lnTo>
                      <a:pt x="354" y="28"/>
                    </a:lnTo>
                    <a:lnTo>
                      <a:pt x="356" y="28"/>
                    </a:lnTo>
                    <a:lnTo>
                      <a:pt x="358" y="28"/>
                    </a:lnTo>
                    <a:lnTo>
                      <a:pt x="362" y="26"/>
                    </a:lnTo>
                    <a:lnTo>
                      <a:pt x="364" y="24"/>
                    </a:lnTo>
                    <a:lnTo>
                      <a:pt x="362" y="20"/>
                    </a:lnTo>
                    <a:lnTo>
                      <a:pt x="362" y="16"/>
                    </a:lnTo>
                    <a:lnTo>
                      <a:pt x="376" y="4"/>
                    </a:lnTo>
                    <a:lnTo>
                      <a:pt x="378" y="4"/>
                    </a:lnTo>
                    <a:lnTo>
                      <a:pt x="380" y="0"/>
                    </a:lnTo>
                    <a:lnTo>
                      <a:pt x="382" y="0"/>
                    </a:lnTo>
                    <a:lnTo>
                      <a:pt x="384" y="2"/>
                    </a:lnTo>
                    <a:lnTo>
                      <a:pt x="388" y="0"/>
                    </a:lnTo>
                    <a:lnTo>
                      <a:pt x="392" y="2"/>
                    </a:lnTo>
                    <a:lnTo>
                      <a:pt x="398" y="10"/>
                    </a:lnTo>
                    <a:lnTo>
                      <a:pt x="398" y="12"/>
                    </a:lnTo>
                    <a:lnTo>
                      <a:pt x="396" y="16"/>
                    </a:lnTo>
                    <a:lnTo>
                      <a:pt x="394" y="18"/>
                    </a:lnTo>
                    <a:lnTo>
                      <a:pt x="394" y="20"/>
                    </a:lnTo>
                    <a:lnTo>
                      <a:pt x="398" y="22"/>
                    </a:lnTo>
                    <a:lnTo>
                      <a:pt x="400" y="22"/>
                    </a:lnTo>
                    <a:lnTo>
                      <a:pt x="402" y="22"/>
                    </a:lnTo>
                    <a:lnTo>
                      <a:pt x="402" y="22"/>
                    </a:lnTo>
                    <a:lnTo>
                      <a:pt x="402" y="24"/>
                    </a:lnTo>
                    <a:lnTo>
                      <a:pt x="400" y="26"/>
                    </a:lnTo>
                    <a:lnTo>
                      <a:pt x="400" y="28"/>
                    </a:lnTo>
                    <a:lnTo>
                      <a:pt x="400" y="34"/>
                    </a:lnTo>
                    <a:lnTo>
                      <a:pt x="398" y="36"/>
                    </a:lnTo>
                    <a:lnTo>
                      <a:pt x="396" y="40"/>
                    </a:lnTo>
                    <a:lnTo>
                      <a:pt x="396" y="44"/>
                    </a:lnTo>
                    <a:lnTo>
                      <a:pt x="394" y="48"/>
                    </a:lnTo>
                    <a:lnTo>
                      <a:pt x="394" y="54"/>
                    </a:lnTo>
                    <a:lnTo>
                      <a:pt x="398" y="66"/>
                    </a:lnTo>
                    <a:lnTo>
                      <a:pt x="400" y="66"/>
                    </a:lnTo>
                    <a:lnTo>
                      <a:pt x="402" y="66"/>
                    </a:lnTo>
                    <a:lnTo>
                      <a:pt x="420" y="60"/>
                    </a:lnTo>
                    <a:lnTo>
                      <a:pt x="432" y="58"/>
                    </a:lnTo>
                    <a:lnTo>
                      <a:pt x="434" y="58"/>
                    </a:lnTo>
                    <a:lnTo>
                      <a:pt x="436" y="54"/>
                    </a:lnTo>
                    <a:lnTo>
                      <a:pt x="442" y="54"/>
                    </a:lnTo>
                    <a:lnTo>
                      <a:pt x="442" y="52"/>
                    </a:lnTo>
                    <a:lnTo>
                      <a:pt x="444" y="52"/>
                    </a:lnTo>
                    <a:lnTo>
                      <a:pt x="450" y="48"/>
                    </a:lnTo>
                    <a:lnTo>
                      <a:pt x="454" y="48"/>
                    </a:lnTo>
                    <a:lnTo>
                      <a:pt x="458" y="46"/>
                    </a:lnTo>
                    <a:lnTo>
                      <a:pt x="460" y="46"/>
                    </a:lnTo>
                    <a:lnTo>
                      <a:pt x="462" y="48"/>
                    </a:lnTo>
                    <a:lnTo>
                      <a:pt x="466" y="48"/>
                    </a:lnTo>
                    <a:lnTo>
                      <a:pt x="466" y="54"/>
                    </a:lnTo>
                    <a:lnTo>
                      <a:pt x="468" y="56"/>
                    </a:lnTo>
                    <a:lnTo>
                      <a:pt x="470" y="56"/>
                    </a:lnTo>
                    <a:lnTo>
                      <a:pt x="474" y="54"/>
                    </a:lnTo>
                    <a:lnTo>
                      <a:pt x="474" y="54"/>
                    </a:lnTo>
                    <a:lnTo>
                      <a:pt x="492" y="52"/>
                    </a:lnTo>
                    <a:lnTo>
                      <a:pt x="494" y="54"/>
                    </a:lnTo>
                    <a:lnTo>
                      <a:pt x="498" y="54"/>
                    </a:lnTo>
                    <a:lnTo>
                      <a:pt x="500" y="56"/>
                    </a:lnTo>
                    <a:lnTo>
                      <a:pt x="498" y="58"/>
                    </a:lnTo>
                    <a:lnTo>
                      <a:pt x="496" y="58"/>
                    </a:lnTo>
                    <a:lnTo>
                      <a:pt x="498" y="58"/>
                    </a:lnTo>
                    <a:lnTo>
                      <a:pt x="496" y="58"/>
                    </a:lnTo>
                    <a:lnTo>
                      <a:pt x="494" y="56"/>
                    </a:lnTo>
                    <a:lnTo>
                      <a:pt x="492" y="58"/>
                    </a:lnTo>
                    <a:lnTo>
                      <a:pt x="486" y="60"/>
                    </a:lnTo>
                    <a:lnTo>
                      <a:pt x="488" y="62"/>
                    </a:lnTo>
                    <a:lnTo>
                      <a:pt x="490" y="64"/>
                    </a:lnTo>
                    <a:lnTo>
                      <a:pt x="492" y="66"/>
                    </a:lnTo>
                    <a:lnTo>
                      <a:pt x="490" y="68"/>
                    </a:lnTo>
                    <a:lnTo>
                      <a:pt x="484" y="68"/>
                    </a:lnTo>
                    <a:lnTo>
                      <a:pt x="482" y="68"/>
                    </a:lnTo>
                    <a:lnTo>
                      <a:pt x="480" y="68"/>
                    </a:lnTo>
                    <a:lnTo>
                      <a:pt x="476" y="70"/>
                    </a:lnTo>
                    <a:lnTo>
                      <a:pt x="474" y="70"/>
                    </a:lnTo>
                    <a:lnTo>
                      <a:pt x="466" y="66"/>
                    </a:lnTo>
                    <a:lnTo>
                      <a:pt x="462" y="68"/>
                    </a:lnTo>
                    <a:lnTo>
                      <a:pt x="460" y="66"/>
                    </a:lnTo>
                    <a:lnTo>
                      <a:pt x="440" y="66"/>
                    </a:lnTo>
                    <a:lnTo>
                      <a:pt x="438" y="64"/>
                    </a:lnTo>
                    <a:lnTo>
                      <a:pt x="428" y="66"/>
                    </a:lnTo>
                    <a:lnTo>
                      <a:pt x="424" y="68"/>
                    </a:lnTo>
                    <a:lnTo>
                      <a:pt x="418" y="68"/>
                    </a:lnTo>
                    <a:lnTo>
                      <a:pt x="416" y="68"/>
                    </a:lnTo>
                    <a:lnTo>
                      <a:pt x="414" y="68"/>
                    </a:lnTo>
                    <a:lnTo>
                      <a:pt x="412" y="70"/>
                    </a:lnTo>
                    <a:lnTo>
                      <a:pt x="410" y="72"/>
                    </a:lnTo>
                    <a:lnTo>
                      <a:pt x="406" y="72"/>
                    </a:lnTo>
                    <a:lnTo>
                      <a:pt x="404" y="74"/>
                    </a:lnTo>
                    <a:lnTo>
                      <a:pt x="404" y="76"/>
                    </a:lnTo>
                    <a:lnTo>
                      <a:pt x="402" y="76"/>
                    </a:lnTo>
                    <a:lnTo>
                      <a:pt x="400" y="74"/>
                    </a:lnTo>
                    <a:lnTo>
                      <a:pt x="396" y="74"/>
                    </a:lnTo>
                    <a:lnTo>
                      <a:pt x="396" y="74"/>
                    </a:lnTo>
                    <a:lnTo>
                      <a:pt x="396" y="76"/>
                    </a:lnTo>
                    <a:lnTo>
                      <a:pt x="384" y="82"/>
                    </a:lnTo>
                    <a:lnTo>
                      <a:pt x="382" y="84"/>
                    </a:lnTo>
                    <a:lnTo>
                      <a:pt x="382" y="86"/>
                    </a:lnTo>
                    <a:lnTo>
                      <a:pt x="382" y="88"/>
                    </a:lnTo>
                    <a:lnTo>
                      <a:pt x="388" y="96"/>
                    </a:lnTo>
                    <a:lnTo>
                      <a:pt x="390" y="108"/>
                    </a:lnTo>
                    <a:lnTo>
                      <a:pt x="390" y="110"/>
                    </a:lnTo>
                    <a:lnTo>
                      <a:pt x="388" y="114"/>
                    </a:lnTo>
                    <a:lnTo>
                      <a:pt x="388" y="114"/>
                    </a:lnTo>
                    <a:lnTo>
                      <a:pt x="388" y="116"/>
                    </a:lnTo>
                    <a:lnTo>
                      <a:pt x="388" y="120"/>
                    </a:lnTo>
                    <a:lnTo>
                      <a:pt x="364" y="138"/>
                    </a:lnTo>
                    <a:lnTo>
                      <a:pt x="364" y="142"/>
                    </a:lnTo>
                    <a:lnTo>
                      <a:pt x="368" y="142"/>
                    </a:lnTo>
                    <a:lnTo>
                      <a:pt x="368" y="144"/>
                    </a:lnTo>
                    <a:lnTo>
                      <a:pt x="366" y="146"/>
                    </a:lnTo>
                    <a:lnTo>
                      <a:pt x="366" y="150"/>
                    </a:lnTo>
                    <a:lnTo>
                      <a:pt x="360" y="154"/>
                    </a:lnTo>
                    <a:lnTo>
                      <a:pt x="350" y="156"/>
                    </a:lnTo>
                    <a:lnTo>
                      <a:pt x="330" y="150"/>
                    </a:lnTo>
                    <a:lnTo>
                      <a:pt x="328" y="150"/>
                    </a:lnTo>
                    <a:lnTo>
                      <a:pt x="326" y="152"/>
                    </a:lnTo>
                    <a:lnTo>
                      <a:pt x="330" y="160"/>
                    </a:lnTo>
                    <a:lnTo>
                      <a:pt x="332" y="162"/>
                    </a:lnTo>
                    <a:lnTo>
                      <a:pt x="332" y="170"/>
                    </a:lnTo>
                    <a:lnTo>
                      <a:pt x="336" y="172"/>
                    </a:lnTo>
                    <a:lnTo>
                      <a:pt x="334" y="174"/>
                    </a:lnTo>
                    <a:lnTo>
                      <a:pt x="332" y="178"/>
                    </a:lnTo>
                    <a:lnTo>
                      <a:pt x="320" y="182"/>
                    </a:lnTo>
                    <a:lnTo>
                      <a:pt x="316" y="180"/>
                    </a:lnTo>
                    <a:lnTo>
                      <a:pt x="308" y="180"/>
                    </a:lnTo>
                    <a:lnTo>
                      <a:pt x="306" y="188"/>
                    </a:lnTo>
                    <a:lnTo>
                      <a:pt x="302" y="188"/>
                    </a:lnTo>
                    <a:lnTo>
                      <a:pt x="300" y="190"/>
                    </a:lnTo>
                    <a:lnTo>
                      <a:pt x="302" y="194"/>
                    </a:lnTo>
                    <a:lnTo>
                      <a:pt x="300" y="196"/>
                    </a:lnTo>
                    <a:lnTo>
                      <a:pt x="298" y="196"/>
                    </a:lnTo>
                    <a:lnTo>
                      <a:pt x="294" y="200"/>
                    </a:lnTo>
                    <a:lnTo>
                      <a:pt x="292" y="202"/>
                    </a:lnTo>
                    <a:lnTo>
                      <a:pt x="292" y="218"/>
                    </a:lnTo>
                    <a:lnTo>
                      <a:pt x="290" y="220"/>
                    </a:lnTo>
                    <a:lnTo>
                      <a:pt x="278" y="228"/>
                    </a:lnTo>
                    <a:lnTo>
                      <a:pt x="276" y="228"/>
                    </a:lnTo>
                    <a:lnTo>
                      <a:pt x="272" y="226"/>
                    </a:lnTo>
                    <a:lnTo>
                      <a:pt x="272" y="224"/>
                    </a:lnTo>
                    <a:lnTo>
                      <a:pt x="272" y="222"/>
                    </a:lnTo>
                    <a:lnTo>
                      <a:pt x="268" y="218"/>
                    </a:lnTo>
                    <a:lnTo>
                      <a:pt x="264" y="218"/>
                    </a:lnTo>
                    <a:lnTo>
                      <a:pt x="264" y="220"/>
                    </a:lnTo>
                    <a:lnTo>
                      <a:pt x="266" y="222"/>
                    </a:lnTo>
                    <a:lnTo>
                      <a:pt x="266" y="222"/>
                    </a:lnTo>
                    <a:lnTo>
                      <a:pt x="252" y="218"/>
                    </a:lnTo>
                    <a:lnTo>
                      <a:pt x="250" y="218"/>
                    </a:lnTo>
                    <a:lnTo>
                      <a:pt x="246" y="220"/>
                    </a:lnTo>
                    <a:lnTo>
                      <a:pt x="236" y="222"/>
                    </a:lnTo>
                    <a:lnTo>
                      <a:pt x="234" y="224"/>
                    </a:lnTo>
                    <a:lnTo>
                      <a:pt x="234" y="226"/>
                    </a:lnTo>
                    <a:lnTo>
                      <a:pt x="238" y="228"/>
                    </a:lnTo>
                    <a:lnTo>
                      <a:pt x="238" y="230"/>
                    </a:lnTo>
                    <a:lnTo>
                      <a:pt x="236" y="230"/>
                    </a:lnTo>
                    <a:lnTo>
                      <a:pt x="212" y="228"/>
                    </a:lnTo>
                    <a:lnTo>
                      <a:pt x="212" y="226"/>
                    </a:lnTo>
                    <a:lnTo>
                      <a:pt x="210" y="224"/>
                    </a:lnTo>
                    <a:lnTo>
                      <a:pt x="204" y="226"/>
                    </a:lnTo>
                    <a:lnTo>
                      <a:pt x="200" y="230"/>
                    </a:lnTo>
                    <a:lnTo>
                      <a:pt x="192" y="234"/>
                    </a:lnTo>
                    <a:lnTo>
                      <a:pt x="188" y="238"/>
                    </a:lnTo>
                    <a:lnTo>
                      <a:pt x="184" y="244"/>
                    </a:lnTo>
                    <a:lnTo>
                      <a:pt x="184" y="252"/>
                    </a:lnTo>
                    <a:lnTo>
                      <a:pt x="180" y="262"/>
                    </a:lnTo>
                    <a:lnTo>
                      <a:pt x="178" y="264"/>
                    </a:lnTo>
                    <a:lnTo>
                      <a:pt x="180" y="266"/>
                    </a:lnTo>
                    <a:lnTo>
                      <a:pt x="180" y="270"/>
                    </a:lnTo>
                    <a:lnTo>
                      <a:pt x="174" y="272"/>
                    </a:lnTo>
                    <a:lnTo>
                      <a:pt x="134" y="272"/>
                    </a:lnTo>
                    <a:lnTo>
                      <a:pt x="112" y="266"/>
                    </a:lnTo>
                    <a:lnTo>
                      <a:pt x="106" y="266"/>
                    </a:lnTo>
                    <a:lnTo>
                      <a:pt x="104" y="268"/>
                    </a:lnTo>
                    <a:lnTo>
                      <a:pt x="102" y="270"/>
                    </a:lnTo>
                    <a:lnTo>
                      <a:pt x="100" y="270"/>
                    </a:lnTo>
                    <a:lnTo>
                      <a:pt x="92" y="264"/>
                    </a:lnTo>
                    <a:lnTo>
                      <a:pt x="52" y="256"/>
                    </a:lnTo>
                    <a:lnTo>
                      <a:pt x="50" y="258"/>
                    </a:lnTo>
                    <a:lnTo>
                      <a:pt x="46" y="258"/>
                    </a:lnTo>
                    <a:lnTo>
                      <a:pt x="0" y="230"/>
                    </a:lnTo>
                    <a:lnTo>
                      <a:pt x="0" y="23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65" name="Freeform 21"/>
              <p:cNvSpPr>
                <a:spLocks/>
              </p:cNvSpPr>
              <p:nvPr/>
            </p:nvSpPr>
            <p:spPr bwMode="auto">
              <a:xfrm>
                <a:off x="2942851" y="3906838"/>
                <a:ext cx="859830" cy="431800"/>
              </a:xfrm>
              <a:custGeom>
                <a:avLst/>
                <a:gdLst>
                  <a:gd name="T0" fmla="*/ 38 w 500"/>
                  <a:gd name="T1" fmla="*/ 182 h 272"/>
                  <a:gd name="T2" fmla="*/ 24 w 500"/>
                  <a:gd name="T3" fmla="*/ 120 h 272"/>
                  <a:gd name="T4" fmla="*/ 48 w 500"/>
                  <a:gd name="T5" fmla="*/ 76 h 272"/>
                  <a:gd name="T6" fmla="*/ 80 w 500"/>
                  <a:gd name="T7" fmla="*/ 44 h 272"/>
                  <a:gd name="T8" fmla="*/ 100 w 500"/>
                  <a:gd name="T9" fmla="*/ 58 h 272"/>
                  <a:gd name="T10" fmla="*/ 124 w 500"/>
                  <a:gd name="T11" fmla="*/ 58 h 272"/>
                  <a:gd name="T12" fmla="*/ 134 w 500"/>
                  <a:gd name="T13" fmla="*/ 46 h 272"/>
                  <a:gd name="T14" fmla="*/ 170 w 500"/>
                  <a:gd name="T15" fmla="*/ 40 h 272"/>
                  <a:gd name="T16" fmla="*/ 192 w 500"/>
                  <a:gd name="T17" fmla="*/ 16 h 272"/>
                  <a:gd name="T18" fmla="*/ 206 w 500"/>
                  <a:gd name="T19" fmla="*/ 8 h 272"/>
                  <a:gd name="T20" fmla="*/ 222 w 500"/>
                  <a:gd name="T21" fmla="*/ 4 h 272"/>
                  <a:gd name="T22" fmla="*/ 270 w 500"/>
                  <a:gd name="T23" fmla="*/ 22 h 272"/>
                  <a:gd name="T24" fmla="*/ 300 w 500"/>
                  <a:gd name="T25" fmla="*/ 36 h 272"/>
                  <a:gd name="T26" fmla="*/ 320 w 500"/>
                  <a:gd name="T27" fmla="*/ 30 h 272"/>
                  <a:gd name="T28" fmla="*/ 334 w 500"/>
                  <a:gd name="T29" fmla="*/ 36 h 272"/>
                  <a:gd name="T30" fmla="*/ 342 w 500"/>
                  <a:gd name="T31" fmla="*/ 24 h 272"/>
                  <a:gd name="T32" fmla="*/ 358 w 500"/>
                  <a:gd name="T33" fmla="*/ 28 h 272"/>
                  <a:gd name="T34" fmla="*/ 376 w 500"/>
                  <a:gd name="T35" fmla="*/ 4 h 272"/>
                  <a:gd name="T36" fmla="*/ 388 w 500"/>
                  <a:gd name="T37" fmla="*/ 0 h 272"/>
                  <a:gd name="T38" fmla="*/ 394 w 500"/>
                  <a:gd name="T39" fmla="*/ 18 h 272"/>
                  <a:gd name="T40" fmla="*/ 402 w 500"/>
                  <a:gd name="T41" fmla="*/ 22 h 272"/>
                  <a:gd name="T42" fmla="*/ 398 w 500"/>
                  <a:gd name="T43" fmla="*/ 36 h 272"/>
                  <a:gd name="T44" fmla="*/ 398 w 500"/>
                  <a:gd name="T45" fmla="*/ 66 h 272"/>
                  <a:gd name="T46" fmla="*/ 434 w 500"/>
                  <a:gd name="T47" fmla="*/ 58 h 272"/>
                  <a:gd name="T48" fmla="*/ 450 w 500"/>
                  <a:gd name="T49" fmla="*/ 48 h 272"/>
                  <a:gd name="T50" fmla="*/ 466 w 500"/>
                  <a:gd name="T51" fmla="*/ 48 h 272"/>
                  <a:gd name="T52" fmla="*/ 474 w 500"/>
                  <a:gd name="T53" fmla="*/ 54 h 272"/>
                  <a:gd name="T54" fmla="*/ 498 w 500"/>
                  <a:gd name="T55" fmla="*/ 58 h 272"/>
                  <a:gd name="T56" fmla="*/ 492 w 500"/>
                  <a:gd name="T57" fmla="*/ 58 h 272"/>
                  <a:gd name="T58" fmla="*/ 490 w 500"/>
                  <a:gd name="T59" fmla="*/ 68 h 272"/>
                  <a:gd name="T60" fmla="*/ 474 w 500"/>
                  <a:gd name="T61" fmla="*/ 70 h 272"/>
                  <a:gd name="T62" fmla="*/ 438 w 500"/>
                  <a:gd name="T63" fmla="*/ 64 h 272"/>
                  <a:gd name="T64" fmla="*/ 414 w 500"/>
                  <a:gd name="T65" fmla="*/ 68 h 272"/>
                  <a:gd name="T66" fmla="*/ 404 w 500"/>
                  <a:gd name="T67" fmla="*/ 76 h 272"/>
                  <a:gd name="T68" fmla="*/ 396 w 500"/>
                  <a:gd name="T69" fmla="*/ 76 h 272"/>
                  <a:gd name="T70" fmla="*/ 388 w 500"/>
                  <a:gd name="T71" fmla="*/ 96 h 272"/>
                  <a:gd name="T72" fmla="*/ 388 w 500"/>
                  <a:gd name="T73" fmla="*/ 116 h 272"/>
                  <a:gd name="T74" fmla="*/ 368 w 500"/>
                  <a:gd name="T75" fmla="*/ 144 h 272"/>
                  <a:gd name="T76" fmla="*/ 330 w 500"/>
                  <a:gd name="T77" fmla="*/ 150 h 272"/>
                  <a:gd name="T78" fmla="*/ 332 w 500"/>
                  <a:gd name="T79" fmla="*/ 170 h 272"/>
                  <a:gd name="T80" fmla="*/ 316 w 500"/>
                  <a:gd name="T81" fmla="*/ 180 h 272"/>
                  <a:gd name="T82" fmla="*/ 302 w 500"/>
                  <a:gd name="T83" fmla="*/ 194 h 272"/>
                  <a:gd name="T84" fmla="*/ 292 w 500"/>
                  <a:gd name="T85" fmla="*/ 218 h 272"/>
                  <a:gd name="T86" fmla="*/ 272 w 500"/>
                  <a:gd name="T87" fmla="*/ 224 h 272"/>
                  <a:gd name="T88" fmla="*/ 266 w 500"/>
                  <a:gd name="T89" fmla="*/ 222 h 272"/>
                  <a:gd name="T90" fmla="*/ 236 w 500"/>
                  <a:gd name="T91" fmla="*/ 222 h 272"/>
                  <a:gd name="T92" fmla="*/ 236 w 500"/>
                  <a:gd name="T93" fmla="*/ 230 h 272"/>
                  <a:gd name="T94" fmla="*/ 200 w 500"/>
                  <a:gd name="T95" fmla="*/ 230 h 272"/>
                  <a:gd name="T96" fmla="*/ 180 w 500"/>
                  <a:gd name="T97" fmla="*/ 262 h 272"/>
                  <a:gd name="T98" fmla="*/ 134 w 500"/>
                  <a:gd name="T99" fmla="*/ 272 h 272"/>
                  <a:gd name="T100" fmla="*/ 100 w 500"/>
                  <a:gd name="T101" fmla="*/ 270 h 272"/>
                  <a:gd name="T102" fmla="*/ 0 w 500"/>
                  <a:gd name="T103" fmla="*/ 23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0" h="272">
                    <a:moveTo>
                      <a:pt x="0" y="230"/>
                    </a:moveTo>
                    <a:lnTo>
                      <a:pt x="30" y="206"/>
                    </a:lnTo>
                    <a:lnTo>
                      <a:pt x="36" y="198"/>
                    </a:lnTo>
                    <a:lnTo>
                      <a:pt x="40" y="192"/>
                    </a:lnTo>
                    <a:lnTo>
                      <a:pt x="38" y="182"/>
                    </a:lnTo>
                    <a:lnTo>
                      <a:pt x="34" y="174"/>
                    </a:lnTo>
                    <a:lnTo>
                      <a:pt x="20" y="168"/>
                    </a:lnTo>
                    <a:lnTo>
                      <a:pt x="16" y="162"/>
                    </a:lnTo>
                    <a:lnTo>
                      <a:pt x="24" y="136"/>
                    </a:lnTo>
                    <a:lnTo>
                      <a:pt x="24" y="120"/>
                    </a:lnTo>
                    <a:lnTo>
                      <a:pt x="36" y="104"/>
                    </a:lnTo>
                    <a:lnTo>
                      <a:pt x="38" y="98"/>
                    </a:lnTo>
                    <a:lnTo>
                      <a:pt x="30" y="92"/>
                    </a:lnTo>
                    <a:lnTo>
                      <a:pt x="34" y="78"/>
                    </a:lnTo>
                    <a:lnTo>
                      <a:pt x="48" y="76"/>
                    </a:lnTo>
                    <a:lnTo>
                      <a:pt x="50" y="70"/>
                    </a:lnTo>
                    <a:lnTo>
                      <a:pt x="62" y="60"/>
                    </a:lnTo>
                    <a:lnTo>
                      <a:pt x="74" y="34"/>
                    </a:lnTo>
                    <a:lnTo>
                      <a:pt x="80" y="42"/>
                    </a:lnTo>
                    <a:lnTo>
                      <a:pt x="80" y="44"/>
                    </a:lnTo>
                    <a:lnTo>
                      <a:pt x="86" y="46"/>
                    </a:lnTo>
                    <a:lnTo>
                      <a:pt x="94" y="48"/>
                    </a:lnTo>
                    <a:lnTo>
                      <a:pt x="96" y="50"/>
                    </a:lnTo>
                    <a:lnTo>
                      <a:pt x="98" y="54"/>
                    </a:lnTo>
                    <a:lnTo>
                      <a:pt x="100" y="58"/>
                    </a:lnTo>
                    <a:lnTo>
                      <a:pt x="104" y="58"/>
                    </a:lnTo>
                    <a:lnTo>
                      <a:pt x="108" y="58"/>
                    </a:lnTo>
                    <a:lnTo>
                      <a:pt x="116" y="60"/>
                    </a:lnTo>
                    <a:lnTo>
                      <a:pt x="120" y="58"/>
                    </a:lnTo>
                    <a:lnTo>
                      <a:pt x="124" y="58"/>
                    </a:lnTo>
                    <a:lnTo>
                      <a:pt x="128" y="56"/>
                    </a:lnTo>
                    <a:lnTo>
                      <a:pt x="130" y="50"/>
                    </a:lnTo>
                    <a:lnTo>
                      <a:pt x="134" y="50"/>
                    </a:lnTo>
                    <a:lnTo>
                      <a:pt x="136" y="48"/>
                    </a:lnTo>
                    <a:lnTo>
                      <a:pt x="134" y="46"/>
                    </a:lnTo>
                    <a:lnTo>
                      <a:pt x="134" y="42"/>
                    </a:lnTo>
                    <a:lnTo>
                      <a:pt x="138" y="44"/>
                    </a:lnTo>
                    <a:lnTo>
                      <a:pt x="162" y="42"/>
                    </a:lnTo>
                    <a:lnTo>
                      <a:pt x="166" y="40"/>
                    </a:lnTo>
                    <a:lnTo>
                      <a:pt x="170" y="40"/>
                    </a:lnTo>
                    <a:lnTo>
                      <a:pt x="180" y="36"/>
                    </a:lnTo>
                    <a:lnTo>
                      <a:pt x="182" y="34"/>
                    </a:lnTo>
                    <a:lnTo>
                      <a:pt x="186" y="26"/>
                    </a:lnTo>
                    <a:lnTo>
                      <a:pt x="188" y="24"/>
                    </a:lnTo>
                    <a:lnTo>
                      <a:pt x="192" y="16"/>
                    </a:lnTo>
                    <a:lnTo>
                      <a:pt x="194" y="12"/>
                    </a:lnTo>
                    <a:lnTo>
                      <a:pt x="194" y="12"/>
                    </a:lnTo>
                    <a:lnTo>
                      <a:pt x="198" y="10"/>
                    </a:lnTo>
                    <a:lnTo>
                      <a:pt x="200" y="8"/>
                    </a:lnTo>
                    <a:lnTo>
                      <a:pt x="206" y="8"/>
                    </a:lnTo>
                    <a:lnTo>
                      <a:pt x="208" y="10"/>
                    </a:lnTo>
                    <a:lnTo>
                      <a:pt x="218" y="12"/>
                    </a:lnTo>
                    <a:lnTo>
                      <a:pt x="218" y="10"/>
                    </a:lnTo>
                    <a:lnTo>
                      <a:pt x="220" y="8"/>
                    </a:lnTo>
                    <a:lnTo>
                      <a:pt x="222" y="4"/>
                    </a:lnTo>
                    <a:lnTo>
                      <a:pt x="224" y="4"/>
                    </a:lnTo>
                    <a:lnTo>
                      <a:pt x="228" y="4"/>
                    </a:lnTo>
                    <a:lnTo>
                      <a:pt x="240" y="14"/>
                    </a:lnTo>
                    <a:lnTo>
                      <a:pt x="264" y="18"/>
                    </a:lnTo>
                    <a:lnTo>
                      <a:pt x="270" y="22"/>
                    </a:lnTo>
                    <a:lnTo>
                      <a:pt x="276" y="22"/>
                    </a:lnTo>
                    <a:lnTo>
                      <a:pt x="284" y="24"/>
                    </a:lnTo>
                    <a:lnTo>
                      <a:pt x="292" y="36"/>
                    </a:lnTo>
                    <a:lnTo>
                      <a:pt x="296" y="36"/>
                    </a:lnTo>
                    <a:lnTo>
                      <a:pt x="300" y="36"/>
                    </a:lnTo>
                    <a:lnTo>
                      <a:pt x="300" y="34"/>
                    </a:lnTo>
                    <a:lnTo>
                      <a:pt x="312" y="32"/>
                    </a:lnTo>
                    <a:lnTo>
                      <a:pt x="314" y="32"/>
                    </a:lnTo>
                    <a:lnTo>
                      <a:pt x="316" y="32"/>
                    </a:lnTo>
                    <a:lnTo>
                      <a:pt x="320" y="30"/>
                    </a:lnTo>
                    <a:lnTo>
                      <a:pt x="322" y="32"/>
                    </a:lnTo>
                    <a:lnTo>
                      <a:pt x="324" y="34"/>
                    </a:lnTo>
                    <a:lnTo>
                      <a:pt x="332" y="38"/>
                    </a:lnTo>
                    <a:lnTo>
                      <a:pt x="334" y="38"/>
                    </a:lnTo>
                    <a:lnTo>
                      <a:pt x="334" y="36"/>
                    </a:lnTo>
                    <a:lnTo>
                      <a:pt x="334" y="34"/>
                    </a:lnTo>
                    <a:lnTo>
                      <a:pt x="334" y="32"/>
                    </a:lnTo>
                    <a:lnTo>
                      <a:pt x="334" y="28"/>
                    </a:lnTo>
                    <a:lnTo>
                      <a:pt x="340" y="22"/>
                    </a:lnTo>
                    <a:lnTo>
                      <a:pt x="342" y="24"/>
                    </a:lnTo>
                    <a:lnTo>
                      <a:pt x="346" y="26"/>
                    </a:lnTo>
                    <a:lnTo>
                      <a:pt x="350" y="24"/>
                    </a:lnTo>
                    <a:lnTo>
                      <a:pt x="354" y="28"/>
                    </a:lnTo>
                    <a:lnTo>
                      <a:pt x="356" y="28"/>
                    </a:lnTo>
                    <a:lnTo>
                      <a:pt x="358" y="28"/>
                    </a:lnTo>
                    <a:lnTo>
                      <a:pt x="362" y="26"/>
                    </a:lnTo>
                    <a:lnTo>
                      <a:pt x="364" y="24"/>
                    </a:lnTo>
                    <a:lnTo>
                      <a:pt x="362" y="20"/>
                    </a:lnTo>
                    <a:lnTo>
                      <a:pt x="362" y="16"/>
                    </a:lnTo>
                    <a:lnTo>
                      <a:pt x="376" y="4"/>
                    </a:lnTo>
                    <a:lnTo>
                      <a:pt x="378" y="4"/>
                    </a:lnTo>
                    <a:lnTo>
                      <a:pt x="380" y="0"/>
                    </a:lnTo>
                    <a:lnTo>
                      <a:pt x="382" y="0"/>
                    </a:lnTo>
                    <a:lnTo>
                      <a:pt x="384" y="2"/>
                    </a:lnTo>
                    <a:lnTo>
                      <a:pt x="388" y="0"/>
                    </a:lnTo>
                    <a:lnTo>
                      <a:pt x="392" y="2"/>
                    </a:lnTo>
                    <a:lnTo>
                      <a:pt x="398" y="10"/>
                    </a:lnTo>
                    <a:lnTo>
                      <a:pt x="398" y="12"/>
                    </a:lnTo>
                    <a:lnTo>
                      <a:pt x="396" y="16"/>
                    </a:lnTo>
                    <a:lnTo>
                      <a:pt x="394" y="18"/>
                    </a:lnTo>
                    <a:lnTo>
                      <a:pt x="394" y="20"/>
                    </a:lnTo>
                    <a:lnTo>
                      <a:pt x="398" y="22"/>
                    </a:lnTo>
                    <a:lnTo>
                      <a:pt x="400" y="22"/>
                    </a:lnTo>
                    <a:lnTo>
                      <a:pt x="402" y="22"/>
                    </a:lnTo>
                    <a:lnTo>
                      <a:pt x="402" y="22"/>
                    </a:lnTo>
                    <a:lnTo>
                      <a:pt x="402" y="24"/>
                    </a:lnTo>
                    <a:lnTo>
                      <a:pt x="400" y="26"/>
                    </a:lnTo>
                    <a:lnTo>
                      <a:pt x="400" y="28"/>
                    </a:lnTo>
                    <a:lnTo>
                      <a:pt x="400" y="34"/>
                    </a:lnTo>
                    <a:lnTo>
                      <a:pt x="398" y="36"/>
                    </a:lnTo>
                    <a:lnTo>
                      <a:pt x="396" y="40"/>
                    </a:lnTo>
                    <a:lnTo>
                      <a:pt x="396" y="44"/>
                    </a:lnTo>
                    <a:lnTo>
                      <a:pt x="394" y="48"/>
                    </a:lnTo>
                    <a:lnTo>
                      <a:pt x="394" y="54"/>
                    </a:lnTo>
                    <a:lnTo>
                      <a:pt x="398" y="66"/>
                    </a:lnTo>
                    <a:lnTo>
                      <a:pt x="400" y="66"/>
                    </a:lnTo>
                    <a:lnTo>
                      <a:pt x="402" y="66"/>
                    </a:lnTo>
                    <a:lnTo>
                      <a:pt x="420" y="60"/>
                    </a:lnTo>
                    <a:lnTo>
                      <a:pt x="432" y="58"/>
                    </a:lnTo>
                    <a:lnTo>
                      <a:pt x="434" y="58"/>
                    </a:lnTo>
                    <a:lnTo>
                      <a:pt x="436" y="54"/>
                    </a:lnTo>
                    <a:lnTo>
                      <a:pt x="442" y="54"/>
                    </a:lnTo>
                    <a:lnTo>
                      <a:pt x="442" y="52"/>
                    </a:lnTo>
                    <a:lnTo>
                      <a:pt x="444" y="52"/>
                    </a:lnTo>
                    <a:lnTo>
                      <a:pt x="450" y="48"/>
                    </a:lnTo>
                    <a:lnTo>
                      <a:pt x="454" y="48"/>
                    </a:lnTo>
                    <a:lnTo>
                      <a:pt x="458" y="46"/>
                    </a:lnTo>
                    <a:lnTo>
                      <a:pt x="460" y="46"/>
                    </a:lnTo>
                    <a:lnTo>
                      <a:pt x="462" y="48"/>
                    </a:lnTo>
                    <a:lnTo>
                      <a:pt x="466" y="48"/>
                    </a:lnTo>
                    <a:lnTo>
                      <a:pt x="466" y="54"/>
                    </a:lnTo>
                    <a:lnTo>
                      <a:pt x="468" y="56"/>
                    </a:lnTo>
                    <a:lnTo>
                      <a:pt x="470" y="56"/>
                    </a:lnTo>
                    <a:lnTo>
                      <a:pt x="474" y="54"/>
                    </a:lnTo>
                    <a:lnTo>
                      <a:pt x="474" y="54"/>
                    </a:lnTo>
                    <a:lnTo>
                      <a:pt x="492" y="52"/>
                    </a:lnTo>
                    <a:lnTo>
                      <a:pt x="494" y="54"/>
                    </a:lnTo>
                    <a:lnTo>
                      <a:pt x="498" y="54"/>
                    </a:lnTo>
                    <a:lnTo>
                      <a:pt x="500" y="56"/>
                    </a:lnTo>
                    <a:lnTo>
                      <a:pt x="498" y="58"/>
                    </a:lnTo>
                    <a:lnTo>
                      <a:pt x="496" y="58"/>
                    </a:lnTo>
                    <a:lnTo>
                      <a:pt x="498" y="58"/>
                    </a:lnTo>
                    <a:lnTo>
                      <a:pt x="496" y="58"/>
                    </a:lnTo>
                    <a:lnTo>
                      <a:pt x="494" y="56"/>
                    </a:lnTo>
                    <a:lnTo>
                      <a:pt x="492" y="58"/>
                    </a:lnTo>
                    <a:lnTo>
                      <a:pt x="486" y="60"/>
                    </a:lnTo>
                    <a:lnTo>
                      <a:pt x="488" y="62"/>
                    </a:lnTo>
                    <a:lnTo>
                      <a:pt x="490" y="64"/>
                    </a:lnTo>
                    <a:lnTo>
                      <a:pt x="492" y="66"/>
                    </a:lnTo>
                    <a:lnTo>
                      <a:pt x="490" y="68"/>
                    </a:lnTo>
                    <a:lnTo>
                      <a:pt x="484" y="68"/>
                    </a:lnTo>
                    <a:lnTo>
                      <a:pt x="482" y="68"/>
                    </a:lnTo>
                    <a:lnTo>
                      <a:pt x="480" y="68"/>
                    </a:lnTo>
                    <a:lnTo>
                      <a:pt x="476" y="70"/>
                    </a:lnTo>
                    <a:lnTo>
                      <a:pt x="474" y="70"/>
                    </a:lnTo>
                    <a:lnTo>
                      <a:pt x="466" y="66"/>
                    </a:lnTo>
                    <a:lnTo>
                      <a:pt x="462" y="68"/>
                    </a:lnTo>
                    <a:lnTo>
                      <a:pt x="460" y="66"/>
                    </a:lnTo>
                    <a:lnTo>
                      <a:pt x="440" y="66"/>
                    </a:lnTo>
                    <a:lnTo>
                      <a:pt x="438" y="64"/>
                    </a:lnTo>
                    <a:lnTo>
                      <a:pt x="428" y="66"/>
                    </a:lnTo>
                    <a:lnTo>
                      <a:pt x="424" y="68"/>
                    </a:lnTo>
                    <a:lnTo>
                      <a:pt x="418" y="68"/>
                    </a:lnTo>
                    <a:lnTo>
                      <a:pt x="416" y="68"/>
                    </a:lnTo>
                    <a:lnTo>
                      <a:pt x="414" y="68"/>
                    </a:lnTo>
                    <a:lnTo>
                      <a:pt x="412" y="70"/>
                    </a:lnTo>
                    <a:lnTo>
                      <a:pt x="410" y="72"/>
                    </a:lnTo>
                    <a:lnTo>
                      <a:pt x="406" y="72"/>
                    </a:lnTo>
                    <a:lnTo>
                      <a:pt x="404" y="74"/>
                    </a:lnTo>
                    <a:lnTo>
                      <a:pt x="404" y="76"/>
                    </a:lnTo>
                    <a:lnTo>
                      <a:pt x="402" y="76"/>
                    </a:lnTo>
                    <a:lnTo>
                      <a:pt x="400" y="74"/>
                    </a:lnTo>
                    <a:lnTo>
                      <a:pt x="396" y="74"/>
                    </a:lnTo>
                    <a:lnTo>
                      <a:pt x="396" y="74"/>
                    </a:lnTo>
                    <a:lnTo>
                      <a:pt x="396" y="76"/>
                    </a:lnTo>
                    <a:lnTo>
                      <a:pt x="384" y="82"/>
                    </a:lnTo>
                    <a:lnTo>
                      <a:pt x="382" y="84"/>
                    </a:lnTo>
                    <a:lnTo>
                      <a:pt x="382" y="86"/>
                    </a:lnTo>
                    <a:lnTo>
                      <a:pt x="382" y="88"/>
                    </a:lnTo>
                    <a:lnTo>
                      <a:pt x="388" y="96"/>
                    </a:lnTo>
                    <a:lnTo>
                      <a:pt x="390" y="108"/>
                    </a:lnTo>
                    <a:lnTo>
                      <a:pt x="390" y="110"/>
                    </a:lnTo>
                    <a:lnTo>
                      <a:pt x="388" y="114"/>
                    </a:lnTo>
                    <a:lnTo>
                      <a:pt x="388" y="114"/>
                    </a:lnTo>
                    <a:lnTo>
                      <a:pt x="388" y="116"/>
                    </a:lnTo>
                    <a:lnTo>
                      <a:pt x="388" y="120"/>
                    </a:lnTo>
                    <a:lnTo>
                      <a:pt x="364" y="138"/>
                    </a:lnTo>
                    <a:lnTo>
                      <a:pt x="364" y="142"/>
                    </a:lnTo>
                    <a:lnTo>
                      <a:pt x="368" y="142"/>
                    </a:lnTo>
                    <a:lnTo>
                      <a:pt x="368" y="144"/>
                    </a:lnTo>
                    <a:lnTo>
                      <a:pt x="366" y="146"/>
                    </a:lnTo>
                    <a:lnTo>
                      <a:pt x="366" y="150"/>
                    </a:lnTo>
                    <a:lnTo>
                      <a:pt x="360" y="154"/>
                    </a:lnTo>
                    <a:lnTo>
                      <a:pt x="350" y="156"/>
                    </a:lnTo>
                    <a:lnTo>
                      <a:pt x="330" y="150"/>
                    </a:lnTo>
                    <a:lnTo>
                      <a:pt x="328" y="150"/>
                    </a:lnTo>
                    <a:lnTo>
                      <a:pt x="326" y="152"/>
                    </a:lnTo>
                    <a:lnTo>
                      <a:pt x="330" y="160"/>
                    </a:lnTo>
                    <a:lnTo>
                      <a:pt x="332" y="162"/>
                    </a:lnTo>
                    <a:lnTo>
                      <a:pt x="332" y="170"/>
                    </a:lnTo>
                    <a:lnTo>
                      <a:pt x="336" y="172"/>
                    </a:lnTo>
                    <a:lnTo>
                      <a:pt x="334" y="174"/>
                    </a:lnTo>
                    <a:lnTo>
                      <a:pt x="332" y="178"/>
                    </a:lnTo>
                    <a:lnTo>
                      <a:pt x="320" y="182"/>
                    </a:lnTo>
                    <a:lnTo>
                      <a:pt x="316" y="180"/>
                    </a:lnTo>
                    <a:lnTo>
                      <a:pt x="308" y="180"/>
                    </a:lnTo>
                    <a:lnTo>
                      <a:pt x="306" y="188"/>
                    </a:lnTo>
                    <a:lnTo>
                      <a:pt x="302" y="188"/>
                    </a:lnTo>
                    <a:lnTo>
                      <a:pt x="300" y="190"/>
                    </a:lnTo>
                    <a:lnTo>
                      <a:pt x="302" y="194"/>
                    </a:lnTo>
                    <a:lnTo>
                      <a:pt x="300" y="196"/>
                    </a:lnTo>
                    <a:lnTo>
                      <a:pt x="298" y="196"/>
                    </a:lnTo>
                    <a:lnTo>
                      <a:pt x="294" y="200"/>
                    </a:lnTo>
                    <a:lnTo>
                      <a:pt x="292" y="202"/>
                    </a:lnTo>
                    <a:lnTo>
                      <a:pt x="292" y="218"/>
                    </a:lnTo>
                    <a:lnTo>
                      <a:pt x="290" y="220"/>
                    </a:lnTo>
                    <a:lnTo>
                      <a:pt x="278" y="228"/>
                    </a:lnTo>
                    <a:lnTo>
                      <a:pt x="276" y="228"/>
                    </a:lnTo>
                    <a:lnTo>
                      <a:pt x="272" y="226"/>
                    </a:lnTo>
                    <a:lnTo>
                      <a:pt x="272" y="224"/>
                    </a:lnTo>
                    <a:lnTo>
                      <a:pt x="272" y="222"/>
                    </a:lnTo>
                    <a:lnTo>
                      <a:pt x="268" y="218"/>
                    </a:lnTo>
                    <a:lnTo>
                      <a:pt x="264" y="218"/>
                    </a:lnTo>
                    <a:lnTo>
                      <a:pt x="264" y="220"/>
                    </a:lnTo>
                    <a:lnTo>
                      <a:pt x="266" y="222"/>
                    </a:lnTo>
                    <a:lnTo>
                      <a:pt x="266" y="222"/>
                    </a:lnTo>
                    <a:lnTo>
                      <a:pt x="252" y="218"/>
                    </a:lnTo>
                    <a:lnTo>
                      <a:pt x="250" y="218"/>
                    </a:lnTo>
                    <a:lnTo>
                      <a:pt x="246" y="220"/>
                    </a:lnTo>
                    <a:lnTo>
                      <a:pt x="236" y="222"/>
                    </a:lnTo>
                    <a:lnTo>
                      <a:pt x="234" y="224"/>
                    </a:lnTo>
                    <a:lnTo>
                      <a:pt x="234" y="226"/>
                    </a:lnTo>
                    <a:lnTo>
                      <a:pt x="238" y="228"/>
                    </a:lnTo>
                    <a:lnTo>
                      <a:pt x="238" y="230"/>
                    </a:lnTo>
                    <a:lnTo>
                      <a:pt x="236" y="230"/>
                    </a:lnTo>
                    <a:lnTo>
                      <a:pt x="212" y="228"/>
                    </a:lnTo>
                    <a:lnTo>
                      <a:pt x="212" y="226"/>
                    </a:lnTo>
                    <a:lnTo>
                      <a:pt x="210" y="224"/>
                    </a:lnTo>
                    <a:lnTo>
                      <a:pt x="204" y="226"/>
                    </a:lnTo>
                    <a:lnTo>
                      <a:pt x="200" y="230"/>
                    </a:lnTo>
                    <a:lnTo>
                      <a:pt x="192" y="234"/>
                    </a:lnTo>
                    <a:lnTo>
                      <a:pt x="188" y="238"/>
                    </a:lnTo>
                    <a:lnTo>
                      <a:pt x="184" y="244"/>
                    </a:lnTo>
                    <a:lnTo>
                      <a:pt x="184" y="252"/>
                    </a:lnTo>
                    <a:lnTo>
                      <a:pt x="180" y="262"/>
                    </a:lnTo>
                    <a:lnTo>
                      <a:pt x="178" y="264"/>
                    </a:lnTo>
                    <a:lnTo>
                      <a:pt x="180" y="266"/>
                    </a:lnTo>
                    <a:lnTo>
                      <a:pt x="180" y="270"/>
                    </a:lnTo>
                    <a:lnTo>
                      <a:pt x="174" y="272"/>
                    </a:lnTo>
                    <a:lnTo>
                      <a:pt x="134" y="272"/>
                    </a:lnTo>
                    <a:lnTo>
                      <a:pt x="112" y="266"/>
                    </a:lnTo>
                    <a:lnTo>
                      <a:pt x="106" y="266"/>
                    </a:lnTo>
                    <a:lnTo>
                      <a:pt x="104" y="268"/>
                    </a:lnTo>
                    <a:lnTo>
                      <a:pt x="102" y="270"/>
                    </a:lnTo>
                    <a:lnTo>
                      <a:pt x="100" y="270"/>
                    </a:lnTo>
                    <a:lnTo>
                      <a:pt x="92" y="264"/>
                    </a:lnTo>
                    <a:lnTo>
                      <a:pt x="52" y="256"/>
                    </a:lnTo>
                    <a:lnTo>
                      <a:pt x="50" y="258"/>
                    </a:lnTo>
                    <a:lnTo>
                      <a:pt x="46" y="258"/>
                    </a:lnTo>
                    <a:lnTo>
                      <a:pt x="0" y="230"/>
                    </a:lnTo>
                    <a:lnTo>
                      <a:pt x="0" y="23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66" name="Freeform 22"/>
              <p:cNvSpPr>
                <a:spLocks/>
              </p:cNvSpPr>
              <p:nvPr/>
            </p:nvSpPr>
            <p:spPr bwMode="auto">
              <a:xfrm>
                <a:off x="4029676" y="4414838"/>
                <a:ext cx="474626" cy="225425"/>
              </a:xfrm>
              <a:custGeom>
                <a:avLst/>
                <a:gdLst>
                  <a:gd name="T0" fmla="*/ 270 w 276"/>
                  <a:gd name="T1" fmla="*/ 114 h 142"/>
                  <a:gd name="T2" fmla="*/ 272 w 276"/>
                  <a:gd name="T3" fmla="*/ 122 h 142"/>
                  <a:gd name="T4" fmla="*/ 270 w 276"/>
                  <a:gd name="T5" fmla="*/ 138 h 142"/>
                  <a:gd name="T6" fmla="*/ 256 w 276"/>
                  <a:gd name="T7" fmla="*/ 142 h 142"/>
                  <a:gd name="T8" fmla="*/ 236 w 276"/>
                  <a:gd name="T9" fmla="*/ 140 h 142"/>
                  <a:gd name="T10" fmla="*/ 164 w 276"/>
                  <a:gd name="T11" fmla="*/ 128 h 142"/>
                  <a:gd name="T12" fmla="*/ 142 w 276"/>
                  <a:gd name="T13" fmla="*/ 110 h 142"/>
                  <a:gd name="T14" fmla="*/ 112 w 276"/>
                  <a:gd name="T15" fmla="*/ 106 h 142"/>
                  <a:gd name="T16" fmla="*/ 84 w 276"/>
                  <a:gd name="T17" fmla="*/ 98 h 142"/>
                  <a:gd name="T18" fmla="*/ 70 w 276"/>
                  <a:gd name="T19" fmla="*/ 92 h 142"/>
                  <a:gd name="T20" fmla="*/ 46 w 276"/>
                  <a:gd name="T21" fmla="*/ 82 h 142"/>
                  <a:gd name="T22" fmla="*/ 28 w 276"/>
                  <a:gd name="T23" fmla="*/ 64 h 142"/>
                  <a:gd name="T24" fmla="*/ 16 w 276"/>
                  <a:gd name="T25" fmla="*/ 62 h 142"/>
                  <a:gd name="T26" fmla="*/ 10 w 276"/>
                  <a:gd name="T27" fmla="*/ 56 h 142"/>
                  <a:gd name="T28" fmla="*/ 0 w 276"/>
                  <a:gd name="T29" fmla="*/ 50 h 142"/>
                  <a:gd name="T30" fmla="*/ 8 w 276"/>
                  <a:gd name="T31" fmla="*/ 42 h 142"/>
                  <a:gd name="T32" fmla="*/ 10 w 276"/>
                  <a:gd name="T33" fmla="*/ 30 h 142"/>
                  <a:gd name="T34" fmla="*/ 14 w 276"/>
                  <a:gd name="T35" fmla="*/ 20 h 142"/>
                  <a:gd name="T36" fmla="*/ 20 w 276"/>
                  <a:gd name="T37" fmla="*/ 14 h 142"/>
                  <a:gd name="T38" fmla="*/ 30 w 276"/>
                  <a:gd name="T39" fmla="*/ 6 h 142"/>
                  <a:gd name="T40" fmla="*/ 34 w 276"/>
                  <a:gd name="T41" fmla="*/ 2 h 142"/>
                  <a:gd name="T42" fmla="*/ 42 w 276"/>
                  <a:gd name="T43" fmla="*/ 6 h 142"/>
                  <a:gd name="T44" fmla="*/ 46 w 276"/>
                  <a:gd name="T45" fmla="*/ 6 h 142"/>
                  <a:gd name="T46" fmla="*/ 50 w 276"/>
                  <a:gd name="T47" fmla="*/ 0 h 142"/>
                  <a:gd name="T48" fmla="*/ 62 w 276"/>
                  <a:gd name="T49" fmla="*/ 2 h 142"/>
                  <a:gd name="T50" fmla="*/ 104 w 276"/>
                  <a:gd name="T51" fmla="*/ 22 h 142"/>
                  <a:gd name="T52" fmla="*/ 118 w 276"/>
                  <a:gd name="T53" fmla="*/ 46 h 142"/>
                  <a:gd name="T54" fmla="*/ 128 w 276"/>
                  <a:gd name="T55" fmla="*/ 44 h 142"/>
                  <a:gd name="T56" fmla="*/ 134 w 276"/>
                  <a:gd name="T57" fmla="*/ 38 h 142"/>
                  <a:gd name="T58" fmla="*/ 144 w 276"/>
                  <a:gd name="T59" fmla="*/ 40 h 142"/>
                  <a:gd name="T60" fmla="*/ 142 w 276"/>
                  <a:gd name="T61" fmla="*/ 48 h 142"/>
                  <a:gd name="T62" fmla="*/ 144 w 276"/>
                  <a:gd name="T63" fmla="*/ 56 h 142"/>
                  <a:gd name="T64" fmla="*/ 150 w 276"/>
                  <a:gd name="T65" fmla="*/ 60 h 142"/>
                  <a:gd name="T66" fmla="*/ 162 w 276"/>
                  <a:gd name="T67" fmla="*/ 64 h 142"/>
                  <a:gd name="T68" fmla="*/ 176 w 276"/>
                  <a:gd name="T69" fmla="*/ 62 h 142"/>
                  <a:gd name="T70" fmla="*/ 182 w 276"/>
                  <a:gd name="T71" fmla="*/ 78 h 142"/>
                  <a:gd name="T72" fmla="*/ 196 w 276"/>
                  <a:gd name="T73" fmla="*/ 82 h 142"/>
                  <a:gd name="T74" fmla="*/ 200 w 276"/>
                  <a:gd name="T75" fmla="*/ 88 h 142"/>
                  <a:gd name="T76" fmla="*/ 212 w 276"/>
                  <a:gd name="T77" fmla="*/ 88 h 142"/>
                  <a:gd name="T78" fmla="*/ 220 w 276"/>
                  <a:gd name="T79" fmla="*/ 88 h 142"/>
                  <a:gd name="T80" fmla="*/ 232 w 276"/>
                  <a:gd name="T81" fmla="*/ 84 h 142"/>
                  <a:gd name="T82" fmla="*/ 254 w 276"/>
                  <a:gd name="T83" fmla="*/ 90 h 142"/>
                  <a:gd name="T84" fmla="*/ 272 w 276"/>
                  <a:gd name="T85" fmla="*/ 8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6" h="142">
                    <a:moveTo>
                      <a:pt x="276" y="88"/>
                    </a:moveTo>
                    <a:lnTo>
                      <a:pt x="272" y="92"/>
                    </a:lnTo>
                    <a:lnTo>
                      <a:pt x="270" y="114"/>
                    </a:lnTo>
                    <a:lnTo>
                      <a:pt x="268" y="118"/>
                    </a:lnTo>
                    <a:lnTo>
                      <a:pt x="268" y="120"/>
                    </a:lnTo>
                    <a:lnTo>
                      <a:pt x="272" y="122"/>
                    </a:lnTo>
                    <a:lnTo>
                      <a:pt x="276" y="128"/>
                    </a:lnTo>
                    <a:lnTo>
                      <a:pt x="274" y="132"/>
                    </a:lnTo>
                    <a:lnTo>
                      <a:pt x="270" y="138"/>
                    </a:lnTo>
                    <a:lnTo>
                      <a:pt x="270" y="140"/>
                    </a:lnTo>
                    <a:lnTo>
                      <a:pt x="264" y="140"/>
                    </a:lnTo>
                    <a:lnTo>
                      <a:pt x="256" y="142"/>
                    </a:lnTo>
                    <a:lnTo>
                      <a:pt x="246" y="140"/>
                    </a:lnTo>
                    <a:lnTo>
                      <a:pt x="242" y="142"/>
                    </a:lnTo>
                    <a:lnTo>
                      <a:pt x="236" y="140"/>
                    </a:lnTo>
                    <a:lnTo>
                      <a:pt x="194" y="134"/>
                    </a:lnTo>
                    <a:lnTo>
                      <a:pt x="190" y="130"/>
                    </a:lnTo>
                    <a:lnTo>
                      <a:pt x="164" y="128"/>
                    </a:lnTo>
                    <a:lnTo>
                      <a:pt x="152" y="120"/>
                    </a:lnTo>
                    <a:lnTo>
                      <a:pt x="146" y="112"/>
                    </a:lnTo>
                    <a:lnTo>
                      <a:pt x="142" y="110"/>
                    </a:lnTo>
                    <a:lnTo>
                      <a:pt x="130" y="108"/>
                    </a:lnTo>
                    <a:lnTo>
                      <a:pt x="128" y="108"/>
                    </a:lnTo>
                    <a:lnTo>
                      <a:pt x="112" y="106"/>
                    </a:lnTo>
                    <a:lnTo>
                      <a:pt x="106" y="108"/>
                    </a:lnTo>
                    <a:lnTo>
                      <a:pt x="90" y="106"/>
                    </a:lnTo>
                    <a:lnTo>
                      <a:pt x="84" y="98"/>
                    </a:lnTo>
                    <a:lnTo>
                      <a:pt x="82" y="96"/>
                    </a:lnTo>
                    <a:lnTo>
                      <a:pt x="74" y="96"/>
                    </a:lnTo>
                    <a:lnTo>
                      <a:pt x="70" y="92"/>
                    </a:lnTo>
                    <a:lnTo>
                      <a:pt x="62" y="88"/>
                    </a:lnTo>
                    <a:lnTo>
                      <a:pt x="56" y="88"/>
                    </a:lnTo>
                    <a:lnTo>
                      <a:pt x="46" y="82"/>
                    </a:lnTo>
                    <a:lnTo>
                      <a:pt x="40" y="74"/>
                    </a:lnTo>
                    <a:lnTo>
                      <a:pt x="30" y="68"/>
                    </a:lnTo>
                    <a:lnTo>
                      <a:pt x="28" y="64"/>
                    </a:lnTo>
                    <a:lnTo>
                      <a:pt x="20" y="60"/>
                    </a:lnTo>
                    <a:lnTo>
                      <a:pt x="18" y="60"/>
                    </a:lnTo>
                    <a:lnTo>
                      <a:pt x="16" y="62"/>
                    </a:lnTo>
                    <a:lnTo>
                      <a:pt x="14" y="62"/>
                    </a:lnTo>
                    <a:lnTo>
                      <a:pt x="12" y="60"/>
                    </a:lnTo>
                    <a:lnTo>
                      <a:pt x="10" y="56"/>
                    </a:lnTo>
                    <a:lnTo>
                      <a:pt x="8" y="54"/>
                    </a:lnTo>
                    <a:lnTo>
                      <a:pt x="0" y="52"/>
                    </a:lnTo>
                    <a:lnTo>
                      <a:pt x="0" y="50"/>
                    </a:lnTo>
                    <a:lnTo>
                      <a:pt x="2" y="46"/>
                    </a:lnTo>
                    <a:lnTo>
                      <a:pt x="4" y="42"/>
                    </a:lnTo>
                    <a:lnTo>
                      <a:pt x="8" y="42"/>
                    </a:lnTo>
                    <a:lnTo>
                      <a:pt x="8" y="38"/>
                    </a:lnTo>
                    <a:lnTo>
                      <a:pt x="10" y="36"/>
                    </a:lnTo>
                    <a:lnTo>
                      <a:pt x="10" y="30"/>
                    </a:lnTo>
                    <a:lnTo>
                      <a:pt x="12" y="26"/>
                    </a:lnTo>
                    <a:lnTo>
                      <a:pt x="14" y="24"/>
                    </a:lnTo>
                    <a:lnTo>
                      <a:pt x="14" y="20"/>
                    </a:lnTo>
                    <a:lnTo>
                      <a:pt x="14" y="18"/>
                    </a:lnTo>
                    <a:lnTo>
                      <a:pt x="16" y="14"/>
                    </a:lnTo>
                    <a:lnTo>
                      <a:pt x="20" y="14"/>
                    </a:lnTo>
                    <a:lnTo>
                      <a:pt x="22" y="10"/>
                    </a:lnTo>
                    <a:lnTo>
                      <a:pt x="28" y="8"/>
                    </a:lnTo>
                    <a:lnTo>
                      <a:pt x="30" y="6"/>
                    </a:lnTo>
                    <a:lnTo>
                      <a:pt x="32" y="2"/>
                    </a:lnTo>
                    <a:lnTo>
                      <a:pt x="32" y="2"/>
                    </a:lnTo>
                    <a:lnTo>
                      <a:pt x="34" y="2"/>
                    </a:lnTo>
                    <a:lnTo>
                      <a:pt x="38" y="2"/>
                    </a:lnTo>
                    <a:lnTo>
                      <a:pt x="40" y="2"/>
                    </a:lnTo>
                    <a:lnTo>
                      <a:pt x="42" y="6"/>
                    </a:lnTo>
                    <a:lnTo>
                      <a:pt x="46" y="10"/>
                    </a:lnTo>
                    <a:lnTo>
                      <a:pt x="46" y="8"/>
                    </a:lnTo>
                    <a:lnTo>
                      <a:pt x="46" y="6"/>
                    </a:lnTo>
                    <a:lnTo>
                      <a:pt x="48" y="4"/>
                    </a:lnTo>
                    <a:lnTo>
                      <a:pt x="48" y="2"/>
                    </a:lnTo>
                    <a:lnTo>
                      <a:pt x="50" y="0"/>
                    </a:lnTo>
                    <a:lnTo>
                      <a:pt x="50" y="0"/>
                    </a:lnTo>
                    <a:lnTo>
                      <a:pt x="60" y="2"/>
                    </a:lnTo>
                    <a:lnTo>
                      <a:pt x="62" y="2"/>
                    </a:lnTo>
                    <a:lnTo>
                      <a:pt x="88" y="10"/>
                    </a:lnTo>
                    <a:lnTo>
                      <a:pt x="96" y="20"/>
                    </a:lnTo>
                    <a:lnTo>
                      <a:pt x="104" y="22"/>
                    </a:lnTo>
                    <a:lnTo>
                      <a:pt x="114" y="34"/>
                    </a:lnTo>
                    <a:lnTo>
                      <a:pt x="116" y="42"/>
                    </a:lnTo>
                    <a:lnTo>
                      <a:pt x="118" y="46"/>
                    </a:lnTo>
                    <a:lnTo>
                      <a:pt x="124" y="46"/>
                    </a:lnTo>
                    <a:lnTo>
                      <a:pt x="126" y="44"/>
                    </a:lnTo>
                    <a:lnTo>
                      <a:pt x="128" y="44"/>
                    </a:lnTo>
                    <a:lnTo>
                      <a:pt x="130" y="42"/>
                    </a:lnTo>
                    <a:lnTo>
                      <a:pt x="132" y="40"/>
                    </a:lnTo>
                    <a:lnTo>
                      <a:pt x="134" y="38"/>
                    </a:lnTo>
                    <a:lnTo>
                      <a:pt x="136" y="38"/>
                    </a:lnTo>
                    <a:lnTo>
                      <a:pt x="140" y="38"/>
                    </a:lnTo>
                    <a:lnTo>
                      <a:pt x="144" y="40"/>
                    </a:lnTo>
                    <a:lnTo>
                      <a:pt x="144" y="40"/>
                    </a:lnTo>
                    <a:lnTo>
                      <a:pt x="142" y="44"/>
                    </a:lnTo>
                    <a:lnTo>
                      <a:pt x="142" y="48"/>
                    </a:lnTo>
                    <a:lnTo>
                      <a:pt x="140" y="54"/>
                    </a:lnTo>
                    <a:lnTo>
                      <a:pt x="142" y="56"/>
                    </a:lnTo>
                    <a:lnTo>
                      <a:pt x="144" y="56"/>
                    </a:lnTo>
                    <a:lnTo>
                      <a:pt x="146" y="58"/>
                    </a:lnTo>
                    <a:lnTo>
                      <a:pt x="148" y="60"/>
                    </a:lnTo>
                    <a:lnTo>
                      <a:pt x="150" y="60"/>
                    </a:lnTo>
                    <a:lnTo>
                      <a:pt x="154" y="62"/>
                    </a:lnTo>
                    <a:lnTo>
                      <a:pt x="158" y="62"/>
                    </a:lnTo>
                    <a:lnTo>
                      <a:pt x="162" y="64"/>
                    </a:lnTo>
                    <a:lnTo>
                      <a:pt x="170" y="64"/>
                    </a:lnTo>
                    <a:lnTo>
                      <a:pt x="174" y="62"/>
                    </a:lnTo>
                    <a:lnTo>
                      <a:pt x="176" y="62"/>
                    </a:lnTo>
                    <a:lnTo>
                      <a:pt x="174" y="70"/>
                    </a:lnTo>
                    <a:lnTo>
                      <a:pt x="174" y="72"/>
                    </a:lnTo>
                    <a:lnTo>
                      <a:pt x="182" y="78"/>
                    </a:lnTo>
                    <a:lnTo>
                      <a:pt x="188" y="76"/>
                    </a:lnTo>
                    <a:lnTo>
                      <a:pt x="192" y="78"/>
                    </a:lnTo>
                    <a:lnTo>
                      <a:pt x="196" y="82"/>
                    </a:lnTo>
                    <a:lnTo>
                      <a:pt x="196" y="84"/>
                    </a:lnTo>
                    <a:lnTo>
                      <a:pt x="198" y="86"/>
                    </a:lnTo>
                    <a:lnTo>
                      <a:pt x="200" y="88"/>
                    </a:lnTo>
                    <a:lnTo>
                      <a:pt x="204" y="88"/>
                    </a:lnTo>
                    <a:lnTo>
                      <a:pt x="208" y="86"/>
                    </a:lnTo>
                    <a:lnTo>
                      <a:pt x="212" y="88"/>
                    </a:lnTo>
                    <a:lnTo>
                      <a:pt x="214" y="88"/>
                    </a:lnTo>
                    <a:lnTo>
                      <a:pt x="218" y="88"/>
                    </a:lnTo>
                    <a:lnTo>
                      <a:pt x="220" y="88"/>
                    </a:lnTo>
                    <a:lnTo>
                      <a:pt x="222" y="84"/>
                    </a:lnTo>
                    <a:lnTo>
                      <a:pt x="226" y="84"/>
                    </a:lnTo>
                    <a:lnTo>
                      <a:pt x="232" y="84"/>
                    </a:lnTo>
                    <a:lnTo>
                      <a:pt x="236" y="88"/>
                    </a:lnTo>
                    <a:lnTo>
                      <a:pt x="248" y="92"/>
                    </a:lnTo>
                    <a:lnTo>
                      <a:pt x="254" y="90"/>
                    </a:lnTo>
                    <a:lnTo>
                      <a:pt x="264" y="92"/>
                    </a:lnTo>
                    <a:lnTo>
                      <a:pt x="268" y="88"/>
                    </a:lnTo>
                    <a:lnTo>
                      <a:pt x="272" y="86"/>
                    </a:lnTo>
                    <a:lnTo>
                      <a:pt x="276" y="8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67" name="Freeform 23"/>
              <p:cNvSpPr>
                <a:spLocks/>
              </p:cNvSpPr>
              <p:nvPr/>
            </p:nvSpPr>
            <p:spPr bwMode="auto">
              <a:xfrm>
                <a:off x="4029676" y="4414838"/>
                <a:ext cx="474626" cy="225425"/>
              </a:xfrm>
              <a:custGeom>
                <a:avLst/>
                <a:gdLst>
                  <a:gd name="T0" fmla="*/ 270 w 276"/>
                  <a:gd name="T1" fmla="*/ 114 h 142"/>
                  <a:gd name="T2" fmla="*/ 272 w 276"/>
                  <a:gd name="T3" fmla="*/ 122 h 142"/>
                  <a:gd name="T4" fmla="*/ 270 w 276"/>
                  <a:gd name="T5" fmla="*/ 138 h 142"/>
                  <a:gd name="T6" fmla="*/ 256 w 276"/>
                  <a:gd name="T7" fmla="*/ 142 h 142"/>
                  <a:gd name="T8" fmla="*/ 236 w 276"/>
                  <a:gd name="T9" fmla="*/ 140 h 142"/>
                  <a:gd name="T10" fmla="*/ 164 w 276"/>
                  <a:gd name="T11" fmla="*/ 128 h 142"/>
                  <a:gd name="T12" fmla="*/ 142 w 276"/>
                  <a:gd name="T13" fmla="*/ 110 h 142"/>
                  <a:gd name="T14" fmla="*/ 112 w 276"/>
                  <a:gd name="T15" fmla="*/ 106 h 142"/>
                  <a:gd name="T16" fmla="*/ 84 w 276"/>
                  <a:gd name="T17" fmla="*/ 98 h 142"/>
                  <a:gd name="T18" fmla="*/ 70 w 276"/>
                  <a:gd name="T19" fmla="*/ 92 h 142"/>
                  <a:gd name="T20" fmla="*/ 46 w 276"/>
                  <a:gd name="T21" fmla="*/ 82 h 142"/>
                  <a:gd name="T22" fmla="*/ 28 w 276"/>
                  <a:gd name="T23" fmla="*/ 64 h 142"/>
                  <a:gd name="T24" fmla="*/ 16 w 276"/>
                  <a:gd name="T25" fmla="*/ 62 h 142"/>
                  <a:gd name="T26" fmla="*/ 10 w 276"/>
                  <a:gd name="T27" fmla="*/ 56 h 142"/>
                  <a:gd name="T28" fmla="*/ 0 w 276"/>
                  <a:gd name="T29" fmla="*/ 50 h 142"/>
                  <a:gd name="T30" fmla="*/ 8 w 276"/>
                  <a:gd name="T31" fmla="*/ 42 h 142"/>
                  <a:gd name="T32" fmla="*/ 10 w 276"/>
                  <a:gd name="T33" fmla="*/ 30 h 142"/>
                  <a:gd name="T34" fmla="*/ 14 w 276"/>
                  <a:gd name="T35" fmla="*/ 20 h 142"/>
                  <a:gd name="T36" fmla="*/ 20 w 276"/>
                  <a:gd name="T37" fmla="*/ 14 h 142"/>
                  <a:gd name="T38" fmla="*/ 30 w 276"/>
                  <a:gd name="T39" fmla="*/ 6 h 142"/>
                  <a:gd name="T40" fmla="*/ 34 w 276"/>
                  <a:gd name="T41" fmla="*/ 2 h 142"/>
                  <a:gd name="T42" fmla="*/ 42 w 276"/>
                  <a:gd name="T43" fmla="*/ 6 h 142"/>
                  <a:gd name="T44" fmla="*/ 46 w 276"/>
                  <a:gd name="T45" fmla="*/ 6 h 142"/>
                  <a:gd name="T46" fmla="*/ 50 w 276"/>
                  <a:gd name="T47" fmla="*/ 0 h 142"/>
                  <a:gd name="T48" fmla="*/ 62 w 276"/>
                  <a:gd name="T49" fmla="*/ 2 h 142"/>
                  <a:gd name="T50" fmla="*/ 104 w 276"/>
                  <a:gd name="T51" fmla="*/ 22 h 142"/>
                  <a:gd name="T52" fmla="*/ 118 w 276"/>
                  <a:gd name="T53" fmla="*/ 46 h 142"/>
                  <a:gd name="T54" fmla="*/ 128 w 276"/>
                  <a:gd name="T55" fmla="*/ 44 h 142"/>
                  <a:gd name="T56" fmla="*/ 134 w 276"/>
                  <a:gd name="T57" fmla="*/ 38 h 142"/>
                  <a:gd name="T58" fmla="*/ 144 w 276"/>
                  <a:gd name="T59" fmla="*/ 40 h 142"/>
                  <a:gd name="T60" fmla="*/ 142 w 276"/>
                  <a:gd name="T61" fmla="*/ 48 h 142"/>
                  <a:gd name="T62" fmla="*/ 144 w 276"/>
                  <a:gd name="T63" fmla="*/ 56 h 142"/>
                  <a:gd name="T64" fmla="*/ 150 w 276"/>
                  <a:gd name="T65" fmla="*/ 60 h 142"/>
                  <a:gd name="T66" fmla="*/ 162 w 276"/>
                  <a:gd name="T67" fmla="*/ 64 h 142"/>
                  <a:gd name="T68" fmla="*/ 176 w 276"/>
                  <a:gd name="T69" fmla="*/ 62 h 142"/>
                  <a:gd name="T70" fmla="*/ 182 w 276"/>
                  <a:gd name="T71" fmla="*/ 78 h 142"/>
                  <a:gd name="T72" fmla="*/ 196 w 276"/>
                  <a:gd name="T73" fmla="*/ 82 h 142"/>
                  <a:gd name="T74" fmla="*/ 200 w 276"/>
                  <a:gd name="T75" fmla="*/ 88 h 142"/>
                  <a:gd name="T76" fmla="*/ 212 w 276"/>
                  <a:gd name="T77" fmla="*/ 88 h 142"/>
                  <a:gd name="T78" fmla="*/ 220 w 276"/>
                  <a:gd name="T79" fmla="*/ 88 h 142"/>
                  <a:gd name="T80" fmla="*/ 232 w 276"/>
                  <a:gd name="T81" fmla="*/ 84 h 142"/>
                  <a:gd name="T82" fmla="*/ 254 w 276"/>
                  <a:gd name="T83" fmla="*/ 90 h 142"/>
                  <a:gd name="T84" fmla="*/ 272 w 276"/>
                  <a:gd name="T85" fmla="*/ 8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6" h="142">
                    <a:moveTo>
                      <a:pt x="276" y="88"/>
                    </a:moveTo>
                    <a:lnTo>
                      <a:pt x="272" y="92"/>
                    </a:lnTo>
                    <a:lnTo>
                      <a:pt x="270" y="114"/>
                    </a:lnTo>
                    <a:lnTo>
                      <a:pt x="268" y="118"/>
                    </a:lnTo>
                    <a:lnTo>
                      <a:pt x="268" y="120"/>
                    </a:lnTo>
                    <a:lnTo>
                      <a:pt x="272" y="122"/>
                    </a:lnTo>
                    <a:lnTo>
                      <a:pt x="276" y="128"/>
                    </a:lnTo>
                    <a:lnTo>
                      <a:pt x="274" y="132"/>
                    </a:lnTo>
                    <a:lnTo>
                      <a:pt x="270" y="138"/>
                    </a:lnTo>
                    <a:lnTo>
                      <a:pt x="270" y="140"/>
                    </a:lnTo>
                    <a:lnTo>
                      <a:pt x="264" y="140"/>
                    </a:lnTo>
                    <a:lnTo>
                      <a:pt x="256" y="142"/>
                    </a:lnTo>
                    <a:lnTo>
                      <a:pt x="246" y="140"/>
                    </a:lnTo>
                    <a:lnTo>
                      <a:pt x="242" y="142"/>
                    </a:lnTo>
                    <a:lnTo>
                      <a:pt x="236" y="140"/>
                    </a:lnTo>
                    <a:lnTo>
                      <a:pt x="194" y="134"/>
                    </a:lnTo>
                    <a:lnTo>
                      <a:pt x="190" y="130"/>
                    </a:lnTo>
                    <a:lnTo>
                      <a:pt x="164" y="128"/>
                    </a:lnTo>
                    <a:lnTo>
                      <a:pt x="152" y="120"/>
                    </a:lnTo>
                    <a:lnTo>
                      <a:pt x="146" y="112"/>
                    </a:lnTo>
                    <a:lnTo>
                      <a:pt x="142" y="110"/>
                    </a:lnTo>
                    <a:lnTo>
                      <a:pt x="130" y="108"/>
                    </a:lnTo>
                    <a:lnTo>
                      <a:pt x="128" y="108"/>
                    </a:lnTo>
                    <a:lnTo>
                      <a:pt x="112" y="106"/>
                    </a:lnTo>
                    <a:lnTo>
                      <a:pt x="106" y="108"/>
                    </a:lnTo>
                    <a:lnTo>
                      <a:pt x="90" y="106"/>
                    </a:lnTo>
                    <a:lnTo>
                      <a:pt x="84" y="98"/>
                    </a:lnTo>
                    <a:lnTo>
                      <a:pt x="82" y="96"/>
                    </a:lnTo>
                    <a:lnTo>
                      <a:pt x="74" y="96"/>
                    </a:lnTo>
                    <a:lnTo>
                      <a:pt x="70" y="92"/>
                    </a:lnTo>
                    <a:lnTo>
                      <a:pt x="62" y="88"/>
                    </a:lnTo>
                    <a:lnTo>
                      <a:pt x="56" y="88"/>
                    </a:lnTo>
                    <a:lnTo>
                      <a:pt x="46" y="82"/>
                    </a:lnTo>
                    <a:lnTo>
                      <a:pt x="40" y="74"/>
                    </a:lnTo>
                    <a:lnTo>
                      <a:pt x="30" y="68"/>
                    </a:lnTo>
                    <a:lnTo>
                      <a:pt x="28" y="64"/>
                    </a:lnTo>
                    <a:lnTo>
                      <a:pt x="20" y="60"/>
                    </a:lnTo>
                    <a:lnTo>
                      <a:pt x="18" y="60"/>
                    </a:lnTo>
                    <a:lnTo>
                      <a:pt x="16" y="62"/>
                    </a:lnTo>
                    <a:lnTo>
                      <a:pt x="14" y="62"/>
                    </a:lnTo>
                    <a:lnTo>
                      <a:pt x="12" y="60"/>
                    </a:lnTo>
                    <a:lnTo>
                      <a:pt x="10" y="56"/>
                    </a:lnTo>
                    <a:lnTo>
                      <a:pt x="8" y="54"/>
                    </a:lnTo>
                    <a:lnTo>
                      <a:pt x="0" y="52"/>
                    </a:lnTo>
                    <a:lnTo>
                      <a:pt x="0" y="50"/>
                    </a:lnTo>
                    <a:lnTo>
                      <a:pt x="2" y="46"/>
                    </a:lnTo>
                    <a:lnTo>
                      <a:pt x="4" y="42"/>
                    </a:lnTo>
                    <a:lnTo>
                      <a:pt x="8" y="42"/>
                    </a:lnTo>
                    <a:lnTo>
                      <a:pt x="8" y="38"/>
                    </a:lnTo>
                    <a:lnTo>
                      <a:pt x="10" y="36"/>
                    </a:lnTo>
                    <a:lnTo>
                      <a:pt x="10" y="30"/>
                    </a:lnTo>
                    <a:lnTo>
                      <a:pt x="12" y="26"/>
                    </a:lnTo>
                    <a:lnTo>
                      <a:pt x="14" y="24"/>
                    </a:lnTo>
                    <a:lnTo>
                      <a:pt x="14" y="20"/>
                    </a:lnTo>
                    <a:lnTo>
                      <a:pt x="14" y="18"/>
                    </a:lnTo>
                    <a:lnTo>
                      <a:pt x="16" y="14"/>
                    </a:lnTo>
                    <a:lnTo>
                      <a:pt x="20" y="14"/>
                    </a:lnTo>
                    <a:lnTo>
                      <a:pt x="22" y="10"/>
                    </a:lnTo>
                    <a:lnTo>
                      <a:pt x="28" y="8"/>
                    </a:lnTo>
                    <a:lnTo>
                      <a:pt x="30" y="6"/>
                    </a:lnTo>
                    <a:lnTo>
                      <a:pt x="32" y="2"/>
                    </a:lnTo>
                    <a:lnTo>
                      <a:pt x="32" y="2"/>
                    </a:lnTo>
                    <a:lnTo>
                      <a:pt x="34" y="2"/>
                    </a:lnTo>
                    <a:lnTo>
                      <a:pt x="38" y="2"/>
                    </a:lnTo>
                    <a:lnTo>
                      <a:pt x="40" y="2"/>
                    </a:lnTo>
                    <a:lnTo>
                      <a:pt x="42" y="6"/>
                    </a:lnTo>
                    <a:lnTo>
                      <a:pt x="46" y="10"/>
                    </a:lnTo>
                    <a:lnTo>
                      <a:pt x="46" y="8"/>
                    </a:lnTo>
                    <a:lnTo>
                      <a:pt x="46" y="6"/>
                    </a:lnTo>
                    <a:lnTo>
                      <a:pt x="48" y="4"/>
                    </a:lnTo>
                    <a:lnTo>
                      <a:pt x="48" y="2"/>
                    </a:lnTo>
                    <a:lnTo>
                      <a:pt x="50" y="0"/>
                    </a:lnTo>
                    <a:lnTo>
                      <a:pt x="50" y="0"/>
                    </a:lnTo>
                    <a:lnTo>
                      <a:pt x="60" y="2"/>
                    </a:lnTo>
                    <a:lnTo>
                      <a:pt x="62" y="2"/>
                    </a:lnTo>
                    <a:lnTo>
                      <a:pt x="88" y="10"/>
                    </a:lnTo>
                    <a:lnTo>
                      <a:pt x="96" y="20"/>
                    </a:lnTo>
                    <a:lnTo>
                      <a:pt x="104" y="22"/>
                    </a:lnTo>
                    <a:lnTo>
                      <a:pt x="114" y="34"/>
                    </a:lnTo>
                    <a:lnTo>
                      <a:pt x="116" y="42"/>
                    </a:lnTo>
                    <a:lnTo>
                      <a:pt x="118" y="46"/>
                    </a:lnTo>
                    <a:lnTo>
                      <a:pt x="124" y="46"/>
                    </a:lnTo>
                    <a:lnTo>
                      <a:pt x="126" y="44"/>
                    </a:lnTo>
                    <a:lnTo>
                      <a:pt x="128" y="44"/>
                    </a:lnTo>
                    <a:lnTo>
                      <a:pt x="130" y="42"/>
                    </a:lnTo>
                    <a:lnTo>
                      <a:pt x="132" y="40"/>
                    </a:lnTo>
                    <a:lnTo>
                      <a:pt x="134" y="38"/>
                    </a:lnTo>
                    <a:lnTo>
                      <a:pt x="136" y="38"/>
                    </a:lnTo>
                    <a:lnTo>
                      <a:pt x="140" y="38"/>
                    </a:lnTo>
                    <a:lnTo>
                      <a:pt x="144" y="40"/>
                    </a:lnTo>
                    <a:lnTo>
                      <a:pt x="144" y="40"/>
                    </a:lnTo>
                    <a:lnTo>
                      <a:pt x="142" y="44"/>
                    </a:lnTo>
                    <a:lnTo>
                      <a:pt x="142" y="48"/>
                    </a:lnTo>
                    <a:lnTo>
                      <a:pt x="140" y="54"/>
                    </a:lnTo>
                    <a:lnTo>
                      <a:pt x="142" y="56"/>
                    </a:lnTo>
                    <a:lnTo>
                      <a:pt x="144" y="56"/>
                    </a:lnTo>
                    <a:lnTo>
                      <a:pt x="146" y="58"/>
                    </a:lnTo>
                    <a:lnTo>
                      <a:pt x="148" y="60"/>
                    </a:lnTo>
                    <a:lnTo>
                      <a:pt x="150" y="60"/>
                    </a:lnTo>
                    <a:lnTo>
                      <a:pt x="154" y="62"/>
                    </a:lnTo>
                    <a:lnTo>
                      <a:pt x="158" y="62"/>
                    </a:lnTo>
                    <a:lnTo>
                      <a:pt x="162" y="64"/>
                    </a:lnTo>
                    <a:lnTo>
                      <a:pt x="170" y="64"/>
                    </a:lnTo>
                    <a:lnTo>
                      <a:pt x="174" y="62"/>
                    </a:lnTo>
                    <a:lnTo>
                      <a:pt x="176" y="62"/>
                    </a:lnTo>
                    <a:lnTo>
                      <a:pt x="174" y="70"/>
                    </a:lnTo>
                    <a:lnTo>
                      <a:pt x="174" y="72"/>
                    </a:lnTo>
                    <a:lnTo>
                      <a:pt x="182" y="78"/>
                    </a:lnTo>
                    <a:lnTo>
                      <a:pt x="188" y="76"/>
                    </a:lnTo>
                    <a:lnTo>
                      <a:pt x="192" y="78"/>
                    </a:lnTo>
                    <a:lnTo>
                      <a:pt x="196" y="82"/>
                    </a:lnTo>
                    <a:lnTo>
                      <a:pt x="196" y="84"/>
                    </a:lnTo>
                    <a:lnTo>
                      <a:pt x="198" y="86"/>
                    </a:lnTo>
                    <a:lnTo>
                      <a:pt x="200" y="88"/>
                    </a:lnTo>
                    <a:lnTo>
                      <a:pt x="204" y="88"/>
                    </a:lnTo>
                    <a:lnTo>
                      <a:pt x="208" y="86"/>
                    </a:lnTo>
                    <a:lnTo>
                      <a:pt x="212" y="88"/>
                    </a:lnTo>
                    <a:lnTo>
                      <a:pt x="214" y="88"/>
                    </a:lnTo>
                    <a:lnTo>
                      <a:pt x="218" y="88"/>
                    </a:lnTo>
                    <a:lnTo>
                      <a:pt x="220" y="88"/>
                    </a:lnTo>
                    <a:lnTo>
                      <a:pt x="222" y="84"/>
                    </a:lnTo>
                    <a:lnTo>
                      <a:pt x="226" y="84"/>
                    </a:lnTo>
                    <a:lnTo>
                      <a:pt x="232" y="84"/>
                    </a:lnTo>
                    <a:lnTo>
                      <a:pt x="236" y="88"/>
                    </a:lnTo>
                    <a:lnTo>
                      <a:pt x="248" y="92"/>
                    </a:lnTo>
                    <a:lnTo>
                      <a:pt x="254" y="90"/>
                    </a:lnTo>
                    <a:lnTo>
                      <a:pt x="264" y="92"/>
                    </a:lnTo>
                    <a:lnTo>
                      <a:pt x="268" y="88"/>
                    </a:lnTo>
                    <a:lnTo>
                      <a:pt x="272" y="86"/>
                    </a:lnTo>
                    <a:lnTo>
                      <a:pt x="276" y="8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68" name="Freeform 24"/>
              <p:cNvSpPr>
                <a:spLocks/>
              </p:cNvSpPr>
              <p:nvPr/>
            </p:nvSpPr>
            <p:spPr bwMode="auto">
              <a:xfrm>
                <a:off x="4483666" y="4630738"/>
                <a:ext cx="299221" cy="311150"/>
              </a:xfrm>
              <a:custGeom>
                <a:avLst/>
                <a:gdLst>
                  <a:gd name="T0" fmla="*/ 160 w 174"/>
                  <a:gd name="T1" fmla="*/ 196 h 196"/>
                  <a:gd name="T2" fmla="*/ 134 w 174"/>
                  <a:gd name="T3" fmla="*/ 130 h 196"/>
                  <a:gd name="T4" fmla="*/ 114 w 174"/>
                  <a:gd name="T5" fmla="*/ 132 h 196"/>
                  <a:gd name="T6" fmla="*/ 106 w 174"/>
                  <a:gd name="T7" fmla="*/ 124 h 196"/>
                  <a:gd name="T8" fmla="*/ 100 w 174"/>
                  <a:gd name="T9" fmla="*/ 132 h 196"/>
                  <a:gd name="T10" fmla="*/ 98 w 174"/>
                  <a:gd name="T11" fmla="*/ 150 h 196"/>
                  <a:gd name="T12" fmla="*/ 82 w 174"/>
                  <a:gd name="T13" fmla="*/ 164 h 196"/>
                  <a:gd name="T14" fmla="*/ 72 w 174"/>
                  <a:gd name="T15" fmla="*/ 160 h 196"/>
                  <a:gd name="T16" fmla="*/ 64 w 174"/>
                  <a:gd name="T17" fmla="*/ 170 h 196"/>
                  <a:gd name="T18" fmla="*/ 58 w 174"/>
                  <a:gd name="T19" fmla="*/ 168 h 196"/>
                  <a:gd name="T20" fmla="*/ 50 w 174"/>
                  <a:gd name="T21" fmla="*/ 170 h 196"/>
                  <a:gd name="T22" fmla="*/ 46 w 174"/>
                  <a:gd name="T23" fmla="*/ 170 h 196"/>
                  <a:gd name="T24" fmla="*/ 40 w 174"/>
                  <a:gd name="T25" fmla="*/ 174 h 196"/>
                  <a:gd name="T26" fmla="*/ 32 w 174"/>
                  <a:gd name="T27" fmla="*/ 166 h 196"/>
                  <a:gd name="T28" fmla="*/ 32 w 174"/>
                  <a:gd name="T29" fmla="*/ 160 h 196"/>
                  <a:gd name="T30" fmla="*/ 26 w 174"/>
                  <a:gd name="T31" fmla="*/ 140 h 196"/>
                  <a:gd name="T32" fmla="*/ 26 w 174"/>
                  <a:gd name="T33" fmla="*/ 128 h 196"/>
                  <a:gd name="T34" fmla="*/ 28 w 174"/>
                  <a:gd name="T35" fmla="*/ 118 h 196"/>
                  <a:gd name="T36" fmla="*/ 24 w 174"/>
                  <a:gd name="T37" fmla="*/ 114 h 196"/>
                  <a:gd name="T38" fmla="*/ 20 w 174"/>
                  <a:gd name="T39" fmla="*/ 102 h 196"/>
                  <a:gd name="T40" fmla="*/ 14 w 174"/>
                  <a:gd name="T41" fmla="*/ 70 h 196"/>
                  <a:gd name="T42" fmla="*/ 0 w 174"/>
                  <a:gd name="T43" fmla="*/ 60 h 196"/>
                  <a:gd name="T44" fmla="*/ 10 w 174"/>
                  <a:gd name="T45" fmla="*/ 52 h 196"/>
                  <a:gd name="T46" fmla="*/ 16 w 174"/>
                  <a:gd name="T47" fmla="*/ 46 h 196"/>
                  <a:gd name="T48" fmla="*/ 28 w 174"/>
                  <a:gd name="T49" fmla="*/ 38 h 196"/>
                  <a:gd name="T50" fmla="*/ 26 w 174"/>
                  <a:gd name="T51" fmla="*/ 34 h 196"/>
                  <a:gd name="T52" fmla="*/ 12 w 174"/>
                  <a:gd name="T53" fmla="*/ 32 h 196"/>
                  <a:gd name="T54" fmla="*/ 8 w 174"/>
                  <a:gd name="T55" fmla="*/ 22 h 196"/>
                  <a:gd name="T56" fmla="*/ 20 w 174"/>
                  <a:gd name="T57" fmla="*/ 2 h 196"/>
                  <a:gd name="T58" fmla="*/ 32 w 174"/>
                  <a:gd name="T59" fmla="*/ 14 h 196"/>
                  <a:gd name="T60" fmla="*/ 40 w 174"/>
                  <a:gd name="T61" fmla="*/ 2 h 196"/>
                  <a:gd name="T62" fmla="*/ 46 w 174"/>
                  <a:gd name="T63" fmla="*/ 16 h 196"/>
                  <a:gd name="T64" fmla="*/ 54 w 174"/>
                  <a:gd name="T65" fmla="*/ 18 h 196"/>
                  <a:gd name="T66" fmla="*/ 62 w 174"/>
                  <a:gd name="T67" fmla="*/ 12 h 196"/>
                  <a:gd name="T68" fmla="*/ 70 w 174"/>
                  <a:gd name="T69" fmla="*/ 38 h 196"/>
                  <a:gd name="T70" fmla="*/ 106 w 174"/>
                  <a:gd name="T71" fmla="*/ 42 h 196"/>
                  <a:gd name="T72" fmla="*/ 158 w 174"/>
                  <a:gd name="T73" fmla="*/ 44 h 196"/>
                  <a:gd name="T74" fmla="*/ 150 w 174"/>
                  <a:gd name="T75" fmla="*/ 50 h 196"/>
                  <a:gd name="T76" fmla="*/ 116 w 174"/>
                  <a:gd name="T77" fmla="*/ 84 h 196"/>
                  <a:gd name="T78" fmla="*/ 120 w 174"/>
                  <a:gd name="T79" fmla="*/ 110 h 196"/>
                  <a:gd name="T80" fmla="*/ 132 w 174"/>
                  <a:gd name="T81" fmla="*/ 116 h 196"/>
                  <a:gd name="T82" fmla="*/ 144 w 174"/>
                  <a:gd name="T83" fmla="*/ 100 h 196"/>
                  <a:gd name="T84" fmla="*/ 154 w 174"/>
                  <a:gd name="T85" fmla="*/ 92 h 196"/>
                  <a:gd name="T86" fmla="*/ 172 w 174"/>
                  <a:gd name="T87" fmla="*/ 158 h 196"/>
                  <a:gd name="T88" fmla="*/ 166 w 174"/>
                  <a:gd name="T89" fmla="*/ 176 h 196"/>
                  <a:gd name="T90" fmla="*/ 162 w 174"/>
                  <a:gd name="T91" fmla="*/ 19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196">
                    <a:moveTo>
                      <a:pt x="162" y="194"/>
                    </a:moveTo>
                    <a:lnTo>
                      <a:pt x="160" y="196"/>
                    </a:lnTo>
                    <a:lnTo>
                      <a:pt x="146" y="146"/>
                    </a:lnTo>
                    <a:lnTo>
                      <a:pt x="134" y="130"/>
                    </a:lnTo>
                    <a:lnTo>
                      <a:pt x="130" y="128"/>
                    </a:lnTo>
                    <a:lnTo>
                      <a:pt x="114" y="132"/>
                    </a:lnTo>
                    <a:lnTo>
                      <a:pt x="110" y="130"/>
                    </a:lnTo>
                    <a:lnTo>
                      <a:pt x="106" y="124"/>
                    </a:lnTo>
                    <a:lnTo>
                      <a:pt x="102" y="126"/>
                    </a:lnTo>
                    <a:lnTo>
                      <a:pt x="100" y="132"/>
                    </a:lnTo>
                    <a:lnTo>
                      <a:pt x="96" y="136"/>
                    </a:lnTo>
                    <a:lnTo>
                      <a:pt x="98" y="150"/>
                    </a:lnTo>
                    <a:lnTo>
                      <a:pt x="84" y="166"/>
                    </a:lnTo>
                    <a:lnTo>
                      <a:pt x="82" y="164"/>
                    </a:lnTo>
                    <a:lnTo>
                      <a:pt x="74" y="156"/>
                    </a:lnTo>
                    <a:lnTo>
                      <a:pt x="72" y="160"/>
                    </a:lnTo>
                    <a:lnTo>
                      <a:pt x="70" y="164"/>
                    </a:lnTo>
                    <a:lnTo>
                      <a:pt x="64" y="170"/>
                    </a:lnTo>
                    <a:lnTo>
                      <a:pt x="62" y="164"/>
                    </a:lnTo>
                    <a:lnTo>
                      <a:pt x="58" y="168"/>
                    </a:lnTo>
                    <a:lnTo>
                      <a:pt x="50" y="168"/>
                    </a:lnTo>
                    <a:lnTo>
                      <a:pt x="50" y="170"/>
                    </a:lnTo>
                    <a:lnTo>
                      <a:pt x="48" y="170"/>
                    </a:lnTo>
                    <a:lnTo>
                      <a:pt x="46" y="170"/>
                    </a:lnTo>
                    <a:lnTo>
                      <a:pt x="44" y="172"/>
                    </a:lnTo>
                    <a:lnTo>
                      <a:pt x="40" y="174"/>
                    </a:lnTo>
                    <a:lnTo>
                      <a:pt x="36" y="174"/>
                    </a:lnTo>
                    <a:lnTo>
                      <a:pt x="32" y="166"/>
                    </a:lnTo>
                    <a:lnTo>
                      <a:pt x="32" y="162"/>
                    </a:lnTo>
                    <a:lnTo>
                      <a:pt x="32" y="160"/>
                    </a:lnTo>
                    <a:lnTo>
                      <a:pt x="30" y="142"/>
                    </a:lnTo>
                    <a:lnTo>
                      <a:pt x="26" y="140"/>
                    </a:lnTo>
                    <a:lnTo>
                      <a:pt x="26" y="134"/>
                    </a:lnTo>
                    <a:lnTo>
                      <a:pt x="26" y="128"/>
                    </a:lnTo>
                    <a:lnTo>
                      <a:pt x="26" y="128"/>
                    </a:lnTo>
                    <a:lnTo>
                      <a:pt x="28" y="118"/>
                    </a:lnTo>
                    <a:lnTo>
                      <a:pt x="26" y="116"/>
                    </a:lnTo>
                    <a:lnTo>
                      <a:pt x="24" y="114"/>
                    </a:lnTo>
                    <a:lnTo>
                      <a:pt x="24" y="106"/>
                    </a:lnTo>
                    <a:lnTo>
                      <a:pt x="20" y="102"/>
                    </a:lnTo>
                    <a:lnTo>
                      <a:pt x="24" y="78"/>
                    </a:lnTo>
                    <a:lnTo>
                      <a:pt x="14" y="70"/>
                    </a:lnTo>
                    <a:lnTo>
                      <a:pt x="2" y="64"/>
                    </a:lnTo>
                    <a:lnTo>
                      <a:pt x="0" y="60"/>
                    </a:lnTo>
                    <a:lnTo>
                      <a:pt x="4" y="52"/>
                    </a:lnTo>
                    <a:lnTo>
                      <a:pt x="10" y="52"/>
                    </a:lnTo>
                    <a:lnTo>
                      <a:pt x="14" y="50"/>
                    </a:lnTo>
                    <a:lnTo>
                      <a:pt x="16" y="46"/>
                    </a:lnTo>
                    <a:lnTo>
                      <a:pt x="28" y="44"/>
                    </a:lnTo>
                    <a:lnTo>
                      <a:pt x="28" y="38"/>
                    </a:lnTo>
                    <a:lnTo>
                      <a:pt x="26" y="38"/>
                    </a:lnTo>
                    <a:lnTo>
                      <a:pt x="26" y="34"/>
                    </a:lnTo>
                    <a:lnTo>
                      <a:pt x="16" y="36"/>
                    </a:lnTo>
                    <a:lnTo>
                      <a:pt x="12" y="32"/>
                    </a:lnTo>
                    <a:lnTo>
                      <a:pt x="10" y="24"/>
                    </a:lnTo>
                    <a:lnTo>
                      <a:pt x="8" y="22"/>
                    </a:lnTo>
                    <a:lnTo>
                      <a:pt x="18" y="8"/>
                    </a:lnTo>
                    <a:lnTo>
                      <a:pt x="20" y="2"/>
                    </a:lnTo>
                    <a:lnTo>
                      <a:pt x="22" y="0"/>
                    </a:lnTo>
                    <a:lnTo>
                      <a:pt x="32" y="14"/>
                    </a:lnTo>
                    <a:lnTo>
                      <a:pt x="36" y="2"/>
                    </a:lnTo>
                    <a:lnTo>
                      <a:pt x="40" y="2"/>
                    </a:lnTo>
                    <a:lnTo>
                      <a:pt x="40" y="12"/>
                    </a:lnTo>
                    <a:lnTo>
                      <a:pt x="46" y="16"/>
                    </a:lnTo>
                    <a:lnTo>
                      <a:pt x="50" y="14"/>
                    </a:lnTo>
                    <a:lnTo>
                      <a:pt x="54" y="18"/>
                    </a:lnTo>
                    <a:lnTo>
                      <a:pt x="60" y="8"/>
                    </a:lnTo>
                    <a:lnTo>
                      <a:pt x="62" y="12"/>
                    </a:lnTo>
                    <a:lnTo>
                      <a:pt x="66" y="34"/>
                    </a:lnTo>
                    <a:lnTo>
                      <a:pt x="70" y="38"/>
                    </a:lnTo>
                    <a:lnTo>
                      <a:pt x="78" y="42"/>
                    </a:lnTo>
                    <a:lnTo>
                      <a:pt x="106" y="42"/>
                    </a:lnTo>
                    <a:lnTo>
                      <a:pt x="108" y="40"/>
                    </a:lnTo>
                    <a:lnTo>
                      <a:pt x="158" y="44"/>
                    </a:lnTo>
                    <a:lnTo>
                      <a:pt x="158" y="46"/>
                    </a:lnTo>
                    <a:lnTo>
                      <a:pt x="150" y="50"/>
                    </a:lnTo>
                    <a:lnTo>
                      <a:pt x="148" y="58"/>
                    </a:lnTo>
                    <a:lnTo>
                      <a:pt x="116" y="84"/>
                    </a:lnTo>
                    <a:lnTo>
                      <a:pt x="116" y="88"/>
                    </a:lnTo>
                    <a:lnTo>
                      <a:pt x="120" y="110"/>
                    </a:lnTo>
                    <a:lnTo>
                      <a:pt x="128" y="110"/>
                    </a:lnTo>
                    <a:lnTo>
                      <a:pt x="132" y="116"/>
                    </a:lnTo>
                    <a:lnTo>
                      <a:pt x="136" y="118"/>
                    </a:lnTo>
                    <a:lnTo>
                      <a:pt x="144" y="100"/>
                    </a:lnTo>
                    <a:lnTo>
                      <a:pt x="150" y="92"/>
                    </a:lnTo>
                    <a:lnTo>
                      <a:pt x="154" y="92"/>
                    </a:lnTo>
                    <a:lnTo>
                      <a:pt x="174" y="156"/>
                    </a:lnTo>
                    <a:lnTo>
                      <a:pt x="172" y="158"/>
                    </a:lnTo>
                    <a:lnTo>
                      <a:pt x="174" y="176"/>
                    </a:lnTo>
                    <a:lnTo>
                      <a:pt x="166" y="176"/>
                    </a:lnTo>
                    <a:lnTo>
                      <a:pt x="162" y="178"/>
                    </a:lnTo>
                    <a:lnTo>
                      <a:pt x="162" y="19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69" name="Freeform 25"/>
              <p:cNvSpPr>
                <a:spLocks/>
              </p:cNvSpPr>
              <p:nvPr/>
            </p:nvSpPr>
            <p:spPr bwMode="auto">
              <a:xfrm>
                <a:off x="4483666" y="4630738"/>
                <a:ext cx="299221" cy="311150"/>
              </a:xfrm>
              <a:custGeom>
                <a:avLst/>
                <a:gdLst>
                  <a:gd name="T0" fmla="*/ 160 w 174"/>
                  <a:gd name="T1" fmla="*/ 196 h 196"/>
                  <a:gd name="T2" fmla="*/ 134 w 174"/>
                  <a:gd name="T3" fmla="*/ 130 h 196"/>
                  <a:gd name="T4" fmla="*/ 114 w 174"/>
                  <a:gd name="T5" fmla="*/ 132 h 196"/>
                  <a:gd name="T6" fmla="*/ 106 w 174"/>
                  <a:gd name="T7" fmla="*/ 124 h 196"/>
                  <a:gd name="T8" fmla="*/ 100 w 174"/>
                  <a:gd name="T9" fmla="*/ 132 h 196"/>
                  <a:gd name="T10" fmla="*/ 98 w 174"/>
                  <a:gd name="T11" fmla="*/ 150 h 196"/>
                  <a:gd name="T12" fmla="*/ 82 w 174"/>
                  <a:gd name="T13" fmla="*/ 164 h 196"/>
                  <a:gd name="T14" fmla="*/ 72 w 174"/>
                  <a:gd name="T15" fmla="*/ 160 h 196"/>
                  <a:gd name="T16" fmla="*/ 64 w 174"/>
                  <a:gd name="T17" fmla="*/ 170 h 196"/>
                  <a:gd name="T18" fmla="*/ 58 w 174"/>
                  <a:gd name="T19" fmla="*/ 168 h 196"/>
                  <a:gd name="T20" fmla="*/ 50 w 174"/>
                  <a:gd name="T21" fmla="*/ 170 h 196"/>
                  <a:gd name="T22" fmla="*/ 46 w 174"/>
                  <a:gd name="T23" fmla="*/ 170 h 196"/>
                  <a:gd name="T24" fmla="*/ 40 w 174"/>
                  <a:gd name="T25" fmla="*/ 174 h 196"/>
                  <a:gd name="T26" fmla="*/ 32 w 174"/>
                  <a:gd name="T27" fmla="*/ 166 h 196"/>
                  <a:gd name="T28" fmla="*/ 32 w 174"/>
                  <a:gd name="T29" fmla="*/ 160 h 196"/>
                  <a:gd name="T30" fmla="*/ 26 w 174"/>
                  <a:gd name="T31" fmla="*/ 140 h 196"/>
                  <a:gd name="T32" fmla="*/ 26 w 174"/>
                  <a:gd name="T33" fmla="*/ 128 h 196"/>
                  <a:gd name="T34" fmla="*/ 28 w 174"/>
                  <a:gd name="T35" fmla="*/ 118 h 196"/>
                  <a:gd name="T36" fmla="*/ 24 w 174"/>
                  <a:gd name="T37" fmla="*/ 114 h 196"/>
                  <a:gd name="T38" fmla="*/ 20 w 174"/>
                  <a:gd name="T39" fmla="*/ 102 h 196"/>
                  <a:gd name="T40" fmla="*/ 14 w 174"/>
                  <a:gd name="T41" fmla="*/ 70 h 196"/>
                  <a:gd name="T42" fmla="*/ 0 w 174"/>
                  <a:gd name="T43" fmla="*/ 60 h 196"/>
                  <a:gd name="T44" fmla="*/ 10 w 174"/>
                  <a:gd name="T45" fmla="*/ 52 h 196"/>
                  <a:gd name="T46" fmla="*/ 16 w 174"/>
                  <a:gd name="T47" fmla="*/ 46 h 196"/>
                  <a:gd name="T48" fmla="*/ 28 w 174"/>
                  <a:gd name="T49" fmla="*/ 38 h 196"/>
                  <a:gd name="T50" fmla="*/ 26 w 174"/>
                  <a:gd name="T51" fmla="*/ 34 h 196"/>
                  <a:gd name="T52" fmla="*/ 12 w 174"/>
                  <a:gd name="T53" fmla="*/ 32 h 196"/>
                  <a:gd name="T54" fmla="*/ 8 w 174"/>
                  <a:gd name="T55" fmla="*/ 22 h 196"/>
                  <a:gd name="T56" fmla="*/ 20 w 174"/>
                  <a:gd name="T57" fmla="*/ 2 h 196"/>
                  <a:gd name="T58" fmla="*/ 32 w 174"/>
                  <a:gd name="T59" fmla="*/ 14 h 196"/>
                  <a:gd name="T60" fmla="*/ 40 w 174"/>
                  <a:gd name="T61" fmla="*/ 2 h 196"/>
                  <a:gd name="T62" fmla="*/ 46 w 174"/>
                  <a:gd name="T63" fmla="*/ 16 h 196"/>
                  <a:gd name="T64" fmla="*/ 54 w 174"/>
                  <a:gd name="T65" fmla="*/ 18 h 196"/>
                  <a:gd name="T66" fmla="*/ 62 w 174"/>
                  <a:gd name="T67" fmla="*/ 12 h 196"/>
                  <a:gd name="T68" fmla="*/ 70 w 174"/>
                  <a:gd name="T69" fmla="*/ 38 h 196"/>
                  <a:gd name="T70" fmla="*/ 106 w 174"/>
                  <a:gd name="T71" fmla="*/ 42 h 196"/>
                  <a:gd name="T72" fmla="*/ 158 w 174"/>
                  <a:gd name="T73" fmla="*/ 44 h 196"/>
                  <a:gd name="T74" fmla="*/ 150 w 174"/>
                  <a:gd name="T75" fmla="*/ 50 h 196"/>
                  <a:gd name="T76" fmla="*/ 116 w 174"/>
                  <a:gd name="T77" fmla="*/ 84 h 196"/>
                  <a:gd name="T78" fmla="*/ 120 w 174"/>
                  <a:gd name="T79" fmla="*/ 110 h 196"/>
                  <a:gd name="T80" fmla="*/ 132 w 174"/>
                  <a:gd name="T81" fmla="*/ 116 h 196"/>
                  <a:gd name="T82" fmla="*/ 144 w 174"/>
                  <a:gd name="T83" fmla="*/ 100 h 196"/>
                  <a:gd name="T84" fmla="*/ 154 w 174"/>
                  <a:gd name="T85" fmla="*/ 92 h 196"/>
                  <a:gd name="T86" fmla="*/ 172 w 174"/>
                  <a:gd name="T87" fmla="*/ 158 h 196"/>
                  <a:gd name="T88" fmla="*/ 166 w 174"/>
                  <a:gd name="T89" fmla="*/ 176 h 196"/>
                  <a:gd name="T90" fmla="*/ 162 w 174"/>
                  <a:gd name="T91" fmla="*/ 19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196">
                    <a:moveTo>
                      <a:pt x="162" y="194"/>
                    </a:moveTo>
                    <a:lnTo>
                      <a:pt x="160" y="196"/>
                    </a:lnTo>
                    <a:lnTo>
                      <a:pt x="146" y="146"/>
                    </a:lnTo>
                    <a:lnTo>
                      <a:pt x="134" y="130"/>
                    </a:lnTo>
                    <a:lnTo>
                      <a:pt x="130" y="128"/>
                    </a:lnTo>
                    <a:lnTo>
                      <a:pt x="114" y="132"/>
                    </a:lnTo>
                    <a:lnTo>
                      <a:pt x="110" y="130"/>
                    </a:lnTo>
                    <a:lnTo>
                      <a:pt x="106" y="124"/>
                    </a:lnTo>
                    <a:lnTo>
                      <a:pt x="102" y="126"/>
                    </a:lnTo>
                    <a:lnTo>
                      <a:pt x="100" y="132"/>
                    </a:lnTo>
                    <a:lnTo>
                      <a:pt x="96" y="136"/>
                    </a:lnTo>
                    <a:lnTo>
                      <a:pt x="98" y="150"/>
                    </a:lnTo>
                    <a:lnTo>
                      <a:pt x="84" y="166"/>
                    </a:lnTo>
                    <a:lnTo>
                      <a:pt x="82" y="164"/>
                    </a:lnTo>
                    <a:lnTo>
                      <a:pt x="74" y="156"/>
                    </a:lnTo>
                    <a:lnTo>
                      <a:pt x="72" y="160"/>
                    </a:lnTo>
                    <a:lnTo>
                      <a:pt x="70" y="164"/>
                    </a:lnTo>
                    <a:lnTo>
                      <a:pt x="64" y="170"/>
                    </a:lnTo>
                    <a:lnTo>
                      <a:pt x="62" y="164"/>
                    </a:lnTo>
                    <a:lnTo>
                      <a:pt x="58" y="168"/>
                    </a:lnTo>
                    <a:lnTo>
                      <a:pt x="50" y="168"/>
                    </a:lnTo>
                    <a:lnTo>
                      <a:pt x="50" y="170"/>
                    </a:lnTo>
                    <a:lnTo>
                      <a:pt x="48" y="170"/>
                    </a:lnTo>
                    <a:lnTo>
                      <a:pt x="46" y="170"/>
                    </a:lnTo>
                    <a:lnTo>
                      <a:pt x="44" y="172"/>
                    </a:lnTo>
                    <a:lnTo>
                      <a:pt x="40" y="174"/>
                    </a:lnTo>
                    <a:lnTo>
                      <a:pt x="36" y="174"/>
                    </a:lnTo>
                    <a:lnTo>
                      <a:pt x="32" y="166"/>
                    </a:lnTo>
                    <a:lnTo>
                      <a:pt x="32" y="162"/>
                    </a:lnTo>
                    <a:lnTo>
                      <a:pt x="32" y="160"/>
                    </a:lnTo>
                    <a:lnTo>
                      <a:pt x="30" y="142"/>
                    </a:lnTo>
                    <a:lnTo>
                      <a:pt x="26" y="140"/>
                    </a:lnTo>
                    <a:lnTo>
                      <a:pt x="26" y="134"/>
                    </a:lnTo>
                    <a:lnTo>
                      <a:pt x="26" y="128"/>
                    </a:lnTo>
                    <a:lnTo>
                      <a:pt x="26" y="128"/>
                    </a:lnTo>
                    <a:lnTo>
                      <a:pt x="28" y="118"/>
                    </a:lnTo>
                    <a:lnTo>
                      <a:pt x="26" y="116"/>
                    </a:lnTo>
                    <a:lnTo>
                      <a:pt x="24" y="114"/>
                    </a:lnTo>
                    <a:lnTo>
                      <a:pt x="24" y="106"/>
                    </a:lnTo>
                    <a:lnTo>
                      <a:pt x="20" y="102"/>
                    </a:lnTo>
                    <a:lnTo>
                      <a:pt x="24" y="78"/>
                    </a:lnTo>
                    <a:lnTo>
                      <a:pt x="14" y="70"/>
                    </a:lnTo>
                    <a:lnTo>
                      <a:pt x="2" y="64"/>
                    </a:lnTo>
                    <a:lnTo>
                      <a:pt x="0" y="60"/>
                    </a:lnTo>
                    <a:lnTo>
                      <a:pt x="4" y="52"/>
                    </a:lnTo>
                    <a:lnTo>
                      <a:pt x="10" y="52"/>
                    </a:lnTo>
                    <a:lnTo>
                      <a:pt x="14" y="50"/>
                    </a:lnTo>
                    <a:lnTo>
                      <a:pt x="16" y="46"/>
                    </a:lnTo>
                    <a:lnTo>
                      <a:pt x="28" y="44"/>
                    </a:lnTo>
                    <a:lnTo>
                      <a:pt x="28" y="38"/>
                    </a:lnTo>
                    <a:lnTo>
                      <a:pt x="26" y="38"/>
                    </a:lnTo>
                    <a:lnTo>
                      <a:pt x="26" y="34"/>
                    </a:lnTo>
                    <a:lnTo>
                      <a:pt x="16" y="36"/>
                    </a:lnTo>
                    <a:lnTo>
                      <a:pt x="12" y="32"/>
                    </a:lnTo>
                    <a:lnTo>
                      <a:pt x="10" y="24"/>
                    </a:lnTo>
                    <a:lnTo>
                      <a:pt x="8" y="22"/>
                    </a:lnTo>
                    <a:lnTo>
                      <a:pt x="18" y="8"/>
                    </a:lnTo>
                    <a:lnTo>
                      <a:pt x="20" y="2"/>
                    </a:lnTo>
                    <a:lnTo>
                      <a:pt x="22" y="0"/>
                    </a:lnTo>
                    <a:lnTo>
                      <a:pt x="32" y="14"/>
                    </a:lnTo>
                    <a:lnTo>
                      <a:pt x="36" y="2"/>
                    </a:lnTo>
                    <a:lnTo>
                      <a:pt x="40" y="2"/>
                    </a:lnTo>
                    <a:lnTo>
                      <a:pt x="40" y="12"/>
                    </a:lnTo>
                    <a:lnTo>
                      <a:pt x="46" y="16"/>
                    </a:lnTo>
                    <a:lnTo>
                      <a:pt x="50" y="14"/>
                    </a:lnTo>
                    <a:lnTo>
                      <a:pt x="54" y="18"/>
                    </a:lnTo>
                    <a:lnTo>
                      <a:pt x="60" y="8"/>
                    </a:lnTo>
                    <a:lnTo>
                      <a:pt x="62" y="12"/>
                    </a:lnTo>
                    <a:lnTo>
                      <a:pt x="66" y="34"/>
                    </a:lnTo>
                    <a:lnTo>
                      <a:pt x="70" y="38"/>
                    </a:lnTo>
                    <a:lnTo>
                      <a:pt x="78" y="42"/>
                    </a:lnTo>
                    <a:lnTo>
                      <a:pt x="106" y="42"/>
                    </a:lnTo>
                    <a:lnTo>
                      <a:pt x="108" y="40"/>
                    </a:lnTo>
                    <a:lnTo>
                      <a:pt x="158" y="44"/>
                    </a:lnTo>
                    <a:lnTo>
                      <a:pt x="158" y="46"/>
                    </a:lnTo>
                    <a:lnTo>
                      <a:pt x="150" y="50"/>
                    </a:lnTo>
                    <a:lnTo>
                      <a:pt x="148" y="58"/>
                    </a:lnTo>
                    <a:lnTo>
                      <a:pt x="116" y="84"/>
                    </a:lnTo>
                    <a:lnTo>
                      <a:pt x="116" y="88"/>
                    </a:lnTo>
                    <a:lnTo>
                      <a:pt x="120" y="110"/>
                    </a:lnTo>
                    <a:lnTo>
                      <a:pt x="128" y="110"/>
                    </a:lnTo>
                    <a:lnTo>
                      <a:pt x="132" y="116"/>
                    </a:lnTo>
                    <a:lnTo>
                      <a:pt x="136" y="118"/>
                    </a:lnTo>
                    <a:lnTo>
                      <a:pt x="144" y="100"/>
                    </a:lnTo>
                    <a:lnTo>
                      <a:pt x="150" y="92"/>
                    </a:lnTo>
                    <a:lnTo>
                      <a:pt x="154" y="92"/>
                    </a:lnTo>
                    <a:lnTo>
                      <a:pt x="174" y="156"/>
                    </a:lnTo>
                    <a:lnTo>
                      <a:pt x="172" y="158"/>
                    </a:lnTo>
                    <a:lnTo>
                      <a:pt x="174" y="176"/>
                    </a:lnTo>
                    <a:lnTo>
                      <a:pt x="166" y="176"/>
                    </a:lnTo>
                    <a:lnTo>
                      <a:pt x="162" y="178"/>
                    </a:lnTo>
                    <a:lnTo>
                      <a:pt x="162" y="19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70" name="Freeform 26"/>
              <p:cNvSpPr>
                <a:spLocks/>
              </p:cNvSpPr>
              <p:nvPr/>
            </p:nvSpPr>
            <p:spPr bwMode="auto">
              <a:xfrm>
                <a:off x="2375363" y="3471863"/>
                <a:ext cx="37833" cy="63500"/>
              </a:xfrm>
              <a:custGeom>
                <a:avLst/>
                <a:gdLst>
                  <a:gd name="T0" fmla="*/ 16 w 22"/>
                  <a:gd name="T1" fmla="*/ 40 h 40"/>
                  <a:gd name="T2" fmla="*/ 4 w 22"/>
                  <a:gd name="T3" fmla="*/ 32 h 40"/>
                  <a:gd name="T4" fmla="*/ 0 w 22"/>
                  <a:gd name="T5" fmla="*/ 0 h 40"/>
                  <a:gd name="T6" fmla="*/ 4 w 22"/>
                  <a:gd name="T7" fmla="*/ 2 h 40"/>
                  <a:gd name="T8" fmla="*/ 8 w 22"/>
                  <a:gd name="T9" fmla="*/ 4 h 40"/>
                  <a:gd name="T10" fmla="*/ 8 w 22"/>
                  <a:gd name="T11" fmla="*/ 8 h 40"/>
                  <a:gd name="T12" fmla="*/ 10 w 22"/>
                  <a:gd name="T13" fmla="*/ 12 h 40"/>
                  <a:gd name="T14" fmla="*/ 14 w 22"/>
                  <a:gd name="T15" fmla="*/ 14 h 40"/>
                  <a:gd name="T16" fmla="*/ 18 w 22"/>
                  <a:gd name="T17" fmla="*/ 14 h 40"/>
                  <a:gd name="T18" fmla="*/ 22 w 22"/>
                  <a:gd name="T19" fmla="*/ 18 h 40"/>
                  <a:gd name="T20" fmla="*/ 22 w 22"/>
                  <a:gd name="T21" fmla="*/ 30 h 40"/>
                  <a:gd name="T22" fmla="*/ 16 w 22"/>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40">
                    <a:moveTo>
                      <a:pt x="16" y="40"/>
                    </a:moveTo>
                    <a:lnTo>
                      <a:pt x="4" y="32"/>
                    </a:lnTo>
                    <a:lnTo>
                      <a:pt x="0" y="0"/>
                    </a:lnTo>
                    <a:lnTo>
                      <a:pt x="4" y="2"/>
                    </a:lnTo>
                    <a:lnTo>
                      <a:pt x="8" y="4"/>
                    </a:lnTo>
                    <a:lnTo>
                      <a:pt x="8" y="8"/>
                    </a:lnTo>
                    <a:lnTo>
                      <a:pt x="10" y="12"/>
                    </a:lnTo>
                    <a:lnTo>
                      <a:pt x="14" y="14"/>
                    </a:lnTo>
                    <a:lnTo>
                      <a:pt x="18" y="14"/>
                    </a:lnTo>
                    <a:lnTo>
                      <a:pt x="22" y="18"/>
                    </a:lnTo>
                    <a:lnTo>
                      <a:pt x="22" y="30"/>
                    </a:lnTo>
                    <a:lnTo>
                      <a:pt x="16" y="4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71" name="Freeform 27"/>
              <p:cNvSpPr>
                <a:spLocks/>
              </p:cNvSpPr>
              <p:nvPr/>
            </p:nvSpPr>
            <p:spPr bwMode="auto">
              <a:xfrm>
                <a:off x="2375363" y="3471863"/>
                <a:ext cx="37833" cy="63500"/>
              </a:xfrm>
              <a:custGeom>
                <a:avLst/>
                <a:gdLst>
                  <a:gd name="T0" fmla="*/ 16 w 22"/>
                  <a:gd name="T1" fmla="*/ 40 h 40"/>
                  <a:gd name="T2" fmla="*/ 4 w 22"/>
                  <a:gd name="T3" fmla="*/ 32 h 40"/>
                  <a:gd name="T4" fmla="*/ 0 w 22"/>
                  <a:gd name="T5" fmla="*/ 0 h 40"/>
                  <a:gd name="T6" fmla="*/ 4 w 22"/>
                  <a:gd name="T7" fmla="*/ 2 h 40"/>
                  <a:gd name="T8" fmla="*/ 8 w 22"/>
                  <a:gd name="T9" fmla="*/ 4 h 40"/>
                  <a:gd name="T10" fmla="*/ 8 w 22"/>
                  <a:gd name="T11" fmla="*/ 8 h 40"/>
                  <a:gd name="T12" fmla="*/ 10 w 22"/>
                  <a:gd name="T13" fmla="*/ 12 h 40"/>
                  <a:gd name="T14" fmla="*/ 14 w 22"/>
                  <a:gd name="T15" fmla="*/ 14 h 40"/>
                  <a:gd name="T16" fmla="*/ 18 w 22"/>
                  <a:gd name="T17" fmla="*/ 14 h 40"/>
                  <a:gd name="T18" fmla="*/ 22 w 22"/>
                  <a:gd name="T19" fmla="*/ 18 h 40"/>
                  <a:gd name="T20" fmla="*/ 22 w 22"/>
                  <a:gd name="T21" fmla="*/ 30 h 40"/>
                  <a:gd name="T22" fmla="*/ 16 w 22"/>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40">
                    <a:moveTo>
                      <a:pt x="16" y="40"/>
                    </a:moveTo>
                    <a:lnTo>
                      <a:pt x="4" y="32"/>
                    </a:lnTo>
                    <a:lnTo>
                      <a:pt x="0" y="0"/>
                    </a:lnTo>
                    <a:lnTo>
                      <a:pt x="4" y="2"/>
                    </a:lnTo>
                    <a:lnTo>
                      <a:pt x="8" y="4"/>
                    </a:lnTo>
                    <a:lnTo>
                      <a:pt x="8" y="8"/>
                    </a:lnTo>
                    <a:lnTo>
                      <a:pt x="10" y="12"/>
                    </a:lnTo>
                    <a:lnTo>
                      <a:pt x="14" y="14"/>
                    </a:lnTo>
                    <a:lnTo>
                      <a:pt x="18" y="14"/>
                    </a:lnTo>
                    <a:lnTo>
                      <a:pt x="22" y="18"/>
                    </a:lnTo>
                    <a:lnTo>
                      <a:pt x="22" y="30"/>
                    </a:lnTo>
                    <a:lnTo>
                      <a:pt x="16" y="4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72" name="Freeform 28"/>
              <p:cNvSpPr>
                <a:spLocks/>
              </p:cNvSpPr>
              <p:nvPr/>
            </p:nvSpPr>
            <p:spPr bwMode="auto">
              <a:xfrm>
                <a:off x="2423514" y="3392488"/>
                <a:ext cx="220116" cy="219075"/>
              </a:xfrm>
              <a:custGeom>
                <a:avLst/>
                <a:gdLst>
                  <a:gd name="T0" fmla="*/ 54 w 128"/>
                  <a:gd name="T1" fmla="*/ 4 h 138"/>
                  <a:gd name="T2" fmla="*/ 60 w 128"/>
                  <a:gd name="T3" fmla="*/ 14 h 138"/>
                  <a:gd name="T4" fmla="*/ 64 w 128"/>
                  <a:gd name="T5" fmla="*/ 20 h 138"/>
                  <a:gd name="T6" fmla="*/ 74 w 128"/>
                  <a:gd name="T7" fmla="*/ 38 h 138"/>
                  <a:gd name="T8" fmla="*/ 82 w 128"/>
                  <a:gd name="T9" fmla="*/ 38 h 138"/>
                  <a:gd name="T10" fmla="*/ 96 w 128"/>
                  <a:gd name="T11" fmla="*/ 32 h 138"/>
                  <a:gd name="T12" fmla="*/ 112 w 128"/>
                  <a:gd name="T13" fmla="*/ 78 h 138"/>
                  <a:gd name="T14" fmla="*/ 122 w 128"/>
                  <a:gd name="T15" fmla="*/ 82 h 138"/>
                  <a:gd name="T16" fmla="*/ 128 w 128"/>
                  <a:gd name="T17" fmla="*/ 88 h 138"/>
                  <a:gd name="T18" fmla="*/ 124 w 128"/>
                  <a:gd name="T19" fmla="*/ 92 h 138"/>
                  <a:gd name="T20" fmla="*/ 110 w 128"/>
                  <a:gd name="T21" fmla="*/ 90 h 138"/>
                  <a:gd name="T22" fmla="*/ 78 w 128"/>
                  <a:gd name="T23" fmla="*/ 126 h 138"/>
                  <a:gd name="T24" fmla="*/ 70 w 128"/>
                  <a:gd name="T25" fmla="*/ 118 h 138"/>
                  <a:gd name="T26" fmla="*/ 60 w 128"/>
                  <a:gd name="T27" fmla="*/ 138 h 138"/>
                  <a:gd name="T28" fmla="*/ 52 w 128"/>
                  <a:gd name="T29" fmla="*/ 134 h 138"/>
                  <a:gd name="T30" fmla="*/ 46 w 128"/>
                  <a:gd name="T31" fmla="*/ 126 h 138"/>
                  <a:gd name="T32" fmla="*/ 40 w 128"/>
                  <a:gd name="T33" fmla="*/ 116 h 138"/>
                  <a:gd name="T34" fmla="*/ 54 w 128"/>
                  <a:gd name="T35" fmla="*/ 114 h 138"/>
                  <a:gd name="T36" fmla="*/ 58 w 128"/>
                  <a:gd name="T37" fmla="*/ 98 h 138"/>
                  <a:gd name="T38" fmla="*/ 38 w 128"/>
                  <a:gd name="T39" fmla="*/ 86 h 138"/>
                  <a:gd name="T40" fmla="*/ 16 w 128"/>
                  <a:gd name="T41" fmla="*/ 96 h 138"/>
                  <a:gd name="T42" fmla="*/ 2 w 128"/>
                  <a:gd name="T43" fmla="*/ 98 h 138"/>
                  <a:gd name="T44" fmla="*/ 2 w 128"/>
                  <a:gd name="T45" fmla="*/ 86 h 138"/>
                  <a:gd name="T46" fmla="*/ 8 w 128"/>
                  <a:gd name="T47" fmla="*/ 84 h 138"/>
                  <a:gd name="T48" fmla="*/ 10 w 128"/>
                  <a:gd name="T49" fmla="*/ 76 h 138"/>
                  <a:gd name="T50" fmla="*/ 10 w 128"/>
                  <a:gd name="T51" fmla="*/ 72 h 138"/>
                  <a:gd name="T52" fmla="*/ 2 w 128"/>
                  <a:gd name="T53" fmla="*/ 62 h 138"/>
                  <a:gd name="T54" fmla="*/ 0 w 128"/>
                  <a:gd name="T55" fmla="*/ 50 h 138"/>
                  <a:gd name="T56" fmla="*/ 8 w 128"/>
                  <a:gd name="T57" fmla="*/ 50 h 138"/>
                  <a:gd name="T58" fmla="*/ 4 w 128"/>
                  <a:gd name="T59" fmla="*/ 36 h 138"/>
                  <a:gd name="T60" fmla="*/ 4 w 128"/>
                  <a:gd name="T61" fmla="*/ 28 h 138"/>
                  <a:gd name="T62" fmla="*/ 10 w 128"/>
                  <a:gd name="T63" fmla="*/ 22 h 138"/>
                  <a:gd name="T64" fmla="*/ 8 w 128"/>
                  <a:gd name="T65" fmla="*/ 14 h 138"/>
                  <a:gd name="T66" fmla="*/ 4 w 128"/>
                  <a:gd name="T67" fmla="*/ 4 h 138"/>
                  <a:gd name="T68" fmla="*/ 4 w 128"/>
                  <a:gd name="T69" fmla="*/ 0 h 138"/>
                  <a:gd name="T70" fmla="*/ 22 w 128"/>
                  <a:gd name="T71" fmla="*/ 6 h 138"/>
                  <a:gd name="T72" fmla="*/ 28 w 128"/>
                  <a:gd name="T73" fmla="*/ 16 h 138"/>
                  <a:gd name="T74" fmla="*/ 42 w 128"/>
                  <a:gd name="T75" fmla="*/ 26 h 138"/>
                  <a:gd name="T76" fmla="*/ 46 w 128"/>
                  <a:gd name="T77" fmla="*/ 20 h 138"/>
                  <a:gd name="T78" fmla="*/ 42 w 128"/>
                  <a:gd name="T79" fmla="*/ 8 h 138"/>
                  <a:gd name="T80" fmla="*/ 44 w 128"/>
                  <a:gd name="T81" fmla="*/ 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138">
                    <a:moveTo>
                      <a:pt x="52" y="0"/>
                    </a:moveTo>
                    <a:lnTo>
                      <a:pt x="54" y="4"/>
                    </a:lnTo>
                    <a:lnTo>
                      <a:pt x="58" y="6"/>
                    </a:lnTo>
                    <a:lnTo>
                      <a:pt x="60" y="14"/>
                    </a:lnTo>
                    <a:lnTo>
                      <a:pt x="60" y="18"/>
                    </a:lnTo>
                    <a:lnTo>
                      <a:pt x="64" y="20"/>
                    </a:lnTo>
                    <a:lnTo>
                      <a:pt x="62" y="32"/>
                    </a:lnTo>
                    <a:lnTo>
                      <a:pt x="74" y="38"/>
                    </a:lnTo>
                    <a:lnTo>
                      <a:pt x="78" y="38"/>
                    </a:lnTo>
                    <a:lnTo>
                      <a:pt x="82" y="38"/>
                    </a:lnTo>
                    <a:lnTo>
                      <a:pt x="88" y="32"/>
                    </a:lnTo>
                    <a:lnTo>
                      <a:pt x="96" y="32"/>
                    </a:lnTo>
                    <a:lnTo>
                      <a:pt x="104" y="26"/>
                    </a:lnTo>
                    <a:lnTo>
                      <a:pt x="112" y="78"/>
                    </a:lnTo>
                    <a:lnTo>
                      <a:pt x="116" y="82"/>
                    </a:lnTo>
                    <a:lnTo>
                      <a:pt x="122" y="82"/>
                    </a:lnTo>
                    <a:lnTo>
                      <a:pt x="124" y="86"/>
                    </a:lnTo>
                    <a:lnTo>
                      <a:pt x="128" y="88"/>
                    </a:lnTo>
                    <a:lnTo>
                      <a:pt x="128" y="98"/>
                    </a:lnTo>
                    <a:lnTo>
                      <a:pt x="124" y="92"/>
                    </a:lnTo>
                    <a:lnTo>
                      <a:pt x="116" y="88"/>
                    </a:lnTo>
                    <a:lnTo>
                      <a:pt x="110" y="90"/>
                    </a:lnTo>
                    <a:lnTo>
                      <a:pt x="104" y="94"/>
                    </a:lnTo>
                    <a:lnTo>
                      <a:pt x="78" y="126"/>
                    </a:lnTo>
                    <a:lnTo>
                      <a:pt x="76" y="116"/>
                    </a:lnTo>
                    <a:lnTo>
                      <a:pt x="70" y="118"/>
                    </a:lnTo>
                    <a:lnTo>
                      <a:pt x="68" y="120"/>
                    </a:lnTo>
                    <a:lnTo>
                      <a:pt x="60" y="138"/>
                    </a:lnTo>
                    <a:lnTo>
                      <a:pt x="58" y="138"/>
                    </a:lnTo>
                    <a:lnTo>
                      <a:pt x="52" y="134"/>
                    </a:lnTo>
                    <a:lnTo>
                      <a:pt x="48" y="130"/>
                    </a:lnTo>
                    <a:lnTo>
                      <a:pt x="46" y="126"/>
                    </a:lnTo>
                    <a:lnTo>
                      <a:pt x="46" y="122"/>
                    </a:lnTo>
                    <a:lnTo>
                      <a:pt x="40" y="116"/>
                    </a:lnTo>
                    <a:lnTo>
                      <a:pt x="44" y="116"/>
                    </a:lnTo>
                    <a:lnTo>
                      <a:pt x="54" y="114"/>
                    </a:lnTo>
                    <a:lnTo>
                      <a:pt x="54" y="104"/>
                    </a:lnTo>
                    <a:lnTo>
                      <a:pt x="58" y="98"/>
                    </a:lnTo>
                    <a:lnTo>
                      <a:pt x="52" y="90"/>
                    </a:lnTo>
                    <a:lnTo>
                      <a:pt x="38" y="86"/>
                    </a:lnTo>
                    <a:lnTo>
                      <a:pt x="22" y="90"/>
                    </a:lnTo>
                    <a:lnTo>
                      <a:pt x="16" y="96"/>
                    </a:lnTo>
                    <a:lnTo>
                      <a:pt x="8" y="100"/>
                    </a:lnTo>
                    <a:lnTo>
                      <a:pt x="2" y="98"/>
                    </a:lnTo>
                    <a:lnTo>
                      <a:pt x="2" y="94"/>
                    </a:lnTo>
                    <a:lnTo>
                      <a:pt x="2" y="86"/>
                    </a:lnTo>
                    <a:lnTo>
                      <a:pt x="6" y="86"/>
                    </a:lnTo>
                    <a:lnTo>
                      <a:pt x="8" y="84"/>
                    </a:lnTo>
                    <a:lnTo>
                      <a:pt x="8" y="80"/>
                    </a:lnTo>
                    <a:lnTo>
                      <a:pt x="10" y="76"/>
                    </a:lnTo>
                    <a:lnTo>
                      <a:pt x="14" y="74"/>
                    </a:lnTo>
                    <a:lnTo>
                      <a:pt x="10" y="72"/>
                    </a:lnTo>
                    <a:lnTo>
                      <a:pt x="6" y="70"/>
                    </a:lnTo>
                    <a:lnTo>
                      <a:pt x="2" y="62"/>
                    </a:lnTo>
                    <a:lnTo>
                      <a:pt x="0" y="54"/>
                    </a:lnTo>
                    <a:lnTo>
                      <a:pt x="0" y="50"/>
                    </a:lnTo>
                    <a:lnTo>
                      <a:pt x="4" y="52"/>
                    </a:lnTo>
                    <a:lnTo>
                      <a:pt x="8" y="50"/>
                    </a:lnTo>
                    <a:lnTo>
                      <a:pt x="10" y="46"/>
                    </a:lnTo>
                    <a:lnTo>
                      <a:pt x="4" y="36"/>
                    </a:lnTo>
                    <a:lnTo>
                      <a:pt x="4" y="30"/>
                    </a:lnTo>
                    <a:lnTo>
                      <a:pt x="4" y="28"/>
                    </a:lnTo>
                    <a:lnTo>
                      <a:pt x="6" y="24"/>
                    </a:lnTo>
                    <a:lnTo>
                      <a:pt x="10" y="22"/>
                    </a:lnTo>
                    <a:lnTo>
                      <a:pt x="12" y="18"/>
                    </a:lnTo>
                    <a:lnTo>
                      <a:pt x="8" y="14"/>
                    </a:lnTo>
                    <a:lnTo>
                      <a:pt x="6" y="12"/>
                    </a:lnTo>
                    <a:lnTo>
                      <a:pt x="4" y="4"/>
                    </a:lnTo>
                    <a:lnTo>
                      <a:pt x="4" y="0"/>
                    </a:lnTo>
                    <a:lnTo>
                      <a:pt x="4" y="0"/>
                    </a:lnTo>
                    <a:lnTo>
                      <a:pt x="16" y="0"/>
                    </a:lnTo>
                    <a:lnTo>
                      <a:pt x="22" y="6"/>
                    </a:lnTo>
                    <a:lnTo>
                      <a:pt x="24" y="10"/>
                    </a:lnTo>
                    <a:lnTo>
                      <a:pt x="28" y="16"/>
                    </a:lnTo>
                    <a:lnTo>
                      <a:pt x="32" y="18"/>
                    </a:lnTo>
                    <a:lnTo>
                      <a:pt x="42" y="26"/>
                    </a:lnTo>
                    <a:lnTo>
                      <a:pt x="46" y="24"/>
                    </a:lnTo>
                    <a:lnTo>
                      <a:pt x="46" y="20"/>
                    </a:lnTo>
                    <a:lnTo>
                      <a:pt x="42" y="12"/>
                    </a:lnTo>
                    <a:lnTo>
                      <a:pt x="42" y="8"/>
                    </a:lnTo>
                    <a:lnTo>
                      <a:pt x="42" y="6"/>
                    </a:lnTo>
                    <a:lnTo>
                      <a:pt x="44" y="2"/>
                    </a:lnTo>
                    <a:lnTo>
                      <a:pt x="52"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73" name="Freeform 29"/>
              <p:cNvSpPr>
                <a:spLocks/>
              </p:cNvSpPr>
              <p:nvPr/>
            </p:nvSpPr>
            <p:spPr bwMode="auto">
              <a:xfrm>
                <a:off x="2423514" y="3392488"/>
                <a:ext cx="220116" cy="219075"/>
              </a:xfrm>
              <a:custGeom>
                <a:avLst/>
                <a:gdLst>
                  <a:gd name="T0" fmla="*/ 54 w 128"/>
                  <a:gd name="T1" fmla="*/ 4 h 138"/>
                  <a:gd name="T2" fmla="*/ 60 w 128"/>
                  <a:gd name="T3" fmla="*/ 14 h 138"/>
                  <a:gd name="T4" fmla="*/ 64 w 128"/>
                  <a:gd name="T5" fmla="*/ 20 h 138"/>
                  <a:gd name="T6" fmla="*/ 74 w 128"/>
                  <a:gd name="T7" fmla="*/ 38 h 138"/>
                  <a:gd name="T8" fmla="*/ 82 w 128"/>
                  <a:gd name="T9" fmla="*/ 38 h 138"/>
                  <a:gd name="T10" fmla="*/ 96 w 128"/>
                  <a:gd name="T11" fmla="*/ 32 h 138"/>
                  <a:gd name="T12" fmla="*/ 112 w 128"/>
                  <a:gd name="T13" fmla="*/ 78 h 138"/>
                  <a:gd name="T14" fmla="*/ 122 w 128"/>
                  <a:gd name="T15" fmla="*/ 82 h 138"/>
                  <a:gd name="T16" fmla="*/ 128 w 128"/>
                  <a:gd name="T17" fmla="*/ 88 h 138"/>
                  <a:gd name="T18" fmla="*/ 124 w 128"/>
                  <a:gd name="T19" fmla="*/ 92 h 138"/>
                  <a:gd name="T20" fmla="*/ 110 w 128"/>
                  <a:gd name="T21" fmla="*/ 90 h 138"/>
                  <a:gd name="T22" fmla="*/ 78 w 128"/>
                  <a:gd name="T23" fmla="*/ 126 h 138"/>
                  <a:gd name="T24" fmla="*/ 70 w 128"/>
                  <a:gd name="T25" fmla="*/ 118 h 138"/>
                  <a:gd name="T26" fmla="*/ 60 w 128"/>
                  <a:gd name="T27" fmla="*/ 138 h 138"/>
                  <a:gd name="T28" fmla="*/ 52 w 128"/>
                  <a:gd name="T29" fmla="*/ 134 h 138"/>
                  <a:gd name="T30" fmla="*/ 46 w 128"/>
                  <a:gd name="T31" fmla="*/ 126 h 138"/>
                  <a:gd name="T32" fmla="*/ 40 w 128"/>
                  <a:gd name="T33" fmla="*/ 116 h 138"/>
                  <a:gd name="T34" fmla="*/ 54 w 128"/>
                  <a:gd name="T35" fmla="*/ 114 h 138"/>
                  <a:gd name="T36" fmla="*/ 58 w 128"/>
                  <a:gd name="T37" fmla="*/ 98 h 138"/>
                  <a:gd name="T38" fmla="*/ 38 w 128"/>
                  <a:gd name="T39" fmla="*/ 86 h 138"/>
                  <a:gd name="T40" fmla="*/ 16 w 128"/>
                  <a:gd name="T41" fmla="*/ 96 h 138"/>
                  <a:gd name="T42" fmla="*/ 2 w 128"/>
                  <a:gd name="T43" fmla="*/ 98 h 138"/>
                  <a:gd name="T44" fmla="*/ 2 w 128"/>
                  <a:gd name="T45" fmla="*/ 86 h 138"/>
                  <a:gd name="T46" fmla="*/ 8 w 128"/>
                  <a:gd name="T47" fmla="*/ 84 h 138"/>
                  <a:gd name="T48" fmla="*/ 10 w 128"/>
                  <a:gd name="T49" fmla="*/ 76 h 138"/>
                  <a:gd name="T50" fmla="*/ 10 w 128"/>
                  <a:gd name="T51" fmla="*/ 72 h 138"/>
                  <a:gd name="T52" fmla="*/ 2 w 128"/>
                  <a:gd name="T53" fmla="*/ 62 h 138"/>
                  <a:gd name="T54" fmla="*/ 0 w 128"/>
                  <a:gd name="T55" fmla="*/ 50 h 138"/>
                  <a:gd name="T56" fmla="*/ 8 w 128"/>
                  <a:gd name="T57" fmla="*/ 50 h 138"/>
                  <a:gd name="T58" fmla="*/ 4 w 128"/>
                  <a:gd name="T59" fmla="*/ 36 h 138"/>
                  <a:gd name="T60" fmla="*/ 4 w 128"/>
                  <a:gd name="T61" fmla="*/ 28 h 138"/>
                  <a:gd name="T62" fmla="*/ 10 w 128"/>
                  <a:gd name="T63" fmla="*/ 22 h 138"/>
                  <a:gd name="T64" fmla="*/ 8 w 128"/>
                  <a:gd name="T65" fmla="*/ 14 h 138"/>
                  <a:gd name="T66" fmla="*/ 4 w 128"/>
                  <a:gd name="T67" fmla="*/ 4 h 138"/>
                  <a:gd name="T68" fmla="*/ 4 w 128"/>
                  <a:gd name="T69" fmla="*/ 0 h 138"/>
                  <a:gd name="T70" fmla="*/ 22 w 128"/>
                  <a:gd name="T71" fmla="*/ 6 h 138"/>
                  <a:gd name="T72" fmla="*/ 28 w 128"/>
                  <a:gd name="T73" fmla="*/ 16 h 138"/>
                  <a:gd name="T74" fmla="*/ 42 w 128"/>
                  <a:gd name="T75" fmla="*/ 26 h 138"/>
                  <a:gd name="T76" fmla="*/ 46 w 128"/>
                  <a:gd name="T77" fmla="*/ 20 h 138"/>
                  <a:gd name="T78" fmla="*/ 42 w 128"/>
                  <a:gd name="T79" fmla="*/ 8 h 138"/>
                  <a:gd name="T80" fmla="*/ 44 w 128"/>
                  <a:gd name="T81" fmla="*/ 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138">
                    <a:moveTo>
                      <a:pt x="52" y="0"/>
                    </a:moveTo>
                    <a:lnTo>
                      <a:pt x="54" y="4"/>
                    </a:lnTo>
                    <a:lnTo>
                      <a:pt x="58" y="6"/>
                    </a:lnTo>
                    <a:lnTo>
                      <a:pt x="60" y="14"/>
                    </a:lnTo>
                    <a:lnTo>
                      <a:pt x="60" y="18"/>
                    </a:lnTo>
                    <a:lnTo>
                      <a:pt x="64" y="20"/>
                    </a:lnTo>
                    <a:lnTo>
                      <a:pt x="62" y="32"/>
                    </a:lnTo>
                    <a:lnTo>
                      <a:pt x="74" y="38"/>
                    </a:lnTo>
                    <a:lnTo>
                      <a:pt x="78" y="38"/>
                    </a:lnTo>
                    <a:lnTo>
                      <a:pt x="82" y="38"/>
                    </a:lnTo>
                    <a:lnTo>
                      <a:pt x="88" y="32"/>
                    </a:lnTo>
                    <a:lnTo>
                      <a:pt x="96" y="32"/>
                    </a:lnTo>
                    <a:lnTo>
                      <a:pt x="104" y="26"/>
                    </a:lnTo>
                    <a:lnTo>
                      <a:pt x="112" y="78"/>
                    </a:lnTo>
                    <a:lnTo>
                      <a:pt x="116" y="82"/>
                    </a:lnTo>
                    <a:lnTo>
                      <a:pt x="122" y="82"/>
                    </a:lnTo>
                    <a:lnTo>
                      <a:pt x="124" y="86"/>
                    </a:lnTo>
                    <a:lnTo>
                      <a:pt x="128" y="88"/>
                    </a:lnTo>
                    <a:lnTo>
                      <a:pt x="128" y="98"/>
                    </a:lnTo>
                    <a:lnTo>
                      <a:pt x="124" y="92"/>
                    </a:lnTo>
                    <a:lnTo>
                      <a:pt x="116" y="88"/>
                    </a:lnTo>
                    <a:lnTo>
                      <a:pt x="110" y="90"/>
                    </a:lnTo>
                    <a:lnTo>
                      <a:pt x="104" y="94"/>
                    </a:lnTo>
                    <a:lnTo>
                      <a:pt x="78" y="126"/>
                    </a:lnTo>
                    <a:lnTo>
                      <a:pt x="76" y="116"/>
                    </a:lnTo>
                    <a:lnTo>
                      <a:pt x="70" y="118"/>
                    </a:lnTo>
                    <a:lnTo>
                      <a:pt x="68" y="120"/>
                    </a:lnTo>
                    <a:lnTo>
                      <a:pt x="60" y="138"/>
                    </a:lnTo>
                    <a:lnTo>
                      <a:pt x="58" y="138"/>
                    </a:lnTo>
                    <a:lnTo>
                      <a:pt x="52" y="134"/>
                    </a:lnTo>
                    <a:lnTo>
                      <a:pt x="48" y="130"/>
                    </a:lnTo>
                    <a:lnTo>
                      <a:pt x="46" y="126"/>
                    </a:lnTo>
                    <a:lnTo>
                      <a:pt x="46" y="122"/>
                    </a:lnTo>
                    <a:lnTo>
                      <a:pt x="40" y="116"/>
                    </a:lnTo>
                    <a:lnTo>
                      <a:pt x="44" y="116"/>
                    </a:lnTo>
                    <a:lnTo>
                      <a:pt x="54" y="114"/>
                    </a:lnTo>
                    <a:lnTo>
                      <a:pt x="54" y="104"/>
                    </a:lnTo>
                    <a:lnTo>
                      <a:pt x="58" y="98"/>
                    </a:lnTo>
                    <a:lnTo>
                      <a:pt x="52" y="90"/>
                    </a:lnTo>
                    <a:lnTo>
                      <a:pt x="38" y="86"/>
                    </a:lnTo>
                    <a:lnTo>
                      <a:pt x="22" y="90"/>
                    </a:lnTo>
                    <a:lnTo>
                      <a:pt x="16" y="96"/>
                    </a:lnTo>
                    <a:lnTo>
                      <a:pt x="8" y="100"/>
                    </a:lnTo>
                    <a:lnTo>
                      <a:pt x="2" y="98"/>
                    </a:lnTo>
                    <a:lnTo>
                      <a:pt x="2" y="94"/>
                    </a:lnTo>
                    <a:lnTo>
                      <a:pt x="2" y="86"/>
                    </a:lnTo>
                    <a:lnTo>
                      <a:pt x="6" y="86"/>
                    </a:lnTo>
                    <a:lnTo>
                      <a:pt x="8" y="84"/>
                    </a:lnTo>
                    <a:lnTo>
                      <a:pt x="8" y="80"/>
                    </a:lnTo>
                    <a:lnTo>
                      <a:pt x="10" y="76"/>
                    </a:lnTo>
                    <a:lnTo>
                      <a:pt x="14" y="74"/>
                    </a:lnTo>
                    <a:lnTo>
                      <a:pt x="10" y="72"/>
                    </a:lnTo>
                    <a:lnTo>
                      <a:pt x="6" y="70"/>
                    </a:lnTo>
                    <a:lnTo>
                      <a:pt x="2" y="62"/>
                    </a:lnTo>
                    <a:lnTo>
                      <a:pt x="0" y="54"/>
                    </a:lnTo>
                    <a:lnTo>
                      <a:pt x="0" y="50"/>
                    </a:lnTo>
                    <a:lnTo>
                      <a:pt x="4" y="52"/>
                    </a:lnTo>
                    <a:lnTo>
                      <a:pt x="8" y="50"/>
                    </a:lnTo>
                    <a:lnTo>
                      <a:pt x="10" y="46"/>
                    </a:lnTo>
                    <a:lnTo>
                      <a:pt x="4" y="36"/>
                    </a:lnTo>
                    <a:lnTo>
                      <a:pt x="4" y="30"/>
                    </a:lnTo>
                    <a:lnTo>
                      <a:pt x="4" y="28"/>
                    </a:lnTo>
                    <a:lnTo>
                      <a:pt x="6" y="24"/>
                    </a:lnTo>
                    <a:lnTo>
                      <a:pt x="10" y="22"/>
                    </a:lnTo>
                    <a:lnTo>
                      <a:pt x="12" y="18"/>
                    </a:lnTo>
                    <a:lnTo>
                      <a:pt x="8" y="14"/>
                    </a:lnTo>
                    <a:lnTo>
                      <a:pt x="6" y="12"/>
                    </a:lnTo>
                    <a:lnTo>
                      <a:pt x="4" y="4"/>
                    </a:lnTo>
                    <a:lnTo>
                      <a:pt x="4" y="0"/>
                    </a:lnTo>
                    <a:lnTo>
                      <a:pt x="4" y="0"/>
                    </a:lnTo>
                    <a:lnTo>
                      <a:pt x="16" y="0"/>
                    </a:lnTo>
                    <a:lnTo>
                      <a:pt x="22" y="6"/>
                    </a:lnTo>
                    <a:lnTo>
                      <a:pt x="24" y="10"/>
                    </a:lnTo>
                    <a:lnTo>
                      <a:pt x="28" y="16"/>
                    </a:lnTo>
                    <a:lnTo>
                      <a:pt x="32" y="18"/>
                    </a:lnTo>
                    <a:lnTo>
                      <a:pt x="42" y="26"/>
                    </a:lnTo>
                    <a:lnTo>
                      <a:pt x="46" y="24"/>
                    </a:lnTo>
                    <a:lnTo>
                      <a:pt x="46" y="20"/>
                    </a:lnTo>
                    <a:lnTo>
                      <a:pt x="42" y="12"/>
                    </a:lnTo>
                    <a:lnTo>
                      <a:pt x="42" y="8"/>
                    </a:lnTo>
                    <a:lnTo>
                      <a:pt x="42" y="6"/>
                    </a:lnTo>
                    <a:lnTo>
                      <a:pt x="44" y="2"/>
                    </a:lnTo>
                    <a:lnTo>
                      <a:pt x="52"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74" name="Freeform 30"/>
              <p:cNvSpPr>
                <a:spLocks/>
              </p:cNvSpPr>
              <p:nvPr/>
            </p:nvSpPr>
            <p:spPr bwMode="auto">
              <a:xfrm>
                <a:off x="2715856" y="2957513"/>
                <a:ext cx="1709342" cy="790575"/>
              </a:xfrm>
              <a:custGeom>
                <a:avLst/>
                <a:gdLst>
                  <a:gd name="T0" fmla="*/ 102 w 994"/>
                  <a:gd name="T1" fmla="*/ 360 h 498"/>
                  <a:gd name="T2" fmla="*/ 50 w 994"/>
                  <a:gd name="T3" fmla="*/ 312 h 498"/>
                  <a:gd name="T4" fmla="*/ 30 w 994"/>
                  <a:gd name="T5" fmla="*/ 250 h 498"/>
                  <a:gd name="T6" fmla="*/ 52 w 994"/>
                  <a:gd name="T7" fmla="*/ 238 h 498"/>
                  <a:gd name="T8" fmla="*/ 84 w 994"/>
                  <a:gd name="T9" fmla="*/ 226 h 498"/>
                  <a:gd name="T10" fmla="*/ 136 w 994"/>
                  <a:gd name="T11" fmla="*/ 256 h 498"/>
                  <a:gd name="T12" fmla="*/ 136 w 994"/>
                  <a:gd name="T13" fmla="*/ 226 h 498"/>
                  <a:gd name="T14" fmla="*/ 126 w 994"/>
                  <a:gd name="T15" fmla="*/ 178 h 498"/>
                  <a:gd name="T16" fmla="*/ 82 w 994"/>
                  <a:gd name="T17" fmla="*/ 154 h 498"/>
                  <a:gd name="T18" fmla="*/ 4 w 994"/>
                  <a:gd name="T19" fmla="*/ 152 h 498"/>
                  <a:gd name="T20" fmla="*/ 30 w 994"/>
                  <a:gd name="T21" fmla="*/ 124 h 498"/>
                  <a:gd name="T22" fmla="*/ 6 w 994"/>
                  <a:gd name="T23" fmla="*/ 92 h 498"/>
                  <a:gd name="T24" fmla="*/ 24 w 994"/>
                  <a:gd name="T25" fmla="*/ 54 h 498"/>
                  <a:gd name="T26" fmla="*/ 52 w 994"/>
                  <a:gd name="T27" fmla="*/ 18 h 498"/>
                  <a:gd name="T28" fmla="*/ 82 w 994"/>
                  <a:gd name="T29" fmla="*/ 22 h 498"/>
                  <a:gd name="T30" fmla="*/ 124 w 994"/>
                  <a:gd name="T31" fmla="*/ 16 h 498"/>
                  <a:gd name="T32" fmla="*/ 158 w 994"/>
                  <a:gd name="T33" fmla="*/ 14 h 498"/>
                  <a:gd name="T34" fmla="*/ 180 w 994"/>
                  <a:gd name="T35" fmla="*/ 20 h 498"/>
                  <a:gd name="T36" fmla="*/ 206 w 994"/>
                  <a:gd name="T37" fmla="*/ 42 h 498"/>
                  <a:gd name="T38" fmla="*/ 218 w 994"/>
                  <a:gd name="T39" fmla="*/ 78 h 498"/>
                  <a:gd name="T40" fmla="*/ 230 w 994"/>
                  <a:gd name="T41" fmla="*/ 78 h 498"/>
                  <a:gd name="T42" fmla="*/ 270 w 994"/>
                  <a:gd name="T43" fmla="*/ 84 h 498"/>
                  <a:gd name="T44" fmla="*/ 306 w 994"/>
                  <a:gd name="T45" fmla="*/ 88 h 498"/>
                  <a:gd name="T46" fmla="*/ 326 w 994"/>
                  <a:gd name="T47" fmla="*/ 112 h 498"/>
                  <a:gd name="T48" fmla="*/ 366 w 994"/>
                  <a:gd name="T49" fmla="*/ 122 h 498"/>
                  <a:gd name="T50" fmla="*/ 362 w 994"/>
                  <a:gd name="T51" fmla="*/ 78 h 498"/>
                  <a:gd name="T52" fmla="*/ 386 w 994"/>
                  <a:gd name="T53" fmla="*/ 50 h 498"/>
                  <a:gd name="T54" fmla="*/ 398 w 994"/>
                  <a:gd name="T55" fmla="*/ 36 h 498"/>
                  <a:gd name="T56" fmla="*/ 396 w 994"/>
                  <a:gd name="T57" fmla="*/ 24 h 498"/>
                  <a:gd name="T58" fmla="*/ 412 w 994"/>
                  <a:gd name="T59" fmla="*/ 16 h 498"/>
                  <a:gd name="T60" fmla="*/ 450 w 994"/>
                  <a:gd name="T61" fmla="*/ 20 h 498"/>
                  <a:gd name="T62" fmla="*/ 480 w 994"/>
                  <a:gd name="T63" fmla="*/ 18 h 498"/>
                  <a:gd name="T64" fmla="*/ 508 w 994"/>
                  <a:gd name="T65" fmla="*/ 14 h 498"/>
                  <a:gd name="T66" fmla="*/ 568 w 994"/>
                  <a:gd name="T67" fmla="*/ 4 h 498"/>
                  <a:gd name="T68" fmla="*/ 590 w 994"/>
                  <a:gd name="T69" fmla="*/ 4 h 498"/>
                  <a:gd name="T70" fmla="*/ 614 w 994"/>
                  <a:gd name="T71" fmla="*/ 10 h 498"/>
                  <a:gd name="T72" fmla="*/ 628 w 994"/>
                  <a:gd name="T73" fmla="*/ 36 h 498"/>
                  <a:gd name="T74" fmla="*/ 638 w 994"/>
                  <a:gd name="T75" fmla="*/ 52 h 498"/>
                  <a:gd name="T76" fmla="*/ 650 w 994"/>
                  <a:gd name="T77" fmla="*/ 62 h 498"/>
                  <a:gd name="T78" fmla="*/ 670 w 994"/>
                  <a:gd name="T79" fmla="*/ 66 h 498"/>
                  <a:gd name="T80" fmla="*/ 670 w 994"/>
                  <a:gd name="T81" fmla="*/ 74 h 498"/>
                  <a:gd name="T82" fmla="*/ 688 w 994"/>
                  <a:gd name="T83" fmla="*/ 80 h 498"/>
                  <a:gd name="T84" fmla="*/ 716 w 994"/>
                  <a:gd name="T85" fmla="*/ 70 h 498"/>
                  <a:gd name="T86" fmla="*/ 750 w 994"/>
                  <a:gd name="T87" fmla="*/ 60 h 498"/>
                  <a:gd name="T88" fmla="*/ 818 w 994"/>
                  <a:gd name="T89" fmla="*/ 188 h 498"/>
                  <a:gd name="T90" fmla="*/ 846 w 994"/>
                  <a:gd name="T91" fmla="*/ 180 h 498"/>
                  <a:gd name="T92" fmla="*/ 880 w 994"/>
                  <a:gd name="T93" fmla="*/ 192 h 498"/>
                  <a:gd name="T94" fmla="*/ 906 w 994"/>
                  <a:gd name="T95" fmla="*/ 188 h 498"/>
                  <a:gd name="T96" fmla="*/ 924 w 994"/>
                  <a:gd name="T97" fmla="*/ 208 h 498"/>
                  <a:gd name="T98" fmla="*/ 954 w 994"/>
                  <a:gd name="T99" fmla="*/ 232 h 498"/>
                  <a:gd name="T100" fmla="*/ 984 w 994"/>
                  <a:gd name="T101" fmla="*/ 234 h 498"/>
                  <a:gd name="T102" fmla="*/ 968 w 994"/>
                  <a:gd name="T103" fmla="*/ 276 h 498"/>
                  <a:gd name="T104" fmla="*/ 902 w 994"/>
                  <a:gd name="T105" fmla="*/ 322 h 498"/>
                  <a:gd name="T106" fmla="*/ 808 w 994"/>
                  <a:gd name="T107" fmla="*/ 404 h 498"/>
                  <a:gd name="T108" fmla="*/ 804 w 994"/>
                  <a:gd name="T109" fmla="*/ 490 h 498"/>
                  <a:gd name="T110" fmla="*/ 716 w 994"/>
                  <a:gd name="T111" fmla="*/ 460 h 498"/>
                  <a:gd name="T112" fmla="*/ 620 w 994"/>
                  <a:gd name="T113" fmla="*/ 450 h 498"/>
                  <a:gd name="T114" fmla="*/ 552 w 994"/>
                  <a:gd name="T115" fmla="*/ 448 h 498"/>
                  <a:gd name="T116" fmla="*/ 498 w 994"/>
                  <a:gd name="T117" fmla="*/ 482 h 498"/>
                  <a:gd name="T118" fmla="*/ 408 w 994"/>
                  <a:gd name="T119" fmla="*/ 452 h 498"/>
                  <a:gd name="T120" fmla="*/ 386 w 994"/>
                  <a:gd name="T121" fmla="*/ 38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94" h="498">
                    <a:moveTo>
                      <a:pt x="172" y="276"/>
                    </a:moveTo>
                    <a:lnTo>
                      <a:pt x="124" y="396"/>
                    </a:lnTo>
                    <a:lnTo>
                      <a:pt x="118" y="396"/>
                    </a:lnTo>
                    <a:lnTo>
                      <a:pt x="108" y="392"/>
                    </a:lnTo>
                    <a:lnTo>
                      <a:pt x="104" y="388"/>
                    </a:lnTo>
                    <a:lnTo>
                      <a:pt x="104" y="372"/>
                    </a:lnTo>
                    <a:lnTo>
                      <a:pt x="102" y="368"/>
                    </a:lnTo>
                    <a:lnTo>
                      <a:pt x="102" y="360"/>
                    </a:lnTo>
                    <a:lnTo>
                      <a:pt x="100" y="356"/>
                    </a:lnTo>
                    <a:lnTo>
                      <a:pt x="90" y="344"/>
                    </a:lnTo>
                    <a:lnTo>
                      <a:pt x="56" y="340"/>
                    </a:lnTo>
                    <a:lnTo>
                      <a:pt x="36" y="346"/>
                    </a:lnTo>
                    <a:lnTo>
                      <a:pt x="44" y="328"/>
                    </a:lnTo>
                    <a:lnTo>
                      <a:pt x="50" y="324"/>
                    </a:lnTo>
                    <a:lnTo>
                      <a:pt x="56" y="316"/>
                    </a:lnTo>
                    <a:lnTo>
                      <a:pt x="50" y="312"/>
                    </a:lnTo>
                    <a:lnTo>
                      <a:pt x="46" y="310"/>
                    </a:lnTo>
                    <a:lnTo>
                      <a:pt x="38" y="302"/>
                    </a:lnTo>
                    <a:lnTo>
                      <a:pt x="36" y="294"/>
                    </a:lnTo>
                    <a:lnTo>
                      <a:pt x="26" y="290"/>
                    </a:lnTo>
                    <a:lnTo>
                      <a:pt x="34" y="272"/>
                    </a:lnTo>
                    <a:lnTo>
                      <a:pt x="32" y="262"/>
                    </a:lnTo>
                    <a:lnTo>
                      <a:pt x="30" y="258"/>
                    </a:lnTo>
                    <a:lnTo>
                      <a:pt x="30" y="250"/>
                    </a:lnTo>
                    <a:lnTo>
                      <a:pt x="22" y="242"/>
                    </a:lnTo>
                    <a:lnTo>
                      <a:pt x="20" y="232"/>
                    </a:lnTo>
                    <a:lnTo>
                      <a:pt x="24" y="232"/>
                    </a:lnTo>
                    <a:lnTo>
                      <a:pt x="32" y="234"/>
                    </a:lnTo>
                    <a:lnTo>
                      <a:pt x="42" y="244"/>
                    </a:lnTo>
                    <a:lnTo>
                      <a:pt x="46" y="244"/>
                    </a:lnTo>
                    <a:lnTo>
                      <a:pt x="52" y="248"/>
                    </a:lnTo>
                    <a:lnTo>
                      <a:pt x="52" y="238"/>
                    </a:lnTo>
                    <a:lnTo>
                      <a:pt x="56" y="230"/>
                    </a:lnTo>
                    <a:lnTo>
                      <a:pt x="60" y="226"/>
                    </a:lnTo>
                    <a:lnTo>
                      <a:pt x="66" y="226"/>
                    </a:lnTo>
                    <a:lnTo>
                      <a:pt x="64" y="228"/>
                    </a:lnTo>
                    <a:lnTo>
                      <a:pt x="68" y="232"/>
                    </a:lnTo>
                    <a:lnTo>
                      <a:pt x="74" y="232"/>
                    </a:lnTo>
                    <a:lnTo>
                      <a:pt x="78" y="228"/>
                    </a:lnTo>
                    <a:lnTo>
                      <a:pt x="84" y="226"/>
                    </a:lnTo>
                    <a:lnTo>
                      <a:pt x="92" y="230"/>
                    </a:lnTo>
                    <a:lnTo>
                      <a:pt x="102" y="242"/>
                    </a:lnTo>
                    <a:lnTo>
                      <a:pt x="110" y="242"/>
                    </a:lnTo>
                    <a:lnTo>
                      <a:pt x="116" y="242"/>
                    </a:lnTo>
                    <a:lnTo>
                      <a:pt x="118" y="242"/>
                    </a:lnTo>
                    <a:lnTo>
                      <a:pt x="120" y="244"/>
                    </a:lnTo>
                    <a:lnTo>
                      <a:pt x="130" y="256"/>
                    </a:lnTo>
                    <a:lnTo>
                      <a:pt x="136" y="256"/>
                    </a:lnTo>
                    <a:lnTo>
                      <a:pt x="142" y="260"/>
                    </a:lnTo>
                    <a:lnTo>
                      <a:pt x="144" y="256"/>
                    </a:lnTo>
                    <a:lnTo>
                      <a:pt x="142" y="250"/>
                    </a:lnTo>
                    <a:lnTo>
                      <a:pt x="148" y="252"/>
                    </a:lnTo>
                    <a:lnTo>
                      <a:pt x="144" y="238"/>
                    </a:lnTo>
                    <a:lnTo>
                      <a:pt x="140" y="234"/>
                    </a:lnTo>
                    <a:lnTo>
                      <a:pt x="140" y="228"/>
                    </a:lnTo>
                    <a:lnTo>
                      <a:pt x="136" y="226"/>
                    </a:lnTo>
                    <a:lnTo>
                      <a:pt x="134" y="218"/>
                    </a:lnTo>
                    <a:lnTo>
                      <a:pt x="136" y="206"/>
                    </a:lnTo>
                    <a:lnTo>
                      <a:pt x="134" y="200"/>
                    </a:lnTo>
                    <a:lnTo>
                      <a:pt x="132" y="202"/>
                    </a:lnTo>
                    <a:lnTo>
                      <a:pt x="132" y="194"/>
                    </a:lnTo>
                    <a:lnTo>
                      <a:pt x="130" y="194"/>
                    </a:lnTo>
                    <a:lnTo>
                      <a:pt x="130" y="188"/>
                    </a:lnTo>
                    <a:lnTo>
                      <a:pt x="126" y="178"/>
                    </a:lnTo>
                    <a:lnTo>
                      <a:pt x="120" y="176"/>
                    </a:lnTo>
                    <a:lnTo>
                      <a:pt x="122" y="174"/>
                    </a:lnTo>
                    <a:lnTo>
                      <a:pt x="116" y="170"/>
                    </a:lnTo>
                    <a:lnTo>
                      <a:pt x="100" y="170"/>
                    </a:lnTo>
                    <a:lnTo>
                      <a:pt x="100" y="166"/>
                    </a:lnTo>
                    <a:lnTo>
                      <a:pt x="94" y="162"/>
                    </a:lnTo>
                    <a:lnTo>
                      <a:pt x="92" y="160"/>
                    </a:lnTo>
                    <a:lnTo>
                      <a:pt x="82" y="154"/>
                    </a:lnTo>
                    <a:lnTo>
                      <a:pt x="60" y="162"/>
                    </a:lnTo>
                    <a:lnTo>
                      <a:pt x="16" y="152"/>
                    </a:lnTo>
                    <a:lnTo>
                      <a:pt x="22" y="162"/>
                    </a:lnTo>
                    <a:lnTo>
                      <a:pt x="14" y="162"/>
                    </a:lnTo>
                    <a:lnTo>
                      <a:pt x="10" y="158"/>
                    </a:lnTo>
                    <a:lnTo>
                      <a:pt x="10" y="156"/>
                    </a:lnTo>
                    <a:lnTo>
                      <a:pt x="8" y="154"/>
                    </a:lnTo>
                    <a:lnTo>
                      <a:pt x="4" y="152"/>
                    </a:lnTo>
                    <a:lnTo>
                      <a:pt x="2" y="148"/>
                    </a:lnTo>
                    <a:lnTo>
                      <a:pt x="2" y="146"/>
                    </a:lnTo>
                    <a:lnTo>
                      <a:pt x="6" y="144"/>
                    </a:lnTo>
                    <a:lnTo>
                      <a:pt x="8" y="142"/>
                    </a:lnTo>
                    <a:lnTo>
                      <a:pt x="12" y="142"/>
                    </a:lnTo>
                    <a:lnTo>
                      <a:pt x="14" y="146"/>
                    </a:lnTo>
                    <a:lnTo>
                      <a:pt x="20" y="148"/>
                    </a:lnTo>
                    <a:lnTo>
                      <a:pt x="30" y="124"/>
                    </a:lnTo>
                    <a:lnTo>
                      <a:pt x="26" y="120"/>
                    </a:lnTo>
                    <a:lnTo>
                      <a:pt x="26" y="110"/>
                    </a:lnTo>
                    <a:lnTo>
                      <a:pt x="24" y="106"/>
                    </a:lnTo>
                    <a:lnTo>
                      <a:pt x="14" y="102"/>
                    </a:lnTo>
                    <a:lnTo>
                      <a:pt x="10" y="98"/>
                    </a:lnTo>
                    <a:lnTo>
                      <a:pt x="6" y="102"/>
                    </a:lnTo>
                    <a:lnTo>
                      <a:pt x="4" y="94"/>
                    </a:lnTo>
                    <a:lnTo>
                      <a:pt x="6" y="92"/>
                    </a:lnTo>
                    <a:lnTo>
                      <a:pt x="6" y="88"/>
                    </a:lnTo>
                    <a:lnTo>
                      <a:pt x="8" y="86"/>
                    </a:lnTo>
                    <a:lnTo>
                      <a:pt x="8" y="82"/>
                    </a:lnTo>
                    <a:lnTo>
                      <a:pt x="10" y="80"/>
                    </a:lnTo>
                    <a:lnTo>
                      <a:pt x="0" y="70"/>
                    </a:lnTo>
                    <a:lnTo>
                      <a:pt x="14" y="56"/>
                    </a:lnTo>
                    <a:lnTo>
                      <a:pt x="22" y="56"/>
                    </a:lnTo>
                    <a:lnTo>
                      <a:pt x="24" y="54"/>
                    </a:lnTo>
                    <a:lnTo>
                      <a:pt x="26" y="50"/>
                    </a:lnTo>
                    <a:lnTo>
                      <a:pt x="22" y="44"/>
                    </a:lnTo>
                    <a:lnTo>
                      <a:pt x="36" y="30"/>
                    </a:lnTo>
                    <a:lnTo>
                      <a:pt x="44" y="28"/>
                    </a:lnTo>
                    <a:lnTo>
                      <a:pt x="46" y="28"/>
                    </a:lnTo>
                    <a:lnTo>
                      <a:pt x="48" y="24"/>
                    </a:lnTo>
                    <a:lnTo>
                      <a:pt x="50" y="22"/>
                    </a:lnTo>
                    <a:lnTo>
                      <a:pt x="52" y="18"/>
                    </a:lnTo>
                    <a:lnTo>
                      <a:pt x="58" y="16"/>
                    </a:lnTo>
                    <a:lnTo>
                      <a:pt x="60" y="18"/>
                    </a:lnTo>
                    <a:lnTo>
                      <a:pt x="60" y="22"/>
                    </a:lnTo>
                    <a:lnTo>
                      <a:pt x="62" y="28"/>
                    </a:lnTo>
                    <a:lnTo>
                      <a:pt x="62" y="44"/>
                    </a:lnTo>
                    <a:lnTo>
                      <a:pt x="64" y="46"/>
                    </a:lnTo>
                    <a:lnTo>
                      <a:pt x="80" y="46"/>
                    </a:lnTo>
                    <a:lnTo>
                      <a:pt x="82" y="22"/>
                    </a:lnTo>
                    <a:lnTo>
                      <a:pt x="86" y="24"/>
                    </a:lnTo>
                    <a:lnTo>
                      <a:pt x="104" y="22"/>
                    </a:lnTo>
                    <a:lnTo>
                      <a:pt x="106" y="20"/>
                    </a:lnTo>
                    <a:lnTo>
                      <a:pt x="110" y="14"/>
                    </a:lnTo>
                    <a:lnTo>
                      <a:pt x="114" y="16"/>
                    </a:lnTo>
                    <a:lnTo>
                      <a:pt x="116" y="18"/>
                    </a:lnTo>
                    <a:lnTo>
                      <a:pt x="120" y="18"/>
                    </a:lnTo>
                    <a:lnTo>
                      <a:pt x="124" y="16"/>
                    </a:lnTo>
                    <a:lnTo>
                      <a:pt x="130" y="16"/>
                    </a:lnTo>
                    <a:lnTo>
                      <a:pt x="134" y="14"/>
                    </a:lnTo>
                    <a:lnTo>
                      <a:pt x="136" y="14"/>
                    </a:lnTo>
                    <a:lnTo>
                      <a:pt x="140" y="14"/>
                    </a:lnTo>
                    <a:lnTo>
                      <a:pt x="142" y="10"/>
                    </a:lnTo>
                    <a:lnTo>
                      <a:pt x="146" y="10"/>
                    </a:lnTo>
                    <a:lnTo>
                      <a:pt x="152" y="10"/>
                    </a:lnTo>
                    <a:lnTo>
                      <a:pt x="158" y="14"/>
                    </a:lnTo>
                    <a:lnTo>
                      <a:pt x="158" y="20"/>
                    </a:lnTo>
                    <a:lnTo>
                      <a:pt x="164" y="22"/>
                    </a:lnTo>
                    <a:lnTo>
                      <a:pt x="166" y="24"/>
                    </a:lnTo>
                    <a:lnTo>
                      <a:pt x="168" y="22"/>
                    </a:lnTo>
                    <a:lnTo>
                      <a:pt x="172" y="20"/>
                    </a:lnTo>
                    <a:lnTo>
                      <a:pt x="174" y="18"/>
                    </a:lnTo>
                    <a:lnTo>
                      <a:pt x="178" y="20"/>
                    </a:lnTo>
                    <a:lnTo>
                      <a:pt x="180" y="20"/>
                    </a:lnTo>
                    <a:lnTo>
                      <a:pt x="184" y="20"/>
                    </a:lnTo>
                    <a:lnTo>
                      <a:pt x="184" y="28"/>
                    </a:lnTo>
                    <a:lnTo>
                      <a:pt x="184" y="30"/>
                    </a:lnTo>
                    <a:lnTo>
                      <a:pt x="192" y="32"/>
                    </a:lnTo>
                    <a:lnTo>
                      <a:pt x="194" y="34"/>
                    </a:lnTo>
                    <a:lnTo>
                      <a:pt x="200" y="36"/>
                    </a:lnTo>
                    <a:lnTo>
                      <a:pt x="204" y="36"/>
                    </a:lnTo>
                    <a:lnTo>
                      <a:pt x="206" y="42"/>
                    </a:lnTo>
                    <a:lnTo>
                      <a:pt x="206" y="48"/>
                    </a:lnTo>
                    <a:lnTo>
                      <a:pt x="214" y="56"/>
                    </a:lnTo>
                    <a:lnTo>
                      <a:pt x="214" y="60"/>
                    </a:lnTo>
                    <a:lnTo>
                      <a:pt x="214" y="64"/>
                    </a:lnTo>
                    <a:lnTo>
                      <a:pt x="216" y="70"/>
                    </a:lnTo>
                    <a:lnTo>
                      <a:pt x="214" y="76"/>
                    </a:lnTo>
                    <a:lnTo>
                      <a:pt x="214" y="78"/>
                    </a:lnTo>
                    <a:lnTo>
                      <a:pt x="218" y="78"/>
                    </a:lnTo>
                    <a:lnTo>
                      <a:pt x="222" y="70"/>
                    </a:lnTo>
                    <a:lnTo>
                      <a:pt x="222" y="66"/>
                    </a:lnTo>
                    <a:lnTo>
                      <a:pt x="224" y="64"/>
                    </a:lnTo>
                    <a:lnTo>
                      <a:pt x="228" y="66"/>
                    </a:lnTo>
                    <a:lnTo>
                      <a:pt x="228" y="68"/>
                    </a:lnTo>
                    <a:lnTo>
                      <a:pt x="230" y="72"/>
                    </a:lnTo>
                    <a:lnTo>
                      <a:pt x="230" y="74"/>
                    </a:lnTo>
                    <a:lnTo>
                      <a:pt x="230" y="78"/>
                    </a:lnTo>
                    <a:lnTo>
                      <a:pt x="240" y="88"/>
                    </a:lnTo>
                    <a:lnTo>
                      <a:pt x="244" y="88"/>
                    </a:lnTo>
                    <a:lnTo>
                      <a:pt x="254" y="86"/>
                    </a:lnTo>
                    <a:lnTo>
                      <a:pt x="256" y="82"/>
                    </a:lnTo>
                    <a:lnTo>
                      <a:pt x="260" y="82"/>
                    </a:lnTo>
                    <a:lnTo>
                      <a:pt x="262" y="80"/>
                    </a:lnTo>
                    <a:lnTo>
                      <a:pt x="266" y="82"/>
                    </a:lnTo>
                    <a:lnTo>
                      <a:pt x="270" y="84"/>
                    </a:lnTo>
                    <a:lnTo>
                      <a:pt x="270" y="80"/>
                    </a:lnTo>
                    <a:lnTo>
                      <a:pt x="276" y="84"/>
                    </a:lnTo>
                    <a:lnTo>
                      <a:pt x="280" y="82"/>
                    </a:lnTo>
                    <a:lnTo>
                      <a:pt x="286" y="90"/>
                    </a:lnTo>
                    <a:lnTo>
                      <a:pt x="292" y="90"/>
                    </a:lnTo>
                    <a:lnTo>
                      <a:pt x="296" y="88"/>
                    </a:lnTo>
                    <a:lnTo>
                      <a:pt x="302" y="90"/>
                    </a:lnTo>
                    <a:lnTo>
                      <a:pt x="306" y="88"/>
                    </a:lnTo>
                    <a:lnTo>
                      <a:pt x="310" y="94"/>
                    </a:lnTo>
                    <a:lnTo>
                      <a:pt x="312" y="96"/>
                    </a:lnTo>
                    <a:lnTo>
                      <a:pt x="310" y="102"/>
                    </a:lnTo>
                    <a:lnTo>
                      <a:pt x="312" y="106"/>
                    </a:lnTo>
                    <a:lnTo>
                      <a:pt x="314" y="108"/>
                    </a:lnTo>
                    <a:lnTo>
                      <a:pt x="320" y="110"/>
                    </a:lnTo>
                    <a:lnTo>
                      <a:pt x="326" y="114"/>
                    </a:lnTo>
                    <a:lnTo>
                      <a:pt x="326" y="112"/>
                    </a:lnTo>
                    <a:lnTo>
                      <a:pt x="326" y="118"/>
                    </a:lnTo>
                    <a:lnTo>
                      <a:pt x="332" y="120"/>
                    </a:lnTo>
                    <a:lnTo>
                      <a:pt x="336" y="118"/>
                    </a:lnTo>
                    <a:lnTo>
                      <a:pt x="344" y="112"/>
                    </a:lnTo>
                    <a:lnTo>
                      <a:pt x="346" y="114"/>
                    </a:lnTo>
                    <a:lnTo>
                      <a:pt x="350" y="120"/>
                    </a:lnTo>
                    <a:lnTo>
                      <a:pt x="364" y="122"/>
                    </a:lnTo>
                    <a:lnTo>
                      <a:pt x="366" y="122"/>
                    </a:lnTo>
                    <a:lnTo>
                      <a:pt x="374" y="120"/>
                    </a:lnTo>
                    <a:lnTo>
                      <a:pt x="386" y="106"/>
                    </a:lnTo>
                    <a:lnTo>
                      <a:pt x="384" y="100"/>
                    </a:lnTo>
                    <a:lnTo>
                      <a:pt x="372" y="96"/>
                    </a:lnTo>
                    <a:lnTo>
                      <a:pt x="370" y="90"/>
                    </a:lnTo>
                    <a:lnTo>
                      <a:pt x="360" y="86"/>
                    </a:lnTo>
                    <a:lnTo>
                      <a:pt x="362" y="82"/>
                    </a:lnTo>
                    <a:lnTo>
                      <a:pt x="362" y="78"/>
                    </a:lnTo>
                    <a:lnTo>
                      <a:pt x="356" y="76"/>
                    </a:lnTo>
                    <a:lnTo>
                      <a:pt x="356" y="72"/>
                    </a:lnTo>
                    <a:lnTo>
                      <a:pt x="380" y="68"/>
                    </a:lnTo>
                    <a:lnTo>
                      <a:pt x="382" y="66"/>
                    </a:lnTo>
                    <a:lnTo>
                      <a:pt x="384" y="64"/>
                    </a:lnTo>
                    <a:lnTo>
                      <a:pt x="380" y="50"/>
                    </a:lnTo>
                    <a:lnTo>
                      <a:pt x="384" y="50"/>
                    </a:lnTo>
                    <a:lnTo>
                      <a:pt x="386" y="50"/>
                    </a:lnTo>
                    <a:lnTo>
                      <a:pt x="388" y="46"/>
                    </a:lnTo>
                    <a:lnTo>
                      <a:pt x="392" y="46"/>
                    </a:lnTo>
                    <a:lnTo>
                      <a:pt x="410" y="50"/>
                    </a:lnTo>
                    <a:lnTo>
                      <a:pt x="414" y="50"/>
                    </a:lnTo>
                    <a:lnTo>
                      <a:pt x="416" y="48"/>
                    </a:lnTo>
                    <a:lnTo>
                      <a:pt x="416" y="46"/>
                    </a:lnTo>
                    <a:lnTo>
                      <a:pt x="410" y="40"/>
                    </a:lnTo>
                    <a:lnTo>
                      <a:pt x="398" y="36"/>
                    </a:lnTo>
                    <a:lnTo>
                      <a:pt x="398" y="32"/>
                    </a:lnTo>
                    <a:lnTo>
                      <a:pt x="398" y="30"/>
                    </a:lnTo>
                    <a:lnTo>
                      <a:pt x="402" y="30"/>
                    </a:lnTo>
                    <a:lnTo>
                      <a:pt x="406" y="30"/>
                    </a:lnTo>
                    <a:lnTo>
                      <a:pt x="408" y="28"/>
                    </a:lnTo>
                    <a:lnTo>
                      <a:pt x="406" y="26"/>
                    </a:lnTo>
                    <a:lnTo>
                      <a:pt x="402" y="26"/>
                    </a:lnTo>
                    <a:lnTo>
                      <a:pt x="396" y="24"/>
                    </a:lnTo>
                    <a:lnTo>
                      <a:pt x="398" y="22"/>
                    </a:lnTo>
                    <a:lnTo>
                      <a:pt x="400" y="18"/>
                    </a:lnTo>
                    <a:lnTo>
                      <a:pt x="402" y="18"/>
                    </a:lnTo>
                    <a:lnTo>
                      <a:pt x="400" y="12"/>
                    </a:lnTo>
                    <a:lnTo>
                      <a:pt x="406" y="14"/>
                    </a:lnTo>
                    <a:lnTo>
                      <a:pt x="408" y="12"/>
                    </a:lnTo>
                    <a:lnTo>
                      <a:pt x="412" y="12"/>
                    </a:lnTo>
                    <a:lnTo>
                      <a:pt x="412" y="16"/>
                    </a:lnTo>
                    <a:lnTo>
                      <a:pt x="418" y="16"/>
                    </a:lnTo>
                    <a:lnTo>
                      <a:pt x="422" y="16"/>
                    </a:lnTo>
                    <a:lnTo>
                      <a:pt x="432" y="20"/>
                    </a:lnTo>
                    <a:lnTo>
                      <a:pt x="432" y="22"/>
                    </a:lnTo>
                    <a:lnTo>
                      <a:pt x="438" y="18"/>
                    </a:lnTo>
                    <a:lnTo>
                      <a:pt x="442" y="18"/>
                    </a:lnTo>
                    <a:lnTo>
                      <a:pt x="448" y="20"/>
                    </a:lnTo>
                    <a:lnTo>
                      <a:pt x="450" y="20"/>
                    </a:lnTo>
                    <a:lnTo>
                      <a:pt x="454" y="20"/>
                    </a:lnTo>
                    <a:lnTo>
                      <a:pt x="460" y="16"/>
                    </a:lnTo>
                    <a:lnTo>
                      <a:pt x="464" y="18"/>
                    </a:lnTo>
                    <a:lnTo>
                      <a:pt x="464" y="22"/>
                    </a:lnTo>
                    <a:lnTo>
                      <a:pt x="468" y="22"/>
                    </a:lnTo>
                    <a:lnTo>
                      <a:pt x="470" y="20"/>
                    </a:lnTo>
                    <a:lnTo>
                      <a:pt x="476" y="20"/>
                    </a:lnTo>
                    <a:lnTo>
                      <a:pt x="480" y="18"/>
                    </a:lnTo>
                    <a:lnTo>
                      <a:pt x="484" y="18"/>
                    </a:lnTo>
                    <a:lnTo>
                      <a:pt x="486" y="18"/>
                    </a:lnTo>
                    <a:lnTo>
                      <a:pt x="490" y="18"/>
                    </a:lnTo>
                    <a:lnTo>
                      <a:pt x="492" y="20"/>
                    </a:lnTo>
                    <a:lnTo>
                      <a:pt x="498" y="14"/>
                    </a:lnTo>
                    <a:lnTo>
                      <a:pt x="502" y="12"/>
                    </a:lnTo>
                    <a:lnTo>
                      <a:pt x="504" y="12"/>
                    </a:lnTo>
                    <a:lnTo>
                      <a:pt x="508" y="14"/>
                    </a:lnTo>
                    <a:lnTo>
                      <a:pt x="514" y="14"/>
                    </a:lnTo>
                    <a:lnTo>
                      <a:pt x="514" y="14"/>
                    </a:lnTo>
                    <a:lnTo>
                      <a:pt x="554" y="14"/>
                    </a:lnTo>
                    <a:lnTo>
                      <a:pt x="558" y="12"/>
                    </a:lnTo>
                    <a:lnTo>
                      <a:pt x="560" y="14"/>
                    </a:lnTo>
                    <a:lnTo>
                      <a:pt x="564" y="12"/>
                    </a:lnTo>
                    <a:lnTo>
                      <a:pt x="566" y="10"/>
                    </a:lnTo>
                    <a:lnTo>
                      <a:pt x="568" y="4"/>
                    </a:lnTo>
                    <a:lnTo>
                      <a:pt x="570" y="6"/>
                    </a:lnTo>
                    <a:lnTo>
                      <a:pt x="574" y="6"/>
                    </a:lnTo>
                    <a:lnTo>
                      <a:pt x="576" y="4"/>
                    </a:lnTo>
                    <a:lnTo>
                      <a:pt x="580" y="2"/>
                    </a:lnTo>
                    <a:lnTo>
                      <a:pt x="582" y="2"/>
                    </a:lnTo>
                    <a:lnTo>
                      <a:pt x="584" y="0"/>
                    </a:lnTo>
                    <a:lnTo>
                      <a:pt x="588" y="2"/>
                    </a:lnTo>
                    <a:lnTo>
                      <a:pt x="590" y="4"/>
                    </a:lnTo>
                    <a:lnTo>
                      <a:pt x="592" y="4"/>
                    </a:lnTo>
                    <a:lnTo>
                      <a:pt x="596" y="6"/>
                    </a:lnTo>
                    <a:lnTo>
                      <a:pt x="598" y="4"/>
                    </a:lnTo>
                    <a:lnTo>
                      <a:pt x="602" y="6"/>
                    </a:lnTo>
                    <a:lnTo>
                      <a:pt x="604" y="10"/>
                    </a:lnTo>
                    <a:lnTo>
                      <a:pt x="608" y="14"/>
                    </a:lnTo>
                    <a:lnTo>
                      <a:pt x="610" y="12"/>
                    </a:lnTo>
                    <a:lnTo>
                      <a:pt x="614" y="10"/>
                    </a:lnTo>
                    <a:lnTo>
                      <a:pt x="620" y="10"/>
                    </a:lnTo>
                    <a:lnTo>
                      <a:pt x="622" y="12"/>
                    </a:lnTo>
                    <a:lnTo>
                      <a:pt x="624" y="14"/>
                    </a:lnTo>
                    <a:lnTo>
                      <a:pt x="626" y="18"/>
                    </a:lnTo>
                    <a:lnTo>
                      <a:pt x="624" y="26"/>
                    </a:lnTo>
                    <a:lnTo>
                      <a:pt x="624" y="30"/>
                    </a:lnTo>
                    <a:lnTo>
                      <a:pt x="630" y="34"/>
                    </a:lnTo>
                    <a:lnTo>
                      <a:pt x="628" y="36"/>
                    </a:lnTo>
                    <a:lnTo>
                      <a:pt x="626" y="42"/>
                    </a:lnTo>
                    <a:lnTo>
                      <a:pt x="622" y="46"/>
                    </a:lnTo>
                    <a:lnTo>
                      <a:pt x="624" y="50"/>
                    </a:lnTo>
                    <a:lnTo>
                      <a:pt x="624" y="52"/>
                    </a:lnTo>
                    <a:lnTo>
                      <a:pt x="630" y="52"/>
                    </a:lnTo>
                    <a:lnTo>
                      <a:pt x="632" y="54"/>
                    </a:lnTo>
                    <a:lnTo>
                      <a:pt x="636" y="54"/>
                    </a:lnTo>
                    <a:lnTo>
                      <a:pt x="638" y="52"/>
                    </a:lnTo>
                    <a:lnTo>
                      <a:pt x="640" y="52"/>
                    </a:lnTo>
                    <a:lnTo>
                      <a:pt x="644" y="54"/>
                    </a:lnTo>
                    <a:lnTo>
                      <a:pt x="646" y="48"/>
                    </a:lnTo>
                    <a:lnTo>
                      <a:pt x="648" y="48"/>
                    </a:lnTo>
                    <a:lnTo>
                      <a:pt x="650" y="54"/>
                    </a:lnTo>
                    <a:lnTo>
                      <a:pt x="652" y="56"/>
                    </a:lnTo>
                    <a:lnTo>
                      <a:pt x="650" y="60"/>
                    </a:lnTo>
                    <a:lnTo>
                      <a:pt x="650" y="62"/>
                    </a:lnTo>
                    <a:lnTo>
                      <a:pt x="656" y="64"/>
                    </a:lnTo>
                    <a:lnTo>
                      <a:pt x="656" y="60"/>
                    </a:lnTo>
                    <a:lnTo>
                      <a:pt x="654" y="58"/>
                    </a:lnTo>
                    <a:lnTo>
                      <a:pt x="656" y="58"/>
                    </a:lnTo>
                    <a:lnTo>
                      <a:pt x="662" y="60"/>
                    </a:lnTo>
                    <a:lnTo>
                      <a:pt x="666" y="62"/>
                    </a:lnTo>
                    <a:lnTo>
                      <a:pt x="668" y="64"/>
                    </a:lnTo>
                    <a:lnTo>
                      <a:pt x="670" y="66"/>
                    </a:lnTo>
                    <a:lnTo>
                      <a:pt x="674" y="66"/>
                    </a:lnTo>
                    <a:lnTo>
                      <a:pt x="676" y="64"/>
                    </a:lnTo>
                    <a:lnTo>
                      <a:pt x="678" y="62"/>
                    </a:lnTo>
                    <a:lnTo>
                      <a:pt x="680" y="66"/>
                    </a:lnTo>
                    <a:lnTo>
                      <a:pt x="678" y="68"/>
                    </a:lnTo>
                    <a:lnTo>
                      <a:pt x="676" y="70"/>
                    </a:lnTo>
                    <a:lnTo>
                      <a:pt x="672" y="70"/>
                    </a:lnTo>
                    <a:lnTo>
                      <a:pt x="670" y="74"/>
                    </a:lnTo>
                    <a:lnTo>
                      <a:pt x="668" y="76"/>
                    </a:lnTo>
                    <a:lnTo>
                      <a:pt x="668" y="80"/>
                    </a:lnTo>
                    <a:lnTo>
                      <a:pt x="670" y="82"/>
                    </a:lnTo>
                    <a:lnTo>
                      <a:pt x="674" y="82"/>
                    </a:lnTo>
                    <a:lnTo>
                      <a:pt x="676" y="80"/>
                    </a:lnTo>
                    <a:lnTo>
                      <a:pt x="682" y="78"/>
                    </a:lnTo>
                    <a:lnTo>
                      <a:pt x="686" y="80"/>
                    </a:lnTo>
                    <a:lnTo>
                      <a:pt x="688" y="80"/>
                    </a:lnTo>
                    <a:lnTo>
                      <a:pt x="690" y="82"/>
                    </a:lnTo>
                    <a:lnTo>
                      <a:pt x="694" y="82"/>
                    </a:lnTo>
                    <a:lnTo>
                      <a:pt x="694" y="80"/>
                    </a:lnTo>
                    <a:lnTo>
                      <a:pt x="696" y="78"/>
                    </a:lnTo>
                    <a:lnTo>
                      <a:pt x="700" y="78"/>
                    </a:lnTo>
                    <a:lnTo>
                      <a:pt x="704" y="74"/>
                    </a:lnTo>
                    <a:lnTo>
                      <a:pt x="710" y="74"/>
                    </a:lnTo>
                    <a:lnTo>
                      <a:pt x="716" y="70"/>
                    </a:lnTo>
                    <a:lnTo>
                      <a:pt x="718" y="64"/>
                    </a:lnTo>
                    <a:lnTo>
                      <a:pt x="722" y="62"/>
                    </a:lnTo>
                    <a:lnTo>
                      <a:pt x="726" y="64"/>
                    </a:lnTo>
                    <a:lnTo>
                      <a:pt x="734" y="62"/>
                    </a:lnTo>
                    <a:lnTo>
                      <a:pt x="736" y="58"/>
                    </a:lnTo>
                    <a:lnTo>
                      <a:pt x="744" y="60"/>
                    </a:lnTo>
                    <a:lnTo>
                      <a:pt x="748" y="56"/>
                    </a:lnTo>
                    <a:lnTo>
                      <a:pt x="750" y="60"/>
                    </a:lnTo>
                    <a:lnTo>
                      <a:pt x="750" y="62"/>
                    </a:lnTo>
                    <a:lnTo>
                      <a:pt x="748" y="64"/>
                    </a:lnTo>
                    <a:lnTo>
                      <a:pt x="746" y="66"/>
                    </a:lnTo>
                    <a:lnTo>
                      <a:pt x="742" y="66"/>
                    </a:lnTo>
                    <a:lnTo>
                      <a:pt x="742" y="68"/>
                    </a:lnTo>
                    <a:lnTo>
                      <a:pt x="742" y="70"/>
                    </a:lnTo>
                    <a:lnTo>
                      <a:pt x="772" y="100"/>
                    </a:lnTo>
                    <a:lnTo>
                      <a:pt x="818" y="188"/>
                    </a:lnTo>
                    <a:lnTo>
                      <a:pt x="824" y="184"/>
                    </a:lnTo>
                    <a:lnTo>
                      <a:pt x="826" y="182"/>
                    </a:lnTo>
                    <a:lnTo>
                      <a:pt x="826" y="178"/>
                    </a:lnTo>
                    <a:lnTo>
                      <a:pt x="832" y="172"/>
                    </a:lnTo>
                    <a:lnTo>
                      <a:pt x="834" y="172"/>
                    </a:lnTo>
                    <a:lnTo>
                      <a:pt x="836" y="176"/>
                    </a:lnTo>
                    <a:lnTo>
                      <a:pt x="840" y="176"/>
                    </a:lnTo>
                    <a:lnTo>
                      <a:pt x="846" y="180"/>
                    </a:lnTo>
                    <a:lnTo>
                      <a:pt x="844" y="182"/>
                    </a:lnTo>
                    <a:lnTo>
                      <a:pt x="846" y="186"/>
                    </a:lnTo>
                    <a:lnTo>
                      <a:pt x="848" y="186"/>
                    </a:lnTo>
                    <a:lnTo>
                      <a:pt x="850" y="192"/>
                    </a:lnTo>
                    <a:lnTo>
                      <a:pt x="862" y="190"/>
                    </a:lnTo>
                    <a:lnTo>
                      <a:pt x="870" y="192"/>
                    </a:lnTo>
                    <a:lnTo>
                      <a:pt x="872" y="192"/>
                    </a:lnTo>
                    <a:lnTo>
                      <a:pt x="880" y="192"/>
                    </a:lnTo>
                    <a:lnTo>
                      <a:pt x="880" y="188"/>
                    </a:lnTo>
                    <a:lnTo>
                      <a:pt x="882" y="186"/>
                    </a:lnTo>
                    <a:lnTo>
                      <a:pt x="886" y="186"/>
                    </a:lnTo>
                    <a:lnTo>
                      <a:pt x="890" y="186"/>
                    </a:lnTo>
                    <a:lnTo>
                      <a:pt x="892" y="184"/>
                    </a:lnTo>
                    <a:lnTo>
                      <a:pt x="894" y="182"/>
                    </a:lnTo>
                    <a:lnTo>
                      <a:pt x="904" y="186"/>
                    </a:lnTo>
                    <a:lnTo>
                      <a:pt x="906" y="188"/>
                    </a:lnTo>
                    <a:lnTo>
                      <a:pt x="910" y="190"/>
                    </a:lnTo>
                    <a:lnTo>
                      <a:pt x="914" y="194"/>
                    </a:lnTo>
                    <a:lnTo>
                      <a:pt x="918" y="196"/>
                    </a:lnTo>
                    <a:lnTo>
                      <a:pt x="918" y="198"/>
                    </a:lnTo>
                    <a:lnTo>
                      <a:pt x="918" y="202"/>
                    </a:lnTo>
                    <a:lnTo>
                      <a:pt x="918" y="206"/>
                    </a:lnTo>
                    <a:lnTo>
                      <a:pt x="920" y="208"/>
                    </a:lnTo>
                    <a:lnTo>
                      <a:pt x="924" y="208"/>
                    </a:lnTo>
                    <a:lnTo>
                      <a:pt x="934" y="214"/>
                    </a:lnTo>
                    <a:lnTo>
                      <a:pt x="936" y="216"/>
                    </a:lnTo>
                    <a:lnTo>
                      <a:pt x="934" y="220"/>
                    </a:lnTo>
                    <a:lnTo>
                      <a:pt x="938" y="220"/>
                    </a:lnTo>
                    <a:lnTo>
                      <a:pt x="940" y="224"/>
                    </a:lnTo>
                    <a:lnTo>
                      <a:pt x="944" y="230"/>
                    </a:lnTo>
                    <a:lnTo>
                      <a:pt x="948" y="230"/>
                    </a:lnTo>
                    <a:lnTo>
                      <a:pt x="954" y="232"/>
                    </a:lnTo>
                    <a:lnTo>
                      <a:pt x="962" y="234"/>
                    </a:lnTo>
                    <a:lnTo>
                      <a:pt x="968" y="234"/>
                    </a:lnTo>
                    <a:lnTo>
                      <a:pt x="970" y="232"/>
                    </a:lnTo>
                    <a:lnTo>
                      <a:pt x="972" y="228"/>
                    </a:lnTo>
                    <a:lnTo>
                      <a:pt x="978" y="226"/>
                    </a:lnTo>
                    <a:lnTo>
                      <a:pt x="980" y="230"/>
                    </a:lnTo>
                    <a:lnTo>
                      <a:pt x="982" y="232"/>
                    </a:lnTo>
                    <a:lnTo>
                      <a:pt x="984" y="234"/>
                    </a:lnTo>
                    <a:lnTo>
                      <a:pt x="988" y="240"/>
                    </a:lnTo>
                    <a:lnTo>
                      <a:pt x="992" y="242"/>
                    </a:lnTo>
                    <a:lnTo>
                      <a:pt x="994" y="244"/>
                    </a:lnTo>
                    <a:lnTo>
                      <a:pt x="988" y="256"/>
                    </a:lnTo>
                    <a:lnTo>
                      <a:pt x="988" y="256"/>
                    </a:lnTo>
                    <a:lnTo>
                      <a:pt x="984" y="264"/>
                    </a:lnTo>
                    <a:lnTo>
                      <a:pt x="978" y="272"/>
                    </a:lnTo>
                    <a:lnTo>
                      <a:pt x="968" y="276"/>
                    </a:lnTo>
                    <a:lnTo>
                      <a:pt x="960" y="274"/>
                    </a:lnTo>
                    <a:lnTo>
                      <a:pt x="956" y="284"/>
                    </a:lnTo>
                    <a:lnTo>
                      <a:pt x="954" y="322"/>
                    </a:lnTo>
                    <a:lnTo>
                      <a:pt x="944" y="324"/>
                    </a:lnTo>
                    <a:lnTo>
                      <a:pt x="936" y="330"/>
                    </a:lnTo>
                    <a:lnTo>
                      <a:pt x="928" y="324"/>
                    </a:lnTo>
                    <a:lnTo>
                      <a:pt x="912" y="326"/>
                    </a:lnTo>
                    <a:lnTo>
                      <a:pt x="902" y="322"/>
                    </a:lnTo>
                    <a:lnTo>
                      <a:pt x="898" y="320"/>
                    </a:lnTo>
                    <a:lnTo>
                      <a:pt x="888" y="318"/>
                    </a:lnTo>
                    <a:lnTo>
                      <a:pt x="866" y="372"/>
                    </a:lnTo>
                    <a:lnTo>
                      <a:pt x="870" y="386"/>
                    </a:lnTo>
                    <a:lnTo>
                      <a:pt x="866" y="388"/>
                    </a:lnTo>
                    <a:lnTo>
                      <a:pt x="810" y="396"/>
                    </a:lnTo>
                    <a:lnTo>
                      <a:pt x="804" y="400"/>
                    </a:lnTo>
                    <a:lnTo>
                      <a:pt x="808" y="404"/>
                    </a:lnTo>
                    <a:lnTo>
                      <a:pt x="822" y="454"/>
                    </a:lnTo>
                    <a:lnTo>
                      <a:pt x="822" y="460"/>
                    </a:lnTo>
                    <a:lnTo>
                      <a:pt x="814" y="466"/>
                    </a:lnTo>
                    <a:lnTo>
                      <a:pt x="814" y="472"/>
                    </a:lnTo>
                    <a:lnTo>
                      <a:pt x="810" y="476"/>
                    </a:lnTo>
                    <a:lnTo>
                      <a:pt x="808" y="482"/>
                    </a:lnTo>
                    <a:lnTo>
                      <a:pt x="808" y="490"/>
                    </a:lnTo>
                    <a:lnTo>
                      <a:pt x="804" y="490"/>
                    </a:lnTo>
                    <a:lnTo>
                      <a:pt x="794" y="482"/>
                    </a:lnTo>
                    <a:lnTo>
                      <a:pt x="786" y="482"/>
                    </a:lnTo>
                    <a:lnTo>
                      <a:pt x="780" y="472"/>
                    </a:lnTo>
                    <a:lnTo>
                      <a:pt x="764" y="470"/>
                    </a:lnTo>
                    <a:lnTo>
                      <a:pt x="760" y="466"/>
                    </a:lnTo>
                    <a:lnTo>
                      <a:pt x="728" y="464"/>
                    </a:lnTo>
                    <a:lnTo>
                      <a:pt x="720" y="460"/>
                    </a:lnTo>
                    <a:lnTo>
                      <a:pt x="716" y="460"/>
                    </a:lnTo>
                    <a:lnTo>
                      <a:pt x="708" y="462"/>
                    </a:lnTo>
                    <a:lnTo>
                      <a:pt x="668" y="458"/>
                    </a:lnTo>
                    <a:lnTo>
                      <a:pt x="664" y="454"/>
                    </a:lnTo>
                    <a:lnTo>
                      <a:pt x="652" y="454"/>
                    </a:lnTo>
                    <a:lnTo>
                      <a:pt x="640" y="444"/>
                    </a:lnTo>
                    <a:lnTo>
                      <a:pt x="636" y="446"/>
                    </a:lnTo>
                    <a:lnTo>
                      <a:pt x="632" y="446"/>
                    </a:lnTo>
                    <a:lnTo>
                      <a:pt x="620" y="450"/>
                    </a:lnTo>
                    <a:lnTo>
                      <a:pt x="620" y="454"/>
                    </a:lnTo>
                    <a:lnTo>
                      <a:pt x="618" y="456"/>
                    </a:lnTo>
                    <a:lnTo>
                      <a:pt x="614" y="464"/>
                    </a:lnTo>
                    <a:lnTo>
                      <a:pt x="612" y="468"/>
                    </a:lnTo>
                    <a:lnTo>
                      <a:pt x="572" y="450"/>
                    </a:lnTo>
                    <a:lnTo>
                      <a:pt x="568" y="450"/>
                    </a:lnTo>
                    <a:lnTo>
                      <a:pt x="564" y="448"/>
                    </a:lnTo>
                    <a:lnTo>
                      <a:pt x="552" y="448"/>
                    </a:lnTo>
                    <a:lnTo>
                      <a:pt x="550" y="452"/>
                    </a:lnTo>
                    <a:lnTo>
                      <a:pt x="550" y="456"/>
                    </a:lnTo>
                    <a:lnTo>
                      <a:pt x="536" y="470"/>
                    </a:lnTo>
                    <a:lnTo>
                      <a:pt x="532" y="470"/>
                    </a:lnTo>
                    <a:lnTo>
                      <a:pt x="528" y="468"/>
                    </a:lnTo>
                    <a:lnTo>
                      <a:pt x="524" y="476"/>
                    </a:lnTo>
                    <a:lnTo>
                      <a:pt x="520" y="478"/>
                    </a:lnTo>
                    <a:lnTo>
                      <a:pt x="498" y="482"/>
                    </a:lnTo>
                    <a:lnTo>
                      <a:pt x="496" y="486"/>
                    </a:lnTo>
                    <a:lnTo>
                      <a:pt x="488" y="488"/>
                    </a:lnTo>
                    <a:lnTo>
                      <a:pt x="482" y="494"/>
                    </a:lnTo>
                    <a:lnTo>
                      <a:pt x="474" y="498"/>
                    </a:lnTo>
                    <a:lnTo>
                      <a:pt x="454" y="484"/>
                    </a:lnTo>
                    <a:lnTo>
                      <a:pt x="424" y="482"/>
                    </a:lnTo>
                    <a:lnTo>
                      <a:pt x="424" y="458"/>
                    </a:lnTo>
                    <a:lnTo>
                      <a:pt x="408" y="452"/>
                    </a:lnTo>
                    <a:lnTo>
                      <a:pt x="410" y="438"/>
                    </a:lnTo>
                    <a:lnTo>
                      <a:pt x="414" y="438"/>
                    </a:lnTo>
                    <a:lnTo>
                      <a:pt x="420" y="418"/>
                    </a:lnTo>
                    <a:lnTo>
                      <a:pt x="412" y="418"/>
                    </a:lnTo>
                    <a:lnTo>
                      <a:pt x="408" y="400"/>
                    </a:lnTo>
                    <a:lnTo>
                      <a:pt x="394" y="386"/>
                    </a:lnTo>
                    <a:lnTo>
                      <a:pt x="392" y="384"/>
                    </a:lnTo>
                    <a:lnTo>
                      <a:pt x="386" y="384"/>
                    </a:lnTo>
                    <a:lnTo>
                      <a:pt x="312" y="372"/>
                    </a:lnTo>
                    <a:lnTo>
                      <a:pt x="246" y="276"/>
                    </a:lnTo>
                    <a:lnTo>
                      <a:pt x="172" y="27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75" name="Freeform 31"/>
              <p:cNvSpPr>
                <a:spLocks/>
              </p:cNvSpPr>
              <p:nvPr/>
            </p:nvSpPr>
            <p:spPr bwMode="auto">
              <a:xfrm>
                <a:off x="2715856" y="2957513"/>
                <a:ext cx="1709342" cy="790575"/>
              </a:xfrm>
              <a:custGeom>
                <a:avLst/>
                <a:gdLst>
                  <a:gd name="T0" fmla="*/ 102 w 994"/>
                  <a:gd name="T1" fmla="*/ 360 h 498"/>
                  <a:gd name="T2" fmla="*/ 50 w 994"/>
                  <a:gd name="T3" fmla="*/ 312 h 498"/>
                  <a:gd name="T4" fmla="*/ 30 w 994"/>
                  <a:gd name="T5" fmla="*/ 250 h 498"/>
                  <a:gd name="T6" fmla="*/ 52 w 994"/>
                  <a:gd name="T7" fmla="*/ 238 h 498"/>
                  <a:gd name="T8" fmla="*/ 84 w 994"/>
                  <a:gd name="T9" fmla="*/ 226 h 498"/>
                  <a:gd name="T10" fmla="*/ 136 w 994"/>
                  <a:gd name="T11" fmla="*/ 256 h 498"/>
                  <a:gd name="T12" fmla="*/ 136 w 994"/>
                  <a:gd name="T13" fmla="*/ 226 h 498"/>
                  <a:gd name="T14" fmla="*/ 126 w 994"/>
                  <a:gd name="T15" fmla="*/ 178 h 498"/>
                  <a:gd name="T16" fmla="*/ 82 w 994"/>
                  <a:gd name="T17" fmla="*/ 154 h 498"/>
                  <a:gd name="T18" fmla="*/ 4 w 994"/>
                  <a:gd name="T19" fmla="*/ 152 h 498"/>
                  <a:gd name="T20" fmla="*/ 30 w 994"/>
                  <a:gd name="T21" fmla="*/ 124 h 498"/>
                  <a:gd name="T22" fmla="*/ 6 w 994"/>
                  <a:gd name="T23" fmla="*/ 92 h 498"/>
                  <a:gd name="T24" fmla="*/ 24 w 994"/>
                  <a:gd name="T25" fmla="*/ 54 h 498"/>
                  <a:gd name="T26" fmla="*/ 52 w 994"/>
                  <a:gd name="T27" fmla="*/ 18 h 498"/>
                  <a:gd name="T28" fmla="*/ 82 w 994"/>
                  <a:gd name="T29" fmla="*/ 22 h 498"/>
                  <a:gd name="T30" fmla="*/ 124 w 994"/>
                  <a:gd name="T31" fmla="*/ 16 h 498"/>
                  <a:gd name="T32" fmla="*/ 158 w 994"/>
                  <a:gd name="T33" fmla="*/ 14 h 498"/>
                  <a:gd name="T34" fmla="*/ 180 w 994"/>
                  <a:gd name="T35" fmla="*/ 20 h 498"/>
                  <a:gd name="T36" fmla="*/ 206 w 994"/>
                  <a:gd name="T37" fmla="*/ 42 h 498"/>
                  <a:gd name="T38" fmla="*/ 218 w 994"/>
                  <a:gd name="T39" fmla="*/ 78 h 498"/>
                  <a:gd name="T40" fmla="*/ 230 w 994"/>
                  <a:gd name="T41" fmla="*/ 78 h 498"/>
                  <a:gd name="T42" fmla="*/ 270 w 994"/>
                  <a:gd name="T43" fmla="*/ 84 h 498"/>
                  <a:gd name="T44" fmla="*/ 306 w 994"/>
                  <a:gd name="T45" fmla="*/ 88 h 498"/>
                  <a:gd name="T46" fmla="*/ 326 w 994"/>
                  <a:gd name="T47" fmla="*/ 112 h 498"/>
                  <a:gd name="T48" fmla="*/ 366 w 994"/>
                  <a:gd name="T49" fmla="*/ 122 h 498"/>
                  <a:gd name="T50" fmla="*/ 362 w 994"/>
                  <a:gd name="T51" fmla="*/ 78 h 498"/>
                  <a:gd name="T52" fmla="*/ 386 w 994"/>
                  <a:gd name="T53" fmla="*/ 50 h 498"/>
                  <a:gd name="T54" fmla="*/ 398 w 994"/>
                  <a:gd name="T55" fmla="*/ 36 h 498"/>
                  <a:gd name="T56" fmla="*/ 396 w 994"/>
                  <a:gd name="T57" fmla="*/ 24 h 498"/>
                  <a:gd name="T58" fmla="*/ 412 w 994"/>
                  <a:gd name="T59" fmla="*/ 16 h 498"/>
                  <a:gd name="T60" fmla="*/ 450 w 994"/>
                  <a:gd name="T61" fmla="*/ 20 h 498"/>
                  <a:gd name="T62" fmla="*/ 480 w 994"/>
                  <a:gd name="T63" fmla="*/ 18 h 498"/>
                  <a:gd name="T64" fmla="*/ 508 w 994"/>
                  <a:gd name="T65" fmla="*/ 14 h 498"/>
                  <a:gd name="T66" fmla="*/ 568 w 994"/>
                  <a:gd name="T67" fmla="*/ 4 h 498"/>
                  <a:gd name="T68" fmla="*/ 590 w 994"/>
                  <a:gd name="T69" fmla="*/ 4 h 498"/>
                  <a:gd name="T70" fmla="*/ 614 w 994"/>
                  <a:gd name="T71" fmla="*/ 10 h 498"/>
                  <a:gd name="T72" fmla="*/ 628 w 994"/>
                  <a:gd name="T73" fmla="*/ 36 h 498"/>
                  <a:gd name="T74" fmla="*/ 638 w 994"/>
                  <a:gd name="T75" fmla="*/ 52 h 498"/>
                  <a:gd name="T76" fmla="*/ 650 w 994"/>
                  <a:gd name="T77" fmla="*/ 62 h 498"/>
                  <a:gd name="T78" fmla="*/ 670 w 994"/>
                  <a:gd name="T79" fmla="*/ 66 h 498"/>
                  <a:gd name="T80" fmla="*/ 670 w 994"/>
                  <a:gd name="T81" fmla="*/ 74 h 498"/>
                  <a:gd name="T82" fmla="*/ 688 w 994"/>
                  <a:gd name="T83" fmla="*/ 80 h 498"/>
                  <a:gd name="T84" fmla="*/ 716 w 994"/>
                  <a:gd name="T85" fmla="*/ 70 h 498"/>
                  <a:gd name="T86" fmla="*/ 750 w 994"/>
                  <a:gd name="T87" fmla="*/ 60 h 498"/>
                  <a:gd name="T88" fmla="*/ 818 w 994"/>
                  <a:gd name="T89" fmla="*/ 188 h 498"/>
                  <a:gd name="T90" fmla="*/ 846 w 994"/>
                  <a:gd name="T91" fmla="*/ 180 h 498"/>
                  <a:gd name="T92" fmla="*/ 880 w 994"/>
                  <a:gd name="T93" fmla="*/ 192 h 498"/>
                  <a:gd name="T94" fmla="*/ 906 w 994"/>
                  <a:gd name="T95" fmla="*/ 188 h 498"/>
                  <a:gd name="T96" fmla="*/ 924 w 994"/>
                  <a:gd name="T97" fmla="*/ 208 h 498"/>
                  <a:gd name="T98" fmla="*/ 954 w 994"/>
                  <a:gd name="T99" fmla="*/ 232 h 498"/>
                  <a:gd name="T100" fmla="*/ 984 w 994"/>
                  <a:gd name="T101" fmla="*/ 234 h 498"/>
                  <a:gd name="T102" fmla="*/ 968 w 994"/>
                  <a:gd name="T103" fmla="*/ 276 h 498"/>
                  <a:gd name="T104" fmla="*/ 902 w 994"/>
                  <a:gd name="T105" fmla="*/ 322 h 498"/>
                  <a:gd name="T106" fmla="*/ 808 w 994"/>
                  <a:gd name="T107" fmla="*/ 404 h 498"/>
                  <a:gd name="T108" fmla="*/ 804 w 994"/>
                  <a:gd name="T109" fmla="*/ 490 h 498"/>
                  <a:gd name="T110" fmla="*/ 716 w 994"/>
                  <a:gd name="T111" fmla="*/ 460 h 498"/>
                  <a:gd name="T112" fmla="*/ 620 w 994"/>
                  <a:gd name="T113" fmla="*/ 450 h 498"/>
                  <a:gd name="T114" fmla="*/ 552 w 994"/>
                  <a:gd name="T115" fmla="*/ 448 h 498"/>
                  <a:gd name="T116" fmla="*/ 498 w 994"/>
                  <a:gd name="T117" fmla="*/ 482 h 498"/>
                  <a:gd name="T118" fmla="*/ 408 w 994"/>
                  <a:gd name="T119" fmla="*/ 452 h 498"/>
                  <a:gd name="T120" fmla="*/ 386 w 994"/>
                  <a:gd name="T121" fmla="*/ 38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94" h="498">
                    <a:moveTo>
                      <a:pt x="172" y="276"/>
                    </a:moveTo>
                    <a:lnTo>
                      <a:pt x="124" y="396"/>
                    </a:lnTo>
                    <a:lnTo>
                      <a:pt x="118" y="396"/>
                    </a:lnTo>
                    <a:lnTo>
                      <a:pt x="108" y="392"/>
                    </a:lnTo>
                    <a:lnTo>
                      <a:pt x="104" y="388"/>
                    </a:lnTo>
                    <a:lnTo>
                      <a:pt x="104" y="372"/>
                    </a:lnTo>
                    <a:lnTo>
                      <a:pt x="102" y="368"/>
                    </a:lnTo>
                    <a:lnTo>
                      <a:pt x="102" y="360"/>
                    </a:lnTo>
                    <a:lnTo>
                      <a:pt x="100" y="356"/>
                    </a:lnTo>
                    <a:lnTo>
                      <a:pt x="90" y="344"/>
                    </a:lnTo>
                    <a:lnTo>
                      <a:pt x="56" y="340"/>
                    </a:lnTo>
                    <a:lnTo>
                      <a:pt x="36" y="346"/>
                    </a:lnTo>
                    <a:lnTo>
                      <a:pt x="44" y="328"/>
                    </a:lnTo>
                    <a:lnTo>
                      <a:pt x="50" y="324"/>
                    </a:lnTo>
                    <a:lnTo>
                      <a:pt x="56" y="316"/>
                    </a:lnTo>
                    <a:lnTo>
                      <a:pt x="50" y="312"/>
                    </a:lnTo>
                    <a:lnTo>
                      <a:pt x="46" y="310"/>
                    </a:lnTo>
                    <a:lnTo>
                      <a:pt x="38" y="302"/>
                    </a:lnTo>
                    <a:lnTo>
                      <a:pt x="36" y="294"/>
                    </a:lnTo>
                    <a:lnTo>
                      <a:pt x="26" y="290"/>
                    </a:lnTo>
                    <a:lnTo>
                      <a:pt x="34" y="272"/>
                    </a:lnTo>
                    <a:lnTo>
                      <a:pt x="32" y="262"/>
                    </a:lnTo>
                    <a:lnTo>
                      <a:pt x="30" y="258"/>
                    </a:lnTo>
                    <a:lnTo>
                      <a:pt x="30" y="250"/>
                    </a:lnTo>
                    <a:lnTo>
                      <a:pt x="22" y="242"/>
                    </a:lnTo>
                    <a:lnTo>
                      <a:pt x="20" y="232"/>
                    </a:lnTo>
                    <a:lnTo>
                      <a:pt x="24" y="232"/>
                    </a:lnTo>
                    <a:lnTo>
                      <a:pt x="32" y="234"/>
                    </a:lnTo>
                    <a:lnTo>
                      <a:pt x="42" y="244"/>
                    </a:lnTo>
                    <a:lnTo>
                      <a:pt x="46" y="244"/>
                    </a:lnTo>
                    <a:lnTo>
                      <a:pt x="52" y="248"/>
                    </a:lnTo>
                    <a:lnTo>
                      <a:pt x="52" y="238"/>
                    </a:lnTo>
                    <a:lnTo>
                      <a:pt x="56" y="230"/>
                    </a:lnTo>
                    <a:lnTo>
                      <a:pt x="60" y="226"/>
                    </a:lnTo>
                    <a:lnTo>
                      <a:pt x="66" y="226"/>
                    </a:lnTo>
                    <a:lnTo>
                      <a:pt x="64" y="228"/>
                    </a:lnTo>
                    <a:lnTo>
                      <a:pt x="68" y="232"/>
                    </a:lnTo>
                    <a:lnTo>
                      <a:pt x="74" y="232"/>
                    </a:lnTo>
                    <a:lnTo>
                      <a:pt x="78" y="228"/>
                    </a:lnTo>
                    <a:lnTo>
                      <a:pt x="84" y="226"/>
                    </a:lnTo>
                    <a:lnTo>
                      <a:pt x="92" y="230"/>
                    </a:lnTo>
                    <a:lnTo>
                      <a:pt x="102" y="242"/>
                    </a:lnTo>
                    <a:lnTo>
                      <a:pt x="110" y="242"/>
                    </a:lnTo>
                    <a:lnTo>
                      <a:pt x="116" y="242"/>
                    </a:lnTo>
                    <a:lnTo>
                      <a:pt x="118" y="242"/>
                    </a:lnTo>
                    <a:lnTo>
                      <a:pt x="120" y="244"/>
                    </a:lnTo>
                    <a:lnTo>
                      <a:pt x="130" y="256"/>
                    </a:lnTo>
                    <a:lnTo>
                      <a:pt x="136" y="256"/>
                    </a:lnTo>
                    <a:lnTo>
                      <a:pt x="142" y="260"/>
                    </a:lnTo>
                    <a:lnTo>
                      <a:pt x="144" y="256"/>
                    </a:lnTo>
                    <a:lnTo>
                      <a:pt x="142" y="250"/>
                    </a:lnTo>
                    <a:lnTo>
                      <a:pt x="148" y="252"/>
                    </a:lnTo>
                    <a:lnTo>
                      <a:pt x="144" y="238"/>
                    </a:lnTo>
                    <a:lnTo>
                      <a:pt x="140" y="234"/>
                    </a:lnTo>
                    <a:lnTo>
                      <a:pt x="140" y="228"/>
                    </a:lnTo>
                    <a:lnTo>
                      <a:pt x="136" y="226"/>
                    </a:lnTo>
                    <a:lnTo>
                      <a:pt x="134" y="218"/>
                    </a:lnTo>
                    <a:lnTo>
                      <a:pt x="136" y="206"/>
                    </a:lnTo>
                    <a:lnTo>
                      <a:pt x="134" y="200"/>
                    </a:lnTo>
                    <a:lnTo>
                      <a:pt x="132" y="202"/>
                    </a:lnTo>
                    <a:lnTo>
                      <a:pt x="132" y="194"/>
                    </a:lnTo>
                    <a:lnTo>
                      <a:pt x="130" y="194"/>
                    </a:lnTo>
                    <a:lnTo>
                      <a:pt x="130" y="188"/>
                    </a:lnTo>
                    <a:lnTo>
                      <a:pt x="126" y="178"/>
                    </a:lnTo>
                    <a:lnTo>
                      <a:pt x="120" y="176"/>
                    </a:lnTo>
                    <a:lnTo>
                      <a:pt x="122" y="174"/>
                    </a:lnTo>
                    <a:lnTo>
                      <a:pt x="116" y="170"/>
                    </a:lnTo>
                    <a:lnTo>
                      <a:pt x="100" y="170"/>
                    </a:lnTo>
                    <a:lnTo>
                      <a:pt x="100" y="166"/>
                    </a:lnTo>
                    <a:lnTo>
                      <a:pt x="94" y="162"/>
                    </a:lnTo>
                    <a:lnTo>
                      <a:pt x="92" y="160"/>
                    </a:lnTo>
                    <a:lnTo>
                      <a:pt x="82" y="154"/>
                    </a:lnTo>
                    <a:lnTo>
                      <a:pt x="60" y="162"/>
                    </a:lnTo>
                    <a:lnTo>
                      <a:pt x="16" y="152"/>
                    </a:lnTo>
                    <a:lnTo>
                      <a:pt x="22" y="162"/>
                    </a:lnTo>
                    <a:lnTo>
                      <a:pt x="14" y="162"/>
                    </a:lnTo>
                    <a:lnTo>
                      <a:pt x="10" y="158"/>
                    </a:lnTo>
                    <a:lnTo>
                      <a:pt x="10" y="156"/>
                    </a:lnTo>
                    <a:lnTo>
                      <a:pt x="8" y="154"/>
                    </a:lnTo>
                    <a:lnTo>
                      <a:pt x="4" y="152"/>
                    </a:lnTo>
                    <a:lnTo>
                      <a:pt x="2" y="148"/>
                    </a:lnTo>
                    <a:lnTo>
                      <a:pt x="2" y="146"/>
                    </a:lnTo>
                    <a:lnTo>
                      <a:pt x="6" y="144"/>
                    </a:lnTo>
                    <a:lnTo>
                      <a:pt x="8" y="142"/>
                    </a:lnTo>
                    <a:lnTo>
                      <a:pt x="12" y="142"/>
                    </a:lnTo>
                    <a:lnTo>
                      <a:pt x="14" y="146"/>
                    </a:lnTo>
                    <a:lnTo>
                      <a:pt x="20" y="148"/>
                    </a:lnTo>
                    <a:lnTo>
                      <a:pt x="30" y="124"/>
                    </a:lnTo>
                    <a:lnTo>
                      <a:pt x="26" y="120"/>
                    </a:lnTo>
                    <a:lnTo>
                      <a:pt x="26" y="110"/>
                    </a:lnTo>
                    <a:lnTo>
                      <a:pt x="24" y="106"/>
                    </a:lnTo>
                    <a:lnTo>
                      <a:pt x="14" y="102"/>
                    </a:lnTo>
                    <a:lnTo>
                      <a:pt x="10" y="98"/>
                    </a:lnTo>
                    <a:lnTo>
                      <a:pt x="6" y="102"/>
                    </a:lnTo>
                    <a:lnTo>
                      <a:pt x="4" y="94"/>
                    </a:lnTo>
                    <a:lnTo>
                      <a:pt x="6" y="92"/>
                    </a:lnTo>
                    <a:lnTo>
                      <a:pt x="6" y="88"/>
                    </a:lnTo>
                    <a:lnTo>
                      <a:pt x="8" y="86"/>
                    </a:lnTo>
                    <a:lnTo>
                      <a:pt x="8" y="82"/>
                    </a:lnTo>
                    <a:lnTo>
                      <a:pt x="10" y="80"/>
                    </a:lnTo>
                    <a:lnTo>
                      <a:pt x="0" y="70"/>
                    </a:lnTo>
                    <a:lnTo>
                      <a:pt x="14" y="56"/>
                    </a:lnTo>
                    <a:lnTo>
                      <a:pt x="22" y="56"/>
                    </a:lnTo>
                    <a:lnTo>
                      <a:pt x="24" y="54"/>
                    </a:lnTo>
                    <a:lnTo>
                      <a:pt x="26" y="50"/>
                    </a:lnTo>
                    <a:lnTo>
                      <a:pt x="22" y="44"/>
                    </a:lnTo>
                    <a:lnTo>
                      <a:pt x="36" y="30"/>
                    </a:lnTo>
                    <a:lnTo>
                      <a:pt x="44" y="28"/>
                    </a:lnTo>
                    <a:lnTo>
                      <a:pt x="46" y="28"/>
                    </a:lnTo>
                    <a:lnTo>
                      <a:pt x="48" y="24"/>
                    </a:lnTo>
                    <a:lnTo>
                      <a:pt x="50" y="22"/>
                    </a:lnTo>
                    <a:lnTo>
                      <a:pt x="52" y="18"/>
                    </a:lnTo>
                    <a:lnTo>
                      <a:pt x="58" y="16"/>
                    </a:lnTo>
                    <a:lnTo>
                      <a:pt x="60" y="18"/>
                    </a:lnTo>
                    <a:lnTo>
                      <a:pt x="60" y="22"/>
                    </a:lnTo>
                    <a:lnTo>
                      <a:pt x="62" y="28"/>
                    </a:lnTo>
                    <a:lnTo>
                      <a:pt x="62" y="44"/>
                    </a:lnTo>
                    <a:lnTo>
                      <a:pt x="64" y="46"/>
                    </a:lnTo>
                    <a:lnTo>
                      <a:pt x="80" y="46"/>
                    </a:lnTo>
                    <a:lnTo>
                      <a:pt x="82" y="22"/>
                    </a:lnTo>
                    <a:lnTo>
                      <a:pt x="86" y="24"/>
                    </a:lnTo>
                    <a:lnTo>
                      <a:pt x="104" y="22"/>
                    </a:lnTo>
                    <a:lnTo>
                      <a:pt x="106" y="20"/>
                    </a:lnTo>
                    <a:lnTo>
                      <a:pt x="110" y="14"/>
                    </a:lnTo>
                    <a:lnTo>
                      <a:pt x="114" y="16"/>
                    </a:lnTo>
                    <a:lnTo>
                      <a:pt x="116" y="18"/>
                    </a:lnTo>
                    <a:lnTo>
                      <a:pt x="120" y="18"/>
                    </a:lnTo>
                    <a:lnTo>
                      <a:pt x="124" y="16"/>
                    </a:lnTo>
                    <a:lnTo>
                      <a:pt x="130" y="16"/>
                    </a:lnTo>
                    <a:lnTo>
                      <a:pt x="134" y="14"/>
                    </a:lnTo>
                    <a:lnTo>
                      <a:pt x="136" y="14"/>
                    </a:lnTo>
                    <a:lnTo>
                      <a:pt x="140" y="14"/>
                    </a:lnTo>
                    <a:lnTo>
                      <a:pt x="142" y="10"/>
                    </a:lnTo>
                    <a:lnTo>
                      <a:pt x="146" y="10"/>
                    </a:lnTo>
                    <a:lnTo>
                      <a:pt x="152" y="10"/>
                    </a:lnTo>
                    <a:lnTo>
                      <a:pt x="158" y="14"/>
                    </a:lnTo>
                    <a:lnTo>
                      <a:pt x="158" y="20"/>
                    </a:lnTo>
                    <a:lnTo>
                      <a:pt x="164" y="22"/>
                    </a:lnTo>
                    <a:lnTo>
                      <a:pt x="166" y="24"/>
                    </a:lnTo>
                    <a:lnTo>
                      <a:pt x="168" y="22"/>
                    </a:lnTo>
                    <a:lnTo>
                      <a:pt x="172" y="20"/>
                    </a:lnTo>
                    <a:lnTo>
                      <a:pt x="174" y="18"/>
                    </a:lnTo>
                    <a:lnTo>
                      <a:pt x="178" y="20"/>
                    </a:lnTo>
                    <a:lnTo>
                      <a:pt x="180" y="20"/>
                    </a:lnTo>
                    <a:lnTo>
                      <a:pt x="184" y="20"/>
                    </a:lnTo>
                    <a:lnTo>
                      <a:pt x="184" y="28"/>
                    </a:lnTo>
                    <a:lnTo>
                      <a:pt x="184" y="30"/>
                    </a:lnTo>
                    <a:lnTo>
                      <a:pt x="192" y="32"/>
                    </a:lnTo>
                    <a:lnTo>
                      <a:pt x="194" y="34"/>
                    </a:lnTo>
                    <a:lnTo>
                      <a:pt x="200" y="36"/>
                    </a:lnTo>
                    <a:lnTo>
                      <a:pt x="204" y="36"/>
                    </a:lnTo>
                    <a:lnTo>
                      <a:pt x="206" y="42"/>
                    </a:lnTo>
                    <a:lnTo>
                      <a:pt x="206" y="48"/>
                    </a:lnTo>
                    <a:lnTo>
                      <a:pt x="214" y="56"/>
                    </a:lnTo>
                    <a:lnTo>
                      <a:pt x="214" y="60"/>
                    </a:lnTo>
                    <a:lnTo>
                      <a:pt x="214" y="64"/>
                    </a:lnTo>
                    <a:lnTo>
                      <a:pt x="216" y="70"/>
                    </a:lnTo>
                    <a:lnTo>
                      <a:pt x="214" y="76"/>
                    </a:lnTo>
                    <a:lnTo>
                      <a:pt x="214" y="78"/>
                    </a:lnTo>
                    <a:lnTo>
                      <a:pt x="218" y="78"/>
                    </a:lnTo>
                    <a:lnTo>
                      <a:pt x="222" y="70"/>
                    </a:lnTo>
                    <a:lnTo>
                      <a:pt x="222" y="66"/>
                    </a:lnTo>
                    <a:lnTo>
                      <a:pt x="224" y="64"/>
                    </a:lnTo>
                    <a:lnTo>
                      <a:pt x="228" y="66"/>
                    </a:lnTo>
                    <a:lnTo>
                      <a:pt x="228" y="68"/>
                    </a:lnTo>
                    <a:lnTo>
                      <a:pt x="230" y="72"/>
                    </a:lnTo>
                    <a:lnTo>
                      <a:pt x="230" y="74"/>
                    </a:lnTo>
                    <a:lnTo>
                      <a:pt x="230" y="78"/>
                    </a:lnTo>
                    <a:lnTo>
                      <a:pt x="240" y="88"/>
                    </a:lnTo>
                    <a:lnTo>
                      <a:pt x="244" y="88"/>
                    </a:lnTo>
                    <a:lnTo>
                      <a:pt x="254" y="86"/>
                    </a:lnTo>
                    <a:lnTo>
                      <a:pt x="256" y="82"/>
                    </a:lnTo>
                    <a:lnTo>
                      <a:pt x="260" y="82"/>
                    </a:lnTo>
                    <a:lnTo>
                      <a:pt x="262" y="80"/>
                    </a:lnTo>
                    <a:lnTo>
                      <a:pt x="266" y="82"/>
                    </a:lnTo>
                    <a:lnTo>
                      <a:pt x="270" y="84"/>
                    </a:lnTo>
                    <a:lnTo>
                      <a:pt x="270" y="80"/>
                    </a:lnTo>
                    <a:lnTo>
                      <a:pt x="276" y="84"/>
                    </a:lnTo>
                    <a:lnTo>
                      <a:pt x="280" y="82"/>
                    </a:lnTo>
                    <a:lnTo>
                      <a:pt x="286" y="90"/>
                    </a:lnTo>
                    <a:lnTo>
                      <a:pt x="292" y="90"/>
                    </a:lnTo>
                    <a:lnTo>
                      <a:pt x="296" y="88"/>
                    </a:lnTo>
                    <a:lnTo>
                      <a:pt x="302" y="90"/>
                    </a:lnTo>
                    <a:lnTo>
                      <a:pt x="306" y="88"/>
                    </a:lnTo>
                    <a:lnTo>
                      <a:pt x="310" y="94"/>
                    </a:lnTo>
                    <a:lnTo>
                      <a:pt x="312" y="96"/>
                    </a:lnTo>
                    <a:lnTo>
                      <a:pt x="310" y="102"/>
                    </a:lnTo>
                    <a:lnTo>
                      <a:pt x="312" y="106"/>
                    </a:lnTo>
                    <a:lnTo>
                      <a:pt x="314" y="108"/>
                    </a:lnTo>
                    <a:lnTo>
                      <a:pt x="320" y="110"/>
                    </a:lnTo>
                    <a:lnTo>
                      <a:pt x="326" y="114"/>
                    </a:lnTo>
                    <a:lnTo>
                      <a:pt x="326" y="112"/>
                    </a:lnTo>
                    <a:lnTo>
                      <a:pt x="326" y="118"/>
                    </a:lnTo>
                    <a:lnTo>
                      <a:pt x="332" y="120"/>
                    </a:lnTo>
                    <a:lnTo>
                      <a:pt x="336" y="118"/>
                    </a:lnTo>
                    <a:lnTo>
                      <a:pt x="344" y="112"/>
                    </a:lnTo>
                    <a:lnTo>
                      <a:pt x="346" y="114"/>
                    </a:lnTo>
                    <a:lnTo>
                      <a:pt x="350" y="120"/>
                    </a:lnTo>
                    <a:lnTo>
                      <a:pt x="364" y="122"/>
                    </a:lnTo>
                    <a:lnTo>
                      <a:pt x="366" y="122"/>
                    </a:lnTo>
                    <a:lnTo>
                      <a:pt x="374" y="120"/>
                    </a:lnTo>
                    <a:lnTo>
                      <a:pt x="386" y="106"/>
                    </a:lnTo>
                    <a:lnTo>
                      <a:pt x="384" y="100"/>
                    </a:lnTo>
                    <a:lnTo>
                      <a:pt x="372" y="96"/>
                    </a:lnTo>
                    <a:lnTo>
                      <a:pt x="370" y="90"/>
                    </a:lnTo>
                    <a:lnTo>
                      <a:pt x="360" y="86"/>
                    </a:lnTo>
                    <a:lnTo>
                      <a:pt x="362" y="82"/>
                    </a:lnTo>
                    <a:lnTo>
                      <a:pt x="362" y="78"/>
                    </a:lnTo>
                    <a:lnTo>
                      <a:pt x="356" y="76"/>
                    </a:lnTo>
                    <a:lnTo>
                      <a:pt x="356" y="72"/>
                    </a:lnTo>
                    <a:lnTo>
                      <a:pt x="380" y="68"/>
                    </a:lnTo>
                    <a:lnTo>
                      <a:pt x="382" y="66"/>
                    </a:lnTo>
                    <a:lnTo>
                      <a:pt x="384" y="64"/>
                    </a:lnTo>
                    <a:lnTo>
                      <a:pt x="380" y="50"/>
                    </a:lnTo>
                    <a:lnTo>
                      <a:pt x="384" y="50"/>
                    </a:lnTo>
                    <a:lnTo>
                      <a:pt x="386" y="50"/>
                    </a:lnTo>
                    <a:lnTo>
                      <a:pt x="388" y="46"/>
                    </a:lnTo>
                    <a:lnTo>
                      <a:pt x="392" y="46"/>
                    </a:lnTo>
                    <a:lnTo>
                      <a:pt x="410" y="50"/>
                    </a:lnTo>
                    <a:lnTo>
                      <a:pt x="414" y="50"/>
                    </a:lnTo>
                    <a:lnTo>
                      <a:pt x="416" y="48"/>
                    </a:lnTo>
                    <a:lnTo>
                      <a:pt x="416" y="46"/>
                    </a:lnTo>
                    <a:lnTo>
                      <a:pt x="410" y="40"/>
                    </a:lnTo>
                    <a:lnTo>
                      <a:pt x="398" y="36"/>
                    </a:lnTo>
                    <a:lnTo>
                      <a:pt x="398" y="32"/>
                    </a:lnTo>
                    <a:lnTo>
                      <a:pt x="398" y="30"/>
                    </a:lnTo>
                    <a:lnTo>
                      <a:pt x="402" y="30"/>
                    </a:lnTo>
                    <a:lnTo>
                      <a:pt x="406" y="30"/>
                    </a:lnTo>
                    <a:lnTo>
                      <a:pt x="408" y="28"/>
                    </a:lnTo>
                    <a:lnTo>
                      <a:pt x="406" y="26"/>
                    </a:lnTo>
                    <a:lnTo>
                      <a:pt x="402" y="26"/>
                    </a:lnTo>
                    <a:lnTo>
                      <a:pt x="396" y="24"/>
                    </a:lnTo>
                    <a:lnTo>
                      <a:pt x="398" y="22"/>
                    </a:lnTo>
                    <a:lnTo>
                      <a:pt x="400" y="18"/>
                    </a:lnTo>
                    <a:lnTo>
                      <a:pt x="402" y="18"/>
                    </a:lnTo>
                    <a:lnTo>
                      <a:pt x="400" y="12"/>
                    </a:lnTo>
                    <a:lnTo>
                      <a:pt x="406" y="14"/>
                    </a:lnTo>
                    <a:lnTo>
                      <a:pt x="408" y="12"/>
                    </a:lnTo>
                    <a:lnTo>
                      <a:pt x="412" y="12"/>
                    </a:lnTo>
                    <a:lnTo>
                      <a:pt x="412" y="16"/>
                    </a:lnTo>
                    <a:lnTo>
                      <a:pt x="418" y="16"/>
                    </a:lnTo>
                    <a:lnTo>
                      <a:pt x="422" y="16"/>
                    </a:lnTo>
                    <a:lnTo>
                      <a:pt x="432" y="20"/>
                    </a:lnTo>
                    <a:lnTo>
                      <a:pt x="432" y="22"/>
                    </a:lnTo>
                    <a:lnTo>
                      <a:pt x="438" y="18"/>
                    </a:lnTo>
                    <a:lnTo>
                      <a:pt x="442" y="18"/>
                    </a:lnTo>
                    <a:lnTo>
                      <a:pt x="448" y="20"/>
                    </a:lnTo>
                    <a:lnTo>
                      <a:pt x="450" y="20"/>
                    </a:lnTo>
                    <a:lnTo>
                      <a:pt x="454" y="20"/>
                    </a:lnTo>
                    <a:lnTo>
                      <a:pt x="460" y="16"/>
                    </a:lnTo>
                    <a:lnTo>
                      <a:pt x="464" y="18"/>
                    </a:lnTo>
                    <a:lnTo>
                      <a:pt x="464" y="22"/>
                    </a:lnTo>
                    <a:lnTo>
                      <a:pt x="468" y="22"/>
                    </a:lnTo>
                    <a:lnTo>
                      <a:pt x="470" y="20"/>
                    </a:lnTo>
                    <a:lnTo>
                      <a:pt x="476" y="20"/>
                    </a:lnTo>
                    <a:lnTo>
                      <a:pt x="480" y="18"/>
                    </a:lnTo>
                    <a:lnTo>
                      <a:pt x="484" y="18"/>
                    </a:lnTo>
                    <a:lnTo>
                      <a:pt x="486" y="18"/>
                    </a:lnTo>
                    <a:lnTo>
                      <a:pt x="490" y="18"/>
                    </a:lnTo>
                    <a:lnTo>
                      <a:pt x="492" y="20"/>
                    </a:lnTo>
                    <a:lnTo>
                      <a:pt x="498" y="14"/>
                    </a:lnTo>
                    <a:lnTo>
                      <a:pt x="502" y="12"/>
                    </a:lnTo>
                    <a:lnTo>
                      <a:pt x="504" y="12"/>
                    </a:lnTo>
                    <a:lnTo>
                      <a:pt x="508" y="14"/>
                    </a:lnTo>
                    <a:lnTo>
                      <a:pt x="514" y="14"/>
                    </a:lnTo>
                    <a:lnTo>
                      <a:pt x="514" y="14"/>
                    </a:lnTo>
                    <a:lnTo>
                      <a:pt x="554" y="14"/>
                    </a:lnTo>
                    <a:lnTo>
                      <a:pt x="558" y="12"/>
                    </a:lnTo>
                    <a:lnTo>
                      <a:pt x="560" y="14"/>
                    </a:lnTo>
                    <a:lnTo>
                      <a:pt x="564" y="12"/>
                    </a:lnTo>
                    <a:lnTo>
                      <a:pt x="566" y="10"/>
                    </a:lnTo>
                    <a:lnTo>
                      <a:pt x="568" y="4"/>
                    </a:lnTo>
                    <a:lnTo>
                      <a:pt x="570" y="6"/>
                    </a:lnTo>
                    <a:lnTo>
                      <a:pt x="574" y="6"/>
                    </a:lnTo>
                    <a:lnTo>
                      <a:pt x="576" y="4"/>
                    </a:lnTo>
                    <a:lnTo>
                      <a:pt x="580" y="2"/>
                    </a:lnTo>
                    <a:lnTo>
                      <a:pt x="582" y="2"/>
                    </a:lnTo>
                    <a:lnTo>
                      <a:pt x="584" y="0"/>
                    </a:lnTo>
                    <a:lnTo>
                      <a:pt x="588" y="2"/>
                    </a:lnTo>
                    <a:lnTo>
                      <a:pt x="590" y="4"/>
                    </a:lnTo>
                    <a:lnTo>
                      <a:pt x="592" y="4"/>
                    </a:lnTo>
                    <a:lnTo>
                      <a:pt x="596" y="6"/>
                    </a:lnTo>
                    <a:lnTo>
                      <a:pt x="598" y="4"/>
                    </a:lnTo>
                    <a:lnTo>
                      <a:pt x="602" y="6"/>
                    </a:lnTo>
                    <a:lnTo>
                      <a:pt x="604" y="10"/>
                    </a:lnTo>
                    <a:lnTo>
                      <a:pt x="608" y="14"/>
                    </a:lnTo>
                    <a:lnTo>
                      <a:pt x="610" y="12"/>
                    </a:lnTo>
                    <a:lnTo>
                      <a:pt x="614" y="10"/>
                    </a:lnTo>
                    <a:lnTo>
                      <a:pt x="620" y="10"/>
                    </a:lnTo>
                    <a:lnTo>
                      <a:pt x="622" y="12"/>
                    </a:lnTo>
                    <a:lnTo>
                      <a:pt x="624" y="14"/>
                    </a:lnTo>
                    <a:lnTo>
                      <a:pt x="626" y="18"/>
                    </a:lnTo>
                    <a:lnTo>
                      <a:pt x="624" y="26"/>
                    </a:lnTo>
                    <a:lnTo>
                      <a:pt x="624" y="30"/>
                    </a:lnTo>
                    <a:lnTo>
                      <a:pt x="630" y="34"/>
                    </a:lnTo>
                    <a:lnTo>
                      <a:pt x="628" y="36"/>
                    </a:lnTo>
                    <a:lnTo>
                      <a:pt x="626" y="42"/>
                    </a:lnTo>
                    <a:lnTo>
                      <a:pt x="622" y="46"/>
                    </a:lnTo>
                    <a:lnTo>
                      <a:pt x="624" y="50"/>
                    </a:lnTo>
                    <a:lnTo>
                      <a:pt x="624" y="52"/>
                    </a:lnTo>
                    <a:lnTo>
                      <a:pt x="630" y="52"/>
                    </a:lnTo>
                    <a:lnTo>
                      <a:pt x="632" y="54"/>
                    </a:lnTo>
                    <a:lnTo>
                      <a:pt x="636" y="54"/>
                    </a:lnTo>
                    <a:lnTo>
                      <a:pt x="638" y="52"/>
                    </a:lnTo>
                    <a:lnTo>
                      <a:pt x="640" y="52"/>
                    </a:lnTo>
                    <a:lnTo>
                      <a:pt x="644" y="54"/>
                    </a:lnTo>
                    <a:lnTo>
                      <a:pt x="646" y="48"/>
                    </a:lnTo>
                    <a:lnTo>
                      <a:pt x="648" y="48"/>
                    </a:lnTo>
                    <a:lnTo>
                      <a:pt x="650" y="54"/>
                    </a:lnTo>
                    <a:lnTo>
                      <a:pt x="652" y="56"/>
                    </a:lnTo>
                    <a:lnTo>
                      <a:pt x="650" y="60"/>
                    </a:lnTo>
                    <a:lnTo>
                      <a:pt x="650" y="62"/>
                    </a:lnTo>
                    <a:lnTo>
                      <a:pt x="656" y="64"/>
                    </a:lnTo>
                    <a:lnTo>
                      <a:pt x="656" y="60"/>
                    </a:lnTo>
                    <a:lnTo>
                      <a:pt x="654" y="58"/>
                    </a:lnTo>
                    <a:lnTo>
                      <a:pt x="656" y="58"/>
                    </a:lnTo>
                    <a:lnTo>
                      <a:pt x="662" y="60"/>
                    </a:lnTo>
                    <a:lnTo>
                      <a:pt x="666" y="62"/>
                    </a:lnTo>
                    <a:lnTo>
                      <a:pt x="668" y="64"/>
                    </a:lnTo>
                    <a:lnTo>
                      <a:pt x="670" y="66"/>
                    </a:lnTo>
                    <a:lnTo>
                      <a:pt x="674" y="66"/>
                    </a:lnTo>
                    <a:lnTo>
                      <a:pt x="676" y="64"/>
                    </a:lnTo>
                    <a:lnTo>
                      <a:pt x="678" y="62"/>
                    </a:lnTo>
                    <a:lnTo>
                      <a:pt x="680" y="66"/>
                    </a:lnTo>
                    <a:lnTo>
                      <a:pt x="678" y="68"/>
                    </a:lnTo>
                    <a:lnTo>
                      <a:pt x="676" y="70"/>
                    </a:lnTo>
                    <a:lnTo>
                      <a:pt x="672" y="70"/>
                    </a:lnTo>
                    <a:lnTo>
                      <a:pt x="670" y="74"/>
                    </a:lnTo>
                    <a:lnTo>
                      <a:pt x="668" y="76"/>
                    </a:lnTo>
                    <a:lnTo>
                      <a:pt x="668" y="80"/>
                    </a:lnTo>
                    <a:lnTo>
                      <a:pt x="670" y="82"/>
                    </a:lnTo>
                    <a:lnTo>
                      <a:pt x="674" y="82"/>
                    </a:lnTo>
                    <a:lnTo>
                      <a:pt x="676" y="80"/>
                    </a:lnTo>
                    <a:lnTo>
                      <a:pt x="682" y="78"/>
                    </a:lnTo>
                    <a:lnTo>
                      <a:pt x="686" y="80"/>
                    </a:lnTo>
                    <a:lnTo>
                      <a:pt x="688" y="80"/>
                    </a:lnTo>
                    <a:lnTo>
                      <a:pt x="690" y="82"/>
                    </a:lnTo>
                    <a:lnTo>
                      <a:pt x="694" y="82"/>
                    </a:lnTo>
                    <a:lnTo>
                      <a:pt x="694" y="80"/>
                    </a:lnTo>
                    <a:lnTo>
                      <a:pt x="696" y="78"/>
                    </a:lnTo>
                    <a:lnTo>
                      <a:pt x="700" y="78"/>
                    </a:lnTo>
                    <a:lnTo>
                      <a:pt x="704" y="74"/>
                    </a:lnTo>
                    <a:lnTo>
                      <a:pt x="710" y="74"/>
                    </a:lnTo>
                    <a:lnTo>
                      <a:pt x="716" y="70"/>
                    </a:lnTo>
                    <a:lnTo>
                      <a:pt x="718" y="64"/>
                    </a:lnTo>
                    <a:lnTo>
                      <a:pt x="722" y="62"/>
                    </a:lnTo>
                    <a:lnTo>
                      <a:pt x="726" y="64"/>
                    </a:lnTo>
                    <a:lnTo>
                      <a:pt x="734" y="62"/>
                    </a:lnTo>
                    <a:lnTo>
                      <a:pt x="736" y="58"/>
                    </a:lnTo>
                    <a:lnTo>
                      <a:pt x="744" y="60"/>
                    </a:lnTo>
                    <a:lnTo>
                      <a:pt x="748" y="56"/>
                    </a:lnTo>
                    <a:lnTo>
                      <a:pt x="750" y="60"/>
                    </a:lnTo>
                    <a:lnTo>
                      <a:pt x="750" y="62"/>
                    </a:lnTo>
                    <a:lnTo>
                      <a:pt x="748" y="64"/>
                    </a:lnTo>
                    <a:lnTo>
                      <a:pt x="746" y="66"/>
                    </a:lnTo>
                    <a:lnTo>
                      <a:pt x="742" y="66"/>
                    </a:lnTo>
                    <a:lnTo>
                      <a:pt x="742" y="68"/>
                    </a:lnTo>
                    <a:lnTo>
                      <a:pt x="742" y="70"/>
                    </a:lnTo>
                    <a:lnTo>
                      <a:pt x="772" y="100"/>
                    </a:lnTo>
                    <a:lnTo>
                      <a:pt x="818" y="188"/>
                    </a:lnTo>
                    <a:lnTo>
                      <a:pt x="824" y="184"/>
                    </a:lnTo>
                    <a:lnTo>
                      <a:pt x="826" y="182"/>
                    </a:lnTo>
                    <a:lnTo>
                      <a:pt x="826" y="178"/>
                    </a:lnTo>
                    <a:lnTo>
                      <a:pt x="832" y="172"/>
                    </a:lnTo>
                    <a:lnTo>
                      <a:pt x="834" y="172"/>
                    </a:lnTo>
                    <a:lnTo>
                      <a:pt x="836" y="176"/>
                    </a:lnTo>
                    <a:lnTo>
                      <a:pt x="840" y="176"/>
                    </a:lnTo>
                    <a:lnTo>
                      <a:pt x="846" y="180"/>
                    </a:lnTo>
                    <a:lnTo>
                      <a:pt x="844" y="182"/>
                    </a:lnTo>
                    <a:lnTo>
                      <a:pt x="846" y="186"/>
                    </a:lnTo>
                    <a:lnTo>
                      <a:pt x="848" y="186"/>
                    </a:lnTo>
                    <a:lnTo>
                      <a:pt x="850" y="192"/>
                    </a:lnTo>
                    <a:lnTo>
                      <a:pt x="862" y="190"/>
                    </a:lnTo>
                    <a:lnTo>
                      <a:pt x="870" y="192"/>
                    </a:lnTo>
                    <a:lnTo>
                      <a:pt x="872" y="192"/>
                    </a:lnTo>
                    <a:lnTo>
                      <a:pt x="880" y="192"/>
                    </a:lnTo>
                    <a:lnTo>
                      <a:pt x="880" y="188"/>
                    </a:lnTo>
                    <a:lnTo>
                      <a:pt x="882" y="186"/>
                    </a:lnTo>
                    <a:lnTo>
                      <a:pt x="886" y="186"/>
                    </a:lnTo>
                    <a:lnTo>
                      <a:pt x="890" y="186"/>
                    </a:lnTo>
                    <a:lnTo>
                      <a:pt x="892" y="184"/>
                    </a:lnTo>
                    <a:lnTo>
                      <a:pt x="894" y="182"/>
                    </a:lnTo>
                    <a:lnTo>
                      <a:pt x="904" y="186"/>
                    </a:lnTo>
                    <a:lnTo>
                      <a:pt x="906" y="188"/>
                    </a:lnTo>
                    <a:lnTo>
                      <a:pt x="910" y="190"/>
                    </a:lnTo>
                    <a:lnTo>
                      <a:pt x="914" y="194"/>
                    </a:lnTo>
                    <a:lnTo>
                      <a:pt x="918" y="196"/>
                    </a:lnTo>
                    <a:lnTo>
                      <a:pt x="918" y="198"/>
                    </a:lnTo>
                    <a:lnTo>
                      <a:pt x="918" y="202"/>
                    </a:lnTo>
                    <a:lnTo>
                      <a:pt x="918" y="206"/>
                    </a:lnTo>
                    <a:lnTo>
                      <a:pt x="920" y="208"/>
                    </a:lnTo>
                    <a:lnTo>
                      <a:pt x="924" y="208"/>
                    </a:lnTo>
                    <a:lnTo>
                      <a:pt x="934" y="214"/>
                    </a:lnTo>
                    <a:lnTo>
                      <a:pt x="936" y="216"/>
                    </a:lnTo>
                    <a:lnTo>
                      <a:pt x="934" y="220"/>
                    </a:lnTo>
                    <a:lnTo>
                      <a:pt x="938" y="220"/>
                    </a:lnTo>
                    <a:lnTo>
                      <a:pt x="940" y="224"/>
                    </a:lnTo>
                    <a:lnTo>
                      <a:pt x="944" y="230"/>
                    </a:lnTo>
                    <a:lnTo>
                      <a:pt x="948" y="230"/>
                    </a:lnTo>
                    <a:lnTo>
                      <a:pt x="954" y="232"/>
                    </a:lnTo>
                    <a:lnTo>
                      <a:pt x="962" y="234"/>
                    </a:lnTo>
                    <a:lnTo>
                      <a:pt x="968" y="234"/>
                    </a:lnTo>
                    <a:lnTo>
                      <a:pt x="970" y="232"/>
                    </a:lnTo>
                    <a:lnTo>
                      <a:pt x="972" y="228"/>
                    </a:lnTo>
                    <a:lnTo>
                      <a:pt x="978" y="226"/>
                    </a:lnTo>
                    <a:lnTo>
                      <a:pt x="980" y="230"/>
                    </a:lnTo>
                    <a:lnTo>
                      <a:pt x="982" y="232"/>
                    </a:lnTo>
                    <a:lnTo>
                      <a:pt x="984" y="234"/>
                    </a:lnTo>
                    <a:lnTo>
                      <a:pt x="988" y="240"/>
                    </a:lnTo>
                    <a:lnTo>
                      <a:pt x="992" y="242"/>
                    </a:lnTo>
                    <a:lnTo>
                      <a:pt x="994" y="244"/>
                    </a:lnTo>
                    <a:lnTo>
                      <a:pt x="988" y="256"/>
                    </a:lnTo>
                    <a:lnTo>
                      <a:pt x="988" y="256"/>
                    </a:lnTo>
                    <a:lnTo>
                      <a:pt x="984" y="264"/>
                    </a:lnTo>
                    <a:lnTo>
                      <a:pt x="978" y="272"/>
                    </a:lnTo>
                    <a:lnTo>
                      <a:pt x="968" y="276"/>
                    </a:lnTo>
                    <a:lnTo>
                      <a:pt x="960" y="274"/>
                    </a:lnTo>
                    <a:lnTo>
                      <a:pt x="956" y="284"/>
                    </a:lnTo>
                    <a:lnTo>
                      <a:pt x="954" y="322"/>
                    </a:lnTo>
                    <a:lnTo>
                      <a:pt x="944" y="324"/>
                    </a:lnTo>
                    <a:lnTo>
                      <a:pt x="936" y="330"/>
                    </a:lnTo>
                    <a:lnTo>
                      <a:pt x="928" y="324"/>
                    </a:lnTo>
                    <a:lnTo>
                      <a:pt x="912" y="326"/>
                    </a:lnTo>
                    <a:lnTo>
                      <a:pt x="902" y="322"/>
                    </a:lnTo>
                    <a:lnTo>
                      <a:pt x="898" y="320"/>
                    </a:lnTo>
                    <a:lnTo>
                      <a:pt x="888" y="318"/>
                    </a:lnTo>
                    <a:lnTo>
                      <a:pt x="866" y="372"/>
                    </a:lnTo>
                    <a:lnTo>
                      <a:pt x="870" y="386"/>
                    </a:lnTo>
                    <a:lnTo>
                      <a:pt x="866" y="388"/>
                    </a:lnTo>
                    <a:lnTo>
                      <a:pt x="810" y="396"/>
                    </a:lnTo>
                    <a:lnTo>
                      <a:pt x="804" y="400"/>
                    </a:lnTo>
                    <a:lnTo>
                      <a:pt x="808" y="404"/>
                    </a:lnTo>
                    <a:lnTo>
                      <a:pt x="822" y="454"/>
                    </a:lnTo>
                    <a:lnTo>
                      <a:pt x="822" y="460"/>
                    </a:lnTo>
                    <a:lnTo>
                      <a:pt x="814" y="466"/>
                    </a:lnTo>
                    <a:lnTo>
                      <a:pt x="814" y="472"/>
                    </a:lnTo>
                    <a:lnTo>
                      <a:pt x="810" y="476"/>
                    </a:lnTo>
                    <a:lnTo>
                      <a:pt x="808" y="482"/>
                    </a:lnTo>
                    <a:lnTo>
                      <a:pt x="808" y="490"/>
                    </a:lnTo>
                    <a:lnTo>
                      <a:pt x="804" y="490"/>
                    </a:lnTo>
                    <a:lnTo>
                      <a:pt x="794" y="482"/>
                    </a:lnTo>
                    <a:lnTo>
                      <a:pt x="786" y="482"/>
                    </a:lnTo>
                    <a:lnTo>
                      <a:pt x="780" y="472"/>
                    </a:lnTo>
                    <a:lnTo>
                      <a:pt x="764" y="470"/>
                    </a:lnTo>
                    <a:lnTo>
                      <a:pt x="760" y="466"/>
                    </a:lnTo>
                    <a:lnTo>
                      <a:pt x="728" y="464"/>
                    </a:lnTo>
                    <a:lnTo>
                      <a:pt x="720" y="460"/>
                    </a:lnTo>
                    <a:lnTo>
                      <a:pt x="716" y="460"/>
                    </a:lnTo>
                    <a:lnTo>
                      <a:pt x="708" y="462"/>
                    </a:lnTo>
                    <a:lnTo>
                      <a:pt x="668" y="458"/>
                    </a:lnTo>
                    <a:lnTo>
                      <a:pt x="664" y="454"/>
                    </a:lnTo>
                    <a:lnTo>
                      <a:pt x="652" y="454"/>
                    </a:lnTo>
                    <a:lnTo>
                      <a:pt x="640" y="444"/>
                    </a:lnTo>
                    <a:lnTo>
                      <a:pt x="636" y="446"/>
                    </a:lnTo>
                    <a:lnTo>
                      <a:pt x="632" y="446"/>
                    </a:lnTo>
                    <a:lnTo>
                      <a:pt x="620" y="450"/>
                    </a:lnTo>
                    <a:lnTo>
                      <a:pt x="620" y="454"/>
                    </a:lnTo>
                    <a:lnTo>
                      <a:pt x="618" y="456"/>
                    </a:lnTo>
                    <a:lnTo>
                      <a:pt x="614" y="464"/>
                    </a:lnTo>
                    <a:lnTo>
                      <a:pt x="612" y="468"/>
                    </a:lnTo>
                    <a:lnTo>
                      <a:pt x="572" y="450"/>
                    </a:lnTo>
                    <a:lnTo>
                      <a:pt x="568" y="450"/>
                    </a:lnTo>
                    <a:lnTo>
                      <a:pt x="564" y="448"/>
                    </a:lnTo>
                    <a:lnTo>
                      <a:pt x="552" y="448"/>
                    </a:lnTo>
                    <a:lnTo>
                      <a:pt x="550" y="452"/>
                    </a:lnTo>
                    <a:lnTo>
                      <a:pt x="550" y="456"/>
                    </a:lnTo>
                    <a:lnTo>
                      <a:pt x="536" y="470"/>
                    </a:lnTo>
                    <a:lnTo>
                      <a:pt x="532" y="470"/>
                    </a:lnTo>
                    <a:lnTo>
                      <a:pt x="528" y="468"/>
                    </a:lnTo>
                    <a:lnTo>
                      <a:pt x="524" y="476"/>
                    </a:lnTo>
                    <a:lnTo>
                      <a:pt x="520" y="478"/>
                    </a:lnTo>
                    <a:lnTo>
                      <a:pt x="498" y="482"/>
                    </a:lnTo>
                    <a:lnTo>
                      <a:pt x="496" y="486"/>
                    </a:lnTo>
                    <a:lnTo>
                      <a:pt x="488" y="488"/>
                    </a:lnTo>
                    <a:lnTo>
                      <a:pt x="482" y="494"/>
                    </a:lnTo>
                    <a:lnTo>
                      <a:pt x="474" y="498"/>
                    </a:lnTo>
                    <a:lnTo>
                      <a:pt x="454" y="484"/>
                    </a:lnTo>
                    <a:lnTo>
                      <a:pt x="424" y="482"/>
                    </a:lnTo>
                    <a:lnTo>
                      <a:pt x="424" y="458"/>
                    </a:lnTo>
                    <a:lnTo>
                      <a:pt x="408" y="452"/>
                    </a:lnTo>
                    <a:lnTo>
                      <a:pt x="410" y="438"/>
                    </a:lnTo>
                    <a:lnTo>
                      <a:pt x="414" y="438"/>
                    </a:lnTo>
                    <a:lnTo>
                      <a:pt x="420" y="418"/>
                    </a:lnTo>
                    <a:lnTo>
                      <a:pt x="412" y="418"/>
                    </a:lnTo>
                    <a:lnTo>
                      <a:pt x="408" y="400"/>
                    </a:lnTo>
                    <a:lnTo>
                      <a:pt x="394" y="386"/>
                    </a:lnTo>
                    <a:lnTo>
                      <a:pt x="392" y="384"/>
                    </a:lnTo>
                    <a:lnTo>
                      <a:pt x="386" y="384"/>
                    </a:lnTo>
                    <a:lnTo>
                      <a:pt x="312" y="372"/>
                    </a:lnTo>
                    <a:lnTo>
                      <a:pt x="246" y="276"/>
                    </a:lnTo>
                    <a:lnTo>
                      <a:pt x="172" y="27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76" name="Freeform 32"/>
              <p:cNvSpPr>
                <a:spLocks/>
              </p:cNvSpPr>
              <p:nvPr/>
            </p:nvSpPr>
            <p:spPr bwMode="auto">
              <a:xfrm>
                <a:off x="5601445" y="5992813"/>
                <a:ext cx="27515" cy="19050"/>
              </a:xfrm>
              <a:custGeom>
                <a:avLst/>
                <a:gdLst>
                  <a:gd name="T0" fmla="*/ 10 w 16"/>
                  <a:gd name="T1" fmla="*/ 0 h 12"/>
                  <a:gd name="T2" fmla="*/ 14 w 16"/>
                  <a:gd name="T3" fmla="*/ 2 h 12"/>
                  <a:gd name="T4" fmla="*/ 16 w 16"/>
                  <a:gd name="T5" fmla="*/ 6 h 12"/>
                  <a:gd name="T6" fmla="*/ 14 w 16"/>
                  <a:gd name="T7" fmla="*/ 10 h 12"/>
                  <a:gd name="T8" fmla="*/ 10 w 16"/>
                  <a:gd name="T9" fmla="*/ 12 h 12"/>
                  <a:gd name="T10" fmla="*/ 8 w 16"/>
                  <a:gd name="T11" fmla="*/ 8 h 12"/>
                  <a:gd name="T12" fmla="*/ 6 w 16"/>
                  <a:gd name="T13" fmla="*/ 4 h 12"/>
                  <a:gd name="T14" fmla="*/ 2 w 16"/>
                  <a:gd name="T15" fmla="*/ 6 h 12"/>
                  <a:gd name="T16" fmla="*/ 0 w 16"/>
                  <a:gd name="T17" fmla="*/ 2 h 12"/>
                  <a:gd name="T18" fmla="*/ 2 w 16"/>
                  <a:gd name="T19" fmla="*/ 0 h 12"/>
                  <a:gd name="T20" fmla="*/ 6 w 16"/>
                  <a:gd name="T21" fmla="*/ 0 h 12"/>
                  <a:gd name="T22" fmla="*/ 10 w 16"/>
                  <a:gd name="T23" fmla="*/ 0 h 12"/>
                  <a:gd name="T24" fmla="*/ 10 w 16"/>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2">
                    <a:moveTo>
                      <a:pt x="10" y="0"/>
                    </a:moveTo>
                    <a:lnTo>
                      <a:pt x="14" y="2"/>
                    </a:lnTo>
                    <a:lnTo>
                      <a:pt x="16" y="6"/>
                    </a:lnTo>
                    <a:lnTo>
                      <a:pt x="14" y="10"/>
                    </a:lnTo>
                    <a:lnTo>
                      <a:pt x="10" y="12"/>
                    </a:lnTo>
                    <a:lnTo>
                      <a:pt x="8" y="8"/>
                    </a:lnTo>
                    <a:lnTo>
                      <a:pt x="6" y="4"/>
                    </a:lnTo>
                    <a:lnTo>
                      <a:pt x="2" y="6"/>
                    </a:lnTo>
                    <a:lnTo>
                      <a:pt x="0" y="2"/>
                    </a:lnTo>
                    <a:lnTo>
                      <a:pt x="2" y="0"/>
                    </a:lnTo>
                    <a:lnTo>
                      <a:pt x="6" y="0"/>
                    </a:lnTo>
                    <a:lnTo>
                      <a:pt x="10" y="0"/>
                    </a:lnTo>
                    <a:lnTo>
                      <a:pt x="1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77" name="Freeform 33"/>
              <p:cNvSpPr>
                <a:spLocks/>
              </p:cNvSpPr>
              <p:nvPr/>
            </p:nvSpPr>
            <p:spPr bwMode="auto">
              <a:xfrm>
                <a:off x="5601445" y="5992813"/>
                <a:ext cx="27515" cy="19050"/>
              </a:xfrm>
              <a:custGeom>
                <a:avLst/>
                <a:gdLst>
                  <a:gd name="T0" fmla="*/ 10 w 16"/>
                  <a:gd name="T1" fmla="*/ 0 h 12"/>
                  <a:gd name="T2" fmla="*/ 14 w 16"/>
                  <a:gd name="T3" fmla="*/ 2 h 12"/>
                  <a:gd name="T4" fmla="*/ 16 w 16"/>
                  <a:gd name="T5" fmla="*/ 6 h 12"/>
                  <a:gd name="T6" fmla="*/ 14 w 16"/>
                  <a:gd name="T7" fmla="*/ 10 h 12"/>
                  <a:gd name="T8" fmla="*/ 10 w 16"/>
                  <a:gd name="T9" fmla="*/ 12 h 12"/>
                  <a:gd name="T10" fmla="*/ 8 w 16"/>
                  <a:gd name="T11" fmla="*/ 8 h 12"/>
                  <a:gd name="T12" fmla="*/ 6 w 16"/>
                  <a:gd name="T13" fmla="*/ 4 h 12"/>
                  <a:gd name="T14" fmla="*/ 2 w 16"/>
                  <a:gd name="T15" fmla="*/ 6 h 12"/>
                  <a:gd name="T16" fmla="*/ 0 w 16"/>
                  <a:gd name="T17" fmla="*/ 2 h 12"/>
                  <a:gd name="T18" fmla="*/ 2 w 16"/>
                  <a:gd name="T19" fmla="*/ 0 h 12"/>
                  <a:gd name="T20" fmla="*/ 6 w 16"/>
                  <a:gd name="T21" fmla="*/ 0 h 12"/>
                  <a:gd name="T22" fmla="*/ 10 w 16"/>
                  <a:gd name="T23" fmla="*/ 0 h 12"/>
                  <a:gd name="T24" fmla="*/ 10 w 16"/>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2">
                    <a:moveTo>
                      <a:pt x="10" y="0"/>
                    </a:moveTo>
                    <a:lnTo>
                      <a:pt x="14" y="2"/>
                    </a:lnTo>
                    <a:lnTo>
                      <a:pt x="16" y="6"/>
                    </a:lnTo>
                    <a:lnTo>
                      <a:pt x="14" y="10"/>
                    </a:lnTo>
                    <a:lnTo>
                      <a:pt x="10" y="12"/>
                    </a:lnTo>
                    <a:lnTo>
                      <a:pt x="8" y="8"/>
                    </a:lnTo>
                    <a:lnTo>
                      <a:pt x="6" y="4"/>
                    </a:lnTo>
                    <a:lnTo>
                      <a:pt x="2" y="6"/>
                    </a:lnTo>
                    <a:lnTo>
                      <a:pt x="0" y="2"/>
                    </a:lnTo>
                    <a:lnTo>
                      <a:pt x="2" y="0"/>
                    </a:lnTo>
                    <a:lnTo>
                      <a:pt x="6" y="0"/>
                    </a:lnTo>
                    <a:lnTo>
                      <a:pt x="10" y="0"/>
                    </a:lnTo>
                    <a:lnTo>
                      <a:pt x="1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78" name="Freeform 34"/>
              <p:cNvSpPr>
                <a:spLocks/>
              </p:cNvSpPr>
              <p:nvPr/>
            </p:nvSpPr>
            <p:spPr bwMode="auto">
              <a:xfrm>
                <a:off x="4947974" y="5795963"/>
                <a:ext cx="773847" cy="609600"/>
              </a:xfrm>
              <a:custGeom>
                <a:avLst/>
                <a:gdLst>
                  <a:gd name="T0" fmla="*/ 6 w 450"/>
                  <a:gd name="T1" fmla="*/ 0 h 384"/>
                  <a:gd name="T2" fmla="*/ 30 w 450"/>
                  <a:gd name="T3" fmla="*/ 10 h 384"/>
                  <a:gd name="T4" fmla="*/ 76 w 450"/>
                  <a:gd name="T5" fmla="*/ 8 h 384"/>
                  <a:gd name="T6" fmla="*/ 110 w 450"/>
                  <a:gd name="T7" fmla="*/ 18 h 384"/>
                  <a:gd name="T8" fmla="*/ 116 w 450"/>
                  <a:gd name="T9" fmla="*/ 30 h 384"/>
                  <a:gd name="T10" fmla="*/ 146 w 450"/>
                  <a:gd name="T11" fmla="*/ 58 h 384"/>
                  <a:gd name="T12" fmla="*/ 198 w 450"/>
                  <a:gd name="T13" fmla="*/ 90 h 384"/>
                  <a:gd name="T14" fmla="*/ 226 w 450"/>
                  <a:gd name="T15" fmla="*/ 108 h 384"/>
                  <a:gd name="T16" fmla="*/ 234 w 450"/>
                  <a:gd name="T17" fmla="*/ 104 h 384"/>
                  <a:gd name="T18" fmla="*/ 254 w 450"/>
                  <a:gd name="T19" fmla="*/ 120 h 384"/>
                  <a:gd name="T20" fmla="*/ 280 w 450"/>
                  <a:gd name="T21" fmla="*/ 126 h 384"/>
                  <a:gd name="T22" fmla="*/ 292 w 450"/>
                  <a:gd name="T23" fmla="*/ 138 h 384"/>
                  <a:gd name="T24" fmla="*/ 300 w 450"/>
                  <a:gd name="T25" fmla="*/ 136 h 384"/>
                  <a:gd name="T26" fmla="*/ 326 w 450"/>
                  <a:gd name="T27" fmla="*/ 138 h 384"/>
                  <a:gd name="T28" fmla="*/ 324 w 450"/>
                  <a:gd name="T29" fmla="*/ 146 h 384"/>
                  <a:gd name="T30" fmla="*/ 324 w 450"/>
                  <a:gd name="T31" fmla="*/ 156 h 384"/>
                  <a:gd name="T32" fmla="*/ 314 w 450"/>
                  <a:gd name="T33" fmla="*/ 168 h 384"/>
                  <a:gd name="T34" fmla="*/ 344 w 450"/>
                  <a:gd name="T35" fmla="*/ 156 h 384"/>
                  <a:gd name="T36" fmla="*/ 354 w 450"/>
                  <a:gd name="T37" fmla="*/ 170 h 384"/>
                  <a:gd name="T38" fmla="*/ 350 w 450"/>
                  <a:gd name="T39" fmla="*/ 182 h 384"/>
                  <a:gd name="T40" fmla="*/ 340 w 450"/>
                  <a:gd name="T41" fmla="*/ 198 h 384"/>
                  <a:gd name="T42" fmla="*/ 364 w 450"/>
                  <a:gd name="T43" fmla="*/ 208 h 384"/>
                  <a:gd name="T44" fmla="*/ 384 w 450"/>
                  <a:gd name="T45" fmla="*/ 220 h 384"/>
                  <a:gd name="T46" fmla="*/ 384 w 450"/>
                  <a:gd name="T47" fmla="*/ 238 h 384"/>
                  <a:gd name="T48" fmla="*/ 402 w 450"/>
                  <a:gd name="T49" fmla="*/ 242 h 384"/>
                  <a:gd name="T50" fmla="*/ 432 w 450"/>
                  <a:gd name="T51" fmla="*/ 252 h 384"/>
                  <a:gd name="T52" fmla="*/ 442 w 450"/>
                  <a:gd name="T53" fmla="*/ 266 h 384"/>
                  <a:gd name="T54" fmla="*/ 440 w 450"/>
                  <a:gd name="T55" fmla="*/ 298 h 384"/>
                  <a:gd name="T56" fmla="*/ 430 w 450"/>
                  <a:gd name="T57" fmla="*/ 376 h 384"/>
                  <a:gd name="T58" fmla="*/ 408 w 450"/>
                  <a:gd name="T59" fmla="*/ 370 h 384"/>
                  <a:gd name="T60" fmla="*/ 386 w 450"/>
                  <a:gd name="T61" fmla="*/ 370 h 384"/>
                  <a:gd name="T62" fmla="*/ 382 w 450"/>
                  <a:gd name="T63" fmla="*/ 384 h 384"/>
                  <a:gd name="T64" fmla="*/ 332 w 450"/>
                  <a:gd name="T65" fmla="*/ 352 h 384"/>
                  <a:gd name="T66" fmla="*/ 284 w 450"/>
                  <a:gd name="T67" fmla="*/ 324 h 384"/>
                  <a:gd name="T68" fmla="*/ 270 w 450"/>
                  <a:gd name="T69" fmla="*/ 308 h 384"/>
                  <a:gd name="T70" fmla="*/ 210 w 450"/>
                  <a:gd name="T71" fmla="*/ 228 h 384"/>
                  <a:gd name="T72" fmla="*/ 198 w 450"/>
                  <a:gd name="T73" fmla="*/ 208 h 384"/>
                  <a:gd name="T74" fmla="*/ 182 w 450"/>
                  <a:gd name="T75" fmla="*/ 190 h 384"/>
                  <a:gd name="T76" fmla="*/ 160 w 450"/>
                  <a:gd name="T77" fmla="*/ 182 h 384"/>
                  <a:gd name="T78" fmla="*/ 132 w 450"/>
                  <a:gd name="T79" fmla="*/ 122 h 384"/>
                  <a:gd name="T80" fmla="*/ 94 w 450"/>
                  <a:gd name="T81" fmla="*/ 94 h 384"/>
                  <a:gd name="T82" fmla="*/ 84 w 450"/>
                  <a:gd name="T83" fmla="*/ 86 h 384"/>
                  <a:gd name="T84" fmla="*/ 54 w 450"/>
                  <a:gd name="T85" fmla="*/ 66 h 384"/>
                  <a:gd name="T86" fmla="*/ 2 w 450"/>
                  <a:gd name="T87" fmla="*/ 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84">
                    <a:moveTo>
                      <a:pt x="0" y="2"/>
                    </a:moveTo>
                    <a:lnTo>
                      <a:pt x="4" y="2"/>
                    </a:lnTo>
                    <a:lnTo>
                      <a:pt x="6" y="0"/>
                    </a:lnTo>
                    <a:lnTo>
                      <a:pt x="20" y="0"/>
                    </a:lnTo>
                    <a:lnTo>
                      <a:pt x="26" y="2"/>
                    </a:lnTo>
                    <a:lnTo>
                      <a:pt x="30" y="10"/>
                    </a:lnTo>
                    <a:lnTo>
                      <a:pt x="40" y="10"/>
                    </a:lnTo>
                    <a:lnTo>
                      <a:pt x="46" y="12"/>
                    </a:lnTo>
                    <a:lnTo>
                      <a:pt x="76" y="8"/>
                    </a:lnTo>
                    <a:lnTo>
                      <a:pt x="82" y="12"/>
                    </a:lnTo>
                    <a:lnTo>
                      <a:pt x="98" y="12"/>
                    </a:lnTo>
                    <a:lnTo>
                      <a:pt x="110" y="18"/>
                    </a:lnTo>
                    <a:lnTo>
                      <a:pt x="114" y="24"/>
                    </a:lnTo>
                    <a:lnTo>
                      <a:pt x="114" y="28"/>
                    </a:lnTo>
                    <a:lnTo>
                      <a:pt x="116" y="30"/>
                    </a:lnTo>
                    <a:lnTo>
                      <a:pt x="122" y="32"/>
                    </a:lnTo>
                    <a:lnTo>
                      <a:pt x="128" y="44"/>
                    </a:lnTo>
                    <a:lnTo>
                      <a:pt x="146" y="58"/>
                    </a:lnTo>
                    <a:lnTo>
                      <a:pt x="172" y="66"/>
                    </a:lnTo>
                    <a:lnTo>
                      <a:pt x="196" y="82"/>
                    </a:lnTo>
                    <a:lnTo>
                      <a:pt x="198" y="90"/>
                    </a:lnTo>
                    <a:lnTo>
                      <a:pt x="208" y="90"/>
                    </a:lnTo>
                    <a:lnTo>
                      <a:pt x="212" y="98"/>
                    </a:lnTo>
                    <a:lnTo>
                      <a:pt x="226" y="108"/>
                    </a:lnTo>
                    <a:lnTo>
                      <a:pt x="232" y="110"/>
                    </a:lnTo>
                    <a:lnTo>
                      <a:pt x="232" y="108"/>
                    </a:lnTo>
                    <a:lnTo>
                      <a:pt x="234" y="104"/>
                    </a:lnTo>
                    <a:lnTo>
                      <a:pt x="242" y="104"/>
                    </a:lnTo>
                    <a:lnTo>
                      <a:pt x="246" y="106"/>
                    </a:lnTo>
                    <a:lnTo>
                      <a:pt x="254" y="120"/>
                    </a:lnTo>
                    <a:lnTo>
                      <a:pt x="264" y="122"/>
                    </a:lnTo>
                    <a:lnTo>
                      <a:pt x="268" y="122"/>
                    </a:lnTo>
                    <a:lnTo>
                      <a:pt x="280" y="126"/>
                    </a:lnTo>
                    <a:lnTo>
                      <a:pt x="284" y="130"/>
                    </a:lnTo>
                    <a:lnTo>
                      <a:pt x="288" y="136"/>
                    </a:lnTo>
                    <a:lnTo>
                      <a:pt x="292" y="138"/>
                    </a:lnTo>
                    <a:lnTo>
                      <a:pt x="292" y="130"/>
                    </a:lnTo>
                    <a:lnTo>
                      <a:pt x="296" y="132"/>
                    </a:lnTo>
                    <a:lnTo>
                      <a:pt x="300" y="136"/>
                    </a:lnTo>
                    <a:lnTo>
                      <a:pt x="304" y="138"/>
                    </a:lnTo>
                    <a:lnTo>
                      <a:pt x="320" y="136"/>
                    </a:lnTo>
                    <a:lnTo>
                      <a:pt x="326" y="138"/>
                    </a:lnTo>
                    <a:lnTo>
                      <a:pt x="328" y="140"/>
                    </a:lnTo>
                    <a:lnTo>
                      <a:pt x="326" y="144"/>
                    </a:lnTo>
                    <a:lnTo>
                      <a:pt x="324" y="146"/>
                    </a:lnTo>
                    <a:lnTo>
                      <a:pt x="320" y="148"/>
                    </a:lnTo>
                    <a:lnTo>
                      <a:pt x="322" y="152"/>
                    </a:lnTo>
                    <a:lnTo>
                      <a:pt x="324" y="156"/>
                    </a:lnTo>
                    <a:lnTo>
                      <a:pt x="324" y="160"/>
                    </a:lnTo>
                    <a:lnTo>
                      <a:pt x="314" y="166"/>
                    </a:lnTo>
                    <a:lnTo>
                      <a:pt x="314" y="168"/>
                    </a:lnTo>
                    <a:lnTo>
                      <a:pt x="314" y="168"/>
                    </a:lnTo>
                    <a:lnTo>
                      <a:pt x="340" y="154"/>
                    </a:lnTo>
                    <a:lnTo>
                      <a:pt x="344" y="156"/>
                    </a:lnTo>
                    <a:lnTo>
                      <a:pt x="350" y="160"/>
                    </a:lnTo>
                    <a:lnTo>
                      <a:pt x="354" y="166"/>
                    </a:lnTo>
                    <a:lnTo>
                      <a:pt x="354" y="170"/>
                    </a:lnTo>
                    <a:lnTo>
                      <a:pt x="344" y="180"/>
                    </a:lnTo>
                    <a:lnTo>
                      <a:pt x="346" y="182"/>
                    </a:lnTo>
                    <a:lnTo>
                      <a:pt x="350" y="182"/>
                    </a:lnTo>
                    <a:lnTo>
                      <a:pt x="348" y="188"/>
                    </a:lnTo>
                    <a:lnTo>
                      <a:pt x="342" y="192"/>
                    </a:lnTo>
                    <a:lnTo>
                      <a:pt x="340" y="198"/>
                    </a:lnTo>
                    <a:lnTo>
                      <a:pt x="342" y="204"/>
                    </a:lnTo>
                    <a:lnTo>
                      <a:pt x="358" y="208"/>
                    </a:lnTo>
                    <a:lnTo>
                      <a:pt x="364" y="208"/>
                    </a:lnTo>
                    <a:lnTo>
                      <a:pt x="368" y="210"/>
                    </a:lnTo>
                    <a:lnTo>
                      <a:pt x="378" y="208"/>
                    </a:lnTo>
                    <a:lnTo>
                      <a:pt x="384" y="220"/>
                    </a:lnTo>
                    <a:lnTo>
                      <a:pt x="384" y="228"/>
                    </a:lnTo>
                    <a:lnTo>
                      <a:pt x="386" y="232"/>
                    </a:lnTo>
                    <a:lnTo>
                      <a:pt x="384" y="238"/>
                    </a:lnTo>
                    <a:lnTo>
                      <a:pt x="390" y="238"/>
                    </a:lnTo>
                    <a:lnTo>
                      <a:pt x="396" y="240"/>
                    </a:lnTo>
                    <a:lnTo>
                      <a:pt x="402" y="242"/>
                    </a:lnTo>
                    <a:lnTo>
                      <a:pt x="396" y="254"/>
                    </a:lnTo>
                    <a:lnTo>
                      <a:pt x="424" y="250"/>
                    </a:lnTo>
                    <a:lnTo>
                      <a:pt x="432" y="252"/>
                    </a:lnTo>
                    <a:lnTo>
                      <a:pt x="434" y="256"/>
                    </a:lnTo>
                    <a:lnTo>
                      <a:pt x="438" y="260"/>
                    </a:lnTo>
                    <a:lnTo>
                      <a:pt x="442" y="266"/>
                    </a:lnTo>
                    <a:lnTo>
                      <a:pt x="448" y="270"/>
                    </a:lnTo>
                    <a:lnTo>
                      <a:pt x="450" y="276"/>
                    </a:lnTo>
                    <a:lnTo>
                      <a:pt x="440" y="298"/>
                    </a:lnTo>
                    <a:lnTo>
                      <a:pt x="442" y="300"/>
                    </a:lnTo>
                    <a:lnTo>
                      <a:pt x="442" y="304"/>
                    </a:lnTo>
                    <a:lnTo>
                      <a:pt x="430" y="376"/>
                    </a:lnTo>
                    <a:lnTo>
                      <a:pt x="426" y="376"/>
                    </a:lnTo>
                    <a:lnTo>
                      <a:pt x="412" y="368"/>
                    </a:lnTo>
                    <a:lnTo>
                      <a:pt x="408" y="370"/>
                    </a:lnTo>
                    <a:lnTo>
                      <a:pt x="406" y="376"/>
                    </a:lnTo>
                    <a:lnTo>
                      <a:pt x="402" y="378"/>
                    </a:lnTo>
                    <a:lnTo>
                      <a:pt x="386" y="370"/>
                    </a:lnTo>
                    <a:lnTo>
                      <a:pt x="380" y="372"/>
                    </a:lnTo>
                    <a:lnTo>
                      <a:pt x="386" y="382"/>
                    </a:lnTo>
                    <a:lnTo>
                      <a:pt x="382" y="384"/>
                    </a:lnTo>
                    <a:lnTo>
                      <a:pt x="344" y="356"/>
                    </a:lnTo>
                    <a:lnTo>
                      <a:pt x="338" y="352"/>
                    </a:lnTo>
                    <a:lnTo>
                      <a:pt x="332" y="352"/>
                    </a:lnTo>
                    <a:lnTo>
                      <a:pt x="298" y="332"/>
                    </a:lnTo>
                    <a:lnTo>
                      <a:pt x="290" y="330"/>
                    </a:lnTo>
                    <a:lnTo>
                      <a:pt x="284" y="324"/>
                    </a:lnTo>
                    <a:lnTo>
                      <a:pt x="282" y="316"/>
                    </a:lnTo>
                    <a:lnTo>
                      <a:pt x="278" y="312"/>
                    </a:lnTo>
                    <a:lnTo>
                      <a:pt x="270" y="308"/>
                    </a:lnTo>
                    <a:lnTo>
                      <a:pt x="226" y="266"/>
                    </a:lnTo>
                    <a:lnTo>
                      <a:pt x="226" y="254"/>
                    </a:lnTo>
                    <a:lnTo>
                      <a:pt x="210" y="228"/>
                    </a:lnTo>
                    <a:lnTo>
                      <a:pt x="208" y="220"/>
                    </a:lnTo>
                    <a:lnTo>
                      <a:pt x="202" y="212"/>
                    </a:lnTo>
                    <a:lnTo>
                      <a:pt x="198" y="208"/>
                    </a:lnTo>
                    <a:lnTo>
                      <a:pt x="192" y="204"/>
                    </a:lnTo>
                    <a:lnTo>
                      <a:pt x="188" y="202"/>
                    </a:lnTo>
                    <a:lnTo>
                      <a:pt x="182" y="190"/>
                    </a:lnTo>
                    <a:lnTo>
                      <a:pt x="168" y="184"/>
                    </a:lnTo>
                    <a:lnTo>
                      <a:pt x="160" y="184"/>
                    </a:lnTo>
                    <a:lnTo>
                      <a:pt x="160" y="182"/>
                    </a:lnTo>
                    <a:lnTo>
                      <a:pt x="144" y="140"/>
                    </a:lnTo>
                    <a:lnTo>
                      <a:pt x="146" y="132"/>
                    </a:lnTo>
                    <a:lnTo>
                      <a:pt x="132" y="122"/>
                    </a:lnTo>
                    <a:lnTo>
                      <a:pt x="110" y="114"/>
                    </a:lnTo>
                    <a:lnTo>
                      <a:pt x="100" y="114"/>
                    </a:lnTo>
                    <a:lnTo>
                      <a:pt x="94" y="94"/>
                    </a:lnTo>
                    <a:lnTo>
                      <a:pt x="90" y="92"/>
                    </a:lnTo>
                    <a:lnTo>
                      <a:pt x="88" y="88"/>
                    </a:lnTo>
                    <a:lnTo>
                      <a:pt x="84" y="86"/>
                    </a:lnTo>
                    <a:lnTo>
                      <a:pt x="76" y="74"/>
                    </a:lnTo>
                    <a:lnTo>
                      <a:pt x="62" y="66"/>
                    </a:lnTo>
                    <a:lnTo>
                      <a:pt x="54" y="66"/>
                    </a:lnTo>
                    <a:lnTo>
                      <a:pt x="8" y="26"/>
                    </a:lnTo>
                    <a:lnTo>
                      <a:pt x="2" y="16"/>
                    </a:lnTo>
                    <a:lnTo>
                      <a:pt x="2" y="4"/>
                    </a:lnTo>
                    <a:lnTo>
                      <a:pt x="0"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79" name="Freeform 35"/>
              <p:cNvSpPr>
                <a:spLocks/>
              </p:cNvSpPr>
              <p:nvPr/>
            </p:nvSpPr>
            <p:spPr bwMode="auto">
              <a:xfrm>
                <a:off x="4947974" y="5795963"/>
                <a:ext cx="773847" cy="609600"/>
              </a:xfrm>
              <a:custGeom>
                <a:avLst/>
                <a:gdLst>
                  <a:gd name="T0" fmla="*/ 6 w 450"/>
                  <a:gd name="T1" fmla="*/ 0 h 384"/>
                  <a:gd name="T2" fmla="*/ 30 w 450"/>
                  <a:gd name="T3" fmla="*/ 10 h 384"/>
                  <a:gd name="T4" fmla="*/ 76 w 450"/>
                  <a:gd name="T5" fmla="*/ 8 h 384"/>
                  <a:gd name="T6" fmla="*/ 110 w 450"/>
                  <a:gd name="T7" fmla="*/ 18 h 384"/>
                  <a:gd name="T8" fmla="*/ 116 w 450"/>
                  <a:gd name="T9" fmla="*/ 30 h 384"/>
                  <a:gd name="T10" fmla="*/ 146 w 450"/>
                  <a:gd name="T11" fmla="*/ 58 h 384"/>
                  <a:gd name="T12" fmla="*/ 198 w 450"/>
                  <a:gd name="T13" fmla="*/ 90 h 384"/>
                  <a:gd name="T14" fmla="*/ 226 w 450"/>
                  <a:gd name="T15" fmla="*/ 108 h 384"/>
                  <a:gd name="T16" fmla="*/ 234 w 450"/>
                  <a:gd name="T17" fmla="*/ 104 h 384"/>
                  <a:gd name="T18" fmla="*/ 254 w 450"/>
                  <a:gd name="T19" fmla="*/ 120 h 384"/>
                  <a:gd name="T20" fmla="*/ 280 w 450"/>
                  <a:gd name="T21" fmla="*/ 126 h 384"/>
                  <a:gd name="T22" fmla="*/ 292 w 450"/>
                  <a:gd name="T23" fmla="*/ 138 h 384"/>
                  <a:gd name="T24" fmla="*/ 300 w 450"/>
                  <a:gd name="T25" fmla="*/ 136 h 384"/>
                  <a:gd name="T26" fmla="*/ 326 w 450"/>
                  <a:gd name="T27" fmla="*/ 138 h 384"/>
                  <a:gd name="T28" fmla="*/ 324 w 450"/>
                  <a:gd name="T29" fmla="*/ 146 h 384"/>
                  <a:gd name="T30" fmla="*/ 324 w 450"/>
                  <a:gd name="T31" fmla="*/ 156 h 384"/>
                  <a:gd name="T32" fmla="*/ 314 w 450"/>
                  <a:gd name="T33" fmla="*/ 168 h 384"/>
                  <a:gd name="T34" fmla="*/ 344 w 450"/>
                  <a:gd name="T35" fmla="*/ 156 h 384"/>
                  <a:gd name="T36" fmla="*/ 354 w 450"/>
                  <a:gd name="T37" fmla="*/ 170 h 384"/>
                  <a:gd name="T38" fmla="*/ 350 w 450"/>
                  <a:gd name="T39" fmla="*/ 182 h 384"/>
                  <a:gd name="T40" fmla="*/ 340 w 450"/>
                  <a:gd name="T41" fmla="*/ 198 h 384"/>
                  <a:gd name="T42" fmla="*/ 364 w 450"/>
                  <a:gd name="T43" fmla="*/ 208 h 384"/>
                  <a:gd name="T44" fmla="*/ 384 w 450"/>
                  <a:gd name="T45" fmla="*/ 220 h 384"/>
                  <a:gd name="T46" fmla="*/ 384 w 450"/>
                  <a:gd name="T47" fmla="*/ 238 h 384"/>
                  <a:gd name="T48" fmla="*/ 402 w 450"/>
                  <a:gd name="T49" fmla="*/ 242 h 384"/>
                  <a:gd name="T50" fmla="*/ 432 w 450"/>
                  <a:gd name="T51" fmla="*/ 252 h 384"/>
                  <a:gd name="T52" fmla="*/ 442 w 450"/>
                  <a:gd name="T53" fmla="*/ 266 h 384"/>
                  <a:gd name="T54" fmla="*/ 440 w 450"/>
                  <a:gd name="T55" fmla="*/ 298 h 384"/>
                  <a:gd name="T56" fmla="*/ 430 w 450"/>
                  <a:gd name="T57" fmla="*/ 376 h 384"/>
                  <a:gd name="T58" fmla="*/ 408 w 450"/>
                  <a:gd name="T59" fmla="*/ 370 h 384"/>
                  <a:gd name="T60" fmla="*/ 386 w 450"/>
                  <a:gd name="T61" fmla="*/ 370 h 384"/>
                  <a:gd name="T62" fmla="*/ 382 w 450"/>
                  <a:gd name="T63" fmla="*/ 384 h 384"/>
                  <a:gd name="T64" fmla="*/ 332 w 450"/>
                  <a:gd name="T65" fmla="*/ 352 h 384"/>
                  <a:gd name="T66" fmla="*/ 284 w 450"/>
                  <a:gd name="T67" fmla="*/ 324 h 384"/>
                  <a:gd name="T68" fmla="*/ 270 w 450"/>
                  <a:gd name="T69" fmla="*/ 308 h 384"/>
                  <a:gd name="T70" fmla="*/ 210 w 450"/>
                  <a:gd name="T71" fmla="*/ 228 h 384"/>
                  <a:gd name="T72" fmla="*/ 198 w 450"/>
                  <a:gd name="T73" fmla="*/ 208 h 384"/>
                  <a:gd name="T74" fmla="*/ 182 w 450"/>
                  <a:gd name="T75" fmla="*/ 190 h 384"/>
                  <a:gd name="T76" fmla="*/ 160 w 450"/>
                  <a:gd name="T77" fmla="*/ 182 h 384"/>
                  <a:gd name="T78" fmla="*/ 132 w 450"/>
                  <a:gd name="T79" fmla="*/ 122 h 384"/>
                  <a:gd name="T80" fmla="*/ 94 w 450"/>
                  <a:gd name="T81" fmla="*/ 94 h 384"/>
                  <a:gd name="T82" fmla="*/ 84 w 450"/>
                  <a:gd name="T83" fmla="*/ 86 h 384"/>
                  <a:gd name="T84" fmla="*/ 54 w 450"/>
                  <a:gd name="T85" fmla="*/ 66 h 384"/>
                  <a:gd name="T86" fmla="*/ 2 w 450"/>
                  <a:gd name="T87" fmla="*/ 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84">
                    <a:moveTo>
                      <a:pt x="0" y="2"/>
                    </a:moveTo>
                    <a:lnTo>
                      <a:pt x="4" y="2"/>
                    </a:lnTo>
                    <a:lnTo>
                      <a:pt x="6" y="0"/>
                    </a:lnTo>
                    <a:lnTo>
                      <a:pt x="20" y="0"/>
                    </a:lnTo>
                    <a:lnTo>
                      <a:pt x="26" y="2"/>
                    </a:lnTo>
                    <a:lnTo>
                      <a:pt x="30" y="10"/>
                    </a:lnTo>
                    <a:lnTo>
                      <a:pt x="40" y="10"/>
                    </a:lnTo>
                    <a:lnTo>
                      <a:pt x="46" y="12"/>
                    </a:lnTo>
                    <a:lnTo>
                      <a:pt x="76" y="8"/>
                    </a:lnTo>
                    <a:lnTo>
                      <a:pt x="82" y="12"/>
                    </a:lnTo>
                    <a:lnTo>
                      <a:pt x="98" y="12"/>
                    </a:lnTo>
                    <a:lnTo>
                      <a:pt x="110" y="18"/>
                    </a:lnTo>
                    <a:lnTo>
                      <a:pt x="114" y="24"/>
                    </a:lnTo>
                    <a:lnTo>
                      <a:pt x="114" y="28"/>
                    </a:lnTo>
                    <a:lnTo>
                      <a:pt x="116" y="30"/>
                    </a:lnTo>
                    <a:lnTo>
                      <a:pt x="122" y="32"/>
                    </a:lnTo>
                    <a:lnTo>
                      <a:pt x="128" y="44"/>
                    </a:lnTo>
                    <a:lnTo>
                      <a:pt x="146" y="58"/>
                    </a:lnTo>
                    <a:lnTo>
                      <a:pt x="172" y="66"/>
                    </a:lnTo>
                    <a:lnTo>
                      <a:pt x="196" y="82"/>
                    </a:lnTo>
                    <a:lnTo>
                      <a:pt x="198" y="90"/>
                    </a:lnTo>
                    <a:lnTo>
                      <a:pt x="208" y="90"/>
                    </a:lnTo>
                    <a:lnTo>
                      <a:pt x="212" y="98"/>
                    </a:lnTo>
                    <a:lnTo>
                      <a:pt x="226" y="108"/>
                    </a:lnTo>
                    <a:lnTo>
                      <a:pt x="232" y="110"/>
                    </a:lnTo>
                    <a:lnTo>
                      <a:pt x="232" y="108"/>
                    </a:lnTo>
                    <a:lnTo>
                      <a:pt x="234" y="104"/>
                    </a:lnTo>
                    <a:lnTo>
                      <a:pt x="242" y="104"/>
                    </a:lnTo>
                    <a:lnTo>
                      <a:pt x="246" y="106"/>
                    </a:lnTo>
                    <a:lnTo>
                      <a:pt x="254" y="120"/>
                    </a:lnTo>
                    <a:lnTo>
                      <a:pt x="264" y="122"/>
                    </a:lnTo>
                    <a:lnTo>
                      <a:pt x="268" y="122"/>
                    </a:lnTo>
                    <a:lnTo>
                      <a:pt x="280" y="126"/>
                    </a:lnTo>
                    <a:lnTo>
                      <a:pt x="284" y="130"/>
                    </a:lnTo>
                    <a:lnTo>
                      <a:pt x="288" y="136"/>
                    </a:lnTo>
                    <a:lnTo>
                      <a:pt x="292" y="138"/>
                    </a:lnTo>
                    <a:lnTo>
                      <a:pt x="292" y="130"/>
                    </a:lnTo>
                    <a:lnTo>
                      <a:pt x="296" y="132"/>
                    </a:lnTo>
                    <a:lnTo>
                      <a:pt x="300" y="136"/>
                    </a:lnTo>
                    <a:lnTo>
                      <a:pt x="304" y="138"/>
                    </a:lnTo>
                    <a:lnTo>
                      <a:pt x="320" y="136"/>
                    </a:lnTo>
                    <a:lnTo>
                      <a:pt x="326" y="138"/>
                    </a:lnTo>
                    <a:lnTo>
                      <a:pt x="328" y="140"/>
                    </a:lnTo>
                    <a:lnTo>
                      <a:pt x="326" y="144"/>
                    </a:lnTo>
                    <a:lnTo>
                      <a:pt x="324" y="146"/>
                    </a:lnTo>
                    <a:lnTo>
                      <a:pt x="320" y="148"/>
                    </a:lnTo>
                    <a:lnTo>
                      <a:pt x="322" y="152"/>
                    </a:lnTo>
                    <a:lnTo>
                      <a:pt x="324" y="156"/>
                    </a:lnTo>
                    <a:lnTo>
                      <a:pt x="324" y="160"/>
                    </a:lnTo>
                    <a:lnTo>
                      <a:pt x="314" y="166"/>
                    </a:lnTo>
                    <a:lnTo>
                      <a:pt x="314" y="168"/>
                    </a:lnTo>
                    <a:lnTo>
                      <a:pt x="314" y="168"/>
                    </a:lnTo>
                    <a:lnTo>
                      <a:pt x="340" y="154"/>
                    </a:lnTo>
                    <a:lnTo>
                      <a:pt x="344" y="156"/>
                    </a:lnTo>
                    <a:lnTo>
                      <a:pt x="350" y="160"/>
                    </a:lnTo>
                    <a:lnTo>
                      <a:pt x="354" y="166"/>
                    </a:lnTo>
                    <a:lnTo>
                      <a:pt x="354" y="170"/>
                    </a:lnTo>
                    <a:lnTo>
                      <a:pt x="344" y="180"/>
                    </a:lnTo>
                    <a:lnTo>
                      <a:pt x="346" y="182"/>
                    </a:lnTo>
                    <a:lnTo>
                      <a:pt x="350" y="182"/>
                    </a:lnTo>
                    <a:lnTo>
                      <a:pt x="348" y="188"/>
                    </a:lnTo>
                    <a:lnTo>
                      <a:pt x="342" y="192"/>
                    </a:lnTo>
                    <a:lnTo>
                      <a:pt x="340" y="198"/>
                    </a:lnTo>
                    <a:lnTo>
                      <a:pt x="342" y="204"/>
                    </a:lnTo>
                    <a:lnTo>
                      <a:pt x="358" y="208"/>
                    </a:lnTo>
                    <a:lnTo>
                      <a:pt x="364" y="208"/>
                    </a:lnTo>
                    <a:lnTo>
                      <a:pt x="368" y="210"/>
                    </a:lnTo>
                    <a:lnTo>
                      <a:pt x="378" y="208"/>
                    </a:lnTo>
                    <a:lnTo>
                      <a:pt x="384" y="220"/>
                    </a:lnTo>
                    <a:lnTo>
                      <a:pt x="384" y="228"/>
                    </a:lnTo>
                    <a:lnTo>
                      <a:pt x="386" y="232"/>
                    </a:lnTo>
                    <a:lnTo>
                      <a:pt x="384" y="238"/>
                    </a:lnTo>
                    <a:lnTo>
                      <a:pt x="390" y="238"/>
                    </a:lnTo>
                    <a:lnTo>
                      <a:pt x="396" y="240"/>
                    </a:lnTo>
                    <a:lnTo>
                      <a:pt x="402" y="242"/>
                    </a:lnTo>
                    <a:lnTo>
                      <a:pt x="396" y="254"/>
                    </a:lnTo>
                    <a:lnTo>
                      <a:pt x="424" y="250"/>
                    </a:lnTo>
                    <a:lnTo>
                      <a:pt x="432" y="252"/>
                    </a:lnTo>
                    <a:lnTo>
                      <a:pt x="434" y="256"/>
                    </a:lnTo>
                    <a:lnTo>
                      <a:pt x="438" y="260"/>
                    </a:lnTo>
                    <a:lnTo>
                      <a:pt x="442" y="266"/>
                    </a:lnTo>
                    <a:lnTo>
                      <a:pt x="448" y="270"/>
                    </a:lnTo>
                    <a:lnTo>
                      <a:pt x="450" y="276"/>
                    </a:lnTo>
                    <a:lnTo>
                      <a:pt x="440" y="298"/>
                    </a:lnTo>
                    <a:lnTo>
                      <a:pt x="442" y="300"/>
                    </a:lnTo>
                    <a:lnTo>
                      <a:pt x="442" y="304"/>
                    </a:lnTo>
                    <a:lnTo>
                      <a:pt x="430" y="376"/>
                    </a:lnTo>
                    <a:lnTo>
                      <a:pt x="426" y="376"/>
                    </a:lnTo>
                    <a:lnTo>
                      <a:pt x="412" y="368"/>
                    </a:lnTo>
                    <a:lnTo>
                      <a:pt x="408" y="370"/>
                    </a:lnTo>
                    <a:lnTo>
                      <a:pt x="406" y="376"/>
                    </a:lnTo>
                    <a:lnTo>
                      <a:pt x="402" y="378"/>
                    </a:lnTo>
                    <a:lnTo>
                      <a:pt x="386" y="370"/>
                    </a:lnTo>
                    <a:lnTo>
                      <a:pt x="380" y="372"/>
                    </a:lnTo>
                    <a:lnTo>
                      <a:pt x="386" y="382"/>
                    </a:lnTo>
                    <a:lnTo>
                      <a:pt x="382" y="384"/>
                    </a:lnTo>
                    <a:lnTo>
                      <a:pt x="344" y="356"/>
                    </a:lnTo>
                    <a:lnTo>
                      <a:pt x="338" y="352"/>
                    </a:lnTo>
                    <a:lnTo>
                      <a:pt x="332" y="352"/>
                    </a:lnTo>
                    <a:lnTo>
                      <a:pt x="298" y="332"/>
                    </a:lnTo>
                    <a:lnTo>
                      <a:pt x="290" y="330"/>
                    </a:lnTo>
                    <a:lnTo>
                      <a:pt x="284" y="324"/>
                    </a:lnTo>
                    <a:lnTo>
                      <a:pt x="282" y="316"/>
                    </a:lnTo>
                    <a:lnTo>
                      <a:pt x="278" y="312"/>
                    </a:lnTo>
                    <a:lnTo>
                      <a:pt x="270" y="308"/>
                    </a:lnTo>
                    <a:lnTo>
                      <a:pt x="226" y="266"/>
                    </a:lnTo>
                    <a:lnTo>
                      <a:pt x="226" y="254"/>
                    </a:lnTo>
                    <a:lnTo>
                      <a:pt x="210" y="228"/>
                    </a:lnTo>
                    <a:lnTo>
                      <a:pt x="208" y="220"/>
                    </a:lnTo>
                    <a:lnTo>
                      <a:pt x="202" y="212"/>
                    </a:lnTo>
                    <a:lnTo>
                      <a:pt x="198" y="208"/>
                    </a:lnTo>
                    <a:lnTo>
                      <a:pt x="192" y="204"/>
                    </a:lnTo>
                    <a:lnTo>
                      <a:pt x="188" y="202"/>
                    </a:lnTo>
                    <a:lnTo>
                      <a:pt x="182" y="190"/>
                    </a:lnTo>
                    <a:lnTo>
                      <a:pt x="168" y="184"/>
                    </a:lnTo>
                    <a:lnTo>
                      <a:pt x="160" y="184"/>
                    </a:lnTo>
                    <a:lnTo>
                      <a:pt x="160" y="182"/>
                    </a:lnTo>
                    <a:lnTo>
                      <a:pt x="144" y="140"/>
                    </a:lnTo>
                    <a:lnTo>
                      <a:pt x="146" y="132"/>
                    </a:lnTo>
                    <a:lnTo>
                      <a:pt x="132" y="122"/>
                    </a:lnTo>
                    <a:lnTo>
                      <a:pt x="110" y="114"/>
                    </a:lnTo>
                    <a:lnTo>
                      <a:pt x="100" y="114"/>
                    </a:lnTo>
                    <a:lnTo>
                      <a:pt x="94" y="94"/>
                    </a:lnTo>
                    <a:lnTo>
                      <a:pt x="90" y="92"/>
                    </a:lnTo>
                    <a:lnTo>
                      <a:pt x="88" y="88"/>
                    </a:lnTo>
                    <a:lnTo>
                      <a:pt x="84" y="86"/>
                    </a:lnTo>
                    <a:lnTo>
                      <a:pt x="76" y="74"/>
                    </a:lnTo>
                    <a:lnTo>
                      <a:pt x="62" y="66"/>
                    </a:lnTo>
                    <a:lnTo>
                      <a:pt x="54" y="66"/>
                    </a:lnTo>
                    <a:lnTo>
                      <a:pt x="8" y="26"/>
                    </a:lnTo>
                    <a:lnTo>
                      <a:pt x="2" y="16"/>
                    </a:lnTo>
                    <a:lnTo>
                      <a:pt x="2" y="4"/>
                    </a:lnTo>
                    <a:lnTo>
                      <a:pt x="0"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80" name="Freeform 36"/>
              <p:cNvSpPr>
                <a:spLocks/>
              </p:cNvSpPr>
              <p:nvPr/>
            </p:nvSpPr>
            <p:spPr bwMode="auto">
              <a:xfrm>
                <a:off x="4975489" y="5951538"/>
                <a:ext cx="48150" cy="28575"/>
              </a:xfrm>
              <a:custGeom>
                <a:avLst/>
                <a:gdLst>
                  <a:gd name="T0" fmla="*/ 0 w 28"/>
                  <a:gd name="T1" fmla="*/ 4 h 18"/>
                  <a:gd name="T2" fmla="*/ 0 w 28"/>
                  <a:gd name="T3" fmla="*/ 2 h 18"/>
                  <a:gd name="T4" fmla="*/ 2 w 28"/>
                  <a:gd name="T5" fmla="*/ 0 h 18"/>
                  <a:gd name="T6" fmla="*/ 26 w 28"/>
                  <a:gd name="T7" fmla="*/ 12 h 18"/>
                  <a:gd name="T8" fmla="*/ 28 w 28"/>
                  <a:gd name="T9" fmla="*/ 18 h 18"/>
                  <a:gd name="T10" fmla="*/ 28 w 28"/>
                  <a:gd name="T11" fmla="*/ 18 h 18"/>
                  <a:gd name="T12" fmla="*/ 22 w 28"/>
                  <a:gd name="T13" fmla="*/ 14 h 18"/>
                  <a:gd name="T14" fmla="*/ 4 w 28"/>
                  <a:gd name="T15" fmla="*/ 8 h 18"/>
                  <a:gd name="T16" fmla="*/ 0 w 28"/>
                  <a:gd name="T1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8">
                    <a:moveTo>
                      <a:pt x="0" y="4"/>
                    </a:moveTo>
                    <a:lnTo>
                      <a:pt x="0" y="2"/>
                    </a:lnTo>
                    <a:lnTo>
                      <a:pt x="2" y="0"/>
                    </a:lnTo>
                    <a:lnTo>
                      <a:pt x="26" y="12"/>
                    </a:lnTo>
                    <a:lnTo>
                      <a:pt x="28" y="18"/>
                    </a:lnTo>
                    <a:lnTo>
                      <a:pt x="28" y="18"/>
                    </a:lnTo>
                    <a:lnTo>
                      <a:pt x="22" y="14"/>
                    </a:lnTo>
                    <a:lnTo>
                      <a:pt x="4" y="8"/>
                    </a:lnTo>
                    <a:lnTo>
                      <a:pt x="0"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81" name="Freeform 37"/>
              <p:cNvSpPr>
                <a:spLocks/>
              </p:cNvSpPr>
              <p:nvPr/>
            </p:nvSpPr>
            <p:spPr bwMode="auto">
              <a:xfrm>
                <a:off x="4975489" y="5951538"/>
                <a:ext cx="48150" cy="28575"/>
              </a:xfrm>
              <a:custGeom>
                <a:avLst/>
                <a:gdLst>
                  <a:gd name="T0" fmla="*/ 0 w 28"/>
                  <a:gd name="T1" fmla="*/ 4 h 18"/>
                  <a:gd name="T2" fmla="*/ 0 w 28"/>
                  <a:gd name="T3" fmla="*/ 2 h 18"/>
                  <a:gd name="T4" fmla="*/ 2 w 28"/>
                  <a:gd name="T5" fmla="*/ 0 h 18"/>
                  <a:gd name="T6" fmla="*/ 26 w 28"/>
                  <a:gd name="T7" fmla="*/ 12 h 18"/>
                  <a:gd name="T8" fmla="*/ 28 w 28"/>
                  <a:gd name="T9" fmla="*/ 18 h 18"/>
                  <a:gd name="T10" fmla="*/ 28 w 28"/>
                  <a:gd name="T11" fmla="*/ 18 h 18"/>
                  <a:gd name="T12" fmla="*/ 22 w 28"/>
                  <a:gd name="T13" fmla="*/ 14 h 18"/>
                  <a:gd name="T14" fmla="*/ 4 w 28"/>
                  <a:gd name="T15" fmla="*/ 8 h 18"/>
                  <a:gd name="T16" fmla="*/ 0 w 28"/>
                  <a:gd name="T1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8">
                    <a:moveTo>
                      <a:pt x="0" y="4"/>
                    </a:moveTo>
                    <a:lnTo>
                      <a:pt x="0" y="2"/>
                    </a:lnTo>
                    <a:lnTo>
                      <a:pt x="2" y="0"/>
                    </a:lnTo>
                    <a:lnTo>
                      <a:pt x="26" y="12"/>
                    </a:lnTo>
                    <a:lnTo>
                      <a:pt x="28" y="18"/>
                    </a:lnTo>
                    <a:lnTo>
                      <a:pt x="28" y="18"/>
                    </a:lnTo>
                    <a:lnTo>
                      <a:pt x="22" y="14"/>
                    </a:lnTo>
                    <a:lnTo>
                      <a:pt x="4" y="8"/>
                    </a:lnTo>
                    <a:lnTo>
                      <a:pt x="0"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82" name="Freeform 38"/>
              <p:cNvSpPr>
                <a:spLocks/>
              </p:cNvSpPr>
              <p:nvPr/>
            </p:nvSpPr>
            <p:spPr bwMode="auto">
              <a:xfrm>
                <a:off x="5075229" y="6021388"/>
                <a:ext cx="51590" cy="53975"/>
              </a:xfrm>
              <a:custGeom>
                <a:avLst/>
                <a:gdLst>
                  <a:gd name="T0" fmla="*/ 0 w 30"/>
                  <a:gd name="T1" fmla="*/ 6 h 34"/>
                  <a:gd name="T2" fmla="*/ 0 w 30"/>
                  <a:gd name="T3" fmla="*/ 4 h 34"/>
                  <a:gd name="T4" fmla="*/ 10 w 30"/>
                  <a:gd name="T5" fmla="*/ 0 h 34"/>
                  <a:gd name="T6" fmla="*/ 30 w 30"/>
                  <a:gd name="T7" fmla="*/ 18 h 34"/>
                  <a:gd name="T8" fmla="*/ 30 w 30"/>
                  <a:gd name="T9" fmla="*/ 30 h 34"/>
                  <a:gd name="T10" fmla="*/ 28 w 30"/>
                  <a:gd name="T11" fmla="*/ 32 h 34"/>
                  <a:gd name="T12" fmla="*/ 24 w 30"/>
                  <a:gd name="T13" fmla="*/ 34 h 34"/>
                  <a:gd name="T14" fmla="*/ 18 w 30"/>
                  <a:gd name="T15" fmla="*/ 24 h 34"/>
                  <a:gd name="T16" fmla="*/ 10 w 30"/>
                  <a:gd name="T17" fmla="*/ 18 h 34"/>
                  <a:gd name="T18" fmla="*/ 0 w 30"/>
                  <a:gd name="T19"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4">
                    <a:moveTo>
                      <a:pt x="0" y="6"/>
                    </a:moveTo>
                    <a:lnTo>
                      <a:pt x="0" y="4"/>
                    </a:lnTo>
                    <a:lnTo>
                      <a:pt x="10" y="0"/>
                    </a:lnTo>
                    <a:lnTo>
                      <a:pt x="30" y="18"/>
                    </a:lnTo>
                    <a:lnTo>
                      <a:pt x="30" y="30"/>
                    </a:lnTo>
                    <a:lnTo>
                      <a:pt x="28" y="32"/>
                    </a:lnTo>
                    <a:lnTo>
                      <a:pt x="24" y="34"/>
                    </a:lnTo>
                    <a:lnTo>
                      <a:pt x="18" y="24"/>
                    </a:lnTo>
                    <a:lnTo>
                      <a:pt x="10" y="18"/>
                    </a:lnTo>
                    <a:lnTo>
                      <a:pt x="0" y="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83" name="Freeform 39"/>
              <p:cNvSpPr>
                <a:spLocks/>
              </p:cNvSpPr>
              <p:nvPr/>
            </p:nvSpPr>
            <p:spPr bwMode="auto">
              <a:xfrm>
                <a:off x="5075229" y="6021388"/>
                <a:ext cx="51590" cy="53975"/>
              </a:xfrm>
              <a:custGeom>
                <a:avLst/>
                <a:gdLst>
                  <a:gd name="T0" fmla="*/ 0 w 30"/>
                  <a:gd name="T1" fmla="*/ 6 h 34"/>
                  <a:gd name="T2" fmla="*/ 0 w 30"/>
                  <a:gd name="T3" fmla="*/ 4 h 34"/>
                  <a:gd name="T4" fmla="*/ 10 w 30"/>
                  <a:gd name="T5" fmla="*/ 0 h 34"/>
                  <a:gd name="T6" fmla="*/ 30 w 30"/>
                  <a:gd name="T7" fmla="*/ 18 h 34"/>
                  <a:gd name="T8" fmla="*/ 30 w 30"/>
                  <a:gd name="T9" fmla="*/ 30 h 34"/>
                  <a:gd name="T10" fmla="*/ 28 w 30"/>
                  <a:gd name="T11" fmla="*/ 32 h 34"/>
                  <a:gd name="T12" fmla="*/ 24 w 30"/>
                  <a:gd name="T13" fmla="*/ 34 h 34"/>
                  <a:gd name="T14" fmla="*/ 18 w 30"/>
                  <a:gd name="T15" fmla="*/ 24 h 34"/>
                  <a:gd name="T16" fmla="*/ 10 w 30"/>
                  <a:gd name="T17" fmla="*/ 18 h 34"/>
                  <a:gd name="T18" fmla="*/ 0 w 30"/>
                  <a:gd name="T19"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4">
                    <a:moveTo>
                      <a:pt x="0" y="6"/>
                    </a:moveTo>
                    <a:lnTo>
                      <a:pt x="0" y="4"/>
                    </a:lnTo>
                    <a:lnTo>
                      <a:pt x="10" y="0"/>
                    </a:lnTo>
                    <a:lnTo>
                      <a:pt x="30" y="18"/>
                    </a:lnTo>
                    <a:lnTo>
                      <a:pt x="30" y="30"/>
                    </a:lnTo>
                    <a:lnTo>
                      <a:pt x="28" y="32"/>
                    </a:lnTo>
                    <a:lnTo>
                      <a:pt x="24" y="34"/>
                    </a:lnTo>
                    <a:lnTo>
                      <a:pt x="18" y="24"/>
                    </a:lnTo>
                    <a:lnTo>
                      <a:pt x="10" y="18"/>
                    </a:lnTo>
                    <a:lnTo>
                      <a:pt x="0" y="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84" name="Freeform 40"/>
              <p:cNvSpPr>
                <a:spLocks/>
              </p:cNvSpPr>
              <p:nvPr/>
            </p:nvSpPr>
            <p:spPr bwMode="auto">
              <a:xfrm>
                <a:off x="5391646" y="5961063"/>
                <a:ext cx="24075" cy="22225"/>
              </a:xfrm>
              <a:custGeom>
                <a:avLst/>
                <a:gdLst>
                  <a:gd name="T0" fmla="*/ 12 w 14"/>
                  <a:gd name="T1" fmla="*/ 14 h 14"/>
                  <a:gd name="T2" fmla="*/ 8 w 14"/>
                  <a:gd name="T3" fmla="*/ 12 h 14"/>
                  <a:gd name="T4" fmla="*/ 4 w 14"/>
                  <a:gd name="T5" fmla="*/ 12 h 14"/>
                  <a:gd name="T6" fmla="*/ 0 w 14"/>
                  <a:gd name="T7" fmla="*/ 8 h 14"/>
                  <a:gd name="T8" fmla="*/ 0 w 14"/>
                  <a:gd name="T9" fmla="*/ 4 h 14"/>
                  <a:gd name="T10" fmla="*/ 4 w 14"/>
                  <a:gd name="T11" fmla="*/ 4 h 14"/>
                  <a:gd name="T12" fmla="*/ 10 w 14"/>
                  <a:gd name="T13" fmla="*/ 0 h 14"/>
                  <a:gd name="T14" fmla="*/ 14 w 14"/>
                  <a:gd name="T15" fmla="*/ 4 h 14"/>
                  <a:gd name="T16" fmla="*/ 14 w 14"/>
                  <a:gd name="T17" fmla="*/ 10 h 14"/>
                  <a:gd name="T18" fmla="*/ 14 w 14"/>
                  <a:gd name="T19" fmla="*/ 12 h 14"/>
                  <a:gd name="T20" fmla="*/ 12 w 14"/>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12" y="14"/>
                    </a:moveTo>
                    <a:lnTo>
                      <a:pt x="8" y="12"/>
                    </a:lnTo>
                    <a:lnTo>
                      <a:pt x="4" y="12"/>
                    </a:lnTo>
                    <a:lnTo>
                      <a:pt x="0" y="8"/>
                    </a:lnTo>
                    <a:lnTo>
                      <a:pt x="0" y="4"/>
                    </a:lnTo>
                    <a:lnTo>
                      <a:pt x="4" y="4"/>
                    </a:lnTo>
                    <a:lnTo>
                      <a:pt x="10" y="0"/>
                    </a:lnTo>
                    <a:lnTo>
                      <a:pt x="14" y="4"/>
                    </a:lnTo>
                    <a:lnTo>
                      <a:pt x="14" y="10"/>
                    </a:lnTo>
                    <a:lnTo>
                      <a:pt x="14" y="12"/>
                    </a:lnTo>
                    <a:lnTo>
                      <a:pt x="12" y="1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85" name="Freeform 41"/>
              <p:cNvSpPr>
                <a:spLocks/>
              </p:cNvSpPr>
              <p:nvPr/>
            </p:nvSpPr>
            <p:spPr bwMode="auto">
              <a:xfrm>
                <a:off x="5391646" y="5961063"/>
                <a:ext cx="24075" cy="22225"/>
              </a:xfrm>
              <a:custGeom>
                <a:avLst/>
                <a:gdLst>
                  <a:gd name="T0" fmla="*/ 12 w 14"/>
                  <a:gd name="T1" fmla="*/ 14 h 14"/>
                  <a:gd name="T2" fmla="*/ 8 w 14"/>
                  <a:gd name="T3" fmla="*/ 12 h 14"/>
                  <a:gd name="T4" fmla="*/ 4 w 14"/>
                  <a:gd name="T5" fmla="*/ 12 h 14"/>
                  <a:gd name="T6" fmla="*/ 0 w 14"/>
                  <a:gd name="T7" fmla="*/ 8 h 14"/>
                  <a:gd name="T8" fmla="*/ 0 w 14"/>
                  <a:gd name="T9" fmla="*/ 4 h 14"/>
                  <a:gd name="T10" fmla="*/ 4 w 14"/>
                  <a:gd name="T11" fmla="*/ 4 h 14"/>
                  <a:gd name="T12" fmla="*/ 10 w 14"/>
                  <a:gd name="T13" fmla="*/ 0 h 14"/>
                  <a:gd name="T14" fmla="*/ 14 w 14"/>
                  <a:gd name="T15" fmla="*/ 4 h 14"/>
                  <a:gd name="T16" fmla="*/ 14 w 14"/>
                  <a:gd name="T17" fmla="*/ 10 h 14"/>
                  <a:gd name="T18" fmla="*/ 14 w 14"/>
                  <a:gd name="T19" fmla="*/ 12 h 14"/>
                  <a:gd name="T20" fmla="*/ 12 w 14"/>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12" y="14"/>
                    </a:moveTo>
                    <a:lnTo>
                      <a:pt x="8" y="12"/>
                    </a:lnTo>
                    <a:lnTo>
                      <a:pt x="4" y="12"/>
                    </a:lnTo>
                    <a:lnTo>
                      <a:pt x="0" y="8"/>
                    </a:lnTo>
                    <a:lnTo>
                      <a:pt x="0" y="4"/>
                    </a:lnTo>
                    <a:lnTo>
                      <a:pt x="4" y="4"/>
                    </a:lnTo>
                    <a:lnTo>
                      <a:pt x="10" y="0"/>
                    </a:lnTo>
                    <a:lnTo>
                      <a:pt x="14" y="4"/>
                    </a:lnTo>
                    <a:lnTo>
                      <a:pt x="14" y="10"/>
                    </a:lnTo>
                    <a:lnTo>
                      <a:pt x="14" y="12"/>
                    </a:lnTo>
                    <a:lnTo>
                      <a:pt x="12" y="1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86" name="Freeform 42"/>
              <p:cNvSpPr>
                <a:spLocks/>
              </p:cNvSpPr>
              <p:nvPr/>
            </p:nvSpPr>
            <p:spPr bwMode="auto">
              <a:xfrm>
                <a:off x="5436358" y="5986463"/>
                <a:ext cx="30954" cy="15875"/>
              </a:xfrm>
              <a:custGeom>
                <a:avLst/>
                <a:gdLst>
                  <a:gd name="T0" fmla="*/ 0 w 18"/>
                  <a:gd name="T1" fmla="*/ 0 h 10"/>
                  <a:gd name="T2" fmla="*/ 2 w 18"/>
                  <a:gd name="T3" fmla="*/ 0 h 10"/>
                  <a:gd name="T4" fmla="*/ 6 w 18"/>
                  <a:gd name="T5" fmla="*/ 0 h 10"/>
                  <a:gd name="T6" fmla="*/ 8 w 18"/>
                  <a:gd name="T7" fmla="*/ 0 h 10"/>
                  <a:gd name="T8" fmla="*/ 16 w 18"/>
                  <a:gd name="T9" fmla="*/ 0 h 10"/>
                  <a:gd name="T10" fmla="*/ 18 w 18"/>
                  <a:gd name="T11" fmla="*/ 8 h 10"/>
                  <a:gd name="T12" fmla="*/ 18 w 18"/>
                  <a:gd name="T13" fmla="*/ 10 h 10"/>
                  <a:gd name="T14" fmla="*/ 12 w 18"/>
                  <a:gd name="T15" fmla="*/ 6 h 10"/>
                  <a:gd name="T16" fmla="*/ 4 w 18"/>
                  <a:gd name="T17" fmla="*/ 4 h 10"/>
                  <a:gd name="T18" fmla="*/ 0 w 18"/>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0">
                    <a:moveTo>
                      <a:pt x="0" y="0"/>
                    </a:moveTo>
                    <a:lnTo>
                      <a:pt x="2" y="0"/>
                    </a:lnTo>
                    <a:lnTo>
                      <a:pt x="6" y="0"/>
                    </a:lnTo>
                    <a:lnTo>
                      <a:pt x="8" y="0"/>
                    </a:lnTo>
                    <a:lnTo>
                      <a:pt x="16" y="0"/>
                    </a:lnTo>
                    <a:lnTo>
                      <a:pt x="18" y="8"/>
                    </a:lnTo>
                    <a:lnTo>
                      <a:pt x="18" y="10"/>
                    </a:lnTo>
                    <a:lnTo>
                      <a:pt x="12" y="6"/>
                    </a:lnTo>
                    <a:lnTo>
                      <a:pt x="4" y="4"/>
                    </a:lnTo>
                    <a:lnTo>
                      <a:pt x="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87" name="Freeform 43"/>
              <p:cNvSpPr>
                <a:spLocks/>
              </p:cNvSpPr>
              <p:nvPr/>
            </p:nvSpPr>
            <p:spPr bwMode="auto">
              <a:xfrm>
                <a:off x="5436358" y="5986463"/>
                <a:ext cx="30954" cy="15875"/>
              </a:xfrm>
              <a:custGeom>
                <a:avLst/>
                <a:gdLst>
                  <a:gd name="T0" fmla="*/ 0 w 18"/>
                  <a:gd name="T1" fmla="*/ 0 h 10"/>
                  <a:gd name="T2" fmla="*/ 2 w 18"/>
                  <a:gd name="T3" fmla="*/ 0 h 10"/>
                  <a:gd name="T4" fmla="*/ 6 w 18"/>
                  <a:gd name="T5" fmla="*/ 0 h 10"/>
                  <a:gd name="T6" fmla="*/ 8 w 18"/>
                  <a:gd name="T7" fmla="*/ 0 h 10"/>
                  <a:gd name="T8" fmla="*/ 16 w 18"/>
                  <a:gd name="T9" fmla="*/ 0 h 10"/>
                  <a:gd name="T10" fmla="*/ 18 w 18"/>
                  <a:gd name="T11" fmla="*/ 8 h 10"/>
                  <a:gd name="T12" fmla="*/ 18 w 18"/>
                  <a:gd name="T13" fmla="*/ 10 h 10"/>
                  <a:gd name="T14" fmla="*/ 12 w 18"/>
                  <a:gd name="T15" fmla="*/ 6 h 10"/>
                  <a:gd name="T16" fmla="*/ 4 w 18"/>
                  <a:gd name="T17" fmla="*/ 4 h 10"/>
                  <a:gd name="T18" fmla="*/ 0 w 18"/>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0">
                    <a:moveTo>
                      <a:pt x="0" y="0"/>
                    </a:moveTo>
                    <a:lnTo>
                      <a:pt x="2" y="0"/>
                    </a:lnTo>
                    <a:lnTo>
                      <a:pt x="6" y="0"/>
                    </a:lnTo>
                    <a:lnTo>
                      <a:pt x="8" y="0"/>
                    </a:lnTo>
                    <a:lnTo>
                      <a:pt x="16" y="0"/>
                    </a:lnTo>
                    <a:lnTo>
                      <a:pt x="18" y="8"/>
                    </a:lnTo>
                    <a:lnTo>
                      <a:pt x="18" y="10"/>
                    </a:lnTo>
                    <a:lnTo>
                      <a:pt x="12" y="6"/>
                    </a:lnTo>
                    <a:lnTo>
                      <a:pt x="4" y="4"/>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88" name="Freeform 44"/>
              <p:cNvSpPr>
                <a:spLocks/>
              </p:cNvSpPr>
              <p:nvPr/>
            </p:nvSpPr>
            <p:spPr bwMode="auto">
              <a:xfrm>
                <a:off x="5171530" y="6154738"/>
                <a:ext cx="48150" cy="47625"/>
              </a:xfrm>
              <a:custGeom>
                <a:avLst/>
                <a:gdLst>
                  <a:gd name="T0" fmla="*/ 4 w 28"/>
                  <a:gd name="T1" fmla="*/ 2 h 30"/>
                  <a:gd name="T2" fmla="*/ 12 w 28"/>
                  <a:gd name="T3" fmla="*/ 0 h 30"/>
                  <a:gd name="T4" fmla="*/ 14 w 28"/>
                  <a:gd name="T5" fmla="*/ 2 h 30"/>
                  <a:gd name="T6" fmla="*/ 16 w 28"/>
                  <a:gd name="T7" fmla="*/ 8 h 30"/>
                  <a:gd name="T8" fmla="*/ 20 w 28"/>
                  <a:gd name="T9" fmla="*/ 18 h 30"/>
                  <a:gd name="T10" fmla="*/ 28 w 28"/>
                  <a:gd name="T11" fmla="*/ 26 h 30"/>
                  <a:gd name="T12" fmla="*/ 26 w 28"/>
                  <a:gd name="T13" fmla="*/ 30 h 30"/>
                  <a:gd name="T14" fmla="*/ 20 w 28"/>
                  <a:gd name="T15" fmla="*/ 30 h 30"/>
                  <a:gd name="T16" fmla="*/ 16 w 28"/>
                  <a:gd name="T17" fmla="*/ 30 h 30"/>
                  <a:gd name="T18" fmla="*/ 10 w 28"/>
                  <a:gd name="T19" fmla="*/ 26 h 30"/>
                  <a:gd name="T20" fmla="*/ 2 w 28"/>
                  <a:gd name="T21" fmla="*/ 14 h 30"/>
                  <a:gd name="T22" fmla="*/ 0 w 28"/>
                  <a:gd name="T23" fmla="*/ 10 h 30"/>
                  <a:gd name="T24" fmla="*/ 2 w 28"/>
                  <a:gd name="T25" fmla="*/ 8 h 30"/>
                  <a:gd name="T26" fmla="*/ 4 w 28"/>
                  <a:gd name="T2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0">
                    <a:moveTo>
                      <a:pt x="4" y="2"/>
                    </a:moveTo>
                    <a:lnTo>
                      <a:pt x="12" y="0"/>
                    </a:lnTo>
                    <a:lnTo>
                      <a:pt x="14" y="2"/>
                    </a:lnTo>
                    <a:lnTo>
                      <a:pt x="16" y="8"/>
                    </a:lnTo>
                    <a:lnTo>
                      <a:pt x="20" y="18"/>
                    </a:lnTo>
                    <a:lnTo>
                      <a:pt x="28" y="26"/>
                    </a:lnTo>
                    <a:lnTo>
                      <a:pt x="26" y="30"/>
                    </a:lnTo>
                    <a:lnTo>
                      <a:pt x="20" y="30"/>
                    </a:lnTo>
                    <a:lnTo>
                      <a:pt x="16" y="30"/>
                    </a:lnTo>
                    <a:lnTo>
                      <a:pt x="10" y="26"/>
                    </a:lnTo>
                    <a:lnTo>
                      <a:pt x="2" y="14"/>
                    </a:lnTo>
                    <a:lnTo>
                      <a:pt x="0" y="10"/>
                    </a:lnTo>
                    <a:lnTo>
                      <a:pt x="2" y="8"/>
                    </a:lnTo>
                    <a:lnTo>
                      <a:pt x="4"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89" name="Freeform 45"/>
              <p:cNvSpPr>
                <a:spLocks/>
              </p:cNvSpPr>
              <p:nvPr/>
            </p:nvSpPr>
            <p:spPr bwMode="auto">
              <a:xfrm>
                <a:off x="5171530" y="6154738"/>
                <a:ext cx="48150" cy="47625"/>
              </a:xfrm>
              <a:custGeom>
                <a:avLst/>
                <a:gdLst>
                  <a:gd name="T0" fmla="*/ 4 w 28"/>
                  <a:gd name="T1" fmla="*/ 2 h 30"/>
                  <a:gd name="T2" fmla="*/ 12 w 28"/>
                  <a:gd name="T3" fmla="*/ 0 h 30"/>
                  <a:gd name="T4" fmla="*/ 14 w 28"/>
                  <a:gd name="T5" fmla="*/ 2 h 30"/>
                  <a:gd name="T6" fmla="*/ 16 w 28"/>
                  <a:gd name="T7" fmla="*/ 8 h 30"/>
                  <a:gd name="T8" fmla="*/ 20 w 28"/>
                  <a:gd name="T9" fmla="*/ 18 h 30"/>
                  <a:gd name="T10" fmla="*/ 28 w 28"/>
                  <a:gd name="T11" fmla="*/ 26 h 30"/>
                  <a:gd name="T12" fmla="*/ 26 w 28"/>
                  <a:gd name="T13" fmla="*/ 30 h 30"/>
                  <a:gd name="T14" fmla="*/ 20 w 28"/>
                  <a:gd name="T15" fmla="*/ 30 h 30"/>
                  <a:gd name="T16" fmla="*/ 16 w 28"/>
                  <a:gd name="T17" fmla="*/ 30 h 30"/>
                  <a:gd name="T18" fmla="*/ 10 w 28"/>
                  <a:gd name="T19" fmla="*/ 26 h 30"/>
                  <a:gd name="T20" fmla="*/ 2 w 28"/>
                  <a:gd name="T21" fmla="*/ 14 h 30"/>
                  <a:gd name="T22" fmla="*/ 0 w 28"/>
                  <a:gd name="T23" fmla="*/ 10 h 30"/>
                  <a:gd name="T24" fmla="*/ 2 w 28"/>
                  <a:gd name="T25" fmla="*/ 8 h 30"/>
                  <a:gd name="T26" fmla="*/ 4 w 28"/>
                  <a:gd name="T2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0">
                    <a:moveTo>
                      <a:pt x="4" y="2"/>
                    </a:moveTo>
                    <a:lnTo>
                      <a:pt x="12" y="0"/>
                    </a:lnTo>
                    <a:lnTo>
                      <a:pt x="14" y="2"/>
                    </a:lnTo>
                    <a:lnTo>
                      <a:pt x="16" y="8"/>
                    </a:lnTo>
                    <a:lnTo>
                      <a:pt x="20" y="18"/>
                    </a:lnTo>
                    <a:lnTo>
                      <a:pt x="28" y="26"/>
                    </a:lnTo>
                    <a:lnTo>
                      <a:pt x="26" y="30"/>
                    </a:lnTo>
                    <a:lnTo>
                      <a:pt x="20" y="30"/>
                    </a:lnTo>
                    <a:lnTo>
                      <a:pt x="16" y="30"/>
                    </a:lnTo>
                    <a:lnTo>
                      <a:pt x="10" y="26"/>
                    </a:lnTo>
                    <a:lnTo>
                      <a:pt x="2" y="14"/>
                    </a:lnTo>
                    <a:lnTo>
                      <a:pt x="0" y="10"/>
                    </a:lnTo>
                    <a:lnTo>
                      <a:pt x="2" y="8"/>
                    </a:lnTo>
                    <a:lnTo>
                      <a:pt x="4"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90" name="Freeform 46"/>
              <p:cNvSpPr>
                <a:spLocks/>
              </p:cNvSpPr>
              <p:nvPr/>
            </p:nvSpPr>
            <p:spPr bwMode="auto">
              <a:xfrm>
                <a:off x="5598006" y="6084888"/>
                <a:ext cx="20636" cy="12700"/>
              </a:xfrm>
              <a:custGeom>
                <a:avLst/>
                <a:gdLst>
                  <a:gd name="T0" fmla="*/ 2 w 12"/>
                  <a:gd name="T1" fmla="*/ 4 h 8"/>
                  <a:gd name="T2" fmla="*/ 0 w 12"/>
                  <a:gd name="T3" fmla="*/ 2 h 8"/>
                  <a:gd name="T4" fmla="*/ 4 w 12"/>
                  <a:gd name="T5" fmla="*/ 0 h 8"/>
                  <a:gd name="T6" fmla="*/ 6 w 12"/>
                  <a:gd name="T7" fmla="*/ 0 h 8"/>
                  <a:gd name="T8" fmla="*/ 12 w 12"/>
                  <a:gd name="T9" fmla="*/ 4 h 8"/>
                  <a:gd name="T10" fmla="*/ 10 w 12"/>
                  <a:gd name="T11" fmla="*/ 8 h 8"/>
                  <a:gd name="T12" fmla="*/ 6 w 12"/>
                  <a:gd name="T13" fmla="*/ 8 h 8"/>
                  <a:gd name="T14" fmla="*/ 4 w 12"/>
                  <a:gd name="T15" fmla="*/ 8 h 8"/>
                  <a:gd name="T16" fmla="*/ 2 w 12"/>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2" y="4"/>
                    </a:moveTo>
                    <a:lnTo>
                      <a:pt x="0" y="2"/>
                    </a:lnTo>
                    <a:lnTo>
                      <a:pt x="4" y="0"/>
                    </a:lnTo>
                    <a:lnTo>
                      <a:pt x="6" y="0"/>
                    </a:lnTo>
                    <a:lnTo>
                      <a:pt x="12" y="4"/>
                    </a:lnTo>
                    <a:lnTo>
                      <a:pt x="10" y="8"/>
                    </a:lnTo>
                    <a:lnTo>
                      <a:pt x="6" y="8"/>
                    </a:lnTo>
                    <a:lnTo>
                      <a:pt x="4" y="8"/>
                    </a:lnTo>
                    <a:lnTo>
                      <a:pt x="2"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91" name="Freeform 47"/>
              <p:cNvSpPr>
                <a:spLocks/>
              </p:cNvSpPr>
              <p:nvPr/>
            </p:nvSpPr>
            <p:spPr bwMode="auto">
              <a:xfrm>
                <a:off x="5598006" y="6084888"/>
                <a:ext cx="20636" cy="12700"/>
              </a:xfrm>
              <a:custGeom>
                <a:avLst/>
                <a:gdLst>
                  <a:gd name="T0" fmla="*/ 2 w 12"/>
                  <a:gd name="T1" fmla="*/ 4 h 8"/>
                  <a:gd name="T2" fmla="*/ 0 w 12"/>
                  <a:gd name="T3" fmla="*/ 2 h 8"/>
                  <a:gd name="T4" fmla="*/ 4 w 12"/>
                  <a:gd name="T5" fmla="*/ 0 h 8"/>
                  <a:gd name="T6" fmla="*/ 6 w 12"/>
                  <a:gd name="T7" fmla="*/ 0 h 8"/>
                  <a:gd name="T8" fmla="*/ 12 w 12"/>
                  <a:gd name="T9" fmla="*/ 4 h 8"/>
                  <a:gd name="T10" fmla="*/ 10 w 12"/>
                  <a:gd name="T11" fmla="*/ 8 h 8"/>
                  <a:gd name="T12" fmla="*/ 6 w 12"/>
                  <a:gd name="T13" fmla="*/ 8 h 8"/>
                  <a:gd name="T14" fmla="*/ 4 w 12"/>
                  <a:gd name="T15" fmla="*/ 8 h 8"/>
                  <a:gd name="T16" fmla="*/ 2 w 12"/>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2" y="4"/>
                    </a:moveTo>
                    <a:lnTo>
                      <a:pt x="0" y="2"/>
                    </a:lnTo>
                    <a:lnTo>
                      <a:pt x="4" y="0"/>
                    </a:lnTo>
                    <a:lnTo>
                      <a:pt x="6" y="0"/>
                    </a:lnTo>
                    <a:lnTo>
                      <a:pt x="12" y="4"/>
                    </a:lnTo>
                    <a:lnTo>
                      <a:pt x="10" y="8"/>
                    </a:lnTo>
                    <a:lnTo>
                      <a:pt x="6" y="8"/>
                    </a:lnTo>
                    <a:lnTo>
                      <a:pt x="4" y="8"/>
                    </a:lnTo>
                    <a:lnTo>
                      <a:pt x="2"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92" name="Freeform 48"/>
              <p:cNvSpPr>
                <a:spLocks/>
              </p:cNvSpPr>
              <p:nvPr/>
            </p:nvSpPr>
            <p:spPr bwMode="auto">
              <a:xfrm>
                <a:off x="5656474" y="6135688"/>
                <a:ext cx="116937" cy="88900"/>
              </a:xfrm>
              <a:custGeom>
                <a:avLst/>
                <a:gdLst>
                  <a:gd name="T0" fmla="*/ 0 w 68"/>
                  <a:gd name="T1" fmla="*/ 20 h 56"/>
                  <a:gd name="T2" fmla="*/ 12 w 68"/>
                  <a:gd name="T3" fmla="*/ 6 h 56"/>
                  <a:gd name="T4" fmla="*/ 16 w 68"/>
                  <a:gd name="T5" fmla="*/ 6 h 56"/>
                  <a:gd name="T6" fmla="*/ 22 w 68"/>
                  <a:gd name="T7" fmla="*/ 6 h 56"/>
                  <a:gd name="T8" fmla="*/ 24 w 68"/>
                  <a:gd name="T9" fmla="*/ 10 h 56"/>
                  <a:gd name="T10" fmla="*/ 26 w 68"/>
                  <a:gd name="T11" fmla="*/ 10 h 56"/>
                  <a:gd name="T12" fmla="*/ 28 w 68"/>
                  <a:gd name="T13" fmla="*/ 10 h 56"/>
                  <a:gd name="T14" fmla="*/ 28 w 68"/>
                  <a:gd name="T15" fmla="*/ 6 h 56"/>
                  <a:gd name="T16" fmla="*/ 30 w 68"/>
                  <a:gd name="T17" fmla="*/ 2 h 56"/>
                  <a:gd name="T18" fmla="*/ 34 w 68"/>
                  <a:gd name="T19" fmla="*/ 0 h 56"/>
                  <a:gd name="T20" fmla="*/ 42 w 68"/>
                  <a:gd name="T21" fmla="*/ 12 h 56"/>
                  <a:gd name="T22" fmla="*/ 46 w 68"/>
                  <a:gd name="T23" fmla="*/ 28 h 56"/>
                  <a:gd name="T24" fmla="*/ 50 w 68"/>
                  <a:gd name="T25" fmla="*/ 32 h 56"/>
                  <a:gd name="T26" fmla="*/ 58 w 68"/>
                  <a:gd name="T27" fmla="*/ 34 h 56"/>
                  <a:gd name="T28" fmla="*/ 68 w 68"/>
                  <a:gd name="T29" fmla="*/ 34 h 56"/>
                  <a:gd name="T30" fmla="*/ 64 w 68"/>
                  <a:gd name="T31" fmla="*/ 50 h 56"/>
                  <a:gd name="T32" fmla="*/ 66 w 68"/>
                  <a:gd name="T33" fmla="*/ 52 h 56"/>
                  <a:gd name="T34" fmla="*/ 62 w 68"/>
                  <a:gd name="T35" fmla="*/ 56 h 56"/>
                  <a:gd name="T36" fmla="*/ 56 w 68"/>
                  <a:gd name="T37" fmla="*/ 52 h 56"/>
                  <a:gd name="T38" fmla="*/ 42 w 68"/>
                  <a:gd name="T39" fmla="*/ 48 h 56"/>
                  <a:gd name="T40" fmla="*/ 36 w 68"/>
                  <a:gd name="T41" fmla="*/ 46 h 56"/>
                  <a:gd name="T42" fmla="*/ 34 w 68"/>
                  <a:gd name="T43" fmla="*/ 40 h 56"/>
                  <a:gd name="T44" fmla="*/ 34 w 68"/>
                  <a:gd name="T45" fmla="*/ 36 h 56"/>
                  <a:gd name="T46" fmla="*/ 28 w 68"/>
                  <a:gd name="T47" fmla="*/ 26 h 56"/>
                  <a:gd name="T48" fmla="*/ 4 w 68"/>
                  <a:gd name="T49" fmla="*/ 22 h 56"/>
                  <a:gd name="T50" fmla="*/ 0 w 68"/>
                  <a:gd name="T51" fmla="*/ 2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56">
                    <a:moveTo>
                      <a:pt x="0" y="20"/>
                    </a:moveTo>
                    <a:lnTo>
                      <a:pt x="12" y="6"/>
                    </a:lnTo>
                    <a:lnTo>
                      <a:pt x="16" y="6"/>
                    </a:lnTo>
                    <a:lnTo>
                      <a:pt x="22" y="6"/>
                    </a:lnTo>
                    <a:lnTo>
                      <a:pt x="24" y="10"/>
                    </a:lnTo>
                    <a:lnTo>
                      <a:pt x="26" y="10"/>
                    </a:lnTo>
                    <a:lnTo>
                      <a:pt x="28" y="10"/>
                    </a:lnTo>
                    <a:lnTo>
                      <a:pt x="28" y="6"/>
                    </a:lnTo>
                    <a:lnTo>
                      <a:pt x="30" y="2"/>
                    </a:lnTo>
                    <a:lnTo>
                      <a:pt x="34" y="0"/>
                    </a:lnTo>
                    <a:lnTo>
                      <a:pt x="42" y="12"/>
                    </a:lnTo>
                    <a:lnTo>
                      <a:pt x="46" y="28"/>
                    </a:lnTo>
                    <a:lnTo>
                      <a:pt x="50" y="32"/>
                    </a:lnTo>
                    <a:lnTo>
                      <a:pt x="58" y="34"/>
                    </a:lnTo>
                    <a:lnTo>
                      <a:pt x="68" y="34"/>
                    </a:lnTo>
                    <a:lnTo>
                      <a:pt x="64" y="50"/>
                    </a:lnTo>
                    <a:lnTo>
                      <a:pt x="66" y="52"/>
                    </a:lnTo>
                    <a:lnTo>
                      <a:pt x="62" y="56"/>
                    </a:lnTo>
                    <a:lnTo>
                      <a:pt x="56" y="52"/>
                    </a:lnTo>
                    <a:lnTo>
                      <a:pt x="42" y="48"/>
                    </a:lnTo>
                    <a:lnTo>
                      <a:pt x="36" y="46"/>
                    </a:lnTo>
                    <a:lnTo>
                      <a:pt x="34" y="40"/>
                    </a:lnTo>
                    <a:lnTo>
                      <a:pt x="34" y="36"/>
                    </a:lnTo>
                    <a:lnTo>
                      <a:pt x="28" y="26"/>
                    </a:lnTo>
                    <a:lnTo>
                      <a:pt x="4" y="22"/>
                    </a:lnTo>
                    <a:lnTo>
                      <a:pt x="0" y="2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93" name="Freeform 49"/>
              <p:cNvSpPr>
                <a:spLocks/>
              </p:cNvSpPr>
              <p:nvPr/>
            </p:nvSpPr>
            <p:spPr bwMode="auto">
              <a:xfrm>
                <a:off x="5656474" y="6135688"/>
                <a:ext cx="116937" cy="88900"/>
              </a:xfrm>
              <a:custGeom>
                <a:avLst/>
                <a:gdLst>
                  <a:gd name="T0" fmla="*/ 0 w 68"/>
                  <a:gd name="T1" fmla="*/ 20 h 56"/>
                  <a:gd name="T2" fmla="*/ 12 w 68"/>
                  <a:gd name="T3" fmla="*/ 6 h 56"/>
                  <a:gd name="T4" fmla="*/ 16 w 68"/>
                  <a:gd name="T5" fmla="*/ 6 h 56"/>
                  <a:gd name="T6" fmla="*/ 22 w 68"/>
                  <a:gd name="T7" fmla="*/ 6 h 56"/>
                  <a:gd name="T8" fmla="*/ 24 w 68"/>
                  <a:gd name="T9" fmla="*/ 10 h 56"/>
                  <a:gd name="T10" fmla="*/ 26 w 68"/>
                  <a:gd name="T11" fmla="*/ 10 h 56"/>
                  <a:gd name="T12" fmla="*/ 28 w 68"/>
                  <a:gd name="T13" fmla="*/ 10 h 56"/>
                  <a:gd name="T14" fmla="*/ 28 w 68"/>
                  <a:gd name="T15" fmla="*/ 6 h 56"/>
                  <a:gd name="T16" fmla="*/ 30 w 68"/>
                  <a:gd name="T17" fmla="*/ 2 h 56"/>
                  <a:gd name="T18" fmla="*/ 34 w 68"/>
                  <a:gd name="T19" fmla="*/ 0 h 56"/>
                  <a:gd name="T20" fmla="*/ 42 w 68"/>
                  <a:gd name="T21" fmla="*/ 12 h 56"/>
                  <a:gd name="T22" fmla="*/ 46 w 68"/>
                  <a:gd name="T23" fmla="*/ 28 h 56"/>
                  <a:gd name="T24" fmla="*/ 50 w 68"/>
                  <a:gd name="T25" fmla="*/ 32 h 56"/>
                  <a:gd name="T26" fmla="*/ 58 w 68"/>
                  <a:gd name="T27" fmla="*/ 34 h 56"/>
                  <a:gd name="T28" fmla="*/ 68 w 68"/>
                  <a:gd name="T29" fmla="*/ 34 h 56"/>
                  <a:gd name="T30" fmla="*/ 64 w 68"/>
                  <a:gd name="T31" fmla="*/ 50 h 56"/>
                  <a:gd name="T32" fmla="*/ 66 w 68"/>
                  <a:gd name="T33" fmla="*/ 52 h 56"/>
                  <a:gd name="T34" fmla="*/ 62 w 68"/>
                  <a:gd name="T35" fmla="*/ 56 h 56"/>
                  <a:gd name="T36" fmla="*/ 56 w 68"/>
                  <a:gd name="T37" fmla="*/ 52 h 56"/>
                  <a:gd name="T38" fmla="*/ 42 w 68"/>
                  <a:gd name="T39" fmla="*/ 48 h 56"/>
                  <a:gd name="T40" fmla="*/ 36 w 68"/>
                  <a:gd name="T41" fmla="*/ 46 h 56"/>
                  <a:gd name="T42" fmla="*/ 34 w 68"/>
                  <a:gd name="T43" fmla="*/ 40 h 56"/>
                  <a:gd name="T44" fmla="*/ 34 w 68"/>
                  <a:gd name="T45" fmla="*/ 36 h 56"/>
                  <a:gd name="T46" fmla="*/ 28 w 68"/>
                  <a:gd name="T47" fmla="*/ 26 h 56"/>
                  <a:gd name="T48" fmla="*/ 4 w 68"/>
                  <a:gd name="T49" fmla="*/ 22 h 56"/>
                  <a:gd name="T50" fmla="*/ 0 w 68"/>
                  <a:gd name="T51" fmla="*/ 2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56">
                    <a:moveTo>
                      <a:pt x="0" y="20"/>
                    </a:moveTo>
                    <a:lnTo>
                      <a:pt x="12" y="6"/>
                    </a:lnTo>
                    <a:lnTo>
                      <a:pt x="16" y="6"/>
                    </a:lnTo>
                    <a:lnTo>
                      <a:pt x="22" y="6"/>
                    </a:lnTo>
                    <a:lnTo>
                      <a:pt x="24" y="10"/>
                    </a:lnTo>
                    <a:lnTo>
                      <a:pt x="26" y="10"/>
                    </a:lnTo>
                    <a:lnTo>
                      <a:pt x="28" y="10"/>
                    </a:lnTo>
                    <a:lnTo>
                      <a:pt x="28" y="6"/>
                    </a:lnTo>
                    <a:lnTo>
                      <a:pt x="30" y="2"/>
                    </a:lnTo>
                    <a:lnTo>
                      <a:pt x="34" y="0"/>
                    </a:lnTo>
                    <a:lnTo>
                      <a:pt x="42" y="12"/>
                    </a:lnTo>
                    <a:lnTo>
                      <a:pt x="46" y="28"/>
                    </a:lnTo>
                    <a:lnTo>
                      <a:pt x="50" y="32"/>
                    </a:lnTo>
                    <a:lnTo>
                      <a:pt x="58" y="34"/>
                    </a:lnTo>
                    <a:lnTo>
                      <a:pt x="68" y="34"/>
                    </a:lnTo>
                    <a:lnTo>
                      <a:pt x="64" y="50"/>
                    </a:lnTo>
                    <a:lnTo>
                      <a:pt x="66" y="52"/>
                    </a:lnTo>
                    <a:lnTo>
                      <a:pt x="62" y="56"/>
                    </a:lnTo>
                    <a:lnTo>
                      <a:pt x="56" y="52"/>
                    </a:lnTo>
                    <a:lnTo>
                      <a:pt x="42" y="48"/>
                    </a:lnTo>
                    <a:lnTo>
                      <a:pt x="36" y="46"/>
                    </a:lnTo>
                    <a:lnTo>
                      <a:pt x="34" y="40"/>
                    </a:lnTo>
                    <a:lnTo>
                      <a:pt x="34" y="36"/>
                    </a:lnTo>
                    <a:lnTo>
                      <a:pt x="28" y="26"/>
                    </a:lnTo>
                    <a:lnTo>
                      <a:pt x="4" y="22"/>
                    </a:lnTo>
                    <a:lnTo>
                      <a:pt x="0" y="2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94" name="Freeform 50"/>
              <p:cNvSpPr>
                <a:spLocks/>
              </p:cNvSpPr>
              <p:nvPr/>
            </p:nvSpPr>
            <p:spPr bwMode="auto">
              <a:xfrm>
                <a:off x="5838758" y="6176963"/>
                <a:ext cx="48150" cy="38100"/>
              </a:xfrm>
              <a:custGeom>
                <a:avLst/>
                <a:gdLst>
                  <a:gd name="T0" fmla="*/ 4 w 28"/>
                  <a:gd name="T1" fmla="*/ 2 h 24"/>
                  <a:gd name="T2" fmla="*/ 6 w 28"/>
                  <a:gd name="T3" fmla="*/ 0 h 24"/>
                  <a:gd name="T4" fmla="*/ 16 w 28"/>
                  <a:gd name="T5" fmla="*/ 0 h 24"/>
                  <a:gd name="T6" fmla="*/ 24 w 28"/>
                  <a:gd name="T7" fmla="*/ 4 h 24"/>
                  <a:gd name="T8" fmla="*/ 28 w 28"/>
                  <a:gd name="T9" fmla="*/ 6 h 24"/>
                  <a:gd name="T10" fmla="*/ 28 w 28"/>
                  <a:gd name="T11" fmla="*/ 12 h 24"/>
                  <a:gd name="T12" fmla="*/ 28 w 28"/>
                  <a:gd name="T13" fmla="*/ 18 h 24"/>
                  <a:gd name="T14" fmla="*/ 22 w 28"/>
                  <a:gd name="T15" fmla="*/ 22 h 24"/>
                  <a:gd name="T16" fmla="*/ 18 w 28"/>
                  <a:gd name="T17" fmla="*/ 24 h 24"/>
                  <a:gd name="T18" fmla="*/ 14 w 28"/>
                  <a:gd name="T19" fmla="*/ 22 h 24"/>
                  <a:gd name="T20" fmla="*/ 4 w 28"/>
                  <a:gd name="T21" fmla="*/ 24 h 24"/>
                  <a:gd name="T22" fmla="*/ 2 w 28"/>
                  <a:gd name="T23" fmla="*/ 24 h 24"/>
                  <a:gd name="T24" fmla="*/ 0 w 28"/>
                  <a:gd name="T25" fmla="*/ 18 h 24"/>
                  <a:gd name="T26" fmla="*/ 0 w 28"/>
                  <a:gd name="T27" fmla="*/ 10 h 24"/>
                  <a:gd name="T28" fmla="*/ 4 w 28"/>
                  <a:gd name="T2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4">
                    <a:moveTo>
                      <a:pt x="4" y="2"/>
                    </a:moveTo>
                    <a:lnTo>
                      <a:pt x="6" y="0"/>
                    </a:lnTo>
                    <a:lnTo>
                      <a:pt x="16" y="0"/>
                    </a:lnTo>
                    <a:lnTo>
                      <a:pt x="24" y="4"/>
                    </a:lnTo>
                    <a:lnTo>
                      <a:pt x="28" y="6"/>
                    </a:lnTo>
                    <a:lnTo>
                      <a:pt x="28" y="12"/>
                    </a:lnTo>
                    <a:lnTo>
                      <a:pt x="28" y="18"/>
                    </a:lnTo>
                    <a:lnTo>
                      <a:pt x="22" y="22"/>
                    </a:lnTo>
                    <a:lnTo>
                      <a:pt x="18" y="24"/>
                    </a:lnTo>
                    <a:lnTo>
                      <a:pt x="14" y="22"/>
                    </a:lnTo>
                    <a:lnTo>
                      <a:pt x="4" y="24"/>
                    </a:lnTo>
                    <a:lnTo>
                      <a:pt x="2" y="24"/>
                    </a:lnTo>
                    <a:lnTo>
                      <a:pt x="0" y="18"/>
                    </a:lnTo>
                    <a:lnTo>
                      <a:pt x="0" y="10"/>
                    </a:lnTo>
                    <a:lnTo>
                      <a:pt x="4"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95" name="Freeform 51"/>
              <p:cNvSpPr>
                <a:spLocks/>
              </p:cNvSpPr>
              <p:nvPr/>
            </p:nvSpPr>
            <p:spPr bwMode="auto">
              <a:xfrm>
                <a:off x="5838758" y="6176963"/>
                <a:ext cx="48150" cy="38100"/>
              </a:xfrm>
              <a:custGeom>
                <a:avLst/>
                <a:gdLst>
                  <a:gd name="T0" fmla="*/ 4 w 28"/>
                  <a:gd name="T1" fmla="*/ 2 h 24"/>
                  <a:gd name="T2" fmla="*/ 6 w 28"/>
                  <a:gd name="T3" fmla="*/ 0 h 24"/>
                  <a:gd name="T4" fmla="*/ 16 w 28"/>
                  <a:gd name="T5" fmla="*/ 0 h 24"/>
                  <a:gd name="T6" fmla="*/ 24 w 28"/>
                  <a:gd name="T7" fmla="*/ 4 h 24"/>
                  <a:gd name="T8" fmla="*/ 28 w 28"/>
                  <a:gd name="T9" fmla="*/ 6 h 24"/>
                  <a:gd name="T10" fmla="*/ 28 w 28"/>
                  <a:gd name="T11" fmla="*/ 12 h 24"/>
                  <a:gd name="T12" fmla="*/ 28 w 28"/>
                  <a:gd name="T13" fmla="*/ 18 h 24"/>
                  <a:gd name="T14" fmla="*/ 22 w 28"/>
                  <a:gd name="T15" fmla="*/ 22 h 24"/>
                  <a:gd name="T16" fmla="*/ 18 w 28"/>
                  <a:gd name="T17" fmla="*/ 24 h 24"/>
                  <a:gd name="T18" fmla="*/ 14 w 28"/>
                  <a:gd name="T19" fmla="*/ 22 h 24"/>
                  <a:gd name="T20" fmla="*/ 4 w 28"/>
                  <a:gd name="T21" fmla="*/ 24 h 24"/>
                  <a:gd name="T22" fmla="*/ 2 w 28"/>
                  <a:gd name="T23" fmla="*/ 24 h 24"/>
                  <a:gd name="T24" fmla="*/ 0 w 28"/>
                  <a:gd name="T25" fmla="*/ 18 h 24"/>
                  <a:gd name="T26" fmla="*/ 0 w 28"/>
                  <a:gd name="T27" fmla="*/ 10 h 24"/>
                  <a:gd name="T28" fmla="*/ 4 w 28"/>
                  <a:gd name="T2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4">
                    <a:moveTo>
                      <a:pt x="4" y="2"/>
                    </a:moveTo>
                    <a:lnTo>
                      <a:pt x="6" y="0"/>
                    </a:lnTo>
                    <a:lnTo>
                      <a:pt x="16" y="0"/>
                    </a:lnTo>
                    <a:lnTo>
                      <a:pt x="24" y="4"/>
                    </a:lnTo>
                    <a:lnTo>
                      <a:pt x="28" y="6"/>
                    </a:lnTo>
                    <a:lnTo>
                      <a:pt x="28" y="12"/>
                    </a:lnTo>
                    <a:lnTo>
                      <a:pt x="28" y="18"/>
                    </a:lnTo>
                    <a:lnTo>
                      <a:pt x="22" y="22"/>
                    </a:lnTo>
                    <a:lnTo>
                      <a:pt x="18" y="24"/>
                    </a:lnTo>
                    <a:lnTo>
                      <a:pt x="14" y="22"/>
                    </a:lnTo>
                    <a:lnTo>
                      <a:pt x="4" y="24"/>
                    </a:lnTo>
                    <a:lnTo>
                      <a:pt x="2" y="24"/>
                    </a:lnTo>
                    <a:lnTo>
                      <a:pt x="0" y="18"/>
                    </a:lnTo>
                    <a:lnTo>
                      <a:pt x="0" y="10"/>
                    </a:lnTo>
                    <a:lnTo>
                      <a:pt x="4"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96" name="Freeform 52"/>
              <p:cNvSpPr>
                <a:spLocks/>
              </p:cNvSpPr>
              <p:nvPr/>
            </p:nvSpPr>
            <p:spPr bwMode="auto">
              <a:xfrm>
                <a:off x="5642717" y="6373813"/>
                <a:ext cx="698182" cy="111125"/>
              </a:xfrm>
              <a:custGeom>
                <a:avLst/>
                <a:gdLst>
                  <a:gd name="T0" fmla="*/ 300 w 406"/>
                  <a:gd name="T1" fmla="*/ 62 h 70"/>
                  <a:gd name="T2" fmla="*/ 292 w 406"/>
                  <a:gd name="T3" fmla="*/ 64 h 70"/>
                  <a:gd name="T4" fmla="*/ 282 w 406"/>
                  <a:gd name="T5" fmla="*/ 70 h 70"/>
                  <a:gd name="T6" fmla="*/ 262 w 406"/>
                  <a:gd name="T7" fmla="*/ 68 h 70"/>
                  <a:gd name="T8" fmla="*/ 260 w 406"/>
                  <a:gd name="T9" fmla="*/ 66 h 70"/>
                  <a:gd name="T10" fmla="*/ 258 w 406"/>
                  <a:gd name="T11" fmla="*/ 68 h 70"/>
                  <a:gd name="T12" fmla="*/ 172 w 406"/>
                  <a:gd name="T13" fmla="*/ 60 h 70"/>
                  <a:gd name="T14" fmla="*/ 166 w 406"/>
                  <a:gd name="T15" fmla="*/ 64 h 70"/>
                  <a:gd name="T16" fmla="*/ 162 w 406"/>
                  <a:gd name="T17" fmla="*/ 64 h 70"/>
                  <a:gd name="T18" fmla="*/ 160 w 406"/>
                  <a:gd name="T19" fmla="*/ 62 h 70"/>
                  <a:gd name="T20" fmla="*/ 152 w 406"/>
                  <a:gd name="T21" fmla="*/ 64 h 70"/>
                  <a:gd name="T22" fmla="*/ 142 w 406"/>
                  <a:gd name="T23" fmla="*/ 70 h 70"/>
                  <a:gd name="T24" fmla="*/ 52 w 406"/>
                  <a:gd name="T25" fmla="*/ 64 h 70"/>
                  <a:gd name="T26" fmla="*/ 48 w 406"/>
                  <a:gd name="T27" fmla="*/ 62 h 70"/>
                  <a:gd name="T28" fmla="*/ 56 w 406"/>
                  <a:gd name="T29" fmla="*/ 52 h 70"/>
                  <a:gd name="T30" fmla="*/ 56 w 406"/>
                  <a:gd name="T31" fmla="*/ 52 h 70"/>
                  <a:gd name="T32" fmla="*/ 4 w 406"/>
                  <a:gd name="T33" fmla="*/ 50 h 70"/>
                  <a:gd name="T34" fmla="*/ 0 w 406"/>
                  <a:gd name="T35" fmla="*/ 46 h 70"/>
                  <a:gd name="T36" fmla="*/ 2 w 406"/>
                  <a:gd name="T37" fmla="*/ 44 h 70"/>
                  <a:gd name="T38" fmla="*/ 4 w 406"/>
                  <a:gd name="T39" fmla="*/ 44 h 70"/>
                  <a:gd name="T40" fmla="*/ 6 w 406"/>
                  <a:gd name="T41" fmla="*/ 46 h 70"/>
                  <a:gd name="T42" fmla="*/ 10 w 406"/>
                  <a:gd name="T43" fmla="*/ 46 h 70"/>
                  <a:gd name="T44" fmla="*/ 16 w 406"/>
                  <a:gd name="T45" fmla="*/ 42 h 70"/>
                  <a:gd name="T46" fmla="*/ 18 w 406"/>
                  <a:gd name="T47" fmla="*/ 38 h 70"/>
                  <a:gd name="T48" fmla="*/ 22 w 406"/>
                  <a:gd name="T49" fmla="*/ 36 h 70"/>
                  <a:gd name="T50" fmla="*/ 34 w 406"/>
                  <a:gd name="T51" fmla="*/ 18 h 70"/>
                  <a:gd name="T52" fmla="*/ 44 w 406"/>
                  <a:gd name="T53" fmla="*/ 14 h 70"/>
                  <a:gd name="T54" fmla="*/ 74 w 406"/>
                  <a:gd name="T55" fmla="*/ 14 h 70"/>
                  <a:gd name="T56" fmla="*/ 84 w 406"/>
                  <a:gd name="T57" fmla="*/ 8 h 70"/>
                  <a:gd name="T58" fmla="*/ 94 w 406"/>
                  <a:gd name="T59" fmla="*/ 6 h 70"/>
                  <a:gd name="T60" fmla="*/ 98 w 406"/>
                  <a:gd name="T61" fmla="*/ 10 h 70"/>
                  <a:gd name="T62" fmla="*/ 100 w 406"/>
                  <a:gd name="T63" fmla="*/ 16 h 70"/>
                  <a:gd name="T64" fmla="*/ 134 w 406"/>
                  <a:gd name="T65" fmla="*/ 14 h 70"/>
                  <a:gd name="T66" fmla="*/ 144 w 406"/>
                  <a:gd name="T67" fmla="*/ 22 h 70"/>
                  <a:gd name="T68" fmla="*/ 150 w 406"/>
                  <a:gd name="T69" fmla="*/ 30 h 70"/>
                  <a:gd name="T70" fmla="*/ 226 w 406"/>
                  <a:gd name="T71" fmla="*/ 26 h 70"/>
                  <a:gd name="T72" fmla="*/ 232 w 406"/>
                  <a:gd name="T73" fmla="*/ 22 h 70"/>
                  <a:gd name="T74" fmla="*/ 240 w 406"/>
                  <a:gd name="T75" fmla="*/ 10 h 70"/>
                  <a:gd name="T76" fmla="*/ 242 w 406"/>
                  <a:gd name="T77" fmla="*/ 6 h 70"/>
                  <a:gd name="T78" fmla="*/ 246 w 406"/>
                  <a:gd name="T79" fmla="*/ 0 h 70"/>
                  <a:gd name="T80" fmla="*/ 254 w 406"/>
                  <a:gd name="T81" fmla="*/ 0 h 70"/>
                  <a:gd name="T82" fmla="*/ 258 w 406"/>
                  <a:gd name="T83" fmla="*/ 6 h 70"/>
                  <a:gd name="T84" fmla="*/ 264 w 406"/>
                  <a:gd name="T85" fmla="*/ 8 h 70"/>
                  <a:gd name="T86" fmla="*/ 270 w 406"/>
                  <a:gd name="T87" fmla="*/ 8 h 70"/>
                  <a:gd name="T88" fmla="*/ 278 w 406"/>
                  <a:gd name="T89" fmla="*/ 2 h 70"/>
                  <a:gd name="T90" fmla="*/ 302 w 406"/>
                  <a:gd name="T91" fmla="*/ 8 h 70"/>
                  <a:gd name="T92" fmla="*/ 316 w 406"/>
                  <a:gd name="T93" fmla="*/ 6 h 70"/>
                  <a:gd name="T94" fmla="*/ 322 w 406"/>
                  <a:gd name="T95" fmla="*/ 8 h 70"/>
                  <a:gd name="T96" fmla="*/ 328 w 406"/>
                  <a:gd name="T97" fmla="*/ 16 h 70"/>
                  <a:gd name="T98" fmla="*/ 334 w 406"/>
                  <a:gd name="T99" fmla="*/ 20 h 70"/>
                  <a:gd name="T100" fmla="*/ 334 w 406"/>
                  <a:gd name="T101" fmla="*/ 30 h 70"/>
                  <a:gd name="T102" fmla="*/ 352 w 406"/>
                  <a:gd name="T103" fmla="*/ 32 h 70"/>
                  <a:gd name="T104" fmla="*/ 398 w 406"/>
                  <a:gd name="T105" fmla="*/ 22 h 70"/>
                  <a:gd name="T106" fmla="*/ 404 w 406"/>
                  <a:gd name="T107" fmla="*/ 24 h 70"/>
                  <a:gd name="T108" fmla="*/ 400 w 406"/>
                  <a:gd name="T109" fmla="*/ 48 h 70"/>
                  <a:gd name="T110" fmla="*/ 402 w 406"/>
                  <a:gd name="T111" fmla="*/ 54 h 70"/>
                  <a:gd name="T112" fmla="*/ 404 w 406"/>
                  <a:gd name="T113" fmla="*/ 56 h 70"/>
                  <a:gd name="T114" fmla="*/ 406 w 406"/>
                  <a:gd name="T115" fmla="*/ 64 h 70"/>
                  <a:gd name="T116" fmla="*/ 402 w 406"/>
                  <a:gd name="T117" fmla="*/ 62 h 70"/>
                  <a:gd name="T118" fmla="*/ 398 w 406"/>
                  <a:gd name="T119" fmla="*/ 58 h 70"/>
                  <a:gd name="T120" fmla="*/ 348 w 406"/>
                  <a:gd name="T121" fmla="*/ 54 h 70"/>
                  <a:gd name="T122" fmla="*/ 326 w 406"/>
                  <a:gd name="T123" fmla="*/ 64 h 70"/>
                  <a:gd name="T124" fmla="*/ 300 w 406"/>
                  <a:gd name="T125"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6" h="70">
                    <a:moveTo>
                      <a:pt x="300" y="62"/>
                    </a:moveTo>
                    <a:lnTo>
                      <a:pt x="292" y="64"/>
                    </a:lnTo>
                    <a:lnTo>
                      <a:pt x="282" y="70"/>
                    </a:lnTo>
                    <a:lnTo>
                      <a:pt x="262" y="68"/>
                    </a:lnTo>
                    <a:lnTo>
                      <a:pt x="260" y="66"/>
                    </a:lnTo>
                    <a:lnTo>
                      <a:pt x="258" y="68"/>
                    </a:lnTo>
                    <a:lnTo>
                      <a:pt x="172" y="60"/>
                    </a:lnTo>
                    <a:lnTo>
                      <a:pt x="166" y="64"/>
                    </a:lnTo>
                    <a:lnTo>
                      <a:pt x="162" y="64"/>
                    </a:lnTo>
                    <a:lnTo>
                      <a:pt x="160" y="62"/>
                    </a:lnTo>
                    <a:lnTo>
                      <a:pt x="152" y="64"/>
                    </a:lnTo>
                    <a:lnTo>
                      <a:pt x="142" y="70"/>
                    </a:lnTo>
                    <a:lnTo>
                      <a:pt x="52" y="64"/>
                    </a:lnTo>
                    <a:lnTo>
                      <a:pt x="48" y="62"/>
                    </a:lnTo>
                    <a:lnTo>
                      <a:pt x="56" y="52"/>
                    </a:lnTo>
                    <a:lnTo>
                      <a:pt x="56" y="52"/>
                    </a:lnTo>
                    <a:lnTo>
                      <a:pt x="4" y="50"/>
                    </a:lnTo>
                    <a:lnTo>
                      <a:pt x="0" y="46"/>
                    </a:lnTo>
                    <a:lnTo>
                      <a:pt x="2" y="44"/>
                    </a:lnTo>
                    <a:lnTo>
                      <a:pt x="4" y="44"/>
                    </a:lnTo>
                    <a:lnTo>
                      <a:pt x="6" y="46"/>
                    </a:lnTo>
                    <a:lnTo>
                      <a:pt x="10" y="46"/>
                    </a:lnTo>
                    <a:lnTo>
                      <a:pt x="16" y="42"/>
                    </a:lnTo>
                    <a:lnTo>
                      <a:pt x="18" y="38"/>
                    </a:lnTo>
                    <a:lnTo>
                      <a:pt x="22" y="36"/>
                    </a:lnTo>
                    <a:lnTo>
                      <a:pt x="34" y="18"/>
                    </a:lnTo>
                    <a:lnTo>
                      <a:pt x="44" y="14"/>
                    </a:lnTo>
                    <a:lnTo>
                      <a:pt x="74" y="14"/>
                    </a:lnTo>
                    <a:lnTo>
                      <a:pt x="84" y="8"/>
                    </a:lnTo>
                    <a:lnTo>
                      <a:pt x="94" y="6"/>
                    </a:lnTo>
                    <a:lnTo>
                      <a:pt x="98" y="10"/>
                    </a:lnTo>
                    <a:lnTo>
                      <a:pt x="100" y="16"/>
                    </a:lnTo>
                    <a:lnTo>
                      <a:pt x="134" y="14"/>
                    </a:lnTo>
                    <a:lnTo>
                      <a:pt x="144" y="22"/>
                    </a:lnTo>
                    <a:lnTo>
                      <a:pt x="150" y="30"/>
                    </a:lnTo>
                    <a:lnTo>
                      <a:pt x="226" y="26"/>
                    </a:lnTo>
                    <a:lnTo>
                      <a:pt x="232" y="22"/>
                    </a:lnTo>
                    <a:lnTo>
                      <a:pt x="240" y="10"/>
                    </a:lnTo>
                    <a:lnTo>
                      <a:pt x="242" y="6"/>
                    </a:lnTo>
                    <a:lnTo>
                      <a:pt x="246" y="0"/>
                    </a:lnTo>
                    <a:lnTo>
                      <a:pt x="254" y="0"/>
                    </a:lnTo>
                    <a:lnTo>
                      <a:pt x="258" y="6"/>
                    </a:lnTo>
                    <a:lnTo>
                      <a:pt x="264" y="8"/>
                    </a:lnTo>
                    <a:lnTo>
                      <a:pt x="270" y="8"/>
                    </a:lnTo>
                    <a:lnTo>
                      <a:pt x="278" y="2"/>
                    </a:lnTo>
                    <a:lnTo>
                      <a:pt x="302" y="8"/>
                    </a:lnTo>
                    <a:lnTo>
                      <a:pt x="316" y="6"/>
                    </a:lnTo>
                    <a:lnTo>
                      <a:pt x="322" y="8"/>
                    </a:lnTo>
                    <a:lnTo>
                      <a:pt x="328" y="16"/>
                    </a:lnTo>
                    <a:lnTo>
                      <a:pt x="334" y="20"/>
                    </a:lnTo>
                    <a:lnTo>
                      <a:pt x="334" y="30"/>
                    </a:lnTo>
                    <a:lnTo>
                      <a:pt x="352" y="32"/>
                    </a:lnTo>
                    <a:lnTo>
                      <a:pt x="398" y="22"/>
                    </a:lnTo>
                    <a:lnTo>
                      <a:pt x="404" y="24"/>
                    </a:lnTo>
                    <a:lnTo>
                      <a:pt x="400" y="48"/>
                    </a:lnTo>
                    <a:lnTo>
                      <a:pt x="402" y="54"/>
                    </a:lnTo>
                    <a:lnTo>
                      <a:pt x="404" y="56"/>
                    </a:lnTo>
                    <a:lnTo>
                      <a:pt x="406" y="64"/>
                    </a:lnTo>
                    <a:lnTo>
                      <a:pt x="402" y="62"/>
                    </a:lnTo>
                    <a:lnTo>
                      <a:pt x="398" y="58"/>
                    </a:lnTo>
                    <a:lnTo>
                      <a:pt x="348" y="54"/>
                    </a:lnTo>
                    <a:lnTo>
                      <a:pt x="326" y="64"/>
                    </a:lnTo>
                    <a:lnTo>
                      <a:pt x="300" y="6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97" name="Freeform 53"/>
              <p:cNvSpPr>
                <a:spLocks/>
              </p:cNvSpPr>
              <p:nvPr/>
            </p:nvSpPr>
            <p:spPr bwMode="auto">
              <a:xfrm>
                <a:off x="5642717" y="6373813"/>
                <a:ext cx="698182" cy="111125"/>
              </a:xfrm>
              <a:custGeom>
                <a:avLst/>
                <a:gdLst>
                  <a:gd name="T0" fmla="*/ 300 w 406"/>
                  <a:gd name="T1" fmla="*/ 62 h 70"/>
                  <a:gd name="T2" fmla="*/ 292 w 406"/>
                  <a:gd name="T3" fmla="*/ 64 h 70"/>
                  <a:gd name="T4" fmla="*/ 282 w 406"/>
                  <a:gd name="T5" fmla="*/ 70 h 70"/>
                  <a:gd name="T6" fmla="*/ 262 w 406"/>
                  <a:gd name="T7" fmla="*/ 68 h 70"/>
                  <a:gd name="T8" fmla="*/ 260 w 406"/>
                  <a:gd name="T9" fmla="*/ 66 h 70"/>
                  <a:gd name="T10" fmla="*/ 258 w 406"/>
                  <a:gd name="T11" fmla="*/ 68 h 70"/>
                  <a:gd name="T12" fmla="*/ 172 w 406"/>
                  <a:gd name="T13" fmla="*/ 60 h 70"/>
                  <a:gd name="T14" fmla="*/ 166 w 406"/>
                  <a:gd name="T15" fmla="*/ 64 h 70"/>
                  <a:gd name="T16" fmla="*/ 162 w 406"/>
                  <a:gd name="T17" fmla="*/ 64 h 70"/>
                  <a:gd name="T18" fmla="*/ 160 w 406"/>
                  <a:gd name="T19" fmla="*/ 62 h 70"/>
                  <a:gd name="T20" fmla="*/ 152 w 406"/>
                  <a:gd name="T21" fmla="*/ 64 h 70"/>
                  <a:gd name="T22" fmla="*/ 142 w 406"/>
                  <a:gd name="T23" fmla="*/ 70 h 70"/>
                  <a:gd name="T24" fmla="*/ 52 w 406"/>
                  <a:gd name="T25" fmla="*/ 64 h 70"/>
                  <a:gd name="T26" fmla="*/ 48 w 406"/>
                  <a:gd name="T27" fmla="*/ 62 h 70"/>
                  <a:gd name="T28" fmla="*/ 56 w 406"/>
                  <a:gd name="T29" fmla="*/ 52 h 70"/>
                  <a:gd name="T30" fmla="*/ 56 w 406"/>
                  <a:gd name="T31" fmla="*/ 52 h 70"/>
                  <a:gd name="T32" fmla="*/ 4 w 406"/>
                  <a:gd name="T33" fmla="*/ 50 h 70"/>
                  <a:gd name="T34" fmla="*/ 0 w 406"/>
                  <a:gd name="T35" fmla="*/ 46 h 70"/>
                  <a:gd name="T36" fmla="*/ 2 w 406"/>
                  <a:gd name="T37" fmla="*/ 44 h 70"/>
                  <a:gd name="T38" fmla="*/ 4 w 406"/>
                  <a:gd name="T39" fmla="*/ 44 h 70"/>
                  <a:gd name="T40" fmla="*/ 6 w 406"/>
                  <a:gd name="T41" fmla="*/ 46 h 70"/>
                  <a:gd name="T42" fmla="*/ 10 w 406"/>
                  <a:gd name="T43" fmla="*/ 46 h 70"/>
                  <a:gd name="T44" fmla="*/ 16 w 406"/>
                  <a:gd name="T45" fmla="*/ 42 h 70"/>
                  <a:gd name="T46" fmla="*/ 18 w 406"/>
                  <a:gd name="T47" fmla="*/ 38 h 70"/>
                  <a:gd name="T48" fmla="*/ 22 w 406"/>
                  <a:gd name="T49" fmla="*/ 36 h 70"/>
                  <a:gd name="T50" fmla="*/ 34 w 406"/>
                  <a:gd name="T51" fmla="*/ 18 h 70"/>
                  <a:gd name="T52" fmla="*/ 44 w 406"/>
                  <a:gd name="T53" fmla="*/ 14 h 70"/>
                  <a:gd name="T54" fmla="*/ 74 w 406"/>
                  <a:gd name="T55" fmla="*/ 14 h 70"/>
                  <a:gd name="T56" fmla="*/ 84 w 406"/>
                  <a:gd name="T57" fmla="*/ 8 h 70"/>
                  <a:gd name="T58" fmla="*/ 94 w 406"/>
                  <a:gd name="T59" fmla="*/ 6 h 70"/>
                  <a:gd name="T60" fmla="*/ 98 w 406"/>
                  <a:gd name="T61" fmla="*/ 10 h 70"/>
                  <a:gd name="T62" fmla="*/ 100 w 406"/>
                  <a:gd name="T63" fmla="*/ 16 h 70"/>
                  <a:gd name="T64" fmla="*/ 134 w 406"/>
                  <a:gd name="T65" fmla="*/ 14 h 70"/>
                  <a:gd name="T66" fmla="*/ 144 w 406"/>
                  <a:gd name="T67" fmla="*/ 22 h 70"/>
                  <a:gd name="T68" fmla="*/ 150 w 406"/>
                  <a:gd name="T69" fmla="*/ 30 h 70"/>
                  <a:gd name="T70" fmla="*/ 226 w 406"/>
                  <a:gd name="T71" fmla="*/ 26 h 70"/>
                  <a:gd name="T72" fmla="*/ 232 w 406"/>
                  <a:gd name="T73" fmla="*/ 22 h 70"/>
                  <a:gd name="T74" fmla="*/ 240 w 406"/>
                  <a:gd name="T75" fmla="*/ 10 h 70"/>
                  <a:gd name="T76" fmla="*/ 242 w 406"/>
                  <a:gd name="T77" fmla="*/ 6 h 70"/>
                  <a:gd name="T78" fmla="*/ 246 w 406"/>
                  <a:gd name="T79" fmla="*/ 0 h 70"/>
                  <a:gd name="T80" fmla="*/ 254 w 406"/>
                  <a:gd name="T81" fmla="*/ 0 h 70"/>
                  <a:gd name="T82" fmla="*/ 258 w 406"/>
                  <a:gd name="T83" fmla="*/ 6 h 70"/>
                  <a:gd name="T84" fmla="*/ 264 w 406"/>
                  <a:gd name="T85" fmla="*/ 8 h 70"/>
                  <a:gd name="T86" fmla="*/ 270 w 406"/>
                  <a:gd name="T87" fmla="*/ 8 h 70"/>
                  <a:gd name="T88" fmla="*/ 278 w 406"/>
                  <a:gd name="T89" fmla="*/ 2 h 70"/>
                  <a:gd name="T90" fmla="*/ 302 w 406"/>
                  <a:gd name="T91" fmla="*/ 8 h 70"/>
                  <a:gd name="T92" fmla="*/ 316 w 406"/>
                  <a:gd name="T93" fmla="*/ 6 h 70"/>
                  <a:gd name="T94" fmla="*/ 322 w 406"/>
                  <a:gd name="T95" fmla="*/ 8 h 70"/>
                  <a:gd name="T96" fmla="*/ 328 w 406"/>
                  <a:gd name="T97" fmla="*/ 16 h 70"/>
                  <a:gd name="T98" fmla="*/ 334 w 406"/>
                  <a:gd name="T99" fmla="*/ 20 h 70"/>
                  <a:gd name="T100" fmla="*/ 334 w 406"/>
                  <a:gd name="T101" fmla="*/ 30 h 70"/>
                  <a:gd name="T102" fmla="*/ 352 w 406"/>
                  <a:gd name="T103" fmla="*/ 32 h 70"/>
                  <a:gd name="T104" fmla="*/ 398 w 406"/>
                  <a:gd name="T105" fmla="*/ 22 h 70"/>
                  <a:gd name="T106" fmla="*/ 404 w 406"/>
                  <a:gd name="T107" fmla="*/ 24 h 70"/>
                  <a:gd name="T108" fmla="*/ 400 w 406"/>
                  <a:gd name="T109" fmla="*/ 48 h 70"/>
                  <a:gd name="T110" fmla="*/ 402 w 406"/>
                  <a:gd name="T111" fmla="*/ 54 h 70"/>
                  <a:gd name="T112" fmla="*/ 404 w 406"/>
                  <a:gd name="T113" fmla="*/ 56 h 70"/>
                  <a:gd name="T114" fmla="*/ 406 w 406"/>
                  <a:gd name="T115" fmla="*/ 64 h 70"/>
                  <a:gd name="T116" fmla="*/ 402 w 406"/>
                  <a:gd name="T117" fmla="*/ 62 h 70"/>
                  <a:gd name="T118" fmla="*/ 398 w 406"/>
                  <a:gd name="T119" fmla="*/ 58 h 70"/>
                  <a:gd name="T120" fmla="*/ 348 w 406"/>
                  <a:gd name="T121" fmla="*/ 54 h 70"/>
                  <a:gd name="T122" fmla="*/ 326 w 406"/>
                  <a:gd name="T123" fmla="*/ 64 h 70"/>
                  <a:gd name="T124" fmla="*/ 300 w 406"/>
                  <a:gd name="T125"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6" h="70">
                    <a:moveTo>
                      <a:pt x="300" y="62"/>
                    </a:moveTo>
                    <a:lnTo>
                      <a:pt x="292" y="64"/>
                    </a:lnTo>
                    <a:lnTo>
                      <a:pt x="282" y="70"/>
                    </a:lnTo>
                    <a:lnTo>
                      <a:pt x="262" y="68"/>
                    </a:lnTo>
                    <a:lnTo>
                      <a:pt x="260" y="66"/>
                    </a:lnTo>
                    <a:lnTo>
                      <a:pt x="258" y="68"/>
                    </a:lnTo>
                    <a:lnTo>
                      <a:pt x="172" y="60"/>
                    </a:lnTo>
                    <a:lnTo>
                      <a:pt x="166" y="64"/>
                    </a:lnTo>
                    <a:lnTo>
                      <a:pt x="162" y="64"/>
                    </a:lnTo>
                    <a:lnTo>
                      <a:pt x="160" y="62"/>
                    </a:lnTo>
                    <a:lnTo>
                      <a:pt x="152" y="64"/>
                    </a:lnTo>
                    <a:lnTo>
                      <a:pt x="142" y="70"/>
                    </a:lnTo>
                    <a:lnTo>
                      <a:pt x="52" y="64"/>
                    </a:lnTo>
                    <a:lnTo>
                      <a:pt x="48" y="62"/>
                    </a:lnTo>
                    <a:lnTo>
                      <a:pt x="56" y="52"/>
                    </a:lnTo>
                    <a:lnTo>
                      <a:pt x="56" y="52"/>
                    </a:lnTo>
                    <a:lnTo>
                      <a:pt x="4" y="50"/>
                    </a:lnTo>
                    <a:lnTo>
                      <a:pt x="0" y="46"/>
                    </a:lnTo>
                    <a:lnTo>
                      <a:pt x="2" y="44"/>
                    </a:lnTo>
                    <a:lnTo>
                      <a:pt x="4" y="44"/>
                    </a:lnTo>
                    <a:lnTo>
                      <a:pt x="6" y="46"/>
                    </a:lnTo>
                    <a:lnTo>
                      <a:pt x="10" y="46"/>
                    </a:lnTo>
                    <a:lnTo>
                      <a:pt x="16" y="42"/>
                    </a:lnTo>
                    <a:lnTo>
                      <a:pt x="18" y="38"/>
                    </a:lnTo>
                    <a:lnTo>
                      <a:pt x="22" y="36"/>
                    </a:lnTo>
                    <a:lnTo>
                      <a:pt x="34" y="18"/>
                    </a:lnTo>
                    <a:lnTo>
                      <a:pt x="44" y="14"/>
                    </a:lnTo>
                    <a:lnTo>
                      <a:pt x="74" y="14"/>
                    </a:lnTo>
                    <a:lnTo>
                      <a:pt x="84" y="8"/>
                    </a:lnTo>
                    <a:lnTo>
                      <a:pt x="94" y="6"/>
                    </a:lnTo>
                    <a:lnTo>
                      <a:pt x="98" y="10"/>
                    </a:lnTo>
                    <a:lnTo>
                      <a:pt x="100" y="16"/>
                    </a:lnTo>
                    <a:lnTo>
                      <a:pt x="134" y="14"/>
                    </a:lnTo>
                    <a:lnTo>
                      <a:pt x="144" y="22"/>
                    </a:lnTo>
                    <a:lnTo>
                      <a:pt x="150" y="30"/>
                    </a:lnTo>
                    <a:lnTo>
                      <a:pt x="226" y="26"/>
                    </a:lnTo>
                    <a:lnTo>
                      <a:pt x="232" y="22"/>
                    </a:lnTo>
                    <a:lnTo>
                      <a:pt x="240" y="10"/>
                    </a:lnTo>
                    <a:lnTo>
                      <a:pt x="242" y="6"/>
                    </a:lnTo>
                    <a:lnTo>
                      <a:pt x="246" y="0"/>
                    </a:lnTo>
                    <a:lnTo>
                      <a:pt x="254" y="0"/>
                    </a:lnTo>
                    <a:lnTo>
                      <a:pt x="258" y="6"/>
                    </a:lnTo>
                    <a:lnTo>
                      <a:pt x="264" y="8"/>
                    </a:lnTo>
                    <a:lnTo>
                      <a:pt x="270" y="8"/>
                    </a:lnTo>
                    <a:lnTo>
                      <a:pt x="278" y="2"/>
                    </a:lnTo>
                    <a:lnTo>
                      <a:pt x="302" y="8"/>
                    </a:lnTo>
                    <a:lnTo>
                      <a:pt x="316" y="6"/>
                    </a:lnTo>
                    <a:lnTo>
                      <a:pt x="322" y="8"/>
                    </a:lnTo>
                    <a:lnTo>
                      <a:pt x="328" y="16"/>
                    </a:lnTo>
                    <a:lnTo>
                      <a:pt x="334" y="20"/>
                    </a:lnTo>
                    <a:lnTo>
                      <a:pt x="334" y="30"/>
                    </a:lnTo>
                    <a:lnTo>
                      <a:pt x="352" y="32"/>
                    </a:lnTo>
                    <a:lnTo>
                      <a:pt x="398" y="22"/>
                    </a:lnTo>
                    <a:lnTo>
                      <a:pt x="404" y="24"/>
                    </a:lnTo>
                    <a:lnTo>
                      <a:pt x="400" y="48"/>
                    </a:lnTo>
                    <a:lnTo>
                      <a:pt x="402" y="54"/>
                    </a:lnTo>
                    <a:lnTo>
                      <a:pt x="404" y="56"/>
                    </a:lnTo>
                    <a:lnTo>
                      <a:pt x="406" y="64"/>
                    </a:lnTo>
                    <a:lnTo>
                      <a:pt x="402" y="62"/>
                    </a:lnTo>
                    <a:lnTo>
                      <a:pt x="398" y="58"/>
                    </a:lnTo>
                    <a:lnTo>
                      <a:pt x="348" y="54"/>
                    </a:lnTo>
                    <a:lnTo>
                      <a:pt x="326" y="64"/>
                    </a:lnTo>
                    <a:lnTo>
                      <a:pt x="300" y="6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98" name="Freeform 54"/>
              <p:cNvSpPr>
                <a:spLocks/>
              </p:cNvSpPr>
              <p:nvPr/>
            </p:nvSpPr>
            <p:spPr bwMode="auto">
              <a:xfrm>
                <a:off x="6475032" y="6107113"/>
                <a:ext cx="20636" cy="47625"/>
              </a:xfrm>
              <a:custGeom>
                <a:avLst/>
                <a:gdLst>
                  <a:gd name="T0" fmla="*/ 6 w 12"/>
                  <a:gd name="T1" fmla="*/ 0 h 30"/>
                  <a:gd name="T2" fmla="*/ 8 w 12"/>
                  <a:gd name="T3" fmla="*/ 0 h 30"/>
                  <a:gd name="T4" fmla="*/ 12 w 12"/>
                  <a:gd name="T5" fmla="*/ 22 h 30"/>
                  <a:gd name="T6" fmla="*/ 8 w 12"/>
                  <a:gd name="T7" fmla="*/ 28 h 30"/>
                  <a:gd name="T8" fmla="*/ 4 w 12"/>
                  <a:gd name="T9" fmla="*/ 30 h 30"/>
                  <a:gd name="T10" fmla="*/ 0 w 12"/>
                  <a:gd name="T11" fmla="*/ 12 h 30"/>
                  <a:gd name="T12" fmla="*/ 2 w 12"/>
                  <a:gd name="T13" fmla="*/ 4 h 30"/>
                  <a:gd name="T14" fmla="*/ 6 w 12"/>
                  <a:gd name="T15" fmla="*/ 0 h 30"/>
                  <a:gd name="T16" fmla="*/ 6 w 12"/>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0">
                    <a:moveTo>
                      <a:pt x="6" y="0"/>
                    </a:moveTo>
                    <a:lnTo>
                      <a:pt x="8" y="0"/>
                    </a:lnTo>
                    <a:lnTo>
                      <a:pt x="12" y="22"/>
                    </a:lnTo>
                    <a:lnTo>
                      <a:pt x="8" y="28"/>
                    </a:lnTo>
                    <a:lnTo>
                      <a:pt x="4" y="30"/>
                    </a:lnTo>
                    <a:lnTo>
                      <a:pt x="0" y="12"/>
                    </a:lnTo>
                    <a:lnTo>
                      <a:pt x="2" y="4"/>
                    </a:lnTo>
                    <a:lnTo>
                      <a:pt x="6" y="0"/>
                    </a:lnTo>
                    <a:lnTo>
                      <a:pt x="6"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99" name="Freeform 55"/>
              <p:cNvSpPr>
                <a:spLocks/>
              </p:cNvSpPr>
              <p:nvPr/>
            </p:nvSpPr>
            <p:spPr bwMode="auto">
              <a:xfrm>
                <a:off x="6475032" y="6107113"/>
                <a:ext cx="20636" cy="47625"/>
              </a:xfrm>
              <a:custGeom>
                <a:avLst/>
                <a:gdLst>
                  <a:gd name="T0" fmla="*/ 6 w 12"/>
                  <a:gd name="T1" fmla="*/ 0 h 30"/>
                  <a:gd name="T2" fmla="*/ 8 w 12"/>
                  <a:gd name="T3" fmla="*/ 0 h 30"/>
                  <a:gd name="T4" fmla="*/ 12 w 12"/>
                  <a:gd name="T5" fmla="*/ 22 h 30"/>
                  <a:gd name="T6" fmla="*/ 8 w 12"/>
                  <a:gd name="T7" fmla="*/ 28 h 30"/>
                  <a:gd name="T8" fmla="*/ 4 w 12"/>
                  <a:gd name="T9" fmla="*/ 30 h 30"/>
                  <a:gd name="T10" fmla="*/ 0 w 12"/>
                  <a:gd name="T11" fmla="*/ 12 h 30"/>
                  <a:gd name="T12" fmla="*/ 2 w 12"/>
                  <a:gd name="T13" fmla="*/ 4 h 30"/>
                  <a:gd name="T14" fmla="*/ 6 w 12"/>
                  <a:gd name="T15" fmla="*/ 0 h 30"/>
                  <a:gd name="T16" fmla="*/ 6 w 12"/>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0">
                    <a:moveTo>
                      <a:pt x="6" y="0"/>
                    </a:moveTo>
                    <a:lnTo>
                      <a:pt x="8" y="0"/>
                    </a:lnTo>
                    <a:lnTo>
                      <a:pt x="12" y="22"/>
                    </a:lnTo>
                    <a:lnTo>
                      <a:pt x="8" y="28"/>
                    </a:lnTo>
                    <a:lnTo>
                      <a:pt x="4" y="30"/>
                    </a:lnTo>
                    <a:lnTo>
                      <a:pt x="0" y="12"/>
                    </a:lnTo>
                    <a:lnTo>
                      <a:pt x="2" y="4"/>
                    </a:lnTo>
                    <a:lnTo>
                      <a:pt x="6" y="0"/>
                    </a:lnTo>
                    <a:lnTo>
                      <a:pt x="6"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00" name="Freeform 56"/>
              <p:cNvSpPr>
                <a:spLocks/>
              </p:cNvSpPr>
              <p:nvPr/>
            </p:nvSpPr>
            <p:spPr bwMode="auto">
              <a:xfrm>
                <a:off x="7214486" y="6167438"/>
                <a:ext cx="79104" cy="50800"/>
              </a:xfrm>
              <a:custGeom>
                <a:avLst/>
                <a:gdLst>
                  <a:gd name="T0" fmla="*/ 4 w 46"/>
                  <a:gd name="T1" fmla="*/ 32 h 32"/>
                  <a:gd name="T2" fmla="*/ 0 w 46"/>
                  <a:gd name="T3" fmla="*/ 28 h 32"/>
                  <a:gd name="T4" fmla="*/ 2 w 46"/>
                  <a:gd name="T5" fmla="*/ 22 h 32"/>
                  <a:gd name="T6" fmla="*/ 6 w 46"/>
                  <a:gd name="T7" fmla="*/ 16 h 32"/>
                  <a:gd name="T8" fmla="*/ 20 w 46"/>
                  <a:gd name="T9" fmla="*/ 12 h 32"/>
                  <a:gd name="T10" fmla="*/ 36 w 46"/>
                  <a:gd name="T11" fmla="*/ 0 h 32"/>
                  <a:gd name="T12" fmla="*/ 38 w 46"/>
                  <a:gd name="T13" fmla="*/ 2 h 32"/>
                  <a:gd name="T14" fmla="*/ 46 w 46"/>
                  <a:gd name="T15" fmla="*/ 4 h 32"/>
                  <a:gd name="T16" fmla="*/ 30 w 46"/>
                  <a:gd name="T17" fmla="*/ 20 h 32"/>
                  <a:gd name="T18" fmla="*/ 14 w 46"/>
                  <a:gd name="T19" fmla="*/ 26 h 32"/>
                  <a:gd name="T20" fmla="*/ 8 w 46"/>
                  <a:gd name="T21" fmla="*/ 30 h 32"/>
                  <a:gd name="T22" fmla="*/ 4 w 46"/>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32">
                    <a:moveTo>
                      <a:pt x="4" y="32"/>
                    </a:moveTo>
                    <a:lnTo>
                      <a:pt x="0" y="28"/>
                    </a:lnTo>
                    <a:lnTo>
                      <a:pt x="2" y="22"/>
                    </a:lnTo>
                    <a:lnTo>
                      <a:pt x="6" y="16"/>
                    </a:lnTo>
                    <a:lnTo>
                      <a:pt x="20" y="12"/>
                    </a:lnTo>
                    <a:lnTo>
                      <a:pt x="36" y="0"/>
                    </a:lnTo>
                    <a:lnTo>
                      <a:pt x="38" y="2"/>
                    </a:lnTo>
                    <a:lnTo>
                      <a:pt x="46" y="4"/>
                    </a:lnTo>
                    <a:lnTo>
                      <a:pt x="30" y="20"/>
                    </a:lnTo>
                    <a:lnTo>
                      <a:pt x="14" y="26"/>
                    </a:lnTo>
                    <a:lnTo>
                      <a:pt x="8" y="30"/>
                    </a:lnTo>
                    <a:lnTo>
                      <a:pt x="4" y="3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01" name="Freeform 57"/>
              <p:cNvSpPr>
                <a:spLocks/>
              </p:cNvSpPr>
              <p:nvPr/>
            </p:nvSpPr>
            <p:spPr bwMode="auto">
              <a:xfrm>
                <a:off x="7214486" y="6167438"/>
                <a:ext cx="79104" cy="50800"/>
              </a:xfrm>
              <a:custGeom>
                <a:avLst/>
                <a:gdLst>
                  <a:gd name="T0" fmla="*/ 4 w 46"/>
                  <a:gd name="T1" fmla="*/ 32 h 32"/>
                  <a:gd name="T2" fmla="*/ 0 w 46"/>
                  <a:gd name="T3" fmla="*/ 28 h 32"/>
                  <a:gd name="T4" fmla="*/ 2 w 46"/>
                  <a:gd name="T5" fmla="*/ 22 h 32"/>
                  <a:gd name="T6" fmla="*/ 6 w 46"/>
                  <a:gd name="T7" fmla="*/ 16 h 32"/>
                  <a:gd name="T8" fmla="*/ 20 w 46"/>
                  <a:gd name="T9" fmla="*/ 12 h 32"/>
                  <a:gd name="T10" fmla="*/ 36 w 46"/>
                  <a:gd name="T11" fmla="*/ 0 h 32"/>
                  <a:gd name="T12" fmla="*/ 38 w 46"/>
                  <a:gd name="T13" fmla="*/ 2 h 32"/>
                  <a:gd name="T14" fmla="*/ 46 w 46"/>
                  <a:gd name="T15" fmla="*/ 4 h 32"/>
                  <a:gd name="T16" fmla="*/ 30 w 46"/>
                  <a:gd name="T17" fmla="*/ 20 h 32"/>
                  <a:gd name="T18" fmla="*/ 14 w 46"/>
                  <a:gd name="T19" fmla="*/ 26 h 32"/>
                  <a:gd name="T20" fmla="*/ 8 w 46"/>
                  <a:gd name="T21" fmla="*/ 30 h 32"/>
                  <a:gd name="T22" fmla="*/ 4 w 46"/>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32">
                    <a:moveTo>
                      <a:pt x="4" y="32"/>
                    </a:moveTo>
                    <a:lnTo>
                      <a:pt x="0" y="28"/>
                    </a:lnTo>
                    <a:lnTo>
                      <a:pt x="2" y="22"/>
                    </a:lnTo>
                    <a:lnTo>
                      <a:pt x="6" y="16"/>
                    </a:lnTo>
                    <a:lnTo>
                      <a:pt x="20" y="12"/>
                    </a:lnTo>
                    <a:lnTo>
                      <a:pt x="36" y="0"/>
                    </a:lnTo>
                    <a:lnTo>
                      <a:pt x="38" y="2"/>
                    </a:lnTo>
                    <a:lnTo>
                      <a:pt x="46" y="4"/>
                    </a:lnTo>
                    <a:lnTo>
                      <a:pt x="30" y="20"/>
                    </a:lnTo>
                    <a:lnTo>
                      <a:pt x="14" y="26"/>
                    </a:lnTo>
                    <a:lnTo>
                      <a:pt x="8" y="30"/>
                    </a:lnTo>
                    <a:lnTo>
                      <a:pt x="4" y="3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02" name="Freeform 58"/>
              <p:cNvSpPr>
                <a:spLocks/>
              </p:cNvSpPr>
              <p:nvPr/>
            </p:nvSpPr>
            <p:spPr bwMode="auto">
              <a:xfrm>
                <a:off x="6980612" y="6430963"/>
                <a:ext cx="41272" cy="38100"/>
              </a:xfrm>
              <a:custGeom>
                <a:avLst/>
                <a:gdLst>
                  <a:gd name="T0" fmla="*/ 0 w 24"/>
                  <a:gd name="T1" fmla="*/ 24 h 24"/>
                  <a:gd name="T2" fmla="*/ 0 w 24"/>
                  <a:gd name="T3" fmla="*/ 18 h 24"/>
                  <a:gd name="T4" fmla="*/ 8 w 24"/>
                  <a:gd name="T5" fmla="*/ 16 h 24"/>
                  <a:gd name="T6" fmla="*/ 24 w 24"/>
                  <a:gd name="T7" fmla="*/ 0 h 24"/>
                  <a:gd name="T8" fmla="*/ 24 w 24"/>
                  <a:gd name="T9" fmla="*/ 6 h 24"/>
                  <a:gd name="T10" fmla="*/ 22 w 24"/>
                  <a:gd name="T11" fmla="*/ 10 h 24"/>
                  <a:gd name="T12" fmla="*/ 8 w 24"/>
                  <a:gd name="T13" fmla="*/ 22 h 24"/>
                  <a:gd name="T14" fmla="*/ 2 w 24"/>
                  <a:gd name="T15" fmla="*/ 24 h 24"/>
                  <a:gd name="T16" fmla="*/ 0 w 24"/>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0" y="24"/>
                    </a:moveTo>
                    <a:lnTo>
                      <a:pt x="0" y="18"/>
                    </a:lnTo>
                    <a:lnTo>
                      <a:pt x="8" y="16"/>
                    </a:lnTo>
                    <a:lnTo>
                      <a:pt x="24" y="0"/>
                    </a:lnTo>
                    <a:lnTo>
                      <a:pt x="24" y="6"/>
                    </a:lnTo>
                    <a:lnTo>
                      <a:pt x="22" y="10"/>
                    </a:lnTo>
                    <a:lnTo>
                      <a:pt x="8" y="22"/>
                    </a:lnTo>
                    <a:lnTo>
                      <a:pt x="2" y="24"/>
                    </a:lnTo>
                    <a:lnTo>
                      <a:pt x="0" y="2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03" name="Freeform 59"/>
              <p:cNvSpPr>
                <a:spLocks/>
              </p:cNvSpPr>
              <p:nvPr/>
            </p:nvSpPr>
            <p:spPr bwMode="auto">
              <a:xfrm>
                <a:off x="6980612" y="6430963"/>
                <a:ext cx="41272" cy="38100"/>
              </a:xfrm>
              <a:custGeom>
                <a:avLst/>
                <a:gdLst>
                  <a:gd name="T0" fmla="*/ 0 w 24"/>
                  <a:gd name="T1" fmla="*/ 24 h 24"/>
                  <a:gd name="T2" fmla="*/ 0 w 24"/>
                  <a:gd name="T3" fmla="*/ 18 h 24"/>
                  <a:gd name="T4" fmla="*/ 8 w 24"/>
                  <a:gd name="T5" fmla="*/ 16 h 24"/>
                  <a:gd name="T6" fmla="*/ 24 w 24"/>
                  <a:gd name="T7" fmla="*/ 0 h 24"/>
                  <a:gd name="T8" fmla="*/ 24 w 24"/>
                  <a:gd name="T9" fmla="*/ 6 h 24"/>
                  <a:gd name="T10" fmla="*/ 22 w 24"/>
                  <a:gd name="T11" fmla="*/ 10 h 24"/>
                  <a:gd name="T12" fmla="*/ 8 w 24"/>
                  <a:gd name="T13" fmla="*/ 22 h 24"/>
                  <a:gd name="T14" fmla="*/ 2 w 24"/>
                  <a:gd name="T15" fmla="*/ 24 h 24"/>
                  <a:gd name="T16" fmla="*/ 0 w 24"/>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0" y="24"/>
                    </a:moveTo>
                    <a:lnTo>
                      <a:pt x="0" y="18"/>
                    </a:lnTo>
                    <a:lnTo>
                      <a:pt x="8" y="16"/>
                    </a:lnTo>
                    <a:lnTo>
                      <a:pt x="24" y="0"/>
                    </a:lnTo>
                    <a:lnTo>
                      <a:pt x="24" y="6"/>
                    </a:lnTo>
                    <a:lnTo>
                      <a:pt x="22" y="10"/>
                    </a:lnTo>
                    <a:lnTo>
                      <a:pt x="8" y="22"/>
                    </a:lnTo>
                    <a:lnTo>
                      <a:pt x="2" y="24"/>
                    </a:lnTo>
                    <a:lnTo>
                      <a:pt x="0" y="2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04" name="Freeform 60"/>
              <p:cNvSpPr>
                <a:spLocks/>
              </p:cNvSpPr>
              <p:nvPr/>
            </p:nvSpPr>
            <p:spPr bwMode="auto">
              <a:xfrm>
                <a:off x="7107867" y="6246813"/>
                <a:ext cx="51590" cy="28575"/>
              </a:xfrm>
              <a:custGeom>
                <a:avLst/>
                <a:gdLst>
                  <a:gd name="T0" fmla="*/ 2 w 30"/>
                  <a:gd name="T1" fmla="*/ 8 h 18"/>
                  <a:gd name="T2" fmla="*/ 4 w 30"/>
                  <a:gd name="T3" fmla="*/ 6 h 18"/>
                  <a:gd name="T4" fmla="*/ 26 w 30"/>
                  <a:gd name="T5" fmla="*/ 0 h 18"/>
                  <a:gd name="T6" fmla="*/ 30 w 30"/>
                  <a:gd name="T7" fmla="*/ 2 h 18"/>
                  <a:gd name="T8" fmla="*/ 26 w 30"/>
                  <a:gd name="T9" fmla="*/ 8 h 18"/>
                  <a:gd name="T10" fmla="*/ 6 w 30"/>
                  <a:gd name="T11" fmla="*/ 18 h 18"/>
                  <a:gd name="T12" fmla="*/ 0 w 30"/>
                  <a:gd name="T13" fmla="*/ 16 h 18"/>
                  <a:gd name="T14" fmla="*/ 4 w 30"/>
                  <a:gd name="T15" fmla="*/ 12 h 18"/>
                  <a:gd name="T16" fmla="*/ 2 w 30"/>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2" y="8"/>
                    </a:moveTo>
                    <a:lnTo>
                      <a:pt x="4" y="6"/>
                    </a:lnTo>
                    <a:lnTo>
                      <a:pt x="26" y="0"/>
                    </a:lnTo>
                    <a:lnTo>
                      <a:pt x="30" y="2"/>
                    </a:lnTo>
                    <a:lnTo>
                      <a:pt x="26" y="8"/>
                    </a:lnTo>
                    <a:lnTo>
                      <a:pt x="6" y="18"/>
                    </a:lnTo>
                    <a:lnTo>
                      <a:pt x="0" y="16"/>
                    </a:lnTo>
                    <a:lnTo>
                      <a:pt x="4" y="12"/>
                    </a:lnTo>
                    <a:lnTo>
                      <a:pt x="2"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05" name="Freeform 61"/>
              <p:cNvSpPr>
                <a:spLocks/>
              </p:cNvSpPr>
              <p:nvPr/>
            </p:nvSpPr>
            <p:spPr bwMode="auto">
              <a:xfrm>
                <a:off x="7107867" y="6246813"/>
                <a:ext cx="51590" cy="28575"/>
              </a:xfrm>
              <a:custGeom>
                <a:avLst/>
                <a:gdLst>
                  <a:gd name="T0" fmla="*/ 2 w 30"/>
                  <a:gd name="T1" fmla="*/ 8 h 18"/>
                  <a:gd name="T2" fmla="*/ 4 w 30"/>
                  <a:gd name="T3" fmla="*/ 6 h 18"/>
                  <a:gd name="T4" fmla="*/ 26 w 30"/>
                  <a:gd name="T5" fmla="*/ 0 h 18"/>
                  <a:gd name="T6" fmla="*/ 30 w 30"/>
                  <a:gd name="T7" fmla="*/ 2 h 18"/>
                  <a:gd name="T8" fmla="*/ 26 w 30"/>
                  <a:gd name="T9" fmla="*/ 8 h 18"/>
                  <a:gd name="T10" fmla="*/ 6 w 30"/>
                  <a:gd name="T11" fmla="*/ 18 h 18"/>
                  <a:gd name="T12" fmla="*/ 0 w 30"/>
                  <a:gd name="T13" fmla="*/ 16 h 18"/>
                  <a:gd name="T14" fmla="*/ 4 w 30"/>
                  <a:gd name="T15" fmla="*/ 12 h 18"/>
                  <a:gd name="T16" fmla="*/ 2 w 30"/>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2" y="8"/>
                    </a:moveTo>
                    <a:lnTo>
                      <a:pt x="4" y="6"/>
                    </a:lnTo>
                    <a:lnTo>
                      <a:pt x="26" y="0"/>
                    </a:lnTo>
                    <a:lnTo>
                      <a:pt x="30" y="2"/>
                    </a:lnTo>
                    <a:lnTo>
                      <a:pt x="26" y="8"/>
                    </a:lnTo>
                    <a:lnTo>
                      <a:pt x="6" y="18"/>
                    </a:lnTo>
                    <a:lnTo>
                      <a:pt x="0" y="16"/>
                    </a:lnTo>
                    <a:lnTo>
                      <a:pt x="4" y="12"/>
                    </a:lnTo>
                    <a:lnTo>
                      <a:pt x="2"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06" name="Freeform 62"/>
              <p:cNvSpPr>
                <a:spLocks/>
              </p:cNvSpPr>
              <p:nvPr/>
            </p:nvSpPr>
            <p:spPr bwMode="auto">
              <a:xfrm>
                <a:off x="7073474" y="6265863"/>
                <a:ext cx="20636" cy="25400"/>
              </a:xfrm>
              <a:custGeom>
                <a:avLst/>
                <a:gdLst>
                  <a:gd name="T0" fmla="*/ 0 w 12"/>
                  <a:gd name="T1" fmla="*/ 14 h 16"/>
                  <a:gd name="T2" fmla="*/ 0 w 12"/>
                  <a:gd name="T3" fmla="*/ 10 h 16"/>
                  <a:gd name="T4" fmla="*/ 12 w 12"/>
                  <a:gd name="T5" fmla="*/ 0 h 16"/>
                  <a:gd name="T6" fmla="*/ 12 w 12"/>
                  <a:gd name="T7" fmla="*/ 6 h 16"/>
                  <a:gd name="T8" fmla="*/ 8 w 12"/>
                  <a:gd name="T9" fmla="*/ 16 h 16"/>
                  <a:gd name="T10" fmla="*/ 4 w 12"/>
                  <a:gd name="T11" fmla="*/ 14 h 16"/>
                  <a:gd name="T12" fmla="*/ 0 w 12"/>
                  <a:gd name="T13" fmla="*/ 14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0" y="14"/>
                    </a:moveTo>
                    <a:lnTo>
                      <a:pt x="0" y="10"/>
                    </a:lnTo>
                    <a:lnTo>
                      <a:pt x="12" y="0"/>
                    </a:lnTo>
                    <a:lnTo>
                      <a:pt x="12" y="6"/>
                    </a:lnTo>
                    <a:lnTo>
                      <a:pt x="8" y="16"/>
                    </a:lnTo>
                    <a:lnTo>
                      <a:pt x="4" y="14"/>
                    </a:lnTo>
                    <a:lnTo>
                      <a:pt x="0" y="1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07" name="Freeform 63"/>
              <p:cNvSpPr>
                <a:spLocks/>
              </p:cNvSpPr>
              <p:nvPr/>
            </p:nvSpPr>
            <p:spPr bwMode="auto">
              <a:xfrm>
                <a:off x="7073474" y="6265863"/>
                <a:ext cx="20636" cy="25400"/>
              </a:xfrm>
              <a:custGeom>
                <a:avLst/>
                <a:gdLst>
                  <a:gd name="T0" fmla="*/ 0 w 12"/>
                  <a:gd name="T1" fmla="*/ 14 h 16"/>
                  <a:gd name="T2" fmla="*/ 0 w 12"/>
                  <a:gd name="T3" fmla="*/ 10 h 16"/>
                  <a:gd name="T4" fmla="*/ 12 w 12"/>
                  <a:gd name="T5" fmla="*/ 0 h 16"/>
                  <a:gd name="T6" fmla="*/ 12 w 12"/>
                  <a:gd name="T7" fmla="*/ 6 h 16"/>
                  <a:gd name="T8" fmla="*/ 8 w 12"/>
                  <a:gd name="T9" fmla="*/ 16 h 16"/>
                  <a:gd name="T10" fmla="*/ 4 w 12"/>
                  <a:gd name="T11" fmla="*/ 14 h 16"/>
                  <a:gd name="T12" fmla="*/ 0 w 12"/>
                  <a:gd name="T13" fmla="*/ 14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0" y="14"/>
                    </a:moveTo>
                    <a:lnTo>
                      <a:pt x="0" y="10"/>
                    </a:lnTo>
                    <a:lnTo>
                      <a:pt x="12" y="0"/>
                    </a:lnTo>
                    <a:lnTo>
                      <a:pt x="12" y="6"/>
                    </a:lnTo>
                    <a:lnTo>
                      <a:pt x="8" y="16"/>
                    </a:lnTo>
                    <a:lnTo>
                      <a:pt x="4" y="14"/>
                    </a:lnTo>
                    <a:lnTo>
                      <a:pt x="0" y="1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08" name="Freeform 64"/>
              <p:cNvSpPr>
                <a:spLocks/>
              </p:cNvSpPr>
              <p:nvPr/>
            </p:nvSpPr>
            <p:spPr bwMode="auto">
              <a:xfrm>
                <a:off x="7021884" y="6275388"/>
                <a:ext cx="37833" cy="31750"/>
              </a:xfrm>
              <a:custGeom>
                <a:avLst/>
                <a:gdLst>
                  <a:gd name="T0" fmla="*/ 0 w 22"/>
                  <a:gd name="T1" fmla="*/ 18 h 20"/>
                  <a:gd name="T2" fmla="*/ 4 w 22"/>
                  <a:gd name="T3" fmla="*/ 10 h 20"/>
                  <a:gd name="T4" fmla="*/ 6 w 22"/>
                  <a:gd name="T5" fmla="*/ 6 h 20"/>
                  <a:gd name="T6" fmla="*/ 8 w 22"/>
                  <a:gd name="T7" fmla="*/ 8 h 20"/>
                  <a:gd name="T8" fmla="*/ 10 w 22"/>
                  <a:gd name="T9" fmla="*/ 8 h 20"/>
                  <a:gd name="T10" fmla="*/ 14 w 22"/>
                  <a:gd name="T11" fmla="*/ 2 h 20"/>
                  <a:gd name="T12" fmla="*/ 20 w 22"/>
                  <a:gd name="T13" fmla="*/ 0 h 20"/>
                  <a:gd name="T14" fmla="*/ 22 w 22"/>
                  <a:gd name="T15" fmla="*/ 2 h 20"/>
                  <a:gd name="T16" fmla="*/ 8 w 22"/>
                  <a:gd name="T17" fmla="*/ 18 h 20"/>
                  <a:gd name="T18" fmla="*/ 4 w 22"/>
                  <a:gd name="T19" fmla="*/ 20 h 20"/>
                  <a:gd name="T20" fmla="*/ 0 w 22"/>
                  <a:gd name="T21"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0">
                    <a:moveTo>
                      <a:pt x="0" y="18"/>
                    </a:moveTo>
                    <a:lnTo>
                      <a:pt x="4" y="10"/>
                    </a:lnTo>
                    <a:lnTo>
                      <a:pt x="6" y="6"/>
                    </a:lnTo>
                    <a:lnTo>
                      <a:pt x="8" y="8"/>
                    </a:lnTo>
                    <a:lnTo>
                      <a:pt x="10" y="8"/>
                    </a:lnTo>
                    <a:lnTo>
                      <a:pt x="14" y="2"/>
                    </a:lnTo>
                    <a:lnTo>
                      <a:pt x="20" y="0"/>
                    </a:lnTo>
                    <a:lnTo>
                      <a:pt x="22" y="2"/>
                    </a:lnTo>
                    <a:lnTo>
                      <a:pt x="8" y="18"/>
                    </a:lnTo>
                    <a:lnTo>
                      <a:pt x="4" y="20"/>
                    </a:lnTo>
                    <a:lnTo>
                      <a:pt x="0" y="1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09" name="Freeform 65"/>
              <p:cNvSpPr>
                <a:spLocks/>
              </p:cNvSpPr>
              <p:nvPr/>
            </p:nvSpPr>
            <p:spPr bwMode="auto">
              <a:xfrm>
                <a:off x="7021884" y="6275388"/>
                <a:ext cx="37833" cy="31750"/>
              </a:xfrm>
              <a:custGeom>
                <a:avLst/>
                <a:gdLst>
                  <a:gd name="T0" fmla="*/ 0 w 22"/>
                  <a:gd name="T1" fmla="*/ 18 h 20"/>
                  <a:gd name="T2" fmla="*/ 4 w 22"/>
                  <a:gd name="T3" fmla="*/ 10 h 20"/>
                  <a:gd name="T4" fmla="*/ 6 w 22"/>
                  <a:gd name="T5" fmla="*/ 6 h 20"/>
                  <a:gd name="T6" fmla="*/ 8 w 22"/>
                  <a:gd name="T7" fmla="*/ 8 h 20"/>
                  <a:gd name="T8" fmla="*/ 10 w 22"/>
                  <a:gd name="T9" fmla="*/ 8 h 20"/>
                  <a:gd name="T10" fmla="*/ 14 w 22"/>
                  <a:gd name="T11" fmla="*/ 2 h 20"/>
                  <a:gd name="T12" fmla="*/ 20 w 22"/>
                  <a:gd name="T13" fmla="*/ 0 h 20"/>
                  <a:gd name="T14" fmla="*/ 22 w 22"/>
                  <a:gd name="T15" fmla="*/ 2 h 20"/>
                  <a:gd name="T16" fmla="*/ 8 w 22"/>
                  <a:gd name="T17" fmla="*/ 18 h 20"/>
                  <a:gd name="T18" fmla="*/ 4 w 22"/>
                  <a:gd name="T19" fmla="*/ 20 h 20"/>
                  <a:gd name="T20" fmla="*/ 0 w 22"/>
                  <a:gd name="T21"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0">
                    <a:moveTo>
                      <a:pt x="0" y="18"/>
                    </a:moveTo>
                    <a:lnTo>
                      <a:pt x="4" y="10"/>
                    </a:lnTo>
                    <a:lnTo>
                      <a:pt x="6" y="6"/>
                    </a:lnTo>
                    <a:lnTo>
                      <a:pt x="8" y="8"/>
                    </a:lnTo>
                    <a:lnTo>
                      <a:pt x="10" y="8"/>
                    </a:lnTo>
                    <a:lnTo>
                      <a:pt x="14" y="2"/>
                    </a:lnTo>
                    <a:lnTo>
                      <a:pt x="20" y="0"/>
                    </a:lnTo>
                    <a:lnTo>
                      <a:pt x="22" y="2"/>
                    </a:lnTo>
                    <a:lnTo>
                      <a:pt x="8" y="18"/>
                    </a:lnTo>
                    <a:lnTo>
                      <a:pt x="4" y="20"/>
                    </a:lnTo>
                    <a:lnTo>
                      <a:pt x="0" y="1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10" name="Freeform 66"/>
              <p:cNvSpPr>
                <a:spLocks/>
              </p:cNvSpPr>
              <p:nvPr/>
            </p:nvSpPr>
            <p:spPr bwMode="auto">
              <a:xfrm>
                <a:off x="6753617" y="6284913"/>
                <a:ext cx="244192" cy="104775"/>
              </a:xfrm>
              <a:custGeom>
                <a:avLst/>
                <a:gdLst>
                  <a:gd name="T0" fmla="*/ 6 w 142"/>
                  <a:gd name="T1" fmla="*/ 50 h 66"/>
                  <a:gd name="T2" fmla="*/ 8 w 142"/>
                  <a:gd name="T3" fmla="*/ 50 h 66"/>
                  <a:gd name="T4" fmla="*/ 36 w 142"/>
                  <a:gd name="T5" fmla="*/ 34 h 66"/>
                  <a:gd name="T6" fmla="*/ 40 w 142"/>
                  <a:gd name="T7" fmla="*/ 36 h 66"/>
                  <a:gd name="T8" fmla="*/ 58 w 142"/>
                  <a:gd name="T9" fmla="*/ 34 h 66"/>
                  <a:gd name="T10" fmla="*/ 62 w 142"/>
                  <a:gd name="T11" fmla="*/ 36 h 66"/>
                  <a:gd name="T12" fmla="*/ 72 w 142"/>
                  <a:gd name="T13" fmla="*/ 38 h 66"/>
                  <a:gd name="T14" fmla="*/ 98 w 142"/>
                  <a:gd name="T15" fmla="*/ 26 h 66"/>
                  <a:gd name="T16" fmla="*/ 100 w 142"/>
                  <a:gd name="T17" fmla="*/ 28 h 66"/>
                  <a:gd name="T18" fmla="*/ 114 w 142"/>
                  <a:gd name="T19" fmla="*/ 28 h 66"/>
                  <a:gd name="T20" fmla="*/ 128 w 142"/>
                  <a:gd name="T21" fmla="*/ 14 h 66"/>
                  <a:gd name="T22" fmla="*/ 132 w 142"/>
                  <a:gd name="T23" fmla="*/ 12 h 66"/>
                  <a:gd name="T24" fmla="*/ 138 w 142"/>
                  <a:gd name="T25" fmla="*/ 8 h 66"/>
                  <a:gd name="T26" fmla="*/ 138 w 142"/>
                  <a:gd name="T27" fmla="*/ 8 h 66"/>
                  <a:gd name="T28" fmla="*/ 134 w 142"/>
                  <a:gd name="T29" fmla="*/ 6 h 66"/>
                  <a:gd name="T30" fmla="*/ 136 w 142"/>
                  <a:gd name="T31" fmla="*/ 0 h 66"/>
                  <a:gd name="T32" fmla="*/ 140 w 142"/>
                  <a:gd name="T33" fmla="*/ 2 h 66"/>
                  <a:gd name="T34" fmla="*/ 142 w 142"/>
                  <a:gd name="T35" fmla="*/ 8 h 66"/>
                  <a:gd name="T36" fmla="*/ 130 w 142"/>
                  <a:gd name="T37" fmla="*/ 24 h 66"/>
                  <a:gd name="T38" fmla="*/ 114 w 142"/>
                  <a:gd name="T39" fmla="*/ 34 h 66"/>
                  <a:gd name="T40" fmla="*/ 106 w 142"/>
                  <a:gd name="T41" fmla="*/ 36 h 66"/>
                  <a:gd name="T42" fmla="*/ 94 w 142"/>
                  <a:gd name="T43" fmla="*/ 44 h 66"/>
                  <a:gd name="T44" fmla="*/ 74 w 142"/>
                  <a:gd name="T45" fmla="*/ 48 h 66"/>
                  <a:gd name="T46" fmla="*/ 56 w 142"/>
                  <a:gd name="T47" fmla="*/ 58 h 66"/>
                  <a:gd name="T48" fmla="*/ 2 w 142"/>
                  <a:gd name="T49" fmla="*/ 66 h 66"/>
                  <a:gd name="T50" fmla="*/ 0 w 142"/>
                  <a:gd name="T51" fmla="*/ 64 h 66"/>
                  <a:gd name="T52" fmla="*/ 0 w 142"/>
                  <a:gd name="T53" fmla="*/ 58 h 66"/>
                  <a:gd name="T54" fmla="*/ 0 w 142"/>
                  <a:gd name="T55" fmla="*/ 54 h 66"/>
                  <a:gd name="T56" fmla="*/ 6 w 142"/>
                  <a:gd name="T57" fmla="*/ 5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66">
                    <a:moveTo>
                      <a:pt x="6" y="50"/>
                    </a:moveTo>
                    <a:lnTo>
                      <a:pt x="8" y="50"/>
                    </a:lnTo>
                    <a:lnTo>
                      <a:pt x="36" y="34"/>
                    </a:lnTo>
                    <a:lnTo>
                      <a:pt x="40" y="36"/>
                    </a:lnTo>
                    <a:lnTo>
                      <a:pt x="58" y="34"/>
                    </a:lnTo>
                    <a:lnTo>
                      <a:pt x="62" y="36"/>
                    </a:lnTo>
                    <a:lnTo>
                      <a:pt x="72" y="38"/>
                    </a:lnTo>
                    <a:lnTo>
                      <a:pt x="98" y="26"/>
                    </a:lnTo>
                    <a:lnTo>
                      <a:pt x="100" y="28"/>
                    </a:lnTo>
                    <a:lnTo>
                      <a:pt x="114" y="28"/>
                    </a:lnTo>
                    <a:lnTo>
                      <a:pt x="128" y="14"/>
                    </a:lnTo>
                    <a:lnTo>
                      <a:pt x="132" y="12"/>
                    </a:lnTo>
                    <a:lnTo>
                      <a:pt x="138" y="8"/>
                    </a:lnTo>
                    <a:lnTo>
                      <a:pt x="138" y="8"/>
                    </a:lnTo>
                    <a:lnTo>
                      <a:pt x="134" y="6"/>
                    </a:lnTo>
                    <a:lnTo>
                      <a:pt x="136" y="0"/>
                    </a:lnTo>
                    <a:lnTo>
                      <a:pt x="140" y="2"/>
                    </a:lnTo>
                    <a:lnTo>
                      <a:pt x="142" y="8"/>
                    </a:lnTo>
                    <a:lnTo>
                      <a:pt x="130" y="24"/>
                    </a:lnTo>
                    <a:lnTo>
                      <a:pt x="114" y="34"/>
                    </a:lnTo>
                    <a:lnTo>
                      <a:pt x="106" y="36"/>
                    </a:lnTo>
                    <a:lnTo>
                      <a:pt x="94" y="44"/>
                    </a:lnTo>
                    <a:lnTo>
                      <a:pt x="74" y="48"/>
                    </a:lnTo>
                    <a:lnTo>
                      <a:pt x="56" y="58"/>
                    </a:lnTo>
                    <a:lnTo>
                      <a:pt x="2" y="66"/>
                    </a:lnTo>
                    <a:lnTo>
                      <a:pt x="0" y="64"/>
                    </a:lnTo>
                    <a:lnTo>
                      <a:pt x="0" y="58"/>
                    </a:lnTo>
                    <a:lnTo>
                      <a:pt x="0" y="54"/>
                    </a:lnTo>
                    <a:lnTo>
                      <a:pt x="6" y="5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11" name="Freeform 67"/>
              <p:cNvSpPr>
                <a:spLocks/>
              </p:cNvSpPr>
              <p:nvPr/>
            </p:nvSpPr>
            <p:spPr bwMode="auto">
              <a:xfrm>
                <a:off x="6753617" y="6284913"/>
                <a:ext cx="244192" cy="104775"/>
              </a:xfrm>
              <a:custGeom>
                <a:avLst/>
                <a:gdLst>
                  <a:gd name="T0" fmla="*/ 6 w 142"/>
                  <a:gd name="T1" fmla="*/ 50 h 66"/>
                  <a:gd name="T2" fmla="*/ 8 w 142"/>
                  <a:gd name="T3" fmla="*/ 50 h 66"/>
                  <a:gd name="T4" fmla="*/ 36 w 142"/>
                  <a:gd name="T5" fmla="*/ 34 h 66"/>
                  <a:gd name="T6" fmla="*/ 40 w 142"/>
                  <a:gd name="T7" fmla="*/ 36 h 66"/>
                  <a:gd name="T8" fmla="*/ 58 w 142"/>
                  <a:gd name="T9" fmla="*/ 34 h 66"/>
                  <a:gd name="T10" fmla="*/ 62 w 142"/>
                  <a:gd name="T11" fmla="*/ 36 h 66"/>
                  <a:gd name="T12" fmla="*/ 72 w 142"/>
                  <a:gd name="T13" fmla="*/ 38 h 66"/>
                  <a:gd name="T14" fmla="*/ 98 w 142"/>
                  <a:gd name="T15" fmla="*/ 26 h 66"/>
                  <a:gd name="T16" fmla="*/ 100 w 142"/>
                  <a:gd name="T17" fmla="*/ 28 h 66"/>
                  <a:gd name="T18" fmla="*/ 114 w 142"/>
                  <a:gd name="T19" fmla="*/ 28 h 66"/>
                  <a:gd name="T20" fmla="*/ 128 w 142"/>
                  <a:gd name="T21" fmla="*/ 14 h 66"/>
                  <a:gd name="T22" fmla="*/ 132 w 142"/>
                  <a:gd name="T23" fmla="*/ 12 h 66"/>
                  <a:gd name="T24" fmla="*/ 138 w 142"/>
                  <a:gd name="T25" fmla="*/ 8 h 66"/>
                  <a:gd name="T26" fmla="*/ 138 w 142"/>
                  <a:gd name="T27" fmla="*/ 8 h 66"/>
                  <a:gd name="T28" fmla="*/ 134 w 142"/>
                  <a:gd name="T29" fmla="*/ 6 h 66"/>
                  <a:gd name="T30" fmla="*/ 136 w 142"/>
                  <a:gd name="T31" fmla="*/ 0 h 66"/>
                  <a:gd name="T32" fmla="*/ 140 w 142"/>
                  <a:gd name="T33" fmla="*/ 2 h 66"/>
                  <a:gd name="T34" fmla="*/ 142 w 142"/>
                  <a:gd name="T35" fmla="*/ 8 h 66"/>
                  <a:gd name="T36" fmla="*/ 130 w 142"/>
                  <a:gd name="T37" fmla="*/ 24 h 66"/>
                  <a:gd name="T38" fmla="*/ 114 w 142"/>
                  <a:gd name="T39" fmla="*/ 34 h 66"/>
                  <a:gd name="T40" fmla="*/ 106 w 142"/>
                  <a:gd name="T41" fmla="*/ 36 h 66"/>
                  <a:gd name="T42" fmla="*/ 94 w 142"/>
                  <a:gd name="T43" fmla="*/ 44 h 66"/>
                  <a:gd name="T44" fmla="*/ 74 w 142"/>
                  <a:gd name="T45" fmla="*/ 48 h 66"/>
                  <a:gd name="T46" fmla="*/ 56 w 142"/>
                  <a:gd name="T47" fmla="*/ 58 h 66"/>
                  <a:gd name="T48" fmla="*/ 2 w 142"/>
                  <a:gd name="T49" fmla="*/ 66 h 66"/>
                  <a:gd name="T50" fmla="*/ 0 w 142"/>
                  <a:gd name="T51" fmla="*/ 64 h 66"/>
                  <a:gd name="T52" fmla="*/ 0 w 142"/>
                  <a:gd name="T53" fmla="*/ 58 h 66"/>
                  <a:gd name="T54" fmla="*/ 0 w 142"/>
                  <a:gd name="T55" fmla="*/ 54 h 66"/>
                  <a:gd name="T56" fmla="*/ 6 w 142"/>
                  <a:gd name="T57" fmla="*/ 5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66">
                    <a:moveTo>
                      <a:pt x="6" y="50"/>
                    </a:moveTo>
                    <a:lnTo>
                      <a:pt x="8" y="50"/>
                    </a:lnTo>
                    <a:lnTo>
                      <a:pt x="36" y="34"/>
                    </a:lnTo>
                    <a:lnTo>
                      <a:pt x="40" y="36"/>
                    </a:lnTo>
                    <a:lnTo>
                      <a:pt x="58" y="34"/>
                    </a:lnTo>
                    <a:lnTo>
                      <a:pt x="62" y="36"/>
                    </a:lnTo>
                    <a:lnTo>
                      <a:pt x="72" y="38"/>
                    </a:lnTo>
                    <a:lnTo>
                      <a:pt x="98" y="26"/>
                    </a:lnTo>
                    <a:lnTo>
                      <a:pt x="100" y="28"/>
                    </a:lnTo>
                    <a:lnTo>
                      <a:pt x="114" y="28"/>
                    </a:lnTo>
                    <a:lnTo>
                      <a:pt x="128" y="14"/>
                    </a:lnTo>
                    <a:lnTo>
                      <a:pt x="132" y="12"/>
                    </a:lnTo>
                    <a:lnTo>
                      <a:pt x="138" y="8"/>
                    </a:lnTo>
                    <a:lnTo>
                      <a:pt x="138" y="8"/>
                    </a:lnTo>
                    <a:lnTo>
                      <a:pt x="134" y="6"/>
                    </a:lnTo>
                    <a:lnTo>
                      <a:pt x="136" y="0"/>
                    </a:lnTo>
                    <a:lnTo>
                      <a:pt x="140" y="2"/>
                    </a:lnTo>
                    <a:lnTo>
                      <a:pt x="142" y="8"/>
                    </a:lnTo>
                    <a:lnTo>
                      <a:pt x="130" y="24"/>
                    </a:lnTo>
                    <a:lnTo>
                      <a:pt x="114" y="34"/>
                    </a:lnTo>
                    <a:lnTo>
                      <a:pt x="106" y="36"/>
                    </a:lnTo>
                    <a:lnTo>
                      <a:pt x="94" y="44"/>
                    </a:lnTo>
                    <a:lnTo>
                      <a:pt x="74" y="48"/>
                    </a:lnTo>
                    <a:lnTo>
                      <a:pt x="56" y="58"/>
                    </a:lnTo>
                    <a:lnTo>
                      <a:pt x="2" y="66"/>
                    </a:lnTo>
                    <a:lnTo>
                      <a:pt x="0" y="64"/>
                    </a:lnTo>
                    <a:lnTo>
                      <a:pt x="0" y="58"/>
                    </a:lnTo>
                    <a:lnTo>
                      <a:pt x="0" y="54"/>
                    </a:lnTo>
                    <a:lnTo>
                      <a:pt x="6" y="5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12" name="Freeform 68"/>
              <p:cNvSpPr>
                <a:spLocks/>
              </p:cNvSpPr>
              <p:nvPr/>
            </p:nvSpPr>
            <p:spPr bwMode="auto">
              <a:xfrm>
                <a:off x="6688270" y="6418263"/>
                <a:ext cx="134133" cy="57150"/>
              </a:xfrm>
              <a:custGeom>
                <a:avLst/>
                <a:gdLst>
                  <a:gd name="T0" fmla="*/ 42 w 78"/>
                  <a:gd name="T1" fmla="*/ 0 h 36"/>
                  <a:gd name="T2" fmla="*/ 48 w 78"/>
                  <a:gd name="T3" fmla="*/ 6 h 36"/>
                  <a:gd name="T4" fmla="*/ 52 w 78"/>
                  <a:gd name="T5" fmla="*/ 4 h 36"/>
                  <a:gd name="T6" fmla="*/ 56 w 78"/>
                  <a:gd name="T7" fmla="*/ 6 h 36"/>
                  <a:gd name="T8" fmla="*/ 68 w 78"/>
                  <a:gd name="T9" fmla="*/ 10 h 36"/>
                  <a:gd name="T10" fmla="*/ 76 w 78"/>
                  <a:gd name="T11" fmla="*/ 18 h 36"/>
                  <a:gd name="T12" fmla="*/ 78 w 78"/>
                  <a:gd name="T13" fmla="*/ 24 h 36"/>
                  <a:gd name="T14" fmla="*/ 64 w 78"/>
                  <a:gd name="T15" fmla="*/ 34 h 36"/>
                  <a:gd name="T16" fmla="*/ 54 w 78"/>
                  <a:gd name="T17" fmla="*/ 36 h 36"/>
                  <a:gd name="T18" fmla="*/ 46 w 78"/>
                  <a:gd name="T19" fmla="*/ 30 h 36"/>
                  <a:gd name="T20" fmla="*/ 26 w 78"/>
                  <a:gd name="T21" fmla="*/ 24 h 36"/>
                  <a:gd name="T22" fmla="*/ 6 w 78"/>
                  <a:gd name="T23" fmla="*/ 28 h 36"/>
                  <a:gd name="T24" fmla="*/ 0 w 78"/>
                  <a:gd name="T25" fmla="*/ 22 h 36"/>
                  <a:gd name="T26" fmla="*/ 2 w 78"/>
                  <a:gd name="T27" fmla="*/ 16 h 36"/>
                  <a:gd name="T28" fmla="*/ 38 w 78"/>
                  <a:gd name="T29" fmla="*/ 4 h 36"/>
                  <a:gd name="T30" fmla="*/ 42 w 78"/>
                  <a:gd name="T3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36">
                    <a:moveTo>
                      <a:pt x="42" y="0"/>
                    </a:moveTo>
                    <a:lnTo>
                      <a:pt x="48" y="6"/>
                    </a:lnTo>
                    <a:lnTo>
                      <a:pt x="52" y="4"/>
                    </a:lnTo>
                    <a:lnTo>
                      <a:pt x="56" y="6"/>
                    </a:lnTo>
                    <a:lnTo>
                      <a:pt x="68" y="10"/>
                    </a:lnTo>
                    <a:lnTo>
                      <a:pt x="76" y="18"/>
                    </a:lnTo>
                    <a:lnTo>
                      <a:pt x="78" y="24"/>
                    </a:lnTo>
                    <a:lnTo>
                      <a:pt x="64" y="34"/>
                    </a:lnTo>
                    <a:lnTo>
                      <a:pt x="54" y="36"/>
                    </a:lnTo>
                    <a:lnTo>
                      <a:pt x="46" y="30"/>
                    </a:lnTo>
                    <a:lnTo>
                      <a:pt x="26" y="24"/>
                    </a:lnTo>
                    <a:lnTo>
                      <a:pt x="6" y="28"/>
                    </a:lnTo>
                    <a:lnTo>
                      <a:pt x="0" y="22"/>
                    </a:lnTo>
                    <a:lnTo>
                      <a:pt x="2" y="16"/>
                    </a:lnTo>
                    <a:lnTo>
                      <a:pt x="38" y="4"/>
                    </a:lnTo>
                    <a:lnTo>
                      <a:pt x="42"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13" name="Freeform 69"/>
              <p:cNvSpPr>
                <a:spLocks/>
              </p:cNvSpPr>
              <p:nvPr/>
            </p:nvSpPr>
            <p:spPr bwMode="auto">
              <a:xfrm>
                <a:off x="6688270" y="6418263"/>
                <a:ext cx="134133" cy="57150"/>
              </a:xfrm>
              <a:custGeom>
                <a:avLst/>
                <a:gdLst>
                  <a:gd name="T0" fmla="*/ 42 w 78"/>
                  <a:gd name="T1" fmla="*/ 0 h 36"/>
                  <a:gd name="T2" fmla="*/ 48 w 78"/>
                  <a:gd name="T3" fmla="*/ 6 h 36"/>
                  <a:gd name="T4" fmla="*/ 52 w 78"/>
                  <a:gd name="T5" fmla="*/ 4 h 36"/>
                  <a:gd name="T6" fmla="*/ 56 w 78"/>
                  <a:gd name="T7" fmla="*/ 6 h 36"/>
                  <a:gd name="T8" fmla="*/ 68 w 78"/>
                  <a:gd name="T9" fmla="*/ 10 h 36"/>
                  <a:gd name="T10" fmla="*/ 76 w 78"/>
                  <a:gd name="T11" fmla="*/ 18 h 36"/>
                  <a:gd name="T12" fmla="*/ 78 w 78"/>
                  <a:gd name="T13" fmla="*/ 24 h 36"/>
                  <a:gd name="T14" fmla="*/ 64 w 78"/>
                  <a:gd name="T15" fmla="*/ 34 h 36"/>
                  <a:gd name="T16" fmla="*/ 54 w 78"/>
                  <a:gd name="T17" fmla="*/ 36 h 36"/>
                  <a:gd name="T18" fmla="*/ 46 w 78"/>
                  <a:gd name="T19" fmla="*/ 30 h 36"/>
                  <a:gd name="T20" fmla="*/ 26 w 78"/>
                  <a:gd name="T21" fmla="*/ 24 h 36"/>
                  <a:gd name="T22" fmla="*/ 6 w 78"/>
                  <a:gd name="T23" fmla="*/ 28 h 36"/>
                  <a:gd name="T24" fmla="*/ 0 w 78"/>
                  <a:gd name="T25" fmla="*/ 22 h 36"/>
                  <a:gd name="T26" fmla="*/ 2 w 78"/>
                  <a:gd name="T27" fmla="*/ 16 h 36"/>
                  <a:gd name="T28" fmla="*/ 38 w 78"/>
                  <a:gd name="T29" fmla="*/ 4 h 36"/>
                  <a:gd name="T30" fmla="*/ 42 w 78"/>
                  <a:gd name="T3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36">
                    <a:moveTo>
                      <a:pt x="42" y="0"/>
                    </a:moveTo>
                    <a:lnTo>
                      <a:pt x="48" y="6"/>
                    </a:lnTo>
                    <a:lnTo>
                      <a:pt x="52" y="4"/>
                    </a:lnTo>
                    <a:lnTo>
                      <a:pt x="56" y="6"/>
                    </a:lnTo>
                    <a:lnTo>
                      <a:pt x="68" y="10"/>
                    </a:lnTo>
                    <a:lnTo>
                      <a:pt x="76" y="18"/>
                    </a:lnTo>
                    <a:lnTo>
                      <a:pt x="78" y="24"/>
                    </a:lnTo>
                    <a:lnTo>
                      <a:pt x="64" y="34"/>
                    </a:lnTo>
                    <a:lnTo>
                      <a:pt x="54" y="36"/>
                    </a:lnTo>
                    <a:lnTo>
                      <a:pt x="46" y="30"/>
                    </a:lnTo>
                    <a:lnTo>
                      <a:pt x="26" y="24"/>
                    </a:lnTo>
                    <a:lnTo>
                      <a:pt x="6" y="28"/>
                    </a:lnTo>
                    <a:lnTo>
                      <a:pt x="0" y="22"/>
                    </a:lnTo>
                    <a:lnTo>
                      <a:pt x="2" y="16"/>
                    </a:lnTo>
                    <a:lnTo>
                      <a:pt x="38" y="4"/>
                    </a:lnTo>
                    <a:lnTo>
                      <a:pt x="42"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14" name="Freeform 70"/>
              <p:cNvSpPr>
                <a:spLocks/>
              </p:cNvSpPr>
              <p:nvPr/>
            </p:nvSpPr>
            <p:spPr bwMode="auto">
              <a:xfrm>
                <a:off x="6519743" y="6373813"/>
                <a:ext cx="182284" cy="79375"/>
              </a:xfrm>
              <a:custGeom>
                <a:avLst/>
                <a:gdLst>
                  <a:gd name="T0" fmla="*/ 12 w 106"/>
                  <a:gd name="T1" fmla="*/ 24 h 50"/>
                  <a:gd name="T2" fmla="*/ 20 w 106"/>
                  <a:gd name="T3" fmla="*/ 20 h 50"/>
                  <a:gd name="T4" fmla="*/ 36 w 106"/>
                  <a:gd name="T5" fmla="*/ 20 h 50"/>
                  <a:gd name="T6" fmla="*/ 42 w 106"/>
                  <a:gd name="T7" fmla="*/ 22 h 50"/>
                  <a:gd name="T8" fmla="*/ 44 w 106"/>
                  <a:gd name="T9" fmla="*/ 26 h 50"/>
                  <a:gd name="T10" fmla="*/ 48 w 106"/>
                  <a:gd name="T11" fmla="*/ 26 h 50"/>
                  <a:gd name="T12" fmla="*/ 52 w 106"/>
                  <a:gd name="T13" fmla="*/ 26 h 50"/>
                  <a:gd name="T14" fmla="*/ 62 w 106"/>
                  <a:gd name="T15" fmla="*/ 20 h 50"/>
                  <a:gd name="T16" fmla="*/ 62 w 106"/>
                  <a:gd name="T17" fmla="*/ 18 h 50"/>
                  <a:gd name="T18" fmla="*/ 54 w 106"/>
                  <a:gd name="T19" fmla="*/ 16 h 50"/>
                  <a:gd name="T20" fmla="*/ 48 w 106"/>
                  <a:gd name="T21" fmla="*/ 12 h 50"/>
                  <a:gd name="T22" fmla="*/ 46 w 106"/>
                  <a:gd name="T23" fmla="*/ 6 h 50"/>
                  <a:gd name="T24" fmla="*/ 52 w 106"/>
                  <a:gd name="T25" fmla="*/ 2 h 50"/>
                  <a:gd name="T26" fmla="*/ 60 w 106"/>
                  <a:gd name="T27" fmla="*/ 4 h 50"/>
                  <a:gd name="T28" fmla="*/ 64 w 106"/>
                  <a:gd name="T29" fmla="*/ 8 h 50"/>
                  <a:gd name="T30" fmla="*/ 78 w 106"/>
                  <a:gd name="T31" fmla="*/ 4 h 50"/>
                  <a:gd name="T32" fmla="*/ 84 w 106"/>
                  <a:gd name="T33" fmla="*/ 6 h 50"/>
                  <a:gd name="T34" fmla="*/ 84 w 106"/>
                  <a:gd name="T35" fmla="*/ 10 h 50"/>
                  <a:gd name="T36" fmla="*/ 94 w 106"/>
                  <a:gd name="T37" fmla="*/ 0 h 50"/>
                  <a:gd name="T38" fmla="*/ 102 w 106"/>
                  <a:gd name="T39" fmla="*/ 6 h 50"/>
                  <a:gd name="T40" fmla="*/ 102 w 106"/>
                  <a:gd name="T41" fmla="*/ 12 h 50"/>
                  <a:gd name="T42" fmla="*/ 106 w 106"/>
                  <a:gd name="T43" fmla="*/ 14 h 50"/>
                  <a:gd name="T44" fmla="*/ 100 w 106"/>
                  <a:gd name="T45" fmla="*/ 16 h 50"/>
                  <a:gd name="T46" fmla="*/ 94 w 106"/>
                  <a:gd name="T47" fmla="*/ 16 h 50"/>
                  <a:gd name="T48" fmla="*/ 92 w 106"/>
                  <a:gd name="T49" fmla="*/ 18 h 50"/>
                  <a:gd name="T50" fmla="*/ 94 w 106"/>
                  <a:gd name="T51" fmla="*/ 20 h 50"/>
                  <a:gd name="T52" fmla="*/ 82 w 106"/>
                  <a:gd name="T53" fmla="*/ 24 h 50"/>
                  <a:gd name="T54" fmla="*/ 74 w 106"/>
                  <a:gd name="T55" fmla="*/ 24 h 50"/>
                  <a:gd name="T56" fmla="*/ 74 w 106"/>
                  <a:gd name="T57" fmla="*/ 20 h 50"/>
                  <a:gd name="T58" fmla="*/ 18 w 106"/>
                  <a:gd name="T59" fmla="*/ 48 h 50"/>
                  <a:gd name="T60" fmla="*/ 8 w 106"/>
                  <a:gd name="T61" fmla="*/ 50 h 50"/>
                  <a:gd name="T62" fmla="*/ 2 w 106"/>
                  <a:gd name="T63" fmla="*/ 50 h 50"/>
                  <a:gd name="T64" fmla="*/ 0 w 106"/>
                  <a:gd name="T65" fmla="*/ 46 h 50"/>
                  <a:gd name="T66" fmla="*/ 0 w 106"/>
                  <a:gd name="T67" fmla="*/ 36 h 50"/>
                  <a:gd name="T68" fmla="*/ 10 w 106"/>
                  <a:gd name="T69" fmla="*/ 28 h 50"/>
                  <a:gd name="T70" fmla="*/ 12 w 106"/>
                  <a:gd name="T71"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50">
                    <a:moveTo>
                      <a:pt x="12" y="24"/>
                    </a:moveTo>
                    <a:lnTo>
                      <a:pt x="20" y="20"/>
                    </a:lnTo>
                    <a:lnTo>
                      <a:pt x="36" y="20"/>
                    </a:lnTo>
                    <a:lnTo>
                      <a:pt x="42" y="22"/>
                    </a:lnTo>
                    <a:lnTo>
                      <a:pt x="44" y="26"/>
                    </a:lnTo>
                    <a:lnTo>
                      <a:pt x="48" y="26"/>
                    </a:lnTo>
                    <a:lnTo>
                      <a:pt x="52" y="26"/>
                    </a:lnTo>
                    <a:lnTo>
                      <a:pt x="62" y="20"/>
                    </a:lnTo>
                    <a:lnTo>
                      <a:pt x="62" y="18"/>
                    </a:lnTo>
                    <a:lnTo>
                      <a:pt x="54" y="16"/>
                    </a:lnTo>
                    <a:lnTo>
                      <a:pt x="48" y="12"/>
                    </a:lnTo>
                    <a:lnTo>
                      <a:pt x="46" y="6"/>
                    </a:lnTo>
                    <a:lnTo>
                      <a:pt x="52" y="2"/>
                    </a:lnTo>
                    <a:lnTo>
                      <a:pt x="60" y="4"/>
                    </a:lnTo>
                    <a:lnTo>
                      <a:pt x="64" y="8"/>
                    </a:lnTo>
                    <a:lnTo>
                      <a:pt x="78" y="4"/>
                    </a:lnTo>
                    <a:lnTo>
                      <a:pt x="84" y="6"/>
                    </a:lnTo>
                    <a:lnTo>
                      <a:pt x="84" y="10"/>
                    </a:lnTo>
                    <a:lnTo>
                      <a:pt x="94" y="0"/>
                    </a:lnTo>
                    <a:lnTo>
                      <a:pt x="102" y="6"/>
                    </a:lnTo>
                    <a:lnTo>
                      <a:pt x="102" y="12"/>
                    </a:lnTo>
                    <a:lnTo>
                      <a:pt x="106" y="14"/>
                    </a:lnTo>
                    <a:lnTo>
                      <a:pt x="100" y="16"/>
                    </a:lnTo>
                    <a:lnTo>
                      <a:pt x="94" y="16"/>
                    </a:lnTo>
                    <a:lnTo>
                      <a:pt x="92" y="18"/>
                    </a:lnTo>
                    <a:lnTo>
                      <a:pt x="94" y="20"/>
                    </a:lnTo>
                    <a:lnTo>
                      <a:pt x="82" y="24"/>
                    </a:lnTo>
                    <a:lnTo>
                      <a:pt x="74" y="24"/>
                    </a:lnTo>
                    <a:lnTo>
                      <a:pt x="74" y="20"/>
                    </a:lnTo>
                    <a:lnTo>
                      <a:pt x="18" y="48"/>
                    </a:lnTo>
                    <a:lnTo>
                      <a:pt x="8" y="50"/>
                    </a:lnTo>
                    <a:lnTo>
                      <a:pt x="2" y="50"/>
                    </a:lnTo>
                    <a:lnTo>
                      <a:pt x="0" y="46"/>
                    </a:lnTo>
                    <a:lnTo>
                      <a:pt x="0" y="36"/>
                    </a:lnTo>
                    <a:lnTo>
                      <a:pt x="10" y="28"/>
                    </a:lnTo>
                    <a:lnTo>
                      <a:pt x="12" y="2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15" name="Freeform 71"/>
              <p:cNvSpPr>
                <a:spLocks/>
              </p:cNvSpPr>
              <p:nvPr/>
            </p:nvSpPr>
            <p:spPr bwMode="auto">
              <a:xfrm>
                <a:off x="6519743" y="6373813"/>
                <a:ext cx="182284" cy="79375"/>
              </a:xfrm>
              <a:custGeom>
                <a:avLst/>
                <a:gdLst>
                  <a:gd name="T0" fmla="*/ 12 w 106"/>
                  <a:gd name="T1" fmla="*/ 24 h 50"/>
                  <a:gd name="T2" fmla="*/ 20 w 106"/>
                  <a:gd name="T3" fmla="*/ 20 h 50"/>
                  <a:gd name="T4" fmla="*/ 36 w 106"/>
                  <a:gd name="T5" fmla="*/ 20 h 50"/>
                  <a:gd name="T6" fmla="*/ 42 w 106"/>
                  <a:gd name="T7" fmla="*/ 22 h 50"/>
                  <a:gd name="T8" fmla="*/ 44 w 106"/>
                  <a:gd name="T9" fmla="*/ 26 h 50"/>
                  <a:gd name="T10" fmla="*/ 48 w 106"/>
                  <a:gd name="T11" fmla="*/ 26 h 50"/>
                  <a:gd name="T12" fmla="*/ 52 w 106"/>
                  <a:gd name="T13" fmla="*/ 26 h 50"/>
                  <a:gd name="T14" fmla="*/ 62 w 106"/>
                  <a:gd name="T15" fmla="*/ 20 h 50"/>
                  <a:gd name="T16" fmla="*/ 62 w 106"/>
                  <a:gd name="T17" fmla="*/ 18 h 50"/>
                  <a:gd name="T18" fmla="*/ 54 w 106"/>
                  <a:gd name="T19" fmla="*/ 16 h 50"/>
                  <a:gd name="T20" fmla="*/ 48 w 106"/>
                  <a:gd name="T21" fmla="*/ 12 h 50"/>
                  <a:gd name="T22" fmla="*/ 46 w 106"/>
                  <a:gd name="T23" fmla="*/ 6 h 50"/>
                  <a:gd name="T24" fmla="*/ 52 w 106"/>
                  <a:gd name="T25" fmla="*/ 2 h 50"/>
                  <a:gd name="T26" fmla="*/ 60 w 106"/>
                  <a:gd name="T27" fmla="*/ 4 h 50"/>
                  <a:gd name="T28" fmla="*/ 64 w 106"/>
                  <a:gd name="T29" fmla="*/ 8 h 50"/>
                  <a:gd name="T30" fmla="*/ 78 w 106"/>
                  <a:gd name="T31" fmla="*/ 4 h 50"/>
                  <a:gd name="T32" fmla="*/ 84 w 106"/>
                  <a:gd name="T33" fmla="*/ 6 h 50"/>
                  <a:gd name="T34" fmla="*/ 84 w 106"/>
                  <a:gd name="T35" fmla="*/ 10 h 50"/>
                  <a:gd name="T36" fmla="*/ 94 w 106"/>
                  <a:gd name="T37" fmla="*/ 0 h 50"/>
                  <a:gd name="T38" fmla="*/ 102 w 106"/>
                  <a:gd name="T39" fmla="*/ 6 h 50"/>
                  <a:gd name="T40" fmla="*/ 102 w 106"/>
                  <a:gd name="T41" fmla="*/ 12 h 50"/>
                  <a:gd name="T42" fmla="*/ 106 w 106"/>
                  <a:gd name="T43" fmla="*/ 14 h 50"/>
                  <a:gd name="T44" fmla="*/ 100 w 106"/>
                  <a:gd name="T45" fmla="*/ 16 h 50"/>
                  <a:gd name="T46" fmla="*/ 94 w 106"/>
                  <a:gd name="T47" fmla="*/ 16 h 50"/>
                  <a:gd name="T48" fmla="*/ 92 w 106"/>
                  <a:gd name="T49" fmla="*/ 18 h 50"/>
                  <a:gd name="T50" fmla="*/ 94 w 106"/>
                  <a:gd name="T51" fmla="*/ 20 h 50"/>
                  <a:gd name="T52" fmla="*/ 82 w 106"/>
                  <a:gd name="T53" fmla="*/ 24 h 50"/>
                  <a:gd name="T54" fmla="*/ 74 w 106"/>
                  <a:gd name="T55" fmla="*/ 24 h 50"/>
                  <a:gd name="T56" fmla="*/ 74 w 106"/>
                  <a:gd name="T57" fmla="*/ 20 h 50"/>
                  <a:gd name="T58" fmla="*/ 18 w 106"/>
                  <a:gd name="T59" fmla="*/ 48 h 50"/>
                  <a:gd name="T60" fmla="*/ 8 w 106"/>
                  <a:gd name="T61" fmla="*/ 50 h 50"/>
                  <a:gd name="T62" fmla="*/ 2 w 106"/>
                  <a:gd name="T63" fmla="*/ 50 h 50"/>
                  <a:gd name="T64" fmla="*/ 0 w 106"/>
                  <a:gd name="T65" fmla="*/ 46 h 50"/>
                  <a:gd name="T66" fmla="*/ 0 w 106"/>
                  <a:gd name="T67" fmla="*/ 36 h 50"/>
                  <a:gd name="T68" fmla="*/ 10 w 106"/>
                  <a:gd name="T69" fmla="*/ 28 h 50"/>
                  <a:gd name="T70" fmla="*/ 12 w 106"/>
                  <a:gd name="T71"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50">
                    <a:moveTo>
                      <a:pt x="12" y="24"/>
                    </a:moveTo>
                    <a:lnTo>
                      <a:pt x="20" y="20"/>
                    </a:lnTo>
                    <a:lnTo>
                      <a:pt x="36" y="20"/>
                    </a:lnTo>
                    <a:lnTo>
                      <a:pt x="42" y="22"/>
                    </a:lnTo>
                    <a:lnTo>
                      <a:pt x="44" y="26"/>
                    </a:lnTo>
                    <a:lnTo>
                      <a:pt x="48" y="26"/>
                    </a:lnTo>
                    <a:lnTo>
                      <a:pt x="52" y="26"/>
                    </a:lnTo>
                    <a:lnTo>
                      <a:pt x="62" y="20"/>
                    </a:lnTo>
                    <a:lnTo>
                      <a:pt x="62" y="18"/>
                    </a:lnTo>
                    <a:lnTo>
                      <a:pt x="54" y="16"/>
                    </a:lnTo>
                    <a:lnTo>
                      <a:pt x="48" y="12"/>
                    </a:lnTo>
                    <a:lnTo>
                      <a:pt x="46" y="6"/>
                    </a:lnTo>
                    <a:lnTo>
                      <a:pt x="52" y="2"/>
                    </a:lnTo>
                    <a:lnTo>
                      <a:pt x="60" y="4"/>
                    </a:lnTo>
                    <a:lnTo>
                      <a:pt x="64" y="8"/>
                    </a:lnTo>
                    <a:lnTo>
                      <a:pt x="78" y="4"/>
                    </a:lnTo>
                    <a:lnTo>
                      <a:pt x="84" y="6"/>
                    </a:lnTo>
                    <a:lnTo>
                      <a:pt x="84" y="10"/>
                    </a:lnTo>
                    <a:lnTo>
                      <a:pt x="94" y="0"/>
                    </a:lnTo>
                    <a:lnTo>
                      <a:pt x="102" y="6"/>
                    </a:lnTo>
                    <a:lnTo>
                      <a:pt x="102" y="12"/>
                    </a:lnTo>
                    <a:lnTo>
                      <a:pt x="106" y="14"/>
                    </a:lnTo>
                    <a:lnTo>
                      <a:pt x="100" y="16"/>
                    </a:lnTo>
                    <a:lnTo>
                      <a:pt x="94" y="16"/>
                    </a:lnTo>
                    <a:lnTo>
                      <a:pt x="92" y="18"/>
                    </a:lnTo>
                    <a:lnTo>
                      <a:pt x="94" y="20"/>
                    </a:lnTo>
                    <a:lnTo>
                      <a:pt x="82" y="24"/>
                    </a:lnTo>
                    <a:lnTo>
                      <a:pt x="74" y="24"/>
                    </a:lnTo>
                    <a:lnTo>
                      <a:pt x="74" y="20"/>
                    </a:lnTo>
                    <a:lnTo>
                      <a:pt x="18" y="48"/>
                    </a:lnTo>
                    <a:lnTo>
                      <a:pt x="8" y="50"/>
                    </a:lnTo>
                    <a:lnTo>
                      <a:pt x="2" y="50"/>
                    </a:lnTo>
                    <a:lnTo>
                      <a:pt x="0" y="46"/>
                    </a:lnTo>
                    <a:lnTo>
                      <a:pt x="0" y="36"/>
                    </a:lnTo>
                    <a:lnTo>
                      <a:pt x="10" y="28"/>
                    </a:lnTo>
                    <a:lnTo>
                      <a:pt x="12" y="2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16" name="Freeform 72"/>
              <p:cNvSpPr>
                <a:spLocks/>
              </p:cNvSpPr>
              <p:nvPr/>
            </p:nvSpPr>
            <p:spPr bwMode="auto">
              <a:xfrm>
                <a:off x="6450957" y="6408738"/>
                <a:ext cx="61908" cy="50800"/>
              </a:xfrm>
              <a:custGeom>
                <a:avLst/>
                <a:gdLst>
                  <a:gd name="T0" fmla="*/ 6 w 36"/>
                  <a:gd name="T1" fmla="*/ 14 h 32"/>
                  <a:gd name="T2" fmla="*/ 20 w 36"/>
                  <a:gd name="T3" fmla="*/ 2 h 32"/>
                  <a:gd name="T4" fmla="*/ 28 w 36"/>
                  <a:gd name="T5" fmla="*/ 0 h 32"/>
                  <a:gd name="T6" fmla="*/ 34 w 36"/>
                  <a:gd name="T7" fmla="*/ 2 h 32"/>
                  <a:gd name="T8" fmla="*/ 36 w 36"/>
                  <a:gd name="T9" fmla="*/ 10 h 32"/>
                  <a:gd name="T10" fmla="*/ 32 w 36"/>
                  <a:gd name="T11" fmla="*/ 18 h 32"/>
                  <a:gd name="T12" fmla="*/ 30 w 36"/>
                  <a:gd name="T13" fmla="*/ 26 h 32"/>
                  <a:gd name="T14" fmla="*/ 6 w 36"/>
                  <a:gd name="T15" fmla="*/ 32 h 32"/>
                  <a:gd name="T16" fmla="*/ 0 w 36"/>
                  <a:gd name="T17" fmla="*/ 32 h 32"/>
                  <a:gd name="T18" fmla="*/ 0 w 36"/>
                  <a:gd name="T19" fmla="*/ 26 h 32"/>
                  <a:gd name="T20" fmla="*/ 6 w 36"/>
                  <a:gd name="T21" fmla="*/ 24 h 32"/>
                  <a:gd name="T22" fmla="*/ 6 w 36"/>
                  <a:gd name="T23"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2">
                    <a:moveTo>
                      <a:pt x="6" y="14"/>
                    </a:moveTo>
                    <a:lnTo>
                      <a:pt x="20" y="2"/>
                    </a:lnTo>
                    <a:lnTo>
                      <a:pt x="28" y="0"/>
                    </a:lnTo>
                    <a:lnTo>
                      <a:pt x="34" y="2"/>
                    </a:lnTo>
                    <a:lnTo>
                      <a:pt x="36" y="10"/>
                    </a:lnTo>
                    <a:lnTo>
                      <a:pt x="32" y="18"/>
                    </a:lnTo>
                    <a:lnTo>
                      <a:pt x="30" y="26"/>
                    </a:lnTo>
                    <a:lnTo>
                      <a:pt x="6" y="32"/>
                    </a:lnTo>
                    <a:lnTo>
                      <a:pt x="0" y="32"/>
                    </a:lnTo>
                    <a:lnTo>
                      <a:pt x="0" y="26"/>
                    </a:lnTo>
                    <a:lnTo>
                      <a:pt x="6" y="24"/>
                    </a:lnTo>
                    <a:lnTo>
                      <a:pt x="6" y="1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17" name="Freeform 73"/>
              <p:cNvSpPr>
                <a:spLocks/>
              </p:cNvSpPr>
              <p:nvPr/>
            </p:nvSpPr>
            <p:spPr bwMode="auto">
              <a:xfrm>
                <a:off x="6450957" y="6408738"/>
                <a:ext cx="61908" cy="50800"/>
              </a:xfrm>
              <a:custGeom>
                <a:avLst/>
                <a:gdLst>
                  <a:gd name="T0" fmla="*/ 6 w 36"/>
                  <a:gd name="T1" fmla="*/ 14 h 32"/>
                  <a:gd name="T2" fmla="*/ 20 w 36"/>
                  <a:gd name="T3" fmla="*/ 2 h 32"/>
                  <a:gd name="T4" fmla="*/ 28 w 36"/>
                  <a:gd name="T5" fmla="*/ 0 h 32"/>
                  <a:gd name="T6" fmla="*/ 34 w 36"/>
                  <a:gd name="T7" fmla="*/ 2 h 32"/>
                  <a:gd name="T8" fmla="*/ 36 w 36"/>
                  <a:gd name="T9" fmla="*/ 10 h 32"/>
                  <a:gd name="T10" fmla="*/ 32 w 36"/>
                  <a:gd name="T11" fmla="*/ 18 h 32"/>
                  <a:gd name="T12" fmla="*/ 30 w 36"/>
                  <a:gd name="T13" fmla="*/ 26 h 32"/>
                  <a:gd name="T14" fmla="*/ 6 w 36"/>
                  <a:gd name="T15" fmla="*/ 32 h 32"/>
                  <a:gd name="T16" fmla="*/ 0 w 36"/>
                  <a:gd name="T17" fmla="*/ 32 h 32"/>
                  <a:gd name="T18" fmla="*/ 0 w 36"/>
                  <a:gd name="T19" fmla="*/ 26 h 32"/>
                  <a:gd name="T20" fmla="*/ 6 w 36"/>
                  <a:gd name="T21" fmla="*/ 24 h 32"/>
                  <a:gd name="T22" fmla="*/ 6 w 36"/>
                  <a:gd name="T23"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2">
                    <a:moveTo>
                      <a:pt x="6" y="14"/>
                    </a:moveTo>
                    <a:lnTo>
                      <a:pt x="20" y="2"/>
                    </a:lnTo>
                    <a:lnTo>
                      <a:pt x="28" y="0"/>
                    </a:lnTo>
                    <a:lnTo>
                      <a:pt x="34" y="2"/>
                    </a:lnTo>
                    <a:lnTo>
                      <a:pt x="36" y="10"/>
                    </a:lnTo>
                    <a:lnTo>
                      <a:pt x="32" y="18"/>
                    </a:lnTo>
                    <a:lnTo>
                      <a:pt x="30" y="26"/>
                    </a:lnTo>
                    <a:lnTo>
                      <a:pt x="6" y="32"/>
                    </a:lnTo>
                    <a:lnTo>
                      <a:pt x="0" y="32"/>
                    </a:lnTo>
                    <a:lnTo>
                      <a:pt x="0" y="26"/>
                    </a:lnTo>
                    <a:lnTo>
                      <a:pt x="6" y="24"/>
                    </a:lnTo>
                    <a:lnTo>
                      <a:pt x="6" y="1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18" name="Freeform 74"/>
              <p:cNvSpPr>
                <a:spLocks/>
              </p:cNvSpPr>
              <p:nvPr/>
            </p:nvSpPr>
            <p:spPr bwMode="auto">
              <a:xfrm>
                <a:off x="6344338" y="6418263"/>
                <a:ext cx="85983" cy="47625"/>
              </a:xfrm>
              <a:custGeom>
                <a:avLst/>
                <a:gdLst>
                  <a:gd name="T0" fmla="*/ 22 w 50"/>
                  <a:gd name="T1" fmla="*/ 4 h 30"/>
                  <a:gd name="T2" fmla="*/ 24 w 50"/>
                  <a:gd name="T3" fmla="*/ 4 h 30"/>
                  <a:gd name="T4" fmla="*/ 30 w 50"/>
                  <a:gd name="T5" fmla="*/ 0 h 30"/>
                  <a:gd name="T6" fmla="*/ 46 w 50"/>
                  <a:gd name="T7" fmla="*/ 2 h 30"/>
                  <a:gd name="T8" fmla="*/ 50 w 50"/>
                  <a:gd name="T9" fmla="*/ 6 h 30"/>
                  <a:gd name="T10" fmla="*/ 50 w 50"/>
                  <a:gd name="T11" fmla="*/ 12 h 30"/>
                  <a:gd name="T12" fmla="*/ 36 w 50"/>
                  <a:gd name="T13" fmla="*/ 22 h 30"/>
                  <a:gd name="T14" fmla="*/ 30 w 50"/>
                  <a:gd name="T15" fmla="*/ 30 h 30"/>
                  <a:gd name="T16" fmla="*/ 28 w 50"/>
                  <a:gd name="T17" fmla="*/ 26 h 30"/>
                  <a:gd name="T18" fmla="*/ 24 w 50"/>
                  <a:gd name="T19" fmla="*/ 20 h 30"/>
                  <a:gd name="T20" fmla="*/ 18 w 50"/>
                  <a:gd name="T21" fmla="*/ 16 h 30"/>
                  <a:gd name="T22" fmla="*/ 4 w 50"/>
                  <a:gd name="T23" fmla="*/ 18 h 30"/>
                  <a:gd name="T24" fmla="*/ 0 w 50"/>
                  <a:gd name="T25" fmla="*/ 16 h 30"/>
                  <a:gd name="T26" fmla="*/ 0 w 50"/>
                  <a:gd name="T27" fmla="*/ 10 h 30"/>
                  <a:gd name="T28" fmla="*/ 2 w 50"/>
                  <a:gd name="T29" fmla="*/ 6 h 30"/>
                  <a:gd name="T30" fmla="*/ 22 w 50"/>
                  <a:gd name="T3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30">
                    <a:moveTo>
                      <a:pt x="22" y="4"/>
                    </a:moveTo>
                    <a:lnTo>
                      <a:pt x="24" y="4"/>
                    </a:lnTo>
                    <a:lnTo>
                      <a:pt x="30" y="0"/>
                    </a:lnTo>
                    <a:lnTo>
                      <a:pt x="46" y="2"/>
                    </a:lnTo>
                    <a:lnTo>
                      <a:pt x="50" y="6"/>
                    </a:lnTo>
                    <a:lnTo>
                      <a:pt x="50" y="12"/>
                    </a:lnTo>
                    <a:lnTo>
                      <a:pt x="36" y="22"/>
                    </a:lnTo>
                    <a:lnTo>
                      <a:pt x="30" y="30"/>
                    </a:lnTo>
                    <a:lnTo>
                      <a:pt x="28" y="26"/>
                    </a:lnTo>
                    <a:lnTo>
                      <a:pt x="24" y="20"/>
                    </a:lnTo>
                    <a:lnTo>
                      <a:pt x="18" y="16"/>
                    </a:lnTo>
                    <a:lnTo>
                      <a:pt x="4" y="18"/>
                    </a:lnTo>
                    <a:lnTo>
                      <a:pt x="0" y="16"/>
                    </a:lnTo>
                    <a:lnTo>
                      <a:pt x="0" y="10"/>
                    </a:lnTo>
                    <a:lnTo>
                      <a:pt x="2" y="6"/>
                    </a:lnTo>
                    <a:lnTo>
                      <a:pt x="22"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19" name="Freeform 75"/>
              <p:cNvSpPr>
                <a:spLocks/>
              </p:cNvSpPr>
              <p:nvPr/>
            </p:nvSpPr>
            <p:spPr bwMode="auto">
              <a:xfrm>
                <a:off x="6344338" y="6418263"/>
                <a:ext cx="85983" cy="47625"/>
              </a:xfrm>
              <a:custGeom>
                <a:avLst/>
                <a:gdLst>
                  <a:gd name="T0" fmla="*/ 22 w 50"/>
                  <a:gd name="T1" fmla="*/ 4 h 30"/>
                  <a:gd name="T2" fmla="*/ 24 w 50"/>
                  <a:gd name="T3" fmla="*/ 4 h 30"/>
                  <a:gd name="T4" fmla="*/ 30 w 50"/>
                  <a:gd name="T5" fmla="*/ 0 h 30"/>
                  <a:gd name="T6" fmla="*/ 46 w 50"/>
                  <a:gd name="T7" fmla="*/ 2 h 30"/>
                  <a:gd name="T8" fmla="*/ 50 w 50"/>
                  <a:gd name="T9" fmla="*/ 6 h 30"/>
                  <a:gd name="T10" fmla="*/ 50 w 50"/>
                  <a:gd name="T11" fmla="*/ 12 h 30"/>
                  <a:gd name="T12" fmla="*/ 36 w 50"/>
                  <a:gd name="T13" fmla="*/ 22 h 30"/>
                  <a:gd name="T14" fmla="*/ 30 w 50"/>
                  <a:gd name="T15" fmla="*/ 30 h 30"/>
                  <a:gd name="T16" fmla="*/ 28 w 50"/>
                  <a:gd name="T17" fmla="*/ 26 h 30"/>
                  <a:gd name="T18" fmla="*/ 24 w 50"/>
                  <a:gd name="T19" fmla="*/ 20 h 30"/>
                  <a:gd name="T20" fmla="*/ 18 w 50"/>
                  <a:gd name="T21" fmla="*/ 16 h 30"/>
                  <a:gd name="T22" fmla="*/ 4 w 50"/>
                  <a:gd name="T23" fmla="*/ 18 h 30"/>
                  <a:gd name="T24" fmla="*/ 0 w 50"/>
                  <a:gd name="T25" fmla="*/ 16 h 30"/>
                  <a:gd name="T26" fmla="*/ 0 w 50"/>
                  <a:gd name="T27" fmla="*/ 10 h 30"/>
                  <a:gd name="T28" fmla="*/ 2 w 50"/>
                  <a:gd name="T29" fmla="*/ 6 h 30"/>
                  <a:gd name="T30" fmla="*/ 22 w 50"/>
                  <a:gd name="T3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30">
                    <a:moveTo>
                      <a:pt x="22" y="4"/>
                    </a:moveTo>
                    <a:lnTo>
                      <a:pt x="24" y="4"/>
                    </a:lnTo>
                    <a:lnTo>
                      <a:pt x="30" y="0"/>
                    </a:lnTo>
                    <a:lnTo>
                      <a:pt x="46" y="2"/>
                    </a:lnTo>
                    <a:lnTo>
                      <a:pt x="50" y="6"/>
                    </a:lnTo>
                    <a:lnTo>
                      <a:pt x="50" y="12"/>
                    </a:lnTo>
                    <a:lnTo>
                      <a:pt x="36" y="22"/>
                    </a:lnTo>
                    <a:lnTo>
                      <a:pt x="30" y="30"/>
                    </a:lnTo>
                    <a:lnTo>
                      <a:pt x="28" y="26"/>
                    </a:lnTo>
                    <a:lnTo>
                      <a:pt x="24" y="20"/>
                    </a:lnTo>
                    <a:lnTo>
                      <a:pt x="18" y="16"/>
                    </a:lnTo>
                    <a:lnTo>
                      <a:pt x="4" y="18"/>
                    </a:lnTo>
                    <a:lnTo>
                      <a:pt x="0" y="16"/>
                    </a:lnTo>
                    <a:lnTo>
                      <a:pt x="0" y="10"/>
                    </a:lnTo>
                    <a:lnTo>
                      <a:pt x="2" y="6"/>
                    </a:lnTo>
                    <a:lnTo>
                      <a:pt x="22"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20" name="Freeform 76"/>
              <p:cNvSpPr>
                <a:spLocks/>
              </p:cNvSpPr>
              <p:nvPr/>
            </p:nvSpPr>
            <p:spPr bwMode="auto">
              <a:xfrm>
                <a:off x="6213644" y="6364288"/>
                <a:ext cx="96301" cy="31750"/>
              </a:xfrm>
              <a:custGeom>
                <a:avLst/>
                <a:gdLst>
                  <a:gd name="T0" fmla="*/ 0 w 56"/>
                  <a:gd name="T1" fmla="*/ 12 h 20"/>
                  <a:gd name="T2" fmla="*/ 4 w 56"/>
                  <a:gd name="T3" fmla="*/ 12 h 20"/>
                  <a:gd name="T4" fmla="*/ 10 w 56"/>
                  <a:gd name="T5" fmla="*/ 8 h 20"/>
                  <a:gd name="T6" fmla="*/ 54 w 56"/>
                  <a:gd name="T7" fmla="*/ 0 h 20"/>
                  <a:gd name="T8" fmla="*/ 56 w 56"/>
                  <a:gd name="T9" fmla="*/ 6 h 20"/>
                  <a:gd name="T10" fmla="*/ 32 w 56"/>
                  <a:gd name="T11" fmla="*/ 18 h 20"/>
                  <a:gd name="T12" fmla="*/ 6 w 56"/>
                  <a:gd name="T13" fmla="*/ 20 h 20"/>
                  <a:gd name="T14" fmla="*/ 2 w 56"/>
                  <a:gd name="T15" fmla="*/ 18 h 20"/>
                  <a:gd name="T16" fmla="*/ 0 w 56"/>
                  <a:gd name="T17" fmla="*/ 16 h 20"/>
                  <a:gd name="T18" fmla="*/ 0 w 56"/>
                  <a:gd name="T19"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0">
                    <a:moveTo>
                      <a:pt x="0" y="12"/>
                    </a:moveTo>
                    <a:lnTo>
                      <a:pt x="4" y="12"/>
                    </a:lnTo>
                    <a:lnTo>
                      <a:pt x="10" y="8"/>
                    </a:lnTo>
                    <a:lnTo>
                      <a:pt x="54" y="0"/>
                    </a:lnTo>
                    <a:lnTo>
                      <a:pt x="56" y="6"/>
                    </a:lnTo>
                    <a:lnTo>
                      <a:pt x="32" y="18"/>
                    </a:lnTo>
                    <a:lnTo>
                      <a:pt x="6" y="20"/>
                    </a:lnTo>
                    <a:lnTo>
                      <a:pt x="2" y="18"/>
                    </a:lnTo>
                    <a:lnTo>
                      <a:pt x="0" y="16"/>
                    </a:lnTo>
                    <a:lnTo>
                      <a:pt x="0" y="1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21" name="Freeform 77"/>
              <p:cNvSpPr>
                <a:spLocks/>
              </p:cNvSpPr>
              <p:nvPr/>
            </p:nvSpPr>
            <p:spPr bwMode="auto">
              <a:xfrm>
                <a:off x="6213644" y="6364288"/>
                <a:ext cx="96301" cy="31750"/>
              </a:xfrm>
              <a:custGeom>
                <a:avLst/>
                <a:gdLst>
                  <a:gd name="T0" fmla="*/ 0 w 56"/>
                  <a:gd name="T1" fmla="*/ 12 h 20"/>
                  <a:gd name="T2" fmla="*/ 4 w 56"/>
                  <a:gd name="T3" fmla="*/ 12 h 20"/>
                  <a:gd name="T4" fmla="*/ 10 w 56"/>
                  <a:gd name="T5" fmla="*/ 8 h 20"/>
                  <a:gd name="T6" fmla="*/ 54 w 56"/>
                  <a:gd name="T7" fmla="*/ 0 h 20"/>
                  <a:gd name="T8" fmla="*/ 56 w 56"/>
                  <a:gd name="T9" fmla="*/ 6 h 20"/>
                  <a:gd name="T10" fmla="*/ 32 w 56"/>
                  <a:gd name="T11" fmla="*/ 18 h 20"/>
                  <a:gd name="T12" fmla="*/ 6 w 56"/>
                  <a:gd name="T13" fmla="*/ 20 h 20"/>
                  <a:gd name="T14" fmla="*/ 2 w 56"/>
                  <a:gd name="T15" fmla="*/ 18 h 20"/>
                  <a:gd name="T16" fmla="*/ 0 w 56"/>
                  <a:gd name="T17" fmla="*/ 16 h 20"/>
                  <a:gd name="T18" fmla="*/ 0 w 56"/>
                  <a:gd name="T19"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0">
                    <a:moveTo>
                      <a:pt x="0" y="12"/>
                    </a:moveTo>
                    <a:lnTo>
                      <a:pt x="4" y="12"/>
                    </a:lnTo>
                    <a:lnTo>
                      <a:pt x="10" y="8"/>
                    </a:lnTo>
                    <a:lnTo>
                      <a:pt x="54" y="0"/>
                    </a:lnTo>
                    <a:lnTo>
                      <a:pt x="56" y="6"/>
                    </a:lnTo>
                    <a:lnTo>
                      <a:pt x="32" y="18"/>
                    </a:lnTo>
                    <a:lnTo>
                      <a:pt x="6" y="20"/>
                    </a:lnTo>
                    <a:lnTo>
                      <a:pt x="2" y="18"/>
                    </a:lnTo>
                    <a:lnTo>
                      <a:pt x="0" y="16"/>
                    </a:lnTo>
                    <a:lnTo>
                      <a:pt x="0" y="1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22" name="Freeform 78"/>
              <p:cNvSpPr>
                <a:spLocks/>
              </p:cNvSpPr>
              <p:nvPr/>
            </p:nvSpPr>
            <p:spPr bwMode="auto">
              <a:xfrm>
                <a:off x="6406246" y="6335713"/>
                <a:ext cx="24075" cy="15875"/>
              </a:xfrm>
              <a:custGeom>
                <a:avLst/>
                <a:gdLst>
                  <a:gd name="T0" fmla="*/ 0 w 14"/>
                  <a:gd name="T1" fmla="*/ 2 h 10"/>
                  <a:gd name="T2" fmla="*/ 12 w 14"/>
                  <a:gd name="T3" fmla="*/ 0 h 10"/>
                  <a:gd name="T4" fmla="*/ 14 w 14"/>
                  <a:gd name="T5" fmla="*/ 0 h 10"/>
                  <a:gd name="T6" fmla="*/ 14 w 14"/>
                  <a:gd name="T7" fmla="*/ 4 h 10"/>
                  <a:gd name="T8" fmla="*/ 4 w 14"/>
                  <a:gd name="T9" fmla="*/ 10 h 10"/>
                  <a:gd name="T10" fmla="*/ 0 w 14"/>
                  <a:gd name="T11" fmla="*/ 6 h 10"/>
                  <a:gd name="T12" fmla="*/ 0 w 14"/>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14" h="10">
                    <a:moveTo>
                      <a:pt x="0" y="2"/>
                    </a:moveTo>
                    <a:lnTo>
                      <a:pt x="12" y="0"/>
                    </a:lnTo>
                    <a:lnTo>
                      <a:pt x="14" y="0"/>
                    </a:lnTo>
                    <a:lnTo>
                      <a:pt x="14" y="4"/>
                    </a:lnTo>
                    <a:lnTo>
                      <a:pt x="4" y="10"/>
                    </a:lnTo>
                    <a:lnTo>
                      <a:pt x="0" y="6"/>
                    </a:lnTo>
                    <a:lnTo>
                      <a:pt x="0"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23" name="Freeform 79"/>
              <p:cNvSpPr>
                <a:spLocks/>
              </p:cNvSpPr>
              <p:nvPr/>
            </p:nvSpPr>
            <p:spPr bwMode="auto">
              <a:xfrm>
                <a:off x="6406246" y="6335713"/>
                <a:ext cx="24075" cy="15875"/>
              </a:xfrm>
              <a:custGeom>
                <a:avLst/>
                <a:gdLst>
                  <a:gd name="T0" fmla="*/ 0 w 14"/>
                  <a:gd name="T1" fmla="*/ 2 h 10"/>
                  <a:gd name="T2" fmla="*/ 12 w 14"/>
                  <a:gd name="T3" fmla="*/ 0 h 10"/>
                  <a:gd name="T4" fmla="*/ 14 w 14"/>
                  <a:gd name="T5" fmla="*/ 0 h 10"/>
                  <a:gd name="T6" fmla="*/ 14 w 14"/>
                  <a:gd name="T7" fmla="*/ 4 h 10"/>
                  <a:gd name="T8" fmla="*/ 4 w 14"/>
                  <a:gd name="T9" fmla="*/ 10 h 10"/>
                  <a:gd name="T10" fmla="*/ 0 w 14"/>
                  <a:gd name="T11" fmla="*/ 6 h 10"/>
                  <a:gd name="T12" fmla="*/ 0 w 14"/>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14" h="10">
                    <a:moveTo>
                      <a:pt x="0" y="2"/>
                    </a:moveTo>
                    <a:lnTo>
                      <a:pt x="12" y="0"/>
                    </a:lnTo>
                    <a:lnTo>
                      <a:pt x="14" y="0"/>
                    </a:lnTo>
                    <a:lnTo>
                      <a:pt x="14" y="4"/>
                    </a:lnTo>
                    <a:lnTo>
                      <a:pt x="4" y="10"/>
                    </a:lnTo>
                    <a:lnTo>
                      <a:pt x="0" y="6"/>
                    </a:lnTo>
                    <a:lnTo>
                      <a:pt x="0"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24" name="Freeform 80"/>
              <p:cNvSpPr>
                <a:spLocks/>
              </p:cNvSpPr>
              <p:nvPr/>
            </p:nvSpPr>
            <p:spPr bwMode="auto">
              <a:xfrm>
                <a:off x="7520585" y="5567363"/>
                <a:ext cx="65347" cy="22225"/>
              </a:xfrm>
              <a:custGeom>
                <a:avLst/>
                <a:gdLst>
                  <a:gd name="T0" fmla="*/ 2 w 38"/>
                  <a:gd name="T1" fmla="*/ 8 h 14"/>
                  <a:gd name="T2" fmla="*/ 0 w 38"/>
                  <a:gd name="T3" fmla="*/ 8 h 14"/>
                  <a:gd name="T4" fmla="*/ 14 w 38"/>
                  <a:gd name="T5" fmla="*/ 0 h 14"/>
                  <a:gd name="T6" fmla="*/ 38 w 38"/>
                  <a:gd name="T7" fmla="*/ 2 h 14"/>
                  <a:gd name="T8" fmla="*/ 22 w 38"/>
                  <a:gd name="T9" fmla="*/ 14 h 14"/>
                  <a:gd name="T10" fmla="*/ 4 w 38"/>
                  <a:gd name="T11" fmla="*/ 14 h 14"/>
                  <a:gd name="T12" fmla="*/ 0 w 38"/>
                  <a:gd name="T13" fmla="*/ 14 h 14"/>
                  <a:gd name="T14" fmla="*/ 0 w 38"/>
                  <a:gd name="T15" fmla="*/ 12 h 14"/>
                  <a:gd name="T16" fmla="*/ 2 w 38"/>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4">
                    <a:moveTo>
                      <a:pt x="2" y="8"/>
                    </a:moveTo>
                    <a:lnTo>
                      <a:pt x="0" y="8"/>
                    </a:lnTo>
                    <a:lnTo>
                      <a:pt x="14" y="0"/>
                    </a:lnTo>
                    <a:lnTo>
                      <a:pt x="38" y="2"/>
                    </a:lnTo>
                    <a:lnTo>
                      <a:pt x="22" y="14"/>
                    </a:lnTo>
                    <a:lnTo>
                      <a:pt x="4" y="14"/>
                    </a:lnTo>
                    <a:lnTo>
                      <a:pt x="0" y="14"/>
                    </a:lnTo>
                    <a:lnTo>
                      <a:pt x="0" y="12"/>
                    </a:lnTo>
                    <a:lnTo>
                      <a:pt x="2"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25" name="Freeform 81"/>
              <p:cNvSpPr>
                <a:spLocks/>
              </p:cNvSpPr>
              <p:nvPr/>
            </p:nvSpPr>
            <p:spPr bwMode="auto">
              <a:xfrm>
                <a:off x="7520585" y="5567363"/>
                <a:ext cx="65347" cy="22225"/>
              </a:xfrm>
              <a:custGeom>
                <a:avLst/>
                <a:gdLst>
                  <a:gd name="T0" fmla="*/ 2 w 38"/>
                  <a:gd name="T1" fmla="*/ 8 h 14"/>
                  <a:gd name="T2" fmla="*/ 0 w 38"/>
                  <a:gd name="T3" fmla="*/ 8 h 14"/>
                  <a:gd name="T4" fmla="*/ 14 w 38"/>
                  <a:gd name="T5" fmla="*/ 0 h 14"/>
                  <a:gd name="T6" fmla="*/ 38 w 38"/>
                  <a:gd name="T7" fmla="*/ 2 h 14"/>
                  <a:gd name="T8" fmla="*/ 22 w 38"/>
                  <a:gd name="T9" fmla="*/ 14 h 14"/>
                  <a:gd name="T10" fmla="*/ 4 w 38"/>
                  <a:gd name="T11" fmla="*/ 14 h 14"/>
                  <a:gd name="T12" fmla="*/ 0 w 38"/>
                  <a:gd name="T13" fmla="*/ 14 h 14"/>
                  <a:gd name="T14" fmla="*/ 0 w 38"/>
                  <a:gd name="T15" fmla="*/ 12 h 14"/>
                  <a:gd name="T16" fmla="*/ 2 w 38"/>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4">
                    <a:moveTo>
                      <a:pt x="2" y="8"/>
                    </a:moveTo>
                    <a:lnTo>
                      <a:pt x="0" y="8"/>
                    </a:lnTo>
                    <a:lnTo>
                      <a:pt x="14" y="0"/>
                    </a:lnTo>
                    <a:lnTo>
                      <a:pt x="38" y="2"/>
                    </a:lnTo>
                    <a:lnTo>
                      <a:pt x="22" y="14"/>
                    </a:lnTo>
                    <a:lnTo>
                      <a:pt x="4" y="14"/>
                    </a:lnTo>
                    <a:lnTo>
                      <a:pt x="0" y="14"/>
                    </a:lnTo>
                    <a:lnTo>
                      <a:pt x="0" y="12"/>
                    </a:lnTo>
                    <a:lnTo>
                      <a:pt x="2"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26" name="Freeform 82"/>
              <p:cNvSpPr>
                <a:spLocks/>
              </p:cNvSpPr>
              <p:nvPr/>
            </p:nvSpPr>
            <p:spPr bwMode="auto">
              <a:xfrm>
                <a:off x="7551539" y="5618163"/>
                <a:ext cx="24075" cy="25400"/>
              </a:xfrm>
              <a:custGeom>
                <a:avLst/>
                <a:gdLst>
                  <a:gd name="T0" fmla="*/ 0 w 14"/>
                  <a:gd name="T1" fmla="*/ 6 h 16"/>
                  <a:gd name="T2" fmla="*/ 8 w 14"/>
                  <a:gd name="T3" fmla="*/ 0 h 16"/>
                  <a:gd name="T4" fmla="*/ 12 w 14"/>
                  <a:gd name="T5" fmla="*/ 0 h 16"/>
                  <a:gd name="T6" fmla="*/ 14 w 14"/>
                  <a:gd name="T7" fmla="*/ 12 h 16"/>
                  <a:gd name="T8" fmla="*/ 10 w 14"/>
                  <a:gd name="T9" fmla="*/ 16 h 16"/>
                  <a:gd name="T10" fmla="*/ 6 w 14"/>
                  <a:gd name="T11" fmla="*/ 16 h 16"/>
                  <a:gd name="T12" fmla="*/ 0 w 14"/>
                  <a:gd name="T13" fmla="*/ 6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0" y="6"/>
                    </a:moveTo>
                    <a:lnTo>
                      <a:pt x="8" y="0"/>
                    </a:lnTo>
                    <a:lnTo>
                      <a:pt x="12" y="0"/>
                    </a:lnTo>
                    <a:lnTo>
                      <a:pt x="14" y="12"/>
                    </a:lnTo>
                    <a:lnTo>
                      <a:pt x="10" y="16"/>
                    </a:lnTo>
                    <a:lnTo>
                      <a:pt x="6" y="16"/>
                    </a:lnTo>
                    <a:lnTo>
                      <a:pt x="0" y="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27" name="Freeform 83"/>
              <p:cNvSpPr>
                <a:spLocks/>
              </p:cNvSpPr>
              <p:nvPr/>
            </p:nvSpPr>
            <p:spPr bwMode="auto">
              <a:xfrm>
                <a:off x="7551539" y="5618163"/>
                <a:ext cx="24075" cy="25400"/>
              </a:xfrm>
              <a:custGeom>
                <a:avLst/>
                <a:gdLst>
                  <a:gd name="T0" fmla="*/ 0 w 14"/>
                  <a:gd name="T1" fmla="*/ 6 h 16"/>
                  <a:gd name="T2" fmla="*/ 8 w 14"/>
                  <a:gd name="T3" fmla="*/ 0 h 16"/>
                  <a:gd name="T4" fmla="*/ 12 w 14"/>
                  <a:gd name="T5" fmla="*/ 0 h 16"/>
                  <a:gd name="T6" fmla="*/ 14 w 14"/>
                  <a:gd name="T7" fmla="*/ 12 h 16"/>
                  <a:gd name="T8" fmla="*/ 10 w 14"/>
                  <a:gd name="T9" fmla="*/ 16 h 16"/>
                  <a:gd name="T10" fmla="*/ 6 w 14"/>
                  <a:gd name="T11" fmla="*/ 16 h 16"/>
                  <a:gd name="T12" fmla="*/ 0 w 14"/>
                  <a:gd name="T13" fmla="*/ 6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0" y="6"/>
                    </a:moveTo>
                    <a:lnTo>
                      <a:pt x="8" y="0"/>
                    </a:lnTo>
                    <a:lnTo>
                      <a:pt x="12" y="0"/>
                    </a:lnTo>
                    <a:lnTo>
                      <a:pt x="14" y="12"/>
                    </a:lnTo>
                    <a:lnTo>
                      <a:pt x="10" y="16"/>
                    </a:lnTo>
                    <a:lnTo>
                      <a:pt x="6" y="16"/>
                    </a:lnTo>
                    <a:lnTo>
                      <a:pt x="0" y="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28" name="Freeform 84"/>
              <p:cNvSpPr>
                <a:spLocks/>
              </p:cNvSpPr>
              <p:nvPr/>
            </p:nvSpPr>
            <p:spPr bwMode="auto">
              <a:xfrm>
                <a:off x="7493071" y="5688013"/>
                <a:ext cx="44711" cy="31750"/>
              </a:xfrm>
              <a:custGeom>
                <a:avLst/>
                <a:gdLst>
                  <a:gd name="T0" fmla="*/ 0 w 26"/>
                  <a:gd name="T1" fmla="*/ 16 h 20"/>
                  <a:gd name="T2" fmla="*/ 4 w 26"/>
                  <a:gd name="T3" fmla="*/ 14 h 20"/>
                  <a:gd name="T4" fmla="*/ 16 w 26"/>
                  <a:gd name="T5" fmla="*/ 2 h 20"/>
                  <a:gd name="T6" fmla="*/ 20 w 26"/>
                  <a:gd name="T7" fmla="*/ 0 h 20"/>
                  <a:gd name="T8" fmla="*/ 26 w 26"/>
                  <a:gd name="T9" fmla="*/ 4 h 20"/>
                  <a:gd name="T10" fmla="*/ 24 w 26"/>
                  <a:gd name="T11" fmla="*/ 6 h 20"/>
                  <a:gd name="T12" fmla="*/ 26 w 26"/>
                  <a:gd name="T13" fmla="*/ 10 h 20"/>
                  <a:gd name="T14" fmla="*/ 12 w 26"/>
                  <a:gd name="T15" fmla="*/ 20 h 20"/>
                  <a:gd name="T16" fmla="*/ 0 w 26"/>
                  <a:gd name="T17" fmla="*/ 18 h 20"/>
                  <a:gd name="T18" fmla="*/ 0 w 26"/>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
                    <a:moveTo>
                      <a:pt x="0" y="16"/>
                    </a:moveTo>
                    <a:lnTo>
                      <a:pt x="4" y="14"/>
                    </a:lnTo>
                    <a:lnTo>
                      <a:pt x="16" y="2"/>
                    </a:lnTo>
                    <a:lnTo>
                      <a:pt x="20" y="0"/>
                    </a:lnTo>
                    <a:lnTo>
                      <a:pt x="26" y="4"/>
                    </a:lnTo>
                    <a:lnTo>
                      <a:pt x="24" y="6"/>
                    </a:lnTo>
                    <a:lnTo>
                      <a:pt x="26" y="10"/>
                    </a:lnTo>
                    <a:lnTo>
                      <a:pt x="12" y="20"/>
                    </a:lnTo>
                    <a:lnTo>
                      <a:pt x="0" y="18"/>
                    </a:lnTo>
                    <a:lnTo>
                      <a:pt x="0" y="1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29" name="Freeform 85"/>
              <p:cNvSpPr>
                <a:spLocks/>
              </p:cNvSpPr>
              <p:nvPr/>
            </p:nvSpPr>
            <p:spPr bwMode="auto">
              <a:xfrm>
                <a:off x="7493071" y="5688013"/>
                <a:ext cx="44711" cy="31750"/>
              </a:xfrm>
              <a:custGeom>
                <a:avLst/>
                <a:gdLst>
                  <a:gd name="T0" fmla="*/ 0 w 26"/>
                  <a:gd name="T1" fmla="*/ 16 h 20"/>
                  <a:gd name="T2" fmla="*/ 4 w 26"/>
                  <a:gd name="T3" fmla="*/ 14 h 20"/>
                  <a:gd name="T4" fmla="*/ 16 w 26"/>
                  <a:gd name="T5" fmla="*/ 2 h 20"/>
                  <a:gd name="T6" fmla="*/ 20 w 26"/>
                  <a:gd name="T7" fmla="*/ 0 h 20"/>
                  <a:gd name="T8" fmla="*/ 26 w 26"/>
                  <a:gd name="T9" fmla="*/ 4 h 20"/>
                  <a:gd name="T10" fmla="*/ 24 w 26"/>
                  <a:gd name="T11" fmla="*/ 6 h 20"/>
                  <a:gd name="T12" fmla="*/ 26 w 26"/>
                  <a:gd name="T13" fmla="*/ 10 h 20"/>
                  <a:gd name="T14" fmla="*/ 12 w 26"/>
                  <a:gd name="T15" fmla="*/ 20 h 20"/>
                  <a:gd name="T16" fmla="*/ 0 w 26"/>
                  <a:gd name="T17" fmla="*/ 18 h 20"/>
                  <a:gd name="T18" fmla="*/ 0 w 26"/>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
                    <a:moveTo>
                      <a:pt x="0" y="16"/>
                    </a:moveTo>
                    <a:lnTo>
                      <a:pt x="4" y="14"/>
                    </a:lnTo>
                    <a:lnTo>
                      <a:pt x="16" y="2"/>
                    </a:lnTo>
                    <a:lnTo>
                      <a:pt x="20" y="0"/>
                    </a:lnTo>
                    <a:lnTo>
                      <a:pt x="26" y="4"/>
                    </a:lnTo>
                    <a:lnTo>
                      <a:pt x="24" y="6"/>
                    </a:lnTo>
                    <a:lnTo>
                      <a:pt x="26" y="10"/>
                    </a:lnTo>
                    <a:lnTo>
                      <a:pt x="12" y="20"/>
                    </a:lnTo>
                    <a:lnTo>
                      <a:pt x="0" y="18"/>
                    </a:lnTo>
                    <a:lnTo>
                      <a:pt x="0" y="1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30" name="Freeform 86"/>
              <p:cNvSpPr>
                <a:spLocks/>
              </p:cNvSpPr>
              <p:nvPr/>
            </p:nvSpPr>
            <p:spPr bwMode="auto">
              <a:xfrm>
                <a:off x="7362376" y="5770563"/>
                <a:ext cx="223556" cy="101600"/>
              </a:xfrm>
              <a:custGeom>
                <a:avLst/>
                <a:gdLst>
                  <a:gd name="T0" fmla="*/ 4 w 130"/>
                  <a:gd name="T1" fmla="*/ 64 h 64"/>
                  <a:gd name="T2" fmla="*/ 2 w 130"/>
                  <a:gd name="T3" fmla="*/ 62 h 64"/>
                  <a:gd name="T4" fmla="*/ 0 w 130"/>
                  <a:gd name="T5" fmla="*/ 52 h 64"/>
                  <a:gd name="T6" fmla="*/ 2 w 130"/>
                  <a:gd name="T7" fmla="*/ 48 h 64"/>
                  <a:gd name="T8" fmla="*/ 12 w 130"/>
                  <a:gd name="T9" fmla="*/ 32 h 64"/>
                  <a:gd name="T10" fmla="*/ 50 w 130"/>
                  <a:gd name="T11" fmla="*/ 16 h 64"/>
                  <a:gd name="T12" fmla="*/ 54 w 130"/>
                  <a:gd name="T13" fmla="*/ 18 h 64"/>
                  <a:gd name="T14" fmla="*/ 68 w 130"/>
                  <a:gd name="T15" fmla="*/ 8 h 64"/>
                  <a:gd name="T16" fmla="*/ 78 w 130"/>
                  <a:gd name="T17" fmla="*/ 8 h 64"/>
                  <a:gd name="T18" fmla="*/ 84 w 130"/>
                  <a:gd name="T19" fmla="*/ 10 h 64"/>
                  <a:gd name="T20" fmla="*/ 98 w 130"/>
                  <a:gd name="T21" fmla="*/ 4 h 64"/>
                  <a:gd name="T22" fmla="*/ 104 w 130"/>
                  <a:gd name="T23" fmla="*/ 0 h 64"/>
                  <a:gd name="T24" fmla="*/ 112 w 130"/>
                  <a:gd name="T25" fmla="*/ 0 h 64"/>
                  <a:gd name="T26" fmla="*/ 118 w 130"/>
                  <a:gd name="T27" fmla="*/ 10 h 64"/>
                  <a:gd name="T28" fmla="*/ 122 w 130"/>
                  <a:gd name="T29" fmla="*/ 12 h 64"/>
                  <a:gd name="T30" fmla="*/ 128 w 130"/>
                  <a:gd name="T31" fmla="*/ 12 h 64"/>
                  <a:gd name="T32" fmla="*/ 130 w 130"/>
                  <a:gd name="T33" fmla="*/ 22 h 64"/>
                  <a:gd name="T34" fmla="*/ 126 w 130"/>
                  <a:gd name="T35" fmla="*/ 30 h 64"/>
                  <a:gd name="T36" fmla="*/ 86 w 130"/>
                  <a:gd name="T37" fmla="*/ 24 h 64"/>
                  <a:gd name="T38" fmla="*/ 70 w 130"/>
                  <a:gd name="T39" fmla="*/ 30 h 64"/>
                  <a:gd name="T40" fmla="*/ 70 w 130"/>
                  <a:gd name="T41" fmla="*/ 34 h 64"/>
                  <a:gd name="T42" fmla="*/ 50 w 130"/>
                  <a:gd name="T43" fmla="*/ 42 h 64"/>
                  <a:gd name="T44" fmla="*/ 42 w 130"/>
                  <a:gd name="T45" fmla="*/ 38 h 64"/>
                  <a:gd name="T46" fmla="*/ 36 w 130"/>
                  <a:gd name="T47" fmla="*/ 44 h 64"/>
                  <a:gd name="T48" fmla="*/ 34 w 130"/>
                  <a:gd name="T49" fmla="*/ 48 h 64"/>
                  <a:gd name="T50" fmla="*/ 28 w 130"/>
                  <a:gd name="T51" fmla="*/ 52 h 64"/>
                  <a:gd name="T52" fmla="*/ 20 w 130"/>
                  <a:gd name="T53" fmla="*/ 52 h 64"/>
                  <a:gd name="T54" fmla="*/ 10 w 130"/>
                  <a:gd name="T55" fmla="*/ 46 h 64"/>
                  <a:gd name="T56" fmla="*/ 4 w 130"/>
                  <a:gd name="T5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0" h="64">
                    <a:moveTo>
                      <a:pt x="4" y="64"/>
                    </a:moveTo>
                    <a:lnTo>
                      <a:pt x="2" y="62"/>
                    </a:lnTo>
                    <a:lnTo>
                      <a:pt x="0" y="52"/>
                    </a:lnTo>
                    <a:lnTo>
                      <a:pt x="2" y="48"/>
                    </a:lnTo>
                    <a:lnTo>
                      <a:pt x="12" y="32"/>
                    </a:lnTo>
                    <a:lnTo>
                      <a:pt x="50" y="16"/>
                    </a:lnTo>
                    <a:lnTo>
                      <a:pt x="54" y="18"/>
                    </a:lnTo>
                    <a:lnTo>
                      <a:pt x="68" y="8"/>
                    </a:lnTo>
                    <a:lnTo>
                      <a:pt x="78" y="8"/>
                    </a:lnTo>
                    <a:lnTo>
                      <a:pt x="84" y="10"/>
                    </a:lnTo>
                    <a:lnTo>
                      <a:pt x="98" y="4"/>
                    </a:lnTo>
                    <a:lnTo>
                      <a:pt x="104" y="0"/>
                    </a:lnTo>
                    <a:lnTo>
                      <a:pt x="112" y="0"/>
                    </a:lnTo>
                    <a:lnTo>
                      <a:pt x="118" y="10"/>
                    </a:lnTo>
                    <a:lnTo>
                      <a:pt x="122" y="12"/>
                    </a:lnTo>
                    <a:lnTo>
                      <a:pt x="128" y="12"/>
                    </a:lnTo>
                    <a:lnTo>
                      <a:pt x="130" y="22"/>
                    </a:lnTo>
                    <a:lnTo>
                      <a:pt x="126" y="30"/>
                    </a:lnTo>
                    <a:lnTo>
                      <a:pt x="86" y="24"/>
                    </a:lnTo>
                    <a:lnTo>
                      <a:pt x="70" y="30"/>
                    </a:lnTo>
                    <a:lnTo>
                      <a:pt x="70" y="34"/>
                    </a:lnTo>
                    <a:lnTo>
                      <a:pt x="50" y="42"/>
                    </a:lnTo>
                    <a:lnTo>
                      <a:pt x="42" y="38"/>
                    </a:lnTo>
                    <a:lnTo>
                      <a:pt x="36" y="44"/>
                    </a:lnTo>
                    <a:lnTo>
                      <a:pt x="34" y="48"/>
                    </a:lnTo>
                    <a:lnTo>
                      <a:pt x="28" y="52"/>
                    </a:lnTo>
                    <a:lnTo>
                      <a:pt x="20" y="52"/>
                    </a:lnTo>
                    <a:lnTo>
                      <a:pt x="10" y="46"/>
                    </a:lnTo>
                    <a:lnTo>
                      <a:pt x="4" y="6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31" name="Freeform 87"/>
              <p:cNvSpPr>
                <a:spLocks/>
              </p:cNvSpPr>
              <p:nvPr/>
            </p:nvSpPr>
            <p:spPr bwMode="auto">
              <a:xfrm>
                <a:off x="7362376" y="5770563"/>
                <a:ext cx="223556" cy="101600"/>
              </a:xfrm>
              <a:custGeom>
                <a:avLst/>
                <a:gdLst>
                  <a:gd name="T0" fmla="*/ 4 w 130"/>
                  <a:gd name="T1" fmla="*/ 64 h 64"/>
                  <a:gd name="T2" fmla="*/ 2 w 130"/>
                  <a:gd name="T3" fmla="*/ 62 h 64"/>
                  <a:gd name="T4" fmla="*/ 0 w 130"/>
                  <a:gd name="T5" fmla="*/ 52 h 64"/>
                  <a:gd name="T6" fmla="*/ 2 w 130"/>
                  <a:gd name="T7" fmla="*/ 48 h 64"/>
                  <a:gd name="T8" fmla="*/ 12 w 130"/>
                  <a:gd name="T9" fmla="*/ 32 h 64"/>
                  <a:gd name="T10" fmla="*/ 50 w 130"/>
                  <a:gd name="T11" fmla="*/ 16 h 64"/>
                  <a:gd name="T12" fmla="*/ 54 w 130"/>
                  <a:gd name="T13" fmla="*/ 18 h 64"/>
                  <a:gd name="T14" fmla="*/ 68 w 130"/>
                  <a:gd name="T15" fmla="*/ 8 h 64"/>
                  <a:gd name="T16" fmla="*/ 78 w 130"/>
                  <a:gd name="T17" fmla="*/ 8 h 64"/>
                  <a:gd name="T18" fmla="*/ 84 w 130"/>
                  <a:gd name="T19" fmla="*/ 10 h 64"/>
                  <a:gd name="T20" fmla="*/ 98 w 130"/>
                  <a:gd name="T21" fmla="*/ 4 h 64"/>
                  <a:gd name="T22" fmla="*/ 104 w 130"/>
                  <a:gd name="T23" fmla="*/ 0 h 64"/>
                  <a:gd name="T24" fmla="*/ 112 w 130"/>
                  <a:gd name="T25" fmla="*/ 0 h 64"/>
                  <a:gd name="T26" fmla="*/ 118 w 130"/>
                  <a:gd name="T27" fmla="*/ 10 h 64"/>
                  <a:gd name="T28" fmla="*/ 122 w 130"/>
                  <a:gd name="T29" fmla="*/ 12 h 64"/>
                  <a:gd name="T30" fmla="*/ 128 w 130"/>
                  <a:gd name="T31" fmla="*/ 12 h 64"/>
                  <a:gd name="T32" fmla="*/ 130 w 130"/>
                  <a:gd name="T33" fmla="*/ 22 h 64"/>
                  <a:gd name="T34" fmla="*/ 126 w 130"/>
                  <a:gd name="T35" fmla="*/ 30 h 64"/>
                  <a:gd name="T36" fmla="*/ 86 w 130"/>
                  <a:gd name="T37" fmla="*/ 24 h 64"/>
                  <a:gd name="T38" fmla="*/ 70 w 130"/>
                  <a:gd name="T39" fmla="*/ 30 h 64"/>
                  <a:gd name="T40" fmla="*/ 70 w 130"/>
                  <a:gd name="T41" fmla="*/ 34 h 64"/>
                  <a:gd name="T42" fmla="*/ 50 w 130"/>
                  <a:gd name="T43" fmla="*/ 42 h 64"/>
                  <a:gd name="T44" fmla="*/ 42 w 130"/>
                  <a:gd name="T45" fmla="*/ 38 h 64"/>
                  <a:gd name="T46" fmla="*/ 36 w 130"/>
                  <a:gd name="T47" fmla="*/ 44 h 64"/>
                  <a:gd name="T48" fmla="*/ 34 w 130"/>
                  <a:gd name="T49" fmla="*/ 48 h 64"/>
                  <a:gd name="T50" fmla="*/ 28 w 130"/>
                  <a:gd name="T51" fmla="*/ 52 h 64"/>
                  <a:gd name="T52" fmla="*/ 20 w 130"/>
                  <a:gd name="T53" fmla="*/ 52 h 64"/>
                  <a:gd name="T54" fmla="*/ 10 w 130"/>
                  <a:gd name="T55" fmla="*/ 46 h 64"/>
                  <a:gd name="T56" fmla="*/ 4 w 130"/>
                  <a:gd name="T5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0" h="64">
                    <a:moveTo>
                      <a:pt x="4" y="64"/>
                    </a:moveTo>
                    <a:lnTo>
                      <a:pt x="2" y="62"/>
                    </a:lnTo>
                    <a:lnTo>
                      <a:pt x="0" y="52"/>
                    </a:lnTo>
                    <a:lnTo>
                      <a:pt x="2" y="48"/>
                    </a:lnTo>
                    <a:lnTo>
                      <a:pt x="12" y="32"/>
                    </a:lnTo>
                    <a:lnTo>
                      <a:pt x="50" y="16"/>
                    </a:lnTo>
                    <a:lnTo>
                      <a:pt x="54" y="18"/>
                    </a:lnTo>
                    <a:lnTo>
                      <a:pt x="68" y="8"/>
                    </a:lnTo>
                    <a:lnTo>
                      <a:pt x="78" y="8"/>
                    </a:lnTo>
                    <a:lnTo>
                      <a:pt x="84" y="10"/>
                    </a:lnTo>
                    <a:lnTo>
                      <a:pt x="98" y="4"/>
                    </a:lnTo>
                    <a:lnTo>
                      <a:pt x="104" y="0"/>
                    </a:lnTo>
                    <a:lnTo>
                      <a:pt x="112" y="0"/>
                    </a:lnTo>
                    <a:lnTo>
                      <a:pt x="118" y="10"/>
                    </a:lnTo>
                    <a:lnTo>
                      <a:pt x="122" y="12"/>
                    </a:lnTo>
                    <a:lnTo>
                      <a:pt x="128" y="12"/>
                    </a:lnTo>
                    <a:lnTo>
                      <a:pt x="130" y="22"/>
                    </a:lnTo>
                    <a:lnTo>
                      <a:pt x="126" y="30"/>
                    </a:lnTo>
                    <a:lnTo>
                      <a:pt x="86" y="24"/>
                    </a:lnTo>
                    <a:lnTo>
                      <a:pt x="70" y="30"/>
                    </a:lnTo>
                    <a:lnTo>
                      <a:pt x="70" y="34"/>
                    </a:lnTo>
                    <a:lnTo>
                      <a:pt x="50" y="42"/>
                    </a:lnTo>
                    <a:lnTo>
                      <a:pt x="42" y="38"/>
                    </a:lnTo>
                    <a:lnTo>
                      <a:pt x="36" y="44"/>
                    </a:lnTo>
                    <a:lnTo>
                      <a:pt x="34" y="48"/>
                    </a:lnTo>
                    <a:lnTo>
                      <a:pt x="28" y="52"/>
                    </a:lnTo>
                    <a:lnTo>
                      <a:pt x="20" y="52"/>
                    </a:lnTo>
                    <a:lnTo>
                      <a:pt x="10" y="46"/>
                    </a:lnTo>
                    <a:lnTo>
                      <a:pt x="4" y="6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32" name="Freeform 88"/>
              <p:cNvSpPr>
                <a:spLocks/>
              </p:cNvSpPr>
              <p:nvPr/>
            </p:nvSpPr>
            <p:spPr bwMode="auto">
              <a:xfrm>
                <a:off x="6684831" y="5608638"/>
                <a:ext cx="447112" cy="587375"/>
              </a:xfrm>
              <a:custGeom>
                <a:avLst/>
                <a:gdLst>
                  <a:gd name="T0" fmla="*/ 100 w 260"/>
                  <a:gd name="T1" fmla="*/ 72 h 370"/>
                  <a:gd name="T2" fmla="*/ 108 w 260"/>
                  <a:gd name="T3" fmla="*/ 78 h 370"/>
                  <a:gd name="T4" fmla="*/ 154 w 260"/>
                  <a:gd name="T5" fmla="*/ 68 h 370"/>
                  <a:gd name="T6" fmla="*/ 178 w 260"/>
                  <a:gd name="T7" fmla="*/ 58 h 370"/>
                  <a:gd name="T8" fmla="*/ 218 w 260"/>
                  <a:gd name="T9" fmla="*/ 46 h 370"/>
                  <a:gd name="T10" fmla="*/ 256 w 260"/>
                  <a:gd name="T11" fmla="*/ 0 h 370"/>
                  <a:gd name="T12" fmla="*/ 260 w 260"/>
                  <a:gd name="T13" fmla="*/ 6 h 370"/>
                  <a:gd name="T14" fmla="*/ 224 w 260"/>
                  <a:gd name="T15" fmla="*/ 68 h 370"/>
                  <a:gd name="T16" fmla="*/ 178 w 260"/>
                  <a:gd name="T17" fmla="*/ 80 h 370"/>
                  <a:gd name="T18" fmla="*/ 118 w 260"/>
                  <a:gd name="T19" fmla="*/ 98 h 370"/>
                  <a:gd name="T20" fmla="*/ 108 w 260"/>
                  <a:gd name="T21" fmla="*/ 104 h 370"/>
                  <a:gd name="T22" fmla="*/ 96 w 260"/>
                  <a:gd name="T23" fmla="*/ 106 h 370"/>
                  <a:gd name="T24" fmla="*/ 62 w 260"/>
                  <a:gd name="T25" fmla="*/ 118 h 370"/>
                  <a:gd name="T26" fmla="*/ 52 w 260"/>
                  <a:gd name="T27" fmla="*/ 170 h 370"/>
                  <a:gd name="T28" fmla="*/ 66 w 260"/>
                  <a:gd name="T29" fmla="*/ 174 h 370"/>
                  <a:gd name="T30" fmla="*/ 96 w 260"/>
                  <a:gd name="T31" fmla="*/ 182 h 370"/>
                  <a:gd name="T32" fmla="*/ 108 w 260"/>
                  <a:gd name="T33" fmla="*/ 160 h 370"/>
                  <a:gd name="T34" fmla="*/ 134 w 260"/>
                  <a:gd name="T35" fmla="*/ 152 h 370"/>
                  <a:gd name="T36" fmla="*/ 168 w 260"/>
                  <a:gd name="T37" fmla="*/ 134 h 370"/>
                  <a:gd name="T38" fmla="*/ 180 w 260"/>
                  <a:gd name="T39" fmla="*/ 120 h 370"/>
                  <a:gd name="T40" fmla="*/ 194 w 260"/>
                  <a:gd name="T41" fmla="*/ 122 h 370"/>
                  <a:gd name="T42" fmla="*/ 190 w 260"/>
                  <a:gd name="T43" fmla="*/ 136 h 370"/>
                  <a:gd name="T44" fmla="*/ 170 w 260"/>
                  <a:gd name="T45" fmla="*/ 140 h 370"/>
                  <a:gd name="T46" fmla="*/ 118 w 260"/>
                  <a:gd name="T47" fmla="*/ 194 h 370"/>
                  <a:gd name="T48" fmla="*/ 110 w 260"/>
                  <a:gd name="T49" fmla="*/ 202 h 370"/>
                  <a:gd name="T50" fmla="*/ 144 w 260"/>
                  <a:gd name="T51" fmla="*/ 226 h 370"/>
                  <a:gd name="T52" fmla="*/ 152 w 260"/>
                  <a:gd name="T53" fmla="*/ 232 h 370"/>
                  <a:gd name="T54" fmla="*/ 154 w 260"/>
                  <a:gd name="T55" fmla="*/ 242 h 370"/>
                  <a:gd name="T56" fmla="*/ 148 w 260"/>
                  <a:gd name="T57" fmla="*/ 252 h 370"/>
                  <a:gd name="T58" fmla="*/ 158 w 260"/>
                  <a:gd name="T59" fmla="*/ 260 h 370"/>
                  <a:gd name="T60" fmla="*/ 164 w 260"/>
                  <a:gd name="T61" fmla="*/ 270 h 370"/>
                  <a:gd name="T62" fmla="*/ 174 w 260"/>
                  <a:gd name="T63" fmla="*/ 268 h 370"/>
                  <a:gd name="T64" fmla="*/ 170 w 260"/>
                  <a:gd name="T65" fmla="*/ 282 h 370"/>
                  <a:gd name="T66" fmla="*/ 142 w 260"/>
                  <a:gd name="T67" fmla="*/ 302 h 370"/>
                  <a:gd name="T68" fmla="*/ 122 w 260"/>
                  <a:gd name="T69" fmla="*/ 312 h 370"/>
                  <a:gd name="T70" fmla="*/ 118 w 260"/>
                  <a:gd name="T71" fmla="*/ 296 h 370"/>
                  <a:gd name="T72" fmla="*/ 116 w 260"/>
                  <a:gd name="T73" fmla="*/ 282 h 370"/>
                  <a:gd name="T74" fmla="*/ 92 w 260"/>
                  <a:gd name="T75" fmla="*/ 264 h 370"/>
                  <a:gd name="T76" fmla="*/ 98 w 260"/>
                  <a:gd name="T77" fmla="*/ 242 h 370"/>
                  <a:gd name="T78" fmla="*/ 84 w 260"/>
                  <a:gd name="T79" fmla="*/ 234 h 370"/>
                  <a:gd name="T80" fmla="*/ 62 w 260"/>
                  <a:gd name="T81" fmla="*/ 262 h 370"/>
                  <a:gd name="T82" fmla="*/ 68 w 260"/>
                  <a:gd name="T83" fmla="*/ 318 h 370"/>
                  <a:gd name="T84" fmla="*/ 66 w 260"/>
                  <a:gd name="T85" fmla="*/ 336 h 370"/>
                  <a:gd name="T86" fmla="*/ 68 w 260"/>
                  <a:gd name="T87" fmla="*/ 358 h 370"/>
                  <a:gd name="T88" fmla="*/ 28 w 260"/>
                  <a:gd name="T89" fmla="*/ 368 h 370"/>
                  <a:gd name="T90" fmla="*/ 36 w 260"/>
                  <a:gd name="T91" fmla="*/ 306 h 370"/>
                  <a:gd name="T92" fmla="*/ 28 w 260"/>
                  <a:gd name="T93" fmla="*/ 284 h 370"/>
                  <a:gd name="T94" fmla="*/ 2 w 260"/>
                  <a:gd name="T95" fmla="*/ 284 h 370"/>
                  <a:gd name="T96" fmla="*/ 20 w 260"/>
                  <a:gd name="T97" fmla="*/ 224 h 370"/>
                  <a:gd name="T98" fmla="*/ 36 w 260"/>
                  <a:gd name="T99" fmla="*/ 168 h 370"/>
                  <a:gd name="T100" fmla="*/ 40 w 260"/>
                  <a:gd name="T101" fmla="*/ 166 h 370"/>
                  <a:gd name="T102" fmla="*/ 32 w 260"/>
                  <a:gd name="T103" fmla="*/ 148 h 370"/>
                  <a:gd name="T104" fmla="*/ 38 w 260"/>
                  <a:gd name="T105" fmla="*/ 138 h 370"/>
                  <a:gd name="T106" fmla="*/ 44 w 260"/>
                  <a:gd name="T107" fmla="*/ 114 h 370"/>
                  <a:gd name="T108" fmla="*/ 56 w 260"/>
                  <a:gd name="T109" fmla="*/ 102 h 370"/>
                  <a:gd name="T110" fmla="*/ 66 w 260"/>
                  <a:gd name="T111" fmla="*/ 102 h 370"/>
                  <a:gd name="T112" fmla="*/ 74 w 260"/>
                  <a:gd name="T113" fmla="*/ 82 h 370"/>
                  <a:gd name="T114" fmla="*/ 86 w 260"/>
                  <a:gd name="T115" fmla="*/ 7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0" h="370">
                    <a:moveTo>
                      <a:pt x="86" y="76"/>
                    </a:moveTo>
                    <a:lnTo>
                      <a:pt x="100" y="72"/>
                    </a:lnTo>
                    <a:lnTo>
                      <a:pt x="102" y="76"/>
                    </a:lnTo>
                    <a:lnTo>
                      <a:pt x="108" y="78"/>
                    </a:lnTo>
                    <a:lnTo>
                      <a:pt x="150" y="66"/>
                    </a:lnTo>
                    <a:lnTo>
                      <a:pt x="154" y="68"/>
                    </a:lnTo>
                    <a:lnTo>
                      <a:pt x="162" y="68"/>
                    </a:lnTo>
                    <a:lnTo>
                      <a:pt x="178" y="58"/>
                    </a:lnTo>
                    <a:lnTo>
                      <a:pt x="208" y="52"/>
                    </a:lnTo>
                    <a:lnTo>
                      <a:pt x="218" y="46"/>
                    </a:lnTo>
                    <a:lnTo>
                      <a:pt x="250" y="2"/>
                    </a:lnTo>
                    <a:lnTo>
                      <a:pt x="256" y="0"/>
                    </a:lnTo>
                    <a:lnTo>
                      <a:pt x="258" y="2"/>
                    </a:lnTo>
                    <a:lnTo>
                      <a:pt x="260" y="6"/>
                    </a:lnTo>
                    <a:lnTo>
                      <a:pt x="260" y="12"/>
                    </a:lnTo>
                    <a:lnTo>
                      <a:pt x="224" y="68"/>
                    </a:lnTo>
                    <a:lnTo>
                      <a:pt x="188" y="84"/>
                    </a:lnTo>
                    <a:lnTo>
                      <a:pt x="178" y="80"/>
                    </a:lnTo>
                    <a:lnTo>
                      <a:pt x="124" y="100"/>
                    </a:lnTo>
                    <a:lnTo>
                      <a:pt x="118" y="98"/>
                    </a:lnTo>
                    <a:lnTo>
                      <a:pt x="112" y="100"/>
                    </a:lnTo>
                    <a:lnTo>
                      <a:pt x="108" y="104"/>
                    </a:lnTo>
                    <a:lnTo>
                      <a:pt x="100" y="104"/>
                    </a:lnTo>
                    <a:lnTo>
                      <a:pt x="96" y="106"/>
                    </a:lnTo>
                    <a:lnTo>
                      <a:pt x="90" y="112"/>
                    </a:lnTo>
                    <a:lnTo>
                      <a:pt x="62" y="118"/>
                    </a:lnTo>
                    <a:lnTo>
                      <a:pt x="50" y="138"/>
                    </a:lnTo>
                    <a:lnTo>
                      <a:pt x="52" y="170"/>
                    </a:lnTo>
                    <a:lnTo>
                      <a:pt x="56" y="174"/>
                    </a:lnTo>
                    <a:lnTo>
                      <a:pt x="66" y="174"/>
                    </a:lnTo>
                    <a:lnTo>
                      <a:pt x="78" y="188"/>
                    </a:lnTo>
                    <a:lnTo>
                      <a:pt x="96" y="182"/>
                    </a:lnTo>
                    <a:lnTo>
                      <a:pt x="96" y="176"/>
                    </a:lnTo>
                    <a:lnTo>
                      <a:pt x="108" y="160"/>
                    </a:lnTo>
                    <a:lnTo>
                      <a:pt x="116" y="154"/>
                    </a:lnTo>
                    <a:lnTo>
                      <a:pt x="134" y="152"/>
                    </a:lnTo>
                    <a:lnTo>
                      <a:pt x="138" y="146"/>
                    </a:lnTo>
                    <a:lnTo>
                      <a:pt x="168" y="134"/>
                    </a:lnTo>
                    <a:lnTo>
                      <a:pt x="168" y="128"/>
                    </a:lnTo>
                    <a:lnTo>
                      <a:pt x="180" y="120"/>
                    </a:lnTo>
                    <a:lnTo>
                      <a:pt x="190" y="118"/>
                    </a:lnTo>
                    <a:lnTo>
                      <a:pt x="194" y="122"/>
                    </a:lnTo>
                    <a:lnTo>
                      <a:pt x="194" y="130"/>
                    </a:lnTo>
                    <a:lnTo>
                      <a:pt x="190" y="136"/>
                    </a:lnTo>
                    <a:lnTo>
                      <a:pt x="180" y="136"/>
                    </a:lnTo>
                    <a:lnTo>
                      <a:pt x="170" y="140"/>
                    </a:lnTo>
                    <a:lnTo>
                      <a:pt x="148" y="172"/>
                    </a:lnTo>
                    <a:lnTo>
                      <a:pt x="118" y="194"/>
                    </a:lnTo>
                    <a:lnTo>
                      <a:pt x="108" y="194"/>
                    </a:lnTo>
                    <a:lnTo>
                      <a:pt x="110" y="202"/>
                    </a:lnTo>
                    <a:lnTo>
                      <a:pt x="120" y="204"/>
                    </a:lnTo>
                    <a:lnTo>
                      <a:pt x="144" y="226"/>
                    </a:lnTo>
                    <a:lnTo>
                      <a:pt x="148" y="226"/>
                    </a:lnTo>
                    <a:lnTo>
                      <a:pt x="152" y="232"/>
                    </a:lnTo>
                    <a:lnTo>
                      <a:pt x="158" y="236"/>
                    </a:lnTo>
                    <a:lnTo>
                      <a:pt x="154" y="242"/>
                    </a:lnTo>
                    <a:lnTo>
                      <a:pt x="148" y="246"/>
                    </a:lnTo>
                    <a:lnTo>
                      <a:pt x="148" y="252"/>
                    </a:lnTo>
                    <a:lnTo>
                      <a:pt x="148" y="256"/>
                    </a:lnTo>
                    <a:lnTo>
                      <a:pt x="158" y="260"/>
                    </a:lnTo>
                    <a:lnTo>
                      <a:pt x="164" y="262"/>
                    </a:lnTo>
                    <a:lnTo>
                      <a:pt x="164" y="270"/>
                    </a:lnTo>
                    <a:lnTo>
                      <a:pt x="168" y="270"/>
                    </a:lnTo>
                    <a:lnTo>
                      <a:pt x="174" y="268"/>
                    </a:lnTo>
                    <a:lnTo>
                      <a:pt x="176" y="274"/>
                    </a:lnTo>
                    <a:lnTo>
                      <a:pt x="170" y="282"/>
                    </a:lnTo>
                    <a:lnTo>
                      <a:pt x="148" y="292"/>
                    </a:lnTo>
                    <a:lnTo>
                      <a:pt x="142" y="302"/>
                    </a:lnTo>
                    <a:lnTo>
                      <a:pt x="134" y="310"/>
                    </a:lnTo>
                    <a:lnTo>
                      <a:pt x="122" y="312"/>
                    </a:lnTo>
                    <a:lnTo>
                      <a:pt x="118" y="306"/>
                    </a:lnTo>
                    <a:lnTo>
                      <a:pt x="118" y="296"/>
                    </a:lnTo>
                    <a:lnTo>
                      <a:pt x="120" y="286"/>
                    </a:lnTo>
                    <a:lnTo>
                      <a:pt x="116" y="282"/>
                    </a:lnTo>
                    <a:lnTo>
                      <a:pt x="98" y="272"/>
                    </a:lnTo>
                    <a:lnTo>
                      <a:pt x="92" y="264"/>
                    </a:lnTo>
                    <a:lnTo>
                      <a:pt x="98" y="250"/>
                    </a:lnTo>
                    <a:lnTo>
                      <a:pt x="98" y="242"/>
                    </a:lnTo>
                    <a:lnTo>
                      <a:pt x="94" y="232"/>
                    </a:lnTo>
                    <a:lnTo>
                      <a:pt x="84" y="234"/>
                    </a:lnTo>
                    <a:lnTo>
                      <a:pt x="66" y="252"/>
                    </a:lnTo>
                    <a:lnTo>
                      <a:pt x="62" y="262"/>
                    </a:lnTo>
                    <a:lnTo>
                      <a:pt x="68" y="270"/>
                    </a:lnTo>
                    <a:lnTo>
                      <a:pt x="68" y="318"/>
                    </a:lnTo>
                    <a:lnTo>
                      <a:pt x="70" y="324"/>
                    </a:lnTo>
                    <a:lnTo>
                      <a:pt x="66" y="336"/>
                    </a:lnTo>
                    <a:lnTo>
                      <a:pt x="70" y="356"/>
                    </a:lnTo>
                    <a:lnTo>
                      <a:pt x="68" y="358"/>
                    </a:lnTo>
                    <a:lnTo>
                      <a:pt x="34" y="370"/>
                    </a:lnTo>
                    <a:lnTo>
                      <a:pt x="28" y="368"/>
                    </a:lnTo>
                    <a:lnTo>
                      <a:pt x="24" y="358"/>
                    </a:lnTo>
                    <a:lnTo>
                      <a:pt x="36" y="306"/>
                    </a:lnTo>
                    <a:lnTo>
                      <a:pt x="32" y="302"/>
                    </a:lnTo>
                    <a:lnTo>
                      <a:pt x="28" y="284"/>
                    </a:lnTo>
                    <a:lnTo>
                      <a:pt x="10" y="292"/>
                    </a:lnTo>
                    <a:lnTo>
                      <a:pt x="2" y="284"/>
                    </a:lnTo>
                    <a:lnTo>
                      <a:pt x="0" y="260"/>
                    </a:lnTo>
                    <a:lnTo>
                      <a:pt x="20" y="224"/>
                    </a:lnTo>
                    <a:lnTo>
                      <a:pt x="18" y="202"/>
                    </a:lnTo>
                    <a:lnTo>
                      <a:pt x="36" y="168"/>
                    </a:lnTo>
                    <a:lnTo>
                      <a:pt x="38" y="174"/>
                    </a:lnTo>
                    <a:lnTo>
                      <a:pt x="40" y="166"/>
                    </a:lnTo>
                    <a:lnTo>
                      <a:pt x="38" y="150"/>
                    </a:lnTo>
                    <a:lnTo>
                      <a:pt x="32" y="148"/>
                    </a:lnTo>
                    <a:lnTo>
                      <a:pt x="34" y="148"/>
                    </a:lnTo>
                    <a:lnTo>
                      <a:pt x="38" y="138"/>
                    </a:lnTo>
                    <a:lnTo>
                      <a:pt x="40" y="124"/>
                    </a:lnTo>
                    <a:lnTo>
                      <a:pt x="44" y="114"/>
                    </a:lnTo>
                    <a:lnTo>
                      <a:pt x="52" y="104"/>
                    </a:lnTo>
                    <a:lnTo>
                      <a:pt x="56" y="102"/>
                    </a:lnTo>
                    <a:lnTo>
                      <a:pt x="62" y="104"/>
                    </a:lnTo>
                    <a:lnTo>
                      <a:pt x="66" y="102"/>
                    </a:lnTo>
                    <a:lnTo>
                      <a:pt x="74" y="92"/>
                    </a:lnTo>
                    <a:lnTo>
                      <a:pt x="74" y="82"/>
                    </a:lnTo>
                    <a:lnTo>
                      <a:pt x="78" y="78"/>
                    </a:lnTo>
                    <a:lnTo>
                      <a:pt x="86" y="7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33" name="Freeform 89"/>
              <p:cNvSpPr>
                <a:spLocks/>
              </p:cNvSpPr>
              <p:nvPr/>
            </p:nvSpPr>
            <p:spPr bwMode="auto">
              <a:xfrm>
                <a:off x="6684831" y="5608638"/>
                <a:ext cx="447112" cy="587375"/>
              </a:xfrm>
              <a:custGeom>
                <a:avLst/>
                <a:gdLst>
                  <a:gd name="T0" fmla="*/ 100 w 260"/>
                  <a:gd name="T1" fmla="*/ 72 h 370"/>
                  <a:gd name="T2" fmla="*/ 108 w 260"/>
                  <a:gd name="T3" fmla="*/ 78 h 370"/>
                  <a:gd name="T4" fmla="*/ 154 w 260"/>
                  <a:gd name="T5" fmla="*/ 68 h 370"/>
                  <a:gd name="T6" fmla="*/ 178 w 260"/>
                  <a:gd name="T7" fmla="*/ 58 h 370"/>
                  <a:gd name="T8" fmla="*/ 218 w 260"/>
                  <a:gd name="T9" fmla="*/ 46 h 370"/>
                  <a:gd name="T10" fmla="*/ 256 w 260"/>
                  <a:gd name="T11" fmla="*/ 0 h 370"/>
                  <a:gd name="T12" fmla="*/ 260 w 260"/>
                  <a:gd name="T13" fmla="*/ 6 h 370"/>
                  <a:gd name="T14" fmla="*/ 224 w 260"/>
                  <a:gd name="T15" fmla="*/ 68 h 370"/>
                  <a:gd name="T16" fmla="*/ 178 w 260"/>
                  <a:gd name="T17" fmla="*/ 80 h 370"/>
                  <a:gd name="T18" fmla="*/ 118 w 260"/>
                  <a:gd name="T19" fmla="*/ 98 h 370"/>
                  <a:gd name="T20" fmla="*/ 108 w 260"/>
                  <a:gd name="T21" fmla="*/ 104 h 370"/>
                  <a:gd name="T22" fmla="*/ 96 w 260"/>
                  <a:gd name="T23" fmla="*/ 106 h 370"/>
                  <a:gd name="T24" fmla="*/ 62 w 260"/>
                  <a:gd name="T25" fmla="*/ 118 h 370"/>
                  <a:gd name="T26" fmla="*/ 52 w 260"/>
                  <a:gd name="T27" fmla="*/ 170 h 370"/>
                  <a:gd name="T28" fmla="*/ 66 w 260"/>
                  <a:gd name="T29" fmla="*/ 174 h 370"/>
                  <a:gd name="T30" fmla="*/ 96 w 260"/>
                  <a:gd name="T31" fmla="*/ 182 h 370"/>
                  <a:gd name="T32" fmla="*/ 108 w 260"/>
                  <a:gd name="T33" fmla="*/ 160 h 370"/>
                  <a:gd name="T34" fmla="*/ 134 w 260"/>
                  <a:gd name="T35" fmla="*/ 152 h 370"/>
                  <a:gd name="T36" fmla="*/ 168 w 260"/>
                  <a:gd name="T37" fmla="*/ 134 h 370"/>
                  <a:gd name="T38" fmla="*/ 180 w 260"/>
                  <a:gd name="T39" fmla="*/ 120 h 370"/>
                  <a:gd name="T40" fmla="*/ 194 w 260"/>
                  <a:gd name="T41" fmla="*/ 122 h 370"/>
                  <a:gd name="T42" fmla="*/ 190 w 260"/>
                  <a:gd name="T43" fmla="*/ 136 h 370"/>
                  <a:gd name="T44" fmla="*/ 170 w 260"/>
                  <a:gd name="T45" fmla="*/ 140 h 370"/>
                  <a:gd name="T46" fmla="*/ 118 w 260"/>
                  <a:gd name="T47" fmla="*/ 194 h 370"/>
                  <a:gd name="T48" fmla="*/ 110 w 260"/>
                  <a:gd name="T49" fmla="*/ 202 h 370"/>
                  <a:gd name="T50" fmla="*/ 144 w 260"/>
                  <a:gd name="T51" fmla="*/ 226 h 370"/>
                  <a:gd name="T52" fmla="*/ 152 w 260"/>
                  <a:gd name="T53" fmla="*/ 232 h 370"/>
                  <a:gd name="T54" fmla="*/ 154 w 260"/>
                  <a:gd name="T55" fmla="*/ 242 h 370"/>
                  <a:gd name="T56" fmla="*/ 148 w 260"/>
                  <a:gd name="T57" fmla="*/ 252 h 370"/>
                  <a:gd name="T58" fmla="*/ 158 w 260"/>
                  <a:gd name="T59" fmla="*/ 260 h 370"/>
                  <a:gd name="T60" fmla="*/ 164 w 260"/>
                  <a:gd name="T61" fmla="*/ 270 h 370"/>
                  <a:gd name="T62" fmla="*/ 174 w 260"/>
                  <a:gd name="T63" fmla="*/ 268 h 370"/>
                  <a:gd name="T64" fmla="*/ 170 w 260"/>
                  <a:gd name="T65" fmla="*/ 282 h 370"/>
                  <a:gd name="T66" fmla="*/ 142 w 260"/>
                  <a:gd name="T67" fmla="*/ 302 h 370"/>
                  <a:gd name="T68" fmla="*/ 122 w 260"/>
                  <a:gd name="T69" fmla="*/ 312 h 370"/>
                  <a:gd name="T70" fmla="*/ 118 w 260"/>
                  <a:gd name="T71" fmla="*/ 296 h 370"/>
                  <a:gd name="T72" fmla="*/ 116 w 260"/>
                  <a:gd name="T73" fmla="*/ 282 h 370"/>
                  <a:gd name="T74" fmla="*/ 92 w 260"/>
                  <a:gd name="T75" fmla="*/ 264 h 370"/>
                  <a:gd name="T76" fmla="*/ 98 w 260"/>
                  <a:gd name="T77" fmla="*/ 242 h 370"/>
                  <a:gd name="T78" fmla="*/ 84 w 260"/>
                  <a:gd name="T79" fmla="*/ 234 h 370"/>
                  <a:gd name="T80" fmla="*/ 62 w 260"/>
                  <a:gd name="T81" fmla="*/ 262 h 370"/>
                  <a:gd name="T82" fmla="*/ 68 w 260"/>
                  <a:gd name="T83" fmla="*/ 318 h 370"/>
                  <a:gd name="T84" fmla="*/ 66 w 260"/>
                  <a:gd name="T85" fmla="*/ 336 h 370"/>
                  <a:gd name="T86" fmla="*/ 68 w 260"/>
                  <a:gd name="T87" fmla="*/ 358 h 370"/>
                  <a:gd name="T88" fmla="*/ 28 w 260"/>
                  <a:gd name="T89" fmla="*/ 368 h 370"/>
                  <a:gd name="T90" fmla="*/ 36 w 260"/>
                  <a:gd name="T91" fmla="*/ 306 h 370"/>
                  <a:gd name="T92" fmla="*/ 28 w 260"/>
                  <a:gd name="T93" fmla="*/ 284 h 370"/>
                  <a:gd name="T94" fmla="*/ 2 w 260"/>
                  <a:gd name="T95" fmla="*/ 284 h 370"/>
                  <a:gd name="T96" fmla="*/ 20 w 260"/>
                  <a:gd name="T97" fmla="*/ 224 h 370"/>
                  <a:gd name="T98" fmla="*/ 36 w 260"/>
                  <a:gd name="T99" fmla="*/ 168 h 370"/>
                  <a:gd name="T100" fmla="*/ 40 w 260"/>
                  <a:gd name="T101" fmla="*/ 166 h 370"/>
                  <a:gd name="T102" fmla="*/ 32 w 260"/>
                  <a:gd name="T103" fmla="*/ 148 h 370"/>
                  <a:gd name="T104" fmla="*/ 38 w 260"/>
                  <a:gd name="T105" fmla="*/ 138 h 370"/>
                  <a:gd name="T106" fmla="*/ 44 w 260"/>
                  <a:gd name="T107" fmla="*/ 114 h 370"/>
                  <a:gd name="T108" fmla="*/ 56 w 260"/>
                  <a:gd name="T109" fmla="*/ 102 h 370"/>
                  <a:gd name="T110" fmla="*/ 66 w 260"/>
                  <a:gd name="T111" fmla="*/ 102 h 370"/>
                  <a:gd name="T112" fmla="*/ 74 w 260"/>
                  <a:gd name="T113" fmla="*/ 82 h 370"/>
                  <a:gd name="T114" fmla="*/ 86 w 260"/>
                  <a:gd name="T115" fmla="*/ 7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0" h="370">
                    <a:moveTo>
                      <a:pt x="86" y="76"/>
                    </a:moveTo>
                    <a:lnTo>
                      <a:pt x="100" y="72"/>
                    </a:lnTo>
                    <a:lnTo>
                      <a:pt x="102" y="76"/>
                    </a:lnTo>
                    <a:lnTo>
                      <a:pt x="108" y="78"/>
                    </a:lnTo>
                    <a:lnTo>
                      <a:pt x="150" y="66"/>
                    </a:lnTo>
                    <a:lnTo>
                      <a:pt x="154" y="68"/>
                    </a:lnTo>
                    <a:lnTo>
                      <a:pt x="162" y="68"/>
                    </a:lnTo>
                    <a:lnTo>
                      <a:pt x="178" y="58"/>
                    </a:lnTo>
                    <a:lnTo>
                      <a:pt x="208" y="52"/>
                    </a:lnTo>
                    <a:lnTo>
                      <a:pt x="218" y="46"/>
                    </a:lnTo>
                    <a:lnTo>
                      <a:pt x="250" y="2"/>
                    </a:lnTo>
                    <a:lnTo>
                      <a:pt x="256" y="0"/>
                    </a:lnTo>
                    <a:lnTo>
                      <a:pt x="258" y="2"/>
                    </a:lnTo>
                    <a:lnTo>
                      <a:pt x="260" y="6"/>
                    </a:lnTo>
                    <a:lnTo>
                      <a:pt x="260" y="12"/>
                    </a:lnTo>
                    <a:lnTo>
                      <a:pt x="224" y="68"/>
                    </a:lnTo>
                    <a:lnTo>
                      <a:pt x="188" y="84"/>
                    </a:lnTo>
                    <a:lnTo>
                      <a:pt x="178" y="80"/>
                    </a:lnTo>
                    <a:lnTo>
                      <a:pt x="124" y="100"/>
                    </a:lnTo>
                    <a:lnTo>
                      <a:pt x="118" y="98"/>
                    </a:lnTo>
                    <a:lnTo>
                      <a:pt x="112" y="100"/>
                    </a:lnTo>
                    <a:lnTo>
                      <a:pt x="108" y="104"/>
                    </a:lnTo>
                    <a:lnTo>
                      <a:pt x="100" y="104"/>
                    </a:lnTo>
                    <a:lnTo>
                      <a:pt x="96" y="106"/>
                    </a:lnTo>
                    <a:lnTo>
                      <a:pt x="90" y="112"/>
                    </a:lnTo>
                    <a:lnTo>
                      <a:pt x="62" y="118"/>
                    </a:lnTo>
                    <a:lnTo>
                      <a:pt x="50" y="138"/>
                    </a:lnTo>
                    <a:lnTo>
                      <a:pt x="52" y="170"/>
                    </a:lnTo>
                    <a:lnTo>
                      <a:pt x="56" y="174"/>
                    </a:lnTo>
                    <a:lnTo>
                      <a:pt x="66" y="174"/>
                    </a:lnTo>
                    <a:lnTo>
                      <a:pt x="78" y="188"/>
                    </a:lnTo>
                    <a:lnTo>
                      <a:pt x="96" y="182"/>
                    </a:lnTo>
                    <a:lnTo>
                      <a:pt x="96" y="176"/>
                    </a:lnTo>
                    <a:lnTo>
                      <a:pt x="108" y="160"/>
                    </a:lnTo>
                    <a:lnTo>
                      <a:pt x="116" y="154"/>
                    </a:lnTo>
                    <a:lnTo>
                      <a:pt x="134" y="152"/>
                    </a:lnTo>
                    <a:lnTo>
                      <a:pt x="138" y="146"/>
                    </a:lnTo>
                    <a:lnTo>
                      <a:pt x="168" y="134"/>
                    </a:lnTo>
                    <a:lnTo>
                      <a:pt x="168" y="128"/>
                    </a:lnTo>
                    <a:lnTo>
                      <a:pt x="180" y="120"/>
                    </a:lnTo>
                    <a:lnTo>
                      <a:pt x="190" y="118"/>
                    </a:lnTo>
                    <a:lnTo>
                      <a:pt x="194" y="122"/>
                    </a:lnTo>
                    <a:lnTo>
                      <a:pt x="194" y="130"/>
                    </a:lnTo>
                    <a:lnTo>
                      <a:pt x="190" y="136"/>
                    </a:lnTo>
                    <a:lnTo>
                      <a:pt x="180" y="136"/>
                    </a:lnTo>
                    <a:lnTo>
                      <a:pt x="170" y="140"/>
                    </a:lnTo>
                    <a:lnTo>
                      <a:pt x="148" y="172"/>
                    </a:lnTo>
                    <a:lnTo>
                      <a:pt x="118" y="194"/>
                    </a:lnTo>
                    <a:lnTo>
                      <a:pt x="108" y="194"/>
                    </a:lnTo>
                    <a:lnTo>
                      <a:pt x="110" y="202"/>
                    </a:lnTo>
                    <a:lnTo>
                      <a:pt x="120" y="204"/>
                    </a:lnTo>
                    <a:lnTo>
                      <a:pt x="144" y="226"/>
                    </a:lnTo>
                    <a:lnTo>
                      <a:pt x="148" y="226"/>
                    </a:lnTo>
                    <a:lnTo>
                      <a:pt x="152" y="232"/>
                    </a:lnTo>
                    <a:lnTo>
                      <a:pt x="158" y="236"/>
                    </a:lnTo>
                    <a:lnTo>
                      <a:pt x="154" y="242"/>
                    </a:lnTo>
                    <a:lnTo>
                      <a:pt x="148" y="246"/>
                    </a:lnTo>
                    <a:lnTo>
                      <a:pt x="148" y="252"/>
                    </a:lnTo>
                    <a:lnTo>
                      <a:pt x="148" y="256"/>
                    </a:lnTo>
                    <a:lnTo>
                      <a:pt x="158" y="260"/>
                    </a:lnTo>
                    <a:lnTo>
                      <a:pt x="164" y="262"/>
                    </a:lnTo>
                    <a:lnTo>
                      <a:pt x="164" y="270"/>
                    </a:lnTo>
                    <a:lnTo>
                      <a:pt x="168" y="270"/>
                    </a:lnTo>
                    <a:lnTo>
                      <a:pt x="174" y="268"/>
                    </a:lnTo>
                    <a:lnTo>
                      <a:pt x="176" y="274"/>
                    </a:lnTo>
                    <a:lnTo>
                      <a:pt x="170" y="282"/>
                    </a:lnTo>
                    <a:lnTo>
                      <a:pt x="148" y="292"/>
                    </a:lnTo>
                    <a:lnTo>
                      <a:pt x="142" y="302"/>
                    </a:lnTo>
                    <a:lnTo>
                      <a:pt x="134" y="310"/>
                    </a:lnTo>
                    <a:lnTo>
                      <a:pt x="122" y="312"/>
                    </a:lnTo>
                    <a:lnTo>
                      <a:pt x="118" y="306"/>
                    </a:lnTo>
                    <a:lnTo>
                      <a:pt x="118" y="296"/>
                    </a:lnTo>
                    <a:lnTo>
                      <a:pt x="120" y="286"/>
                    </a:lnTo>
                    <a:lnTo>
                      <a:pt x="116" y="282"/>
                    </a:lnTo>
                    <a:lnTo>
                      <a:pt x="98" y="272"/>
                    </a:lnTo>
                    <a:lnTo>
                      <a:pt x="92" y="264"/>
                    </a:lnTo>
                    <a:lnTo>
                      <a:pt x="98" y="250"/>
                    </a:lnTo>
                    <a:lnTo>
                      <a:pt x="98" y="242"/>
                    </a:lnTo>
                    <a:lnTo>
                      <a:pt x="94" y="232"/>
                    </a:lnTo>
                    <a:lnTo>
                      <a:pt x="84" y="234"/>
                    </a:lnTo>
                    <a:lnTo>
                      <a:pt x="66" y="252"/>
                    </a:lnTo>
                    <a:lnTo>
                      <a:pt x="62" y="262"/>
                    </a:lnTo>
                    <a:lnTo>
                      <a:pt x="68" y="270"/>
                    </a:lnTo>
                    <a:lnTo>
                      <a:pt x="68" y="318"/>
                    </a:lnTo>
                    <a:lnTo>
                      <a:pt x="70" y="324"/>
                    </a:lnTo>
                    <a:lnTo>
                      <a:pt x="66" y="336"/>
                    </a:lnTo>
                    <a:lnTo>
                      <a:pt x="70" y="356"/>
                    </a:lnTo>
                    <a:lnTo>
                      <a:pt x="68" y="358"/>
                    </a:lnTo>
                    <a:lnTo>
                      <a:pt x="34" y="370"/>
                    </a:lnTo>
                    <a:lnTo>
                      <a:pt x="28" y="368"/>
                    </a:lnTo>
                    <a:lnTo>
                      <a:pt x="24" y="358"/>
                    </a:lnTo>
                    <a:lnTo>
                      <a:pt x="36" y="306"/>
                    </a:lnTo>
                    <a:lnTo>
                      <a:pt x="32" y="302"/>
                    </a:lnTo>
                    <a:lnTo>
                      <a:pt x="28" y="284"/>
                    </a:lnTo>
                    <a:lnTo>
                      <a:pt x="10" y="292"/>
                    </a:lnTo>
                    <a:lnTo>
                      <a:pt x="2" y="284"/>
                    </a:lnTo>
                    <a:lnTo>
                      <a:pt x="0" y="260"/>
                    </a:lnTo>
                    <a:lnTo>
                      <a:pt x="20" y="224"/>
                    </a:lnTo>
                    <a:lnTo>
                      <a:pt x="18" y="202"/>
                    </a:lnTo>
                    <a:lnTo>
                      <a:pt x="36" y="168"/>
                    </a:lnTo>
                    <a:lnTo>
                      <a:pt x="38" y="174"/>
                    </a:lnTo>
                    <a:lnTo>
                      <a:pt x="40" y="166"/>
                    </a:lnTo>
                    <a:lnTo>
                      <a:pt x="38" y="150"/>
                    </a:lnTo>
                    <a:lnTo>
                      <a:pt x="32" y="148"/>
                    </a:lnTo>
                    <a:lnTo>
                      <a:pt x="34" y="148"/>
                    </a:lnTo>
                    <a:lnTo>
                      <a:pt x="38" y="138"/>
                    </a:lnTo>
                    <a:lnTo>
                      <a:pt x="40" y="124"/>
                    </a:lnTo>
                    <a:lnTo>
                      <a:pt x="44" y="114"/>
                    </a:lnTo>
                    <a:lnTo>
                      <a:pt x="52" y="104"/>
                    </a:lnTo>
                    <a:lnTo>
                      <a:pt x="56" y="102"/>
                    </a:lnTo>
                    <a:lnTo>
                      <a:pt x="62" y="104"/>
                    </a:lnTo>
                    <a:lnTo>
                      <a:pt x="66" y="102"/>
                    </a:lnTo>
                    <a:lnTo>
                      <a:pt x="74" y="92"/>
                    </a:lnTo>
                    <a:lnTo>
                      <a:pt x="74" y="82"/>
                    </a:lnTo>
                    <a:lnTo>
                      <a:pt x="78" y="78"/>
                    </a:lnTo>
                    <a:lnTo>
                      <a:pt x="86" y="7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34" name="Freeform 90"/>
              <p:cNvSpPr>
                <a:spLocks/>
              </p:cNvSpPr>
              <p:nvPr/>
            </p:nvSpPr>
            <p:spPr bwMode="auto">
              <a:xfrm>
                <a:off x="6911826" y="6116638"/>
                <a:ext cx="17197" cy="19050"/>
              </a:xfrm>
              <a:custGeom>
                <a:avLst/>
                <a:gdLst>
                  <a:gd name="T0" fmla="*/ 0 w 10"/>
                  <a:gd name="T1" fmla="*/ 4 h 12"/>
                  <a:gd name="T2" fmla="*/ 0 w 10"/>
                  <a:gd name="T3" fmla="*/ 2 h 12"/>
                  <a:gd name="T4" fmla="*/ 4 w 10"/>
                  <a:gd name="T5" fmla="*/ 0 h 12"/>
                  <a:gd name="T6" fmla="*/ 8 w 10"/>
                  <a:gd name="T7" fmla="*/ 0 h 12"/>
                  <a:gd name="T8" fmla="*/ 10 w 10"/>
                  <a:gd name="T9" fmla="*/ 2 h 12"/>
                  <a:gd name="T10" fmla="*/ 10 w 10"/>
                  <a:gd name="T11" fmla="*/ 10 h 12"/>
                  <a:gd name="T12" fmla="*/ 6 w 10"/>
                  <a:gd name="T13" fmla="*/ 12 h 12"/>
                  <a:gd name="T14" fmla="*/ 2 w 10"/>
                  <a:gd name="T15" fmla="*/ 8 h 12"/>
                  <a:gd name="T16" fmla="*/ 0 w 10"/>
                  <a:gd name="T1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0" y="4"/>
                    </a:moveTo>
                    <a:lnTo>
                      <a:pt x="0" y="2"/>
                    </a:lnTo>
                    <a:lnTo>
                      <a:pt x="4" y="0"/>
                    </a:lnTo>
                    <a:lnTo>
                      <a:pt x="8" y="0"/>
                    </a:lnTo>
                    <a:lnTo>
                      <a:pt x="10" y="2"/>
                    </a:lnTo>
                    <a:lnTo>
                      <a:pt x="10" y="10"/>
                    </a:lnTo>
                    <a:lnTo>
                      <a:pt x="6" y="12"/>
                    </a:lnTo>
                    <a:lnTo>
                      <a:pt x="2" y="8"/>
                    </a:lnTo>
                    <a:lnTo>
                      <a:pt x="0"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35" name="Freeform 91"/>
              <p:cNvSpPr>
                <a:spLocks/>
              </p:cNvSpPr>
              <p:nvPr/>
            </p:nvSpPr>
            <p:spPr bwMode="auto">
              <a:xfrm>
                <a:off x="6911826" y="6116638"/>
                <a:ext cx="17197" cy="19050"/>
              </a:xfrm>
              <a:custGeom>
                <a:avLst/>
                <a:gdLst>
                  <a:gd name="T0" fmla="*/ 0 w 10"/>
                  <a:gd name="T1" fmla="*/ 4 h 12"/>
                  <a:gd name="T2" fmla="*/ 0 w 10"/>
                  <a:gd name="T3" fmla="*/ 2 h 12"/>
                  <a:gd name="T4" fmla="*/ 4 w 10"/>
                  <a:gd name="T5" fmla="*/ 0 h 12"/>
                  <a:gd name="T6" fmla="*/ 8 w 10"/>
                  <a:gd name="T7" fmla="*/ 0 h 12"/>
                  <a:gd name="T8" fmla="*/ 10 w 10"/>
                  <a:gd name="T9" fmla="*/ 2 h 12"/>
                  <a:gd name="T10" fmla="*/ 10 w 10"/>
                  <a:gd name="T11" fmla="*/ 10 h 12"/>
                  <a:gd name="T12" fmla="*/ 6 w 10"/>
                  <a:gd name="T13" fmla="*/ 12 h 12"/>
                  <a:gd name="T14" fmla="*/ 2 w 10"/>
                  <a:gd name="T15" fmla="*/ 8 h 12"/>
                  <a:gd name="T16" fmla="*/ 0 w 10"/>
                  <a:gd name="T1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0" y="4"/>
                    </a:moveTo>
                    <a:lnTo>
                      <a:pt x="0" y="2"/>
                    </a:lnTo>
                    <a:lnTo>
                      <a:pt x="4" y="0"/>
                    </a:lnTo>
                    <a:lnTo>
                      <a:pt x="8" y="0"/>
                    </a:lnTo>
                    <a:lnTo>
                      <a:pt x="10" y="2"/>
                    </a:lnTo>
                    <a:lnTo>
                      <a:pt x="10" y="10"/>
                    </a:lnTo>
                    <a:lnTo>
                      <a:pt x="6" y="12"/>
                    </a:lnTo>
                    <a:lnTo>
                      <a:pt x="2" y="8"/>
                    </a:lnTo>
                    <a:lnTo>
                      <a:pt x="0"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36" name="Freeform 92"/>
              <p:cNvSpPr>
                <a:spLocks/>
              </p:cNvSpPr>
              <p:nvPr/>
            </p:nvSpPr>
            <p:spPr bwMode="auto">
              <a:xfrm>
                <a:off x="6946219" y="6072188"/>
                <a:ext cx="30954" cy="50800"/>
              </a:xfrm>
              <a:custGeom>
                <a:avLst/>
                <a:gdLst>
                  <a:gd name="T0" fmla="*/ 2 w 18"/>
                  <a:gd name="T1" fmla="*/ 6 h 32"/>
                  <a:gd name="T2" fmla="*/ 8 w 18"/>
                  <a:gd name="T3" fmla="*/ 4 h 32"/>
                  <a:gd name="T4" fmla="*/ 12 w 18"/>
                  <a:gd name="T5" fmla="*/ 0 h 32"/>
                  <a:gd name="T6" fmla="*/ 16 w 18"/>
                  <a:gd name="T7" fmla="*/ 0 h 32"/>
                  <a:gd name="T8" fmla="*/ 18 w 18"/>
                  <a:gd name="T9" fmla="*/ 10 h 32"/>
                  <a:gd name="T10" fmla="*/ 14 w 18"/>
                  <a:gd name="T11" fmla="*/ 30 h 32"/>
                  <a:gd name="T12" fmla="*/ 12 w 18"/>
                  <a:gd name="T13" fmla="*/ 28 h 32"/>
                  <a:gd name="T14" fmla="*/ 6 w 18"/>
                  <a:gd name="T15" fmla="*/ 32 h 32"/>
                  <a:gd name="T16" fmla="*/ 0 w 18"/>
                  <a:gd name="T17" fmla="*/ 32 h 32"/>
                  <a:gd name="T18" fmla="*/ 2 w 18"/>
                  <a:gd name="T1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2">
                    <a:moveTo>
                      <a:pt x="2" y="6"/>
                    </a:moveTo>
                    <a:lnTo>
                      <a:pt x="8" y="4"/>
                    </a:lnTo>
                    <a:lnTo>
                      <a:pt x="12" y="0"/>
                    </a:lnTo>
                    <a:lnTo>
                      <a:pt x="16" y="0"/>
                    </a:lnTo>
                    <a:lnTo>
                      <a:pt x="18" y="10"/>
                    </a:lnTo>
                    <a:lnTo>
                      <a:pt x="14" y="30"/>
                    </a:lnTo>
                    <a:lnTo>
                      <a:pt x="12" y="28"/>
                    </a:lnTo>
                    <a:lnTo>
                      <a:pt x="6" y="32"/>
                    </a:lnTo>
                    <a:lnTo>
                      <a:pt x="0" y="32"/>
                    </a:lnTo>
                    <a:lnTo>
                      <a:pt x="2" y="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37" name="Freeform 93"/>
              <p:cNvSpPr>
                <a:spLocks/>
              </p:cNvSpPr>
              <p:nvPr/>
            </p:nvSpPr>
            <p:spPr bwMode="auto">
              <a:xfrm>
                <a:off x="6946219" y="6072188"/>
                <a:ext cx="30954" cy="50800"/>
              </a:xfrm>
              <a:custGeom>
                <a:avLst/>
                <a:gdLst>
                  <a:gd name="T0" fmla="*/ 2 w 18"/>
                  <a:gd name="T1" fmla="*/ 6 h 32"/>
                  <a:gd name="T2" fmla="*/ 8 w 18"/>
                  <a:gd name="T3" fmla="*/ 4 h 32"/>
                  <a:gd name="T4" fmla="*/ 12 w 18"/>
                  <a:gd name="T5" fmla="*/ 0 h 32"/>
                  <a:gd name="T6" fmla="*/ 16 w 18"/>
                  <a:gd name="T7" fmla="*/ 0 h 32"/>
                  <a:gd name="T8" fmla="*/ 18 w 18"/>
                  <a:gd name="T9" fmla="*/ 10 h 32"/>
                  <a:gd name="T10" fmla="*/ 14 w 18"/>
                  <a:gd name="T11" fmla="*/ 30 h 32"/>
                  <a:gd name="T12" fmla="*/ 12 w 18"/>
                  <a:gd name="T13" fmla="*/ 28 h 32"/>
                  <a:gd name="T14" fmla="*/ 6 w 18"/>
                  <a:gd name="T15" fmla="*/ 32 h 32"/>
                  <a:gd name="T16" fmla="*/ 0 w 18"/>
                  <a:gd name="T17" fmla="*/ 32 h 32"/>
                  <a:gd name="T18" fmla="*/ 2 w 18"/>
                  <a:gd name="T1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2">
                    <a:moveTo>
                      <a:pt x="2" y="6"/>
                    </a:moveTo>
                    <a:lnTo>
                      <a:pt x="8" y="4"/>
                    </a:lnTo>
                    <a:lnTo>
                      <a:pt x="12" y="0"/>
                    </a:lnTo>
                    <a:lnTo>
                      <a:pt x="16" y="0"/>
                    </a:lnTo>
                    <a:lnTo>
                      <a:pt x="18" y="10"/>
                    </a:lnTo>
                    <a:lnTo>
                      <a:pt x="14" y="30"/>
                    </a:lnTo>
                    <a:lnTo>
                      <a:pt x="12" y="28"/>
                    </a:lnTo>
                    <a:lnTo>
                      <a:pt x="6" y="32"/>
                    </a:lnTo>
                    <a:lnTo>
                      <a:pt x="0" y="32"/>
                    </a:lnTo>
                    <a:lnTo>
                      <a:pt x="2" y="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38" name="Freeform 94"/>
              <p:cNvSpPr>
                <a:spLocks/>
              </p:cNvSpPr>
              <p:nvPr/>
            </p:nvSpPr>
            <p:spPr bwMode="auto">
              <a:xfrm>
                <a:off x="6973733" y="6046788"/>
                <a:ext cx="37833" cy="85725"/>
              </a:xfrm>
              <a:custGeom>
                <a:avLst/>
                <a:gdLst>
                  <a:gd name="T0" fmla="*/ 6 w 22"/>
                  <a:gd name="T1" fmla="*/ 28 h 54"/>
                  <a:gd name="T2" fmla="*/ 8 w 22"/>
                  <a:gd name="T3" fmla="*/ 26 h 54"/>
                  <a:gd name="T4" fmla="*/ 8 w 22"/>
                  <a:gd name="T5" fmla="*/ 8 h 54"/>
                  <a:gd name="T6" fmla="*/ 12 w 22"/>
                  <a:gd name="T7" fmla="*/ 0 h 54"/>
                  <a:gd name="T8" fmla="*/ 16 w 22"/>
                  <a:gd name="T9" fmla="*/ 0 h 54"/>
                  <a:gd name="T10" fmla="*/ 20 w 22"/>
                  <a:gd name="T11" fmla="*/ 6 h 54"/>
                  <a:gd name="T12" fmla="*/ 22 w 22"/>
                  <a:gd name="T13" fmla="*/ 12 h 54"/>
                  <a:gd name="T14" fmla="*/ 20 w 22"/>
                  <a:gd name="T15" fmla="*/ 12 h 54"/>
                  <a:gd name="T16" fmla="*/ 16 w 22"/>
                  <a:gd name="T17" fmla="*/ 18 h 54"/>
                  <a:gd name="T18" fmla="*/ 14 w 22"/>
                  <a:gd name="T19" fmla="*/ 24 h 54"/>
                  <a:gd name="T20" fmla="*/ 14 w 22"/>
                  <a:gd name="T21" fmla="*/ 26 h 54"/>
                  <a:gd name="T22" fmla="*/ 18 w 22"/>
                  <a:gd name="T23" fmla="*/ 28 h 54"/>
                  <a:gd name="T24" fmla="*/ 22 w 22"/>
                  <a:gd name="T25" fmla="*/ 32 h 54"/>
                  <a:gd name="T26" fmla="*/ 22 w 22"/>
                  <a:gd name="T27" fmla="*/ 38 h 54"/>
                  <a:gd name="T28" fmla="*/ 4 w 22"/>
                  <a:gd name="T29" fmla="*/ 54 h 54"/>
                  <a:gd name="T30" fmla="*/ 0 w 22"/>
                  <a:gd name="T31" fmla="*/ 52 h 54"/>
                  <a:gd name="T32" fmla="*/ 6 w 22"/>
                  <a:gd name="T33"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54">
                    <a:moveTo>
                      <a:pt x="6" y="28"/>
                    </a:moveTo>
                    <a:lnTo>
                      <a:pt x="8" y="26"/>
                    </a:lnTo>
                    <a:lnTo>
                      <a:pt x="8" y="8"/>
                    </a:lnTo>
                    <a:lnTo>
                      <a:pt x="12" y="0"/>
                    </a:lnTo>
                    <a:lnTo>
                      <a:pt x="16" y="0"/>
                    </a:lnTo>
                    <a:lnTo>
                      <a:pt x="20" y="6"/>
                    </a:lnTo>
                    <a:lnTo>
                      <a:pt x="22" y="12"/>
                    </a:lnTo>
                    <a:lnTo>
                      <a:pt x="20" y="12"/>
                    </a:lnTo>
                    <a:lnTo>
                      <a:pt x="16" y="18"/>
                    </a:lnTo>
                    <a:lnTo>
                      <a:pt x="14" y="24"/>
                    </a:lnTo>
                    <a:lnTo>
                      <a:pt x="14" y="26"/>
                    </a:lnTo>
                    <a:lnTo>
                      <a:pt x="18" y="28"/>
                    </a:lnTo>
                    <a:lnTo>
                      <a:pt x="22" y="32"/>
                    </a:lnTo>
                    <a:lnTo>
                      <a:pt x="22" y="38"/>
                    </a:lnTo>
                    <a:lnTo>
                      <a:pt x="4" y="54"/>
                    </a:lnTo>
                    <a:lnTo>
                      <a:pt x="0" y="52"/>
                    </a:lnTo>
                    <a:lnTo>
                      <a:pt x="6" y="2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39" name="Freeform 95"/>
              <p:cNvSpPr>
                <a:spLocks/>
              </p:cNvSpPr>
              <p:nvPr/>
            </p:nvSpPr>
            <p:spPr bwMode="auto">
              <a:xfrm>
                <a:off x="6973733" y="6046788"/>
                <a:ext cx="37833" cy="85725"/>
              </a:xfrm>
              <a:custGeom>
                <a:avLst/>
                <a:gdLst>
                  <a:gd name="T0" fmla="*/ 6 w 22"/>
                  <a:gd name="T1" fmla="*/ 28 h 54"/>
                  <a:gd name="T2" fmla="*/ 8 w 22"/>
                  <a:gd name="T3" fmla="*/ 26 h 54"/>
                  <a:gd name="T4" fmla="*/ 8 w 22"/>
                  <a:gd name="T5" fmla="*/ 8 h 54"/>
                  <a:gd name="T6" fmla="*/ 12 w 22"/>
                  <a:gd name="T7" fmla="*/ 0 h 54"/>
                  <a:gd name="T8" fmla="*/ 16 w 22"/>
                  <a:gd name="T9" fmla="*/ 0 h 54"/>
                  <a:gd name="T10" fmla="*/ 20 w 22"/>
                  <a:gd name="T11" fmla="*/ 6 h 54"/>
                  <a:gd name="T12" fmla="*/ 22 w 22"/>
                  <a:gd name="T13" fmla="*/ 12 h 54"/>
                  <a:gd name="T14" fmla="*/ 20 w 22"/>
                  <a:gd name="T15" fmla="*/ 12 h 54"/>
                  <a:gd name="T16" fmla="*/ 16 w 22"/>
                  <a:gd name="T17" fmla="*/ 18 h 54"/>
                  <a:gd name="T18" fmla="*/ 14 w 22"/>
                  <a:gd name="T19" fmla="*/ 24 h 54"/>
                  <a:gd name="T20" fmla="*/ 14 w 22"/>
                  <a:gd name="T21" fmla="*/ 26 h 54"/>
                  <a:gd name="T22" fmla="*/ 18 w 22"/>
                  <a:gd name="T23" fmla="*/ 28 h 54"/>
                  <a:gd name="T24" fmla="*/ 22 w 22"/>
                  <a:gd name="T25" fmla="*/ 32 h 54"/>
                  <a:gd name="T26" fmla="*/ 22 w 22"/>
                  <a:gd name="T27" fmla="*/ 38 h 54"/>
                  <a:gd name="T28" fmla="*/ 4 w 22"/>
                  <a:gd name="T29" fmla="*/ 54 h 54"/>
                  <a:gd name="T30" fmla="*/ 0 w 22"/>
                  <a:gd name="T31" fmla="*/ 52 h 54"/>
                  <a:gd name="T32" fmla="*/ 6 w 22"/>
                  <a:gd name="T33"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54">
                    <a:moveTo>
                      <a:pt x="6" y="28"/>
                    </a:moveTo>
                    <a:lnTo>
                      <a:pt x="8" y="26"/>
                    </a:lnTo>
                    <a:lnTo>
                      <a:pt x="8" y="8"/>
                    </a:lnTo>
                    <a:lnTo>
                      <a:pt x="12" y="0"/>
                    </a:lnTo>
                    <a:lnTo>
                      <a:pt x="16" y="0"/>
                    </a:lnTo>
                    <a:lnTo>
                      <a:pt x="20" y="6"/>
                    </a:lnTo>
                    <a:lnTo>
                      <a:pt x="22" y="12"/>
                    </a:lnTo>
                    <a:lnTo>
                      <a:pt x="20" y="12"/>
                    </a:lnTo>
                    <a:lnTo>
                      <a:pt x="16" y="18"/>
                    </a:lnTo>
                    <a:lnTo>
                      <a:pt x="14" y="24"/>
                    </a:lnTo>
                    <a:lnTo>
                      <a:pt x="14" y="26"/>
                    </a:lnTo>
                    <a:lnTo>
                      <a:pt x="18" y="28"/>
                    </a:lnTo>
                    <a:lnTo>
                      <a:pt x="22" y="32"/>
                    </a:lnTo>
                    <a:lnTo>
                      <a:pt x="22" y="38"/>
                    </a:lnTo>
                    <a:lnTo>
                      <a:pt x="4" y="54"/>
                    </a:lnTo>
                    <a:lnTo>
                      <a:pt x="0" y="52"/>
                    </a:lnTo>
                    <a:lnTo>
                      <a:pt x="6" y="2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40" name="Freeform 96"/>
              <p:cNvSpPr>
                <a:spLocks/>
              </p:cNvSpPr>
              <p:nvPr/>
            </p:nvSpPr>
            <p:spPr bwMode="auto">
              <a:xfrm>
                <a:off x="6997809" y="6018213"/>
                <a:ext cx="17197" cy="15875"/>
              </a:xfrm>
              <a:custGeom>
                <a:avLst/>
                <a:gdLst>
                  <a:gd name="T0" fmla="*/ 0 w 10"/>
                  <a:gd name="T1" fmla="*/ 2 h 10"/>
                  <a:gd name="T2" fmla="*/ 2 w 10"/>
                  <a:gd name="T3" fmla="*/ 0 h 10"/>
                  <a:gd name="T4" fmla="*/ 4 w 10"/>
                  <a:gd name="T5" fmla="*/ 0 h 10"/>
                  <a:gd name="T6" fmla="*/ 8 w 10"/>
                  <a:gd name="T7" fmla="*/ 0 h 10"/>
                  <a:gd name="T8" fmla="*/ 10 w 10"/>
                  <a:gd name="T9" fmla="*/ 4 h 10"/>
                  <a:gd name="T10" fmla="*/ 8 w 10"/>
                  <a:gd name="T11" fmla="*/ 8 h 10"/>
                  <a:gd name="T12" fmla="*/ 6 w 10"/>
                  <a:gd name="T13" fmla="*/ 10 h 10"/>
                  <a:gd name="T14" fmla="*/ 2 w 10"/>
                  <a:gd name="T15" fmla="*/ 10 h 10"/>
                  <a:gd name="T16" fmla="*/ 0 w 10"/>
                  <a:gd name="T17" fmla="*/ 4 h 10"/>
                  <a:gd name="T18" fmla="*/ 0 w 10"/>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0" y="2"/>
                    </a:moveTo>
                    <a:lnTo>
                      <a:pt x="2" y="0"/>
                    </a:lnTo>
                    <a:lnTo>
                      <a:pt x="4" y="0"/>
                    </a:lnTo>
                    <a:lnTo>
                      <a:pt x="8" y="0"/>
                    </a:lnTo>
                    <a:lnTo>
                      <a:pt x="10" y="4"/>
                    </a:lnTo>
                    <a:lnTo>
                      <a:pt x="8" y="8"/>
                    </a:lnTo>
                    <a:lnTo>
                      <a:pt x="6" y="10"/>
                    </a:lnTo>
                    <a:lnTo>
                      <a:pt x="2" y="10"/>
                    </a:lnTo>
                    <a:lnTo>
                      <a:pt x="0" y="4"/>
                    </a:lnTo>
                    <a:lnTo>
                      <a:pt x="0"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41" name="Freeform 97"/>
              <p:cNvSpPr>
                <a:spLocks/>
              </p:cNvSpPr>
              <p:nvPr/>
            </p:nvSpPr>
            <p:spPr bwMode="auto">
              <a:xfrm>
                <a:off x="6997809" y="6018213"/>
                <a:ext cx="17197" cy="15875"/>
              </a:xfrm>
              <a:custGeom>
                <a:avLst/>
                <a:gdLst>
                  <a:gd name="T0" fmla="*/ 0 w 10"/>
                  <a:gd name="T1" fmla="*/ 2 h 10"/>
                  <a:gd name="T2" fmla="*/ 2 w 10"/>
                  <a:gd name="T3" fmla="*/ 0 h 10"/>
                  <a:gd name="T4" fmla="*/ 4 w 10"/>
                  <a:gd name="T5" fmla="*/ 0 h 10"/>
                  <a:gd name="T6" fmla="*/ 8 w 10"/>
                  <a:gd name="T7" fmla="*/ 0 h 10"/>
                  <a:gd name="T8" fmla="*/ 10 w 10"/>
                  <a:gd name="T9" fmla="*/ 4 h 10"/>
                  <a:gd name="T10" fmla="*/ 8 w 10"/>
                  <a:gd name="T11" fmla="*/ 8 h 10"/>
                  <a:gd name="T12" fmla="*/ 6 w 10"/>
                  <a:gd name="T13" fmla="*/ 10 h 10"/>
                  <a:gd name="T14" fmla="*/ 2 w 10"/>
                  <a:gd name="T15" fmla="*/ 10 h 10"/>
                  <a:gd name="T16" fmla="*/ 0 w 10"/>
                  <a:gd name="T17" fmla="*/ 4 h 10"/>
                  <a:gd name="T18" fmla="*/ 0 w 10"/>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0" y="2"/>
                    </a:moveTo>
                    <a:lnTo>
                      <a:pt x="2" y="0"/>
                    </a:lnTo>
                    <a:lnTo>
                      <a:pt x="4" y="0"/>
                    </a:lnTo>
                    <a:lnTo>
                      <a:pt x="8" y="0"/>
                    </a:lnTo>
                    <a:lnTo>
                      <a:pt x="10" y="4"/>
                    </a:lnTo>
                    <a:lnTo>
                      <a:pt x="8" y="8"/>
                    </a:lnTo>
                    <a:lnTo>
                      <a:pt x="6" y="10"/>
                    </a:lnTo>
                    <a:lnTo>
                      <a:pt x="2" y="10"/>
                    </a:lnTo>
                    <a:lnTo>
                      <a:pt x="0" y="4"/>
                    </a:lnTo>
                    <a:lnTo>
                      <a:pt x="0"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42" name="Freeform 98"/>
              <p:cNvSpPr>
                <a:spLocks/>
              </p:cNvSpPr>
              <p:nvPr/>
            </p:nvSpPr>
            <p:spPr bwMode="auto">
              <a:xfrm>
                <a:off x="6973733" y="5837238"/>
                <a:ext cx="27515" cy="31750"/>
              </a:xfrm>
              <a:custGeom>
                <a:avLst/>
                <a:gdLst>
                  <a:gd name="T0" fmla="*/ 10 w 16"/>
                  <a:gd name="T1" fmla="*/ 2 h 20"/>
                  <a:gd name="T2" fmla="*/ 14 w 16"/>
                  <a:gd name="T3" fmla="*/ 0 h 20"/>
                  <a:gd name="T4" fmla="*/ 16 w 16"/>
                  <a:gd name="T5" fmla="*/ 2 h 20"/>
                  <a:gd name="T6" fmla="*/ 8 w 16"/>
                  <a:gd name="T7" fmla="*/ 18 h 20"/>
                  <a:gd name="T8" fmla="*/ 2 w 16"/>
                  <a:gd name="T9" fmla="*/ 20 h 20"/>
                  <a:gd name="T10" fmla="*/ 0 w 16"/>
                  <a:gd name="T11" fmla="*/ 14 h 20"/>
                  <a:gd name="T12" fmla="*/ 2 w 16"/>
                  <a:gd name="T13" fmla="*/ 10 h 20"/>
                  <a:gd name="T14" fmla="*/ 4 w 16"/>
                  <a:gd name="T15" fmla="*/ 6 h 20"/>
                  <a:gd name="T16" fmla="*/ 10 w 16"/>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
                    <a:moveTo>
                      <a:pt x="10" y="2"/>
                    </a:moveTo>
                    <a:lnTo>
                      <a:pt x="14" y="0"/>
                    </a:lnTo>
                    <a:lnTo>
                      <a:pt x="16" y="2"/>
                    </a:lnTo>
                    <a:lnTo>
                      <a:pt x="8" y="18"/>
                    </a:lnTo>
                    <a:lnTo>
                      <a:pt x="2" y="20"/>
                    </a:lnTo>
                    <a:lnTo>
                      <a:pt x="0" y="14"/>
                    </a:lnTo>
                    <a:lnTo>
                      <a:pt x="2" y="10"/>
                    </a:lnTo>
                    <a:lnTo>
                      <a:pt x="4" y="6"/>
                    </a:lnTo>
                    <a:lnTo>
                      <a:pt x="10"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43" name="Freeform 99"/>
              <p:cNvSpPr>
                <a:spLocks/>
              </p:cNvSpPr>
              <p:nvPr/>
            </p:nvSpPr>
            <p:spPr bwMode="auto">
              <a:xfrm>
                <a:off x="6973733" y="5837238"/>
                <a:ext cx="27515" cy="31750"/>
              </a:xfrm>
              <a:custGeom>
                <a:avLst/>
                <a:gdLst>
                  <a:gd name="T0" fmla="*/ 10 w 16"/>
                  <a:gd name="T1" fmla="*/ 2 h 20"/>
                  <a:gd name="T2" fmla="*/ 14 w 16"/>
                  <a:gd name="T3" fmla="*/ 0 h 20"/>
                  <a:gd name="T4" fmla="*/ 16 w 16"/>
                  <a:gd name="T5" fmla="*/ 2 h 20"/>
                  <a:gd name="T6" fmla="*/ 8 w 16"/>
                  <a:gd name="T7" fmla="*/ 18 h 20"/>
                  <a:gd name="T8" fmla="*/ 2 w 16"/>
                  <a:gd name="T9" fmla="*/ 20 h 20"/>
                  <a:gd name="T10" fmla="*/ 0 w 16"/>
                  <a:gd name="T11" fmla="*/ 14 h 20"/>
                  <a:gd name="T12" fmla="*/ 2 w 16"/>
                  <a:gd name="T13" fmla="*/ 10 h 20"/>
                  <a:gd name="T14" fmla="*/ 4 w 16"/>
                  <a:gd name="T15" fmla="*/ 6 h 20"/>
                  <a:gd name="T16" fmla="*/ 10 w 16"/>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
                    <a:moveTo>
                      <a:pt x="10" y="2"/>
                    </a:moveTo>
                    <a:lnTo>
                      <a:pt x="14" y="0"/>
                    </a:lnTo>
                    <a:lnTo>
                      <a:pt x="16" y="2"/>
                    </a:lnTo>
                    <a:lnTo>
                      <a:pt x="8" y="18"/>
                    </a:lnTo>
                    <a:lnTo>
                      <a:pt x="2" y="20"/>
                    </a:lnTo>
                    <a:lnTo>
                      <a:pt x="0" y="14"/>
                    </a:lnTo>
                    <a:lnTo>
                      <a:pt x="2" y="10"/>
                    </a:lnTo>
                    <a:lnTo>
                      <a:pt x="4" y="6"/>
                    </a:lnTo>
                    <a:lnTo>
                      <a:pt x="10"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44" name="Freeform 100"/>
              <p:cNvSpPr>
                <a:spLocks/>
              </p:cNvSpPr>
              <p:nvPr/>
            </p:nvSpPr>
            <p:spPr bwMode="auto">
              <a:xfrm>
                <a:off x="7001248" y="5837238"/>
                <a:ext cx="24075" cy="25400"/>
              </a:xfrm>
              <a:custGeom>
                <a:avLst/>
                <a:gdLst>
                  <a:gd name="T0" fmla="*/ 2 w 14"/>
                  <a:gd name="T1" fmla="*/ 8 h 16"/>
                  <a:gd name="T2" fmla="*/ 4 w 14"/>
                  <a:gd name="T3" fmla="*/ 2 h 16"/>
                  <a:gd name="T4" fmla="*/ 8 w 14"/>
                  <a:gd name="T5" fmla="*/ 0 h 16"/>
                  <a:gd name="T6" fmla="*/ 14 w 14"/>
                  <a:gd name="T7" fmla="*/ 0 h 16"/>
                  <a:gd name="T8" fmla="*/ 14 w 14"/>
                  <a:gd name="T9" fmla="*/ 2 h 16"/>
                  <a:gd name="T10" fmla="*/ 14 w 14"/>
                  <a:gd name="T11" fmla="*/ 6 h 16"/>
                  <a:gd name="T12" fmla="*/ 12 w 14"/>
                  <a:gd name="T13" fmla="*/ 12 h 16"/>
                  <a:gd name="T14" fmla="*/ 6 w 14"/>
                  <a:gd name="T15" fmla="*/ 12 h 16"/>
                  <a:gd name="T16" fmla="*/ 4 w 14"/>
                  <a:gd name="T17" fmla="*/ 16 h 16"/>
                  <a:gd name="T18" fmla="*/ 2 w 14"/>
                  <a:gd name="T19" fmla="*/ 14 h 16"/>
                  <a:gd name="T20" fmla="*/ 0 w 14"/>
                  <a:gd name="T21" fmla="*/ 10 h 16"/>
                  <a:gd name="T22" fmla="*/ 2 w 14"/>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6">
                    <a:moveTo>
                      <a:pt x="2" y="8"/>
                    </a:moveTo>
                    <a:lnTo>
                      <a:pt x="4" y="2"/>
                    </a:lnTo>
                    <a:lnTo>
                      <a:pt x="8" y="0"/>
                    </a:lnTo>
                    <a:lnTo>
                      <a:pt x="14" y="0"/>
                    </a:lnTo>
                    <a:lnTo>
                      <a:pt x="14" y="2"/>
                    </a:lnTo>
                    <a:lnTo>
                      <a:pt x="14" y="6"/>
                    </a:lnTo>
                    <a:lnTo>
                      <a:pt x="12" y="12"/>
                    </a:lnTo>
                    <a:lnTo>
                      <a:pt x="6" y="12"/>
                    </a:lnTo>
                    <a:lnTo>
                      <a:pt x="4" y="16"/>
                    </a:lnTo>
                    <a:lnTo>
                      <a:pt x="2" y="14"/>
                    </a:lnTo>
                    <a:lnTo>
                      <a:pt x="0" y="10"/>
                    </a:lnTo>
                    <a:lnTo>
                      <a:pt x="2"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45" name="Freeform 101"/>
              <p:cNvSpPr>
                <a:spLocks/>
              </p:cNvSpPr>
              <p:nvPr/>
            </p:nvSpPr>
            <p:spPr bwMode="auto">
              <a:xfrm>
                <a:off x="7001248" y="5837238"/>
                <a:ext cx="24075" cy="25400"/>
              </a:xfrm>
              <a:custGeom>
                <a:avLst/>
                <a:gdLst>
                  <a:gd name="T0" fmla="*/ 2 w 14"/>
                  <a:gd name="T1" fmla="*/ 8 h 16"/>
                  <a:gd name="T2" fmla="*/ 4 w 14"/>
                  <a:gd name="T3" fmla="*/ 2 h 16"/>
                  <a:gd name="T4" fmla="*/ 8 w 14"/>
                  <a:gd name="T5" fmla="*/ 0 h 16"/>
                  <a:gd name="T6" fmla="*/ 14 w 14"/>
                  <a:gd name="T7" fmla="*/ 0 h 16"/>
                  <a:gd name="T8" fmla="*/ 14 w 14"/>
                  <a:gd name="T9" fmla="*/ 2 h 16"/>
                  <a:gd name="T10" fmla="*/ 14 w 14"/>
                  <a:gd name="T11" fmla="*/ 6 h 16"/>
                  <a:gd name="T12" fmla="*/ 12 w 14"/>
                  <a:gd name="T13" fmla="*/ 12 h 16"/>
                  <a:gd name="T14" fmla="*/ 6 w 14"/>
                  <a:gd name="T15" fmla="*/ 12 h 16"/>
                  <a:gd name="T16" fmla="*/ 4 w 14"/>
                  <a:gd name="T17" fmla="*/ 16 h 16"/>
                  <a:gd name="T18" fmla="*/ 2 w 14"/>
                  <a:gd name="T19" fmla="*/ 14 h 16"/>
                  <a:gd name="T20" fmla="*/ 0 w 14"/>
                  <a:gd name="T21" fmla="*/ 10 h 16"/>
                  <a:gd name="T22" fmla="*/ 2 w 14"/>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6">
                    <a:moveTo>
                      <a:pt x="2" y="8"/>
                    </a:moveTo>
                    <a:lnTo>
                      <a:pt x="4" y="2"/>
                    </a:lnTo>
                    <a:lnTo>
                      <a:pt x="8" y="0"/>
                    </a:lnTo>
                    <a:lnTo>
                      <a:pt x="14" y="0"/>
                    </a:lnTo>
                    <a:lnTo>
                      <a:pt x="14" y="2"/>
                    </a:lnTo>
                    <a:lnTo>
                      <a:pt x="14" y="6"/>
                    </a:lnTo>
                    <a:lnTo>
                      <a:pt x="12" y="12"/>
                    </a:lnTo>
                    <a:lnTo>
                      <a:pt x="6" y="12"/>
                    </a:lnTo>
                    <a:lnTo>
                      <a:pt x="4" y="16"/>
                    </a:lnTo>
                    <a:lnTo>
                      <a:pt x="2" y="14"/>
                    </a:lnTo>
                    <a:lnTo>
                      <a:pt x="0" y="10"/>
                    </a:lnTo>
                    <a:lnTo>
                      <a:pt x="2"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46" name="Freeform 102"/>
              <p:cNvSpPr>
                <a:spLocks/>
              </p:cNvSpPr>
              <p:nvPr/>
            </p:nvSpPr>
            <p:spPr bwMode="auto">
              <a:xfrm>
                <a:off x="7090670" y="5824538"/>
                <a:ext cx="65347" cy="34925"/>
              </a:xfrm>
              <a:custGeom>
                <a:avLst/>
                <a:gdLst>
                  <a:gd name="T0" fmla="*/ 2 w 38"/>
                  <a:gd name="T1" fmla="*/ 10 h 22"/>
                  <a:gd name="T2" fmla="*/ 16 w 38"/>
                  <a:gd name="T3" fmla="*/ 6 h 22"/>
                  <a:gd name="T4" fmla="*/ 26 w 38"/>
                  <a:gd name="T5" fmla="*/ 6 h 22"/>
                  <a:gd name="T6" fmla="*/ 36 w 38"/>
                  <a:gd name="T7" fmla="*/ 0 h 22"/>
                  <a:gd name="T8" fmla="*/ 38 w 38"/>
                  <a:gd name="T9" fmla="*/ 2 h 22"/>
                  <a:gd name="T10" fmla="*/ 38 w 38"/>
                  <a:gd name="T11" fmla="*/ 4 h 22"/>
                  <a:gd name="T12" fmla="*/ 30 w 38"/>
                  <a:gd name="T13" fmla="*/ 10 h 22"/>
                  <a:gd name="T14" fmla="*/ 18 w 38"/>
                  <a:gd name="T15" fmla="*/ 14 h 22"/>
                  <a:gd name="T16" fmla="*/ 10 w 38"/>
                  <a:gd name="T17" fmla="*/ 22 h 22"/>
                  <a:gd name="T18" fmla="*/ 6 w 38"/>
                  <a:gd name="T19" fmla="*/ 22 h 22"/>
                  <a:gd name="T20" fmla="*/ 2 w 38"/>
                  <a:gd name="T21" fmla="*/ 16 h 22"/>
                  <a:gd name="T22" fmla="*/ 0 w 38"/>
                  <a:gd name="T23" fmla="*/ 14 h 22"/>
                  <a:gd name="T24" fmla="*/ 2 w 38"/>
                  <a:gd name="T25"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2">
                    <a:moveTo>
                      <a:pt x="2" y="10"/>
                    </a:moveTo>
                    <a:lnTo>
                      <a:pt x="16" y="6"/>
                    </a:lnTo>
                    <a:lnTo>
                      <a:pt x="26" y="6"/>
                    </a:lnTo>
                    <a:lnTo>
                      <a:pt x="36" y="0"/>
                    </a:lnTo>
                    <a:lnTo>
                      <a:pt x="38" y="2"/>
                    </a:lnTo>
                    <a:lnTo>
                      <a:pt x="38" y="4"/>
                    </a:lnTo>
                    <a:lnTo>
                      <a:pt x="30" y="10"/>
                    </a:lnTo>
                    <a:lnTo>
                      <a:pt x="18" y="14"/>
                    </a:lnTo>
                    <a:lnTo>
                      <a:pt x="10" y="22"/>
                    </a:lnTo>
                    <a:lnTo>
                      <a:pt x="6" y="22"/>
                    </a:lnTo>
                    <a:lnTo>
                      <a:pt x="2" y="16"/>
                    </a:lnTo>
                    <a:lnTo>
                      <a:pt x="0" y="14"/>
                    </a:lnTo>
                    <a:lnTo>
                      <a:pt x="2" y="1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47" name="Freeform 103"/>
              <p:cNvSpPr>
                <a:spLocks/>
              </p:cNvSpPr>
              <p:nvPr/>
            </p:nvSpPr>
            <p:spPr bwMode="auto">
              <a:xfrm>
                <a:off x="7090670" y="5824538"/>
                <a:ext cx="65347" cy="34925"/>
              </a:xfrm>
              <a:custGeom>
                <a:avLst/>
                <a:gdLst>
                  <a:gd name="T0" fmla="*/ 2 w 38"/>
                  <a:gd name="T1" fmla="*/ 10 h 22"/>
                  <a:gd name="T2" fmla="*/ 16 w 38"/>
                  <a:gd name="T3" fmla="*/ 6 h 22"/>
                  <a:gd name="T4" fmla="*/ 26 w 38"/>
                  <a:gd name="T5" fmla="*/ 6 h 22"/>
                  <a:gd name="T6" fmla="*/ 36 w 38"/>
                  <a:gd name="T7" fmla="*/ 0 h 22"/>
                  <a:gd name="T8" fmla="*/ 38 w 38"/>
                  <a:gd name="T9" fmla="*/ 2 h 22"/>
                  <a:gd name="T10" fmla="*/ 38 w 38"/>
                  <a:gd name="T11" fmla="*/ 4 h 22"/>
                  <a:gd name="T12" fmla="*/ 30 w 38"/>
                  <a:gd name="T13" fmla="*/ 10 h 22"/>
                  <a:gd name="T14" fmla="*/ 18 w 38"/>
                  <a:gd name="T15" fmla="*/ 14 h 22"/>
                  <a:gd name="T16" fmla="*/ 10 w 38"/>
                  <a:gd name="T17" fmla="*/ 22 h 22"/>
                  <a:gd name="T18" fmla="*/ 6 w 38"/>
                  <a:gd name="T19" fmla="*/ 22 h 22"/>
                  <a:gd name="T20" fmla="*/ 2 w 38"/>
                  <a:gd name="T21" fmla="*/ 16 h 22"/>
                  <a:gd name="T22" fmla="*/ 0 w 38"/>
                  <a:gd name="T23" fmla="*/ 14 h 22"/>
                  <a:gd name="T24" fmla="*/ 2 w 38"/>
                  <a:gd name="T25"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2">
                    <a:moveTo>
                      <a:pt x="2" y="10"/>
                    </a:moveTo>
                    <a:lnTo>
                      <a:pt x="16" y="6"/>
                    </a:lnTo>
                    <a:lnTo>
                      <a:pt x="26" y="6"/>
                    </a:lnTo>
                    <a:lnTo>
                      <a:pt x="36" y="0"/>
                    </a:lnTo>
                    <a:lnTo>
                      <a:pt x="38" y="2"/>
                    </a:lnTo>
                    <a:lnTo>
                      <a:pt x="38" y="4"/>
                    </a:lnTo>
                    <a:lnTo>
                      <a:pt x="30" y="10"/>
                    </a:lnTo>
                    <a:lnTo>
                      <a:pt x="18" y="14"/>
                    </a:lnTo>
                    <a:lnTo>
                      <a:pt x="10" y="22"/>
                    </a:lnTo>
                    <a:lnTo>
                      <a:pt x="6" y="22"/>
                    </a:lnTo>
                    <a:lnTo>
                      <a:pt x="2" y="16"/>
                    </a:lnTo>
                    <a:lnTo>
                      <a:pt x="0" y="14"/>
                    </a:lnTo>
                    <a:lnTo>
                      <a:pt x="2" y="1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48" name="Freeform 104"/>
              <p:cNvSpPr>
                <a:spLocks/>
              </p:cNvSpPr>
              <p:nvPr/>
            </p:nvSpPr>
            <p:spPr bwMode="auto">
              <a:xfrm>
                <a:off x="7166335" y="5802313"/>
                <a:ext cx="68786" cy="28575"/>
              </a:xfrm>
              <a:custGeom>
                <a:avLst/>
                <a:gdLst>
                  <a:gd name="T0" fmla="*/ 2 w 40"/>
                  <a:gd name="T1" fmla="*/ 16 h 18"/>
                  <a:gd name="T2" fmla="*/ 0 w 40"/>
                  <a:gd name="T3" fmla="*/ 14 h 18"/>
                  <a:gd name="T4" fmla="*/ 10 w 40"/>
                  <a:gd name="T5" fmla="*/ 14 h 18"/>
                  <a:gd name="T6" fmla="*/ 38 w 40"/>
                  <a:gd name="T7" fmla="*/ 0 h 18"/>
                  <a:gd name="T8" fmla="*/ 40 w 40"/>
                  <a:gd name="T9" fmla="*/ 0 h 18"/>
                  <a:gd name="T10" fmla="*/ 36 w 40"/>
                  <a:gd name="T11" fmla="*/ 4 h 18"/>
                  <a:gd name="T12" fmla="*/ 8 w 40"/>
                  <a:gd name="T13" fmla="*/ 18 h 18"/>
                  <a:gd name="T14" fmla="*/ 2 w 40"/>
                  <a:gd name="T15" fmla="*/ 16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8">
                    <a:moveTo>
                      <a:pt x="2" y="16"/>
                    </a:moveTo>
                    <a:lnTo>
                      <a:pt x="0" y="14"/>
                    </a:lnTo>
                    <a:lnTo>
                      <a:pt x="10" y="14"/>
                    </a:lnTo>
                    <a:lnTo>
                      <a:pt x="38" y="0"/>
                    </a:lnTo>
                    <a:lnTo>
                      <a:pt x="40" y="0"/>
                    </a:lnTo>
                    <a:lnTo>
                      <a:pt x="36" y="4"/>
                    </a:lnTo>
                    <a:lnTo>
                      <a:pt x="8" y="18"/>
                    </a:lnTo>
                    <a:lnTo>
                      <a:pt x="2" y="1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49" name="Freeform 105"/>
              <p:cNvSpPr>
                <a:spLocks/>
              </p:cNvSpPr>
              <p:nvPr/>
            </p:nvSpPr>
            <p:spPr bwMode="auto">
              <a:xfrm>
                <a:off x="7166335" y="5802313"/>
                <a:ext cx="68786" cy="28575"/>
              </a:xfrm>
              <a:custGeom>
                <a:avLst/>
                <a:gdLst>
                  <a:gd name="T0" fmla="*/ 2 w 40"/>
                  <a:gd name="T1" fmla="*/ 16 h 18"/>
                  <a:gd name="T2" fmla="*/ 0 w 40"/>
                  <a:gd name="T3" fmla="*/ 14 h 18"/>
                  <a:gd name="T4" fmla="*/ 10 w 40"/>
                  <a:gd name="T5" fmla="*/ 14 h 18"/>
                  <a:gd name="T6" fmla="*/ 38 w 40"/>
                  <a:gd name="T7" fmla="*/ 0 h 18"/>
                  <a:gd name="T8" fmla="*/ 40 w 40"/>
                  <a:gd name="T9" fmla="*/ 0 h 18"/>
                  <a:gd name="T10" fmla="*/ 36 w 40"/>
                  <a:gd name="T11" fmla="*/ 4 h 18"/>
                  <a:gd name="T12" fmla="*/ 8 w 40"/>
                  <a:gd name="T13" fmla="*/ 18 h 18"/>
                  <a:gd name="T14" fmla="*/ 2 w 40"/>
                  <a:gd name="T15" fmla="*/ 16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8">
                    <a:moveTo>
                      <a:pt x="2" y="16"/>
                    </a:moveTo>
                    <a:lnTo>
                      <a:pt x="0" y="14"/>
                    </a:lnTo>
                    <a:lnTo>
                      <a:pt x="10" y="14"/>
                    </a:lnTo>
                    <a:lnTo>
                      <a:pt x="38" y="0"/>
                    </a:lnTo>
                    <a:lnTo>
                      <a:pt x="40" y="0"/>
                    </a:lnTo>
                    <a:lnTo>
                      <a:pt x="36" y="4"/>
                    </a:lnTo>
                    <a:lnTo>
                      <a:pt x="8" y="18"/>
                    </a:lnTo>
                    <a:lnTo>
                      <a:pt x="2" y="1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50" name="Freeform 106"/>
              <p:cNvSpPr>
                <a:spLocks/>
              </p:cNvSpPr>
              <p:nvPr/>
            </p:nvSpPr>
            <p:spPr bwMode="auto">
              <a:xfrm>
                <a:off x="7207607" y="5821363"/>
                <a:ext cx="10318" cy="28575"/>
              </a:xfrm>
              <a:custGeom>
                <a:avLst/>
                <a:gdLst>
                  <a:gd name="T0" fmla="*/ 0 w 6"/>
                  <a:gd name="T1" fmla="*/ 4 h 18"/>
                  <a:gd name="T2" fmla="*/ 0 w 6"/>
                  <a:gd name="T3" fmla="*/ 0 h 18"/>
                  <a:gd name="T4" fmla="*/ 2 w 6"/>
                  <a:gd name="T5" fmla="*/ 0 h 18"/>
                  <a:gd name="T6" fmla="*/ 2 w 6"/>
                  <a:gd name="T7" fmla="*/ 8 h 18"/>
                  <a:gd name="T8" fmla="*/ 6 w 6"/>
                  <a:gd name="T9" fmla="*/ 18 h 18"/>
                  <a:gd name="T10" fmla="*/ 0 w 6"/>
                  <a:gd name="T11" fmla="*/ 10 h 18"/>
                  <a:gd name="T12" fmla="*/ 0 w 6"/>
                  <a:gd name="T13" fmla="*/ 4 h 18"/>
                </a:gdLst>
                <a:ahLst/>
                <a:cxnLst>
                  <a:cxn ang="0">
                    <a:pos x="T0" y="T1"/>
                  </a:cxn>
                  <a:cxn ang="0">
                    <a:pos x="T2" y="T3"/>
                  </a:cxn>
                  <a:cxn ang="0">
                    <a:pos x="T4" y="T5"/>
                  </a:cxn>
                  <a:cxn ang="0">
                    <a:pos x="T6" y="T7"/>
                  </a:cxn>
                  <a:cxn ang="0">
                    <a:pos x="T8" y="T9"/>
                  </a:cxn>
                  <a:cxn ang="0">
                    <a:pos x="T10" y="T11"/>
                  </a:cxn>
                  <a:cxn ang="0">
                    <a:pos x="T12" y="T13"/>
                  </a:cxn>
                </a:cxnLst>
                <a:rect l="0" t="0" r="r" b="b"/>
                <a:pathLst>
                  <a:path w="6" h="18">
                    <a:moveTo>
                      <a:pt x="0" y="4"/>
                    </a:moveTo>
                    <a:lnTo>
                      <a:pt x="0" y="0"/>
                    </a:lnTo>
                    <a:lnTo>
                      <a:pt x="2" y="0"/>
                    </a:lnTo>
                    <a:lnTo>
                      <a:pt x="2" y="8"/>
                    </a:lnTo>
                    <a:lnTo>
                      <a:pt x="6" y="18"/>
                    </a:lnTo>
                    <a:lnTo>
                      <a:pt x="0" y="10"/>
                    </a:lnTo>
                    <a:lnTo>
                      <a:pt x="0"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51" name="Freeform 107"/>
              <p:cNvSpPr>
                <a:spLocks/>
              </p:cNvSpPr>
              <p:nvPr/>
            </p:nvSpPr>
            <p:spPr bwMode="auto">
              <a:xfrm>
                <a:off x="7207607" y="5821363"/>
                <a:ext cx="10318" cy="28575"/>
              </a:xfrm>
              <a:custGeom>
                <a:avLst/>
                <a:gdLst>
                  <a:gd name="T0" fmla="*/ 0 w 6"/>
                  <a:gd name="T1" fmla="*/ 4 h 18"/>
                  <a:gd name="T2" fmla="*/ 0 w 6"/>
                  <a:gd name="T3" fmla="*/ 0 h 18"/>
                  <a:gd name="T4" fmla="*/ 2 w 6"/>
                  <a:gd name="T5" fmla="*/ 0 h 18"/>
                  <a:gd name="T6" fmla="*/ 2 w 6"/>
                  <a:gd name="T7" fmla="*/ 8 h 18"/>
                  <a:gd name="T8" fmla="*/ 6 w 6"/>
                  <a:gd name="T9" fmla="*/ 18 h 18"/>
                  <a:gd name="T10" fmla="*/ 0 w 6"/>
                  <a:gd name="T11" fmla="*/ 10 h 18"/>
                  <a:gd name="T12" fmla="*/ 0 w 6"/>
                  <a:gd name="T13" fmla="*/ 4 h 18"/>
                </a:gdLst>
                <a:ahLst/>
                <a:cxnLst>
                  <a:cxn ang="0">
                    <a:pos x="T0" y="T1"/>
                  </a:cxn>
                  <a:cxn ang="0">
                    <a:pos x="T2" y="T3"/>
                  </a:cxn>
                  <a:cxn ang="0">
                    <a:pos x="T4" y="T5"/>
                  </a:cxn>
                  <a:cxn ang="0">
                    <a:pos x="T6" y="T7"/>
                  </a:cxn>
                  <a:cxn ang="0">
                    <a:pos x="T8" y="T9"/>
                  </a:cxn>
                  <a:cxn ang="0">
                    <a:pos x="T10" y="T11"/>
                  </a:cxn>
                  <a:cxn ang="0">
                    <a:pos x="T12" y="T13"/>
                  </a:cxn>
                </a:cxnLst>
                <a:rect l="0" t="0" r="r" b="b"/>
                <a:pathLst>
                  <a:path w="6" h="18">
                    <a:moveTo>
                      <a:pt x="0" y="4"/>
                    </a:moveTo>
                    <a:lnTo>
                      <a:pt x="0" y="0"/>
                    </a:lnTo>
                    <a:lnTo>
                      <a:pt x="2" y="0"/>
                    </a:lnTo>
                    <a:lnTo>
                      <a:pt x="2" y="8"/>
                    </a:lnTo>
                    <a:lnTo>
                      <a:pt x="6" y="18"/>
                    </a:lnTo>
                    <a:lnTo>
                      <a:pt x="0" y="10"/>
                    </a:lnTo>
                    <a:lnTo>
                      <a:pt x="0"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52" name="Freeform 108"/>
              <p:cNvSpPr>
                <a:spLocks/>
              </p:cNvSpPr>
              <p:nvPr/>
            </p:nvSpPr>
            <p:spPr bwMode="auto">
              <a:xfrm>
                <a:off x="7221364" y="5872163"/>
                <a:ext cx="92862" cy="53975"/>
              </a:xfrm>
              <a:custGeom>
                <a:avLst/>
                <a:gdLst>
                  <a:gd name="T0" fmla="*/ 0 w 54"/>
                  <a:gd name="T1" fmla="*/ 12 h 34"/>
                  <a:gd name="T2" fmla="*/ 2 w 54"/>
                  <a:gd name="T3" fmla="*/ 12 h 34"/>
                  <a:gd name="T4" fmla="*/ 4 w 54"/>
                  <a:gd name="T5" fmla="*/ 14 h 34"/>
                  <a:gd name="T6" fmla="*/ 30 w 54"/>
                  <a:gd name="T7" fmla="*/ 0 h 34"/>
                  <a:gd name="T8" fmla="*/ 46 w 54"/>
                  <a:gd name="T9" fmla="*/ 2 h 34"/>
                  <a:gd name="T10" fmla="*/ 46 w 54"/>
                  <a:gd name="T11" fmla="*/ 6 h 34"/>
                  <a:gd name="T12" fmla="*/ 50 w 54"/>
                  <a:gd name="T13" fmla="*/ 4 h 34"/>
                  <a:gd name="T14" fmla="*/ 54 w 54"/>
                  <a:gd name="T15" fmla="*/ 14 h 34"/>
                  <a:gd name="T16" fmla="*/ 50 w 54"/>
                  <a:gd name="T17" fmla="*/ 20 h 34"/>
                  <a:gd name="T18" fmla="*/ 34 w 54"/>
                  <a:gd name="T19" fmla="*/ 32 h 34"/>
                  <a:gd name="T20" fmla="*/ 14 w 54"/>
                  <a:gd name="T21" fmla="*/ 34 h 34"/>
                  <a:gd name="T22" fmla="*/ 4 w 54"/>
                  <a:gd name="T23" fmla="*/ 24 h 34"/>
                  <a:gd name="T24" fmla="*/ 0 w 54"/>
                  <a:gd name="T25" fmla="*/ 18 h 34"/>
                  <a:gd name="T26" fmla="*/ 0 w 54"/>
                  <a:gd name="T27" fmla="*/ 14 h 34"/>
                  <a:gd name="T28" fmla="*/ 0 w 54"/>
                  <a:gd name="T2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34">
                    <a:moveTo>
                      <a:pt x="0" y="12"/>
                    </a:moveTo>
                    <a:lnTo>
                      <a:pt x="2" y="12"/>
                    </a:lnTo>
                    <a:lnTo>
                      <a:pt x="4" y="14"/>
                    </a:lnTo>
                    <a:lnTo>
                      <a:pt x="30" y="0"/>
                    </a:lnTo>
                    <a:lnTo>
                      <a:pt x="46" y="2"/>
                    </a:lnTo>
                    <a:lnTo>
                      <a:pt x="46" y="6"/>
                    </a:lnTo>
                    <a:lnTo>
                      <a:pt x="50" y="4"/>
                    </a:lnTo>
                    <a:lnTo>
                      <a:pt x="54" y="14"/>
                    </a:lnTo>
                    <a:lnTo>
                      <a:pt x="50" y="20"/>
                    </a:lnTo>
                    <a:lnTo>
                      <a:pt x="34" y="32"/>
                    </a:lnTo>
                    <a:lnTo>
                      <a:pt x="14" y="34"/>
                    </a:lnTo>
                    <a:lnTo>
                      <a:pt x="4" y="24"/>
                    </a:lnTo>
                    <a:lnTo>
                      <a:pt x="0" y="18"/>
                    </a:lnTo>
                    <a:lnTo>
                      <a:pt x="0" y="14"/>
                    </a:lnTo>
                    <a:lnTo>
                      <a:pt x="0" y="1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53" name="Freeform 109"/>
              <p:cNvSpPr>
                <a:spLocks/>
              </p:cNvSpPr>
              <p:nvPr/>
            </p:nvSpPr>
            <p:spPr bwMode="auto">
              <a:xfrm>
                <a:off x="7221364" y="5872163"/>
                <a:ext cx="92862" cy="53975"/>
              </a:xfrm>
              <a:custGeom>
                <a:avLst/>
                <a:gdLst>
                  <a:gd name="T0" fmla="*/ 0 w 54"/>
                  <a:gd name="T1" fmla="*/ 12 h 34"/>
                  <a:gd name="T2" fmla="*/ 2 w 54"/>
                  <a:gd name="T3" fmla="*/ 12 h 34"/>
                  <a:gd name="T4" fmla="*/ 4 w 54"/>
                  <a:gd name="T5" fmla="*/ 14 h 34"/>
                  <a:gd name="T6" fmla="*/ 30 w 54"/>
                  <a:gd name="T7" fmla="*/ 0 h 34"/>
                  <a:gd name="T8" fmla="*/ 46 w 54"/>
                  <a:gd name="T9" fmla="*/ 2 h 34"/>
                  <a:gd name="T10" fmla="*/ 46 w 54"/>
                  <a:gd name="T11" fmla="*/ 6 h 34"/>
                  <a:gd name="T12" fmla="*/ 50 w 54"/>
                  <a:gd name="T13" fmla="*/ 4 h 34"/>
                  <a:gd name="T14" fmla="*/ 54 w 54"/>
                  <a:gd name="T15" fmla="*/ 14 h 34"/>
                  <a:gd name="T16" fmla="*/ 50 w 54"/>
                  <a:gd name="T17" fmla="*/ 20 h 34"/>
                  <a:gd name="T18" fmla="*/ 34 w 54"/>
                  <a:gd name="T19" fmla="*/ 32 h 34"/>
                  <a:gd name="T20" fmla="*/ 14 w 54"/>
                  <a:gd name="T21" fmla="*/ 34 h 34"/>
                  <a:gd name="T22" fmla="*/ 4 w 54"/>
                  <a:gd name="T23" fmla="*/ 24 h 34"/>
                  <a:gd name="T24" fmla="*/ 0 w 54"/>
                  <a:gd name="T25" fmla="*/ 18 h 34"/>
                  <a:gd name="T26" fmla="*/ 0 w 54"/>
                  <a:gd name="T27" fmla="*/ 14 h 34"/>
                  <a:gd name="T28" fmla="*/ 0 w 54"/>
                  <a:gd name="T2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34">
                    <a:moveTo>
                      <a:pt x="0" y="12"/>
                    </a:moveTo>
                    <a:lnTo>
                      <a:pt x="2" y="12"/>
                    </a:lnTo>
                    <a:lnTo>
                      <a:pt x="4" y="14"/>
                    </a:lnTo>
                    <a:lnTo>
                      <a:pt x="30" y="0"/>
                    </a:lnTo>
                    <a:lnTo>
                      <a:pt x="46" y="2"/>
                    </a:lnTo>
                    <a:lnTo>
                      <a:pt x="46" y="6"/>
                    </a:lnTo>
                    <a:lnTo>
                      <a:pt x="50" y="4"/>
                    </a:lnTo>
                    <a:lnTo>
                      <a:pt x="54" y="14"/>
                    </a:lnTo>
                    <a:lnTo>
                      <a:pt x="50" y="20"/>
                    </a:lnTo>
                    <a:lnTo>
                      <a:pt x="34" y="32"/>
                    </a:lnTo>
                    <a:lnTo>
                      <a:pt x="14" y="34"/>
                    </a:lnTo>
                    <a:lnTo>
                      <a:pt x="4" y="24"/>
                    </a:lnTo>
                    <a:lnTo>
                      <a:pt x="0" y="18"/>
                    </a:lnTo>
                    <a:lnTo>
                      <a:pt x="0" y="14"/>
                    </a:lnTo>
                    <a:lnTo>
                      <a:pt x="0" y="1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54" name="Freeform 110"/>
              <p:cNvSpPr>
                <a:spLocks/>
              </p:cNvSpPr>
              <p:nvPr/>
            </p:nvSpPr>
            <p:spPr bwMode="auto">
              <a:xfrm>
                <a:off x="7125063" y="5475288"/>
                <a:ext cx="20636" cy="15875"/>
              </a:xfrm>
              <a:custGeom>
                <a:avLst/>
                <a:gdLst>
                  <a:gd name="T0" fmla="*/ 0 w 12"/>
                  <a:gd name="T1" fmla="*/ 0 h 10"/>
                  <a:gd name="T2" fmla="*/ 2 w 12"/>
                  <a:gd name="T3" fmla="*/ 0 h 10"/>
                  <a:gd name="T4" fmla="*/ 4 w 12"/>
                  <a:gd name="T5" fmla="*/ 0 h 10"/>
                  <a:gd name="T6" fmla="*/ 12 w 12"/>
                  <a:gd name="T7" fmla="*/ 10 h 10"/>
                  <a:gd name="T8" fmla="*/ 0 w 12"/>
                  <a:gd name="T9" fmla="*/ 0 h 10"/>
                </a:gdLst>
                <a:ahLst/>
                <a:cxnLst>
                  <a:cxn ang="0">
                    <a:pos x="T0" y="T1"/>
                  </a:cxn>
                  <a:cxn ang="0">
                    <a:pos x="T2" y="T3"/>
                  </a:cxn>
                  <a:cxn ang="0">
                    <a:pos x="T4" y="T5"/>
                  </a:cxn>
                  <a:cxn ang="0">
                    <a:pos x="T6" y="T7"/>
                  </a:cxn>
                  <a:cxn ang="0">
                    <a:pos x="T8" y="T9"/>
                  </a:cxn>
                </a:cxnLst>
                <a:rect l="0" t="0" r="r" b="b"/>
                <a:pathLst>
                  <a:path w="12" h="10">
                    <a:moveTo>
                      <a:pt x="0" y="0"/>
                    </a:moveTo>
                    <a:lnTo>
                      <a:pt x="2" y="0"/>
                    </a:lnTo>
                    <a:lnTo>
                      <a:pt x="4" y="0"/>
                    </a:lnTo>
                    <a:lnTo>
                      <a:pt x="12" y="10"/>
                    </a:lnTo>
                    <a:lnTo>
                      <a:pt x="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55" name="Freeform 111"/>
              <p:cNvSpPr>
                <a:spLocks/>
              </p:cNvSpPr>
              <p:nvPr/>
            </p:nvSpPr>
            <p:spPr bwMode="auto">
              <a:xfrm>
                <a:off x="7125063" y="5475288"/>
                <a:ext cx="20636" cy="15875"/>
              </a:xfrm>
              <a:custGeom>
                <a:avLst/>
                <a:gdLst>
                  <a:gd name="T0" fmla="*/ 0 w 12"/>
                  <a:gd name="T1" fmla="*/ 0 h 10"/>
                  <a:gd name="T2" fmla="*/ 2 w 12"/>
                  <a:gd name="T3" fmla="*/ 0 h 10"/>
                  <a:gd name="T4" fmla="*/ 4 w 12"/>
                  <a:gd name="T5" fmla="*/ 0 h 10"/>
                  <a:gd name="T6" fmla="*/ 12 w 12"/>
                  <a:gd name="T7" fmla="*/ 10 h 10"/>
                  <a:gd name="T8" fmla="*/ 0 w 12"/>
                  <a:gd name="T9" fmla="*/ 0 h 10"/>
                </a:gdLst>
                <a:ahLst/>
                <a:cxnLst>
                  <a:cxn ang="0">
                    <a:pos x="T0" y="T1"/>
                  </a:cxn>
                  <a:cxn ang="0">
                    <a:pos x="T2" y="T3"/>
                  </a:cxn>
                  <a:cxn ang="0">
                    <a:pos x="T4" y="T5"/>
                  </a:cxn>
                  <a:cxn ang="0">
                    <a:pos x="T6" y="T7"/>
                  </a:cxn>
                  <a:cxn ang="0">
                    <a:pos x="T8" y="T9"/>
                  </a:cxn>
                </a:cxnLst>
                <a:rect l="0" t="0" r="r" b="b"/>
                <a:pathLst>
                  <a:path w="12" h="10">
                    <a:moveTo>
                      <a:pt x="0" y="0"/>
                    </a:moveTo>
                    <a:lnTo>
                      <a:pt x="2" y="0"/>
                    </a:lnTo>
                    <a:lnTo>
                      <a:pt x="4" y="0"/>
                    </a:lnTo>
                    <a:lnTo>
                      <a:pt x="12" y="10"/>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56" name="Freeform 112"/>
              <p:cNvSpPr>
                <a:spLocks/>
              </p:cNvSpPr>
              <p:nvPr/>
            </p:nvSpPr>
            <p:spPr bwMode="auto">
              <a:xfrm>
                <a:off x="7211046" y="5386388"/>
                <a:ext cx="13757" cy="31750"/>
              </a:xfrm>
              <a:custGeom>
                <a:avLst/>
                <a:gdLst>
                  <a:gd name="T0" fmla="*/ 0 w 8"/>
                  <a:gd name="T1" fmla="*/ 0 h 20"/>
                  <a:gd name="T2" fmla="*/ 4 w 8"/>
                  <a:gd name="T3" fmla="*/ 0 h 20"/>
                  <a:gd name="T4" fmla="*/ 6 w 8"/>
                  <a:gd name="T5" fmla="*/ 2 h 20"/>
                  <a:gd name="T6" fmla="*/ 8 w 8"/>
                  <a:gd name="T7" fmla="*/ 18 h 20"/>
                  <a:gd name="T8" fmla="*/ 6 w 8"/>
                  <a:gd name="T9" fmla="*/ 20 h 20"/>
                  <a:gd name="T10" fmla="*/ 0 w 8"/>
                  <a:gd name="T11" fmla="*/ 0 h 20"/>
                </a:gdLst>
                <a:ahLst/>
                <a:cxnLst>
                  <a:cxn ang="0">
                    <a:pos x="T0" y="T1"/>
                  </a:cxn>
                  <a:cxn ang="0">
                    <a:pos x="T2" y="T3"/>
                  </a:cxn>
                  <a:cxn ang="0">
                    <a:pos x="T4" y="T5"/>
                  </a:cxn>
                  <a:cxn ang="0">
                    <a:pos x="T6" y="T7"/>
                  </a:cxn>
                  <a:cxn ang="0">
                    <a:pos x="T8" y="T9"/>
                  </a:cxn>
                  <a:cxn ang="0">
                    <a:pos x="T10" y="T11"/>
                  </a:cxn>
                </a:cxnLst>
                <a:rect l="0" t="0" r="r" b="b"/>
                <a:pathLst>
                  <a:path w="8" h="20">
                    <a:moveTo>
                      <a:pt x="0" y="0"/>
                    </a:moveTo>
                    <a:lnTo>
                      <a:pt x="4" y="0"/>
                    </a:lnTo>
                    <a:lnTo>
                      <a:pt x="6" y="2"/>
                    </a:lnTo>
                    <a:lnTo>
                      <a:pt x="8" y="18"/>
                    </a:lnTo>
                    <a:lnTo>
                      <a:pt x="6" y="20"/>
                    </a:lnTo>
                    <a:lnTo>
                      <a:pt x="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57" name="Freeform 113"/>
              <p:cNvSpPr>
                <a:spLocks/>
              </p:cNvSpPr>
              <p:nvPr/>
            </p:nvSpPr>
            <p:spPr bwMode="auto">
              <a:xfrm>
                <a:off x="7211046" y="5386388"/>
                <a:ext cx="13757" cy="31750"/>
              </a:xfrm>
              <a:custGeom>
                <a:avLst/>
                <a:gdLst>
                  <a:gd name="T0" fmla="*/ 0 w 8"/>
                  <a:gd name="T1" fmla="*/ 0 h 20"/>
                  <a:gd name="T2" fmla="*/ 4 w 8"/>
                  <a:gd name="T3" fmla="*/ 0 h 20"/>
                  <a:gd name="T4" fmla="*/ 6 w 8"/>
                  <a:gd name="T5" fmla="*/ 2 h 20"/>
                  <a:gd name="T6" fmla="*/ 8 w 8"/>
                  <a:gd name="T7" fmla="*/ 18 h 20"/>
                  <a:gd name="T8" fmla="*/ 6 w 8"/>
                  <a:gd name="T9" fmla="*/ 20 h 20"/>
                  <a:gd name="T10" fmla="*/ 0 w 8"/>
                  <a:gd name="T11" fmla="*/ 0 h 20"/>
                </a:gdLst>
                <a:ahLst/>
                <a:cxnLst>
                  <a:cxn ang="0">
                    <a:pos x="T0" y="T1"/>
                  </a:cxn>
                  <a:cxn ang="0">
                    <a:pos x="T2" y="T3"/>
                  </a:cxn>
                  <a:cxn ang="0">
                    <a:pos x="T4" y="T5"/>
                  </a:cxn>
                  <a:cxn ang="0">
                    <a:pos x="T6" y="T7"/>
                  </a:cxn>
                  <a:cxn ang="0">
                    <a:pos x="T8" y="T9"/>
                  </a:cxn>
                  <a:cxn ang="0">
                    <a:pos x="T10" y="T11"/>
                  </a:cxn>
                </a:cxnLst>
                <a:rect l="0" t="0" r="r" b="b"/>
                <a:pathLst>
                  <a:path w="8" h="20">
                    <a:moveTo>
                      <a:pt x="0" y="0"/>
                    </a:moveTo>
                    <a:lnTo>
                      <a:pt x="4" y="0"/>
                    </a:lnTo>
                    <a:lnTo>
                      <a:pt x="6" y="2"/>
                    </a:lnTo>
                    <a:lnTo>
                      <a:pt x="8" y="18"/>
                    </a:lnTo>
                    <a:lnTo>
                      <a:pt x="6" y="20"/>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58" name="Freeform 114"/>
              <p:cNvSpPr>
                <a:spLocks/>
              </p:cNvSpPr>
              <p:nvPr/>
            </p:nvSpPr>
            <p:spPr bwMode="auto">
              <a:xfrm>
                <a:off x="7345180" y="5456238"/>
                <a:ext cx="27515" cy="44450"/>
              </a:xfrm>
              <a:custGeom>
                <a:avLst/>
                <a:gdLst>
                  <a:gd name="T0" fmla="*/ 10 w 16"/>
                  <a:gd name="T1" fmla="*/ 0 h 28"/>
                  <a:gd name="T2" fmla="*/ 14 w 16"/>
                  <a:gd name="T3" fmla="*/ 4 h 28"/>
                  <a:gd name="T4" fmla="*/ 14 w 16"/>
                  <a:gd name="T5" fmla="*/ 6 h 28"/>
                  <a:gd name="T6" fmla="*/ 16 w 16"/>
                  <a:gd name="T7" fmla="*/ 12 h 28"/>
                  <a:gd name="T8" fmla="*/ 12 w 16"/>
                  <a:gd name="T9" fmla="*/ 24 h 28"/>
                  <a:gd name="T10" fmla="*/ 4 w 16"/>
                  <a:gd name="T11" fmla="*/ 28 h 28"/>
                  <a:gd name="T12" fmla="*/ 0 w 16"/>
                  <a:gd name="T13" fmla="*/ 18 h 28"/>
                  <a:gd name="T14" fmla="*/ 0 w 16"/>
                  <a:gd name="T15" fmla="*/ 14 h 28"/>
                  <a:gd name="T16" fmla="*/ 2 w 16"/>
                  <a:gd name="T17" fmla="*/ 8 h 28"/>
                  <a:gd name="T18" fmla="*/ 10 w 16"/>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8">
                    <a:moveTo>
                      <a:pt x="10" y="0"/>
                    </a:moveTo>
                    <a:lnTo>
                      <a:pt x="14" y="4"/>
                    </a:lnTo>
                    <a:lnTo>
                      <a:pt x="14" y="6"/>
                    </a:lnTo>
                    <a:lnTo>
                      <a:pt x="16" y="12"/>
                    </a:lnTo>
                    <a:lnTo>
                      <a:pt x="12" y="24"/>
                    </a:lnTo>
                    <a:lnTo>
                      <a:pt x="4" y="28"/>
                    </a:lnTo>
                    <a:lnTo>
                      <a:pt x="0" y="18"/>
                    </a:lnTo>
                    <a:lnTo>
                      <a:pt x="0" y="14"/>
                    </a:lnTo>
                    <a:lnTo>
                      <a:pt x="2" y="8"/>
                    </a:lnTo>
                    <a:lnTo>
                      <a:pt x="1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59" name="Freeform 115"/>
              <p:cNvSpPr>
                <a:spLocks/>
              </p:cNvSpPr>
              <p:nvPr/>
            </p:nvSpPr>
            <p:spPr bwMode="auto">
              <a:xfrm>
                <a:off x="7345180" y="5456238"/>
                <a:ext cx="27515" cy="44450"/>
              </a:xfrm>
              <a:custGeom>
                <a:avLst/>
                <a:gdLst>
                  <a:gd name="T0" fmla="*/ 10 w 16"/>
                  <a:gd name="T1" fmla="*/ 0 h 28"/>
                  <a:gd name="T2" fmla="*/ 14 w 16"/>
                  <a:gd name="T3" fmla="*/ 4 h 28"/>
                  <a:gd name="T4" fmla="*/ 14 w 16"/>
                  <a:gd name="T5" fmla="*/ 6 h 28"/>
                  <a:gd name="T6" fmla="*/ 16 w 16"/>
                  <a:gd name="T7" fmla="*/ 12 h 28"/>
                  <a:gd name="T8" fmla="*/ 12 w 16"/>
                  <a:gd name="T9" fmla="*/ 24 h 28"/>
                  <a:gd name="T10" fmla="*/ 4 w 16"/>
                  <a:gd name="T11" fmla="*/ 28 h 28"/>
                  <a:gd name="T12" fmla="*/ 0 w 16"/>
                  <a:gd name="T13" fmla="*/ 18 h 28"/>
                  <a:gd name="T14" fmla="*/ 0 w 16"/>
                  <a:gd name="T15" fmla="*/ 14 h 28"/>
                  <a:gd name="T16" fmla="*/ 2 w 16"/>
                  <a:gd name="T17" fmla="*/ 8 h 28"/>
                  <a:gd name="T18" fmla="*/ 10 w 16"/>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8">
                    <a:moveTo>
                      <a:pt x="10" y="0"/>
                    </a:moveTo>
                    <a:lnTo>
                      <a:pt x="14" y="4"/>
                    </a:lnTo>
                    <a:lnTo>
                      <a:pt x="14" y="6"/>
                    </a:lnTo>
                    <a:lnTo>
                      <a:pt x="16" y="12"/>
                    </a:lnTo>
                    <a:lnTo>
                      <a:pt x="12" y="24"/>
                    </a:lnTo>
                    <a:lnTo>
                      <a:pt x="4" y="28"/>
                    </a:lnTo>
                    <a:lnTo>
                      <a:pt x="0" y="18"/>
                    </a:lnTo>
                    <a:lnTo>
                      <a:pt x="0" y="14"/>
                    </a:lnTo>
                    <a:lnTo>
                      <a:pt x="2" y="8"/>
                    </a:lnTo>
                    <a:lnTo>
                      <a:pt x="1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60" name="Freeform 116"/>
              <p:cNvSpPr>
                <a:spLocks/>
              </p:cNvSpPr>
              <p:nvPr/>
            </p:nvSpPr>
            <p:spPr bwMode="auto">
              <a:xfrm>
                <a:off x="7290151" y="5500688"/>
                <a:ext cx="113498" cy="190500"/>
              </a:xfrm>
              <a:custGeom>
                <a:avLst/>
                <a:gdLst>
                  <a:gd name="T0" fmla="*/ 18 w 66"/>
                  <a:gd name="T1" fmla="*/ 0 h 120"/>
                  <a:gd name="T2" fmla="*/ 18 w 66"/>
                  <a:gd name="T3" fmla="*/ 0 h 120"/>
                  <a:gd name="T4" fmla="*/ 22 w 66"/>
                  <a:gd name="T5" fmla="*/ 0 h 120"/>
                  <a:gd name="T6" fmla="*/ 22 w 66"/>
                  <a:gd name="T7" fmla="*/ 4 h 120"/>
                  <a:gd name="T8" fmla="*/ 20 w 66"/>
                  <a:gd name="T9" fmla="*/ 10 h 120"/>
                  <a:gd name="T10" fmla="*/ 18 w 66"/>
                  <a:gd name="T11" fmla="*/ 14 h 120"/>
                  <a:gd name="T12" fmla="*/ 16 w 66"/>
                  <a:gd name="T13" fmla="*/ 16 h 120"/>
                  <a:gd name="T14" fmla="*/ 20 w 66"/>
                  <a:gd name="T15" fmla="*/ 18 h 120"/>
                  <a:gd name="T16" fmla="*/ 26 w 66"/>
                  <a:gd name="T17" fmla="*/ 32 h 120"/>
                  <a:gd name="T18" fmla="*/ 26 w 66"/>
                  <a:gd name="T19" fmla="*/ 38 h 120"/>
                  <a:gd name="T20" fmla="*/ 12 w 66"/>
                  <a:gd name="T21" fmla="*/ 58 h 120"/>
                  <a:gd name="T22" fmla="*/ 14 w 66"/>
                  <a:gd name="T23" fmla="*/ 60 h 120"/>
                  <a:gd name="T24" fmla="*/ 20 w 66"/>
                  <a:gd name="T25" fmla="*/ 58 h 120"/>
                  <a:gd name="T26" fmla="*/ 30 w 66"/>
                  <a:gd name="T27" fmla="*/ 44 h 120"/>
                  <a:gd name="T28" fmla="*/ 36 w 66"/>
                  <a:gd name="T29" fmla="*/ 28 h 120"/>
                  <a:gd name="T30" fmla="*/ 42 w 66"/>
                  <a:gd name="T31" fmla="*/ 20 h 120"/>
                  <a:gd name="T32" fmla="*/ 50 w 66"/>
                  <a:gd name="T33" fmla="*/ 16 h 120"/>
                  <a:gd name="T34" fmla="*/ 52 w 66"/>
                  <a:gd name="T35" fmla="*/ 18 h 120"/>
                  <a:gd name="T36" fmla="*/ 56 w 66"/>
                  <a:gd name="T37" fmla="*/ 22 h 120"/>
                  <a:gd name="T38" fmla="*/ 58 w 66"/>
                  <a:gd name="T39" fmla="*/ 32 h 120"/>
                  <a:gd name="T40" fmla="*/ 42 w 66"/>
                  <a:gd name="T41" fmla="*/ 50 h 120"/>
                  <a:gd name="T42" fmla="*/ 42 w 66"/>
                  <a:gd name="T43" fmla="*/ 54 h 120"/>
                  <a:gd name="T44" fmla="*/ 56 w 66"/>
                  <a:gd name="T45" fmla="*/ 56 h 120"/>
                  <a:gd name="T46" fmla="*/ 58 w 66"/>
                  <a:gd name="T47" fmla="*/ 60 h 120"/>
                  <a:gd name="T48" fmla="*/ 62 w 66"/>
                  <a:gd name="T49" fmla="*/ 62 h 120"/>
                  <a:gd name="T50" fmla="*/ 66 w 66"/>
                  <a:gd name="T51" fmla="*/ 64 h 120"/>
                  <a:gd name="T52" fmla="*/ 60 w 66"/>
                  <a:gd name="T53" fmla="*/ 68 h 120"/>
                  <a:gd name="T54" fmla="*/ 52 w 66"/>
                  <a:gd name="T55" fmla="*/ 66 h 120"/>
                  <a:gd name="T56" fmla="*/ 32 w 66"/>
                  <a:gd name="T57" fmla="*/ 70 h 120"/>
                  <a:gd name="T58" fmla="*/ 28 w 66"/>
                  <a:gd name="T59" fmla="*/ 76 h 120"/>
                  <a:gd name="T60" fmla="*/ 32 w 66"/>
                  <a:gd name="T61" fmla="*/ 100 h 120"/>
                  <a:gd name="T62" fmla="*/ 42 w 66"/>
                  <a:gd name="T63" fmla="*/ 112 h 120"/>
                  <a:gd name="T64" fmla="*/ 52 w 66"/>
                  <a:gd name="T65" fmla="*/ 118 h 120"/>
                  <a:gd name="T66" fmla="*/ 48 w 66"/>
                  <a:gd name="T67" fmla="*/ 120 h 120"/>
                  <a:gd name="T68" fmla="*/ 24 w 66"/>
                  <a:gd name="T69" fmla="*/ 104 h 120"/>
                  <a:gd name="T70" fmla="*/ 18 w 66"/>
                  <a:gd name="T71" fmla="*/ 82 h 120"/>
                  <a:gd name="T72" fmla="*/ 12 w 66"/>
                  <a:gd name="T73" fmla="*/ 74 h 120"/>
                  <a:gd name="T74" fmla="*/ 12 w 66"/>
                  <a:gd name="T75" fmla="*/ 66 h 120"/>
                  <a:gd name="T76" fmla="*/ 10 w 66"/>
                  <a:gd name="T77" fmla="*/ 60 h 120"/>
                  <a:gd name="T78" fmla="*/ 6 w 66"/>
                  <a:gd name="T79" fmla="*/ 58 h 120"/>
                  <a:gd name="T80" fmla="*/ 0 w 66"/>
                  <a:gd name="T81" fmla="*/ 54 h 120"/>
                  <a:gd name="T82" fmla="*/ 0 w 66"/>
                  <a:gd name="T83" fmla="*/ 46 h 120"/>
                  <a:gd name="T84" fmla="*/ 2 w 66"/>
                  <a:gd name="T85" fmla="*/ 44 h 120"/>
                  <a:gd name="T86" fmla="*/ 8 w 66"/>
                  <a:gd name="T87" fmla="*/ 16 h 120"/>
                  <a:gd name="T88" fmla="*/ 18 w 66"/>
                  <a:gd name="T8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 h="120">
                    <a:moveTo>
                      <a:pt x="18" y="0"/>
                    </a:moveTo>
                    <a:lnTo>
                      <a:pt x="18" y="0"/>
                    </a:lnTo>
                    <a:lnTo>
                      <a:pt x="22" y="0"/>
                    </a:lnTo>
                    <a:lnTo>
                      <a:pt x="22" y="4"/>
                    </a:lnTo>
                    <a:lnTo>
                      <a:pt x="20" y="10"/>
                    </a:lnTo>
                    <a:lnTo>
                      <a:pt x="18" y="14"/>
                    </a:lnTo>
                    <a:lnTo>
                      <a:pt x="16" y="16"/>
                    </a:lnTo>
                    <a:lnTo>
                      <a:pt x="20" y="18"/>
                    </a:lnTo>
                    <a:lnTo>
                      <a:pt x="26" y="32"/>
                    </a:lnTo>
                    <a:lnTo>
                      <a:pt x="26" y="38"/>
                    </a:lnTo>
                    <a:lnTo>
                      <a:pt x="12" y="58"/>
                    </a:lnTo>
                    <a:lnTo>
                      <a:pt x="14" y="60"/>
                    </a:lnTo>
                    <a:lnTo>
                      <a:pt x="20" y="58"/>
                    </a:lnTo>
                    <a:lnTo>
                      <a:pt x="30" y="44"/>
                    </a:lnTo>
                    <a:lnTo>
                      <a:pt x="36" y="28"/>
                    </a:lnTo>
                    <a:lnTo>
                      <a:pt x="42" y="20"/>
                    </a:lnTo>
                    <a:lnTo>
                      <a:pt x="50" y="16"/>
                    </a:lnTo>
                    <a:lnTo>
                      <a:pt x="52" y="18"/>
                    </a:lnTo>
                    <a:lnTo>
                      <a:pt x="56" y="22"/>
                    </a:lnTo>
                    <a:lnTo>
                      <a:pt x="58" y="32"/>
                    </a:lnTo>
                    <a:lnTo>
                      <a:pt x="42" y="50"/>
                    </a:lnTo>
                    <a:lnTo>
                      <a:pt x="42" y="54"/>
                    </a:lnTo>
                    <a:lnTo>
                      <a:pt x="56" y="56"/>
                    </a:lnTo>
                    <a:lnTo>
                      <a:pt x="58" y="60"/>
                    </a:lnTo>
                    <a:lnTo>
                      <a:pt x="62" y="62"/>
                    </a:lnTo>
                    <a:lnTo>
                      <a:pt x="66" y="64"/>
                    </a:lnTo>
                    <a:lnTo>
                      <a:pt x="60" y="68"/>
                    </a:lnTo>
                    <a:lnTo>
                      <a:pt x="52" y="66"/>
                    </a:lnTo>
                    <a:lnTo>
                      <a:pt x="32" y="70"/>
                    </a:lnTo>
                    <a:lnTo>
                      <a:pt x="28" y="76"/>
                    </a:lnTo>
                    <a:lnTo>
                      <a:pt x="32" y="100"/>
                    </a:lnTo>
                    <a:lnTo>
                      <a:pt x="42" y="112"/>
                    </a:lnTo>
                    <a:lnTo>
                      <a:pt x="52" y="118"/>
                    </a:lnTo>
                    <a:lnTo>
                      <a:pt x="48" y="120"/>
                    </a:lnTo>
                    <a:lnTo>
                      <a:pt x="24" y="104"/>
                    </a:lnTo>
                    <a:lnTo>
                      <a:pt x="18" y="82"/>
                    </a:lnTo>
                    <a:lnTo>
                      <a:pt x="12" y="74"/>
                    </a:lnTo>
                    <a:lnTo>
                      <a:pt x="12" y="66"/>
                    </a:lnTo>
                    <a:lnTo>
                      <a:pt x="10" y="60"/>
                    </a:lnTo>
                    <a:lnTo>
                      <a:pt x="6" y="58"/>
                    </a:lnTo>
                    <a:lnTo>
                      <a:pt x="0" y="54"/>
                    </a:lnTo>
                    <a:lnTo>
                      <a:pt x="0" y="46"/>
                    </a:lnTo>
                    <a:lnTo>
                      <a:pt x="2" y="44"/>
                    </a:lnTo>
                    <a:lnTo>
                      <a:pt x="8" y="16"/>
                    </a:lnTo>
                    <a:lnTo>
                      <a:pt x="18"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61" name="Freeform 117"/>
              <p:cNvSpPr>
                <a:spLocks/>
              </p:cNvSpPr>
              <p:nvPr/>
            </p:nvSpPr>
            <p:spPr bwMode="auto">
              <a:xfrm>
                <a:off x="7290151" y="5500688"/>
                <a:ext cx="113498" cy="190500"/>
              </a:xfrm>
              <a:custGeom>
                <a:avLst/>
                <a:gdLst>
                  <a:gd name="T0" fmla="*/ 18 w 66"/>
                  <a:gd name="T1" fmla="*/ 0 h 120"/>
                  <a:gd name="T2" fmla="*/ 18 w 66"/>
                  <a:gd name="T3" fmla="*/ 0 h 120"/>
                  <a:gd name="T4" fmla="*/ 22 w 66"/>
                  <a:gd name="T5" fmla="*/ 0 h 120"/>
                  <a:gd name="T6" fmla="*/ 22 w 66"/>
                  <a:gd name="T7" fmla="*/ 4 h 120"/>
                  <a:gd name="T8" fmla="*/ 20 w 66"/>
                  <a:gd name="T9" fmla="*/ 10 h 120"/>
                  <a:gd name="T10" fmla="*/ 18 w 66"/>
                  <a:gd name="T11" fmla="*/ 14 h 120"/>
                  <a:gd name="T12" fmla="*/ 16 w 66"/>
                  <a:gd name="T13" fmla="*/ 16 h 120"/>
                  <a:gd name="T14" fmla="*/ 20 w 66"/>
                  <a:gd name="T15" fmla="*/ 18 h 120"/>
                  <a:gd name="T16" fmla="*/ 26 w 66"/>
                  <a:gd name="T17" fmla="*/ 32 h 120"/>
                  <a:gd name="T18" fmla="*/ 26 w 66"/>
                  <a:gd name="T19" fmla="*/ 38 h 120"/>
                  <a:gd name="T20" fmla="*/ 12 w 66"/>
                  <a:gd name="T21" fmla="*/ 58 h 120"/>
                  <a:gd name="T22" fmla="*/ 14 w 66"/>
                  <a:gd name="T23" fmla="*/ 60 h 120"/>
                  <a:gd name="T24" fmla="*/ 20 w 66"/>
                  <a:gd name="T25" fmla="*/ 58 h 120"/>
                  <a:gd name="T26" fmla="*/ 30 w 66"/>
                  <a:gd name="T27" fmla="*/ 44 h 120"/>
                  <a:gd name="T28" fmla="*/ 36 w 66"/>
                  <a:gd name="T29" fmla="*/ 28 h 120"/>
                  <a:gd name="T30" fmla="*/ 42 w 66"/>
                  <a:gd name="T31" fmla="*/ 20 h 120"/>
                  <a:gd name="T32" fmla="*/ 50 w 66"/>
                  <a:gd name="T33" fmla="*/ 16 h 120"/>
                  <a:gd name="T34" fmla="*/ 52 w 66"/>
                  <a:gd name="T35" fmla="*/ 18 h 120"/>
                  <a:gd name="T36" fmla="*/ 56 w 66"/>
                  <a:gd name="T37" fmla="*/ 22 h 120"/>
                  <a:gd name="T38" fmla="*/ 58 w 66"/>
                  <a:gd name="T39" fmla="*/ 32 h 120"/>
                  <a:gd name="T40" fmla="*/ 42 w 66"/>
                  <a:gd name="T41" fmla="*/ 50 h 120"/>
                  <a:gd name="T42" fmla="*/ 42 w 66"/>
                  <a:gd name="T43" fmla="*/ 54 h 120"/>
                  <a:gd name="T44" fmla="*/ 56 w 66"/>
                  <a:gd name="T45" fmla="*/ 56 h 120"/>
                  <a:gd name="T46" fmla="*/ 58 w 66"/>
                  <a:gd name="T47" fmla="*/ 60 h 120"/>
                  <a:gd name="T48" fmla="*/ 62 w 66"/>
                  <a:gd name="T49" fmla="*/ 62 h 120"/>
                  <a:gd name="T50" fmla="*/ 66 w 66"/>
                  <a:gd name="T51" fmla="*/ 64 h 120"/>
                  <a:gd name="T52" fmla="*/ 60 w 66"/>
                  <a:gd name="T53" fmla="*/ 68 h 120"/>
                  <a:gd name="T54" fmla="*/ 52 w 66"/>
                  <a:gd name="T55" fmla="*/ 66 h 120"/>
                  <a:gd name="T56" fmla="*/ 32 w 66"/>
                  <a:gd name="T57" fmla="*/ 70 h 120"/>
                  <a:gd name="T58" fmla="*/ 28 w 66"/>
                  <a:gd name="T59" fmla="*/ 76 h 120"/>
                  <a:gd name="T60" fmla="*/ 32 w 66"/>
                  <a:gd name="T61" fmla="*/ 100 h 120"/>
                  <a:gd name="T62" fmla="*/ 42 w 66"/>
                  <a:gd name="T63" fmla="*/ 112 h 120"/>
                  <a:gd name="T64" fmla="*/ 52 w 66"/>
                  <a:gd name="T65" fmla="*/ 118 h 120"/>
                  <a:gd name="T66" fmla="*/ 48 w 66"/>
                  <a:gd name="T67" fmla="*/ 120 h 120"/>
                  <a:gd name="T68" fmla="*/ 24 w 66"/>
                  <a:gd name="T69" fmla="*/ 104 h 120"/>
                  <a:gd name="T70" fmla="*/ 18 w 66"/>
                  <a:gd name="T71" fmla="*/ 82 h 120"/>
                  <a:gd name="T72" fmla="*/ 12 w 66"/>
                  <a:gd name="T73" fmla="*/ 74 h 120"/>
                  <a:gd name="T74" fmla="*/ 12 w 66"/>
                  <a:gd name="T75" fmla="*/ 66 h 120"/>
                  <a:gd name="T76" fmla="*/ 10 w 66"/>
                  <a:gd name="T77" fmla="*/ 60 h 120"/>
                  <a:gd name="T78" fmla="*/ 6 w 66"/>
                  <a:gd name="T79" fmla="*/ 58 h 120"/>
                  <a:gd name="T80" fmla="*/ 0 w 66"/>
                  <a:gd name="T81" fmla="*/ 54 h 120"/>
                  <a:gd name="T82" fmla="*/ 0 w 66"/>
                  <a:gd name="T83" fmla="*/ 46 h 120"/>
                  <a:gd name="T84" fmla="*/ 2 w 66"/>
                  <a:gd name="T85" fmla="*/ 44 h 120"/>
                  <a:gd name="T86" fmla="*/ 8 w 66"/>
                  <a:gd name="T87" fmla="*/ 16 h 120"/>
                  <a:gd name="T88" fmla="*/ 18 w 66"/>
                  <a:gd name="T8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 h="120">
                    <a:moveTo>
                      <a:pt x="18" y="0"/>
                    </a:moveTo>
                    <a:lnTo>
                      <a:pt x="18" y="0"/>
                    </a:lnTo>
                    <a:lnTo>
                      <a:pt x="22" y="0"/>
                    </a:lnTo>
                    <a:lnTo>
                      <a:pt x="22" y="4"/>
                    </a:lnTo>
                    <a:lnTo>
                      <a:pt x="20" y="10"/>
                    </a:lnTo>
                    <a:lnTo>
                      <a:pt x="18" y="14"/>
                    </a:lnTo>
                    <a:lnTo>
                      <a:pt x="16" y="16"/>
                    </a:lnTo>
                    <a:lnTo>
                      <a:pt x="20" y="18"/>
                    </a:lnTo>
                    <a:lnTo>
                      <a:pt x="26" y="32"/>
                    </a:lnTo>
                    <a:lnTo>
                      <a:pt x="26" y="38"/>
                    </a:lnTo>
                    <a:lnTo>
                      <a:pt x="12" y="58"/>
                    </a:lnTo>
                    <a:lnTo>
                      <a:pt x="14" y="60"/>
                    </a:lnTo>
                    <a:lnTo>
                      <a:pt x="20" y="58"/>
                    </a:lnTo>
                    <a:lnTo>
                      <a:pt x="30" y="44"/>
                    </a:lnTo>
                    <a:lnTo>
                      <a:pt x="36" y="28"/>
                    </a:lnTo>
                    <a:lnTo>
                      <a:pt x="42" y="20"/>
                    </a:lnTo>
                    <a:lnTo>
                      <a:pt x="50" y="16"/>
                    </a:lnTo>
                    <a:lnTo>
                      <a:pt x="52" y="18"/>
                    </a:lnTo>
                    <a:lnTo>
                      <a:pt x="56" y="22"/>
                    </a:lnTo>
                    <a:lnTo>
                      <a:pt x="58" y="32"/>
                    </a:lnTo>
                    <a:lnTo>
                      <a:pt x="42" y="50"/>
                    </a:lnTo>
                    <a:lnTo>
                      <a:pt x="42" y="54"/>
                    </a:lnTo>
                    <a:lnTo>
                      <a:pt x="56" y="56"/>
                    </a:lnTo>
                    <a:lnTo>
                      <a:pt x="58" y="60"/>
                    </a:lnTo>
                    <a:lnTo>
                      <a:pt x="62" y="62"/>
                    </a:lnTo>
                    <a:lnTo>
                      <a:pt x="66" y="64"/>
                    </a:lnTo>
                    <a:lnTo>
                      <a:pt x="60" y="68"/>
                    </a:lnTo>
                    <a:lnTo>
                      <a:pt x="52" y="66"/>
                    </a:lnTo>
                    <a:lnTo>
                      <a:pt x="32" y="70"/>
                    </a:lnTo>
                    <a:lnTo>
                      <a:pt x="28" y="76"/>
                    </a:lnTo>
                    <a:lnTo>
                      <a:pt x="32" y="100"/>
                    </a:lnTo>
                    <a:lnTo>
                      <a:pt x="42" y="112"/>
                    </a:lnTo>
                    <a:lnTo>
                      <a:pt x="52" y="118"/>
                    </a:lnTo>
                    <a:lnTo>
                      <a:pt x="48" y="120"/>
                    </a:lnTo>
                    <a:lnTo>
                      <a:pt x="24" y="104"/>
                    </a:lnTo>
                    <a:lnTo>
                      <a:pt x="18" y="82"/>
                    </a:lnTo>
                    <a:lnTo>
                      <a:pt x="12" y="74"/>
                    </a:lnTo>
                    <a:lnTo>
                      <a:pt x="12" y="66"/>
                    </a:lnTo>
                    <a:lnTo>
                      <a:pt x="10" y="60"/>
                    </a:lnTo>
                    <a:lnTo>
                      <a:pt x="6" y="58"/>
                    </a:lnTo>
                    <a:lnTo>
                      <a:pt x="0" y="54"/>
                    </a:lnTo>
                    <a:lnTo>
                      <a:pt x="0" y="46"/>
                    </a:lnTo>
                    <a:lnTo>
                      <a:pt x="2" y="44"/>
                    </a:lnTo>
                    <a:lnTo>
                      <a:pt x="8" y="16"/>
                    </a:lnTo>
                    <a:lnTo>
                      <a:pt x="18"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62" name="Freeform 118"/>
              <p:cNvSpPr>
                <a:spLocks/>
              </p:cNvSpPr>
              <p:nvPr/>
            </p:nvSpPr>
            <p:spPr bwMode="auto">
              <a:xfrm>
                <a:off x="7300469" y="5678488"/>
                <a:ext cx="41272" cy="28575"/>
              </a:xfrm>
              <a:custGeom>
                <a:avLst/>
                <a:gdLst>
                  <a:gd name="T0" fmla="*/ 0 w 24"/>
                  <a:gd name="T1" fmla="*/ 2 h 18"/>
                  <a:gd name="T2" fmla="*/ 8 w 24"/>
                  <a:gd name="T3" fmla="*/ 0 h 18"/>
                  <a:gd name="T4" fmla="*/ 12 w 24"/>
                  <a:gd name="T5" fmla="*/ 2 h 18"/>
                  <a:gd name="T6" fmla="*/ 14 w 24"/>
                  <a:gd name="T7" fmla="*/ 8 h 18"/>
                  <a:gd name="T8" fmla="*/ 16 w 24"/>
                  <a:gd name="T9" fmla="*/ 10 h 18"/>
                  <a:gd name="T10" fmla="*/ 24 w 24"/>
                  <a:gd name="T11" fmla="*/ 12 h 18"/>
                  <a:gd name="T12" fmla="*/ 22 w 24"/>
                  <a:gd name="T13" fmla="*/ 16 h 18"/>
                  <a:gd name="T14" fmla="*/ 16 w 24"/>
                  <a:gd name="T15" fmla="*/ 14 h 18"/>
                  <a:gd name="T16" fmla="*/ 10 w 24"/>
                  <a:gd name="T17" fmla="*/ 18 h 18"/>
                  <a:gd name="T18" fmla="*/ 8 w 24"/>
                  <a:gd name="T19" fmla="*/ 12 h 18"/>
                  <a:gd name="T20" fmla="*/ 2 w 24"/>
                  <a:gd name="T21" fmla="*/ 6 h 18"/>
                  <a:gd name="T22" fmla="*/ 0 w 24"/>
                  <a:gd name="T2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8">
                    <a:moveTo>
                      <a:pt x="0" y="2"/>
                    </a:moveTo>
                    <a:lnTo>
                      <a:pt x="8" y="0"/>
                    </a:lnTo>
                    <a:lnTo>
                      <a:pt x="12" y="2"/>
                    </a:lnTo>
                    <a:lnTo>
                      <a:pt x="14" y="8"/>
                    </a:lnTo>
                    <a:lnTo>
                      <a:pt x="16" y="10"/>
                    </a:lnTo>
                    <a:lnTo>
                      <a:pt x="24" y="12"/>
                    </a:lnTo>
                    <a:lnTo>
                      <a:pt x="22" y="16"/>
                    </a:lnTo>
                    <a:lnTo>
                      <a:pt x="16" y="14"/>
                    </a:lnTo>
                    <a:lnTo>
                      <a:pt x="10" y="18"/>
                    </a:lnTo>
                    <a:lnTo>
                      <a:pt x="8" y="12"/>
                    </a:lnTo>
                    <a:lnTo>
                      <a:pt x="2" y="6"/>
                    </a:lnTo>
                    <a:lnTo>
                      <a:pt x="0"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63" name="Freeform 119"/>
              <p:cNvSpPr>
                <a:spLocks/>
              </p:cNvSpPr>
              <p:nvPr/>
            </p:nvSpPr>
            <p:spPr bwMode="auto">
              <a:xfrm>
                <a:off x="7300469" y="5678488"/>
                <a:ext cx="41272" cy="28575"/>
              </a:xfrm>
              <a:custGeom>
                <a:avLst/>
                <a:gdLst>
                  <a:gd name="T0" fmla="*/ 0 w 24"/>
                  <a:gd name="T1" fmla="*/ 2 h 18"/>
                  <a:gd name="T2" fmla="*/ 8 w 24"/>
                  <a:gd name="T3" fmla="*/ 0 h 18"/>
                  <a:gd name="T4" fmla="*/ 12 w 24"/>
                  <a:gd name="T5" fmla="*/ 2 h 18"/>
                  <a:gd name="T6" fmla="*/ 14 w 24"/>
                  <a:gd name="T7" fmla="*/ 8 h 18"/>
                  <a:gd name="T8" fmla="*/ 16 w 24"/>
                  <a:gd name="T9" fmla="*/ 10 h 18"/>
                  <a:gd name="T10" fmla="*/ 24 w 24"/>
                  <a:gd name="T11" fmla="*/ 12 h 18"/>
                  <a:gd name="T12" fmla="*/ 22 w 24"/>
                  <a:gd name="T13" fmla="*/ 16 h 18"/>
                  <a:gd name="T14" fmla="*/ 16 w 24"/>
                  <a:gd name="T15" fmla="*/ 14 h 18"/>
                  <a:gd name="T16" fmla="*/ 10 w 24"/>
                  <a:gd name="T17" fmla="*/ 18 h 18"/>
                  <a:gd name="T18" fmla="*/ 8 w 24"/>
                  <a:gd name="T19" fmla="*/ 12 h 18"/>
                  <a:gd name="T20" fmla="*/ 2 w 24"/>
                  <a:gd name="T21" fmla="*/ 6 h 18"/>
                  <a:gd name="T22" fmla="*/ 0 w 24"/>
                  <a:gd name="T2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8">
                    <a:moveTo>
                      <a:pt x="0" y="2"/>
                    </a:moveTo>
                    <a:lnTo>
                      <a:pt x="8" y="0"/>
                    </a:lnTo>
                    <a:lnTo>
                      <a:pt x="12" y="2"/>
                    </a:lnTo>
                    <a:lnTo>
                      <a:pt x="14" y="8"/>
                    </a:lnTo>
                    <a:lnTo>
                      <a:pt x="16" y="10"/>
                    </a:lnTo>
                    <a:lnTo>
                      <a:pt x="24" y="12"/>
                    </a:lnTo>
                    <a:lnTo>
                      <a:pt x="22" y="16"/>
                    </a:lnTo>
                    <a:lnTo>
                      <a:pt x="16" y="14"/>
                    </a:lnTo>
                    <a:lnTo>
                      <a:pt x="10" y="18"/>
                    </a:lnTo>
                    <a:lnTo>
                      <a:pt x="8" y="12"/>
                    </a:lnTo>
                    <a:lnTo>
                      <a:pt x="2" y="6"/>
                    </a:lnTo>
                    <a:lnTo>
                      <a:pt x="0"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64" name="Freeform 120"/>
              <p:cNvSpPr>
                <a:spLocks/>
              </p:cNvSpPr>
              <p:nvPr/>
            </p:nvSpPr>
            <p:spPr bwMode="auto">
              <a:xfrm>
                <a:off x="7314226" y="5738813"/>
                <a:ext cx="55029" cy="28575"/>
              </a:xfrm>
              <a:custGeom>
                <a:avLst/>
                <a:gdLst>
                  <a:gd name="T0" fmla="*/ 0 w 32"/>
                  <a:gd name="T1" fmla="*/ 8 h 18"/>
                  <a:gd name="T2" fmla="*/ 8 w 32"/>
                  <a:gd name="T3" fmla="*/ 0 h 18"/>
                  <a:gd name="T4" fmla="*/ 30 w 32"/>
                  <a:gd name="T5" fmla="*/ 0 h 18"/>
                  <a:gd name="T6" fmla="*/ 32 w 32"/>
                  <a:gd name="T7" fmla="*/ 2 h 18"/>
                  <a:gd name="T8" fmla="*/ 32 w 32"/>
                  <a:gd name="T9" fmla="*/ 6 h 18"/>
                  <a:gd name="T10" fmla="*/ 6 w 32"/>
                  <a:gd name="T11" fmla="*/ 18 h 18"/>
                  <a:gd name="T12" fmla="*/ 2 w 32"/>
                  <a:gd name="T13" fmla="*/ 16 h 18"/>
                  <a:gd name="T14" fmla="*/ 0 w 32"/>
                  <a:gd name="T15" fmla="*/ 10 h 18"/>
                  <a:gd name="T16" fmla="*/ 0 w 32"/>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0" y="8"/>
                    </a:moveTo>
                    <a:lnTo>
                      <a:pt x="8" y="0"/>
                    </a:lnTo>
                    <a:lnTo>
                      <a:pt x="30" y="0"/>
                    </a:lnTo>
                    <a:lnTo>
                      <a:pt x="32" y="2"/>
                    </a:lnTo>
                    <a:lnTo>
                      <a:pt x="32" y="6"/>
                    </a:lnTo>
                    <a:lnTo>
                      <a:pt x="6" y="18"/>
                    </a:lnTo>
                    <a:lnTo>
                      <a:pt x="2" y="16"/>
                    </a:lnTo>
                    <a:lnTo>
                      <a:pt x="0" y="10"/>
                    </a:lnTo>
                    <a:lnTo>
                      <a:pt x="0"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65" name="Freeform 121"/>
              <p:cNvSpPr>
                <a:spLocks/>
              </p:cNvSpPr>
              <p:nvPr/>
            </p:nvSpPr>
            <p:spPr bwMode="auto">
              <a:xfrm>
                <a:off x="7314226" y="5738813"/>
                <a:ext cx="55029" cy="28575"/>
              </a:xfrm>
              <a:custGeom>
                <a:avLst/>
                <a:gdLst>
                  <a:gd name="T0" fmla="*/ 0 w 32"/>
                  <a:gd name="T1" fmla="*/ 8 h 18"/>
                  <a:gd name="T2" fmla="*/ 8 w 32"/>
                  <a:gd name="T3" fmla="*/ 0 h 18"/>
                  <a:gd name="T4" fmla="*/ 30 w 32"/>
                  <a:gd name="T5" fmla="*/ 0 h 18"/>
                  <a:gd name="T6" fmla="*/ 32 w 32"/>
                  <a:gd name="T7" fmla="*/ 2 h 18"/>
                  <a:gd name="T8" fmla="*/ 32 w 32"/>
                  <a:gd name="T9" fmla="*/ 6 h 18"/>
                  <a:gd name="T10" fmla="*/ 6 w 32"/>
                  <a:gd name="T11" fmla="*/ 18 h 18"/>
                  <a:gd name="T12" fmla="*/ 2 w 32"/>
                  <a:gd name="T13" fmla="*/ 16 h 18"/>
                  <a:gd name="T14" fmla="*/ 0 w 32"/>
                  <a:gd name="T15" fmla="*/ 10 h 18"/>
                  <a:gd name="T16" fmla="*/ 0 w 32"/>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0" y="8"/>
                    </a:moveTo>
                    <a:lnTo>
                      <a:pt x="8" y="0"/>
                    </a:lnTo>
                    <a:lnTo>
                      <a:pt x="30" y="0"/>
                    </a:lnTo>
                    <a:lnTo>
                      <a:pt x="32" y="2"/>
                    </a:lnTo>
                    <a:lnTo>
                      <a:pt x="32" y="6"/>
                    </a:lnTo>
                    <a:lnTo>
                      <a:pt x="6" y="18"/>
                    </a:lnTo>
                    <a:lnTo>
                      <a:pt x="2" y="16"/>
                    </a:lnTo>
                    <a:lnTo>
                      <a:pt x="0" y="10"/>
                    </a:lnTo>
                    <a:lnTo>
                      <a:pt x="0"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66" name="Freeform 122"/>
              <p:cNvSpPr>
                <a:spLocks/>
              </p:cNvSpPr>
              <p:nvPr/>
            </p:nvSpPr>
            <p:spPr bwMode="auto">
              <a:xfrm>
                <a:off x="7372694" y="5862638"/>
                <a:ext cx="20636" cy="25400"/>
              </a:xfrm>
              <a:custGeom>
                <a:avLst/>
                <a:gdLst>
                  <a:gd name="T0" fmla="*/ 2 w 12"/>
                  <a:gd name="T1" fmla="*/ 16 h 16"/>
                  <a:gd name="T2" fmla="*/ 0 w 12"/>
                  <a:gd name="T3" fmla="*/ 16 h 16"/>
                  <a:gd name="T4" fmla="*/ 0 w 12"/>
                  <a:gd name="T5" fmla="*/ 12 h 16"/>
                  <a:gd name="T6" fmla="*/ 0 w 12"/>
                  <a:gd name="T7" fmla="*/ 8 h 16"/>
                  <a:gd name="T8" fmla="*/ 8 w 12"/>
                  <a:gd name="T9" fmla="*/ 0 h 16"/>
                  <a:gd name="T10" fmla="*/ 12 w 12"/>
                  <a:gd name="T11" fmla="*/ 0 h 16"/>
                  <a:gd name="T12" fmla="*/ 12 w 12"/>
                  <a:gd name="T13" fmla="*/ 6 h 16"/>
                  <a:gd name="T14" fmla="*/ 10 w 12"/>
                  <a:gd name="T15" fmla="*/ 10 h 16"/>
                  <a:gd name="T16" fmla="*/ 6 w 12"/>
                  <a:gd name="T17" fmla="*/ 12 h 16"/>
                  <a:gd name="T18" fmla="*/ 2 w 12"/>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6">
                    <a:moveTo>
                      <a:pt x="2" y="16"/>
                    </a:moveTo>
                    <a:lnTo>
                      <a:pt x="0" y="16"/>
                    </a:lnTo>
                    <a:lnTo>
                      <a:pt x="0" y="12"/>
                    </a:lnTo>
                    <a:lnTo>
                      <a:pt x="0" y="8"/>
                    </a:lnTo>
                    <a:lnTo>
                      <a:pt x="8" y="0"/>
                    </a:lnTo>
                    <a:lnTo>
                      <a:pt x="12" y="0"/>
                    </a:lnTo>
                    <a:lnTo>
                      <a:pt x="12" y="6"/>
                    </a:lnTo>
                    <a:lnTo>
                      <a:pt x="10" y="10"/>
                    </a:lnTo>
                    <a:lnTo>
                      <a:pt x="6" y="12"/>
                    </a:lnTo>
                    <a:lnTo>
                      <a:pt x="2" y="1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67" name="Freeform 123"/>
              <p:cNvSpPr>
                <a:spLocks/>
              </p:cNvSpPr>
              <p:nvPr/>
            </p:nvSpPr>
            <p:spPr bwMode="auto">
              <a:xfrm>
                <a:off x="7372694" y="5862638"/>
                <a:ext cx="20636" cy="25400"/>
              </a:xfrm>
              <a:custGeom>
                <a:avLst/>
                <a:gdLst>
                  <a:gd name="T0" fmla="*/ 2 w 12"/>
                  <a:gd name="T1" fmla="*/ 16 h 16"/>
                  <a:gd name="T2" fmla="*/ 0 w 12"/>
                  <a:gd name="T3" fmla="*/ 16 h 16"/>
                  <a:gd name="T4" fmla="*/ 0 w 12"/>
                  <a:gd name="T5" fmla="*/ 12 h 16"/>
                  <a:gd name="T6" fmla="*/ 0 w 12"/>
                  <a:gd name="T7" fmla="*/ 8 h 16"/>
                  <a:gd name="T8" fmla="*/ 8 w 12"/>
                  <a:gd name="T9" fmla="*/ 0 h 16"/>
                  <a:gd name="T10" fmla="*/ 12 w 12"/>
                  <a:gd name="T11" fmla="*/ 0 h 16"/>
                  <a:gd name="T12" fmla="*/ 12 w 12"/>
                  <a:gd name="T13" fmla="*/ 6 h 16"/>
                  <a:gd name="T14" fmla="*/ 10 w 12"/>
                  <a:gd name="T15" fmla="*/ 10 h 16"/>
                  <a:gd name="T16" fmla="*/ 6 w 12"/>
                  <a:gd name="T17" fmla="*/ 12 h 16"/>
                  <a:gd name="T18" fmla="*/ 2 w 12"/>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6">
                    <a:moveTo>
                      <a:pt x="2" y="16"/>
                    </a:moveTo>
                    <a:lnTo>
                      <a:pt x="0" y="16"/>
                    </a:lnTo>
                    <a:lnTo>
                      <a:pt x="0" y="12"/>
                    </a:lnTo>
                    <a:lnTo>
                      <a:pt x="0" y="8"/>
                    </a:lnTo>
                    <a:lnTo>
                      <a:pt x="8" y="0"/>
                    </a:lnTo>
                    <a:lnTo>
                      <a:pt x="12" y="0"/>
                    </a:lnTo>
                    <a:lnTo>
                      <a:pt x="12" y="6"/>
                    </a:lnTo>
                    <a:lnTo>
                      <a:pt x="10" y="10"/>
                    </a:lnTo>
                    <a:lnTo>
                      <a:pt x="6" y="12"/>
                    </a:lnTo>
                    <a:lnTo>
                      <a:pt x="2" y="1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68" name="Freeform 124"/>
              <p:cNvSpPr>
                <a:spLocks/>
              </p:cNvSpPr>
              <p:nvPr/>
            </p:nvSpPr>
            <p:spPr bwMode="auto">
              <a:xfrm>
                <a:off x="7892032" y="5446713"/>
                <a:ext cx="68786" cy="22225"/>
              </a:xfrm>
              <a:custGeom>
                <a:avLst/>
                <a:gdLst>
                  <a:gd name="T0" fmla="*/ 2 w 40"/>
                  <a:gd name="T1" fmla="*/ 8 h 14"/>
                  <a:gd name="T2" fmla="*/ 0 w 40"/>
                  <a:gd name="T3" fmla="*/ 8 h 14"/>
                  <a:gd name="T4" fmla="*/ 10 w 40"/>
                  <a:gd name="T5" fmla="*/ 2 h 14"/>
                  <a:gd name="T6" fmla="*/ 12 w 40"/>
                  <a:gd name="T7" fmla="*/ 2 h 14"/>
                  <a:gd name="T8" fmla="*/ 18 w 40"/>
                  <a:gd name="T9" fmla="*/ 0 h 14"/>
                  <a:gd name="T10" fmla="*/ 26 w 40"/>
                  <a:gd name="T11" fmla="*/ 0 h 14"/>
                  <a:gd name="T12" fmla="*/ 40 w 40"/>
                  <a:gd name="T13" fmla="*/ 6 h 14"/>
                  <a:gd name="T14" fmla="*/ 28 w 40"/>
                  <a:gd name="T15" fmla="*/ 14 h 14"/>
                  <a:gd name="T16" fmla="*/ 24 w 40"/>
                  <a:gd name="T17" fmla="*/ 14 h 14"/>
                  <a:gd name="T18" fmla="*/ 22 w 40"/>
                  <a:gd name="T19" fmla="*/ 10 h 14"/>
                  <a:gd name="T20" fmla="*/ 2 w 40"/>
                  <a:gd name="T2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4">
                    <a:moveTo>
                      <a:pt x="2" y="8"/>
                    </a:moveTo>
                    <a:lnTo>
                      <a:pt x="0" y="8"/>
                    </a:lnTo>
                    <a:lnTo>
                      <a:pt x="10" y="2"/>
                    </a:lnTo>
                    <a:lnTo>
                      <a:pt x="12" y="2"/>
                    </a:lnTo>
                    <a:lnTo>
                      <a:pt x="18" y="0"/>
                    </a:lnTo>
                    <a:lnTo>
                      <a:pt x="26" y="0"/>
                    </a:lnTo>
                    <a:lnTo>
                      <a:pt x="40" y="6"/>
                    </a:lnTo>
                    <a:lnTo>
                      <a:pt x="28" y="14"/>
                    </a:lnTo>
                    <a:lnTo>
                      <a:pt x="24" y="14"/>
                    </a:lnTo>
                    <a:lnTo>
                      <a:pt x="22" y="10"/>
                    </a:lnTo>
                    <a:lnTo>
                      <a:pt x="2"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69" name="Freeform 125"/>
              <p:cNvSpPr>
                <a:spLocks/>
              </p:cNvSpPr>
              <p:nvPr/>
            </p:nvSpPr>
            <p:spPr bwMode="auto">
              <a:xfrm>
                <a:off x="7892032" y="5446713"/>
                <a:ext cx="68786" cy="22225"/>
              </a:xfrm>
              <a:custGeom>
                <a:avLst/>
                <a:gdLst>
                  <a:gd name="T0" fmla="*/ 2 w 40"/>
                  <a:gd name="T1" fmla="*/ 8 h 14"/>
                  <a:gd name="T2" fmla="*/ 0 w 40"/>
                  <a:gd name="T3" fmla="*/ 8 h 14"/>
                  <a:gd name="T4" fmla="*/ 10 w 40"/>
                  <a:gd name="T5" fmla="*/ 2 h 14"/>
                  <a:gd name="T6" fmla="*/ 12 w 40"/>
                  <a:gd name="T7" fmla="*/ 2 h 14"/>
                  <a:gd name="T8" fmla="*/ 18 w 40"/>
                  <a:gd name="T9" fmla="*/ 0 h 14"/>
                  <a:gd name="T10" fmla="*/ 26 w 40"/>
                  <a:gd name="T11" fmla="*/ 0 h 14"/>
                  <a:gd name="T12" fmla="*/ 40 w 40"/>
                  <a:gd name="T13" fmla="*/ 6 h 14"/>
                  <a:gd name="T14" fmla="*/ 28 w 40"/>
                  <a:gd name="T15" fmla="*/ 14 h 14"/>
                  <a:gd name="T16" fmla="*/ 24 w 40"/>
                  <a:gd name="T17" fmla="*/ 14 h 14"/>
                  <a:gd name="T18" fmla="*/ 22 w 40"/>
                  <a:gd name="T19" fmla="*/ 10 h 14"/>
                  <a:gd name="T20" fmla="*/ 2 w 40"/>
                  <a:gd name="T2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4">
                    <a:moveTo>
                      <a:pt x="2" y="8"/>
                    </a:moveTo>
                    <a:lnTo>
                      <a:pt x="0" y="8"/>
                    </a:lnTo>
                    <a:lnTo>
                      <a:pt x="10" y="2"/>
                    </a:lnTo>
                    <a:lnTo>
                      <a:pt x="12" y="2"/>
                    </a:lnTo>
                    <a:lnTo>
                      <a:pt x="18" y="0"/>
                    </a:lnTo>
                    <a:lnTo>
                      <a:pt x="26" y="0"/>
                    </a:lnTo>
                    <a:lnTo>
                      <a:pt x="40" y="6"/>
                    </a:lnTo>
                    <a:lnTo>
                      <a:pt x="28" y="14"/>
                    </a:lnTo>
                    <a:lnTo>
                      <a:pt x="24" y="14"/>
                    </a:lnTo>
                    <a:lnTo>
                      <a:pt x="22" y="10"/>
                    </a:lnTo>
                    <a:lnTo>
                      <a:pt x="2"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70" name="Freeform 126"/>
              <p:cNvSpPr>
                <a:spLocks/>
              </p:cNvSpPr>
              <p:nvPr/>
            </p:nvSpPr>
            <p:spPr bwMode="auto">
              <a:xfrm>
                <a:off x="7916107" y="5481638"/>
                <a:ext cx="92862" cy="34925"/>
              </a:xfrm>
              <a:custGeom>
                <a:avLst/>
                <a:gdLst>
                  <a:gd name="T0" fmla="*/ 0 w 54"/>
                  <a:gd name="T1" fmla="*/ 20 h 22"/>
                  <a:gd name="T2" fmla="*/ 0 w 54"/>
                  <a:gd name="T3" fmla="*/ 20 h 22"/>
                  <a:gd name="T4" fmla="*/ 48 w 54"/>
                  <a:gd name="T5" fmla="*/ 0 h 22"/>
                  <a:gd name="T6" fmla="*/ 52 w 54"/>
                  <a:gd name="T7" fmla="*/ 0 h 22"/>
                  <a:gd name="T8" fmla="*/ 54 w 54"/>
                  <a:gd name="T9" fmla="*/ 4 h 22"/>
                  <a:gd name="T10" fmla="*/ 0 w 54"/>
                  <a:gd name="T11" fmla="*/ 22 h 22"/>
                  <a:gd name="T12" fmla="*/ 0 w 54"/>
                  <a:gd name="T13" fmla="*/ 20 h 22"/>
                </a:gdLst>
                <a:ahLst/>
                <a:cxnLst>
                  <a:cxn ang="0">
                    <a:pos x="T0" y="T1"/>
                  </a:cxn>
                  <a:cxn ang="0">
                    <a:pos x="T2" y="T3"/>
                  </a:cxn>
                  <a:cxn ang="0">
                    <a:pos x="T4" y="T5"/>
                  </a:cxn>
                  <a:cxn ang="0">
                    <a:pos x="T6" y="T7"/>
                  </a:cxn>
                  <a:cxn ang="0">
                    <a:pos x="T8" y="T9"/>
                  </a:cxn>
                  <a:cxn ang="0">
                    <a:pos x="T10" y="T11"/>
                  </a:cxn>
                  <a:cxn ang="0">
                    <a:pos x="T12" y="T13"/>
                  </a:cxn>
                </a:cxnLst>
                <a:rect l="0" t="0" r="r" b="b"/>
                <a:pathLst>
                  <a:path w="54" h="22">
                    <a:moveTo>
                      <a:pt x="0" y="20"/>
                    </a:moveTo>
                    <a:lnTo>
                      <a:pt x="0" y="20"/>
                    </a:lnTo>
                    <a:lnTo>
                      <a:pt x="48" y="0"/>
                    </a:lnTo>
                    <a:lnTo>
                      <a:pt x="52" y="0"/>
                    </a:lnTo>
                    <a:lnTo>
                      <a:pt x="54" y="4"/>
                    </a:lnTo>
                    <a:lnTo>
                      <a:pt x="0" y="22"/>
                    </a:lnTo>
                    <a:lnTo>
                      <a:pt x="0" y="2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71" name="Freeform 127"/>
              <p:cNvSpPr>
                <a:spLocks/>
              </p:cNvSpPr>
              <p:nvPr/>
            </p:nvSpPr>
            <p:spPr bwMode="auto">
              <a:xfrm>
                <a:off x="7916107" y="5481638"/>
                <a:ext cx="92862" cy="34925"/>
              </a:xfrm>
              <a:custGeom>
                <a:avLst/>
                <a:gdLst>
                  <a:gd name="T0" fmla="*/ 0 w 54"/>
                  <a:gd name="T1" fmla="*/ 20 h 22"/>
                  <a:gd name="T2" fmla="*/ 0 w 54"/>
                  <a:gd name="T3" fmla="*/ 20 h 22"/>
                  <a:gd name="T4" fmla="*/ 48 w 54"/>
                  <a:gd name="T5" fmla="*/ 0 h 22"/>
                  <a:gd name="T6" fmla="*/ 52 w 54"/>
                  <a:gd name="T7" fmla="*/ 0 h 22"/>
                  <a:gd name="T8" fmla="*/ 54 w 54"/>
                  <a:gd name="T9" fmla="*/ 4 h 22"/>
                  <a:gd name="T10" fmla="*/ 0 w 54"/>
                  <a:gd name="T11" fmla="*/ 22 h 22"/>
                  <a:gd name="T12" fmla="*/ 0 w 54"/>
                  <a:gd name="T13" fmla="*/ 20 h 22"/>
                </a:gdLst>
                <a:ahLst/>
                <a:cxnLst>
                  <a:cxn ang="0">
                    <a:pos x="T0" y="T1"/>
                  </a:cxn>
                  <a:cxn ang="0">
                    <a:pos x="T2" y="T3"/>
                  </a:cxn>
                  <a:cxn ang="0">
                    <a:pos x="T4" y="T5"/>
                  </a:cxn>
                  <a:cxn ang="0">
                    <a:pos x="T6" y="T7"/>
                  </a:cxn>
                  <a:cxn ang="0">
                    <a:pos x="T8" y="T9"/>
                  </a:cxn>
                  <a:cxn ang="0">
                    <a:pos x="T10" y="T11"/>
                  </a:cxn>
                  <a:cxn ang="0">
                    <a:pos x="T12" y="T13"/>
                  </a:cxn>
                </a:cxnLst>
                <a:rect l="0" t="0" r="r" b="b"/>
                <a:pathLst>
                  <a:path w="54" h="22">
                    <a:moveTo>
                      <a:pt x="0" y="20"/>
                    </a:moveTo>
                    <a:lnTo>
                      <a:pt x="0" y="20"/>
                    </a:lnTo>
                    <a:lnTo>
                      <a:pt x="48" y="0"/>
                    </a:lnTo>
                    <a:lnTo>
                      <a:pt x="52" y="0"/>
                    </a:lnTo>
                    <a:lnTo>
                      <a:pt x="54" y="4"/>
                    </a:lnTo>
                    <a:lnTo>
                      <a:pt x="0" y="22"/>
                    </a:lnTo>
                    <a:lnTo>
                      <a:pt x="0" y="2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72" name="Freeform 128"/>
              <p:cNvSpPr>
                <a:spLocks/>
              </p:cNvSpPr>
              <p:nvPr/>
            </p:nvSpPr>
            <p:spPr bwMode="auto">
              <a:xfrm>
                <a:off x="7757898" y="5843588"/>
                <a:ext cx="10318" cy="28575"/>
              </a:xfrm>
              <a:custGeom>
                <a:avLst/>
                <a:gdLst>
                  <a:gd name="T0" fmla="*/ 0 w 6"/>
                  <a:gd name="T1" fmla="*/ 4 h 18"/>
                  <a:gd name="T2" fmla="*/ 4 w 6"/>
                  <a:gd name="T3" fmla="*/ 0 h 18"/>
                  <a:gd name="T4" fmla="*/ 6 w 6"/>
                  <a:gd name="T5" fmla="*/ 0 h 18"/>
                  <a:gd name="T6" fmla="*/ 2 w 6"/>
                  <a:gd name="T7" fmla="*/ 16 h 18"/>
                  <a:gd name="T8" fmla="*/ 0 w 6"/>
                  <a:gd name="T9" fmla="*/ 18 h 18"/>
                  <a:gd name="T10" fmla="*/ 0 w 6"/>
                  <a:gd name="T11" fmla="*/ 4 h 18"/>
                </a:gdLst>
                <a:ahLst/>
                <a:cxnLst>
                  <a:cxn ang="0">
                    <a:pos x="T0" y="T1"/>
                  </a:cxn>
                  <a:cxn ang="0">
                    <a:pos x="T2" y="T3"/>
                  </a:cxn>
                  <a:cxn ang="0">
                    <a:pos x="T4" y="T5"/>
                  </a:cxn>
                  <a:cxn ang="0">
                    <a:pos x="T6" y="T7"/>
                  </a:cxn>
                  <a:cxn ang="0">
                    <a:pos x="T8" y="T9"/>
                  </a:cxn>
                  <a:cxn ang="0">
                    <a:pos x="T10" y="T11"/>
                  </a:cxn>
                </a:cxnLst>
                <a:rect l="0" t="0" r="r" b="b"/>
                <a:pathLst>
                  <a:path w="6" h="18">
                    <a:moveTo>
                      <a:pt x="0" y="4"/>
                    </a:moveTo>
                    <a:lnTo>
                      <a:pt x="4" y="0"/>
                    </a:lnTo>
                    <a:lnTo>
                      <a:pt x="6" y="0"/>
                    </a:lnTo>
                    <a:lnTo>
                      <a:pt x="2" y="16"/>
                    </a:lnTo>
                    <a:lnTo>
                      <a:pt x="0" y="18"/>
                    </a:lnTo>
                    <a:lnTo>
                      <a:pt x="0"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73" name="Freeform 129"/>
              <p:cNvSpPr>
                <a:spLocks/>
              </p:cNvSpPr>
              <p:nvPr/>
            </p:nvSpPr>
            <p:spPr bwMode="auto">
              <a:xfrm>
                <a:off x="7757898" y="5843588"/>
                <a:ext cx="10318" cy="28575"/>
              </a:xfrm>
              <a:custGeom>
                <a:avLst/>
                <a:gdLst>
                  <a:gd name="T0" fmla="*/ 0 w 6"/>
                  <a:gd name="T1" fmla="*/ 4 h 18"/>
                  <a:gd name="T2" fmla="*/ 4 w 6"/>
                  <a:gd name="T3" fmla="*/ 0 h 18"/>
                  <a:gd name="T4" fmla="*/ 6 w 6"/>
                  <a:gd name="T5" fmla="*/ 0 h 18"/>
                  <a:gd name="T6" fmla="*/ 2 w 6"/>
                  <a:gd name="T7" fmla="*/ 16 h 18"/>
                  <a:gd name="T8" fmla="*/ 0 w 6"/>
                  <a:gd name="T9" fmla="*/ 18 h 18"/>
                  <a:gd name="T10" fmla="*/ 0 w 6"/>
                  <a:gd name="T11" fmla="*/ 4 h 18"/>
                </a:gdLst>
                <a:ahLst/>
                <a:cxnLst>
                  <a:cxn ang="0">
                    <a:pos x="T0" y="T1"/>
                  </a:cxn>
                  <a:cxn ang="0">
                    <a:pos x="T2" y="T3"/>
                  </a:cxn>
                  <a:cxn ang="0">
                    <a:pos x="T4" y="T5"/>
                  </a:cxn>
                  <a:cxn ang="0">
                    <a:pos x="T6" y="T7"/>
                  </a:cxn>
                  <a:cxn ang="0">
                    <a:pos x="T8" y="T9"/>
                  </a:cxn>
                  <a:cxn ang="0">
                    <a:pos x="T10" y="T11"/>
                  </a:cxn>
                </a:cxnLst>
                <a:rect l="0" t="0" r="r" b="b"/>
                <a:pathLst>
                  <a:path w="6" h="18">
                    <a:moveTo>
                      <a:pt x="0" y="4"/>
                    </a:moveTo>
                    <a:lnTo>
                      <a:pt x="4" y="0"/>
                    </a:lnTo>
                    <a:lnTo>
                      <a:pt x="6" y="0"/>
                    </a:lnTo>
                    <a:lnTo>
                      <a:pt x="2" y="16"/>
                    </a:lnTo>
                    <a:lnTo>
                      <a:pt x="0" y="18"/>
                    </a:lnTo>
                    <a:lnTo>
                      <a:pt x="0"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74" name="Freeform 130"/>
              <p:cNvSpPr>
                <a:spLocks/>
              </p:cNvSpPr>
              <p:nvPr/>
            </p:nvSpPr>
            <p:spPr bwMode="auto">
              <a:xfrm>
                <a:off x="7854199" y="5808663"/>
                <a:ext cx="37833" cy="60325"/>
              </a:xfrm>
              <a:custGeom>
                <a:avLst/>
                <a:gdLst>
                  <a:gd name="T0" fmla="*/ 0 w 22"/>
                  <a:gd name="T1" fmla="*/ 20 h 38"/>
                  <a:gd name="T2" fmla="*/ 8 w 22"/>
                  <a:gd name="T3" fmla="*/ 0 h 38"/>
                  <a:gd name="T4" fmla="*/ 14 w 22"/>
                  <a:gd name="T5" fmla="*/ 0 h 38"/>
                  <a:gd name="T6" fmla="*/ 20 w 22"/>
                  <a:gd name="T7" fmla="*/ 8 h 38"/>
                  <a:gd name="T8" fmla="*/ 22 w 22"/>
                  <a:gd name="T9" fmla="*/ 30 h 38"/>
                  <a:gd name="T10" fmla="*/ 20 w 22"/>
                  <a:gd name="T11" fmla="*/ 36 h 38"/>
                  <a:gd name="T12" fmla="*/ 14 w 22"/>
                  <a:gd name="T13" fmla="*/ 38 h 38"/>
                  <a:gd name="T14" fmla="*/ 10 w 22"/>
                  <a:gd name="T15" fmla="*/ 38 h 38"/>
                  <a:gd name="T16" fmla="*/ 6 w 22"/>
                  <a:gd name="T17" fmla="*/ 36 h 38"/>
                  <a:gd name="T18" fmla="*/ 2 w 22"/>
                  <a:gd name="T19" fmla="*/ 30 h 38"/>
                  <a:gd name="T20" fmla="*/ 6 w 22"/>
                  <a:gd name="T21" fmla="*/ 18 h 38"/>
                  <a:gd name="T22" fmla="*/ 4 w 22"/>
                  <a:gd name="T23" fmla="*/ 22 h 38"/>
                  <a:gd name="T24" fmla="*/ 0 w 22"/>
                  <a:gd name="T25"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8">
                    <a:moveTo>
                      <a:pt x="0" y="20"/>
                    </a:moveTo>
                    <a:lnTo>
                      <a:pt x="8" y="0"/>
                    </a:lnTo>
                    <a:lnTo>
                      <a:pt x="14" y="0"/>
                    </a:lnTo>
                    <a:lnTo>
                      <a:pt x="20" y="8"/>
                    </a:lnTo>
                    <a:lnTo>
                      <a:pt x="22" y="30"/>
                    </a:lnTo>
                    <a:lnTo>
                      <a:pt x="20" y="36"/>
                    </a:lnTo>
                    <a:lnTo>
                      <a:pt x="14" y="38"/>
                    </a:lnTo>
                    <a:lnTo>
                      <a:pt x="10" y="38"/>
                    </a:lnTo>
                    <a:lnTo>
                      <a:pt x="6" y="36"/>
                    </a:lnTo>
                    <a:lnTo>
                      <a:pt x="2" y="30"/>
                    </a:lnTo>
                    <a:lnTo>
                      <a:pt x="6" y="18"/>
                    </a:lnTo>
                    <a:lnTo>
                      <a:pt x="4" y="22"/>
                    </a:lnTo>
                    <a:lnTo>
                      <a:pt x="0" y="2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75" name="Freeform 131"/>
              <p:cNvSpPr>
                <a:spLocks/>
              </p:cNvSpPr>
              <p:nvPr/>
            </p:nvSpPr>
            <p:spPr bwMode="auto">
              <a:xfrm>
                <a:off x="7854199" y="5808663"/>
                <a:ext cx="37833" cy="60325"/>
              </a:xfrm>
              <a:custGeom>
                <a:avLst/>
                <a:gdLst>
                  <a:gd name="T0" fmla="*/ 0 w 22"/>
                  <a:gd name="T1" fmla="*/ 20 h 38"/>
                  <a:gd name="T2" fmla="*/ 8 w 22"/>
                  <a:gd name="T3" fmla="*/ 0 h 38"/>
                  <a:gd name="T4" fmla="*/ 14 w 22"/>
                  <a:gd name="T5" fmla="*/ 0 h 38"/>
                  <a:gd name="T6" fmla="*/ 20 w 22"/>
                  <a:gd name="T7" fmla="*/ 8 h 38"/>
                  <a:gd name="T8" fmla="*/ 22 w 22"/>
                  <a:gd name="T9" fmla="*/ 30 h 38"/>
                  <a:gd name="T10" fmla="*/ 20 w 22"/>
                  <a:gd name="T11" fmla="*/ 36 h 38"/>
                  <a:gd name="T12" fmla="*/ 14 w 22"/>
                  <a:gd name="T13" fmla="*/ 38 h 38"/>
                  <a:gd name="T14" fmla="*/ 10 w 22"/>
                  <a:gd name="T15" fmla="*/ 38 h 38"/>
                  <a:gd name="T16" fmla="*/ 6 w 22"/>
                  <a:gd name="T17" fmla="*/ 36 h 38"/>
                  <a:gd name="T18" fmla="*/ 2 w 22"/>
                  <a:gd name="T19" fmla="*/ 30 h 38"/>
                  <a:gd name="T20" fmla="*/ 6 w 22"/>
                  <a:gd name="T21" fmla="*/ 18 h 38"/>
                  <a:gd name="T22" fmla="*/ 4 w 22"/>
                  <a:gd name="T23" fmla="*/ 22 h 38"/>
                  <a:gd name="T24" fmla="*/ 0 w 22"/>
                  <a:gd name="T25"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8">
                    <a:moveTo>
                      <a:pt x="0" y="20"/>
                    </a:moveTo>
                    <a:lnTo>
                      <a:pt x="8" y="0"/>
                    </a:lnTo>
                    <a:lnTo>
                      <a:pt x="14" y="0"/>
                    </a:lnTo>
                    <a:lnTo>
                      <a:pt x="20" y="8"/>
                    </a:lnTo>
                    <a:lnTo>
                      <a:pt x="22" y="30"/>
                    </a:lnTo>
                    <a:lnTo>
                      <a:pt x="20" y="36"/>
                    </a:lnTo>
                    <a:lnTo>
                      <a:pt x="14" y="38"/>
                    </a:lnTo>
                    <a:lnTo>
                      <a:pt x="10" y="38"/>
                    </a:lnTo>
                    <a:lnTo>
                      <a:pt x="6" y="36"/>
                    </a:lnTo>
                    <a:lnTo>
                      <a:pt x="2" y="30"/>
                    </a:lnTo>
                    <a:lnTo>
                      <a:pt x="6" y="18"/>
                    </a:lnTo>
                    <a:lnTo>
                      <a:pt x="4" y="22"/>
                    </a:lnTo>
                    <a:lnTo>
                      <a:pt x="0" y="2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76" name="Freeform 132"/>
              <p:cNvSpPr>
                <a:spLocks/>
              </p:cNvSpPr>
              <p:nvPr/>
            </p:nvSpPr>
            <p:spPr bwMode="auto">
              <a:xfrm>
                <a:off x="7847321" y="5862638"/>
                <a:ext cx="30954" cy="19050"/>
              </a:xfrm>
              <a:custGeom>
                <a:avLst/>
                <a:gdLst>
                  <a:gd name="T0" fmla="*/ 2 w 18"/>
                  <a:gd name="T1" fmla="*/ 4 h 12"/>
                  <a:gd name="T2" fmla="*/ 0 w 18"/>
                  <a:gd name="T3" fmla="*/ 0 h 12"/>
                  <a:gd name="T4" fmla="*/ 2 w 18"/>
                  <a:gd name="T5" fmla="*/ 0 h 12"/>
                  <a:gd name="T6" fmla="*/ 8 w 18"/>
                  <a:gd name="T7" fmla="*/ 4 h 12"/>
                  <a:gd name="T8" fmla="*/ 14 w 18"/>
                  <a:gd name="T9" fmla="*/ 4 h 12"/>
                  <a:gd name="T10" fmla="*/ 16 w 18"/>
                  <a:gd name="T11" fmla="*/ 4 h 12"/>
                  <a:gd name="T12" fmla="*/ 18 w 18"/>
                  <a:gd name="T13" fmla="*/ 10 h 12"/>
                  <a:gd name="T14" fmla="*/ 18 w 18"/>
                  <a:gd name="T15" fmla="*/ 12 h 12"/>
                  <a:gd name="T16" fmla="*/ 16 w 18"/>
                  <a:gd name="T17" fmla="*/ 12 h 12"/>
                  <a:gd name="T18" fmla="*/ 10 w 18"/>
                  <a:gd name="T19" fmla="*/ 8 h 12"/>
                  <a:gd name="T20" fmla="*/ 6 w 18"/>
                  <a:gd name="T21" fmla="*/ 8 h 12"/>
                  <a:gd name="T22" fmla="*/ 2 w 18"/>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2">
                    <a:moveTo>
                      <a:pt x="2" y="4"/>
                    </a:moveTo>
                    <a:lnTo>
                      <a:pt x="0" y="0"/>
                    </a:lnTo>
                    <a:lnTo>
                      <a:pt x="2" y="0"/>
                    </a:lnTo>
                    <a:lnTo>
                      <a:pt x="8" y="4"/>
                    </a:lnTo>
                    <a:lnTo>
                      <a:pt x="14" y="4"/>
                    </a:lnTo>
                    <a:lnTo>
                      <a:pt x="16" y="4"/>
                    </a:lnTo>
                    <a:lnTo>
                      <a:pt x="18" y="10"/>
                    </a:lnTo>
                    <a:lnTo>
                      <a:pt x="18" y="12"/>
                    </a:lnTo>
                    <a:lnTo>
                      <a:pt x="16" y="12"/>
                    </a:lnTo>
                    <a:lnTo>
                      <a:pt x="10" y="8"/>
                    </a:lnTo>
                    <a:lnTo>
                      <a:pt x="6" y="8"/>
                    </a:lnTo>
                    <a:lnTo>
                      <a:pt x="2"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77" name="Freeform 133"/>
              <p:cNvSpPr>
                <a:spLocks/>
              </p:cNvSpPr>
              <p:nvPr/>
            </p:nvSpPr>
            <p:spPr bwMode="auto">
              <a:xfrm>
                <a:off x="7847321" y="5862638"/>
                <a:ext cx="30954" cy="19050"/>
              </a:xfrm>
              <a:custGeom>
                <a:avLst/>
                <a:gdLst>
                  <a:gd name="T0" fmla="*/ 2 w 18"/>
                  <a:gd name="T1" fmla="*/ 4 h 12"/>
                  <a:gd name="T2" fmla="*/ 0 w 18"/>
                  <a:gd name="T3" fmla="*/ 0 h 12"/>
                  <a:gd name="T4" fmla="*/ 2 w 18"/>
                  <a:gd name="T5" fmla="*/ 0 h 12"/>
                  <a:gd name="T6" fmla="*/ 8 w 18"/>
                  <a:gd name="T7" fmla="*/ 4 h 12"/>
                  <a:gd name="T8" fmla="*/ 14 w 18"/>
                  <a:gd name="T9" fmla="*/ 4 h 12"/>
                  <a:gd name="T10" fmla="*/ 16 w 18"/>
                  <a:gd name="T11" fmla="*/ 4 h 12"/>
                  <a:gd name="T12" fmla="*/ 18 w 18"/>
                  <a:gd name="T13" fmla="*/ 10 h 12"/>
                  <a:gd name="T14" fmla="*/ 18 w 18"/>
                  <a:gd name="T15" fmla="*/ 12 h 12"/>
                  <a:gd name="T16" fmla="*/ 16 w 18"/>
                  <a:gd name="T17" fmla="*/ 12 h 12"/>
                  <a:gd name="T18" fmla="*/ 10 w 18"/>
                  <a:gd name="T19" fmla="*/ 8 h 12"/>
                  <a:gd name="T20" fmla="*/ 6 w 18"/>
                  <a:gd name="T21" fmla="*/ 8 h 12"/>
                  <a:gd name="T22" fmla="*/ 2 w 18"/>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2">
                    <a:moveTo>
                      <a:pt x="2" y="4"/>
                    </a:moveTo>
                    <a:lnTo>
                      <a:pt x="0" y="0"/>
                    </a:lnTo>
                    <a:lnTo>
                      <a:pt x="2" y="0"/>
                    </a:lnTo>
                    <a:lnTo>
                      <a:pt x="8" y="4"/>
                    </a:lnTo>
                    <a:lnTo>
                      <a:pt x="14" y="4"/>
                    </a:lnTo>
                    <a:lnTo>
                      <a:pt x="16" y="4"/>
                    </a:lnTo>
                    <a:lnTo>
                      <a:pt x="18" y="10"/>
                    </a:lnTo>
                    <a:lnTo>
                      <a:pt x="18" y="12"/>
                    </a:lnTo>
                    <a:lnTo>
                      <a:pt x="16" y="12"/>
                    </a:lnTo>
                    <a:lnTo>
                      <a:pt x="10" y="8"/>
                    </a:lnTo>
                    <a:lnTo>
                      <a:pt x="6" y="8"/>
                    </a:lnTo>
                    <a:lnTo>
                      <a:pt x="2"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78" name="Freeform 134"/>
              <p:cNvSpPr>
                <a:spLocks/>
              </p:cNvSpPr>
              <p:nvPr/>
            </p:nvSpPr>
            <p:spPr bwMode="auto">
              <a:xfrm>
                <a:off x="7843881" y="5872163"/>
                <a:ext cx="27515" cy="47625"/>
              </a:xfrm>
              <a:custGeom>
                <a:avLst/>
                <a:gdLst>
                  <a:gd name="T0" fmla="*/ 2 w 16"/>
                  <a:gd name="T1" fmla="*/ 0 h 30"/>
                  <a:gd name="T2" fmla="*/ 4 w 16"/>
                  <a:gd name="T3" fmla="*/ 0 h 30"/>
                  <a:gd name="T4" fmla="*/ 16 w 16"/>
                  <a:gd name="T5" fmla="*/ 10 h 30"/>
                  <a:gd name="T6" fmla="*/ 16 w 16"/>
                  <a:gd name="T7" fmla="*/ 20 h 30"/>
                  <a:gd name="T8" fmla="*/ 12 w 16"/>
                  <a:gd name="T9" fmla="*/ 26 h 30"/>
                  <a:gd name="T10" fmla="*/ 8 w 16"/>
                  <a:gd name="T11" fmla="*/ 30 h 30"/>
                  <a:gd name="T12" fmla="*/ 4 w 16"/>
                  <a:gd name="T13" fmla="*/ 30 h 30"/>
                  <a:gd name="T14" fmla="*/ 0 w 16"/>
                  <a:gd name="T15" fmla="*/ 26 h 30"/>
                  <a:gd name="T16" fmla="*/ 0 w 16"/>
                  <a:gd name="T17" fmla="*/ 20 h 30"/>
                  <a:gd name="T18" fmla="*/ 0 w 16"/>
                  <a:gd name="T19" fmla="*/ 16 h 30"/>
                  <a:gd name="T20" fmla="*/ 4 w 16"/>
                  <a:gd name="T21" fmla="*/ 22 h 30"/>
                  <a:gd name="T22" fmla="*/ 6 w 16"/>
                  <a:gd name="T23" fmla="*/ 20 h 30"/>
                  <a:gd name="T24" fmla="*/ 6 w 16"/>
                  <a:gd name="T25" fmla="*/ 10 h 30"/>
                  <a:gd name="T26" fmla="*/ 4 w 16"/>
                  <a:gd name="T27" fmla="*/ 10 h 30"/>
                  <a:gd name="T28" fmla="*/ 2 w 16"/>
                  <a:gd name="T29" fmla="*/ 6 h 30"/>
                  <a:gd name="T30" fmla="*/ 2 w 16"/>
                  <a:gd name="T3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30">
                    <a:moveTo>
                      <a:pt x="2" y="0"/>
                    </a:moveTo>
                    <a:lnTo>
                      <a:pt x="4" y="0"/>
                    </a:lnTo>
                    <a:lnTo>
                      <a:pt x="16" y="10"/>
                    </a:lnTo>
                    <a:lnTo>
                      <a:pt x="16" y="20"/>
                    </a:lnTo>
                    <a:lnTo>
                      <a:pt x="12" y="26"/>
                    </a:lnTo>
                    <a:lnTo>
                      <a:pt x="8" y="30"/>
                    </a:lnTo>
                    <a:lnTo>
                      <a:pt x="4" y="30"/>
                    </a:lnTo>
                    <a:lnTo>
                      <a:pt x="0" y="26"/>
                    </a:lnTo>
                    <a:lnTo>
                      <a:pt x="0" y="20"/>
                    </a:lnTo>
                    <a:lnTo>
                      <a:pt x="0" y="16"/>
                    </a:lnTo>
                    <a:lnTo>
                      <a:pt x="4" y="22"/>
                    </a:lnTo>
                    <a:lnTo>
                      <a:pt x="6" y="20"/>
                    </a:lnTo>
                    <a:lnTo>
                      <a:pt x="6" y="10"/>
                    </a:lnTo>
                    <a:lnTo>
                      <a:pt x="4" y="10"/>
                    </a:lnTo>
                    <a:lnTo>
                      <a:pt x="2" y="6"/>
                    </a:lnTo>
                    <a:lnTo>
                      <a:pt x="2"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79" name="Freeform 135"/>
              <p:cNvSpPr>
                <a:spLocks/>
              </p:cNvSpPr>
              <p:nvPr/>
            </p:nvSpPr>
            <p:spPr bwMode="auto">
              <a:xfrm>
                <a:off x="7843881" y="5872163"/>
                <a:ext cx="27515" cy="47625"/>
              </a:xfrm>
              <a:custGeom>
                <a:avLst/>
                <a:gdLst>
                  <a:gd name="T0" fmla="*/ 2 w 16"/>
                  <a:gd name="T1" fmla="*/ 0 h 30"/>
                  <a:gd name="T2" fmla="*/ 4 w 16"/>
                  <a:gd name="T3" fmla="*/ 0 h 30"/>
                  <a:gd name="T4" fmla="*/ 16 w 16"/>
                  <a:gd name="T5" fmla="*/ 10 h 30"/>
                  <a:gd name="T6" fmla="*/ 16 w 16"/>
                  <a:gd name="T7" fmla="*/ 20 h 30"/>
                  <a:gd name="T8" fmla="*/ 12 w 16"/>
                  <a:gd name="T9" fmla="*/ 26 h 30"/>
                  <a:gd name="T10" fmla="*/ 8 w 16"/>
                  <a:gd name="T11" fmla="*/ 30 h 30"/>
                  <a:gd name="T12" fmla="*/ 4 w 16"/>
                  <a:gd name="T13" fmla="*/ 30 h 30"/>
                  <a:gd name="T14" fmla="*/ 0 w 16"/>
                  <a:gd name="T15" fmla="*/ 26 h 30"/>
                  <a:gd name="T16" fmla="*/ 0 w 16"/>
                  <a:gd name="T17" fmla="*/ 20 h 30"/>
                  <a:gd name="T18" fmla="*/ 0 w 16"/>
                  <a:gd name="T19" fmla="*/ 16 h 30"/>
                  <a:gd name="T20" fmla="*/ 4 w 16"/>
                  <a:gd name="T21" fmla="*/ 22 h 30"/>
                  <a:gd name="T22" fmla="*/ 6 w 16"/>
                  <a:gd name="T23" fmla="*/ 20 h 30"/>
                  <a:gd name="T24" fmla="*/ 6 w 16"/>
                  <a:gd name="T25" fmla="*/ 10 h 30"/>
                  <a:gd name="T26" fmla="*/ 4 w 16"/>
                  <a:gd name="T27" fmla="*/ 10 h 30"/>
                  <a:gd name="T28" fmla="*/ 2 w 16"/>
                  <a:gd name="T29" fmla="*/ 6 h 30"/>
                  <a:gd name="T30" fmla="*/ 2 w 16"/>
                  <a:gd name="T3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30">
                    <a:moveTo>
                      <a:pt x="2" y="0"/>
                    </a:moveTo>
                    <a:lnTo>
                      <a:pt x="4" y="0"/>
                    </a:lnTo>
                    <a:lnTo>
                      <a:pt x="16" y="10"/>
                    </a:lnTo>
                    <a:lnTo>
                      <a:pt x="16" y="20"/>
                    </a:lnTo>
                    <a:lnTo>
                      <a:pt x="12" y="26"/>
                    </a:lnTo>
                    <a:lnTo>
                      <a:pt x="8" y="30"/>
                    </a:lnTo>
                    <a:lnTo>
                      <a:pt x="4" y="30"/>
                    </a:lnTo>
                    <a:lnTo>
                      <a:pt x="0" y="26"/>
                    </a:lnTo>
                    <a:lnTo>
                      <a:pt x="0" y="20"/>
                    </a:lnTo>
                    <a:lnTo>
                      <a:pt x="0" y="16"/>
                    </a:lnTo>
                    <a:lnTo>
                      <a:pt x="4" y="22"/>
                    </a:lnTo>
                    <a:lnTo>
                      <a:pt x="6" y="20"/>
                    </a:lnTo>
                    <a:lnTo>
                      <a:pt x="6" y="10"/>
                    </a:lnTo>
                    <a:lnTo>
                      <a:pt x="4" y="10"/>
                    </a:lnTo>
                    <a:lnTo>
                      <a:pt x="2" y="6"/>
                    </a:lnTo>
                    <a:lnTo>
                      <a:pt x="2"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80" name="Freeform 136"/>
              <p:cNvSpPr>
                <a:spLocks/>
              </p:cNvSpPr>
              <p:nvPr/>
            </p:nvSpPr>
            <p:spPr bwMode="auto">
              <a:xfrm>
                <a:off x="7623765" y="6011863"/>
                <a:ext cx="41272" cy="66675"/>
              </a:xfrm>
              <a:custGeom>
                <a:avLst/>
                <a:gdLst>
                  <a:gd name="T0" fmla="*/ 0 w 24"/>
                  <a:gd name="T1" fmla="*/ 34 h 42"/>
                  <a:gd name="T2" fmla="*/ 2 w 24"/>
                  <a:gd name="T3" fmla="*/ 34 h 42"/>
                  <a:gd name="T4" fmla="*/ 4 w 24"/>
                  <a:gd name="T5" fmla="*/ 32 h 42"/>
                  <a:gd name="T6" fmla="*/ 2 w 24"/>
                  <a:gd name="T7" fmla="*/ 22 h 42"/>
                  <a:gd name="T8" fmla="*/ 12 w 24"/>
                  <a:gd name="T9" fmla="*/ 12 h 42"/>
                  <a:gd name="T10" fmla="*/ 16 w 24"/>
                  <a:gd name="T11" fmla="*/ 2 h 42"/>
                  <a:gd name="T12" fmla="*/ 18 w 24"/>
                  <a:gd name="T13" fmla="*/ 0 h 42"/>
                  <a:gd name="T14" fmla="*/ 24 w 24"/>
                  <a:gd name="T15" fmla="*/ 0 h 42"/>
                  <a:gd name="T16" fmla="*/ 24 w 24"/>
                  <a:gd name="T17" fmla="*/ 18 h 42"/>
                  <a:gd name="T18" fmla="*/ 10 w 24"/>
                  <a:gd name="T19" fmla="*/ 42 h 42"/>
                  <a:gd name="T20" fmla="*/ 0 w 24"/>
                  <a:gd name="T21" fmla="*/ 38 h 42"/>
                  <a:gd name="T22" fmla="*/ 0 w 24"/>
                  <a:gd name="T2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42">
                    <a:moveTo>
                      <a:pt x="0" y="34"/>
                    </a:moveTo>
                    <a:lnTo>
                      <a:pt x="2" y="34"/>
                    </a:lnTo>
                    <a:lnTo>
                      <a:pt x="4" y="32"/>
                    </a:lnTo>
                    <a:lnTo>
                      <a:pt x="2" y="22"/>
                    </a:lnTo>
                    <a:lnTo>
                      <a:pt x="12" y="12"/>
                    </a:lnTo>
                    <a:lnTo>
                      <a:pt x="16" y="2"/>
                    </a:lnTo>
                    <a:lnTo>
                      <a:pt x="18" y="0"/>
                    </a:lnTo>
                    <a:lnTo>
                      <a:pt x="24" y="0"/>
                    </a:lnTo>
                    <a:lnTo>
                      <a:pt x="24" y="18"/>
                    </a:lnTo>
                    <a:lnTo>
                      <a:pt x="10" y="42"/>
                    </a:lnTo>
                    <a:lnTo>
                      <a:pt x="0" y="38"/>
                    </a:lnTo>
                    <a:lnTo>
                      <a:pt x="0" y="3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81" name="Freeform 137"/>
              <p:cNvSpPr>
                <a:spLocks/>
              </p:cNvSpPr>
              <p:nvPr/>
            </p:nvSpPr>
            <p:spPr bwMode="auto">
              <a:xfrm>
                <a:off x="7623765" y="6011863"/>
                <a:ext cx="41272" cy="66675"/>
              </a:xfrm>
              <a:custGeom>
                <a:avLst/>
                <a:gdLst>
                  <a:gd name="T0" fmla="*/ 0 w 24"/>
                  <a:gd name="T1" fmla="*/ 34 h 42"/>
                  <a:gd name="T2" fmla="*/ 2 w 24"/>
                  <a:gd name="T3" fmla="*/ 34 h 42"/>
                  <a:gd name="T4" fmla="*/ 4 w 24"/>
                  <a:gd name="T5" fmla="*/ 32 h 42"/>
                  <a:gd name="T6" fmla="*/ 2 w 24"/>
                  <a:gd name="T7" fmla="*/ 22 h 42"/>
                  <a:gd name="T8" fmla="*/ 12 w 24"/>
                  <a:gd name="T9" fmla="*/ 12 h 42"/>
                  <a:gd name="T10" fmla="*/ 16 w 24"/>
                  <a:gd name="T11" fmla="*/ 2 h 42"/>
                  <a:gd name="T12" fmla="*/ 18 w 24"/>
                  <a:gd name="T13" fmla="*/ 0 h 42"/>
                  <a:gd name="T14" fmla="*/ 24 w 24"/>
                  <a:gd name="T15" fmla="*/ 0 h 42"/>
                  <a:gd name="T16" fmla="*/ 24 w 24"/>
                  <a:gd name="T17" fmla="*/ 18 h 42"/>
                  <a:gd name="T18" fmla="*/ 10 w 24"/>
                  <a:gd name="T19" fmla="*/ 42 h 42"/>
                  <a:gd name="T20" fmla="*/ 0 w 24"/>
                  <a:gd name="T21" fmla="*/ 38 h 42"/>
                  <a:gd name="T22" fmla="*/ 0 w 24"/>
                  <a:gd name="T2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42">
                    <a:moveTo>
                      <a:pt x="0" y="34"/>
                    </a:moveTo>
                    <a:lnTo>
                      <a:pt x="2" y="34"/>
                    </a:lnTo>
                    <a:lnTo>
                      <a:pt x="4" y="32"/>
                    </a:lnTo>
                    <a:lnTo>
                      <a:pt x="2" y="22"/>
                    </a:lnTo>
                    <a:lnTo>
                      <a:pt x="12" y="12"/>
                    </a:lnTo>
                    <a:lnTo>
                      <a:pt x="16" y="2"/>
                    </a:lnTo>
                    <a:lnTo>
                      <a:pt x="18" y="0"/>
                    </a:lnTo>
                    <a:lnTo>
                      <a:pt x="24" y="0"/>
                    </a:lnTo>
                    <a:lnTo>
                      <a:pt x="24" y="18"/>
                    </a:lnTo>
                    <a:lnTo>
                      <a:pt x="10" y="42"/>
                    </a:lnTo>
                    <a:lnTo>
                      <a:pt x="0" y="38"/>
                    </a:lnTo>
                    <a:lnTo>
                      <a:pt x="0" y="3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82" name="Freeform 138"/>
              <p:cNvSpPr>
                <a:spLocks/>
              </p:cNvSpPr>
              <p:nvPr/>
            </p:nvSpPr>
            <p:spPr bwMode="auto">
              <a:xfrm>
                <a:off x="7506828" y="6107113"/>
                <a:ext cx="17197" cy="15875"/>
              </a:xfrm>
              <a:custGeom>
                <a:avLst/>
                <a:gdLst>
                  <a:gd name="T0" fmla="*/ 0 w 10"/>
                  <a:gd name="T1" fmla="*/ 6 h 10"/>
                  <a:gd name="T2" fmla="*/ 0 w 10"/>
                  <a:gd name="T3" fmla="*/ 4 h 10"/>
                  <a:gd name="T4" fmla="*/ 8 w 10"/>
                  <a:gd name="T5" fmla="*/ 0 h 10"/>
                  <a:gd name="T6" fmla="*/ 10 w 10"/>
                  <a:gd name="T7" fmla="*/ 4 h 10"/>
                  <a:gd name="T8" fmla="*/ 6 w 10"/>
                  <a:gd name="T9" fmla="*/ 10 h 10"/>
                  <a:gd name="T10" fmla="*/ 4 w 10"/>
                  <a:gd name="T11" fmla="*/ 10 h 10"/>
                  <a:gd name="T12" fmla="*/ 0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0" y="6"/>
                    </a:moveTo>
                    <a:lnTo>
                      <a:pt x="0" y="4"/>
                    </a:lnTo>
                    <a:lnTo>
                      <a:pt x="8" y="0"/>
                    </a:lnTo>
                    <a:lnTo>
                      <a:pt x="10" y="4"/>
                    </a:lnTo>
                    <a:lnTo>
                      <a:pt x="6" y="10"/>
                    </a:lnTo>
                    <a:lnTo>
                      <a:pt x="4" y="10"/>
                    </a:lnTo>
                    <a:lnTo>
                      <a:pt x="0" y="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83" name="Freeform 139"/>
              <p:cNvSpPr>
                <a:spLocks/>
              </p:cNvSpPr>
              <p:nvPr/>
            </p:nvSpPr>
            <p:spPr bwMode="auto">
              <a:xfrm>
                <a:off x="7506828" y="6107113"/>
                <a:ext cx="17197" cy="15875"/>
              </a:xfrm>
              <a:custGeom>
                <a:avLst/>
                <a:gdLst>
                  <a:gd name="T0" fmla="*/ 0 w 10"/>
                  <a:gd name="T1" fmla="*/ 6 h 10"/>
                  <a:gd name="T2" fmla="*/ 0 w 10"/>
                  <a:gd name="T3" fmla="*/ 4 h 10"/>
                  <a:gd name="T4" fmla="*/ 8 w 10"/>
                  <a:gd name="T5" fmla="*/ 0 h 10"/>
                  <a:gd name="T6" fmla="*/ 10 w 10"/>
                  <a:gd name="T7" fmla="*/ 4 h 10"/>
                  <a:gd name="T8" fmla="*/ 6 w 10"/>
                  <a:gd name="T9" fmla="*/ 10 h 10"/>
                  <a:gd name="T10" fmla="*/ 4 w 10"/>
                  <a:gd name="T11" fmla="*/ 10 h 10"/>
                  <a:gd name="T12" fmla="*/ 0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0" y="6"/>
                    </a:moveTo>
                    <a:lnTo>
                      <a:pt x="0" y="4"/>
                    </a:lnTo>
                    <a:lnTo>
                      <a:pt x="8" y="0"/>
                    </a:lnTo>
                    <a:lnTo>
                      <a:pt x="10" y="4"/>
                    </a:lnTo>
                    <a:lnTo>
                      <a:pt x="6" y="10"/>
                    </a:lnTo>
                    <a:lnTo>
                      <a:pt x="4" y="10"/>
                    </a:lnTo>
                    <a:lnTo>
                      <a:pt x="0" y="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84" name="Freeform 140"/>
              <p:cNvSpPr>
                <a:spLocks/>
              </p:cNvSpPr>
              <p:nvPr/>
            </p:nvSpPr>
            <p:spPr bwMode="auto">
              <a:xfrm>
                <a:off x="7420845" y="6091238"/>
                <a:ext cx="13757" cy="9525"/>
              </a:xfrm>
              <a:custGeom>
                <a:avLst/>
                <a:gdLst>
                  <a:gd name="T0" fmla="*/ 2 w 8"/>
                  <a:gd name="T1" fmla="*/ 2 h 6"/>
                  <a:gd name="T2" fmla="*/ 0 w 8"/>
                  <a:gd name="T3" fmla="*/ 2 h 6"/>
                  <a:gd name="T4" fmla="*/ 4 w 8"/>
                  <a:gd name="T5" fmla="*/ 0 h 6"/>
                  <a:gd name="T6" fmla="*/ 8 w 8"/>
                  <a:gd name="T7" fmla="*/ 0 h 6"/>
                  <a:gd name="T8" fmla="*/ 8 w 8"/>
                  <a:gd name="T9" fmla="*/ 4 h 6"/>
                  <a:gd name="T10" fmla="*/ 4 w 8"/>
                  <a:gd name="T11" fmla="*/ 6 h 6"/>
                  <a:gd name="T12" fmla="*/ 2 w 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2" y="2"/>
                    </a:moveTo>
                    <a:lnTo>
                      <a:pt x="0" y="2"/>
                    </a:lnTo>
                    <a:lnTo>
                      <a:pt x="4" y="0"/>
                    </a:lnTo>
                    <a:lnTo>
                      <a:pt x="8" y="0"/>
                    </a:lnTo>
                    <a:lnTo>
                      <a:pt x="8" y="4"/>
                    </a:lnTo>
                    <a:lnTo>
                      <a:pt x="4" y="6"/>
                    </a:lnTo>
                    <a:lnTo>
                      <a:pt x="2"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85" name="Freeform 141"/>
              <p:cNvSpPr>
                <a:spLocks/>
              </p:cNvSpPr>
              <p:nvPr/>
            </p:nvSpPr>
            <p:spPr bwMode="auto">
              <a:xfrm>
                <a:off x="7420845" y="6091238"/>
                <a:ext cx="13757" cy="9525"/>
              </a:xfrm>
              <a:custGeom>
                <a:avLst/>
                <a:gdLst>
                  <a:gd name="T0" fmla="*/ 2 w 8"/>
                  <a:gd name="T1" fmla="*/ 2 h 6"/>
                  <a:gd name="T2" fmla="*/ 0 w 8"/>
                  <a:gd name="T3" fmla="*/ 2 h 6"/>
                  <a:gd name="T4" fmla="*/ 4 w 8"/>
                  <a:gd name="T5" fmla="*/ 0 h 6"/>
                  <a:gd name="T6" fmla="*/ 8 w 8"/>
                  <a:gd name="T7" fmla="*/ 0 h 6"/>
                  <a:gd name="T8" fmla="*/ 8 w 8"/>
                  <a:gd name="T9" fmla="*/ 4 h 6"/>
                  <a:gd name="T10" fmla="*/ 4 w 8"/>
                  <a:gd name="T11" fmla="*/ 6 h 6"/>
                  <a:gd name="T12" fmla="*/ 2 w 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2" y="2"/>
                    </a:moveTo>
                    <a:lnTo>
                      <a:pt x="0" y="2"/>
                    </a:lnTo>
                    <a:lnTo>
                      <a:pt x="4" y="0"/>
                    </a:lnTo>
                    <a:lnTo>
                      <a:pt x="8" y="0"/>
                    </a:lnTo>
                    <a:lnTo>
                      <a:pt x="8" y="4"/>
                    </a:lnTo>
                    <a:lnTo>
                      <a:pt x="4" y="6"/>
                    </a:lnTo>
                    <a:lnTo>
                      <a:pt x="2"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86" name="Freeform 142"/>
              <p:cNvSpPr>
                <a:spLocks/>
              </p:cNvSpPr>
              <p:nvPr/>
            </p:nvSpPr>
            <p:spPr bwMode="auto">
              <a:xfrm>
                <a:off x="3843953" y="5551488"/>
                <a:ext cx="147891" cy="219075"/>
              </a:xfrm>
              <a:custGeom>
                <a:avLst/>
                <a:gdLst>
                  <a:gd name="T0" fmla="*/ 26 w 86"/>
                  <a:gd name="T1" fmla="*/ 0 h 138"/>
                  <a:gd name="T2" fmla="*/ 20 w 86"/>
                  <a:gd name="T3" fmla="*/ 2 h 138"/>
                  <a:gd name="T4" fmla="*/ 26 w 86"/>
                  <a:gd name="T5" fmla="*/ 6 h 138"/>
                  <a:gd name="T6" fmla="*/ 32 w 86"/>
                  <a:gd name="T7" fmla="*/ 10 h 138"/>
                  <a:gd name="T8" fmla="*/ 34 w 86"/>
                  <a:gd name="T9" fmla="*/ 14 h 138"/>
                  <a:gd name="T10" fmla="*/ 30 w 86"/>
                  <a:gd name="T11" fmla="*/ 14 h 138"/>
                  <a:gd name="T12" fmla="*/ 24 w 86"/>
                  <a:gd name="T13" fmla="*/ 18 h 138"/>
                  <a:gd name="T14" fmla="*/ 22 w 86"/>
                  <a:gd name="T15" fmla="*/ 26 h 138"/>
                  <a:gd name="T16" fmla="*/ 16 w 86"/>
                  <a:gd name="T17" fmla="*/ 30 h 138"/>
                  <a:gd name="T18" fmla="*/ 6 w 86"/>
                  <a:gd name="T19" fmla="*/ 60 h 138"/>
                  <a:gd name="T20" fmla="*/ 4 w 86"/>
                  <a:gd name="T21" fmla="*/ 58 h 138"/>
                  <a:gd name="T22" fmla="*/ 2 w 86"/>
                  <a:gd name="T23" fmla="*/ 60 h 138"/>
                  <a:gd name="T24" fmla="*/ 0 w 86"/>
                  <a:gd name="T25" fmla="*/ 106 h 138"/>
                  <a:gd name="T26" fmla="*/ 6 w 86"/>
                  <a:gd name="T27" fmla="*/ 126 h 138"/>
                  <a:gd name="T28" fmla="*/ 12 w 86"/>
                  <a:gd name="T29" fmla="*/ 134 h 138"/>
                  <a:gd name="T30" fmla="*/ 34 w 86"/>
                  <a:gd name="T31" fmla="*/ 138 h 138"/>
                  <a:gd name="T32" fmla="*/ 68 w 86"/>
                  <a:gd name="T33" fmla="*/ 124 h 138"/>
                  <a:gd name="T34" fmla="*/ 80 w 86"/>
                  <a:gd name="T35" fmla="*/ 114 h 138"/>
                  <a:gd name="T36" fmla="*/ 86 w 86"/>
                  <a:gd name="T37" fmla="*/ 86 h 138"/>
                  <a:gd name="T38" fmla="*/ 86 w 86"/>
                  <a:gd name="T39" fmla="*/ 80 h 138"/>
                  <a:gd name="T40" fmla="*/ 80 w 86"/>
                  <a:gd name="T41" fmla="*/ 78 h 138"/>
                  <a:gd name="T42" fmla="*/ 72 w 86"/>
                  <a:gd name="T43" fmla="*/ 52 h 138"/>
                  <a:gd name="T44" fmla="*/ 68 w 86"/>
                  <a:gd name="T45" fmla="*/ 48 h 138"/>
                  <a:gd name="T46" fmla="*/ 64 w 86"/>
                  <a:gd name="T47" fmla="*/ 40 h 138"/>
                  <a:gd name="T48" fmla="*/ 58 w 86"/>
                  <a:gd name="T49" fmla="*/ 32 h 138"/>
                  <a:gd name="T50" fmla="*/ 56 w 86"/>
                  <a:gd name="T51" fmla="*/ 26 h 138"/>
                  <a:gd name="T52" fmla="*/ 38 w 86"/>
                  <a:gd name="T53" fmla="*/ 4 h 138"/>
                  <a:gd name="T54" fmla="*/ 32 w 86"/>
                  <a:gd name="T55" fmla="*/ 2 h 138"/>
                  <a:gd name="T56" fmla="*/ 26 w 86"/>
                  <a:gd name="T5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138">
                    <a:moveTo>
                      <a:pt x="26" y="0"/>
                    </a:moveTo>
                    <a:lnTo>
                      <a:pt x="20" y="2"/>
                    </a:lnTo>
                    <a:lnTo>
                      <a:pt x="26" y="6"/>
                    </a:lnTo>
                    <a:lnTo>
                      <a:pt x="32" y="10"/>
                    </a:lnTo>
                    <a:lnTo>
                      <a:pt x="34" y="14"/>
                    </a:lnTo>
                    <a:lnTo>
                      <a:pt x="30" y="14"/>
                    </a:lnTo>
                    <a:lnTo>
                      <a:pt x="24" y="18"/>
                    </a:lnTo>
                    <a:lnTo>
                      <a:pt x="22" y="26"/>
                    </a:lnTo>
                    <a:lnTo>
                      <a:pt x="16" y="30"/>
                    </a:lnTo>
                    <a:lnTo>
                      <a:pt x="6" y="60"/>
                    </a:lnTo>
                    <a:lnTo>
                      <a:pt x="4" y="58"/>
                    </a:lnTo>
                    <a:lnTo>
                      <a:pt x="2" y="60"/>
                    </a:lnTo>
                    <a:lnTo>
                      <a:pt x="0" y="106"/>
                    </a:lnTo>
                    <a:lnTo>
                      <a:pt x="6" y="126"/>
                    </a:lnTo>
                    <a:lnTo>
                      <a:pt x="12" y="134"/>
                    </a:lnTo>
                    <a:lnTo>
                      <a:pt x="34" y="138"/>
                    </a:lnTo>
                    <a:lnTo>
                      <a:pt x="68" y="124"/>
                    </a:lnTo>
                    <a:lnTo>
                      <a:pt x="80" y="114"/>
                    </a:lnTo>
                    <a:lnTo>
                      <a:pt x="86" y="86"/>
                    </a:lnTo>
                    <a:lnTo>
                      <a:pt x="86" y="80"/>
                    </a:lnTo>
                    <a:lnTo>
                      <a:pt x="80" y="78"/>
                    </a:lnTo>
                    <a:lnTo>
                      <a:pt x="72" y="52"/>
                    </a:lnTo>
                    <a:lnTo>
                      <a:pt x="68" y="48"/>
                    </a:lnTo>
                    <a:lnTo>
                      <a:pt x="64" y="40"/>
                    </a:lnTo>
                    <a:lnTo>
                      <a:pt x="58" y="32"/>
                    </a:lnTo>
                    <a:lnTo>
                      <a:pt x="56" y="26"/>
                    </a:lnTo>
                    <a:lnTo>
                      <a:pt x="38" y="4"/>
                    </a:lnTo>
                    <a:lnTo>
                      <a:pt x="32" y="2"/>
                    </a:lnTo>
                    <a:lnTo>
                      <a:pt x="26"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87" name="Freeform 143"/>
              <p:cNvSpPr>
                <a:spLocks/>
              </p:cNvSpPr>
              <p:nvPr/>
            </p:nvSpPr>
            <p:spPr bwMode="auto">
              <a:xfrm>
                <a:off x="3843953" y="5551488"/>
                <a:ext cx="147891" cy="219075"/>
              </a:xfrm>
              <a:custGeom>
                <a:avLst/>
                <a:gdLst>
                  <a:gd name="T0" fmla="*/ 26 w 86"/>
                  <a:gd name="T1" fmla="*/ 0 h 138"/>
                  <a:gd name="T2" fmla="*/ 20 w 86"/>
                  <a:gd name="T3" fmla="*/ 2 h 138"/>
                  <a:gd name="T4" fmla="*/ 26 w 86"/>
                  <a:gd name="T5" fmla="*/ 6 h 138"/>
                  <a:gd name="T6" fmla="*/ 32 w 86"/>
                  <a:gd name="T7" fmla="*/ 10 h 138"/>
                  <a:gd name="T8" fmla="*/ 34 w 86"/>
                  <a:gd name="T9" fmla="*/ 14 h 138"/>
                  <a:gd name="T10" fmla="*/ 30 w 86"/>
                  <a:gd name="T11" fmla="*/ 14 h 138"/>
                  <a:gd name="T12" fmla="*/ 24 w 86"/>
                  <a:gd name="T13" fmla="*/ 18 h 138"/>
                  <a:gd name="T14" fmla="*/ 22 w 86"/>
                  <a:gd name="T15" fmla="*/ 26 h 138"/>
                  <a:gd name="T16" fmla="*/ 16 w 86"/>
                  <a:gd name="T17" fmla="*/ 30 h 138"/>
                  <a:gd name="T18" fmla="*/ 6 w 86"/>
                  <a:gd name="T19" fmla="*/ 60 h 138"/>
                  <a:gd name="T20" fmla="*/ 4 w 86"/>
                  <a:gd name="T21" fmla="*/ 58 h 138"/>
                  <a:gd name="T22" fmla="*/ 2 w 86"/>
                  <a:gd name="T23" fmla="*/ 60 h 138"/>
                  <a:gd name="T24" fmla="*/ 0 w 86"/>
                  <a:gd name="T25" fmla="*/ 106 h 138"/>
                  <a:gd name="T26" fmla="*/ 6 w 86"/>
                  <a:gd name="T27" fmla="*/ 126 h 138"/>
                  <a:gd name="T28" fmla="*/ 12 w 86"/>
                  <a:gd name="T29" fmla="*/ 134 h 138"/>
                  <a:gd name="T30" fmla="*/ 34 w 86"/>
                  <a:gd name="T31" fmla="*/ 138 h 138"/>
                  <a:gd name="T32" fmla="*/ 68 w 86"/>
                  <a:gd name="T33" fmla="*/ 124 h 138"/>
                  <a:gd name="T34" fmla="*/ 80 w 86"/>
                  <a:gd name="T35" fmla="*/ 114 h 138"/>
                  <a:gd name="T36" fmla="*/ 86 w 86"/>
                  <a:gd name="T37" fmla="*/ 86 h 138"/>
                  <a:gd name="T38" fmla="*/ 86 w 86"/>
                  <a:gd name="T39" fmla="*/ 80 h 138"/>
                  <a:gd name="T40" fmla="*/ 80 w 86"/>
                  <a:gd name="T41" fmla="*/ 78 h 138"/>
                  <a:gd name="T42" fmla="*/ 72 w 86"/>
                  <a:gd name="T43" fmla="*/ 52 h 138"/>
                  <a:gd name="T44" fmla="*/ 68 w 86"/>
                  <a:gd name="T45" fmla="*/ 48 h 138"/>
                  <a:gd name="T46" fmla="*/ 64 w 86"/>
                  <a:gd name="T47" fmla="*/ 40 h 138"/>
                  <a:gd name="T48" fmla="*/ 58 w 86"/>
                  <a:gd name="T49" fmla="*/ 32 h 138"/>
                  <a:gd name="T50" fmla="*/ 56 w 86"/>
                  <a:gd name="T51" fmla="*/ 26 h 138"/>
                  <a:gd name="T52" fmla="*/ 38 w 86"/>
                  <a:gd name="T53" fmla="*/ 4 h 138"/>
                  <a:gd name="T54" fmla="*/ 32 w 86"/>
                  <a:gd name="T55" fmla="*/ 2 h 138"/>
                  <a:gd name="T56" fmla="*/ 26 w 86"/>
                  <a:gd name="T5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138">
                    <a:moveTo>
                      <a:pt x="26" y="0"/>
                    </a:moveTo>
                    <a:lnTo>
                      <a:pt x="20" y="2"/>
                    </a:lnTo>
                    <a:lnTo>
                      <a:pt x="26" y="6"/>
                    </a:lnTo>
                    <a:lnTo>
                      <a:pt x="32" y="10"/>
                    </a:lnTo>
                    <a:lnTo>
                      <a:pt x="34" y="14"/>
                    </a:lnTo>
                    <a:lnTo>
                      <a:pt x="30" y="14"/>
                    </a:lnTo>
                    <a:lnTo>
                      <a:pt x="24" y="18"/>
                    </a:lnTo>
                    <a:lnTo>
                      <a:pt x="22" y="26"/>
                    </a:lnTo>
                    <a:lnTo>
                      <a:pt x="16" y="30"/>
                    </a:lnTo>
                    <a:lnTo>
                      <a:pt x="6" y="60"/>
                    </a:lnTo>
                    <a:lnTo>
                      <a:pt x="4" y="58"/>
                    </a:lnTo>
                    <a:lnTo>
                      <a:pt x="2" y="60"/>
                    </a:lnTo>
                    <a:lnTo>
                      <a:pt x="0" y="106"/>
                    </a:lnTo>
                    <a:lnTo>
                      <a:pt x="6" y="126"/>
                    </a:lnTo>
                    <a:lnTo>
                      <a:pt x="12" y="134"/>
                    </a:lnTo>
                    <a:lnTo>
                      <a:pt x="34" y="138"/>
                    </a:lnTo>
                    <a:lnTo>
                      <a:pt x="68" y="124"/>
                    </a:lnTo>
                    <a:lnTo>
                      <a:pt x="80" y="114"/>
                    </a:lnTo>
                    <a:lnTo>
                      <a:pt x="86" y="86"/>
                    </a:lnTo>
                    <a:lnTo>
                      <a:pt x="86" y="80"/>
                    </a:lnTo>
                    <a:lnTo>
                      <a:pt x="80" y="78"/>
                    </a:lnTo>
                    <a:lnTo>
                      <a:pt x="72" y="52"/>
                    </a:lnTo>
                    <a:lnTo>
                      <a:pt x="68" y="48"/>
                    </a:lnTo>
                    <a:lnTo>
                      <a:pt x="64" y="40"/>
                    </a:lnTo>
                    <a:lnTo>
                      <a:pt x="58" y="32"/>
                    </a:lnTo>
                    <a:lnTo>
                      <a:pt x="56" y="26"/>
                    </a:lnTo>
                    <a:lnTo>
                      <a:pt x="38" y="4"/>
                    </a:lnTo>
                    <a:lnTo>
                      <a:pt x="32" y="2"/>
                    </a:lnTo>
                    <a:lnTo>
                      <a:pt x="26"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88" name="Freeform 144"/>
              <p:cNvSpPr>
                <a:spLocks/>
              </p:cNvSpPr>
              <p:nvPr/>
            </p:nvSpPr>
            <p:spPr bwMode="auto">
              <a:xfrm>
                <a:off x="5271270" y="4776788"/>
                <a:ext cx="512459" cy="450850"/>
              </a:xfrm>
              <a:custGeom>
                <a:avLst/>
                <a:gdLst>
                  <a:gd name="T0" fmla="*/ 98 w 298"/>
                  <a:gd name="T1" fmla="*/ 30 h 284"/>
                  <a:gd name="T2" fmla="*/ 98 w 298"/>
                  <a:gd name="T3" fmla="*/ 44 h 284"/>
                  <a:gd name="T4" fmla="*/ 122 w 298"/>
                  <a:gd name="T5" fmla="*/ 50 h 284"/>
                  <a:gd name="T6" fmla="*/ 158 w 298"/>
                  <a:gd name="T7" fmla="*/ 54 h 284"/>
                  <a:gd name="T8" fmla="*/ 166 w 298"/>
                  <a:gd name="T9" fmla="*/ 60 h 284"/>
                  <a:gd name="T10" fmla="*/ 174 w 298"/>
                  <a:gd name="T11" fmla="*/ 70 h 284"/>
                  <a:gd name="T12" fmla="*/ 164 w 298"/>
                  <a:gd name="T13" fmla="*/ 86 h 284"/>
                  <a:gd name="T14" fmla="*/ 152 w 298"/>
                  <a:gd name="T15" fmla="*/ 88 h 284"/>
                  <a:gd name="T16" fmla="*/ 146 w 298"/>
                  <a:gd name="T17" fmla="*/ 94 h 284"/>
                  <a:gd name="T18" fmla="*/ 144 w 298"/>
                  <a:gd name="T19" fmla="*/ 104 h 284"/>
                  <a:gd name="T20" fmla="*/ 192 w 298"/>
                  <a:gd name="T21" fmla="*/ 128 h 284"/>
                  <a:gd name="T22" fmla="*/ 214 w 298"/>
                  <a:gd name="T23" fmla="*/ 144 h 284"/>
                  <a:gd name="T24" fmla="*/ 230 w 298"/>
                  <a:gd name="T25" fmla="*/ 154 h 284"/>
                  <a:gd name="T26" fmla="*/ 250 w 298"/>
                  <a:gd name="T27" fmla="*/ 174 h 284"/>
                  <a:gd name="T28" fmla="*/ 252 w 298"/>
                  <a:gd name="T29" fmla="*/ 176 h 284"/>
                  <a:gd name="T30" fmla="*/ 262 w 298"/>
                  <a:gd name="T31" fmla="*/ 182 h 284"/>
                  <a:gd name="T32" fmla="*/ 296 w 298"/>
                  <a:gd name="T33" fmla="*/ 222 h 284"/>
                  <a:gd name="T34" fmla="*/ 296 w 298"/>
                  <a:gd name="T35" fmla="*/ 250 h 284"/>
                  <a:gd name="T36" fmla="*/ 276 w 298"/>
                  <a:gd name="T37" fmla="*/ 262 h 284"/>
                  <a:gd name="T38" fmla="*/ 264 w 298"/>
                  <a:gd name="T39" fmla="*/ 260 h 284"/>
                  <a:gd name="T40" fmla="*/ 246 w 298"/>
                  <a:gd name="T41" fmla="*/ 282 h 284"/>
                  <a:gd name="T42" fmla="*/ 218 w 298"/>
                  <a:gd name="T43" fmla="*/ 284 h 284"/>
                  <a:gd name="T44" fmla="*/ 212 w 298"/>
                  <a:gd name="T45" fmla="*/ 276 h 284"/>
                  <a:gd name="T46" fmla="*/ 220 w 298"/>
                  <a:gd name="T47" fmla="*/ 268 h 284"/>
                  <a:gd name="T48" fmla="*/ 218 w 298"/>
                  <a:gd name="T49" fmla="*/ 234 h 284"/>
                  <a:gd name="T50" fmla="*/ 216 w 298"/>
                  <a:gd name="T51" fmla="*/ 224 h 284"/>
                  <a:gd name="T52" fmla="*/ 206 w 298"/>
                  <a:gd name="T53" fmla="*/ 218 h 284"/>
                  <a:gd name="T54" fmla="*/ 198 w 298"/>
                  <a:gd name="T55" fmla="*/ 214 h 284"/>
                  <a:gd name="T56" fmla="*/ 186 w 298"/>
                  <a:gd name="T57" fmla="*/ 206 h 284"/>
                  <a:gd name="T58" fmla="*/ 180 w 298"/>
                  <a:gd name="T59" fmla="*/ 176 h 284"/>
                  <a:gd name="T60" fmla="*/ 168 w 298"/>
                  <a:gd name="T61" fmla="*/ 160 h 284"/>
                  <a:gd name="T62" fmla="*/ 160 w 298"/>
                  <a:gd name="T63" fmla="*/ 154 h 284"/>
                  <a:gd name="T64" fmla="*/ 118 w 298"/>
                  <a:gd name="T65" fmla="*/ 144 h 284"/>
                  <a:gd name="T66" fmla="*/ 112 w 298"/>
                  <a:gd name="T67" fmla="*/ 156 h 284"/>
                  <a:gd name="T68" fmla="*/ 94 w 298"/>
                  <a:gd name="T69" fmla="*/ 164 h 284"/>
                  <a:gd name="T70" fmla="*/ 82 w 298"/>
                  <a:gd name="T71" fmla="*/ 156 h 284"/>
                  <a:gd name="T72" fmla="*/ 62 w 298"/>
                  <a:gd name="T73" fmla="*/ 162 h 284"/>
                  <a:gd name="T74" fmla="*/ 46 w 298"/>
                  <a:gd name="T75" fmla="*/ 176 h 284"/>
                  <a:gd name="T76" fmla="*/ 38 w 298"/>
                  <a:gd name="T77" fmla="*/ 186 h 284"/>
                  <a:gd name="T78" fmla="*/ 34 w 298"/>
                  <a:gd name="T79" fmla="*/ 176 h 284"/>
                  <a:gd name="T80" fmla="*/ 38 w 298"/>
                  <a:gd name="T81" fmla="*/ 122 h 284"/>
                  <a:gd name="T82" fmla="*/ 36 w 298"/>
                  <a:gd name="T83" fmla="*/ 108 h 284"/>
                  <a:gd name="T84" fmla="*/ 16 w 298"/>
                  <a:gd name="T85" fmla="*/ 110 h 284"/>
                  <a:gd name="T86" fmla="*/ 6 w 298"/>
                  <a:gd name="T87" fmla="*/ 82 h 284"/>
                  <a:gd name="T88" fmla="*/ 0 w 298"/>
                  <a:gd name="T89" fmla="*/ 82 h 284"/>
                  <a:gd name="T90" fmla="*/ 2 w 298"/>
                  <a:gd name="T91" fmla="*/ 76 h 284"/>
                  <a:gd name="T92" fmla="*/ 6 w 298"/>
                  <a:gd name="T93" fmla="*/ 70 h 284"/>
                  <a:gd name="T94" fmla="*/ 12 w 298"/>
                  <a:gd name="T95" fmla="*/ 62 h 284"/>
                  <a:gd name="T96" fmla="*/ 28 w 298"/>
                  <a:gd name="T97" fmla="*/ 44 h 284"/>
                  <a:gd name="T98" fmla="*/ 32 w 298"/>
                  <a:gd name="T99" fmla="*/ 36 h 284"/>
                  <a:gd name="T100" fmla="*/ 50 w 298"/>
                  <a:gd name="T101" fmla="*/ 46 h 284"/>
                  <a:gd name="T102" fmla="*/ 54 w 298"/>
                  <a:gd name="T103" fmla="*/ 34 h 284"/>
                  <a:gd name="T104" fmla="*/ 46 w 298"/>
                  <a:gd name="T105" fmla="*/ 8 h 284"/>
                  <a:gd name="T106" fmla="*/ 64 w 298"/>
                  <a:gd name="T10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8" h="284">
                    <a:moveTo>
                      <a:pt x="64" y="2"/>
                    </a:moveTo>
                    <a:lnTo>
                      <a:pt x="98" y="30"/>
                    </a:lnTo>
                    <a:lnTo>
                      <a:pt x="96" y="38"/>
                    </a:lnTo>
                    <a:lnTo>
                      <a:pt x="98" y="44"/>
                    </a:lnTo>
                    <a:lnTo>
                      <a:pt x="110" y="50"/>
                    </a:lnTo>
                    <a:lnTo>
                      <a:pt x="122" y="50"/>
                    </a:lnTo>
                    <a:lnTo>
                      <a:pt x="146" y="44"/>
                    </a:lnTo>
                    <a:lnTo>
                      <a:pt x="158" y="54"/>
                    </a:lnTo>
                    <a:lnTo>
                      <a:pt x="160" y="58"/>
                    </a:lnTo>
                    <a:lnTo>
                      <a:pt x="166" y="60"/>
                    </a:lnTo>
                    <a:lnTo>
                      <a:pt x="168" y="66"/>
                    </a:lnTo>
                    <a:lnTo>
                      <a:pt x="174" y="70"/>
                    </a:lnTo>
                    <a:lnTo>
                      <a:pt x="174" y="74"/>
                    </a:lnTo>
                    <a:lnTo>
                      <a:pt x="164" y="86"/>
                    </a:lnTo>
                    <a:lnTo>
                      <a:pt x="160" y="88"/>
                    </a:lnTo>
                    <a:lnTo>
                      <a:pt x="152" y="88"/>
                    </a:lnTo>
                    <a:lnTo>
                      <a:pt x="148" y="90"/>
                    </a:lnTo>
                    <a:lnTo>
                      <a:pt x="146" y="94"/>
                    </a:lnTo>
                    <a:lnTo>
                      <a:pt x="144" y="100"/>
                    </a:lnTo>
                    <a:lnTo>
                      <a:pt x="144" y="104"/>
                    </a:lnTo>
                    <a:lnTo>
                      <a:pt x="190" y="120"/>
                    </a:lnTo>
                    <a:lnTo>
                      <a:pt x="192" y="128"/>
                    </a:lnTo>
                    <a:lnTo>
                      <a:pt x="210" y="138"/>
                    </a:lnTo>
                    <a:lnTo>
                      <a:pt x="214" y="144"/>
                    </a:lnTo>
                    <a:lnTo>
                      <a:pt x="226" y="154"/>
                    </a:lnTo>
                    <a:lnTo>
                      <a:pt x="230" y="154"/>
                    </a:lnTo>
                    <a:lnTo>
                      <a:pt x="244" y="160"/>
                    </a:lnTo>
                    <a:lnTo>
                      <a:pt x="250" y="174"/>
                    </a:lnTo>
                    <a:lnTo>
                      <a:pt x="250" y="176"/>
                    </a:lnTo>
                    <a:lnTo>
                      <a:pt x="252" y="176"/>
                    </a:lnTo>
                    <a:lnTo>
                      <a:pt x="256" y="184"/>
                    </a:lnTo>
                    <a:lnTo>
                      <a:pt x="262" y="182"/>
                    </a:lnTo>
                    <a:lnTo>
                      <a:pt x="278" y="192"/>
                    </a:lnTo>
                    <a:lnTo>
                      <a:pt x="296" y="222"/>
                    </a:lnTo>
                    <a:lnTo>
                      <a:pt x="298" y="244"/>
                    </a:lnTo>
                    <a:lnTo>
                      <a:pt x="296" y="250"/>
                    </a:lnTo>
                    <a:lnTo>
                      <a:pt x="282" y="262"/>
                    </a:lnTo>
                    <a:lnTo>
                      <a:pt x="276" y="262"/>
                    </a:lnTo>
                    <a:lnTo>
                      <a:pt x="270" y="258"/>
                    </a:lnTo>
                    <a:lnTo>
                      <a:pt x="264" y="260"/>
                    </a:lnTo>
                    <a:lnTo>
                      <a:pt x="244" y="272"/>
                    </a:lnTo>
                    <a:lnTo>
                      <a:pt x="246" y="282"/>
                    </a:lnTo>
                    <a:lnTo>
                      <a:pt x="238" y="284"/>
                    </a:lnTo>
                    <a:lnTo>
                      <a:pt x="218" y="284"/>
                    </a:lnTo>
                    <a:lnTo>
                      <a:pt x="212" y="278"/>
                    </a:lnTo>
                    <a:lnTo>
                      <a:pt x="212" y="276"/>
                    </a:lnTo>
                    <a:lnTo>
                      <a:pt x="214" y="276"/>
                    </a:lnTo>
                    <a:lnTo>
                      <a:pt x="220" y="268"/>
                    </a:lnTo>
                    <a:lnTo>
                      <a:pt x="216" y="240"/>
                    </a:lnTo>
                    <a:lnTo>
                      <a:pt x="218" y="234"/>
                    </a:lnTo>
                    <a:lnTo>
                      <a:pt x="218" y="226"/>
                    </a:lnTo>
                    <a:lnTo>
                      <a:pt x="216" y="224"/>
                    </a:lnTo>
                    <a:lnTo>
                      <a:pt x="212" y="220"/>
                    </a:lnTo>
                    <a:lnTo>
                      <a:pt x="206" y="218"/>
                    </a:lnTo>
                    <a:lnTo>
                      <a:pt x="204" y="214"/>
                    </a:lnTo>
                    <a:lnTo>
                      <a:pt x="198" y="214"/>
                    </a:lnTo>
                    <a:lnTo>
                      <a:pt x="192" y="212"/>
                    </a:lnTo>
                    <a:lnTo>
                      <a:pt x="186" y="206"/>
                    </a:lnTo>
                    <a:lnTo>
                      <a:pt x="182" y="200"/>
                    </a:lnTo>
                    <a:lnTo>
                      <a:pt x="180" y="176"/>
                    </a:lnTo>
                    <a:lnTo>
                      <a:pt x="172" y="162"/>
                    </a:lnTo>
                    <a:lnTo>
                      <a:pt x="168" y="160"/>
                    </a:lnTo>
                    <a:lnTo>
                      <a:pt x="166" y="156"/>
                    </a:lnTo>
                    <a:lnTo>
                      <a:pt x="160" y="154"/>
                    </a:lnTo>
                    <a:lnTo>
                      <a:pt x="140" y="138"/>
                    </a:lnTo>
                    <a:lnTo>
                      <a:pt x="118" y="144"/>
                    </a:lnTo>
                    <a:lnTo>
                      <a:pt x="116" y="152"/>
                    </a:lnTo>
                    <a:lnTo>
                      <a:pt x="112" y="156"/>
                    </a:lnTo>
                    <a:lnTo>
                      <a:pt x="98" y="164"/>
                    </a:lnTo>
                    <a:lnTo>
                      <a:pt x="94" y="164"/>
                    </a:lnTo>
                    <a:lnTo>
                      <a:pt x="86" y="162"/>
                    </a:lnTo>
                    <a:lnTo>
                      <a:pt x="82" y="156"/>
                    </a:lnTo>
                    <a:lnTo>
                      <a:pt x="76" y="156"/>
                    </a:lnTo>
                    <a:lnTo>
                      <a:pt x="62" y="162"/>
                    </a:lnTo>
                    <a:lnTo>
                      <a:pt x="54" y="172"/>
                    </a:lnTo>
                    <a:lnTo>
                      <a:pt x="46" y="176"/>
                    </a:lnTo>
                    <a:lnTo>
                      <a:pt x="40" y="184"/>
                    </a:lnTo>
                    <a:lnTo>
                      <a:pt x="38" y="186"/>
                    </a:lnTo>
                    <a:lnTo>
                      <a:pt x="38" y="184"/>
                    </a:lnTo>
                    <a:lnTo>
                      <a:pt x="34" y="176"/>
                    </a:lnTo>
                    <a:lnTo>
                      <a:pt x="40" y="132"/>
                    </a:lnTo>
                    <a:lnTo>
                      <a:pt x="38" y="122"/>
                    </a:lnTo>
                    <a:lnTo>
                      <a:pt x="40" y="110"/>
                    </a:lnTo>
                    <a:lnTo>
                      <a:pt x="36" y="108"/>
                    </a:lnTo>
                    <a:lnTo>
                      <a:pt x="18" y="112"/>
                    </a:lnTo>
                    <a:lnTo>
                      <a:pt x="16" y="110"/>
                    </a:lnTo>
                    <a:lnTo>
                      <a:pt x="12" y="90"/>
                    </a:lnTo>
                    <a:lnTo>
                      <a:pt x="6" y="82"/>
                    </a:lnTo>
                    <a:lnTo>
                      <a:pt x="2" y="84"/>
                    </a:lnTo>
                    <a:lnTo>
                      <a:pt x="0" y="82"/>
                    </a:lnTo>
                    <a:lnTo>
                      <a:pt x="0" y="76"/>
                    </a:lnTo>
                    <a:lnTo>
                      <a:pt x="2" y="76"/>
                    </a:lnTo>
                    <a:lnTo>
                      <a:pt x="2" y="72"/>
                    </a:lnTo>
                    <a:lnTo>
                      <a:pt x="6" y="70"/>
                    </a:lnTo>
                    <a:lnTo>
                      <a:pt x="14" y="66"/>
                    </a:lnTo>
                    <a:lnTo>
                      <a:pt x="12" y="62"/>
                    </a:lnTo>
                    <a:lnTo>
                      <a:pt x="12" y="58"/>
                    </a:lnTo>
                    <a:lnTo>
                      <a:pt x="28" y="44"/>
                    </a:lnTo>
                    <a:lnTo>
                      <a:pt x="32" y="40"/>
                    </a:lnTo>
                    <a:lnTo>
                      <a:pt x="32" y="36"/>
                    </a:lnTo>
                    <a:lnTo>
                      <a:pt x="38" y="52"/>
                    </a:lnTo>
                    <a:lnTo>
                      <a:pt x="50" y="46"/>
                    </a:lnTo>
                    <a:lnTo>
                      <a:pt x="54" y="44"/>
                    </a:lnTo>
                    <a:lnTo>
                      <a:pt x="54" y="34"/>
                    </a:lnTo>
                    <a:lnTo>
                      <a:pt x="48" y="26"/>
                    </a:lnTo>
                    <a:lnTo>
                      <a:pt x="46" y="8"/>
                    </a:lnTo>
                    <a:lnTo>
                      <a:pt x="50" y="2"/>
                    </a:lnTo>
                    <a:lnTo>
                      <a:pt x="64" y="0"/>
                    </a:lnTo>
                    <a:lnTo>
                      <a:pt x="64"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89" name="Freeform 145"/>
              <p:cNvSpPr>
                <a:spLocks/>
              </p:cNvSpPr>
              <p:nvPr/>
            </p:nvSpPr>
            <p:spPr bwMode="auto">
              <a:xfrm>
                <a:off x="5271270" y="4776788"/>
                <a:ext cx="512459" cy="450850"/>
              </a:xfrm>
              <a:custGeom>
                <a:avLst/>
                <a:gdLst>
                  <a:gd name="T0" fmla="*/ 98 w 298"/>
                  <a:gd name="T1" fmla="*/ 30 h 284"/>
                  <a:gd name="T2" fmla="*/ 98 w 298"/>
                  <a:gd name="T3" fmla="*/ 44 h 284"/>
                  <a:gd name="T4" fmla="*/ 122 w 298"/>
                  <a:gd name="T5" fmla="*/ 50 h 284"/>
                  <a:gd name="T6" fmla="*/ 158 w 298"/>
                  <a:gd name="T7" fmla="*/ 54 h 284"/>
                  <a:gd name="T8" fmla="*/ 166 w 298"/>
                  <a:gd name="T9" fmla="*/ 60 h 284"/>
                  <a:gd name="T10" fmla="*/ 174 w 298"/>
                  <a:gd name="T11" fmla="*/ 70 h 284"/>
                  <a:gd name="T12" fmla="*/ 164 w 298"/>
                  <a:gd name="T13" fmla="*/ 86 h 284"/>
                  <a:gd name="T14" fmla="*/ 152 w 298"/>
                  <a:gd name="T15" fmla="*/ 88 h 284"/>
                  <a:gd name="T16" fmla="*/ 146 w 298"/>
                  <a:gd name="T17" fmla="*/ 94 h 284"/>
                  <a:gd name="T18" fmla="*/ 144 w 298"/>
                  <a:gd name="T19" fmla="*/ 104 h 284"/>
                  <a:gd name="T20" fmla="*/ 192 w 298"/>
                  <a:gd name="T21" fmla="*/ 128 h 284"/>
                  <a:gd name="T22" fmla="*/ 214 w 298"/>
                  <a:gd name="T23" fmla="*/ 144 h 284"/>
                  <a:gd name="T24" fmla="*/ 230 w 298"/>
                  <a:gd name="T25" fmla="*/ 154 h 284"/>
                  <a:gd name="T26" fmla="*/ 250 w 298"/>
                  <a:gd name="T27" fmla="*/ 174 h 284"/>
                  <a:gd name="T28" fmla="*/ 252 w 298"/>
                  <a:gd name="T29" fmla="*/ 176 h 284"/>
                  <a:gd name="T30" fmla="*/ 262 w 298"/>
                  <a:gd name="T31" fmla="*/ 182 h 284"/>
                  <a:gd name="T32" fmla="*/ 296 w 298"/>
                  <a:gd name="T33" fmla="*/ 222 h 284"/>
                  <a:gd name="T34" fmla="*/ 296 w 298"/>
                  <a:gd name="T35" fmla="*/ 250 h 284"/>
                  <a:gd name="T36" fmla="*/ 276 w 298"/>
                  <a:gd name="T37" fmla="*/ 262 h 284"/>
                  <a:gd name="T38" fmla="*/ 264 w 298"/>
                  <a:gd name="T39" fmla="*/ 260 h 284"/>
                  <a:gd name="T40" fmla="*/ 246 w 298"/>
                  <a:gd name="T41" fmla="*/ 282 h 284"/>
                  <a:gd name="T42" fmla="*/ 218 w 298"/>
                  <a:gd name="T43" fmla="*/ 284 h 284"/>
                  <a:gd name="T44" fmla="*/ 212 w 298"/>
                  <a:gd name="T45" fmla="*/ 276 h 284"/>
                  <a:gd name="T46" fmla="*/ 220 w 298"/>
                  <a:gd name="T47" fmla="*/ 268 h 284"/>
                  <a:gd name="T48" fmla="*/ 218 w 298"/>
                  <a:gd name="T49" fmla="*/ 234 h 284"/>
                  <a:gd name="T50" fmla="*/ 216 w 298"/>
                  <a:gd name="T51" fmla="*/ 224 h 284"/>
                  <a:gd name="T52" fmla="*/ 206 w 298"/>
                  <a:gd name="T53" fmla="*/ 218 h 284"/>
                  <a:gd name="T54" fmla="*/ 198 w 298"/>
                  <a:gd name="T55" fmla="*/ 214 h 284"/>
                  <a:gd name="T56" fmla="*/ 186 w 298"/>
                  <a:gd name="T57" fmla="*/ 206 h 284"/>
                  <a:gd name="T58" fmla="*/ 180 w 298"/>
                  <a:gd name="T59" fmla="*/ 176 h 284"/>
                  <a:gd name="T60" fmla="*/ 168 w 298"/>
                  <a:gd name="T61" fmla="*/ 160 h 284"/>
                  <a:gd name="T62" fmla="*/ 160 w 298"/>
                  <a:gd name="T63" fmla="*/ 154 h 284"/>
                  <a:gd name="T64" fmla="*/ 118 w 298"/>
                  <a:gd name="T65" fmla="*/ 144 h 284"/>
                  <a:gd name="T66" fmla="*/ 112 w 298"/>
                  <a:gd name="T67" fmla="*/ 156 h 284"/>
                  <a:gd name="T68" fmla="*/ 94 w 298"/>
                  <a:gd name="T69" fmla="*/ 164 h 284"/>
                  <a:gd name="T70" fmla="*/ 82 w 298"/>
                  <a:gd name="T71" fmla="*/ 156 h 284"/>
                  <a:gd name="T72" fmla="*/ 62 w 298"/>
                  <a:gd name="T73" fmla="*/ 162 h 284"/>
                  <a:gd name="T74" fmla="*/ 46 w 298"/>
                  <a:gd name="T75" fmla="*/ 176 h 284"/>
                  <a:gd name="T76" fmla="*/ 38 w 298"/>
                  <a:gd name="T77" fmla="*/ 186 h 284"/>
                  <a:gd name="T78" fmla="*/ 34 w 298"/>
                  <a:gd name="T79" fmla="*/ 176 h 284"/>
                  <a:gd name="T80" fmla="*/ 38 w 298"/>
                  <a:gd name="T81" fmla="*/ 122 h 284"/>
                  <a:gd name="T82" fmla="*/ 36 w 298"/>
                  <a:gd name="T83" fmla="*/ 108 h 284"/>
                  <a:gd name="T84" fmla="*/ 16 w 298"/>
                  <a:gd name="T85" fmla="*/ 110 h 284"/>
                  <a:gd name="T86" fmla="*/ 6 w 298"/>
                  <a:gd name="T87" fmla="*/ 82 h 284"/>
                  <a:gd name="T88" fmla="*/ 0 w 298"/>
                  <a:gd name="T89" fmla="*/ 82 h 284"/>
                  <a:gd name="T90" fmla="*/ 2 w 298"/>
                  <a:gd name="T91" fmla="*/ 76 h 284"/>
                  <a:gd name="T92" fmla="*/ 6 w 298"/>
                  <a:gd name="T93" fmla="*/ 70 h 284"/>
                  <a:gd name="T94" fmla="*/ 12 w 298"/>
                  <a:gd name="T95" fmla="*/ 62 h 284"/>
                  <a:gd name="T96" fmla="*/ 28 w 298"/>
                  <a:gd name="T97" fmla="*/ 44 h 284"/>
                  <a:gd name="T98" fmla="*/ 32 w 298"/>
                  <a:gd name="T99" fmla="*/ 36 h 284"/>
                  <a:gd name="T100" fmla="*/ 50 w 298"/>
                  <a:gd name="T101" fmla="*/ 46 h 284"/>
                  <a:gd name="T102" fmla="*/ 54 w 298"/>
                  <a:gd name="T103" fmla="*/ 34 h 284"/>
                  <a:gd name="T104" fmla="*/ 46 w 298"/>
                  <a:gd name="T105" fmla="*/ 8 h 284"/>
                  <a:gd name="T106" fmla="*/ 64 w 298"/>
                  <a:gd name="T10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8" h="284">
                    <a:moveTo>
                      <a:pt x="64" y="2"/>
                    </a:moveTo>
                    <a:lnTo>
                      <a:pt x="98" y="30"/>
                    </a:lnTo>
                    <a:lnTo>
                      <a:pt x="96" y="38"/>
                    </a:lnTo>
                    <a:lnTo>
                      <a:pt x="98" y="44"/>
                    </a:lnTo>
                    <a:lnTo>
                      <a:pt x="110" y="50"/>
                    </a:lnTo>
                    <a:lnTo>
                      <a:pt x="122" y="50"/>
                    </a:lnTo>
                    <a:lnTo>
                      <a:pt x="146" y="44"/>
                    </a:lnTo>
                    <a:lnTo>
                      <a:pt x="158" y="54"/>
                    </a:lnTo>
                    <a:lnTo>
                      <a:pt x="160" y="58"/>
                    </a:lnTo>
                    <a:lnTo>
                      <a:pt x="166" y="60"/>
                    </a:lnTo>
                    <a:lnTo>
                      <a:pt x="168" y="66"/>
                    </a:lnTo>
                    <a:lnTo>
                      <a:pt x="174" y="70"/>
                    </a:lnTo>
                    <a:lnTo>
                      <a:pt x="174" y="74"/>
                    </a:lnTo>
                    <a:lnTo>
                      <a:pt x="164" y="86"/>
                    </a:lnTo>
                    <a:lnTo>
                      <a:pt x="160" y="88"/>
                    </a:lnTo>
                    <a:lnTo>
                      <a:pt x="152" y="88"/>
                    </a:lnTo>
                    <a:lnTo>
                      <a:pt x="148" y="90"/>
                    </a:lnTo>
                    <a:lnTo>
                      <a:pt x="146" y="94"/>
                    </a:lnTo>
                    <a:lnTo>
                      <a:pt x="144" y="100"/>
                    </a:lnTo>
                    <a:lnTo>
                      <a:pt x="144" y="104"/>
                    </a:lnTo>
                    <a:lnTo>
                      <a:pt x="190" y="120"/>
                    </a:lnTo>
                    <a:lnTo>
                      <a:pt x="192" y="128"/>
                    </a:lnTo>
                    <a:lnTo>
                      <a:pt x="210" y="138"/>
                    </a:lnTo>
                    <a:lnTo>
                      <a:pt x="214" y="144"/>
                    </a:lnTo>
                    <a:lnTo>
                      <a:pt x="226" y="154"/>
                    </a:lnTo>
                    <a:lnTo>
                      <a:pt x="230" y="154"/>
                    </a:lnTo>
                    <a:lnTo>
                      <a:pt x="244" y="160"/>
                    </a:lnTo>
                    <a:lnTo>
                      <a:pt x="250" y="174"/>
                    </a:lnTo>
                    <a:lnTo>
                      <a:pt x="250" y="176"/>
                    </a:lnTo>
                    <a:lnTo>
                      <a:pt x="252" y="176"/>
                    </a:lnTo>
                    <a:lnTo>
                      <a:pt x="256" y="184"/>
                    </a:lnTo>
                    <a:lnTo>
                      <a:pt x="262" y="182"/>
                    </a:lnTo>
                    <a:lnTo>
                      <a:pt x="278" y="192"/>
                    </a:lnTo>
                    <a:lnTo>
                      <a:pt x="296" y="222"/>
                    </a:lnTo>
                    <a:lnTo>
                      <a:pt x="298" y="244"/>
                    </a:lnTo>
                    <a:lnTo>
                      <a:pt x="296" y="250"/>
                    </a:lnTo>
                    <a:lnTo>
                      <a:pt x="282" y="262"/>
                    </a:lnTo>
                    <a:lnTo>
                      <a:pt x="276" y="262"/>
                    </a:lnTo>
                    <a:lnTo>
                      <a:pt x="270" y="258"/>
                    </a:lnTo>
                    <a:lnTo>
                      <a:pt x="264" y="260"/>
                    </a:lnTo>
                    <a:lnTo>
                      <a:pt x="244" y="272"/>
                    </a:lnTo>
                    <a:lnTo>
                      <a:pt x="246" y="282"/>
                    </a:lnTo>
                    <a:lnTo>
                      <a:pt x="238" y="284"/>
                    </a:lnTo>
                    <a:lnTo>
                      <a:pt x="218" y="284"/>
                    </a:lnTo>
                    <a:lnTo>
                      <a:pt x="212" y="278"/>
                    </a:lnTo>
                    <a:lnTo>
                      <a:pt x="212" y="276"/>
                    </a:lnTo>
                    <a:lnTo>
                      <a:pt x="214" y="276"/>
                    </a:lnTo>
                    <a:lnTo>
                      <a:pt x="220" y="268"/>
                    </a:lnTo>
                    <a:lnTo>
                      <a:pt x="216" y="240"/>
                    </a:lnTo>
                    <a:lnTo>
                      <a:pt x="218" y="234"/>
                    </a:lnTo>
                    <a:lnTo>
                      <a:pt x="218" y="226"/>
                    </a:lnTo>
                    <a:lnTo>
                      <a:pt x="216" y="224"/>
                    </a:lnTo>
                    <a:lnTo>
                      <a:pt x="212" y="220"/>
                    </a:lnTo>
                    <a:lnTo>
                      <a:pt x="206" y="218"/>
                    </a:lnTo>
                    <a:lnTo>
                      <a:pt x="204" y="214"/>
                    </a:lnTo>
                    <a:lnTo>
                      <a:pt x="198" y="214"/>
                    </a:lnTo>
                    <a:lnTo>
                      <a:pt x="192" y="212"/>
                    </a:lnTo>
                    <a:lnTo>
                      <a:pt x="186" y="206"/>
                    </a:lnTo>
                    <a:lnTo>
                      <a:pt x="182" y="200"/>
                    </a:lnTo>
                    <a:lnTo>
                      <a:pt x="180" y="176"/>
                    </a:lnTo>
                    <a:lnTo>
                      <a:pt x="172" y="162"/>
                    </a:lnTo>
                    <a:lnTo>
                      <a:pt x="168" y="160"/>
                    </a:lnTo>
                    <a:lnTo>
                      <a:pt x="166" y="156"/>
                    </a:lnTo>
                    <a:lnTo>
                      <a:pt x="160" y="154"/>
                    </a:lnTo>
                    <a:lnTo>
                      <a:pt x="140" y="138"/>
                    </a:lnTo>
                    <a:lnTo>
                      <a:pt x="118" y="144"/>
                    </a:lnTo>
                    <a:lnTo>
                      <a:pt x="116" y="152"/>
                    </a:lnTo>
                    <a:lnTo>
                      <a:pt x="112" y="156"/>
                    </a:lnTo>
                    <a:lnTo>
                      <a:pt x="98" y="164"/>
                    </a:lnTo>
                    <a:lnTo>
                      <a:pt x="94" y="164"/>
                    </a:lnTo>
                    <a:lnTo>
                      <a:pt x="86" y="162"/>
                    </a:lnTo>
                    <a:lnTo>
                      <a:pt x="82" y="156"/>
                    </a:lnTo>
                    <a:lnTo>
                      <a:pt x="76" y="156"/>
                    </a:lnTo>
                    <a:lnTo>
                      <a:pt x="62" y="162"/>
                    </a:lnTo>
                    <a:lnTo>
                      <a:pt x="54" y="172"/>
                    </a:lnTo>
                    <a:lnTo>
                      <a:pt x="46" y="176"/>
                    </a:lnTo>
                    <a:lnTo>
                      <a:pt x="40" y="184"/>
                    </a:lnTo>
                    <a:lnTo>
                      <a:pt x="38" y="186"/>
                    </a:lnTo>
                    <a:lnTo>
                      <a:pt x="38" y="184"/>
                    </a:lnTo>
                    <a:lnTo>
                      <a:pt x="34" y="176"/>
                    </a:lnTo>
                    <a:lnTo>
                      <a:pt x="40" y="132"/>
                    </a:lnTo>
                    <a:lnTo>
                      <a:pt x="38" y="122"/>
                    </a:lnTo>
                    <a:lnTo>
                      <a:pt x="40" y="110"/>
                    </a:lnTo>
                    <a:lnTo>
                      <a:pt x="36" y="108"/>
                    </a:lnTo>
                    <a:lnTo>
                      <a:pt x="18" y="112"/>
                    </a:lnTo>
                    <a:lnTo>
                      <a:pt x="16" y="110"/>
                    </a:lnTo>
                    <a:lnTo>
                      <a:pt x="12" y="90"/>
                    </a:lnTo>
                    <a:lnTo>
                      <a:pt x="6" y="82"/>
                    </a:lnTo>
                    <a:lnTo>
                      <a:pt x="2" y="84"/>
                    </a:lnTo>
                    <a:lnTo>
                      <a:pt x="0" y="82"/>
                    </a:lnTo>
                    <a:lnTo>
                      <a:pt x="0" y="76"/>
                    </a:lnTo>
                    <a:lnTo>
                      <a:pt x="2" y="76"/>
                    </a:lnTo>
                    <a:lnTo>
                      <a:pt x="2" y="72"/>
                    </a:lnTo>
                    <a:lnTo>
                      <a:pt x="6" y="70"/>
                    </a:lnTo>
                    <a:lnTo>
                      <a:pt x="14" y="66"/>
                    </a:lnTo>
                    <a:lnTo>
                      <a:pt x="12" y="62"/>
                    </a:lnTo>
                    <a:lnTo>
                      <a:pt x="12" y="58"/>
                    </a:lnTo>
                    <a:lnTo>
                      <a:pt x="28" y="44"/>
                    </a:lnTo>
                    <a:lnTo>
                      <a:pt x="32" y="40"/>
                    </a:lnTo>
                    <a:lnTo>
                      <a:pt x="32" y="36"/>
                    </a:lnTo>
                    <a:lnTo>
                      <a:pt x="38" y="52"/>
                    </a:lnTo>
                    <a:lnTo>
                      <a:pt x="50" y="46"/>
                    </a:lnTo>
                    <a:lnTo>
                      <a:pt x="54" y="44"/>
                    </a:lnTo>
                    <a:lnTo>
                      <a:pt x="54" y="34"/>
                    </a:lnTo>
                    <a:lnTo>
                      <a:pt x="48" y="26"/>
                    </a:lnTo>
                    <a:lnTo>
                      <a:pt x="46" y="8"/>
                    </a:lnTo>
                    <a:lnTo>
                      <a:pt x="50" y="2"/>
                    </a:lnTo>
                    <a:lnTo>
                      <a:pt x="64" y="0"/>
                    </a:lnTo>
                    <a:lnTo>
                      <a:pt x="64"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90" name="Freeform 146"/>
              <p:cNvSpPr>
                <a:spLocks/>
              </p:cNvSpPr>
              <p:nvPr/>
            </p:nvSpPr>
            <p:spPr bwMode="auto">
              <a:xfrm>
                <a:off x="6248037" y="3087688"/>
                <a:ext cx="223556" cy="403225"/>
              </a:xfrm>
              <a:custGeom>
                <a:avLst/>
                <a:gdLst>
                  <a:gd name="T0" fmla="*/ 126 w 130"/>
                  <a:gd name="T1" fmla="*/ 172 h 254"/>
                  <a:gd name="T2" fmla="*/ 94 w 130"/>
                  <a:gd name="T3" fmla="*/ 168 h 254"/>
                  <a:gd name="T4" fmla="*/ 88 w 130"/>
                  <a:gd name="T5" fmla="*/ 158 h 254"/>
                  <a:gd name="T6" fmla="*/ 82 w 130"/>
                  <a:gd name="T7" fmla="*/ 148 h 254"/>
                  <a:gd name="T8" fmla="*/ 88 w 130"/>
                  <a:gd name="T9" fmla="*/ 132 h 254"/>
                  <a:gd name="T10" fmla="*/ 102 w 130"/>
                  <a:gd name="T11" fmla="*/ 116 h 254"/>
                  <a:gd name="T12" fmla="*/ 106 w 130"/>
                  <a:gd name="T13" fmla="*/ 86 h 254"/>
                  <a:gd name="T14" fmla="*/ 112 w 130"/>
                  <a:gd name="T15" fmla="*/ 74 h 254"/>
                  <a:gd name="T16" fmla="*/ 100 w 130"/>
                  <a:gd name="T17" fmla="*/ 56 h 254"/>
                  <a:gd name="T18" fmla="*/ 98 w 130"/>
                  <a:gd name="T19" fmla="*/ 16 h 254"/>
                  <a:gd name="T20" fmla="*/ 104 w 130"/>
                  <a:gd name="T21" fmla="*/ 12 h 254"/>
                  <a:gd name="T22" fmla="*/ 90 w 130"/>
                  <a:gd name="T23" fmla="*/ 6 h 254"/>
                  <a:gd name="T24" fmla="*/ 74 w 130"/>
                  <a:gd name="T25" fmla="*/ 0 h 254"/>
                  <a:gd name="T26" fmla="*/ 76 w 130"/>
                  <a:gd name="T27" fmla="*/ 28 h 254"/>
                  <a:gd name="T28" fmla="*/ 54 w 130"/>
                  <a:gd name="T29" fmla="*/ 64 h 254"/>
                  <a:gd name="T30" fmla="*/ 66 w 130"/>
                  <a:gd name="T31" fmla="*/ 82 h 254"/>
                  <a:gd name="T32" fmla="*/ 40 w 130"/>
                  <a:gd name="T33" fmla="*/ 96 h 254"/>
                  <a:gd name="T34" fmla="*/ 8 w 130"/>
                  <a:gd name="T35" fmla="*/ 162 h 254"/>
                  <a:gd name="T36" fmla="*/ 0 w 130"/>
                  <a:gd name="T37" fmla="*/ 194 h 254"/>
                  <a:gd name="T38" fmla="*/ 10 w 130"/>
                  <a:gd name="T39" fmla="*/ 198 h 254"/>
                  <a:gd name="T40" fmla="*/ 18 w 130"/>
                  <a:gd name="T41" fmla="*/ 194 h 254"/>
                  <a:gd name="T42" fmla="*/ 36 w 130"/>
                  <a:gd name="T43" fmla="*/ 190 h 254"/>
                  <a:gd name="T44" fmla="*/ 48 w 130"/>
                  <a:gd name="T45" fmla="*/ 220 h 254"/>
                  <a:gd name="T46" fmla="*/ 46 w 130"/>
                  <a:gd name="T47" fmla="*/ 226 h 254"/>
                  <a:gd name="T48" fmla="*/ 44 w 130"/>
                  <a:gd name="T49" fmla="*/ 232 h 254"/>
                  <a:gd name="T50" fmla="*/ 54 w 130"/>
                  <a:gd name="T51" fmla="*/ 246 h 254"/>
                  <a:gd name="T52" fmla="*/ 58 w 130"/>
                  <a:gd name="T53" fmla="*/ 244 h 254"/>
                  <a:gd name="T54" fmla="*/ 56 w 130"/>
                  <a:gd name="T55" fmla="*/ 250 h 254"/>
                  <a:gd name="T56" fmla="*/ 62 w 130"/>
                  <a:gd name="T57" fmla="*/ 250 h 254"/>
                  <a:gd name="T58" fmla="*/ 68 w 130"/>
                  <a:gd name="T59" fmla="*/ 254 h 254"/>
                  <a:gd name="T60" fmla="*/ 72 w 130"/>
                  <a:gd name="T61" fmla="*/ 248 h 254"/>
                  <a:gd name="T62" fmla="*/ 72 w 130"/>
                  <a:gd name="T63" fmla="*/ 240 h 254"/>
                  <a:gd name="T64" fmla="*/ 74 w 130"/>
                  <a:gd name="T65" fmla="*/ 238 h 254"/>
                  <a:gd name="T66" fmla="*/ 82 w 130"/>
                  <a:gd name="T67" fmla="*/ 238 h 254"/>
                  <a:gd name="T68" fmla="*/ 88 w 130"/>
                  <a:gd name="T69" fmla="*/ 236 h 254"/>
                  <a:gd name="T70" fmla="*/ 98 w 130"/>
                  <a:gd name="T71" fmla="*/ 232 h 254"/>
                  <a:gd name="T72" fmla="*/ 122 w 130"/>
                  <a:gd name="T73" fmla="*/ 196 h 254"/>
                  <a:gd name="T74" fmla="*/ 130 w 130"/>
                  <a:gd name="T75" fmla="*/ 17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254">
                    <a:moveTo>
                      <a:pt x="130" y="174"/>
                    </a:moveTo>
                    <a:lnTo>
                      <a:pt x="126" y="172"/>
                    </a:lnTo>
                    <a:lnTo>
                      <a:pt x="100" y="166"/>
                    </a:lnTo>
                    <a:lnTo>
                      <a:pt x="94" y="168"/>
                    </a:lnTo>
                    <a:lnTo>
                      <a:pt x="90" y="166"/>
                    </a:lnTo>
                    <a:lnTo>
                      <a:pt x="88" y="158"/>
                    </a:lnTo>
                    <a:lnTo>
                      <a:pt x="92" y="162"/>
                    </a:lnTo>
                    <a:lnTo>
                      <a:pt x="82" y="148"/>
                    </a:lnTo>
                    <a:lnTo>
                      <a:pt x="88" y="136"/>
                    </a:lnTo>
                    <a:lnTo>
                      <a:pt x="88" y="132"/>
                    </a:lnTo>
                    <a:lnTo>
                      <a:pt x="98" y="122"/>
                    </a:lnTo>
                    <a:lnTo>
                      <a:pt x="102" y="116"/>
                    </a:lnTo>
                    <a:lnTo>
                      <a:pt x="100" y="112"/>
                    </a:lnTo>
                    <a:lnTo>
                      <a:pt x="106" y="86"/>
                    </a:lnTo>
                    <a:lnTo>
                      <a:pt x="110" y="78"/>
                    </a:lnTo>
                    <a:lnTo>
                      <a:pt x="112" y="74"/>
                    </a:lnTo>
                    <a:lnTo>
                      <a:pt x="104" y="60"/>
                    </a:lnTo>
                    <a:lnTo>
                      <a:pt x="100" y="56"/>
                    </a:lnTo>
                    <a:lnTo>
                      <a:pt x="96" y="52"/>
                    </a:lnTo>
                    <a:lnTo>
                      <a:pt x="98" y="16"/>
                    </a:lnTo>
                    <a:lnTo>
                      <a:pt x="100" y="12"/>
                    </a:lnTo>
                    <a:lnTo>
                      <a:pt x="104" y="12"/>
                    </a:lnTo>
                    <a:lnTo>
                      <a:pt x="94" y="4"/>
                    </a:lnTo>
                    <a:lnTo>
                      <a:pt x="90" y="6"/>
                    </a:lnTo>
                    <a:lnTo>
                      <a:pt x="82" y="2"/>
                    </a:lnTo>
                    <a:lnTo>
                      <a:pt x="74" y="0"/>
                    </a:lnTo>
                    <a:lnTo>
                      <a:pt x="74" y="8"/>
                    </a:lnTo>
                    <a:lnTo>
                      <a:pt x="76" y="28"/>
                    </a:lnTo>
                    <a:lnTo>
                      <a:pt x="70" y="48"/>
                    </a:lnTo>
                    <a:lnTo>
                      <a:pt x="54" y="64"/>
                    </a:lnTo>
                    <a:lnTo>
                      <a:pt x="54" y="70"/>
                    </a:lnTo>
                    <a:lnTo>
                      <a:pt x="66" y="82"/>
                    </a:lnTo>
                    <a:lnTo>
                      <a:pt x="48" y="96"/>
                    </a:lnTo>
                    <a:lnTo>
                      <a:pt x="40" y="96"/>
                    </a:lnTo>
                    <a:lnTo>
                      <a:pt x="30" y="100"/>
                    </a:lnTo>
                    <a:lnTo>
                      <a:pt x="8" y="162"/>
                    </a:lnTo>
                    <a:lnTo>
                      <a:pt x="4" y="168"/>
                    </a:lnTo>
                    <a:lnTo>
                      <a:pt x="0" y="194"/>
                    </a:lnTo>
                    <a:lnTo>
                      <a:pt x="0" y="196"/>
                    </a:lnTo>
                    <a:lnTo>
                      <a:pt x="10" y="198"/>
                    </a:lnTo>
                    <a:lnTo>
                      <a:pt x="14" y="202"/>
                    </a:lnTo>
                    <a:lnTo>
                      <a:pt x="18" y="194"/>
                    </a:lnTo>
                    <a:lnTo>
                      <a:pt x="32" y="190"/>
                    </a:lnTo>
                    <a:lnTo>
                      <a:pt x="36" y="190"/>
                    </a:lnTo>
                    <a:lnTo>
                      <a:pt x="44" y="218"/>
                    </a:lnTo>
                    <a:lnTo>
                      <a:pt x="48" y="220"/>
                    </a:lnTo>
                    <a:lnTo>
                      <a:pt x="52" y="218"/>
                    </a:lnTo>
                    <a:lnTo>
                      <a:pt x="46" y="226"/>
                    </a:lnTo>
                    <a:lnTo>
                      <a:pt x="46" y="228"/>
                    </a:lnTo>
                    <a:lnTo>
                      <a:pt x="44" y="232"/>
                    </a:lnTo>
                    <a:lnTo>
                      <a:pt x="46" y="250"/>
                    </a:lnTo>
                    <a:lnTo>
                      <a:pt x="54" y="246"/>
                    </a:lnTo>
                    <a:lnTo>
                      <a:pt x="58" y="242"/>
                    </a:lnTo>
                    <a:lnTo>
                      <a:pt x="58" y="244"/>
                    </a:lnTo>
                    <a:lnTo>
                      <a:pt x="58" y="248"/>
                    </a:lnTo>
                    <a:lnTo>
                      <a:pt x="56" y="250"/>
                    </a:lnTo>
                    <a:lnTo>
                      <a:pt x="58" y="252"/>
                    </a:lnTo>
                    <a:lnTo>
                      <a:pt x="62" y="250"/>
                    </a:lnTo>
                    <a:lnTo>
                      <a:pt x="66" y="254"/>
                    </a:lnTo>
                    <a:lnTo>
                      <a:pt x="68" y="254"/>
                    </a:lnTo>
                    <a:lnTo>
                      <a:pt x="70" y="252"/>
                    </a:lnTo>
                    <a:lnTo>
                      <a:pt x="72" y="248"/>
                    </a:lnTo>
                    <a:lnTo>
                      <a:pt x="74" y="246"/>
                    </a:lnTo>
                    <a:lnTo>
                      <a:pt x="72" y="240"/>
                    </a:lnTo>
                    <a:lnTo>
                      <a:pt x="70" y="238"/>
                    </a:lnTo>
                    <a:lnTo>
                      <a:pt x="74" y="238"/>
                    </a:lnTo>
                    <a:lnTo>
                      <a:pt x="78" y="240"/>
                    </a:lnTo>
                    <a:lnTo>
                      <a:pt x="82" y="238"/>
                    </a:lnTo>
                    <a:lnTo>
                      <a:pt x="88" y="238"/>
                    </a:lnTo>
                    <a:lnTo>
                      <a:pt x="88" y="236"/>
                    </a:lnTo>
                    <a:lnTo>
                      <a:pt x="92" y="230"/>
                    </a:lnTo>
                    <a:lnTo>
                      <a:pt x="98" y="232"/>
                    </a:lnTo>
                    <a:lnTo>
                      <a:pt x="106" y="206"/>
                    </a:lnTo>
                    <a:lnTo>
                      <a:pt x="122" y="196"/>
                    </a:lnTo>
                    <a:lnTo>
                      <a:pt x="126" y="188"/>
                    </a:lnTo>
                    <a:lnTo>
                      <a:pt x="130" y="17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91" name="Freeform 147"/>
              <p:cNvSpPr>
                <a:spLocks/>
              </p:cNvSpPr>
              <p:nvPr/>
            </p:nvSpPr>
            <p:spPr bwMode="auto">
              <a:xfrm>
                <a:off x="6248037" y="3087688"/>
                <a:ext cx="223556" cy="403225"/>
              </a:xfrm>
              <a:custGeom>
                <a:avLst/>
                <a:gdLst>
                  <a:gd name="T0" fmla="*/ 126 w 130"/>
                  <a:gd name="T1" fmla="*/ 172 h 254"/>
                  <a:gd name="T2" fmla="*/ 94 w 130"/>
                  <a:gd name="T3" fmla="*/ 168 h 254"/>
                  <a:gd name="T4" fmla="*/ 88 w 130"/>
                  <a:gd name="T5" fmla="*/ 158 h 254"/>
                  <a:gd name="T6" fmla="*/ 82 w 130"/>
                  <a:gd name="T7" fmla="*/ 148 h 254"/>
                  <a:gd name="T8" fmla="*/ 88 w 130"/>
                  <a:gd name="T9" fmla="*/ 132 h 254"/>
                  <a:gd name="T10" fmla="*/ 102 w 130"/>
                  <a:gd name="T11" fmla="*/ 116 h 254"/>
                  <a:gd name="T12" fmla="*/ 106 w 130"/>
                  <a:gd name="T13" fmla="*/ 86 h 254"/>
                  <a:gd name="T14" fmla="*/ 112 w 130"/>
                  <a:gd name="T15" fmla="*/ 74 h 254"/>
                  <a:gd name="T16" fmla="*/ 100 w 130"/>
                  <a:gd name="T17" fmla="*/ 56 h 254"/>
                  <a:gd name="T18" fmla="*/ 98 w 130"/>
                  <a:gd name="T19" fmla="*/ 16 h 254"/>
                  <a:gd name="T20" fmla="*/ 104 w 130"/>
                  <a:gd name="T21" fmla="*/ 12 h 254"/>
                  <a:gd name="T22" fmla="*/ 90 w 130"/>
                  <a:gd name="T23" fmla="*/ 6 h 254"/>
                  <a:gd name="T24" fmla="*/ 74 w 130"/>
                  <a:gd name="T25" fmla="*/ 0 h 254"/>
                  <a:gd name="T26" fmla="*/ 76 w 130"/>
                  <a:gd name="T27" fmla="*/ 28 h 254"/>
                  <a:gd name="T28" fmla="*/ 54 w 130"/>
                  <a:gd name="T29" fmla="*/ 64 h 254"/>
                  <a:gd name="T30" fmla="*/ 66 w 130"/>
                  <a:gd name="T31" fmla="*/ 82 h 254"/>
                  <a:gd name="T32" fmla="*/ 40 w 130"/>
                  <a:gd name="T33" fmla="*/ 96 h 254"/>
                  <a:gd name="T34" fmla="*/ 8 w 130"/>
                  <a:gd name="T35" fmla="*/ 162 h 254"/>
                  <a:gd name="T36" fmla="*/ 0 w 130"/>
                  <a:gd name="T37" fmla="*/ 194 h 254"/>
                  <a:gd name="T38" fmla="*/ 10 w 130"/>
                  <a:gd name="T39" fmla="*/ 198 h 254"/>
                  <a:gd name="T40" fmla="*/ 18 w 130"/>
                  <a:gd name="T41" fmla="*/ 194 h 254"/>
                  <a:gd name="T42" fmla="*/ 36 w 130"/>
                  <a:gd name="T43" fmla="*/ 190 h 254"/>
                  <a:gd name="T44" fmla="*/ 48 w 130"/>
                  <a:gd name="T45" fmla="*/ 220 h 254"/>
                  <a:gd name="T46" fmla="*/ 46 w 130"/>
                  <a:gd name="T47" fmla="*/ 226 h 254"/>
                  <a:gd name="T48" fmla="*/ 44 w 130"/>
                  <a:gd name="T49" fmla="*/ 232 h 254"/>
                  <a:gd name="T50" fmla="*/ 54 w 130"/>
                  <a:gd name="T51" fmla="*/ 246 h 254"/>
                  <a:gd name="T52" fmla="*/ 58 w 130"/>
                  <a:gd name="T53" fmla="*/ 244 h 254"/>
                  <a:gd name="T54" fmla="*/ 56 w 130"/>
                  <a:gd name="T55" fmla="*/ 250 h 254"/>
                  <a:gd name="T56" fmla="*/ 62 w 130"/>
                  <a:gd name="T57" fmla="*/ 250 h 254"/>
                  <a:gd name="T58" fmla="*/ 68 w 130"/>
                  <a:gd name="T59" fmla="*/ 254 h 254"/>
                  <a:gd name="T60" fmla="*/ 72 w 130"/>
                  <a:gd name="T61" fmla="*/ 248 h 254"/>
                  <a:gd name="T62" fmla="*/ 72 w 130"/>
                  <a:gd name="T63" fmla="*/ 240 h 254"/>
                  <a:gd name="T64" fmla="*/ 74 w 130"/>
                  <a:gd name="T65" fmla="*/ 238 h 254"/>
                  <a:gd name="T66" fmla="*/ 82 w 130"/>
                  <a:gd name="T67" fmla="*/ 238 h 254"/>
                  <a:gd name="T68" fmla="*/ 88 w 130"/>
                  <a:gd name="T69" fmla="*/ 236 h 254"/>
                  <a:gd name="T70" fmla="*/ 98 w 130"/>
                  <a:gd name="T71" fmla="*/ 232 h 254"/>
                  <a:gd name="T72" fmla="*/ 122 w 130"/>
                  <a:gd name="T73" fmla="*/ 196 h 254"/>
                  <a:gd name="T74" fmla="*/ 130 w 130"/>
                  <a:gd name="T75" fmla="*/ 17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254">
                    <a:moveTo>
                      <a:pt x="130" y="174"/>
                    </a:moveTo>
                    <a:lnTo>
                      <a:pt x="126" y="172"/>
                    </a:lnTo>
                    <a:lnTo>
                      <a:pt x="100" y="166"/>
                    </a:lnTo>
                    <a:lnTo>
                      <a:pt x="94" y="168"/>
                    </a:lnTo>
                    <a:lnTo>
                      <a:pt x="90" y="166"/>
                    </a:lnTo>
                    <a:lnTo>
                      <a:pt x="88" y="158"/>
                    </a:lnTo>
                    <a:lnTo>
                      <a:pt x="92" y="162"/>
                    </a:lnTo>
                    <a:lnTo>
                      <a:pt x="82" y="148"/>
                    </a:lnTo>
                    <a:lnTo>
                      <a:pt x="88" y="136"/>
                    </a:lnTo>
                    <a:lnTo>
                      <a:pt x="88" y="132"/>
                    </a:lnTo>
                    <a:lnTo>
                      <a:pt x="98" y="122"/>
                    </a:lnTo>
                    <a:lnTo>
                      <a:pt x="102" y="116"/>
                    </a:lnTo>
                    <a:lnTo>
                      <a:pt x="100" y="112"/>
                    </a:lnTo>
                    <a:lnTo>
                      <a:pt x="106" y="86"/>
                    </a:lnTo>
                    <a:lnTo>
                      <a:pt x="110" y="78"/>
                    </a:lnTo>
                    <a:lnTo>
                      <a:pt x="112" y="74"/>
                    </a:lnTo>
                    <a:lnTo>
                      <a:pt x="104" y="60"/>
                    </a:lnTo>
                    <a:lnTo>
                      <a:pt x="100" y="56"/>
                    </a:lnTo>
                    <a:lnTo>
                      <a:pt x="96" y="52"/>
                    </a:lnTo>
                    <a:lnTo>
                      <a:pt x="98" y="16"/>
                    </a:lnTo>
                    <a:lnTo>
                      <a:pt x="100" y="12"/>
                    </a:lnTo>
                    <a:lnTo>
                      <a:pt x="104" y="12"/>
                    </a:lnTo>
                    <a:lnTo>
                      <a:pt x="94" y="4"/>
                    </a:lnTo>
                    <a:lnTo>
                      <a:pt x="90" y="6"/>
                    </a:lnTo>
                    <a:lnTo>
                      <a:pt x="82" y="2"/>
                    </a:lnTo>
                    <a:lnTo>
                      <a:pt x="74" y="0"/>
                    </a:lnTo>
                    <a:lnTo>
                      <a:pt x="74" y="8"/>
                    </a:lnTo>
                    <a:lnTo>
                      <a:pt x="76" y="28"/>
                    </a:lnTo>
                    <a:lnTo>
                      <a:pt x="70" y="48"/>
                    </a:lnTo>
                    <a:lnTo>
                      <a:pt x="54" y="64"/>
                    </a:lnTo>
                    <a:lnTo>
                      <a:pt x="54" y="70"/>
                    </a:lnTo>
                    <a:lnTo>
                      <a:pt x="66" y="82"/>
                    </a:lnTo>
                    <a:lnTo>
                      <a:pt x="48" y="96"/>
                    </a:lnTo>
                    <a:lnTo>
                      <a:pt x="40" y="96"/>
                    </a:lnTo>
                    <a:lnTo>
                      <a:pt x="30" y="100"/>
                    </a:lnTo>
                    <a:lnTo>
                      <a:pt x="8" y="162"/>
                    </a:lnTo>
                    <a:lnTo>
                      <a:pt x="4" y="168"/>
                    </a:lnTo>
                    <a:lnTo>
                      <a:pt x="0" y="194"/>
                    </a:lnTo>
                    <a:lnTo>
                      <a:pt x="0" y="196"/>
                    </a:lnTo>
                    <a:lnTo>
                      <a:pt x="10" y="198"/>
                    </a:lnTo>
                    <a:lnTo>
                      <a:pt x="14" y="202"/>
                    </a:lnTo>
                    <a:lnTo>
                      <a:pt x="18" y="194"/>
                    </a:lnTo>
                    <a:lnTo>
                      <a:pt x="32" y="190"/>
                    </a:lnTo>
                    <a:lnTo>
                      <a:pt x="36" y="190"/>
                    </a:lnTo>
                    <a:lnTo>
                      <a:pt x="44" y="218"/>
                    </a:lnTo>
                    <a:lnTo>
                      <a:pt x="48" y="220"/>
                    </a:lnTo>
                    <a:lnTo>
                      <a:pt x="52" y="218"/>
                    </a:lnTo>
                    <a:lnTo>
                      <a:pt x="46" y="226"/>
                    </a:lnTo>
                    <a:lnTo>
                      <a:pt x="46" y="228"/>
                    </a:lnTo>
                    <a:lnTo>
                      <a:pt x="44" y="232"/>
                    </a:lnTo>
                    <a:lnTo>
                      <a:pt x="46" y="250"/>
                    </a:lnTo>
                    <a:lnTo>
                      <a:pt x="54" y="246"/>
                    </a:lnTo>
                    <a:lnTo>
                      <a:pt x="58" y="242"/>
                    </a:lnTo>
                    <a:lnTo>
                      <a:pt x="58" y="244"/>
                    </a:lnTo>
                    <a:lnTo>
                      <a:pt x="58" y="248"/>
                    </a:lnTo>
                    <a:lnTo>
                      <a:pt x="56" y="250"/>
                    </a:lnTo>
                    <a:lnTo>
                      <a:pt x="58" y="252"/>
                    </a:lnTo>
                    <a:lnTo>
                      <a:pt x="62" y="250"/>
                    </a:lnTo>
                    <a:lnTo>
                      <a:pt x="66" y="254"/>
                    </a:lnTo>
                    <a:lnTo>
                      <a:pt x="68" y="254"/>
                    </a:lnTo>
                    <a:lnTo>
                      <a:pt x="70" y="252"/>
                    </a:lnTo>
                    <a:lnTo>
                      <a:pt x="72" y="248"/>
                    </a:lnTo>
                    <a:lnTo>
                      <a:pt x="74" y="246"/>
                    </a:lnTo>
                    <a:lnTo>
                      <a:pt x="72" y="240"/>
                    </a:lnTo>
                    <a:lnTo>
                      <a:pt x="70" y="238"/>
                    </a:lnTo>
                    <a:lnTo>
                      <a:pt x="74" y="238"/>
                    </a:lnTo>
                    <a:lnTo>
                      <a:pt x="78" y="240"/>
                    </a:lnTo>
                    <a:lnTo>
                      <a:pt x="82" y="238"/>
                    </a:lnTo>
                    <a:lnTo>
                      <a:pt x="88" y="238"/>
                    </a:lnTo>
                    <a:lnTo>
                      <a:pt x="88" y="236"/>
                    </a:lnTo>
                    <a:lnTo>
                      <a:pt x="92" y="230"/>
                    </a:lnTo>
                    <a:lnTo>
                      <a:pt x="98" y="232"/>
                    </a:lnTo>
                    <a:lnTo>
                      <a:pt x="106" y="206"/>
                    </a:lnTo>
                    <a:lnTo>
                      <a:pt x="122" y="196"/>
                    </a:lnTo>
                    <a:lnTo>
                      <a:pt x="126" y="188"/>
                    </a:lnTo>
                    <a:lnTo>
                      <a:pt x="130" y="17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92" name="Freeform 148"/>
              <p:cNvSpPr>
                <a:spLocks/>
              </p:cNvSpPr>
              <p:nvPr/>
            </p:nvSpPr>
            <p:spPr bwMode="auto">
              <a:xfrm>
                <a:off x="5941938" y="5624513"/>
                <a:ext cx="736014" cy="561975"/>
              </a:xfrm>
              <a:custGeom>
                <a:avLst/>
                <a:gdLst>
                  <a:gd name="T0" fmla="*/ 362 w 428"/>
                  <a:gd name="T1" fmla="*/ 2 h 354"/>
                  <a:gd name="T2" fmla="*/ 360 w 428"/>
                  <a:gd name="T3" fmla="*/ 8 h 354"/>
                  <a:gd name="T4" fmla="*/ 372 w 428"/>
                  <a:gd name="T5" fmla="*/ 16 h 354"/>
                  <a:gd name="T6" fmla="*/ 360 w 428"/>
                  <a:gd name="T7" fmla="*/ 22 h 354"/>
                  <a:gd name="T8" fmla="*/ 354 w 428"/>
                  <a:gd name="T9" fmla="*/ 34 h 354"/>
                  <a:gd name="T10" fmla="*/ 356 w 428"/>
                  <a:gd name="T11" fmla="*/ 42 h 354"/>
                  <a:gd name="T12" fmla="*/ 386 w 428"/>
                  <a:gd name="T13" fmla="*/ 68 h 354"/>
                  <a:gd name="T14" fmla="*/ 382 w 428"/>
                  <a:gd name="T15" fmla="*/ 78 h 354"/>
                  <a:gd name="T16" fmla="*/ 428 w 428"/>
                  <a:gd name="T17" fmla="*/ 106 h 354"/>
                  <a:gd name="T18" fmla="*/ 396 w 428"/>
                  <a:gd name="T19" fmla="*/ 120 h 354"/>
                  <a:gd name="T20" fmla="*/ 390 w 428"/>
                  <a:gd name="T21" fmla="*/ 124 h 354"/>
                  <a:gd name="T22" fmla="*/ 372 w 428"/>
                  <a:gd name="T23" fmla="*/ 148 h 354"/>
                  <a:gd name="T24" fmla="*/ 368 w 428"/>
                  <a:gd name="T25" fmla="*/ 170 h 354"/>
                  <a:gd name="T26" fmla="*/ 346 w 428"/>
                  <a:gd name="T27" fmla="*/ 220 h 354"/>
                  <a:gd name="T28" fmla="*/ 320 w 428"/>
                  <a:gd name="T29" fmla="*/ 248 h 354"/>
                  <a:gd name="T30" fmla="*/ 334 w 428"/>
                  <a:gd name="T31" fmla="*/ 260 h 354"/>
                  <a:gd name="T32" fmla="*/ 324 w 428"/>
                  <a:gd name="T33" fmla="*/ 276 h 354"/>
                  <a:gd name="T34" fmla="*/ 316 w 428"/>
                  <a:gd name="T35" fmla="*/ 292 h 354"/>
                  <a:gd name="T36" fmla="*/ 314 w 428"/>
                  <a:gd name="T37" fmla="*/ 302 h 354"/>
                  <a:gd name="T38" fmla="*/ 308 w 428"/>
                  <a:gd name="T39" fmla="*/ 318 h 354"/>
                  <a:gd name="T40" fmla="*/ 242 w 428"/>
                  <a:gd name="T41" fmla="*/ 330 h 354"/>
                  <a:gd name="T42" fmla="*/ 206 w 428"/>
                  <a:gd name="T43" fmla="*/ 336 h 354"/>
                  <a:gd name="T44" fmla="*/ 190 w 428"/>
                  <a:gd name="T45" fmla="*/ 330 h 354"/>
                  <a:gd name="T46" fmla="*/ 174 w 428"/>
                  <a:gd name="T47" fmla="*/ 330 h 354"/>
                  <a:gd name="T48" fmla="*/ 142 w 428"/>
                  <a:gd name="T49" fmla="*/ 346 h 354"/>
                  <a:gd name="T50" fmla="*/ 124 w 428"/>
                  <a:gd name="T51" fmla="*/ 342 h 354"/>
                  <a:gd name="T52" fmla="*/ 104 w 428"/>
                  <a:gd name="T53" fmla="*/ 336 h 354"/>
                  <a:gd name="T54" fmla="*/ 80 w 428"/>
                  <a:gd name="T55" fmla="*/ 344 h 354"/>
                  <a:gd name="T56" fmla="*/ 62 w 428"/>
                  <a:gd name="T57" fmla="*/ 346 h 354"/>
                  <a:gd name="T58" fmla="*/ 54 w 428"/>
                  <a:gd name="T59" fmla="*/ 332 h 354"/>
                  <a:gd name="T60" fmla="*/ 44 w 428"/>
                  <a:gd name="T61" fmla="*/ 308 h 354"/>
                  <a:gd name="T62" fmla="*/ 46 w 428"/>
                  <a:gd name="T63" fmla="*/ 296 h 354"/>
                  <a:gd name="T64" fmla="*/ 30 w 428"/>
                  <a:gd name="T65" fmla="*/ 266 h 354"/>
                  <a:gd name="T66" fmla="*/ 14 w 428"/>
                  <a:gd name="T67" fmla="*/ 264 h 354"/>
                  <a:gd name="T68" fmla="*/ 4 w 428"/>
                  <a:gd name="T69" fmla="*/ 234 h 354"/>
                  <a:gd name="T70" fmla="*/ 8 w 428"/>
                  <a:gd name="T71" fmla="*/ 186 h 354"/>
                  <a:gd name="T72" fmla="*/ 26 w 428"/>
                  <a:gd name="T73" fmla="*/ 168 h 354"/>
                  <a:gd name="T74" fmla="*/ 68 w 428"/>
                  <a:gd name="T75" fmla="*/ 198 h 354"/>
                  <a:gd name="T76" fmla="*/ 122 w 428"/>
                  <a:gd name="T77" fmla="*/ 184 h 354"/>
                  <a:gd name="T78" fmla="*/ 168 w 428"/>
                  <a:gd name="T79" fmla="*/ 156 h 354"/>
                  <a:gd name="T80" fmla="*/ 238 w 428"/>
                  <a:gd name="T81" fmla="*/ 136 h 354"/>
                  <a:gd name="T82" fmla="*/ 282 w 428"/>
                  <a:gd name="T83" fmla="*/ 22 h 354"/>
                  <a:gd name="T84" fmla="*/ 346 w 428"/>
                  <a:gd name="T85" fmla="*/ 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8" h="354">
                    <a:moveTo>
                      <a:pt x="362" y="0"/>
                    </a:moveTo>
                    <a:lnTo>
                      <a:pt x="362" y="0"/>
                    </a:lnTo>
                    <a:lnTo>
                      <a:pt x="362" y="2"/>
                    </a:lnTo>
                    <a:lnTo>
                      <a:pt x="358" y="6"/>
                    </a:lnTo>
                    <a:lnTo>
                      <a:pt x="354" y="8"/>
                    </a:lnTo>
                    <a:lnTo>
                      <a:pt x="360" y="8"/>
                    </a:lnTo>
                    <a:lnTo>
                      <a:pt x="366" y="10"/>
                    </a:lnTo>
                    <a:lnTo>
                      <a:pt x="372" y="10"/>
                    </a:lnTo>
                    <a:lnTo>
                      <a:pt x="372" y="16"/>
                    </a:lnTo>
                    <a:lnTo>
                      <a:pt x="368" y="20"/>
                    </a:lnTo>
                    <a:lnTo>
                      <a:pt x="362" y="20"/>
                    </a:lnTo>
                    <a:lnTo>
                      <a:pt x="360" y="22"/>
                    </a:lnTo>
                    <a:lnTo>
                      <a:pt x="350" y="26"/>
                    </a:lnTo>
                    <a:lnTo>
                      <a:pt x="348" y="30"/>
                    </a:lnTo>
                    <a:lnTo>
                      <a:pt x="354" y="34"/>
                    </a:lnTo>
                    <a:lnTo>
                      <a:pt x="358" y="36"/>
                    </a:lnTo>
                    <a:lnTo>
                      <a:pt x="358" y="38"/>
                    </a:lnTo>
                    <a:lnTo>
                      <a:pt x="356" y="42"/>
                    </a:lnTo>
                    <a:lnTo>
                      <a:pt x="358" y="44"/>
                    </a:lnTo>
                    <a:lnTo>
                      <a:pt x="364" y="46"/>
                    </a:lnTo>
                    <a:lnTo>
                      <a:pt x="386" y="68"/>
                    </a:lnTo>
                    <a:lnTo>
                      <a:pt x="384" y="72"/>
                    </a:lnTo>
                    <a:lnTo>
                      <a:pt x="382" y="76"/>
                    </a:lnTo>
                    <a:lnTo>
                      <a:pt x="382" y="78"/>
                    </a:lnTo>
                    <a:lnTo>
                      <a:pt x="380" y="82"/>
                    </a:lnTo>
                    <a:lnTo>
                      <a:pt x="382" y="84"/>
                    </a:lnTo>
                    <a:lnTo>
                      <a:pt x="428" y="106"/>
                    </a:lnTo>
                    <a:lnTo>
                      <a:pt x="428" y="110"/>
                    </a:lnTo>
                    <a:lnTo>
                      <a:pt x="408" y="120"/>
                    </a:lnTo>
                    <a:lnTo>
                      <a:pt x="396" y="120"/>
                    </a:lnTo>
                    <a:lnTo>
                      <a:pt x="388" y="116"/>
                    </a:lnTo>
                    <a:lnTo>
                      <a:pt x="388" y="120"/>
                    </a:lnTo>
                    <a:lnTo>
                      <a:pt x="390" y="124"/>
                    </a:lnTo>
                    <a:lnTo>
                      <a:pt x="390" y="126"/>
                    </a:lnTo>
                    <a:lnTo>
                      <a:pt x="382" y="132"/>
                    </a:lnTo>
                    <a:lnTo>
                      <a:pt x="372" y="148"/>
                    </a:lnTo>
                    <a:lnTo>
                      <a:pt x="370" y="154"/>
                    </a:lnTo>
                    <a:lnTo>
                      <a:pt x="372" y="162"/>
                    </a:lnTo>
                    <a:lnTo>
                      <a:pt x="368" y="170"/>
                    </a:lnTo>
                    <a:lnTo>
                      <a:pt x="370" y="182"/>
                    </a:lnTo>
                    <a:lnTo>
                      <a:pt x="354" y="214"/>
                    </a:lnTo>
                    <a:lnTo>
                      <a:pt x="346" y="220"/>
                    </a:lnTo>
                    <a:lnTo>
                      <a:pt x="344" y="220"/>
                    </a:lnTo>
                    <a:lnTo>
                      <a:pt x="318" y="246"/>
                    </a:lnTo>
                    <a:lnTo>
                      <a:pt x="320" y="248"/>
                    </a:lnTo>
                    <a:lnTo>
                      <a:pt x="324" y="248"/>
                    </a:lnTo>
                    <a:lnTo>
                      <a:pt x="326" y="258"/>
                    </a:lnTo>
                    <a:lnTo>
                      <a:pt x="334" y="260"/>
                    </a:lnTo>
                    <a:lnTo>
                      <a:pt x="330" y="274"/>
                    </a:lnTo>
                    <a:lnTo>
                      <a:pt x="326" y="274"/>
                    </a:lnTo>
                    <a:lnTo>
                      <a:pt x="324" y="276"/>
                    </a:lnTo>
                    <a:lnTo>
                      <a:pt x="324" y="284"/>
                    </a:lnTo>
                    <a:lnTo>
                      <a:pt x="320" y="292"/>
                    </a:lnTo>
                    <a:lnTo>
                      <a:pt x="316" y="292"/>
                    </a:lnTo>
                    <a:lnTo>
                      <a:pt x="316" y="296"/>
                    </a:lnTo>
                    <a:lnTo>
                      <a:pt x="316" y="300"/>
                    </a:lnTo>
                    <a:lnTo>
                      <a:pt x="314" y="302"/>
                    </a:lnTo>
                    <a:lnTo>
                      <a:pt x="312" y="304"/>
                    </a:lnTo>
                    <a:lnTo>
                      <a:pt x="310" y="308"/>
                    </a:lnTo>
                    <a:lnTo>
                      <a:pt x="308" y="318"/>
                    </a:lnTo>
                    <a:lnTo>
                      <a:pt x="250" y="354"/>
                    </a:lnTo>
                    <a:lnTo>
                      <a:pt x="244" y="332"/>
                    </a:lnTo>
                    <a:lnTo>
                      <a:pt x="242" y="330"/>
                    </a:lnTo>
                    <a:lnTo>
                      <a:pt x="238" y="330"/>
                    </a:lnTo>
                    <a:lnTo>
                      <a:pt x="232" y="328"/>
                    </a:lnTo>
                    <a:lnTo>
                      <a:pt x="206" y="336"/>
                    </a:lnTo>
                    <a:lnTo>
                      <a:pt x="204" y="332"/>
                    </a:lnTo>
                    <a:lnTo>
                      <a:pt x="204" y="328"/>
                    </a:lnTo>
                    <a:lnTo>
                      <a:pt x="190" y="330"/>
                    </a:lnTo>
                    <a:lnTo>
                      <a:pt x="180" y="328"/>
                    </a:lnTo>
                    <a:lnTo>
                      <a:pt x="176" y="326"/>
                    </a:lnTo>
                    <a:lnTo>
                      <a:pt x="174" y="330"/>
                    </a:lnTo>
                    <a:lnTo>
                      <a:pt x="174" y="332"/>
                    </a:lnTo>
                    <a:lnTo>
                      <a:pt x="158" y="344"/>
                    </a:lnTo>
                    <a:lnTo>
                      <a:pt x="142" y="346"/>
                    </a:lnTo>
                    <a:lnTo>
                      <a:pt x="128" y="354"/>
                    </a:lnTo>
                    <a:lnTo>
                      <a:pt x="126" y="354"/>
                    </a:lnTo>
                    <a:lnTo>
                      <a:pt x="124" y="342"/>
                    </a:lnTo>
                    <a:lnTo>
                      <a:pt x="118" y="328"/>
                    </a:lnTo>
                    <a:lnTo>
                      <a:pt x="112" y="336"/>
                    </a:lnTo>
                    <a:lnTo>
                      <a:pt x="104" y="336"/>
                    </a:lnTo>
                    <a:lnTo>
                      <a:pt x="92" y="344"/>
                    </a:lnTo>
                    <a:lnTo>
                      <a:pt x="84" y="346"/>
                    </a:lnTo>
                    <a:lnTo>
                      <a:pt x="80" y="344"/>
                    </a:lnTo>
                    <a:lnTo>
                      <a:pt x="72" y="346"/>
                    </a:lnTo>
                    <a:lnTo>
                      <a:pt x="64" y="344"/>
                    </a:lnTo>
                    <a:lnTo>
                      <a:pt x="62" y="346"/>
                    </a:lnTo>
                    <a:lnTo>
                      <a:pt x="56" y="348"/>
                    </a:lnTo>
                    <a:lnTo>
                      <a:pt x="54" y="338"/>
                    </a:lnTo>
                    <a:lnTo>
                      <a:pt x="54" y="332"/>
                    </a:lnTo>
                    <a:lnTo>
                      <a:pt x="50" y="328"/>
                    </a:lnTo>
                    <a:lnTo>
                      <a:pt x="48" y="316"/>
                    </a:lnTo>
                    <a:lnTo>
                      <a:pt x="44" y="308"/>
                    </a:lnTo>
                    <a:lnTo>
                      <a:pt x="42" y="304"/>
                    </a:lnTo>
                    <a:lnTo>
                      <a:pt x="44" y="302"/>
                    </a:lnTo>
                    <a:lnTo>
                      <a:pt x="46" y="296"/>
                    </a:lnTo>
                    <a:lnTo>
                      <a:pt x="42" y="284"/>
                    </a:lnTo>
                    <a:lnTo>
                      <a:pt x="32" y="270"/>
                    </a:lnTo>
                    <a:lnTo>
                      <a:pt x="30" y="266"/>
                    </a:lnTo>
                    <a:lnTo>
                      <a:pt x="22" y="266"/>
                    </a:lnTo>
                    <a:lnTo>
                      <a:pt x="18" y="262"/>
                    </a:lnTo>
                    <a:lnTo>
                      <a:pt x="14" y="264"/>
                    </a:lnTo>
                    <a:lnTo>
                      <a:pt x="10" y="262"/>
                    </a:lnTo>
                    <a:lnTo>
                      <a:pt x="8" y="240"/>
                    </a:lnTo>
                    <a:lnTo>
                      <a:pt x="4" y="234"/>
                    </a:lnTo>
                    <a:lnTo>
                      <a:pt x="2" y="232"/>
                    </a:lnTo>
                    <a:lnTo>
                      <a:pt x="0" y="216"/>
                    </a:lnTo>
                    <a:lnTo>
                      <a:pt x="8" y="186"/>
                    </a:lnTo>
                    <a:lnTo>
                      <a:pt x="20" y="170"/>
                    </a:lnTo>
                    <a:lnTo>
                      <a:pt x="24" y="166"/>
                    </a:lnTo>
                    <a:lnTo>
                      <a:pt x="26" y="168"/>
                    </a:lnTo>
                    <a:lnTo>
                      <a:pt x="46" y="192"/>
                    </a:lnTo>
                    <a:lnTo>
                      <a:pt x="56" y="198"/>
                    </a:lnTo>
                    <a:lnTo>
                      <a:pt x="68" y="198"/>
                    </a:lnTo>
                    <a:lnTo>
                      <a:pt x="86" y="190"/>
                    </a:lnTo>
                    <a:lnTo>
                      <a:pt x="94" y="194"/>
                    </a:lnTo>
                    <a:lnTo>
                      <a:pt x="122" y="184"/>
                    </a:lnTo>
                    <a:lnTo>
                      <a:pt x="140" y="160"/>
                    </a:lnTo>
                    <a:lnTo>
                      <a:pt x="164" y="154"/>
                    </a:lnTo>
                    <a:lnTo>
                      <a:pt x="168" y="156"/>
                    </a:lnTo>
                    <a:lnTo>
                      <a:pt x="170" y="160"/>
                    </a:lnTo>
                    <a:lnTo>
                      <a:pt x="198" y="158"/>
                    </a:lnTo>
                    <a:lnTo>
                      <a:pt x="238" y="136"/>
                    </a:lnTo>
                    <a:lnTo>
                      <a:pt x="254" y="86"/>
                    </a:lnTo>
                    <a:lnTo>
                      <a:pt x="274" y="60"/>
                    </a:lnTo>
                    <a:lnTo>
                      <a:pt x="282" y="22"/>
                    </a:lnTo>
                    <a:lnTo>
                      <a:pt x="286" y="14"/>
                    </a:lnTo>
                    <a:lnTo>
                      <a:pt x="340" y="0"/>
                    </a:lnTo>
                    <a:lnTo>
                      <a:pt x="346" y="2"/>
                    </a:lnTo>
                    <a:lnTo>
                      <a:pt x="362"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93" name="Freeform 149"/>
              <p:cNvSpPr>
                <a:spLocks/>
              </p:cNvSpPr>
              <p:nvPr/>
            </p:nvSpPr>
            <p:spPr bwMode="auto">
              <a:xfrm>
                <a:off x="5941938" y="5624513"/>
                <a:ext cx="736014" cy="561975"/>
              </a:xfrm>
              <a:custGeom>
                <a:avLst/>
                <a:gdLst>
                  <a:gd name="T0" fmla="*/ 362 w 428"/>
                  <a:gd name="T1" fmla="*/ 2 h 354"/>
                  <a:gd name="T2" fmla="*/ 360 w 428"/>
                  <a:gd name="T3" fmla="*/ 8 h 354"/>
                  <a:gd name="T4" fmla="*/ 372 w 428"/>
                  <a:gd name="T5" fmla="*/ 16 h 354"/>
                  <a:gd name="T6" fmla="*/ 360 w 428"/>
                  <a:gd name="T7" fmla="*/ 22 h 354"/>
                  <a:gd name="T8" fmla="*/ 354 w 428"/>
                  <a:gd name="T9" fmla="*/ 34 h 354"/>
                  <a:gd name="T10" fmla="*/ 356 w 428"/>
                  <a:gd name="T11" fmla="*/ 42 h 354"/>
                  <a:gd name="T12" fmla="*/ 386 w 428"/>
                  <a:gd name="T13" fmla="*/ 68 h 354"/>
                  <a:gd name="T14" fmla="*/ 382 w 428"/>
                  <a:gd name="T15" fmla="*/ 78 h 354"/>
                  <a:gd name="T16" fmla="*/ 428 w 428"/>
                  <a:gd name="T17" fmla="*/ 106 h 354"/>
                  <a:gd name="T18" fmla="*/ 396 w 428"/>
                  <a:gd name="T19" fmla="*/ 120 h 354"/>
                  <a:gd name="T20" fmla="*/ 390 w 428"/>
                  <a:gd name="T21" fmla="*/ 124 h 354"/>
                  <a:gd name="T22" fmla="*/ 372 w 428"/>
                  <a:gd name="T23" fmla="*/ 148 h 354"/>
                  <a:gd name="T24" fmla="*/ 368 w 428"/>
                  <a:gd name="T25" fmla="*/ 170 h 354"/>
                  <a:gd name="T26" fmla="*/ 346 w 428"/>
                  <a:gd name="T27" fmla="*/ 220 h 354"/>
                  <a:gd name="T28" fmla="*/ 320 w 428"/>
                  <a:gd name="T29" fmla="*/ 248 h 354"/>
                  <a:gd name="T30" fmla="*/ 334 w 428"/>
                  <a:gd name="T31" fmla="*/ 260 h 354"/>
                  <a:gd name="T32" fmla="*/ 324 w 428"/>
                  <a:gd name="T33" fmla="*/ 276 h 354"/>
                  <a:gd name="T34" fmla="*/ 316 w 428"/>
                  <a:gd name="T35" fmla="*/ 292 h 354"/>
                  <a:gd name="T36" fmla="*/ 314 w 428"/>
                  <a:gd name="T37" fmla="*/ 302 h 354"/>
                  <a:gd name="T38" fmla="*/ 308 w 428"/>
                  <a:gd name="T39" fmla="*/ 318 h 354"/>
                  <a:gd name="T40" fmla="*/ 242 w 428"/>
                  <a:gd name="T41" fmla="*/ 330 h 354"/>
                  <a:gd name="T42" fmla="*/ 206 w 428"/>
                  <a:gd name="T43" fmla="*/ 336 h 354"/>
                  <a:gd name="T44" fmla="*/ 190 w 428"/>
                  <a:gd name="T45" fmla="*/ 330 h 354"/>
                  <a:gd name="T46" fmla="*/ 174 w 428"/>
                  <a:gd name="T47" fmla="*/ 330 h 354"/>
                  <a:gd name="T48" fmla="*/ 142 w 428"/>
                  <a:gd name="T49" fmla="*/ 346 h 354"/>
                  <a:gd name="T50" fmla="*/ 124 w 428"/>
                  <a:gd name="T51" fmla="*/ 342 h 354"/>
                  <a:gd name="T52" fmla="*/ 104 w 428"/>
                  <a:gd name="T53" fmla="*/ 336 h 354"/>
                  <a:gd name="T54" fmla="*/ 80 w 428"/>
                  <a:gd name="T55" fmla="*/ 344 h 354"/>
                  <a:gd name="T56" fmla="*/ 62 w 428"/>
                  <a:gd name="T57" fmla="*/ 346 h 354"/>
                  <a:gd name="T58" fmla="*/ 54 w 428"/>
                  <a:gd name="T59" fmla="*/ 332 h 354"/>
                  <a:gd name="T60" fmla="*/ 44 w 428"/>
                  <a:gd name="T61" fmla="*/ 308 h 354"/>
                  <a:gd name="T62" fmla="*/ 46 w 428"/>
                  <a:gd name="T63" fmla="*/ 296 h 354"/>
                  <a:gd name="T64" fmla="*/ 30 w 428"/>
                  <a:gd name="T65" fmla="*/ 266 h 354"/>
                  <a:gd name="T66" fmla="*/ 14 w 428"/>
                  <a:gd name="T67" fmla="*/ 264 h 354"/>
                  <a:gd name="T68" fmla="*/ 4 w 428"/>
                  <a:gd name="T69" fmla="*/ 234 h 354"/>
                  <a:gd name="T70" fmla="*/ 8 w 428"/>
                  <a:gd name="T71" fmla="*/ 186 h 354"/>
                  <a:gd name="T72" fmla="*/ 26 w 428"/>
                  <a:gd name="T73" fmla="*/ 168 h 354"/>
                  <a:gd name="T74" fmla="*/ 68 w 428"/>
                  <a:gd name="T75" fmla="*/ 198 h 354"/>
                  <a:gd name="T76" fmla="*/ 122 w 428"/>
                  <a:gd name="T77" fmla="*/ 184 h 354"/>
                  <a:gd name="T78" fmla="*/ 168 w 428"/>
                  <a:gd name="T79" fmla="*/ 156 h 354"/>
                  <a:gd name="T80" fmla="*/ 238 w 428"/>
                  <a:gd name="T81" fmla="*/ 136 h 354"/>
                  <a:gd name="T82" fmla="*/ 282 w 428"/>
                  <a:gd name="T83" fmla="*/ 22 h 354"/>
                  <a:gd name="T84" fmla="*/ 346 w 428"/>
                  <a:gd name="T85" fmla="*/ 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8" h="354">
                    <a:moveTo>
                      <a:pt x="362" y="0"/>
                    </a:moveTo>
                    <a:lnTo>
                      <a:pt x="362" y="0"/>
                    </a:lnTo>
                    <a:lnTo>
                      <a:pt x="362" y="2"/>
                    </a:lnTo>
                    <a:lnTo>
                      <a:pt x="358" y="6"/>
                    </a:lnTo>
                    <a:lnTo>
                      <a:pt x="354" y="8"/>
                    </a:lnTo>
                    <a:lnTo>
                      <a:pt x="360" y="8"/>
                    </a:lnTo>
                    <a:lnTo>
                      <a:pt x="366" y="10"/>
                    </a:lnTo>
                    <a:lnTo>
                      <a:pt x="372" y="10"/>
                    </a:lnTo>
                    <a:lnTo>
                      <a:pt x="372" y="16"/>
                    </a:lnTo>
                    <a:lnTo>
                      <a:pt x="368" y="20"/>
                    </a:lnTo>
                    <a:lnTo>
                      <a:pt x="362" y="20"/>
                    </a:lnTo>
                    <a:lnTo>
                      <a:pt x="360" y="22"/>
                    </a:lnTo>
                    <a:lnTo>
                      <a:pt x="350" y="26"/>
                    </a:lnTo>
                    <a:lnTo>
                      <a:pt x="348" y="30"/>
                    </a:lnTo>
                    <a:lnTo>
                      <a:pt x="354" y="34"/>
                    </a:lnTo>
                    <a:lnTo>
                      <a:pt x="358" y="36"/>
                    </a:lnTo>
                    <a:lnTo>
                      <a:pt x="358" y="38"/>
                    </a:lnTo>
                    <a:lnTo>
                      <a:pt x="356" y="42"/>
                    </a:lnTo>
                    <a:lnTo>
                      <a:pt x="358" y="44"/>
                    </a:lnTo>
                    <a:lnTo>
                      <a:pt x="364" y="46"/>
                    </a:lnTo>
                    <a:lnTo>
                      <a:pt x="386" y="68"/>
                    </a:lnTo>
                    <a:lnTo>
                      <a:pt x="384" y="72"/>
                    </a:lnTo>
                    <a:lnTo>
                      <a:pt x="382" y="76"/>
                    </a:lnTo>
                    <a:lnTo>
                      <a:pt x="382" y="78"/>
                    </a:lnTo>
                    <a:lnTo>
                      <a:pt x="380" y="82"/>
                    </a:lnTo>
                    <a:lnTo>
                      <a:pt x="382" y="84"/>
                    </a:lnTo>
                    <a:lnTo>
                      <a:pt x="428" y="106"/>
                    </a:lnTo>
                    <a:lnTo>
                      <a:pt x="428" y="110"/>
                    </a:lnTo>
                    <a:lnTo>
                      <a:pt x="408" y="120"/>
                    </a:lnTo>
                    <a:lnTo>
                      <a:pt x="396" y="120"/>
                    </a:lnTo>
                    <a:lnTo>
                      <a:pt x="388" y="116"/>
                    </a:lnTo>
                    <a:lnTo>
                      <a:pt x="388" y="120"/>
                    </a:lnTo>
                    <a:lnTo>
                      <a:pt x="390" y="124"/>
                    </a:lnTo>
                    <a:lnTo>
                      <a:pt x="390" y="126"/>
                    </a:lnTo>
                    <a:lnTo>
                      <a:pt x="382" y="132"/>
                    </a:lnTo>
                    <a:lnTo>
                      <a:pt x="372" y="148"/>
                    </a:lnTo>
                    <a:lnTo>
                      <a:pt x="370" y="154"/>
                    </a:lnTo>
                    <a:lnTo>
                      <a:pt x="372" y="162"/>
                    </a:lnTo>
                    <a:lnTo>
                      <a:pt x="368" y="170"/>
                    </a:lnTo>
                    <a:lnTo>
                      <a:pt x="370" y="182"/>
                    </a:lnTo>
                    <a:lnTo>
                      <a:pt x="354" y="214"/>
                    </a:lnTo>
                    <a:lnTo>
                      <a:pt x="346" y="220"/>
                    </a:lnTo>
                    <a:lnTo>
                      <a:pt x="344" y="220"/>
                    </a:lnTo>
                    <a:lnTo>
                      <a:pt x="318" y="246"/>
                    </a:lnTo>
                    <a:lnTo>
                      <a:pt x="320" y="248"/>
                    </a:lnTo>
                    <a:lnTo>
                      <a:pt x="324" y="248"/>
                    </a:lnTo>
                    <a:lnTo>
                      <a:pt x="326" y="258"/>
                    </a:lnTo>
                    <a:lnTo>
                      <a:pt x="334" y="260"/>
                    </a:lnTo>
                    <a:lnTo>
                      <a:pt x="330" y="274"/>
                    </a:lnTo>
                    <a:lnTo>
                      <a:pt x="326" y="274"/>
                    </a:lnTo>
                    <a:lnTo>
                      <a:pt x="324" y="276"/>
                    </a:lnTo>
                    <a:lnTo>
                      <a:pt x="324" y="284"/>
                    </a:lnTo>
                    <a:lnTo>
                      <a:pt x="320" y="292"/>
                    </a:lnTo>
                    <a:lnTo>
                      <a:pt x="316" y="292"/>
                    </a:lnTo>
                    <a:lnTo>
                      <a:pt x="316" y="296"/>
                    </a:lnTo>
                    <a:lnTo>
                      <a:pt x="316" y="300"/>
                    </a:lnTo>
                    <a:lnTo>
                      <a:pt x="314" y="302"/>
                    </a:lnTo>
                    <a:lnTo>
                      <a:pt x="312" y="304"/>
                    </a:lnTo>
                    <a:lnTo>
                      <a:pt x="310" y="308"/>
                    </a:lnTo>
                    <a:lnTo>
                      <a:pt x="308" y="318"/>
                    </a:lnTo>
                    <a:lnTo>
                      <a:pt x="250" y="354"/>
                    </a:lnTo>
                    <a:lnTo>
                      <a:pt x="244" y="332"/>
                    </a:lnTo>
                    <a:lnTo>
                      <a:pt x="242" y="330"/>
                    </a:lnTo>
                    <a:lnTo>
                      <a:pt x="238" y="330"/>
                    </a:lnTo>
                    <a:lnTo>
                      <a:pt x="232" y="328"/>
                    </a:lnTo>
                    <a:lnTo>
                      <a:pt x="206" y="336"/>
                    </a:lnTo>
                    <a:lnTo>
                      <a:pt x="204" y="332"/>
                    </a:lnTo>
                    <a:lnTo>
                      <a:pt x="204" y="328"/>
                    </a:lnTo>
                    <a:lnTo>
                      <a:pt x="190" y="330"/>
                    </a:lnTo>
                    <a:lnTo>
                      <a:pt x="180" y="328"/>
                    </a:lnTo>
                    <a:lnTo>
                      <a:pt x="176" y="326"/>
                    </a:lnTo>
                    <a:lnTo>
                      <a:pt x="174" y="330"/>
                    </a:lnTo>
                    <a:lnTo>
                      <a:pt x="174" y="332"/>
                    </a:lnTo>
                    <a:lnTo>
                      <a:pt x="158" y="344"/>
                    </a:lnTo>
                    <a:lnTo>
                      <a:pt x="142" y="346"/>
                    </a:lnTo>
                    <a:lnTo>
                      <a:pt x="128" y="354"/>
                    </a:lnTo>
                    <a:lnTo>
                      <a:pt x="126" y="354"/>
                    </a:lnTo>
                    <a:lnTo>
                      <a:pt x="124" y="342"/>
                    </a:lnTo>
                    <a:lnTo>
                      <a:pt x="118" y="328"/>
                    </a:lnTo>
                    <a:lnTo>
                      <a:pt x="112" y="336"/>
                    </a:lnTo>
                    <a:lnTo>
                      <a:pt x="104" y="336"/>
                    </a:lnTo>
                    <a:lnTo>
                      <a:pt x="92" y="344"/>
                    </a:lnTo>
                    <a:lnTo>
                      <a:pt x="84" y="346"/>
                    </a:lnTo>
                    <a:lnTo>
                      <a:pt x="80" y="344"/>
                    </a:lnTo>
                    <a:lnTo>
                      <a:pt x="72" y="346"/>
                    </a:lnTo>
                    <a:lnTo>
                      <a:pt x="64" y="344"/>
                    </a:lnTo>
                    <a:lnTo>
                      <a:pt x="62" y="346"/>
                    </a:lnTo>
                    <a:lnTo>
                      <a:pt x="56" y="348"/>
                    </a:lnTo>
                    <a:lnTo>
                      <a:pt x="54" y="338"/>
                    </a:lnTo>
                    <a:lnTo>
                      <a:pt x="54" y="332"/>
                    </a:lnTo>
                    <a:lnTo>
                      <a:pt x="50" y="328"/>
                    </a:lnTo>
                    <a:lnTo>
                      <a:pt x="48" y="316"/>
                    </a:lnTo>
                    <a:lnTo>
                      <a:pt x="44" y="308"/>
                    </a:lnTo>
                    <a:lnTo>
                      <a:pt x="42" y="304"/>
                    </a:lnTo>
                    <a:lnTo>
                      <a:pt x="44" y="302"/>
                    </a:lnTo>
                    <a:lnTo>
                      <a:pt x="46" y="296"/>
                    </a:lnTo>
                    <a:lnTo>
                      <a:pt x="42" y="284"/>
                    </a:lnTo>
                    <a:lnTo>
                      <a:pt x="32" y="270"/>
                    </a:lnTo>
                    <a:lnTo>
                      <a:pt x="30" y="266"/>
                    </a:lnTo>
                    <a:lnTo>
                      <a:pt x="22" y="266"/>
                    </a:lnTo>
                    <a:lnTo>
                      <a:pt x="18" y="262"/>
                    </a:lnTo>
                    <a:lnTo>
                      <a:pt x="14" y="264"/>
                    </a:lnTo>
                    <a:lnTo>
                      <a:pt x="10" y="262"/>
                    </a:lnTo>
                    <a:lnTo>
                      <a:pt x="8" y="240"/>
                    </a:lnTo>
                    <a:lnTo>
                      <a:pt x="4" y="234"/>
                    </a:lnTo>
                    <a:lnTo>
                      <a:pt x="2" y="232"/>
                    </a:lnTo>
                    <a:lnTo>
                      <a:pt x="0" y="216"/>
                    </a:lnTo>
                    <a:lnTo>
                      <a:pt x="8" y="186"/>
                    </a:lnTo>
                    <a:lnTo>
                      <a:pt x="20" y="170"/>
                    </a:lnTo>
                    <a:lnTo>
                      <a:pt x="24" y="166"/>
                    </a:lnTo>
                    <a:lnTo>
                      <a:pt x="26" y="168"/>
                    </a:lnTo>
                    <a:lnTo>
                      <a:pt x="46" y="192"/>
                    </a:lnTo>
                    <a:lnTo>
                      <a:pt x="56" y="198"/>
                    </a:lnTo>
                    <a:lnTo>
                      <a:pt x="68" y="198"/>
                    </a:lnTo>
                    <a:lnTo>
                      <a:pt x="86" y="190"/>
                    </a:lnTo>
                    <a:lnTo>
                      <a:pt x="94" y="194"/>
                    </a:lnTo>
                    <a:lnTo>
                      <a:pt x="122" y="184"/>
                    </a:lnTo>
                    <a:lnTo>
                      <a:pt x="140" y="160"/>
                    </a:lnTo>
                    <a:lnTo>
                      <a:pt x="164" y="154"/>
                    </a:lnTo>
                    <a:lnTo>
                      <a:pt x="168" y="156"/>
                    </a:lnTo>
                    <a:lnTo>
                      <a:pt x="170" y="160"/>
                    </a:lnTo>
                    <a:lnTo>
                      <a:pt x="198" y="158"/>
                    </a:lnTo>
                    <a:lnTo>
                      <a:pt x="238" y="136"/>
                    </a:lnTo>
                    <a:lnTo>
                      <a:pt x="254" y="86"/>
                    </a:lnTo>
                    <a:lnTo>
                      <a:pt x="274" y="60"/>
                    </a:lnTo>
                    <a:lnTo>
                      <a:pt x="282" y="22"/>
                    </a:lnTo>
                    <a:lnTo>
                      <a:pt x="286" y="14"/>
                    </a:lnTo>
                    <a:lnTo>
                      <a:pt x="340" y="0"/>
                    </a:lnTo>
                    <a:lnTo>
                      <a:pt x="346" y="2"/>
                    </a:lnTo>
                    <a:lnTo>
                      <a:pt x="362"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94" name="Freeform 150"/>
              <p:cNvSpPr>
                <a:spLocks/>
              </p:cNvSpPr>
              <p:nvPr/>
            </p:nvSpPr>
            <p:spPr bwMode="auto">
              <a:xfrm>
                <a:off x="7575614" y="5373688"/>
                <a:ext cx="825437" cy="533400"/>
              </a:xfrm>
              <a:custGeom>
                <a:avLst/>
                <a:gdLst>
                  <a:gd name="T0" fmla="*/ 470 w 480"/>
                  <a:gd name="T1" fmla="*/ 292 h 336"/>
                  <a:gd name="T2" fmla="*/ 424 w 480"/>
                  <a:gd name="T3" fmla="*/ 272 h 336"/>
                  <a:gd name="T4" fmla="*/ 386 w 480"/>
                  <a:gd name="T5" fmla="*/ 292 h 336"/>
                  <a:gd name="T6" fmla="*/ 374 w 480"/>
                  <a:gd name="T7" fmla="*/ 304 h 336"/>
                  <a:gd name="T8" fmla="*/ 364 w 480"/>
                  <a:gd name="T9" fmla="*/ 310 h 336"/>
                  <a:gd name="T10" fmla="*/ 346 w 480"/>
                  <a:gd name="T11" fmla="*/ 282 h 336"/>
                  <a:gd name="T12" fmla="*/ 370 w 480"/>
                  <a:gd name="T13" fmla="*/ 272 h 336"/>
                  <a:gd name="T14" fmla="*/ 366 w 480"/>
                  <a:gd name="T15" fmla="*/ 262 h 336"/>
                  <a:gd name="T16" fmla="*/ 364 w 480"/>
                  <a:gd name="T17" fmla="*/ 256 h 336"/>
                  <a:gd name="T18" fmla="*/ 360 w 480"/>
                  <a:gd name="T19" fmla="*/ 234 h 336"/>
                  <a:gd name="T20" fmla="*/ 342 w 480"/>
                  <a:gd name="T21" fmla="*/ 210 h 336"/>
                  <a:gd name="T22" fmla="*/ 328 w 480"/>
                  <a:gd name="T23" fmla="*/ 196 h 336"/>
                  <a:gd name="T24" fmla="*/ 314 w 480"/>
                  <a:gd name="T25" fmla="*/ 196 h 336"/>
                  <a:gd name="T26" fmla="*/ 300 w 480"/>
                  <a:gd name="T27" fmla="*/ 196 h 336"/>
                  <a:gd name="T28" fmla="*/ 194 w 480"/>
                  <a:gd name="T29" fmla="*/ 218 h 336"/>
                  <a:gd name="T30" fmla="*/ 176 w 480"/>
                  <a:gd name="T31" fmla="*/ 214 h 336"/>
                  <a:gd name="T32" fmla="*/ 160 w 480"/>
                  <a:gd name="T33" fmla="*/ 220 h 336"/>
                  <a:gd name="T34" fmla="*/ 144 w 480"/>
                  <a:gd name="T35" fmla="*/ 214 h 336"/>
                  <a:gd name="T36" fmla="*/ 132 w 480"/>
                  <a:gd name="T37" fmla="*/ 206 h 336"/>
                  <a:gd name="T38" fmla="*/ 132 w 480"/>
                  <a:gd name="T39" fmla="*/ 182 h 336"/>
                  <a:gd name="T40" fmla="*/ 96 w 480"/>
                  <a:gd name="T41" fmla="*/ 248 h 336"/>
                  <a:gd name="T42" fmla="*/ 90 w 480"/>
                  <a:gd name="T43" fmla="*/ 226 h 336"/>
                  <a:gd name="T44" fmla="*/ 76 w 480"/>
                  <a:gd name="T45" fmla="*/ 214 h 336"/>
                  <a:gd name="T46" fmla="*/ 50 w 480"/>
                  <a:gd name="T47" fmla="*/ 218 h 336"/>
                  <a:gd name="T48" fmla="*/ 80 w 480"/>
                  <a:gd name="T49" fmla="*/ 196 h 336"/>
                  <a:gd name="T50" fmla="*/ 120 w 480"/>
                  <a:gd name="T51" fmla="*/ 168 h 336"/>
                  <a:gd name="T52" fmla="*/ 128 w 480"/>
                  <a:gd name="T53" fmla="*/ 148 h 336"/>
                  <a:gd name="T54" fmla="*/ 70 w 480"/>
                  <a:gd name="T55" fmla="*/ 180 h 336"/>
                  <a:gd name="T56" fmla="*/ 44 w 480"/>
                  <a:gd name="T57" fmla="*/ 174 h 336"/>
                  <a:gd name="T58" fmla="*/ 28 w 480"/>
                  <a:gd name="T59" fmla="*/ 164 h 336"/>
                  <a:gd name="T60" fmla="*/ 14 w 480"/>
                  <a:gd name="T61" fmla="*/ 174 h 336"/>
                  <a:gd name="T62" fmla="*/ 12 w 480"/>
                  <a:gd name="T63" fmla="*/ 142 h 336"/>
                  <a:gd name="T64" fmla="*/ 66 w 480"/>
                  <a:gd name="T65" fmla="*/ 96 h 336"/>
                  <a:gd name="T66" fmla="*/ 92 w 480"/>
                  <a:gd name="T67" fmla="*/ 98 h 336"/>
                  <a:gd name="T68" fmla="*/ 130 w 480"/>
                  <a:gd name="T69" fmla="*/ 98 h 336"/>
                  <a:gd name="T70" fmla="*/ 138 w 480"/>
                  <a:gd name="T71" fmla="*/ 136 h 336"/>
                  <a:gd name="T72" fmla="*/ 156 w 480"/>
                  <a:gd name="T73" fmla="*/ 150 h 336"/>
                  <a:gd name="T74" fmla="*/ 174 w 480"/>
                  <a:gd name="T75" fmla="*/ 162 h 336"/>
                  <a:gd name="T76" fmla="*/ 208 w 480"/>
                  <a:gd name="T77" fmla="*/ 162 h 336"/>
                  <a:gd name="T78" fmla="*/ 222 w 480"/>
                  <a:gd name="T79" fmla="*/ 132 h 336"/>
                  <a:gd name="T80" fmla="*/ 264 w 480"/>
                  <a:gd name="T81" fmla="*/ 78 h 336"/>
                  <a:gd name="T82" fmla="*/ 292 w 480"/>
                  <a:gd name="T83" fmla="*/ 28 h 336"/>
                  <a:gd name="T84" fmla="*/ 332 w 480"/>
                  <a:gd name="T85" fmla="*/ 24 h 336"/>
                  <a:gd name="T86" fmla="*/ 374 w 480"/>
                  <a:gd name="T87" fmla="*/ 22 h 336"/>
                  <a:gd name="T88" fmla="*/ 394 w 480"/>
                  <a:gd name="T89" fmla="*/ 10 h 336"/>
                  <a:gd name="T90" fmla="*/ 408 w 480"/>
                  <a:gd name="T91" fmla="*/ 6 h 336"/>
                  <a:gd name="T92" fmla="*/ 422 w 480"/>
                  <a:gd name="T93" fmla="*/ 4 h 336"/>
                  <a:gd name="T94" fmla="*/ 428 w 480"/>
                  <a:gd name="T95" fmla="*/ 4 h 336"/>
                  <a:gd name="T96" fmla="*/ 462 w 480"/>
                  <a:gd name="T97" fmla="*/ 184 h 336"/>
                  <a:gd name="T98" fmla="*/ 480 w 480"/>
                  <a:gd name="T99"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0" h="336">
                    <a:moveTo>
                      <a:pt x="480" y="290"/>
                    </a:moveTo>
                    <a:lnTo>
                      <a:pt x="480" y="290"/>
                    </a:lnTo>
                    <a:lnTo>
                      <a:pt x="470" y="292"/>
                    </a:lnTo>
                    <a:lnTo>
                      <a:pt x="432" y="276"/>
                    </a:lnTo>
                    <a:lnTo>
                      <a:pt x="424" y="274"/>
                    </a:lnTo>
                    <a:lnTo>
                      <a:pt x="424" y="272"/>
                    </a:lnTo>
                    <a:lnTo>
                      <a:pt x="420" y="272"/>
                    </a:lnTo>
                    <a:lnTo>
                      <a:pt x="402" y="286"/>
                    </a:lnTo>
                    <a:lnTo>
                      <a:pt x="386" y="292"/>
                    </a:lnTo>
                    <a:lnTo>
                      <a:pt x="380" y="300"/>
                    </a:lnTo>
                    <a:lnTo>
                      <a:pt x="376" y="298"/>
                    </a:lnTo>
                    <a:lnTo>
                      <a:pt x="374" y="304"/>
                    </a:lnTo>
                    <a:lnTo>
                      <a:pt x="376" y="306"/>
                    </a:lnTo>
                    <a:lnTo>
                      <a:pt x="368" y="312"/>
                    </a:lnTo>
                    <a:lnTo>
                      <a:pt x="364" y="310"/>
                    </a:lnTo>
                    <a:lnTo>
                      <a:pt x="326" y="336"/>
                    </a:lnTo>
                    <a:lnTo>
                      <a:pt x="324" y="328"/>
                    </a:lnTo>
                    <a:lnTo>
                      <a:pt x="346" y="282"/>
                    </a:lnTo>
                    <a:lnTo>
                      <a:pt x="354" y="272"/>
                    </a:lnTo>
                    <a:lnTo>
                      <a:pt x="362" y="270"/>
                    </a:lnTo>
                    <a:lnTo>
                      <a:pt x="370" y="272"/>
                    </a:lnTo>
                    <a:lnTo>
                      <a:pt x="376" y="270"/>
                    </a:lnTo>
                    <a:lnTo>
                      <a:pt x="374" y="264"/>
                    </a:lnTo>
                    <a:lnTo>
                      <a:pt x="366" y="262"/>
                    </a:lnTo>
                    <a:lnTo>
                      <a:pt x="366" y="258"/>
                    </a:lnTo>
                    <a:lnTo>
                      <a:pt x="372" y="254"/>
                    </a:lnTo>
                    <a:lnTo>
                      <a:pt x="364" y="256"/>
                    </a:lnTo>
                    <a:lnTo>
                      <a:pt x="354" y="254"/>
                    </a:lnTo>
                    <a:lnTo>
                      <a:pt x="358" y="250"/>
                    </a:lnTo>
                    <a:lnTo>
                      <a:pt x="360" y="234"/>
                    </a:lnTo>
                    <a:lnTo>
                      <a:pt x="354" y="232"/>
                    </a:lnTo>
                    <a:lnTo>
                      <a:pt x="346" y="224"/>
                    </a:lnTo>
                    <a:lnTo>
                      <a:pt x="342" y="210"/>
                    </a:lnTo>
                    <a:lnTo>
                      <a:pt x="342" y="206"/>
                    </a:lnTo>
                    <a:lnTo>
                      <a:pt x="338" y="206"/>
                    </a:lnTo>
                    <a:lnTo>
                      <a:pt x="328" y="196"/>
                    </a:lnTo>
                    <a:lnTo>
                      <a:pt x="324" y="200"/>
                    </a:lnTo>
                    <a:lnTo>
                      <a:pt x="318" y="200"/>
                    </a:lnTo>
                    <a:lnTo>
                      <a:pt x="314" y="196"/>
                    </a:lnTo>
                    <a:lnTo>
                      <a:pt x="314" y="198"/>
                    </a:lnTo>
                    <a:lnTo>
                      <a:pt x="308" y="194"/>
                    </a:lnTo>
                    <a:lnTo>
                      <a:pt x="300" y="196"/>
                    </a:lnTo>
                    <a:lnTo>
                      <a:pt x="286" y="196"/>
                    </a:lnTo>
                    <a:lnTo>
                      <a:pt x="278" y="200"/>
                    </a:lnTo>
                    <a:lnTo>
                      <a:pt x="194" y="218"/>
                    </a:lnTo>
                    <a:lnTo>
                      <a:pt x="192" y="216"/>
                    </a:lnTo>
                    <a:lnTo>
                      <a:pt x="182" y="218"/>
                    </a:lnTo>
                    <a:lnTo>
                      <a:pt x="176" y="214"/>
                    </a:lnTo>
                    <a:lnTo>
                      <a:pt x="174" y="208"/>
                    </a:lnTo>
                    <a:lnTo>
                      <a:pt x="160" y="214"/>
                    </a:lnTo>
                    <a:lnTo>
                      <a:pt x="160" y="220"/>
                    </a:lnTo>
                    <a:lnTo>
                      <a:pt x="156" y="216"/>
                    </a:lnTo>
                    <a:lnTo>
                      <a:pt x="148" y="214"/>
                    </a:lnTo>
                    <a:lnTo>
                      <a:pt x="144" y="214"/>
                    </a:lnTo>
                    <a:lnTo>
                      <a:pt x="142" y="210"/>
                    </a:lnTo>
                    <a:lnTo>
                      <a:pt x="134" y="210"/>
                    </a:lnTo>
                    <a:lnTo>
                      <a:pt x="132" y="206"/>
                    </a:lnTo>
                    <a:lnTo>
                      <a:pt x="132" y="198"/>
                    </a:lnTo>
                    <a:lnTo>
                      <a:pt x="134" y="188"/>
                    </a:lnTo>
                    <a:lnTo>
                      <a:pt x="132" y="182"/>
                    </a:lnTo>
                    <a:lnTo>
                      <a:pt x="116" y="240"/>
                    </a:lnTo>
                    <a:lnTo>
                      <a:pt x="100" y="248"/>
                    </a:lnTo>
                    <a:lnTo>
                      <a:pt x="96" y="248"/>
                    </a:lnTo>
                    <a:lnTo>
                      <a:pt x="94" y="246"/>
                    </a:lnTo>
                    <a:lnTo>
                      <a:pt x="90" y="230"/>
                    </a:lnTo>
                    <a:lnTo>
                      <a:pt x="90" y="226"/>
                    </a:lnTo>
                    <a:lnTo>
                      <a:pt x="90" y="218"/>
                    </a:lnTo>
                    <a:lnTo>
                      <a:pt x="84" y="222"/>
                    </a:lnTo>
                    <a:lnTo>
                      <a:pt x="76" y="214"/>
                    </a:lnTo>
                    <a:lnTo>
                      <a:pt x="68" y="212"/>
                    </a:lnTo>
                    <a:lnTo>
                      <a:pt x="58" y="218"/>
                    </a:lnTo>
                    <a:lnTo>
                      <a:pt x="50" y="218"/>
                    </a:lnTo>
                    <a:lnTo>
                      <a:pt x="52" y="210"/>
                    </a:lnTo>
                    <a:lnTo>
                      <a:pt x="58" y="204"/>
                    </a:lnTo>
                    <a:lnTo>
                      <a:pt x="80" y="196"/>
                    </a:lnTo>
                    <a:lnTo>
                      <a:pt x="102" y="174"/>
                    </a:lnTo>
                    <a:lnTo>
                      <a:pt x="110" y="172"/>
                    </a:lnTo>
                    <a:lnTo>
                      <a:pt x="120" y="168"/>
                    </a:lnTo>
                    <a:lnTo>
                      <a:pt x="126" y="162"/>
                    </a:lnTo>
                    <a:lnTo>
                      <a:pt x="126" y="154"/>
                    </a:lnTo>
                    <a:lnTo>
                      <a:pt x="128" y="148"/>
                    </a:lnTo>
                    <a:lnTo>
                      <a:pt x="128" y="142"/>
                    </a:lnTo>
                    <a:lnTo>
                      <a:pt x="78" y="178"/>
                    </a:lnTo>
                    <a:lnTo>
                      <a:pt x="70" y="180"/>
                    </a:lnTo>
                    <a:lnTo>
                      <a:pt x="64" y="184"/>
                    </a:lnTo>
                    <a:lnTo>
                      <a:pt x="52" y="184"/>
                    </a:lnTo>
                    <a:lnTo>
                      <a:pt x="44" y="174"/>
                    </a:lnTo>
                    <a:lnTo>
                      <a:pt x="42" y="168"/>
                    </a:lnTo>
                    <a:lnTo>
                      <a:pt x="36" y="166"/>
                    </a:lnTo>
                    <a:lnTo>
                      <a:pt x="28" y="164"/>
                    </a:lnTo>
                    <a:lnTo>
                      <a:pt x="20" y="170"/>
                    </a:lnTo>
                    <a:lnTo>
                      <a:pt x="16" y="168"/>
                    </a:lnTo>
                    <a:lnTo>
                      <a:pt x="14" y="174"/>
                    </a:lnTo>
                    <a:lnTo>
                      <a:pt x="0" y="174"/>
                    </a:lnTo>
                    <a:lnTo>
                      <a:pt x="10" y="146"/>
                    </a:lnTo>
                    <a:lnTo>
                      <a:pt x="12" y="142"/>
                    </a:lnTo>
                    <a:lnTo>
                      <a:pt x="34" y="128"/>
                    </a:lnTo>
                    <a:lnTo>
                      <a:pt x="46" y="108"/>
                    </a:lnTo>
                    <a:lnTo>
                      <a:pt x="66" y="96"/>
                    </a:lnTo>
                    <a:lnTo>
                      <a:pt x="76" y="94"/>
                    </a:lnTo>
                    <a:lnTo>
                      <a:pt x="86" y="96"/>
                    </a:lnTo>
                    <a:lnTo>
                      <a:pt x="92" y="98"/>
                    </a:lnTo>
                    <a:lnTo>
                      <a:pt x="100" y="100"/>
                    </a:lnTo>
                    <a:lnTo>
                      <a:pt x="126" y="86"/>
                    </a:lnTo>
                    <a:lnTo>
                      <a:pt x="130" y="98"/>
                    </a:lnTo>
                    <a:lnTo>
                      <a:pt x="136" y="102"/>
                    </a:lnTo>
                    <a:lnTo>
                      <a:pt x="140" y="114"/>
                    </a:lnTo>
                    <a:lnTo>
                      <a:pt x="138" y="136"/>
                    </a:lnTo>
                    <a:lnTo>
                      <a:pt x="144" y="152"/>
                    </a:lnTo>
                    <a:lnTo>
                      <a:pt x="156" y="162"/>
                    </a:lnTo>
                    <a:lnTo>
                      <a:pt x="156" y="150"/>
                    </a:lnTo>
                    <a:lnTo>
                      <a:pt x="166" y="150"/>
                    </a:lnTo>
                    <a:lnTo>
                      <a:pt x="170" y="160"/>
                    </a:lnTo>
                    <a:lnTo>
                      <a:pt x="174" y="162"/>
                    </a:lnTo>
                    <a:lnTo>
                      <a:pt x="178" y="168"/>
                    </a:lnTo>
                    <a:lnTo>
                      <a:pt x="192" y="170"/>
                    </a:lnTo>
                    <a:lnTo>
                      <a:pt x="208" y="162"/>
                    </a:lnTo>
                    <a:lnTo>
                      <a:pt x="212" y="150"/>
                    </a:lnTo>
                    <a:lnTo>
                      <a:pt x="222" y="138"/>
                    </a:lnTo>
                    <a:lnTo>
                      <a:pt x="222" y="132"/>
                    </a:lnTo>
                    <a:lnTo>
                      <a:pt x="236" y="112"/>
                    </a:lnTo>
                    <a:lnTo>
                      <a:pt x="238" y="96"/>
                    </a:lnTo>
                    <a:lnTo>
                      <a:pt x="264" y="78"/>
                    </a:lnTo>
                    <a:lnTo>
                      <a:pt x="270" y="70"/>
                    </a:lnTo>
                    <a:lnTo>
                      <a:pt x="268" y="62"/>
                    </a:lnTo>
                    <a:lnTo>
                      <a:pt x="292" y="28"/>
                    </a:lnTo>
                    <a:lnTo>
                      <a:pt x="298" y="28"/>
                    </a:lnTo>
                    <a:lnTo>
                      <a:pt x="300" y="30"/>
                    </a:lnTo>
                    <a:lnTo>
                      <a:pt x="332" y="24"/>
                    </a:lnTo>
                    <a:lnTo>
                      <a:pt x="334" y="26"/>
                    </a:lnTo>
                    <a:lnTo>
                      <a:pt x="354" y="22"/>
                    </a:lnTo>
                    <a:lnTo>
                      <a:pt x="374" y="22"/>
                    </a:lnTo>
                    <a:lnTo>
                      <a:pt x="384" y="20"/>
                    </a:lnTo>
                    <a:lnTo>
                      <a:pt x="390" y="14"/>
                    </a:lnTo>
                    <a:lnTo>
                      <a:pt x="394" y="10"/>
                    </a:lnTo>
                    <a:lnTo>
                      <a:pt x="400" y="10"/>
                    </a:lnTo>
                    <a:lnTo>
                      <a:pt x="404" y="6"/>
                    </a:lnTo>
                    <a:lnTo>
                      <a:pt x="408" y="6"/>
                    </a:lnTo>
                    <a:lnTo>
                      <a:pt x="416" y="6"/>
                    </a:lnTo>
                    <a:lnTo>
                      <a:pt x="420" y="4"/>
                    </a:lnTo>
                    <a:lnTo>
                      <a:pt x="422" y="4"/>
                    </a:lnTo>
                    <a:lnTo>
                      <a:pt x="422" y="6"/>
                    </a:lnTo>
                    <a:lnTo>
                      <a:pt x="424" y="8"/>
                    </a:lnTo>
                    <a:lnTo>
                      <a:pt x="428" y="4"/>
                    </a:lnTo>
                    <a:lnTo>
                      <a:pt x="430" y="2"/>
                    </a:lnTo>
                    <a:lnTo>
                      <a:pt x="434" y="0"/>
                    </a:lnTo>
                    <a:lnTo>
                      <a:pt x="462" y="184"/>
                    </a:lnTo>
                    <a:lnTo>
                      <a:pt x="460" y="190"/>
                    </a:lnTo>
                    <a:lnTo>
                      <a:pt x="468" y="200"/>
                    </a:lnTo>
                    <a:lnTo>
                      <a:pt x="480" y="29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95" name="Freeform 151"/>
              <p:cNvSpPr>
                <a:spLocks/>
              </p:cNvSpPr>
              <p:nvPr/>
            </p:nvSpPr>
            <p:spPr bwMode="auto">
              <a:xfrm>
                <a:off x="7575614" y="5373688"/>
                <a:ext cx="825437" cy="533400"/>
              </a:xfrm>
              <a:custGeom>
                <a:avLst/>
                <a:gdLst>
                  <a:gd name="T0" fmla="*/ 470 w 480"/>
                  <a:gd name="T1" fmla="*/ 292 h 336"/>
                  <a:gd name="T2" fmla="*/ 424 w 480"/>
                  <a:gd name="T3" fmla="*/ 272 h 336"/>
                  <a:gd name="T4" fmla="*/ 386 w 480"/>
                  <a:gd name="T5" fmla="*/ 292 h 336"/>
                  <a:gd name="T6" fmla="*/ 374 w 480"/>
                  <a:gd name="T7" fmla="*/ 304 h 336"/>
                  <a:gd name="T8" fmla="*/ 364 w 480"/>
                  <a:gd name="T9" fmla="*/ 310 h 336"/>
                  <a:gd name="T10" fmla="*/ 346 w 480"/>
                  <a:gd name="T11" fmla="*/ 282 h 336"/>
                  <a:gd name="T12" fmla="*/ 370 w 480"/>
                  <a:gd name="T13" fmla="*/ 272 h 336"/>
                  <a:gd name="T14" fmla="*/ 366 w 480"/>
                  <a:gd name="T15" fmla="*/ 262 h 336"/>
                  <a:gd name="T16" fmla="*/ 364 w 480"/>
                  <a:gd name="T17" fmla="*/ 256 h 336"/>
                  <a:gd name="T18" fmla="*/ 360 w 480"/>
                  <a:gd name="T19" fmla="*/ 234 h 336"/>
                  <a:gd name="T20" fmla="*/ 342 w 480"/>
                  <a:gd name="T21" fmla="*/ 210 h 336"/>
                  <a:gd name="T22" fmla="*/ 328 w 480"/>
                  <a:gd name="T23" fmla="*/ 196 h 336"/>
                  <a:gd name="T24" fmla="*/ 314 w 480"/>
                  <a:gd name="T25" fmla="*/ 196 h 336"/>
                  <a:gd name="T26" fmla="*/ 300 w 480"/>
                  <a:gd name="T27" fmla="*/ 196 h 336"/>
                  <a:gd name="T28" fmla="*/ 194 w 480"/>
                  <a:gd name="T29" fmla="*/ 218 h 336"/>
                  <a:gd name="T30" fmla="*/ 176 w 480"/>
                  <a:gd name="T31" fmla="*/ 214 h 336"/>
                  <a:gd name="T32" fmla="*/ 160 w 480"/>
                  <a:gd name="T33" fmla="*/ 220 h 336"/>
                  <a:gd name="T34" fmla="*/ 144 w 480"/>
                  <a:gd name="T35" fmla="*/ 214 h 336"/>
                  <a:gd name="T36" fmla="*/ 132 w 480"/>
                  <a:gd name="T37" fmla="*/ 206 h 336"/>
                  <a:gd name="T38" fmla="*/ 132 w 480"/>
                  <a:gd name="T39" fmla="*/ 182 h 336"/>
                  <a:gd name="T40" fmla="*/ 96 w 480"/>
                  <a:gd name="T41" fmla="*/ 248 h 336"/>
                  <a:gd name="T42" fmla="*/ 90 w 480"/>
                  <a:gd name="T43" fmla="*/ 226 h 336"/>
                  <a:gd name="T44" fmla="*/ 76 w 480"/>
                  <a:gd name="T45" fmla="*/ 214 h 336"/>
                  <a:gd name="T46" fmla="*/ 50 w 480"/>
                  <a:gd name="T47" fmla="*/ 218 h 336"/>
                  <a:gd name="T48" fmla="*/ 80 w 480"/>
                  <a:gd name="T49" fmla="*/ 196 h 336"/>
                  <a:gd name="T50" fmla="*/ 120 w 480"/>
                  <a:gd name="T51" fmla="*/ 168 h 336"/>
                  <a:gd name="T52" fmla="*/ 128 w 480"/>
                  <a:gd name="T53" fmla="*/ 148 h 336"/>
                  <a:gd name="T54" fmla="*/ 70 w 480"/>
                  <a:gd name="T55" fmla="*/ 180 h 336"/>
                  <a:gd name="T56" fmla="*/ 44 w 480"/>
                  <a:gd name="T57" fmla="*/ 174 h 336"/>
                  <a:gd name="T58" fmla="*/ 28 w 480"/>
                  <a:gd name="T59" fmla="*/ 164 h 336"/>
                  <a:gd name="T60" fmla="*/ 14 w 480"/>
                  <a:gd name="T61" fmla="*/ 174 h 336"/>
                  <a:gd name="T62" fmla="*/ 12 w 480"/>
                  <a:gd name="T63" fmla="*/ 142 h 336"/>
                  <a:gd name="T64" fmla="*/ 66 w 480"/>
                  <a:gd name="T65" fmla="*/ 96 h 336"/>
                  <a:gd name="T66" fmla="*/ 92 w 480"/>
                  <a:gd name="T67" fmla="*/ 98 h 336"/>
                  <a:gd name="T68" fmla="*/ 130 w 480"/>
                  <a:gd name="T69" fmla="*/ 98 h 336"/>
                  <a:gd name="T70" fmla="*/ 138 w 480"/>
                  <a:gd name="T71" fmla="*/ 136 h 336"/>
                  <a:gd name="T72" fmla="*/ 156 w 480"/>
                  <a:gd name="T73" fmla="*/ 150 h 336"/>
                  <a:gd name="T74" fmla="*/ 174 w 480"/>
                  <a:gd name="T75" fmla="*/ 162 h 336"/>
                  <a:gd name="T76" fmla="*/ 208 w 480"/>
                  <a:gd name="T77" fmla="*/ 162 h 336"/>
                  <a:gd name="T78" fmla="*/ 222 w 480"/>
                  <a:gd name="T79" fmla="*/ 132 h 336"/>
                  <a:gd name="T80" fmla="*/ 264 w 480"/>
                  <a:gd name="T81" fmla="*/ 78 h 336"/>
                  <a:gd name="T82" fmla="*/ 292 w 480"/>
                  <a:gd name="T83" fmla="*/ 28 h 336"/>
                  <a:gd name="T84" fmla="*/ 332 w 480"/>
                  <a:gd name="T85" fmla="*/ 24 h 336"/>
                  <a:gd name="T86" fmla="*/ 374 w 480"/>
                  <a:gd name="T87" fmla="*/ 22 h 336"/>
                  <a:gd name="T88" fmla="*/ 394 w 480"/>
                  <a:gd name="T89" fmla="*/ 10 h 336"/>
                  <a:gd name="T90" fmla="*/ 408 w 480"/>
                  <a:gd name="T91" fmla="*/ 6 h 336"/>
                  <a:gd name="T92" fmla="*/ 422 w 480"/>
                  <a:gd name="T93" fmla="*/ 4 h 336"/>
                  <a:gd name="T94" fmla="*/ 428 w 480"/>
                  <a:gd name="T95" fmla="*/ 4 h 336"/>
                  <a:gd name="T96" fmla="*/ 462 w 480"/>
                  <a:gd name="T97" fmla="*/ 184 h 336"/>
                  <a:gd name="T98" fmla="*/ 480 w 480"/>
                  <a:gd name="T99"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0" h="336">
                    <a:moveTo>
                      <a:pt x="480" y="290"/>
                    </a:moveTo>
                    <a:lnTo>
                      <a:pt x="480" y="290"/>
                    </a:lnTo>
                    <a:lnTo>
                      <a:pt x="470" y="292"/>
                    </a:lnTo>
                    <a:lnTo>
                      <a:pt x="432" y="276"/>
                    </a:lnTo>
                    <a:lnTo>
                      <a:pt x="424" y="274"/>
                    </a:lnTo>
                    <a:lnTo>
                      <a:pt x="424" y="272"/>
                    </a:lnTo>
                    <a:lnTo>
                      <a:pt x="420" y="272"/>
                    </a:lnTo>
                    <a:lnTo>
                      <a:pt x="402" y="286"/>
                    </a:lnTo>
                    <a:lnTo>
                      <a:pt x="386" y="292"/>
                    </a:lnTo>
                    <a:lnTo>
                      <a:pt x="380" y="300"/>
                    </a:lnTo>
                    <a:lnTo>
                      <a:pt x="376" y="298"/>
                    </a:lnTo>
                    <a:lnTo>
                      <a:pt x="374" y="304"/>
                    </a:lnTo>
                    <a:lnTo>
                      <a:pt x="376" y="306"/>
                    </a:lnTo>
                    <a:lnTo>
                      <a:pt x="368" y="312"/>
                    </a:lnTo>
                    <a:lnTo>
                      <a:pt x="364" y="310"/>
                    </a:lnTo>
                    <a:lnTo>
                      <a:pt x="326" y="336"/>
                    </a:lnTo>
                    <a:lnTo>
                      <a:pt x="324" y="328"/>
                    </a:lnTo>
                    <a:lnTo>
                      <a:pt x="346" y="282"/>
                    </a:lnTo>
                    <a:lnTo>
                      <a:pt x="354" y="272"/>
                    </a:lnTo>
                    <a:lnTo>
                      <a:pt x="362" y="270"/>
                    </a:lnTo>
                    <a:lnTo>
                      <a:pt x="370" y="272"/>
                    </a:lnTo>
                    <a:lnTo>
                      <a:pt x="376" y="270"/>
                    </a:lnTo>
                    <a:lnTo>
                      <a:pt x="374" y="264"/>
                    </a:lnTo>
                    <a:lnTo>
                      <a:pt x="366" y="262"/>
                    </a:lnTo>
                    <a:lnTo>
                      <a:pt x="366" y="258"/>
                    </a:lnTo>
                    <a:lnTo>
                      <a:pt x="372" y="254"/>
                    </a:lnTo>
                    <a:lnTo>
                      <a:pt x="364" y="256"/>
                    </a:lnTo>
                    <a:lnTo>
                      <a:pt x="354" y="254"/>
                    </a:lnTo>
                    <a:lnTo>
                      <a:pt x="358" y="250"/>
                    </a:lnTo>
                    <a:lnTo>
                      <a:pt x="360" y="234"/>
                    </a:lnTo>
                    <a:lnTo>
                      <a:pt x="354" y="232"/>
                    </a:lnTo>
                    <a:lnTo>
                      <a:pt x="346" y="224"/>
                    </a:lnTo>
                    <a:lnTo>
                      <a:pt x="342" y="210"/>
                    </a:lnTo>
                    <a:lnTo>
                      <a:pt x="342" y="206"/>
                    </a:lnTo>
                    <a:lnTo>
                      <a:pt x="338" y="206"/>
                    </a:lnTo>
                    <a:lnTo>
                      <a:pt x="328" y="196"/>
                    </a:lnTo>
                    <a:lnTo>
                      <a:pt x="324" y="200"/>
                    </a:lnTo>
                    <a:lnTo>
                      <a:pt x="318" y="200"/>
                    </a:lnTo>
                    <a:lnTo>
                      <a:pt x="314" y="196"/>
                    </a:lnTo>
                    <a:lnTo>
                      <a:pt x="314" y="198"/>
                    </a:lnTo>
                    <a:lnTo>
                      <a:pt x="308" y="194"/>
                    </a:lnTo>
                    <a:lnTo>
                      <a:pt x="300" y="196"/>
                    </a:lnTo>
                    <a:lnTo>
                      <a:pt x="286" y="196"/>
                    </a:lnTo>
                    <a:lnTo>
                      <a:pt x="278" y="200"/>
                    </a:lnTo>
                    <a:lnTo>
                      <a:pt x="194" y="218"/>
                    </a:lnTo>
                    <a:lnTo>
                      <a:pt x="192" y="216"/>
                    </a:lnTo>
                    <a:lnTo>
                      <a:pt x="182" y="218"/>
                    </a:lnTo>
                    <a:lnTo>
                      <a:pt x="176" y="214"/>
                    </a:lnTo>
                    <a:lnTo>
                      <a:pt x="174" y="208"/>
                    </a:lnTo>
                    <a:lnTo>
                      <a:pt x="160" y="214"/>
                    </a:lnTo>
                    <a:lnTo>
                      <a:pt x="160" y="220"/>
                    </a:lnTo>
                    <a:lnTo>
                      <a:pt x="156" y="216"/>
                    </a:lnTo>
                    <a:lnTo>
                      <a:pt x="148" y="214"/>
                    </a:lnTo>
                    <a:lnTo>
                      <a:pt x="144" y="214"/>
                    </a:lnTo>
                    <a:lnTo>
                      <a:pt x="142" y="210"/>
                    </a:lnTo>
                    <a:lnTo>
                      <a:pt x="134" y="210"/>
                    </a:lnTo>
                    <a:lnTo>
                      <a:pt x="132" y="206"/>
                    </a:lnTo>
                    <a:lnTo>
                      <a:pt x="132" y="198"/>
                    </a:lnTo>
                    <a:lnTo>
                      <a:pt x="134" y="188"/>
                    </a:lnTo>
                    <a:lnTo>
                      <a:pt x="132" y="182"/>
                    </a:lnTo>
                    <a:lnTo>
                      <a:pt x="116" y="240"/>
                    </a:lnTo>
                    <a:lnTo>
                      <a:pt x="100" y="248"/>
                    </a:lnTo>
                    <a:lnTo>
                      <a:pt x="96" y="248"/>
                    </a:lnTo>
                    <a:lnTo>
                      <a:pt x="94" y="246"/>
                    </a:lnTo>
                    <a:lnTo>
                      <a:pt x="90" y="230"/>
                    </a:lnTo>
                    <a:lnTo>
                      <a:pt x="90" y="226"/>
                    </a:lnTo>
                    <a:lnTo>
                      <a:pt x="90" y="218"/>
                    </a:lnTo>
                    <a:lnTo>
                      <a:pt x="84" y="222"/>
                    </a:lnTo>
                    <a:lnTo>
                      <a:pt x="76" y="214"/>
                    </a:lnTo>
                    <a:lnTo>
                      <a:pt x="68" y="212"/>
                    </a:lnTo>
                    <a:lnTo>
                      <a:pt x="58" y="218"/>
                    </a:lnTo>
                    <a:lnTo>
                      <a:pt x="50" y="218"/>
                    </a:lnTo>
                    <a:lnTo>
                      <a:pt x="52" y="210"/>
                    </a:lnTo>
                    <a:lnTo>
                      <a:pt x="58" y="204"/>
                    </a:lnTo>
                    <a:lnTo>
                      <a:pt x="80" y="196"/>
                    </a:lnTo>
                    <a:lnTo>
                      <a:pt x="102" y="174"/>
                    </a:lnTo>
                    <a:lnTo>
                      <a:pt x="110" y="172"/>
                    </a:lnTo>
                    <a:lnTo>
                      <a:pt x="120" y="168"/>
                    </a:lnTo>
                    <a:lnTo>
                      <a:pt x="126" y="162"/>
                    </a:lnTo>
                    <a:lnTo>
                      <a:pt x="126" y="154"/>
                    </a:lnTo>
                    <a:lnTo>
                      <a:pt x="128" y="148"/>
                    </a:lnTo>
                    <a:lnTo>
                      <a:pt x="128" y="142"/>
                    </a:lnTo>
                    <a:lnTo>
                      <a:pt x="78" y="178"/>
                    </a:lnTo>
                    <a:lnTo>
                      <a:pt x="70" y="180"/>
                    </a:lnTo>
                    <a:lnTo>
                      <a:pt x="64" y="184"/>
                    </a:lnTo>
                    <a:lnTo>
                      <a:pt x="52" y="184"/>
                    </a:lnTo>
                    <a:lnTo>
                      <a:pt x="44" y="174"/>
                    </a:lnTo>
                    <a:lnTo>
                      <a:pt x="42" y="168"/>
                    </a:lnTo>
                    <a:lnTo>
                      <a:pt x="36" y="166"/>
                    </a:lnTo>
                    <a:lnTo>
                      <a:pt x="28" y="164"/>
                    </a:lnTo>
                    <a:lnTo>
                      <a:pt x="20" y="170"/>
                    </a:lnTo>
                    <a:lnTo>
                      <a:pt x="16" y="168"/>
                    </a:lnTo>
                    <a:lnTo>
                      <a:pt x="14" y="174"/>
                    </a:lnTo>
                    <a:lnTo>
                      <a:pt x="0" y="174"/>
                    </a:lnTo>
                    <a:lnTo>
                      <a:pt x="10" y="146"/>
                    </a:lnTo>
                    <a:lnTo>
                      <a:pt x="12" y="142"/>
                    </a:lnTo>
                    <a:lnTo>
                      <a:pt x="34" y="128"/>
                    </a:lnTo>
                    <a:lnTo>
                      <a:pt x="46" y="108"/>
                    </a:lnTo>
                    <a:lnTo>
                      <a:pt x="66" y="96"/>
                    </a:lnTo>
                    <a:lnTo>
                      <a:pt x="76" y="94"/>
                    </a:lnTo>
                    <a:lnTo>
                      <a:pt x="86" y="96"/>
                    </a:lnTo>
                    <a:lnTo>
                      <a:pt x="92" y="98"/>
                    </a:lnTo>
                    <a:lnTo>
                      <a:pt x="100" y="100"/>
                    </a:lnTo>
                    <a:lnTo>
                      <a:pt x="126" y="86"/>
                    </a:lnTo>
                    <a:lnTo>
                      <a:pt x="130" y="98"/>
                    </a:lnTo>
                    <a:lnTo>
                      <a:pt x="136" y="102"/>
                    </a:lnTo>
                    <a:lnTo>
                      <a:pt x="140" y="114"/>
                    </a:lnTo>
                    <a:lnTo>
                      <a:pt x="138" y="136"/>
                    </a:lnTo>
                    <a:lnTo>
                      <a:pt x="144" y="152"/>
                    </a:lnTo>
                    <a:lnTo>
                      <a:pt x="156" y="162"/>
                    </a:lnTo>
                    <a:lnTo>
                      <a:pt x="156" y="150"/>
                    </a:lnTo>
                    <a:lnTo>
                      <a:pt x="166" y="150"/>
                    </a:lnTo>
                    <a:lnTo>
                      <a:pt x="170" y="160"/>
                    </a:lnTo>
                    <a:lnTo>
                      <a:pt x="174" y="162"/>
                    </a:lnTo>
                    <a:lnTo>
                      <a:pt x="178" y="168"/>
                    </a:lnTo>
                    <a:lnTo>
                      <a:pt x="192" y="170"/>
                    </a:lnTo>
                    <a:lnTo>
                      <a:pt x="208" y="162"/>
                    </a:lnTo>
                    <a:lnTo>
                      <a:pt x="212" y="150"/>
                    </a:lnTo>
                    <a:lnTo>
                      <a:pt x="222" y="138"/>
                    </a:lnTo>
                    <a:lnTo>
                      <a:pt x="222" y="132"/>
                    </a:lnTo>
                    <a:lnTo>
                      <a:pt x="236" y="112"/>
                    </a:lnTo>
                    <a:lnTo>
                      <a:pt x="238" y="96"/>
                    </a:lnTo>
                    <a:lnTo>
                      <a:pt x="264" y="78"/>
                    </a:lnTo>
                    <a:lnTo>
                      <a:pt x="270" y="70"/>
                    </a:lnTo>
                    <a:lnTo>
                      <a:pt x="268" y="62"/>
                    </a:lnTo>
                    <a:lnTo>
                      <a:pt x="292" y="28"/>
                    </a:lnTo>
                    <a:lnTo>
                      <a:pt x="298" y="28"/>
                    </a:lnTo>
                    <a:lnTo>
                      <a:pt x="300" y="30"/>
                    </a:lnTo>
                    <a:lnTo>
                      <a:pt x="332" y="24"/>
                    </a:lnTo>
                    <a:lnTo>
                      <a:pt x="334" y="26"/>
                    </a:lnTo>
                    <a:lnTo>
                      <a:pt x="354" y="22"/>
                    </a:lnTo>
                    <a:lnTo>
                      <a:pt x="374" y="22"/>
                    </a:lnTo>
                    <a:lnTo>
                      <a:pt x="384" y="20"/>
                    </a:lnTo>
                    <a:lnTo>
                      <a:pt x="390" y="14"/>
                    </a:lnTo>
                    <a:lnTo>
                      <a:pt x="394" y="10"/>
                    </a:lnTo>
                    <a:lnTo>
                      <a:pt x="400" y="10"/>
                    </a:lnTo>
                    <a:lnTo>
                      <a:pt x="404" y="6"/>
                    </a:lnTo>
                    <a:lnTo>
                      <a:pt x="408" y="6"/>
                    </a:lnTo>
                    <a:lnTo>
                      <a:pt x="416" y="6"/>
                    </a:lnTo>
                    <a:lnTo>
                      <a:pt x="420" y="4"/>
                    </a:lnTo>
                    <a:lnTo>
                      <a:pt x="422" y="4"/>
                    </a:lnTo>
                    <a:lnTo>
                      <a:pt x="422" y="6"/>
                    </a:lnTo>
                    <a:lnTo>
                      <a:pt x="424" y="8"/>
                    </a:lnTo>
                    <a:lnTo>
                      <a:pt x="428" y="4"/>
                    </a:lnTo>
                    <a:lnTo>
                      <a:pt x="430" y="2"/>
                    </a:lnTo>
                    <a:lnTo>
                      <a:pt x="434" y="0"/>
                    </a:lnTo>
                    <a:lnTo>
                      <a:pt x="462" y="184"/>
                    </a:lnTo>
                    <a:lnTo>
                      <a:pt x="460" y="190"/>
                    </a:lnTo>
                    <a:lnTo>
                      <a:pt x="468" y="200"/>
                    </a:lnTo>
                    <a:lnTo>
                      <a:pt x="480" y="29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96" name="Freeform 154"/>
              <p:cNvSpPr>
                <a:spLocks/>
              </p:cNvSpPr>
              <p:nvPr/>
            </p:nvSpPr>
            <p:spPr bwMode="auto">
              <a:xfrm>
                <a:off x="7035641" y="6297613"/>
                <a:ext cx="127255" cy="120650"/>
              </a:xfrm>
              <a:custGeom>
                <a:avLst/>
                <a:gdLst>
                  <a:gd name="T0" fmla="*/ 70 w 74"/>
                  <a:gd name="T1" fmla="*/ 20 h 76"/>
                  <a:gd name="T2" fmla="*/ 68 w 74"/>
                  <a:gd name="T3" fmla="*/ 18 h 76"/>
                  <a:gd name="T4" fmla="*/ 68 w 74"/>
                  <a:gd name="T5" fmla="*/ 16 h 76"/>
                  <a:gd name="T6" fmla="*/ 68 w 74"/>
                  <a:gd name="T7" fmla="*/ 16 h 76"/>
                  <a:gd name="T8" fmla="*/ 68 w 74"/>
                  <a:gd name="T9" fmla="*/ 16 h 76"/>
                  <a:gd name="T10" fmla="*/ 66 w 74"/>
                  <a:gd name="T11" fmla="*/ 14 h 76"/>
                  <a:gd name="T12" fmla="*/ 66 w 74"/>
                  <a:gd name="T13" fmla="*/ 14 h 76"/>
                  <a:gd name="T14" fmla="*/ 66 w 74"/>
                  <a:gd name="T15" fmla="*/ 14 h 76"/>
                  <a:gd name="T16" fmla="*/ 66 w 74"/>
                  <a:gd name="T17" fmla="*/ 12 h 76"/>
                  <a:gd name="T18" fmla="*/ 64 w 74"/>
                  <a:gd name="T19" fmla="*/ 12 h 76"/>
                  <a:gd name="T20" fmla="*/ 66 w 74"/>
                  <a:gd name="T21" fmla="*/ 8 h 76"/>
                  <a:gd name="T22" fmla="*/ 68 w 74"/>
                  <a:gd name="T23" fmla="*/ 8 h 76"/>
                  <a:gd name="T24" fmla="*/ 70 w 74"/>
                  <a:gd name="T25" fmla="*/ 8 h 76"/>
                  <a:gd name="T26" fmla="*/ 70 w 74"/>
                  <a:gd name="T27" fmla="*/ 8 h 76"/>
                  <a:gd name="T28" fmla="*/ 74 w 74"/>
                  <a:gd name="T29" fmla="*/ 6 h 76"/>
                  <a:gd name="T30" fmla="*/ 74 w 74"/>
                  <a:gd name="T31" fmla="*/ 6 h 76"/>
                  <a:gd name="T32" fmla="*/ 74 w 74"/>
                  <a:gd name="T33" fmla="*/ 4 h 76"/>
                  <a:gd name="T34" fmla="*/ 74 w 74"/>
                  <a:gd name="T35" fmla="*/ 4 h 76"/>
                  <a:gd name="T36" fmla="*/ 74 w 74"/>
                  <a:gd name="T37" fmla="*/ 2 h 76"/>
                  <a:gd name="T38" fmla="*/ 74 w 74"/>
                  <a:gd name="T39" fmla="*/ 0 h 76"/>
                  <a:gd name="T40" fmla="*/ 72 w 74"/>
                  <a:gd name="T41" fmla="*/ 0 h 76"/>
                  <a:gd name="T42" fmla="*/ 72 w 74"/>
                  <a:gd name="T43" fmla="*/ 0 h 76"/>
                  <a:gd name="T44" fmla="*/ 70 w 74"/>
                  <a:gd name="T45" fmla="*/ 0 h 76"/>
                  <a:gd name="T46" fmla="*/ 70 w 74"/>
                  <a:gd name="T47" fmla="*/ 0 h 76"/>
                  <a:gd name="T48" fmla="*/ 68 w 74"/>
                  <a:gd name="T49" fmla="*/ 2 h 76"/>
                  <a:gd name="T50" fmla="*/ 66 w 74"/>
                  <a:gd name="T51" fmla="*/ 4 h 76"/>
                  <a:gd name="T52" fmla="*/ 64 w 74"/>
                  <a:gd name="T53" fmla="*/ 4 h 76"/>
                  <a:gd name="T54" fmla="*/ 64 w 74"/>
                  <a:gd name="T55" fmla="*/ 2 h 76"/>
                  <a:gd name="T56" fmla="*/ 64 w 74"/>
                  <a:gd name="T57" fmla="*/ 0 h 76"/>
                  <a:gd name="T58" fmla="*/ 46 w 74"/>
                  <a:gd name="T59" fmla="*/ 14 h 76"/>
                  <a:gd name="T60" fmla="*/ 42 w 74"/>
                  <a:gd name="T61" fmla="*/ 16 h 76"/>
                  <a:gd name="T62" fmla="*/ 42 w 74"/>
                  <a:gd name="T63" fmla="*/ 18 h 76"/>
                  <a:gd name="T64" fmla="*/ 40 w 74"/>
                  <a:gd name="T65" fmla="*/ 20 h 76"/>
                  <a:gd name="T66" fmla="*/ 42 w 74"/>
                  <a:gd name="T67" fmla="*/ 20 h 76"/>
                  <a:gd name="T68" fmla="*/ 40 w 74"/>
                  <a:gd name="T69" fmla="*/ 22 h 76"/>
                  <a:gd name="T70" fmla="*/ 40 w 74"/>
                  <a:gd name="T71" fmla="*/ 22 h 76"/>
                  <a:gd name="T72" fmla="*/ 38 w 74"/>
                  <a:gd name="T73" fmla="*/ 24 h 76"/>
                  <a:gd name="T74" fmla="*/ 36 w 74"/>
                  <a:gd name="T75" fmla="*/ 26 h 76"/>
                  <a:gd name="T76" fmla="*/ 36 w 74"/>
                  <a:gd name="T77" fmla="*/ 28 h 76"/>
                  <a:gd name="T78" fmla="*/ 36 w 74"/>
                  <a:gd name="T79" fmla="*/ 28 h 76"/>
                  <a:gd name="T80" fmla="*/ 36 w 74"/>
                  <a:gd name="T81" fmla="*/ 28 h 76"/>
                  <a:gd name="T82" fmla="*/ 36 w 74"/>
                  <a:gd name="T83" fmla="*/ 30 h 76"/>
                  <a:gd name="T84" fmla="*/ 36 w 74"/>
                  <a:gd name="T85" fmla="*/ 30 h 76"/>
                  <a:gd name="T86" fmla="*/ 34 w 74"/>
                  <a:gd name="T87" fmla="*/ 32 h 76"/>
                  <a:gd name="T88" fmla="*/ 34 w 74"/>
                  <a:gd name="T89" fmla="*/ 32 h 76"/>
                  <a:gd name="T90" fmla="*/ 32 w 74"/>
                  <a:gd name="T91" fmla="*/ 32 h 76"/>
                  <a:gd name="T92" fmla="*/ 32 w 74"/>
                  <a:gd name="T93" fmla="*/ 30 h 76"/>
                  <a:gd name="T94" fmla="*/ 32 w 74"/>
                  <a:gd name="T95" fmla="*/ 30 h 76"/>
                  <a:gd name="T96" fmla="*/ 32 w 74"/>
                  <a:gd name="T97" fmla="*/ 28 h 76"/>
                  <a:gd name="T98" fmla="*/ 30 w 74"/>
                  <a:gd name="T99" fmla="*/ 28 h 76"/>
                  <a:gd name="T100" fmla="*/ 30 w 74"/>
                  <a:gd name="T101" fmla="*/ 28 h 76"/>
                  <a:gd name="T102" fmla="*/ 28 w 74"/>
                  <a:gd name="T103" fmla="*/ 28 h 76"/>
                  <a:gd name="T104" fmla="*/ 28 w 74"/>
                  <a:gd name="T105" fmla="*/ 30 h 76"/>
                  <a:gd name="T106" fmla="*/ 26 w 74"/>
                  <a:gd name="T107" fmla="*/ 32 h 76"/>
                  <a:gd name="T108" fmla="*/ 24 w 74"/>
                  <a:gd name="T109" fmla="*/ 32 h 76"/>
                  <a:gd name="T110" fmla="*/ 24 w 74"/>
                  <a:gd name="T111" fmla="*/ 30 h 76"/>
                  <a:gd name="T112" fmla="*/ 24 w 74"/>
                  <a:gd name="T113" fmla="*/ 30 h 76"/>
                  <a:gd name="T114" fmla="*/ 6 w 74"/>
                  <a:gd name="T115" fmla="*/ 46 h 76"/>
                  <a:gd name="T116" fmla="*/ 6 w 74"/>
                  <a:gd name="T117" fmla="*/ 60 h 76"/>
                  <a:gd name="T118" fmla="*/ 0 w 74"/>
                  <a:gd name="T119" fmla="*/ 72 h 76"/>
                  <a:gd name="T120" fmla="*/ 40 w 74"/>
                  <a:gd name="T121" fmla="*/ 58 h 76"/>
                  <a:gd name="T122" fmla="*/ 70 w 74"/>
                  <a:gd name="T123" fmla="*/ 2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 h="76">
                    <a:moveTo>
                      <a:pt x="70" y="20"/>
                    </a:moveTo>
                    <a:lnTo>
                      <a:pt x="70" y="20"/>
                    </a:lnTo>
                    <a:lnTo>
                      <a:pt x="70" y="20"/>
                    </a:lnTo>
                    <a:lnTo>
                      <a:pt x="68" y="18"/>
                    </a:lnTo>
                    <a:lnTo>
                      <a:pt x="68" y="16"/>
                    </a:lnTo>
                    <a:lnTo>
                      <a:pt x="68" y="16"/>
                    </a:lnTo>
                    <a:lnTo>
                      <a:pt x="68" y="16"/>
                    </a:lnTo>
                    <a:lnTo>
                      <a:pt x="68" y="16"/>
                    </a:lnTo>
                    <a:lnTo>
                      <a:pt x="68" y="16"/>
                    </a:lnTo>
                    <a:lnTo>
                      <a:pt x="68" y="16"/>
                    </a:lnTo>
                    <a:lnTo>
                      <a:pt x="68" y="14"/>
                    </a:lnTo>
                    <a:lnTo>
                      <a:pt x="66" y="14"/>
                    </a:lnTo>
                    <a:lnTo>
                      <a:pt x="66" y="14"/>
                    </a:lnTo>
                    <a:lnTo>
                      <a:pt x="66" y="14"/>
                    </a:lnTo>
                    <a:lnTo>
                      <a:pt x="66" y="14"/>
                    </a:lnTo>
                    <a:lnTo>
                      <a:pt x="66" y="14"/>
                    </a:lnTo>
                    <a:lnTo>
                      <a:pt x="66" y="12"/>
                    </a:lnTo>
                    <a:lnTo>
                      <a:pt x="66" y="12"/>
                    </a:lnTo>
                    <a:lnTo>
                      <a:pt x="66" y="12"/>
                    </a:lnTo>
                    <a:lnTo>
                      <a:pt x="64" y="12"/>
                    </a:lnTo>
                    <a:lnTo>
                      <a:pt x="64" y="10"/>
                    </a:lnTo>
                    <a:lnTo>
                      <a:pt x="66" y="8"/>
                    </a:lnTo>
                    <a:lnTo>
                      <a:pt x="68" y="8"/>
                    </a:lnTo>
                    <a:lnTo>
                      <a:pt x="68" y="8"/>
                    </a:lnTo>
                    <a:lnTo>
                      <a:pt x="68" y="8"/>
                    </a:lnTo>
                    <a:lnTo>
                      <a:pt x="70" y="8"/>
                    </a:lnTo>
                    <a:lnTo>
                      <a:pt x="70" y="8"/>
                    </a:lnTo>
                    <a:lnTo>
                      <a:pt x="70" y="8"/>
                    </a:lnTo>
                    <a:lnTo>
                      <a:pt x="72" y="8"/>
                    </a:lnTo>
                    <a:lnTo>
                      <a:pt x="74" y="6"/>
                    </a:lnTo>
                    <a:lnTo>
                      <a:pt x="74" y="6"/>
                    </a:lnTo>
                    <a:lnTo>
                      <a:pt x="74" y="6"/>
                    </a:lnTo>
                    <a:lnTo>
                      <a:pt x="74" y="6"/>
                    </a:lnTo>
                    <a:lnTo>
                      <a:pt x="74" y="4"/>
                    </a:lnTo>
                    <a:lnTo>
                      <a:pt x="74" y="4"/>
                    </a:lnTo>
                    <a:lnTo>
                      <a:pt x="74" y="4"/>
                    </a:lnTo>
                    <a:lnTo>
                      <a:pt x="74" y="4"/>
                    </a:lnTo>
                    <a:lnTo>
                      <a:pt x="74" y="2"/>
                    </a:lnTo>
                    <a:lnTo>
                      <a:pt x="74" y="2"/>
                    </a:lnTo>
                    <a:lnTo>
                      <a:pt x="74" y="0"/>
                    </a:lnTo>
                    <a:lnTo>
                      <a:pt x="74" y="0"/>
                    </a:lnTo>
                    <a:lnTo>
                      <a:pt x="72" y="0"/>
                    </a:lnTo>
                    <a:lnTo>
                      <a:pt x="72" y="0"/>
                    </a:lnTo>
                    <a:lnTo>
                      <a:pt x="72" y="0"/>
                    </a:lnTo>
                    <a:lnTo>
                      <a:pt x="70" y="0"/>
                    </a:lnTo>
                    <a:lnTo>
                      <a:pt x="70" y="0"/>
                    </a:lnTo>
                    <a:lnTo>
                      <a:pt x="70" y="0"/>
                    </a:lnTo>
                    <a:lnTo>
                      <a:pt x="70" y="0"/>
                    </a:lnTo>
                    <a:lnTo>
                      <a:pt x="70" y="2"/>
                    </a:lnTo>
                    <a:lnTo>
                      <a:pt x="68" y="2"/>
                    </a:lnTo>
                    <a:lnTo>
                      <a:pt x="68" y="2"/>
                    </a:lnTo>
                    <a:lnTo>
                      <a:pt x="66" y="4"/>
                    </a:lnTo>
                    <a:lnTo>
                      <a:pt x="64" y="6"/>
                    </a:lnTo>
                    <a:lnTo>
                      <a:pt x="64" y="4"/>
                    </a:lnTo>
                    <a:lnTo>
                      <a:pt x="64" y="4"/>
                    </a:lnTo>
                    <a:lnTo>
                      <a:pt x="64" y="2"/>
                    </a:lnTo>
                    <a:lnTo>
                      <a:pt x="64" y="2"/>
                    </a:lnTo>
                    <a:lnTo>
                      <a:pt x="64" y="0"/>
                    </a:lnTo>
                    <a:lnTo>
                      <a:pt x="52" y="12"/>
                    </a:lnTo>
                    <a:lnTo>
                      <a:pt x="46" y="14"/>
                    </a:lnTo>
                    <a:lnTo>
                      <a:pt x="42" y="16"/>
                    </a:lnTo>
                    <a:lnTo>
                      <a:pt x="42" y="16"/>
                    </a:lnTo>
                    <a:lnTo>
                      <a:pt x="42" y="18"/>
                    </a:lnTo>
                    <a:lnTo>
                      <a:pt x="42" y="18"/>
                    </a:lnTo>
                    <a:lnTo>
                      <a:pt x="42" y="20"/>
                    </a:lnTo>
                    <a:lnTo>
                      <a:pt x="40" y="20"/>
                    </a:lnTo>
                    <a:lnTo>
                      <a:pt x="40" y="20"/>
                    </a:lnTo>
                    <a:lnTo>
                      <a:pt x="42" y="20"/>
                    </a:lnTo>
                    <a:lnTo>
                      <a:pt x="40" y="22"/>
                    </a:lnTo>
                    <a:lnTo>
                      <a:pt x="40" y="22"/>
                    </a:lnTo>
                    <a:lnTo>
                      <a:pt x="40" y="22"/>
                    </a:lnTo>
                    <a:lnTo>
                      <a:pt x="40" y="22"/>
                    </a:lnTo>
                    <a:lnTo>
                      <a:pt x="40" y="24"/>
                    </a:lnTo>
                    <a:lnTo>
                      <a:pt x="38" y="24"/>
                    </a:lnTo>
                    <a:lnTo>
                      <a:pt x="38" y="26"/>
                    </a:lnTo>
                    <a:lnTo>
                      <a:pt x="36" y="26"/>
                    </a:lnTo>
                    <a:lnTo>
                      <a:pt x="36" y="26"/>
                    </a:lnTo>
                    <a:lnTo>
                      <a:pt x="36" y="28"/>
                    </a:lnTo>
                    <a:lnTo>
                      <a:pt x="36" y="28"/>
                    </a:lnTo>
                    <a:lnTo>
                      <a:pt x="36" y="28"/>
                    </a:lnTo>
                    <a:lnTo>
                      <a:pt x="36" y="28"/>
                    </a:lnTo>
                    <a:lnTo>
                      <a:pt x="36" y="28"/>
                    </a:lnTo>
                    <a:lnTo>
                      <a:pt x="36" y="28"/>
                    </a:lnTo>
                    <a:lnTo>
                      <a:pt x="36" y="30"/>
                    </a:lnTo>
                    <a:lnTo>
                      <a:pt x="36" y="30"/>
                    </a:lnTo>
                    <a:lnTo>
                      <a:pt x="36" y="30"/>
                    </a:lnTo>
                    <a:lnTo>
                      <a:pt x="34" y="32"/>
                    </a:lnTo>
                    <a:lnTo>
                      <a:pt x="34" y="32"/>
                    </a:lnTo>
                    <a:lnTo>
                      <a:pt x="34" y="32"/>
                    </a:lnTo>
                    <a:lnTo>
                      <a:pt x="34" y="32"/>
                    </a:lnTo>
                    <a:lnTo>
                      <a:pt x="32" y="32"/>
                    </a:lnTo>
                    <a:lnTo>
                      <a:pt x="32" y="32"/>
                    </a:lnTo>
                    <a:lnTo>
                      <a:pt x="32" y="32"/>
                    </a:lnTo>
                    <a:lnTo>
                      <a:pt x="32" y="30"/>
                    </a:lnTo>
                    <a:lnTo>
                      <a:pt x="32" y="30"/>
                    </a:lnTo>
                    <a:lnTo>
                      <a:pt x="32" y="30"/>
                    </a:lnTo>
                    <a:lnTo>
                      <a:pt x="32" y="30"/>
                    </a:lnTo>
                    <a:lnTo>
                      <a:pt x="32" y="28"/>
                    </a:lnTo>
                    <a:lnTo>
                      <a:pt x="32" y="28"/>
                    </a:lnTo>
                    <a:lnTo>
                      <a:pt x="30" y="28"/>
                    </a:lnTo>
                    <a:lnTo>
                      <a:pt x="30" y="28"/>
                    </a:lnTo>
                    <a:lnTo>
                      <a:pt x="30" y="28"/>
                    </a:lnTo>
                    <a:lnTo>
                      <a:pt x="30" y="28"/>
                    </a:lnTo>
                    <a:lnTo>
                      <a:pt x="28" y="28"/>
                    </a:lnTo>
                    <a:lnTo>
                      <a:pt x="28" y="30"/>
                    </a:lnTo>
                    <a:lnTo>
                      <a:pt x="28" y="30"/>
                    </a:lnTo>
                    <a:lnTo>
                      <a:pt x="26" y="32"/>
                    </a:lnTo>
                    <a:lnTo>
                      <a:pt x="26" y="32"/>
                    </a:lnTo>
                    <a:lnTo>
                      <a:pt x="26" y="32"/>
                    </a:lnTo>
                    <a:lnTo>
                      <a:pt x="24" y="32"/>
                    </a:lnTo>
                    <a:lnTo>
                      <a:pt x="24" y="30"/>
                    </a:lnTo>
                    <a:lnTo>
                      <a:pt x="24" y="30"/>
                    </a:lnTo>
                    <a:lnTo>
                      <a:pt x="24" y="30"/>
                    </a:lnTo>
                    <a:lnTo>
                      <a:pt x="24" y="30"/>
                    </a:lnTo>
                    <a:lnTo>
                      <a:pt x="20" y="32"/>
                    </a:lnTo>
                    <a:lnTo>
                      <a:pt x="6" y="46"/>
                    </a:lnTo>
                    <a:lnTo>
                      <a:pt x="4" y="56"/>
                    </a:lnTo>
                    <a:lnTo>
                      <a:pt x="6" y="60"/>
                    </a:lnTo>
                    <a:lnTo>
                      <a:pt x="6" y="66"/>
                    </a:lnTo>
                    <a:lnTo>
                      <a:pt x="0" y="72"/>
                    </a:lnTo>
                    <a:lnTo>
                      <a:pt x="4" y="76"/>
                    </a:lnTo>
                    <a:lnTo>
                      <a:pt x="40" y="58"/>
                    </a:lnTo>
                    <a:lnTo>
                      <a:pt x="66" y="30"/>
                    </a:lnTo>
                    <a:lnTo>
                      <a:pt x="70" y="20"/>
                    </a:lnTo>
                    <a:lnTo>
                      <a:pt x="70" y="20"/>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97" name="Freeform 155"/>
              <p:cNvSpPr>
                <a:spLocks/>
              </p:cNvSpPr>
              <p:nvPr/>
            </p:nvSpPr>
            <p:spPr bwMode="auto">
              <a:xfrm>
                <a:off x="5553294" y="5976938"/>
                <a:ext cx="20636" cy="15875"/>
              </a:xfrm>
              <a:custGeom>
                <a:avLst/>
                <a:gdLst>
                  <a:gd name="T0" fmla="*/ 12 w 12"/>
                  <a:gd name="T1" fmla="*/ 4 h 10"/>
                  <a:gd name="T2" fmla="*/ 12 w 12"/>
                  <a:gd name="T3" fmla="*/ 0 h 10"/>
                  <a:gd name="T4" fmla="*/ 8 w 12"/>
                  <a:gd name="T5" fmla="*/ 0 h 10"/>
                  <a:gd name="T6" fmla="*/ 2 w 12"/>
                  <a:gd name="T7" fmla="*/ 2 h 10"/>
                  <a:gd name="T8" fmla="*/ 0 w 12"/>
                  <a:gd name="T9" fmla="*/ 8 h 10"/>
                  <a:gd name="T10" fmla="*/ 0 w 12"/>
                  <a:gd name="T11" fmla="*/ 10 h 10"/>
                  <a:gd name="T12" fmla="*/ 4 w 12"/>
                  <a:gd name="T13" fmla="*/ 10 h 10"/>
                  <a:gd name="T14" fmla="*/ 10 w 12"/>
                  <a:gd name="T15" fmla="*/ 8 h 10"/>
                  <a:gd name="T16" fmla="*/ 12 w 12"/>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12" y="4"/>
                    </a:moveTo>
                    <a:lnTo>
                      <a:pt x="12" y="0"/>
                    </a:lnTo>
                    <a:lnTo>
                      <a:pt x="8" y="0"/>
                    </a:lnTo>
                    <a:lnTo>
                      <a:pt x="2" y="2"/>
                    </a:lnTo>
                    <a:lnTo>
                      <a:pt x="0" y="8"/>
                    </a:lnTo>
                    <a:lnTo>
                      <a:pt x="0" y="10"/>
                    </a:lnTo>
                    <a:lnTo>
                      <a:pt x="4" y="10"/>
                    </a:lnTo>
                    <a:lnTo>
                      <a:pt x="10" y="8"/>
                    </a:lnTo>
                    <a:lnTo>
                      <a:pt x="12"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998" name="Freeform 156"/>
              <p:cNvSpPr>
                <a:spLocks/>
              </p:cNvSpPr>
              <p:nvPr/>
            </p:nvSpPr>
            <p:spPr bwMode="auto">
              <a:xfrm>
                <a:off x="5553294" y="5976938"/>
                <a:ext cx="20636" cy="15875"/>
              </a:xfrm>
              <a:custGeom>
                <a:avLst/>
                <a:gdLst>
                  <a:gd name="T0" fmla="*/ 12 w 12"/>
                  <a:gd name="T1" fmla="*/ 4 h 10"/>
                  <a:gd name="T2" fmla="*/ 12 w 12"/>
                  <a:gd name="T3" fmla="*/ 0 h 10"/>
                  <a:gd name="T4" fmla="*/ 8 w 12"/>
                  <a:gd name="T5" fmla="*/ 0 h 10"/>
                  <a:gd name="T6" fmla="*/ 2 w 12"/>
                  <a:gd name="T7" fmla="*/ 2 h 10"/>
                  <a:gd name="T8" fmla="*/ 0 w 12"/>
                  <a:gd name="T9" fmla="*/ 8 h 10"/>
                  <a:gd name="T10" fmla="*/ 0 w 12"/>
                  <a:gd name="T11" fmla="*/ 10 h 10"/>
                  <a:gd name="T12" fmla="*/ 4 w 12"/>
                  <a:gd name="T13" fmla="*/ 10 h 10"/>
                  <a:gd name="T14" fmla="*/ 10 w 12"/>
                  <a:gd name="T15" fmla="*/ 8 h 10"/>
                  <a:gd name="T16" fmla="*/ 12 w 12"/>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12" y="4"/>
                    </a:moveTo>
                    <a:lnTo>
                      <a:pt x="12" y="0"/>
                    </a:lnTo>
                    <a:lnTo>
                      <a:pt x="8" y="0"/>
                    </a:lnTo>
                    <a:lnTo>
                      <a:pt x="2" y="2"/>
                    </a:lnTo>
                    <a:lnTo>
                      <a:pt x="0" y="8"/>
                    </a:lnTo>
                    <a:lnTo>
                      <a:pt x="0" y="10"/>
                    </a:lnTo>
                    <a:lnTo>
                      <a:pt x="4" y="10"/>
                    </a:lnTo>
                    <a:lnTo>
                      <a:pt x="10" y="8"/>
                    </a:lnTo>
                    <a:lnTo>
                      <a:pt x="12"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999" name="Freeform 157"/>
              <p:cNvSpPr>
                <a:spLocks/>
              </p:cNvSpPr>
              <p:nvPr/>
            </p:nvSpPr>
            <p:spPr bwMode="auto">
              <a:xfrm>
                <a:off x="1560244" y="3557588"/>
                <a:ext cx="175405" cy="177800"/>
              </a:xfrm>
              <a:custGeom>
                <a:avLst/>
                <a:gdLst>
                  <a:gd name="T0" fmla="*/ 4 w 102"/>
                  <a:gd name="T1" fmla="*/ 112 h 112"/>
                  <a:gd name="T2" fmla="*/ 42 w 102"/>
                  <a:gd name="T3" fmla="*/ 74 h 112"/>
                  <a:gd name="T4" fmla="*/ 52 w 102"/>
                  <a:gd name="T5" fmla="*/ 68 h 112"/>
                  <a:gd name="T6" fmla="*/ 54 w 102"/>
                  <a:gd name="T7" fmla="*/ 64 h 112"/>
                  <a:gd name="T8" fmla="*/ 60 w 102"/>
                  <a:gd name="T9" fmla="*/ 58 h 112"/>
                  <a:gd name="T10" fmla="*/ 60 w 102"/>
                  <a:gd name="T11" fmla="*/ 56 h 112"/>
                  <a:gd name="T12" fmla="*/ 58 w 102"/>
                  <a:gd name="T13" fmla="*/ 54 h 112"/>
                  <a:gd name="T14" fmla="*/ 50 w 102"/>
                  <a:gd name="T15" fmla="*/ 54 h 112"/>
                  <a:gd name="T16" fmla="*/ 44 w 102"/>
                  <a:gd name="T17" fmla="*/ 52 h 112"/>
                  <a:gd name="T18" fmla="*/ 42 w 102"/>
                  <a:gd name="T19" fmla="*/ 54 h 112"/>
                  <a:gd name="T20" fmla="*/ 42 w 102"/>
                  <a:gd name="T21" fmla="*/ 50 h 112"/>
                  <a:gd name="T22" fmla="*/ 44 w 102"/>
                  <a:gd name="T23" fmla="*/ 48 h 112"/>
                  <a:gd name="T24" fmla="*/ 48 w 102"/>
                  <a:gd name="T25" fmla="*/ 46 h 112"/>
                  <a:gd name="T26" fmla="*/ 52 w 102"/>
                  <a:gd name="T27" fmla="*/ 42 h 112"/>
                  <a:gd name="T28" fmla="*/ 54 w 102"/>
                  <a:gd name="T29" fmla="*/ 42 h 112"/>
                  <a:gd name="T30" fmla="*/ 56 w 102"/>
                  <a:gd name="T31" fmla="*/ 42 h 112"/>
                  <a:gd name="T32" fmla="*/ 60 w 102"/>
                  <a:gd name="T33" fmla="*/ 44 h 112"/>
                  <a:gd name="T34" fmla="*/ 60 w 102"/>
                  <a:gd name="T35" fmla="*/ 44 h 112"/>
                  <a:gd name="T36" fmla="*/ 62 w 102"/>
                  <a:gd name="T37" fmla="*/ 42 h 112"/>
                  <a:gd name="T38" fmla="*/ 60 w 102"/>
                  <a:gd name="T39" fmla="*/ 40 h 112"/>
                  <a:gd name="T40" fmla="*/ 54 w 102"/>
                  <a:gd name="T41" fmla="*/ 38 h 112"/>
                  <a:gd name="T42" fmla="*/ 58 w 102"/>
                  <a:gd name="T43" fmla="*/ 36 h 112"/>
                  <a:gd name="T44" fmla="*/ 58 w 102"/>
                  <a:gd name="T45" fmla="*/ 32 h 112"/>
                  <a:gd name="T46" fmla="*/ 62 w 102"/>
                  <a:gd name="T47" fmla="*/ 26 h 112"/>
                  <a:gd name="T48" fmla="*/ 68 w 102"/>
                  <a:gd name="T49" fmla="*/ 24 h 112"/>
                  <a:gd name="T50" fmla="*/ 70 w 102"/>
                  <a:gd name="T51" fmla="*/ 20 h 112"/>
                  <a:gd name="T52" fmla="*/ 72 w 102"/>
                  <a:gd name="T53" fmla="*/ 20 h 112"/>
                  <a:gd name="T54" fmla="*/ 74 w 102"/>
                  <a:gd name="T55" fmla="*/ 20 h 112"/>
                  <a:gd name="T56" fmla="*/ 78 w 102"/>
                  <a:gd name="T57" fmla="*/ 22 h 112"/>
                  <a:gd name="T58" fmla="*/ 80 w 102"/>
                  <a:gd name="T59" fmla="*/ 24 h 112"/>
                  <a:gd name="T60" fmla="*/ 80 w 102"/>
                  <a:gd name="T61" fmla="*/ 28 h 112"/>
                  <a:gd name="T62" fmla="*/ 80 w 102"/>
                  <a:gd name="T63" fmla="*/ 30 h 112"/>
                  <a:gd name="T64" fmla="*/ 82 w 102"/>
                  <a:gd name="T65" fmla="*/ 30 h 112"/>
                  <a:gd name="T66" fmla="*/ 88 w 102"/>
                  <a:gd name="T67" fmla="*/ 22 h 112"/>
                  <a:gd name="T68" fmla="*/ 92 w 102"/>
                  <a:gd name="T69" fmla="*/ 20 h 112"/>
                  <a:gd name="T70" fmla="*/ 94 w 102"/>
                  <a:gd name="T71" fmla="*/ 16 h 112"/>
                  <a:gd name="T72" fmla="*/ 96 w 102"/>
                  <a:gd name="T73" fmla="*/ 14 h 112"/>
                  <a:gd name="T74" fmla="*/ 96 w 102"/>
                  <a:gd name="T75" fmla="*/ 12 h 112"/>
                  <a:gd name="T76" fmla="*/ 98 w 102"/>
                  <a:gd name="T77" fmla="*/ 12 h 112"/>
                  <a:gd name="T78" fmla="*/ 102 w 102"/>
                  <a:gd name="T79" fmla="*/ 6 h 112"/>
                  <a:gd name="T80" fmla="*/ 102 w 102"/>
                  <a:gd name="T81" fmla="*/ 6 h 112"/>
                  <a:gd name="T82" fmla="*/ 102 w 102"/>
                  <a:gd name="T83" fmla="*/ 4 h 112"/>
                  <a:gd name="T84" fmla="*/ 100 w 102"/>
                  <a:gd name="T85" fmla="*/ 4 h 112"/>
                  <a:gd name="T86" fmla="*/ 96 w 102"/>
                  <a:gd name="T87" fmla="*/ 10 h 112"/>
                  <a:gd name="T88" fmla="*/ 94 w 102"/>
                  <a:gd name="T89" fmla="*/ 8 h 112"/>
                  <a:gd name="T90" fmla="*/ 92 w 102"/>
                  <a:gd name="T91" fmla="*/ 8 h 112"/>
                  <a:gd name="T92" fmla="*/ 90 w 102"/>
                  <a:gd name="T93" fmla="*/ 8 h 112"/>
                  <a:gd name="T94" fmla="*/ 90 w 102"/>
                  <a:gd name="T95" fmla="*/ 6 h 112"/>
                  <a:gd name="T96" fmla="*/ 84 w 102"/>
                  <a:gd name="T97" fmla="*/ 2 h 112"/>
                  <a:gd name="T98" fmla="*/ 84 w 102"/>
                  <a:gd name="T99" fmla="*/ 0 h 112"/>
                  <a:gd name="T100" fmla="*/ 40 w 102"/>
                  <a:gd name="T101" fmla="*/ 36 h 112"/>
                  <a:gd name="T102" fmla="*/ 34 w 102"/>
                  <a:gd name="T103" fmla="*/ 36 h 112"/>
                  <a:gd name="T104" fmla="*/ 34 w 102"/>
                  <a:gd name="T105" fmla="*/ 40 h 112"/>
                  <a:gd name="T106" fmla="*/ 24 w 102"/>
                  <a:gd name="T107" fmla="*/ 42 h 112"/>
                  <a:gd name="T108" fmla="*/ 24 w 102"/>
                  <a:gd name="T109" fmla="*/ 44 h 112"/>
                  <a:gd name="T110" fmla="*/ 18 w 102"/>
                  <a:gd name="T111" fmla="*/ 44 h 112"/>
                  <a:gd name="T112" fmla="*/ 0 w 102"/>
                  <a:gd name="T113" fmla="*/ 112 h 112"/>
                  <a:gd name="T114" fmla="*/ 4 w 10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12">
                    <a:moveTo>
                      <a:pt x="4" y="112"/>
                    </a:moveTo>
                    <a:lnTo>
                      <a:pt x="42" y="74"/>
                    </a:lnTo>
                    <a:lnTo>
                      <a:pt x="52" y="68"/>
                    </a:lnTo>
                    <a:lnTo>
                      <a:pt x="54" y="64"/>
                    </a:lnTo>
                    <a:lnTo>
                      <a:pt x="60" y="58"/>
                    </a:lnTo>
                    <a:lnTo>
                      <a:pt x="60" y="56"/>
                    </a:lnTo>
                    <a:lnTo>
                      <a:pt x="58" y="54"/>
                    </a:lnTo>
                    <a:lnTo>
                      <a:pt x="50" y="54"/>
                    </a:lnTo>
                    <a:lnTo>
                      <a:pt x="44" y="52"/>
                    </a:lnTo>
                    <a:lnTo>
                      <a:pt x="42" y="54"/>
                    </a:lnTo>
                    <a:lnTo>
                      <a:pt x="42" y="50"/>
                    </a:lnTo>
                    <a:lnTo>
                      <a:pt x="44" y="48"/>
                    </a:lnTo>
                    <a:lnTo>
                      <a:pt x="48" y="46"/>
                    </a:lnTo>
                    <a:lnTo>
                      <a:pt x="52" y="42"/>
                    </a:lnTo>
                    <a:lnTo>
                      <a:pt x="54" y="42"/>
                    </a:lnTo>
                    <a:lnTo>
                      <a:pt x="56" y="42"/>
                    </a:lnTo>
                    <a:lnTo>
                      <a:pt x="60" y="44"/>
                    </a:lnTo>
                    <a:lnTo>
                      <a:pt x="60" y="44"/>
                    </a:lnTo>
                    <a:lnTo>
                      <a:pt x="62" y="42"/>
                    </a:lnTo>
                    <a:lnTo>
                      <a:pt x="60" y="40"/>
                    </a:lnTo>
                    <a:lnTo>
                      <a:pt x="54" y="38"/>
                    </a:lnTo>
                    <a:lnTo>
                      <a:pt x="58" y="36"/>
                    </a:lnTo>
                    <a:lnTo>
                      <a:pt x="58" y="32"/>
                    </a:lnTo>
                    <a:lnTo>
                      <a:pt x="62" y="26"/>
                    </a:lnTo>
                    <a:lnTo>
                      <a:pt x="68" y="24"/>
                    </a:lnTo>
                    <a:lnTo>
                      <a:pt x="70" y="20"/>
                    </a:lnTo>
                    <a:lnTo>
                      <a:pt x="72" y="20"/>
                    </a:lnTo>
                    <a:lnTo>
                      <a:pt x="74" y="20"/>
                    </a:lnTo>
                    <a:lnTo>
                      <a:pt x="78" y="22"/>
                    </a:lnTo>
                    <a:lnTo>
                      <a:pt x="80" y="24"/>
                    </a:lnTo>
                    <a:lnTo>
                      <a:pt x="80" y="28"/>
                    </a:lnTo>
                    <a:lnTo>
                      <a:pt x="80" y="30"/>
                    </a:lnTo>
                    <a:lnTo>
                      <a:pt x="82" y="30"/>
                    </a:lnTo>
                    <a:lnTo>
                      <a:pt x="88" y="22"/>
                    </a:lnTo>
                    <a:lnTo>
                      <a:pt x="92" y="20"/>
                    </a:lnTo>
                    <a:lnTo>
                      <a:pt x="94" y="16"/>
                    </a:lnTo>
                    <a:lnTo>
                      <a:pt x="96" y="14"/>
                    </a:lnTo>
                    <a:lnTo>
                      <a:pt x="96" y="12"/>
                    </a:lnTo>
                    <a:lnTo>
                      <a:pt x="98" y="12"/>
                    </a:lnTo>
                    <a:lnTo>
                      <a:pt x="102" y="6"/>
                    </a:lnTo>
                    <a:lnTo>
                      <a:pt x="102" y="6"/>
                    </a:lnTo>
                    <a:lnTo>
                      <a:pt x="102" y="4"/>
                    </a:lnTo>
                    <a:lnTo>
                      <a:pt x="100" y="4"/>
                    </a:lnTo>
                    <a:lnTo>
                      <a:pt x="96" y="10"/>
                    </a:lnTo>
                    <a:lnTo>
                      <a:pt x="94" y="8"/>
                    </a:lnTo>
                    <a:lnTo>
                      <a:pt x="92" y="8"/>
                    </a:lnTo>
                    <a:lnTo>
                      <a:pt x="90" y="8"/>
                    </a:lnTo>
                    <a:lnTo>
                      <a:pt x="90" y="6"/>
                    </a:lnTo>
                    <a:lnTo>
                      <a:pt x="84" y="2"/>
                    </a:lnTo>
                    <a:lnTo>
                      <a:pt x="84" y="0"/>
                    </a:lnTo>
                    <a:lnTo>
                      <a:pt x="40" y="36"/>
                    </a:lnTo>
                    <a:lnTo>
                      <a:pt x="34" y="36"/>
                    </a:lnTo>
                    <a:lnTo>
                      <a:pt x="34" y="40"/>
                    </a:lnTo>
                    <a:lnTo>
                      <a:pt x="24" y="42"/>
                    </a:lnTo>
                    <a:lnTo>
                      <a:pt x="24" y="44"/>
                    </a:lnTo>
                    <a:lnTo>
                      <a:pt x="18" y="44"/>
                    </a:lnTo>
                    <a:lnTo>
                      <a:pt x="0" y="112"/>
                    </a:lnTo>
                    <a:lnTo>
                      <a:pt x="4" y="11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00" name="Freeform 158"/>
              <p:cNvSpPr>
                <a:spLocks/>
              </p:cNvSpPr>
              <p:nvPr/>
            </p:nvSpPr>
            <p:spPr bwMode="auto">
              <a:xfrm>
                <a:off x="1560244" y="3557588"/>
                <a:ext cx="175405" cy="177800"/>
              </a:xfrm>
              <a:custGeom>
                <a:avLst/>
                <a:gdLst>
                  <a:gd name="T0" fmla="*/ 4 w 102"/>
                  <a:gd name="T1" fmla="*/ 112 h 112"/>
                  <a:gd name="T2" fmla="*/ 42 w 102"/>
                  <a:gd name="T3" fmla="*/ 74 h 112"/>
                  <a:gd name="T4" fmla="*/ 52 w 102"/>
                  <a:gd name="T5" fmla="*/ 68 h 112"/>
                  <a:gd name="T6" fmla="*/ 54 w 102"/>
                  <a:gd name="T7" fmla="*/ 64 h 112"/>
                  <a:gd name="T8" fmla="*/ 60 w 102"/>
                  <a:gd name="T9" fmla="*/ 58 h 112"/>
                  <a:gd name="T10" fmla="*/ 60 w 102"/>
                  <a:gd name="T11" fmla="*/ 56 h 112"/>
                  <a:gd name="T12" fmla="*/ 58 w 102"/>
                  <a:gd name="T13" fmla="*/ 54 h 112"/>
                  <a:gd name="T14" fmla="*/ 50 w 102"/>
                  <a:gd name="T15" fmla="*/ 54 h 112"/>
                  <a:gd name="T16" fmla="*/ 44 w 102"/>
                  <a:gd name="T17" fmla="*/ 52 h 112"/>
                  <a:gd name="T18" fmla="*/ 42 w 102"/>
                  <a:gd name="T19" fmla="*/ 54 h 112"/>
                  <a:gd name="T20" fmla="*/ 42 w 102"/>
                  <a:gd name="T21" fmla="*/ 50 h 112"/>
                  <a:gd name="T22" fmla="*/ 44 w 102"/>
                  <a:gd name="T23" fmla="*/ 48 h 112"/>
                  <a:gd name="T24" fmla="*/ 48 w 102"/>
                  <a:gd name="T25" fmla="*/ 46 h 112"/>
                  <a:gd name="T26" fmla="*/ 52 w 102"/>
                  <a:gd name="T27" fmla="*/ 42 h 112"/>
                  <a:gd name="T28" fmla="*/ 54 w 102"/>
                  <a:gd name="T29" fmla="*/ 42 h 112"/>
                  <a:gd name="T30" fmla="*/ 56 w 102"/>
                  <a:gd name="T31" fmla="*/ 42 h 112"/>
                  <a:gd name="T32" fmla="*/ 60 w 102"/>
                  <a:gd name="T33" fmla="*/ 44 h 112"/>
                  <a:gd name="T34" fmla="*/ 60 w 102"/>
                  <a:gd name="T35" fmla="*/ 44 h 112"/>
                  <a:gd name="T36" fmla="*/ 62 w 102"/>
                  <a:gd name="T37" fmla="*/ 42 h 112"/>
                  <a:gd name="T38" fmla="*/ 60 w 102"/>
                  <a:gd name="T39" fmla="*/ 40 h 112"/>
                  <a:gd name="T40" fmla="*/ 54 w 102"/>
                  <a:gd name="T41" fmla="*/ 38 h 112"/>
                  <a:gd name="T42" fmla="*/ 58 w 102"/>
                  <a:gd name="T43" fmla="*/ 36 h 112"/>
                  <a:gd name="T44" fmla="*/ 58 w 102"/>
                  <a:gd name="T45" fmla="*/ 32 h 112"/>
                  <a:gd name="T46" fmla="*/ 62 w 102"/>
                  <a:gd name="T47" fmla="*/ 26 h 112"/>
                  <a:gd name="T48" fmla="*/ 68 w 102"/>
                  <a:gd name="T49" fmla="*/ 24 h 112"/>
                  <a:gd name="T50" fmla="*/ 70 w 102"/>
                  <a:gd name="T51" fmla="*/ 20 h 112"/>
                  <a:gd name="T52" fmla="*/ 72 w 102"/>
                  <a:gd name="T53" fmla="*/ 20 h 112"/>
                  <a:gd name="T54" fmla="*/ 74 w 102"/>
                  <a:gd name="T55" fmla="*/ 20 h 112"/>
                  <a:gd name="T56" fmla="*/ 78 w 102"/>
                  <a:gd name="T57" fmla="*/ 22 h 112"/>
                  <a:gd name="T58" fmla="*/ 80 w 102"/>
                  <a:gd name="T59" fmla="*/ 24 h 112"/>
                  <a:gd name="T60" fmla="*/ 80 w 102"/>
                  <a:gd name="T61" fmla="*/ 28 h 112"/>
                  <a:gd name="T62" fmla="*/ 80 w 102"/>
                  <a:gd name="T63" fmla="*/ 30 h 112"/>
                  <a:gd name="T64" fmla="*/ 82 w 102"/>
                  <a:gd name="T65" fmla="*/ 30 h 112"/>
                  <a:gd name="T66" fmla="*/ 88 w 102"/>
                  <a:gd name="T67" fmla="*/ 22 h 112"/>
                  <a:gd name="T68" fmla="*/ 92 w 102"/>
                  <a:gd name="T69" fmla="*/ 20 h 112"/>
                  <a:gd name="T70" fmla="*/ 94 w 102"/>
                  <a:gd name="T71" fmla="*/ 16 h 112"/>
                  <a:gd name="T72" fmla="*/ 96 w 102"/>
                  <a:gd name="T73" fmla="*/ 14 h 112"/>
                  <a:gd name="T74" fmla="*/ 96 w 102"/>
                  <a:gd name="T75" fmla="*/ 12 h 112"/>
                  <a:gd name="T76" fmla="*/ 98 w 102"/>
                  <a:gd name="T77" fmla="*/ 12 h 112"/>
                  <a:gd name="T78" fmla="*/ 102 w 102"/>
                  <a:gd name="T79" fmla="*/ 6 h 112"/>
                  <a:gd name="T80" fmla="*/ 102 w 102"/>
                  <a:gd name="T81" fmla="*/ 6 h 112"/>
                  <a:gd name="T82" fmla="*/ 102 w 102"/>
                  <a:gd name="T83" fmla="*/ 4 h 112"/>
                  <a:gd name="T84" fmla="*/ 100 w 102"/>
                  <a:gd name="T85" fmla="*/ 4 h 112"/>
                  <a:gd name="T86" fmla="*/ 96 w 102"/>
                  <a:gd name="T87" fmla="*/ 10 h 112"/>
                  <a:gd name="T88" fmla="*/ 94 w 102"/>
                  <a:gd name="T89" fmla="*/ 8 h 112"/>
                  <a:gd name="T90" fmla="*/ 92 w 102"/>
                  <a:gd name="T91" fmla="*/ 8 h 112"/>
                  <a:gd name="T92" fmla="*/ 90 w 102"/>
                  <a:gd name="T93" fmla="*/ 8 h 112"/>
                  <a:gd name="T94" fmla="*/ 90 w 102"/>
                  <a:gd name="T95" fmla="*/ 6 h 112"/>
                  <a:gd name="T96" fmla="*/ 84 w 102"/>
                  <a:gd name="T97" fmla="*/ 2 h 112"/>
                  <a:gd name="T98" fmla="*/ 84 w 102"/>
                  <a:gd name="T99" fmla="*/ 0 h 112"/>
                  <a:gd name="T100" fmla="*/ 40 w 102"/>
                  <a:gd name="T101" fmla="*/ 36 h 112"/>
                  <a:gd name="T102" fmla="*/ 34 w 102"/>
                  <a:gd name="T103" fmla="*/ 36 h 112"/>
                  <a:gd name="T104" fmla="*/ 34 w 102"/>
                  <a:gd name="T105" fmla="*/ 40 h 112"/>
                  <a:gd name="T106" fmla="*/ 24 w 102"/>
                  <a:gd name="T107" fmla="*/ 42 h 112"/>
                  <a:gd name="T108" fmla="*/ 24 w 102"/>
                  <a:gd name="T109" fmla="*/ 44 h 112"/>
                  <a:gd name="T110" fmla="*/ 18 w 102"/>
                  <a:gd name="T111" fmla="*/ 44 h 112"/>
                  <a:gd name="T112" fmla="*/ 0 w 102"/>
                  <a:gd name="T113" fmla="*/ 112 h 112"/>
                  <a:gd name="T114" fmla="*/ 4 w 10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12">
                    <a:moveTo>
                      <a:pt x="4" y="112"/>
                    </a:moveTo>
                    <a:lnTo>
                      <a:pt x="42" y="74"/>
                    </a:lnTo>
                    <a:lnTo>
                      <a:pt x="52" y="68"/>
                    </a:lnTo>
                    <a:lnTo>
                      <a:pt x="54" y="64"/>
                    </a:lnTo>
                    <a:lnTo>
                      <a:pt x="60" y="58"/>
                    </a:lnTo>
                    <a:lnTo>
                      <a:pt x="60" y="56"/>
                    </a:lnTo>
                    <a:lnTo>
                      <a:pt x="58" y="54"/>
                    </a:lnTo>
                    <a:lnTo>
                      <a:pt x="50" y="54"/>
                    </a:lnTo>
                    <a:lnTo>
                      <a:pt x="44" y="52"/>
                    </a:lnTo>
                    <a:lnTo>
                      <a:pt x="42" y="54"/>
                    </a:lnTo>
                    <a:lnTo>
                      <a:pt x="42" y="50"/>
                    </a:lnTo>
                    <a:lnTo>
                      <a:pt x="44" y="48"/>
                    </a:lnTo>
                    <a:lnTo>
                      <a:pt x="48" y="46"/>
                    </a:lnTo>
                    <a:lnTo>
                      <a:pt x="52" y="42"/>
                    </a:lnTo>
                    <a:lnTo>
                      <a:pt x="54" y="42"/>
                    </a:lnTo>
                    <a:lnTo>
                      <a:pt x="56" y="42"/>
                    </a:lnTo>
                    <a:lnTo>
                      <a:pt x="60" y="44"/>
                    </a:lnTo>
                    <a:lnTo>
                      <a:pt x="60" y="44"/>
                    </a:lnTo>
                    <a:lnTo>
                      <a:pt x="62" y="42"/>
                    </a:lnTo>
                    <a:lnTo>
                      <a:pt x="60" y="40"/>
                    </a:lnTo>
                    <a:lnTo>
                      <a:pt x="54" y="38"/>
                    </a:lnTo>
                    <a:lnTo>
                      <a:pt x="58" y="36"/>
                    </a:lnTo>
                    <a:lnTo>
                      <a:pt x="58" y="32"/>
                    </a:lnTo>
                    <a:lnTo>
                      <a:pt x="62" y="26"/>
                    </a:lnTo>
                    <a:lnTo>
                      <a:pt x="68" y="24"/>
                    </a:lnTo>
                    <a:lnTo>
                      <a:pt x="70" y="20"/>
                    </a:lnTo>
                    <a:lnTo>
                      <a:pt x="72" y="20"/>
                    </a:lnTo>
                    <a:lnTo>
                      <a:pt x="74" y="20"/>
                    </a:lnTo>
                    <a:lnTo>
                      <a:pt x="78" y="22"/>
                    </a:lnTo>
                    <a:lnTo>
                      <a:pt x="80" y="24"/>
                    </a:lnTo>
                    <a:lnTo>
                      <a:pt x="80" y="28"/>
                    </a:lnTo>
                    <a:lnTo>
                      <a:pt x="80" y="30"/>
                    </a:lnTo>
                    <a:lnTo>
                      <a:pt x="82" y="30"/>
                    </a:lnTo>
                    <a:lnTo>
                      <a:pt x="88" y="22"/>
                    </a:lnTo>
                    <a:lnTo>
                      <a:pt x="92" y="20"/>
                    </a:lnTo>
                    <a:lnTo>
                      <a:pt x="94" y="16"/>
                    </a:lnTo>
                    <a:lnTo>
                      <a:pt x="96" y="14"/>
                    </a:lnTo>
                    <a:lnTo>
                      <a:pt x="96" y="12"/>
                    </a:lnTo>
                    <a:lnTo>
                      <a:pt x="98" y="12"/>
                    </a:lnTo>
                    <a:lnTo>
                      <a:pt x="102" y="6"/>
                    </a:lnTo>
                    <a:lnTo>
                      <a:pt x="102" y="6"/>
                    </a:lnTo>
                    <a:lnTo>
                      <a:pt x="102" y="4"/>
                    </a:lnTo>
                    <a:lnTo>
                      <a:pt x="100" y="4"/>
                    </a:lnTo>
                    <a:lnTo>
                      <a:pt x="96" y="10"/>
                    </a:lnTo>
                    <a:lnTo>
                      <a:pt x="94" y="8"/>
                    </a:lnTo>
                    <a:lnTo>
                      <a:pt x="92" y="8"/>
                    </a:lnTo>
                    <a:lnTo>
                      <a:pt x="90" y="8"/>
                    </a:lnTo>
                    <a:lnTo>
                      <a:pt x="90" y="6"/>
                    </a:lnTo>
                    <a:lnTo>
                      <a:pt x="84" y="2"/>
                    </a:lnTo>
                    <a:lnTo>
                      <a:pt x="84" y="0"/>
                    </a:lnTo>
                    <a:lnTo>
                      <a:pt x="40" y="36"/>
                    </a:lnTo>
                    <a:lnTo>
                      <a:pt x="34" y="36"/>
                    </a:lnTo>
                    <a:lnTo>
                      <a:pt x="34" y="40"/>
                    </a:lnTo>
                    <a:lnTo>
                      <a:pt x="24" y="42"/>
                    </a:lnTo>
                    <a:lnTo>
                      <a:pt x="24" y="44"/>
                    </a:lnTo>
                    <a:lnTo>
                      <a:pt x="18" y="44"/>
                    </a:lnTo>
                    <a:lnTo>
                      <a:pt x="0" y="112"/>
                    </a:lnTo>
                    <a:lnTo>
                      <a:pt x="4" y="11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01" name="Freeform 159"/>
              <p:cNvSpPr>
                <a:spLocks/>
              </p:cNvSpPr>
              <p:nvPr/>
            </p:nvSpPr>
            <p:spPr bwMode="auto">
              <a:xfrm>
                <a:off x="1866344" y="3544888"/>
                <a:ext cx="460869" cy="501650"/>
              </a:xfrm>
              <a:custGeom>
                <a:avLst/>
                <a:gdLst>
                  <a:gd name="T0" fmla="*/ 240 w 268"/>
                  <a:gd name="T1" fmla="*/ 312 h 316"/>
                  <a:gd name="T2" fmla="*/ 234 w 268"/>
                  <a:gd name="T3" fmla="*/ 316 h 316"/>
                  <a:gd name="T4" fmla="*/ 226 w 268"/>
                  <a:gd name="T5" fmla="*/ 306 h 316"/>
                  <a:gd name="T6" fmla="*/ 224 w 268"/>
                  <a:gd name="T7" fmla="*/ 306 h 316"/>
                  <a:gd name="T8" fmla="*/ 222 w 268"/>
                  <a:gd name="T9" fmla="*/ 308 h 316"/>
                  <a:gd name="T10" fmla="*/ 210 w 268"/>
                  <a:gd name="T11" fmla="*/ 298 h 316"/>
                  <a:gd name="T12" fmla="*/ 200 w 268"/>
                  <a:gd name="T13" fmla="*/ 298 h 316"/>
                  <a:gd name="T14" fmla="*/ 178 w 268"/>
                  <a:gd name="T15" fmla="*/ 312 h 316"/>
                  <a:gd name="T16" fmla="*/ 164 w 268"/>
                  <a:gd name="T17" fmla="*/ 316 h 316"/>
                  <a:gd name="T18" fmla="*/ 112 w 268"/>
                  <a:gd name="T19" fmla="*/ 288 h 316"/>
                  <a:gd name="T20" fmla="*/ 86 w 268"/>
                  <a:gd name="T21" fmla="*/ 256 h 316"/>
                  <a:gd name="T22" fmla="*/ 84 w 268"/>
                  <a:gd name="T23" fmla="*/ 254 h 316"/>
                  <a:gd name="T24" fmla="*/ 96 w 268"/>
                  <a:gd name="T25" fmla="*/ 234 h 316"/>
                  <a:gd name="T26" fmla="*/ 96 w 268"/>
                  <a:gd name="T27" fmla="*/ 232 h 316"/>
                  <a:gd name="T28" fmla="*/ 80 w 268"/>
                  <a:gd name="T29" fmla="*/ 222 h 316"/>
                  <a:gd name="T30" fmla="*/ 82 w 268"/>
                  <a:gd name="T31" fmla="*/ 210 h 316"/>
                  <a:gd name="T32" fmla="*/ 56 w 268"/>
                  <a:gd name="T33" fmla="*/ 182 h 316"/>
                  <a:gd name="T34" fmla="*/ 36 w 268"/>
                  <a:gd name="T35" fmla="*/ 140 h 316"/>
                  <a:gd name="T36" fmla="*/ 0 w 268"/>
                  <a:gd name="T37" fmla="*/ 106 h 316"/>
                  <a:gd name="T38" fmla="*/ 0 w 268"/>
                  <a:gd name="T39" fmla="*/ 106 h 316"/>
                  <a:gd name="T40" fmla="*/ 16 w 268"/>
                  <a:gd name="T41" fmla="*/ 64 h 316"/>
                  <a:gd name="T42" fmla="*/ 98 w 268"/>
                  <a:gd name="T43" fmla="*/ 66 h 316"/>
                  <a:gd name="T44" fmla="*/ 110 w 268"/>
                  <a:gd name="T45" fmla="*/ 56 h 316"/>
                  <a:gd name="T46" fmla="*/ 144 w 268"/>
                  <a:gd name="T47" fmla="*/ 8 h 316"/>
                  <a:gd name="T48" fmla="*/ 162 w 268"/>
                  <a:gd name="T49" fmla="*/ 12 h 316"/>
                  <a:gd name="T50" fmla="*/ 180 w 268"/>
                  <a:gd name="T51" fmla="*/ 2 h 316"/>
                  <a:gd name="T52" fmla="*/ 206 w 268"/>
                  <a:gd name="T53" fmla="*/ 0 h 316"/>
                  <a:gd name="T54" fmla="*/ 216 w 268"/>
                  <a:gd name="T55" fmla="*/ 8 h 316"/>
                  <a:gd name="T56" fmla="*/ 238 w 268"/>
                  <a:gd name="T57" fmla="*/ 20 h 316"/>
                  <a:gd name="T58" fmla="*/ 240 w 268"/>
                  <a:gd name="T59" fmla="*/ 28 h 316"/>
                  <a:gd name="T60" fmla="*/ 246 w 268"/>
                  <a:gd name="T61" fmla="*/ 32 h 316"/>
                  <a:gd name="T62" fmla="*/ 252 w 268"/>
                  <a:gd name="T63" fmla="*/ 30 h 316"/>
                  <a:gd name="T64" fmla="*/ 246 w 268"/>
                  <a:gd name="T65" fmla="*/ 46 h 316"/>
                  <a:gd name="T66" fmla="*/ 246 w 268"/>
                  <a:gd name="T67" fmla="*/ 58 h 316"/>
                  <a:gd name="T68" fmla="*/ 250 w 268"/>
                  <a:gd name="T69" fmla="*/ 64 h 316"/>
                  <a:gd name="T70" fmla="*/ 248 w 268"/>
                  <a:gd name="T71" fmla="*/ 76 h 316"/>
                  <a:gd name="T72" fmla="*/ 250 w 268"/>
                  <a:gd name="T73" fmla="*/ 84 h 316"/>
                  <a:gd name="T74" fmla="*/ 268 w 268"/>
                  <a:gd name="T75" fmla="*/ 96 h 316"/>
                  <a:gd name="T76" fmla="*/ 264 w 268"/>
                  <a:gd name="T77" fmla="*/ 98 h 316"/>
                  <a:gd name="T78" fmla="*/ 256 w 268"/>
                  <a:gd name="T79" fmla="*/ 104 h 316"/>
                  <a:gd name="T80" fmla="*/ 254 w 268"/>
                  <a:gd name="T81" fmla="*/ 114 h 316"/>
                  <a:gd name="T82" fmla="*/ 234 w 268"/>
                  <a:gd name="T83" fmla="*/ 124 h 316"/>
                  <a:gd name="T84" fmla="*/ 234 w 268"/>
                  <a:gd name="T85" fmla="*/ 128 h 316"/>
                  <a:gd name="T86" fmla="*/ 228 w 268"/>
                  <a:gd name="T87" fmla="*/ 126 h 316"/>
                  <a:gd name="T88" fmla="*/ 224 w 268"/>
                  <a:gd name="T89" fmla="*/ 128 h 316"/>
                  <a:gd name="T90" fmla="*/ 216 w 268"/>
                  <a:gd name="T91" fmla="*/ 140 h 316"/>
                  <a:gd name="T92" fmla="*/ 212 w 268"/>
                  <a:gd name="T93" fmla="*/ 142 h 316"/>
                  <a:gd name="T94" fmla="*/ 210 w 268"/>
                  <a:gd name="T95" fmla="*/ 142 h 316"/>
                  <a:gd name="T96" fmla="*/ 208 w 268"/>
                  <a:gd name="T97" fmla="*/ 150 h 316"/>
                  <a:gd name="T98" fmla="*/ 210 w 268"/>
                  <a:gd name="T99" fmla="*/ 154 h 316"/>
                  <a:gd name="T100" fmla="*/ 214 w 268"/>
                  <a:gd name="T101" fmla="*/ 156 h 316"/>
                  <a:gd name="T102" fmla="*/ 214 w 268"/>
                  <a:gd name="T103" fmla="*/ 162 h 316"/>
                  <a:gd name="T104" fmla="*/ 216 w 268"/>
                  <a:gd name="T105" fmla="*/ 166 h 316"/>
                  <a:gd name="T106" fmla="*/ 216 w 268"/>
                  <a:gd name="T107" fmla="*/ 174 h 316"/>
                  <a:gd name="T108" fmla="*/ 214 w 268"/>
                  <a:gd name="T109" fmla="*/ 180 h 316"/>
                  <a:gd name="T110" fmla="*/ 232 w 268"/>
                  <a:gd name="T111" fmla="*/ 208 h 316"/>
                  <a:gd name="T112" fmla="*/ 238 w 268"/>
                  <a:gd name="T113" fmla="*/ 214 h 316"/>
                  <a:gd name="T114" fmla="*/ 240 w 268"/>
                  <a:gd name="T115" fmla="*/ 246 h 316"/>
                  <a:gd name="T116" fmla="*/ 226 w 268"/>
                  <a:gd name="T117" fmla="*/ 268 h 316"/>
                  <a:gd name="T118" fmla="*/ 232 w 268"/>
                  <a:gd name="T119" fmla="*/ 276 h 316"/>
                  <a:gd name="T120" fmla="*/ 228 w 268"/>
                  <a:gd name="T121" fmla="*/ 286 h 316"/>
                  <a:gd name="T122" fmla="*/ 232 w 268"/>
                  <a:gd name="T123" fmla="*/ 298 h 316"/>
                  <a:gd name="T124" fmla="*/ 240 w 268"/>
                  <a:gd name="T125" fmla="*/ 31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316">
                    <a:moveTo>
                      <a:pt x="240" y="312"/>
                    </a:moveTo>
                    <a:lnTo>
                      <a:pt x="234" y="316"/>
                    </a:lnTo>
                    <a:lnTo>
                      <a:pt x="226" y="306"/>
                    </a:lnTo>
                    <a:lnTo>
                      <a:pt x="224" y="306"/>
                    </a:lnTo>
                    <a:lnTo>
                      <a:pt x="222" y="308"/>
                    </a:lnTo>
                    <a:lnTo>
                      <a:pt x="210" y="298"/>
                    </a:lnTo>
                    <a:lnTo>
                      <a:pt x="200" y="298"/>
                    </a:lnTo>
                    <a:lnTo>
                      <a:pt x="178" y="312"/>
                    </a:lnTo>
                    <a:lnTo>
                      <a:pt x="164" y="316"/>
                    </a:lnTo>
                    <a:lnTo>
                      <a:pt x="112" y="288"/>
                    </a:lnTo>
                    <a:lnTo>
                      <a:pt x="86" y="256"/>
                    </a:lnTo>
                    <a:lnTo>
                      <a:pt x="84" y="254"/>
                    </a:lnTo>
                    <a:lnTo>
                      <a:pt x="96" y="234"/>
                    </a:lnTo>
                    <a:lnTo>
                      <a:pt x="96" y="232"/>
                    </a:lnTo>
                    <a:lnTo>
                      <a:pt x="80" y="222"/>
                    </a:lnTo>
                    <a:lnTo>
                      <a:pt x="82" y="210"/>
                    </a:lnTo>
                    <a:lnTo>
                      <a:pt x="56" y="182"/>
                    </a:lnTo>
                    <a:lnTo>
                      <a:pt x="36" y="140"/>
                    </a:lnTo>
                    <a:lnTo>
                      <a:pt x="0" y="106"/>
                    </a:lnTo>
                    <a:lnTo>
                      <a:pt x="0" y="106"/>
                    </a:lnTo>
                    <a:lnTo>
                      <a:pt x="16" y="64"/>
                    </a:lnTo>
                    <a:lnTo>
                      <a:pt x="98" y="66"/>
                    </a:lnTo>
                    <a:lnTo>
                      <a:pt x="110" y="56"/>
                    </a:lnTo>
                    <a:lnTo>
                      <a:pt x="144" y="8"/>
                    </a:lnTo>
                    <a:lnTo>
                      <a:pt x="162" y="12"/>
                    </a:lnTo>
                    <a:lnTo>
                      <a:pt x="180" y="2"/>
                    </a:lnTo>
                    <a:lnTo>
                      <a:pt x="206" y="0"/>
                    </a:lnTo>
                    <a:lnTo>
                      <a:pt x="216" y="8"/>
                    </a:lnTo>
                    <a:lnTo>
                      <a:pt x="238" y="20"/>
                    </a:lnTo>
                    <a:lnTo>
                      <a:pt x="240" y="28"/>
                    </a:lnTo>
                    <a:lnTo>
                      <a:pt x="246" y="32"/>
                    </a:lnTo>
                    <a:lnTo>
                      <a:pt x="252" y="30"/>
                    </a:lnTo>
                    <a:lnTo>
                      <a:pt x="246" y="46"/>
                    </a:lnTo>
                    <a:lnTo>
                      <a:pt x="246" y="58"/>
                    </a:lnTo>
                    <a:lnTo>
                      <a:pt x="250" y="64"/>
                    </a:lnTo>
                    <a:lnTo>
                      <a:pt x="248" y="76"/>
                    </a:lnTo>
                    <a:lnTo>
                      <a:pt x="250" y="84"/>
                    </a:lnTo>
                    <a:lnTo>
                      <a:pt x="268" y="96"/>
                    </a:lnTo>
                    <a:lnTo>
                      <a:pt x="264" y="98"/>
                    </a:lnTo>
                    <a:lnTo>
                      <a:pt x="256" y="104"/>
                    </a:lnTo>
                    <a:lnTo>
                      <a:pt x="254" y="114"/>
                    </a:lnTo>
                    <a:lnTo>
                      <a:pt x="234" y="124"/>
                    </a:lnTo>
                    <a:lnTo>
                      <a:pt x="234" y="128"/>
                    </a:lnTo>
                    <a:lnTo>
                      <a:pt x="228" y="126"/>
                    </a:lnTo>
                    <a:lnTo>
                      <a:pt x="224" y="128"/>
                    </a:lnTo>
                    <a:lnTo>
                      <a:pt x="216" y="140"/>
                    </a:lnTo>
                    <a:lnTo>
                      <a:pt x="212" y="142"/>
                    </a:lnTo>
                    <a:lnTo>
                      <a:pt x="210" y="142"/>
                    </a:lnTo>
                    <a:lnTo>
                      <a:pt x="208" y="150"/>
                    </a:lnTo>
                    <a:lnTo>
                      <a:pt x="210" y="154"/>
                    </a:lnTo>
                    <a:lnTo>
                      <a:pt x="214" y="156"/>
                    </a:lnTo>
                    <a:lnTo>
                      <a:pt x="214" y="162"/>
                    </a:lnTo>
                    <a:lnTo>
                      <a:pt x="216" y="166"/>
                    </a:lnTo>
                    <a:lnTo>
                      <a:pt x="216" y="174"/>
                    </a:lnTo>
                    <a:lnTo>
                      <a:pt x="214" y="180"/>
                    </a:lnTo>
                    <a:lnTo>
                      <a:pt x="232" y="208"/>
                    </a:lnTo>
                    <a:lnTo>
                      <a:pt x="238" y="214"/>
                    </a:lnTo>
                    <a:lnTo>
                      <a:pt x="240" y="246"/>
                    </a:lnTo>
                    <a:lnTo>
                      <a:pt x="226" y="268"/>
                    </a:lnTo>
                    <a:lnTo>
                      <a:pt x="232" y="276"/>
                    </a:lnTo>
                    <a:lnTo>
                      <a:pt x="228" y="286"/>
                    </a:lnTo>
                    <a:lnTo>
                      <a:pt x="232" y="298"/>
                    </a:lnTo>
                    <a:lnTo>
                      <a:pt x="240" y="31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02" name="Freeform 160"/>
              <p:cNvSpPr>
                <a:spLocks/>
              </p:cNvSpPr>
              <p:nvPr/>
            </p:nvSpPr>
            <p:spPr bwMode="auto">
              <a:xfrm>
                <a:off x="1866344" y="3544888"/>
                <a:ext cx="460869" cy="501650"/>
              </a:xfrm>
              <a:custGeom>
                <a:avLst/>
                <a:gdLst>
                  <a:gd name="T0" fmla="*/ 240 w 268"/>
                  <a:gd name="T1" fmla="*/ 312 h 316"/>
                  <a:gd name="T2" fmla="*/ 234 w 268"/>
                  <a:gd name="T3" fmla="*/ 316 h 316"/>
                  <a:gd name="T4" fmla="*/ 226 w 268"/>
                  <a:gd name="T5" fmla="*/ 306 h 316"/>
                  <a:gd name="T6" fmla="*/ 224 w 268"/>
                  <a:gd name="T7" fmla="*/ 306 h 316"/>
                  <a:gd name="T8" fmla="*/ 222 w 268"/>
                  <a:gd name="T9" fmla="*/ 308 h 316"/>
                  <a:gd name="T10" fmla="*/ 210 w 268"/>
                  <a:gd name="T11" fmla="*/ 298 h 316"/>
                  <a:gd name="T12" fmla="*/ 200 w 268"/>
                  <a:gd name="T13" fmla="*/ 298 h 316"/>
                  <a:gd name="T14" fmla="*/ 178 w 268"/>
                  <a:gd name="T15" fmla="*/ 312 h 316"/>
                  <a:gd name="T16" fmla="*/ 164 w 268"/>
                  <a:gd name="T17" fmla="*/ 316 h 316"/>
                  <a:gd name="T18" fmla="*/ 112 w 268"/>
                  <a:gd name="T19" fmla="*/ 288 h 316"/>
                  <a:gd name="T20" fmla="*/ 86 w 268"/>
                  <a:gd name="T21" fmla="*/ 256 h 316"/>
                  <a:gd name="T22" fmla="*/ 84 w 268"/>
                  <a:gd name="T23" fmla="*/ 254 h 316"/>
                  <a:gd name="T24" fmla="*/ 96 w 268"/>
                  <a:gd name="T25" fmla="*/ 234 h 316"/>
                  <a:gd name="T26" fmla="*/ 96 w 268"/>
                  <a:gd name="T27" fmla="*/ 232 h 316"/>
                  <a:gd name="T28" fmla="*/ 80 w 268"/>
                  <a:gd name="T29" fmla="*/ 222 h 316"/>
                  <a:gd name="T30" fmla="*/ 82 w 268"/>
                  <a:gd name="T31" fmla="*/ 210 h 316"/>
                  <a:gd name="T32" fmla="*/ 56 w 268"/>
                  <a:gd name="T33" fmla="*/ 182 h 316"/>
                  <a:gd name="T34" fmla="*/ 36 w 268"/>
                  <a:gd name="T35" fmla="*/ 140 h 316"/>
                  <a:gd name="T36" fmla="*/ 0 w 268"/>
                  <a:gd name="T37" fmla="*/ 106 h 316"/>
                  <a:gd name="T38" fmla="*/ 0 w 268"/>
                  <a:gd name="T39" fmla="*/ 106 h 316"/>
                  <a:gd name="T40" fmla="*/ 16 w 268"/>
                  <a:gd name="T41" fmla="*/ 64 h 316"/>
                  <a:gd name="T42" fmla="*/ 98 w 268"/>
                  <a:gd name="T43" fmla="*/ 66 h 316"/>
                  <a:gd name="T44" fmla="*/ 110 w 268"/>
                  <a:gd name="T45" fmla="*/ 56 h 316"/>
                  <a:gd name="T46" fmla="*/ 144 w 268"/>
                  <a:gd name="T47" fmla="*/ 8 h 316"/>
                  <a:gd name="T48" fmla="*/ 162 w 268"/>
                  <a:gd name="T49" fmla="*/ 12 h 316"/>
                  <a:gd name="T50" fmla="*/ 180 w 268"/>
                  <a:gd name="T51" fmla="*/ 2 h 316"/>
                  <a:gd name="T52" fmla="*/ 206 w 268"/>
                  <a:gd name="T53" fmla="*/ 0 h 316"/>
                  <a:gd name="T54" fmla="*/ 216 w 268"/>
                  <a:gd name="T55" fmla="*/ 8 h 316"/>
                  <a:gd name="T56" fmla="*/ 238 w 268"/>
                  <a:gd name="T57" fmla="*/ 20 h 316"/>
                  <a:gd name="T58" fmla="*/ 240 w 268"/>
                  <a:gd name="T59" fmla="*/ 28 h 316"/>
                  <a:gd name="T60" fmla="*/ 246 w 268"/>
                  <a:gd name="T61" fmla="*/ 32 h 316"/>
                  <a:gd name="T62" fmla="*/ 252 w 268"/>
                  <a:gd name="T63" fmla="*/ 30 h 316"/>
                  <a:gd name="T64" fmla="*/ 246 w 268"/>
                  <a:gd name="T65" fmla="*/ 46 h 316"/>
                  <a:gd name="T66" fmla="*/ 246 w 268"/>
                  <a:gd name="T67" fmla="*/ 58 h 316"/>
                  <a:gd name="T68" fmla="*/ 250 w 268"/>
                  <a:gd name="T69" fmla="*/ 64 h 316"/>
                  <a:gd name="T70" fmla="*/ 248 w 268"/>
                  <a:gd name="T71" fmla="*/ 76 h 316"/>
                  <a:gd name="T72" fmla="*/ 250 w 268"/>
                  <a:gd name="T73" fmla="*/ 84 h 316"/>
                  <a:gd name="T74" fmla="*/ 268 w 268"/>
                  <a:gd name="T75" fmla="*/ 96 h 316"/>
                  <a:gd name="T76" fmla="*/ 264 w 268"/>
                  <a:gd name="T77" fmla="*/ 98 h 316"/>
                  <a:gd name="T78" fmla="*/ 256 w 268"/>
                  <a:gd name="T79" fmla="*/ 104 h 316"/>
                  <a:gd name="T80" fmla="*/ 254 w 268"/>
                  <a:gd name="T81" fmla="*/ 114 h 316"/>
                  <a:gd name="T82" fmla="*/ 234 w 268"/>
                  <a:gd name="T83" fmla="*/ 124 h 316"/>
                  <a:gd name="T84" fmla="*/ 234 w 268"/>
                  <a:gd name="T85" fmla="*/ 128 h 316"/>
                  <a:gd name="T86" fmla="*/ 228 w 268"/>
                  <a:gd name="T87" fmla="*/ 126 h 316"/>
                  <a:gd name="T88" fmla="*/ 224 w 268"/>
                  <a:gd name="T89" fmla="*/ 128 h 316"/>
                  <a:gd name="T90" fmla="*/ 216 w 268"/>
                  <a:gd name="T91" fmla="*/ 140 h 316"/>
                  <a:gd name="T92" fmla="*/ 212 w 268"/>
                  <a:gd name="T93" fmla="*/ 142 h 316"/>
                  <a:gd name="T94" fmla="*/ 210 w 268"/>
                  <a:gd name="T95" fmla="*/ 142 h 316"/>
                  <a:gd name="T96" fmla="*/ 208 w 268"/>
                  <a:gd name="T97" fmla="*/ 150 h 316"/>
                  <a:gd name="T98" fmla="*/ 210 w 268"/>
                  <a:gd name="T99" fmla="*/ 154 h 316"/>
                  <a:gd name="T100" fmla="*/ 214 w 268"/>
                  <a:gd name="T101" fmla="*/ 156 h 316"/>
                  <a:gd name="T102" fmla="*/ 214 w 268"/>
                  <a:gd name="T103" fmla="*/ 162 h 316"/>
                  <a:gd name="T104" fmla="*/ 216 w 268"/>
                  <a:gd name="T105" fmla="*/ 166 h 316"/>
                  <a:gd name="T106" fmla="*/ 216 w 268"/>
                  <a:gd name="T107" fmla="*/ 174 h 316"/>
                  <a:gd name="T108" fmla="*/ 214 w 268"/>
                  <a:gd name="T109" fmla="*/ 180 h 316"/>
                  <a:gd name="T110" fmla="*/ 232 w 268"/>
                  <a:gd name="T111" fmla="*/ 208 h 316"/>
                  <a:gd name="T112" fmla="*/ 238 w 268"/>
                  <a:gd name="T113" fmla="*/ 214 h 316"/>
                  <a:gd name="T114" fmla="*/ 240 w 268"/>
                  <a:gd name="T115" fmla="*/ 246 h 316"/>
                  <a:gd name="T116" fmla="*/ 226 w 268"/>
                  <a:gd name="T117" fmla="*/ 268 h 316"/>
                  <a:gd name="T118" fmla="*/ 232 w 268"/>
                  <a:gd name="T119" fmla="*/ 276 h 316"/>
                  <a:gd name="T120" fmla="*/ 228 w 268"/>
                  <a:gd name="T121" fmla="*/ 286 h 316"/>
                  <a:gd name="T122" fmla="*/ 232 w 268"/>
                  <a:gd name="T123" fmla="*/ 298 h 316"/>
                  <a:gd name="T124" fmla="*/ 240 w 268"/>
                  <a:gd name="T125" fmla="*/ 31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316">
                    <a:moveTo>
                      <a:pt x="240" y="312"/>
                    </a:moveTo>
                    <a:lnTo>
                      <a:pt x="234" y="316"/>
                    </a:lnTo>
                    <a:lnTo>
                      <a:pt x="226" y="306"/>
                    </a:lnTo>
                    <a:lnTo>
                      <a:pt x="224" y="306"/>
                    </a:lnTo>
                    <a:lnTo>
                      <a:pt x="222" y="308"/>
                    </a:lnTo>
                    <a:lnTo>
                      <a:pt x="210" y="298"/>
                    </a:lnTo>
                    <a:lnTo>
                      <a:pt x="200" y="298"/>
                    </a:lnTo>
                    <a:lnTo>
                      <a:pt x="178" y="312"/>
                    </a:lnTo>
                    <a:lnTo>
                      <a:pt x="164" y="316"/>
                    </a:lnTo>
                    <a:lnTo>
                      <a:pt x="112" y="288"/>
                    </a:lnTo>
                    <a:lnTo>
                      <a:pt x="86" y="256"/>
                    </a:lnTo>
                    <a:lnTo>
                      <a:pt x="84" y="254"/>
                    </a:lnTo>
                    <a:lnTo>
                      <a:pt x="96" y="234"/>
                    </a:lnTo>
                    <a:lnTo>
                      <a:pt x="96" y="232"/>
                    </a:lnTo>
                    <a:lnTo>
                      <a:pt x="80" y="222"/>
                    </a:lnTo>
                    <a:lnTo>
                      <a:pt x="82" y="210"/>
                    </a:lnTo>
                    <a:lnTo>
                      <a:pt x="56" y="182"/>
                    </a:lnTo>
                    <a:lnTo>
                      <a:pt x="36" y="140"/>
                    </a:lnTo>
                    <a:lnTo>
                      <a:pt x="0" y="106"/>
                    </a:lnTo>
                    <a:lnTo>
                      <a:pt x="0" y="106"/>
                    </a:lnTo>
                    <a:lnTo>
                      <a:pt x="16" y="64"/>
                    </a:lnTo>
                    <a:lnTo>
                      <a:pt x="98" y="66"/>
                    </a:lnTo>
                    <a:lnTo>
                      <a:pt x="110" y="56"/>
                    </a:lnTo>
                    <a:lnTo>
                      <a:pt x="144" y="8"/>
                    </a:lnTo>
                    <a:lnTo>
                      <a:pt x="162" y="12"/>
                    </a:lnTo>
                    <a:lnTo>
                      <a:pt x="180" y="2"/>
                    </a:lnTo>
                    <a:lnTo>
                      <a:pt x="206" y="0"/>
                    </a:lnTo>
                    <a:lnTo>
                      <a:pt x="216" y="8"/>
                    </a:lnTo>
                    <a:lnTo>
                      <a:pt x="238" y="20"/>
                    </a:lnTo>
                    <a:lnTo>
                      <a:pt x="240" y="28"/>
                    </a:lnTo>
                    <a:lnTo>
                      <a:pt x="246" y="32"/>
                    </a:lnTo>
                    <a:lnTo>
                      <a:pt x="252" y="30"/>
                    </a:lnTo>
                    <a:lnTo>
                      <a:pt x="246" y="46"/>
                    </a:lnTo>
                    <a:lnTo>
                      <a:pt x="246" y="58"/>
                    </a:lnTo>
                    <a:lnTo>
                      <a:pt x="250" y="64"/>
                    </a:lnTo>
                    <a:lnTo>
                      <a:pt x="248" y="76"/>
                    </a:lnTo>
                    <a:lnTo>
                      <a:pt x="250" y="84"/>
                    </a:lnTo>
                    <a:lnTo>
                      <a:pt x="268" y="96"/>
                    </a:lnTo>
                    <a:lnTo>
                      <a:pt x="264" y="98"/>
                    </a:lnTo>
                    <a:lnTo>
                      <a:pt x="256" y="104"/>
                    </a:lnTo>
                    <a:lnTo>
                      <a:pt x="254" y="114"/>
                    </a:lnTo>
                    <a:lnTo>
                      <a:pt x="234" y="124"/>
                    </a:lnTo>
                    <a:lnTo>
                      <a:pt x="234" y="128"/>
                    </a:lnTo>
                    <a:lnTo>
                      <a:pt x="228" y="126"/>
                    </a:lnTo>
                    <a:lnTo>
                      <a:pt x="224" y="128"/>
                    </a:lnTo>
                    <a:lnTo>
                      <a:pt x="216" y="140"/>
                    </a:lnTo>
                    <a:lnTo>
                      <a:pt x="212" y="142"/>
                    </a:lnTo>
                    <a:lnTo>
                      <a:pt x="210" y="142"/>
                    </a:lnTo>
                    <a:lnTo>
                      <a:pt x="208" y="150"/>
                    </a:lnTo>
                    <a:lnTo>
                      <a:pt x="210" y="154"/>
                    </a:lnTo>
                    <a:lnTo>
                      <a:pt x="214" y="156"/>
                    </a:lnTo>
                    <a:lnTo>
                      <a:pt x="214" y="162"/>
                    </a:lnTo>
                    <a:lnTo>
                      <a:pt x="216" y="166"/>
                    </a:lnTo>
                    <a:lnTo>
                      <a:pt x="216" y="174"/>
                    </a:lnTo>
                    <a:lnTo>
                      <a:pt x="214" y="180"/>
                    </a:lnTo>
                    <a:lnTo>
                      <a:pt x="232" y="208"/>
                    </a:lnTo>
                    <a:lnTo>
                      <a:pt x="238" y="214"/>
                    </a:lnTo>
                    <a:lnTo>
                      <a:pt x="240" y="246"/>
                    </a:lnTo>
                    <a:lnTo>
                      <a:pt x="226" y="268"/>
                    </a:lnTo>
                    <a:lnTo>
                      <a:pt x="232" y="276"/>
                    </a:lnTo>
                    <a:lnTo>
                      <a:pt x="228" y="286"/>
                    </a:lnTo>
                    <a:lnTo>
                      <a:pt x="232" y="298"/>
                    </a:lnTo>
                    <a:lnTo>
                      <a:pt x="240" y="31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03" name="Freeform 163"/>
              <p:cNvSpPr>
                <a:spLocks/>
              </p:cNvSpPr>
              <p:nvPr/>
            </p:nvSpPr>
            <p:spPr bwMode="auto">
              <a:xfrm>
                <a:off x="2347849" y="3370263"/>
                <a:ext cx="99740" cy="177800"/>
              </a:xfrm>
              <a:custGeom>
                <a:avLst/>
                <a:gdLst>
                  <a:gd name="T0" fmla="*/ 16 w 58"/>
                  <a:gd name="T1" fmla="*/ 64 h 112"/>
                  <a:gd name="T2" fmla="*/ 12 w 58"/>
                  <a:gd name="T3" fmla="*/ 54 h 112"/>
                  <a:gd name="T4" fmla="*/ 10 w 58"/>
                  <a:gd name="T5" fmla="*/ 50 h 112"/>
                  <a:gd name="T6" fmla="*/ 8 w 58"/>
                  <a:gd name="T7" fmla="*/ 44 h 112"/>
                  <a:gd name="T8" fmla="*/ 2 w 58"/>
                  <a:gd name="T9" fmla="*/ 34 h 112"/>
                  <a:gd name="T10" fmla="*/ 0 w 58"/>
                  <a:gd name="T11" fmla="*/ 28 h 112"/>
                  <a:gd name="T12" fmla="*/ 8 w 58"/>
                  <a:gd name="T13" fmla="*/ 12 h 112"/>
                  <a:gd name="T14" fmla="*/ 6 w 58"/>
                  <a:gd name="T15" fmla="*/ 4 h 112"/>
                  <a:gd name="T16" fmla="*/ 6 w 58"/>
                  <a:gd name="T17" fmla="*/ 0 h 112"/>
                  <a:gd name="T18" fmla="*/ 16 w 58"/>
                  <a:gd name="T19" fmla="*/ 6 h 112"/>
                  <a:gd name="T20" fmla="*/ 20 w 58"/>
                  <a:gd name="T21" fmla="*/ 4 h 112"/>
                  <a:gd name="T22" fmla="*/ 28 w 58"/>
                  <a:gd name="T23" fmla="*/ 8 h 112"/>
                  <a:gd name="T24" fmla="*/ 32 w 58"/>
                  <a:gd name="T25" fmla="*/ 8 h 112"/>
                  <a:gd name="T26" fmla="*/ 38 w 58"/>
                  <a:gd name="T27" fmla="*/ 14 h 112"/>
                  <a:gd name="T28" fmla="*/ 48 w 58"/>
                  <a:gd name="T29" fmla="*/ 14 h 112"/>
                  <a:gd name="T30" fmla="*/ 48 w 58"/>
                  <a:gd name="T31" fmla="*/ 14 h 112"/>
                  <a:gd name="T32" fmla="*/ 48 w 58"/>
                  <a:gd name="T33" fmla="*/ 18 h 112"/>
                  <a:gd name="T34" fmla="*/ 50 w 58"/>
                  <a:gd name="T35" fmla="*/ 26 h 112"/>
                  <a:gd name="T36" fmla="*/ 54 w 58"/>
                  <a:gd name="T37" fmla="*/ 28 h 112"/>
                  <a:gd name="T38" fmla="*/ 56 w 58"/>
                  <a:gd name="T39" fmla="*/ 32 h 112"/>
                  <a:gd name="T40" fmla="*/ 54 w 58"/>
                  <a:gd name="T41" fmla="*/ 36 h 112"/>
                  <a:gd name="T42" fmla="*/ 50 w 58"/>
                  <a:gd name="T43" fmla="*/ 38 h 112"/>
                  <a:gd name="T44" fmla="*/ 48 w 58"/>
                  <a:gd name="T45" fmla="*/ 40 h 112"/>
                  <a:gd name="T46" fmla="*/ 48 w 58"/>
                  <a:gd name="T47" fmla="*/ 44 h 112"/>
                  <a:gd name="T48" fmla="*/ 50 w 58"/>
                  <a:gd name="T49" fmla="*/ 52 h 112"/>
                  <a:gd name="T50" fmla="*/ 54 w 58"/>
                  <a:gd name="T51" fmla="*/ 60 h 112"/>
                  <a:gd name="T52" fmla="*/ 52 w 58"/>
                  <a:gd name="T53" fmla="*/ 64 h 112"/>
                  <a:gd name="T54" fmla="*/ 48 w 58"/>
                  <a:gd name="T55" fmla="*/ 66 h 112"/>
                  <a:gd name="T56" fmla="*/ 44 w 58"/>
                  <a:gd name="T57" fmla="*/ 64 h 112"/>
                  <a:gd name="T58" fmla="*/ 44 w 58"/>
                  <a:gd name="T59" fmla="*/ 68 h 112"/>
                  <a:gd name="T60" fmla="*/ 46 w 58"/>
                  <a:gd name="T61" fmla="*/ 76 h 112"/>
                  <a:gd name="T62" fmla="*/ 50 w 58"/>
                  <a:gd name="T63" fmla="*/ 84 h 112"/>
                  <a:gd name="T64" fmla="*/ 54 w 58"/>
                  <a:gd name="T65" fmla="*/ 86 h 112"/>
                  <a:gd name="T66" fmla="*/ 58 w 58"/>
                  <a:gd name="T67" fmla="*/ 88 h 112"/>
                  <a:gd name="T68" fmla="*/ 54 w 58"/>
                  <a:gd name="T69" fmla="*/ 90 h 112"/>
                  <a:gd name="T70" fmla="*/ 52 w 58"/>
                  <a:gd name="T71" fmla="*/ 94 h 112"/>
                  <a:gd name="T72" fmla="*/ 52 w 58"/>
                  <a:gd name="T73" fmla="*/ 98 h 112"/>
                  <a:gd name="T74" fmla="*/ 50 w 58"/>
                  <a:gd name="T75" fmla="*/ 100 h 112"/>
                  <a:gd name="T76" fmla="*/ 46 w 58"/>
                  <a:gd name="T77" fmla="*/ 100 h 112"/>
                  <a:gd name="T78" fmla="*/ 46 w 58"/>
                  <a:gd name="T79" fmla="*/ 108 h 112"/>
                  <a:gd name="T80" fmla="*/ 46 w 58"/>
                  <a:gd name="T81" fmla="*/ 112 h 112"/>
                  <a:gd name="T82" fmla="*/ 32 w 58"/>
                  <a:gd name="T83" fmla="*/ 104 h 112"/>
                  <a:gd name="T84" fmla="*/ 38 w 58"/>
                  <a:gd name="T85" fmla="*/ 94 h 112"/>
                  <a:gd name="T86" fmla="*/ 38 w 58"/>
                  <a:gd name="T87" fmla="*/ 80 h 112"/>
                  <a:gd name="T88" fmla="*/ 34 w 58"/>
                  <a:gd name="T89" fmla="*/ 78 h 112"/>
                  <a:gd name="T90" fmla="*/ 30 w 58"/>
                  <a:gd name="T91" fmla="*/ 78 h 112"/>
                  <a:gd name="T92" fmla="*/ 26 w 58"/>
                  <a:gd name="T93" fmla="*/ 76 h 112"/>
                  <a:gd name="T94" fmla="*/ 24 w 58"/>
                  <a:gd name="T95" fmla="*/ 72 h 112"/>
                  <a:gd name="T96" fmla="*/ 24 w 58"/>
                  <a:gd name="T97" fmla="*/ 68 h 112"/>
                  <a:gd name="T98" fmla="*/ 20 w 58"/>
                  <a:gd name="T99" fmla="*/ 66 h 112"/>
                  <a:gd name="T100" fmla="*/ 16 w 58"/>
                  <a:gd name="T101"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 h="112">
                    <a:moveTo>
                      <a:pt x="16" y="64"/>
                    </a:moveTo>
                    <a:lnTo>
                      <a:pt x="12" y="54"/>
                    </a:lnTo>
                    <a:lnTo>
                      <a:pt x="10" y="50"/>
                    </a:lnTo>
                    <a:lnTo>
                      <a:pt x="8" y="44"/>
                    </a:lnTo>
                    <a:lnTo>
                      <a:pt x="2" y="34"/>
                    </a:lnTo>
                    <a:lnTo>
                      <a:pt x="0" y="28"/>
                    </a:lnTo>
                    <a:lnTo>
                      <a:pt x="8" y="12"/>
                    </a:lnTo>
                    <a:lnTo>
                      <a:pt x="6" y="4"/>
                    </a:lnTo>
                    <a:lnTo>
                      <a:pt x="6" y="0"/>
                    </a:lnTo>
                    <a:lnTo>
                      <a:pt x="16" y="6"/>
                    </a:lnTo>
                    <a:lnTo>
                      <a:pt x="20" y="4"/>
                    </a:lnTo>
                    <a:lnTo>
                      <a:pt x="28" y="8"/>
                    </a:lnTo>
                    <a:lnTo>
                      <a:pt x="32" y="8"/>
                    </a:lnTo>
                    <a:lnTo>
                      <a:pt x="38" y="14"/>
                    </a:lnTo>
                    <a:lnTo>
                      <a:pt x="48" y="14"/>
                    </a:lnTo>
                    <a:lnTo>
                      <a:pt x="48" y="14"/>
                    </a:lnTo>
                    <a:lnTo>
                      <a:pt x="48" y="18"/>
                    </a:lnTo>
                    <a:lnTo>
                      <a:pt x="50" y="26"/>
                    </a:lnTo>
                    <a:lnTo>
                      <a:pt x="54" y="28"/>
                    </a:lnTo>
                    <a:lnTo>
                      <a:pt x="56" y="32"/>
                    </a:lnTo>
                    <a:lnTo>
                      <a:pt x="54" y="36"/>
                    </a:lnTo>
                    <a:lnTo>
                      <a:pt x="50" y="38"/>
                    </a:lnTo>
                    <a:lnTo>
                      <a:pt x="48" y="40"/>
                    </a:lnTo>
                    <a:lnTo>
                      <a:pt x="48" y="44"/>
                    </a:lnTo>
                    <a:lnTo>
                      <a:pt x="50" y="52"/>
                    </a:lnTo>
                    <a:lnTo>
                      <a:pt x="54" y="60"/>
                    </a:lnTo>
                    <a:lnTo>
                      <a:pt x="52" y="64"/>
                    </a:lnTo>
                    <a:lnTo>
                      <a:pt x="48" y="66"/>
                    </a:lnTo>
                    <a:lnTo>
                      <a:pt x="44" y="64"/>
                    </a:lnTo>
                    <a:lnTo>
                      <a:pt x="44" y="68"/>
                    </a:lnTo>
                    <a:lnTo>
                      <a:pt x="46" y="76"/>
                    </a:lnTo>
                    <a:lnTo>
                      <a:pt x="50" y="84"/>
                    </a:lnTo>
                    <a:lnTo>
                      <a:pt x="54" y="86"/>
                    </a:lnTo>
                    <a:lnTo>
                      <a:pt x="58" y="88"/>
                    </a:lnTo>
                    <a:lnTo>
                      <a:pt x="54" y="90"/>
                    </a:lnTo>
                    <a:lnTo>
                      <a:pt x="52" y="94"/>
                    </a:lnTo>
                    <a:lnTo>
                      <a:pt x="52" y="98"/>
                    </a:lnTo>
                    <a:lnTo>
                      <a:pt x="50" y="100"/>
                    </a:lnTo>
                    <a:lnTo>
                      <a:pt x="46" y="100"/>
                    </a:lnTo>
                    <a:lnTo>
                      <a:pt x="46" y="108"/>
                    </a:lnTo>
                    <a:lnTo>
                      <a:pt x="46" y="112"/>
                    </a:lnTo>
                    <a:lnTo>
                      <a:pt x="32" y="104"/>
                    </a:lnTo>
                    <a:lnTo>
                      <a:pt x="38" y="94"/>
                    </a:lnTo>
                    <a:lnTo>
                      <a:pt x="38" y="80"/>
                    </a:lnTo>
                    <a:lnTo>
                      <a:pt x="34" y="78"/>
                    </a:lnTo>
                    <a:lnTo>
                      <a:pt x="30" y="78"/>
                    </a:lnTo>
                    <a:lnTo>
                      <a:pt x="26" y="76"/>
                    </a:lnTo>
                    <a:lnTo>
                      <a:pt x="24" y="72"/>
                    </a:lnTo>
                    <a:lnTo>
                      <a:pt x="24" y="68"/>
                    </a:lnTo>
                    <a:lnTo>
                      <a:pt x="20" y="66"/>
                    </a:lnTo>
                    <a:lnTo>
                      <a:pt x="16" y="6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04" name="Freeform 164"/>
              <p:cNvSpPr>
                <a:spLocks/>
              </p:cNvSpPr>
              <p:nvPr/>
            </p:nvSpPr>
            <p:spPr bwMode="auto">
              <a:xfrm>
                <a:off x="2347849" y="3370263"/>
                <a:ext cx="99740" cy="177800"/>
              </a:xfrm>
              <a:custGeom>
                <a:avLst/>
                <a:gdLst>
                  <a:gd name="T0" fmla="*/ 16 w 58"/>
                  <a:gd name="T1" fmla="*/ 64 h 112"/>
                  <a:gd name="T2" fmla="*/ 12 w 58"/>
                  <a:gd name="T3" fmla="*/ 54 h 112"/>
                  <a:gd name="T4" fmla="*/ 10 w 58"/>
                  <a:gd name="T5" fmla="*/ 50 h 112"/>
                  <a:gd name="T6" fmla="*/ 8 w 58"/>
                  <a:gd name="T7" fmla="*/ 44 h 112"/>
                  <a:gd name="T8" fmla="*/ 2 w 58"/>
                  <a:gd name="T9" fmla="*/ 34 h 112"/>
                  <a:gd name="T10" fmla="*/ 0 w 58"/>
                  <a:gd name="T11" fmla="*/ 28 h 112"/>
                  <a:gd name="T12" fmla="*/ 8 w 58"/>
                  <a:gd name="T13" fmla="*/ 12 h 112"/>
                  <a:gd name="T14" fmla="*/ 6 w 58"/>
                  <a:gd name="T15" fmla="*/ 4 h 112"/>
                  <a:gd name="T16" fmla="*/ 6 w 58"/>
                  <a:gd name="T17" fmla="*/ 0 h 112"/>
                  <a:gd name="T18" fmla="*/ 16 w 58"/>
                  <a:gd name="T19" fmla="*/ 6 h 112"/>
                  <a:gd name="T20" fmla="*/ 20 w 58"/>
                  <a:gd name="T21" fmla="*/ 4 h 112"/>
                  <a:gd name="T22" fmla="*/ 28 w 58"/>
                  <a:gd name="T23" fmla="*/ 8 h 112"/>
                  <a:gd name="T24" fmla="*/ 32 w 58"/>
                  <a:gd name="T25" fmla="*/ 8 h 112"/>
                  <a:gd name="T26" fmla="*/ 38 w 58"/>
                  <a:gd name="T27" fmla="*/ 14 h 112"/>
                  <a:gd name="T28" fmla="*/ 48 w 58"/>
                  <a:gd name="T29" fmla="*/ 14 h 112"/>
                  <a:gd name="T30" fmla="*/ 48 w 58"/>
                  <a:gd name="T31" fmla="*/ 14 h 112"/>
                  <a:gd name="T32" fmla="*/ 48 w 58"/>
                  <a:gd name="T33" fmla="*/ 18 h 112"/>
                  <a:gd name="T34" fmla="*/ 50 w 58"/>
                  <a:gd name="T35" fmla="*/ 26 h 112"/>
                  <a:gd name="T36" fmla="*/ 54 w 58"/>
                  <a:gd name="T37" fmla="*/ 28 h 112"/>
                  <a:gd name="T38" fmla="*/ 56 w 58"/>
                  <a:gd name="T39" fmla="*/ 32 h 112"/>
                  <a:gd name="T40" fmla="*/ 54 w 58"/>
                  <a:gd name="T41" fmla="*/ 36 h 112"/>
                  <a:gd name="T42" fmla="*/ 50 w 58"/>
                  <a:gd name="T43" fmla="*/ 38 h 112"/>
                  <a:gd name="T44" fmla="*/ 48 w 58"/>
                  <a:gd name="T45" fmla="*/ 40 h 112"/>
                  <a:gd name="T46" fmla="*/ 48 w 58"/>
                  <a:gd name="T47" fmla="*/ 44 h 112"/>
                  <a:gd name="T48" fmla="*/ 50 w 58"/>
                  <a:gd name="T49" fmla="*/ 52 h 112"/>
                  <a:gd name="T50" fmla="*/ 54 w 58"/>
                  <a:gd name="T51" fmla="*/ 60 h 112"/>
                  <a:gd name="T52" fmla="*/ 52 w 58"/>
                  <a:gd name="T53" fmla="*/ 64 h 112"/>
                  <a:gd name="T54" fmla="*/ 48 w 58"/>
                  <a:gd name="T55" fmla="*/ 66 h 112"/>
                  <a:gd name="T56" fmla="*/ 44 w 58"/>
                  <a:gd name="T57" fmla="*/ 64 h 112"/>
                  <a:gd name="T58" fmla="*/ 44 w 58"/>
                  <a:gd name="T59" fmla="*/ 68 h 112"/>
                  <a:gd name="T60" fmla="*/ 46 w 58"/>
                  <a:gd name="T61" fmla="*/ 76 h 112"/>
                  <a:gd name="T62" fmla="*/ 50 w 58"/>
                  <a:gd name="T63" fmla="*/ 84 h 112"/>
                  <a:gd name="T64" fmla="*/ 54 w 58"/>
                  <a:gd name="T65" fmla="*/ 86 h 112"/>
                  <a:gd name="T66" fmla="*/ 58 w 58"/>
                  <a:gd name="T67" fmla="*/ 88 h 112"/>
                  <a:gd name="T68" fmla="*/ 54 w 58"/>
                  <a:gd name="T69" fmla="*/ 90 h 112"/>
                  <a:gd name="T70" fmla="*/ 52 w 58"/>
                  <a:gd name="T71" fmla="*/ 94 h 112"/>
                  <a:gd name="T72" fmla="*/ 52 w 58"/>
                  <a:gd name="T73" fmla="*/ 98 h 112"/>
                  <a:gd name="T74" fmla="*/ 50 w 58"/>
                  <a:gd name="T75" fmla="*/ 100 h 112"/>
                  <a:gd name="T76" fmla="*/ 46 w 58"/>
                  <a:gd name="T77" fmla="*/ 100 h 112"/>
                  <a:gd name="T78" fmla="*/ 46 w 58"/>
                  <a:gd name="T79" fmla="*/ 108 h 112"/>
                  <a:gd name="T80" fmla="*/ 46 w 58"/>
                  <a:gd name="T81" fmla="*/ 112 h 112"/>
                  <a:gd name="T82" fmla="*/ 32 w 58"/>
                  <a:gd name="T83" fmla="*/ 104 h 112"/>
                  <a:gd name="T84" fmla="*/ 38 w 58"/>
                  <a:gd name="T85" fmla="*/ 94 h 112"/>
                  <a:gd name="T86" fmla="*/ 38 w 58"/>
                  <a:gd name="T87" fmla="*/ 80 h 112"/>
                  <a:gd name="T88" fmla="*/ 34 w 58"/>
                  <a:gd name="T89" fmla="*/ 78 h 112"/>
                  <a:gd name="T90" fmla="*/ 30 w 58"/>
                  <a:gd name="T91" fmla="*/ 78 h 112"/>
                  <a:gd name="T92" fmla="*/ 26 w 58"/>
                  <a:gd name="T93" fmla="*/ 76 h 112"/>
                  <a:gd name="T94" fmla="*/ 24 w 58"/>
                  <a:gd name="T95" fmla="*/ 72 h 112"/>
                  <a:gd name="T96" fmla="*/ 24 w 58"/>
                  <a:gd name="T97" fmla="*/ 68 h 112"/>
                  <a:gd name="T98" fmla="*/ 20 w 58"/>
                  <a:gd name="T99" fmla="*/ 66 h 112"/>
                  <a:gd name="T100" fmla="*/ 16 w 58"/>
                  <a:gd name="T101"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 h="112">
                    <a:moveTo>
                      <a:pt x="16" y="64"/>
                    </a:moveTo>
                    <a:lnTo>
                      <a:pt x="12" y="54"/>
                    </a:lnTo>
                    <a:lnTo>
                      <a:pt x="10" y="50"/>
                    </a:lnTo>
                    <a:lnTo>
                      <a:pt x="8" y="44"/>
                    </a:lnTo>
                    <a:lnTo>
                      <a:pt x="2" y="34"/>
                    </a:lnTo>
                    <a:lnTo>
                      <a:pt x="0" y="28"/>
                    </a:lnTo>
                    <a:lnTo>
                      <a:pt x="8" y="12"/>
                    </a:lnTo>
                    <a:lnTo>
                      <a:pt x="6" y="4"/>
                    </a:lnTo>
                    <a:lnTo>
                      <a:pt x="6" y="0"/>
                    </a:lnTo>
                    <a:lnTo>
                      <a:pt x="16" y="6"/>
                    </a:lnTo>
                    <a:lnTo>
                      <a:pt x="20" y="4"/>
                    </a:lnTo>
                    <a:lnTo>
                      <a:pt x="28" y="8"/>
                    </a:lnTo>
                    <a:lnTo>
                      <a:pt x="32" y="8"/>
                    </a:lnTo>
                    <a:lnTo>
                      <a:pt x="38" y="14"/>
                    </a:lnTo>
                    <a:lnTo>
                      <a:pt x="48" y="14"/>
                    </a:lnTo>
                    <a:lnTo>
                      <a:pt x="48" y="14"/>
                    </a:lnTo>
                    <a:lnTo>
                      <a:pt x="48" y="18"/>
                    </a:lnTo>
                    <a:lnTo>
                      <a:pt x="50" y="26"/>
                    </a:lnTo>
                    <a:lnTo>
                      <a:pt x="54" y="28"/>
                    </a:lnTo>
                    <a:lnTo>
                      <a:pt x="56" y="32"/>
                    </a:lnTo>
                    <a:lnTo>
                      <a:pt x="54" y="36"/>
                    </a:lnTo>
                    <a:lnTo>
                      <a:pt x="50" y="38"/>
                    </a:lnTo>
                    <a:lnTo>
                      <a:pt x="48" y="40"/>
                    </a:lnTo>
                    <a:lnTo>
                      <a:pt x="48" y="44"/>
                    </a:lnTo>
                    <a:lnTo>
                      <a:pt x="50" y="52"/>
                    </a:lnTo>
                    <a:lnTo>
                      <a:pt x="54" y="60"/>
                    </a:lnTo>
                    <a:lnTo>
                      <a:pt x="52" y="64"/>
                    </a:lnTo>
                    <a:lnTo>
                      <a:pt x="48" y="66"/>
                    </a:lnTo>
                    <a:lnTo>
                      <a:pt x="44" y="64"/>
                    </a:lnTo>
                    <a:lnTo>
                      <a:pt x="44" y="68"/>
                    </a:lnTo>
                    <a:lnTo>
                      <a:pt x="46" y="76"/>
                    </a:lnTo>
                    <a:lnTo>
                      <a:pt x="50" y="84"/>
                    </a:lnTo>
                    <a:lnTo>
                      <a:pt x="54" y="86"/>
                    </a:lnTo>
                    <a:lnTo>
                      <a:pt x="58" y="88"/>
                    </a:lnTo>
                    <a:lnTo>
                      <a:pt x="54" y="90"/>
                    </a:lnTo>
                    <a:lnTo>
                      <a:pt x="52" y="94"/>
                    </a:lnTo>
                    <a:lnTo>
                      <a:pt x="52" y="98"/>
                    </a:lnTo>
                    <a:lnTo>
                      <a:pt x="50" y="100"/>
                    </a:lnTo>
                    <a:lnTo>
                      <a:pt x="46" y="100"/>
                    </a:lnTo>
                    <a:lnTo>
                      <a:pt x="46" y="108"/>
                    </a:lnTo>
                    <a:lnTo>
                      <a:pt x="46" y="112"/>
                    </a:lnTo>
                    <a:lnTo>
                      <a:pt x="32" y="104"/>
                    </a:lnTo>
                    <a:lnTo>
                      <a:pt x="38" y="94"/>
                    </a:lnTo>
                    <a:lnTo>
                      <a:pt x="38" y="80"/>
                    </a:lnTo>
                    <a:lnTo>
                      <a:pt x="34" y="78"/>
                    </a:lnTo>
                    <a:lnTo>
                      <a:pt x="30" y="78"/>
                    </a:lnTo>
                    <a:lnTo>
                      <a:pt x="26" y="76"/>
                    </a:lnTo>
                    <a:lnTo>
                      <a:pt x="24" y="72"/>
                    </a:lnTo>
                    <a:lnTo>
                      <a:pt x="24" y="68"/>
                    </a:lnTo>
                    <a:lnTo>
                      <a:pt x="20" y="66"/>
                    </a:lnTo>
                    <a:lnTo>
                      <a:pt x="16" y="6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05" name="Freeform 165"/>
              <p:cNvSpPr>
                <a:spLocks/>
              </p:cNvSpPr>
              <p:nvPr/>
            </p:nvSpPr>
            <p:spPr bwMode="auto">
              <a:xfrm>
                <a:off x="3603200" y="3824288"/>
                <a:ext cx="10318" cy="9525"/>
              </a:xfrm>
              <a:custGeom>
                <a:avLst/>
                <a:gdLst>
                  <a:gd name="T0" fmla="*/ 6 w 6"/>
                  <a:gd name="T1" fmla="*/ 4 h 6"/>
                  <a:gd name="T2" fmla="*/ 4 w 6"/>
                  <a:gd name="T3" fmla="*/ 0 h 6"/>
                  <a:gd name="T4" fmla="*/ 0 w 6"/>
                  <a:gd name="T5" fmla="*/ 0 h 6"/>
                  <a:gd name="T6" fmla="*/ 0 w 6"/>
                  <a:gd name="T7" fmla="*/ 4 h 6"/>
                  <a:gd name="T8" fmla="*/ 4 w 6"/>
                  <a:gd name="T9" fmla="*/ 6 h 6"/>
                  <a:gd name="T10" fmla="*/ 6 w 6"/>
                  <a:gd name="T11" fmla="*/ 4 h 6"/>
                </a:gdLst>
                <a:ahLst/>
                <a:cxnLst>
                  <a:cxn ang="0">
                    <a:pos x="T0" y="T1"/>
                  </a:cxn>
                  <a:cxn ang="0">
                    <a:pos x="T2" y="T3"/>
                  </a:cxn>
                  <a:cxn ang="0">
                    <a:pos x="T4" y="T5"/>
                  </a:cxn>
                  <a:cxn ang="0">
                    <a:pos x="T6" y="T7"/>
                  </a:cxn>
                  <a:cxn ang="0">
                    <a:pos x="T8" y="T9"/>
                  </a:cxn>
                  <a:cxn ang="0">
                    <a:pos x="T10" y="T11"/>
                  </a:cxn>
                </a:cxnLst>
                <a:rect l="0" t="0" r="r" b="b"/>
                <a:pathLst>
                  <a:path w="6" h="6">
                    <a:moveTo>
                      <a:pt x="6" y="4"/>
                    </a:moveTo>
                    <a:lnTo>
                      <a:pt x="4" y="0"/>
                    </a:lnTo>
                    <a:lnTo>
                      <a:pt x="0" y="0"/>
                    </a:lnTo>
                    <a:lnTo>
                      <a:pt x="0" y="4"/>
                    </a:lnTo>
                    <a:lnTo>
                      <a:pt x="4" y="6"/>
                    </a:lnTo>
                    <a:lnTo>
                      <a:pt x="6"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06" name="Freeform 166"/>
              <p:cNvSpPr>
                <a:spLocks/>
              </p:cNvSpPr>
              <p:nvPr/>
            </p:nvSpPr>
            <p:spPr bwMode="auto">
              <a:xfrm>
                <a:off x="3603200" y="3824288"/>
                <a:ext cx="10318" cy="9525"/>
              </a:xfrm>
              <a:custGeom>
                <a:avLst/>
                <a:gdLst>
                  <a:gd name="T0" fmla="*/ 6 w 6"/>
                  <a:gd name="T1" fmla="*/ 4 h 6"/>
                  <a:gd name="T2" fmla="*/ 4 w 6"/>
                  <a:gd name="T3" fmla="*/ 0 h 6"/>
                  <a:gd name="T4" fmla="*/ 0 w 6"/>
                  <a:gd name="T5" fmla="*/ 0 h 6"/>
                  <a:gd name="T6" fmla="*/ 0 w 6"/>
                  <a:gd name="T7" fmla="*/ 4 h 6"/>
                  <a:gd name="T8" fmla="*/ 4 w 6"/>
                  <a:gd name="T9" fmla="*/ 6 h 6"/>
                  <a:gd name="T10" fmla="*/ 6 w 6"/>
                  <a:gd name="T11" fmla="*/ 4 h 6"/>
                </a:gdLst>
                <a:ahLst/>
                <a:cxnLst>
                  <a:cxn ang="0">
                    <a:pos x="T0" y="T1"/>
                  </a:cxn>
                  <a:cxn ang="0">
                    <a:pos x="T2" y="T3"/>
                  </a:cxn>
                  <a:cxn ang="0">
                    <a:pos x="T4" y="T5"/>
                  </a:cxn>
                  <a:cxn ang="0">
                    <a:pos x="T6" y="T7"/>
                  </a:cxn>
                  <a:cxn ang="0">
                    <a:pos x="T8" y="T9"/>
                  </a:cxn>
                  <a:cxn ang="0">
                    <a:pos x="T10" y="T11"/>
                  </a:cxn>
                </a:cxnLst>
                <a:rect l="0" t="0" r="r" b="b"/>
                <a:pathLst>
                  <a:path w="6" h="6">
                    <a:moveTo>
                      <a:pt x="6" y="4"/>
                    </a:moveTo>
                    <a:lnTo>
                      <a:pt x="4" y="0"/>
                    </a:lnTo>
                    <a:lnTo>
                      <a:pt x="0" y="0"/>
                    </a:lnTo>
                    <a:lnTo>
                      <a:pt x="0" y="4"/>
                    </a:lnTo>
                    <a:lnTo>
                      <a:pt x="4" y="6"/>
                    </a:lnTo>
                    <a:lnTo>
                      <a:pt x="6"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07" name="Freeform 167"/>
              <p:cNvSpPr>
                <a:spLocks/>
              </p:cNvSpPr>
              <p:nvPr/>
            </p:nvSpPr>
            <p:spPr bwMode="auto">
              <a:xfrm>
                <a:off x="6671073" y="2547938"/>
                <a:ext cx="230434" cy="311150"/>
              </a:xfrm>
              <a:custGeom>
                <a:avLst/>
                <a:gdLst>
                  <a:gd name="T0" fmla="*/ 94 w 134"/>
                  <a:gd name="T1" fmla="*/ 2 h 196"/>
                  <a:gd name="T2" fmla="*/ 106 w 134"/>
                  <a:gd name="T3" fmla="*/ 18 h 196"/>
                  <a:gd name="T4" fmla="*/ 118 w 134"/>
                  <a:gd name="T5" fmla="*/ 20 h 196"/>
                  <a:gd name="T6" fmla="*/ 128 w 134"/>
                  <a:gd name="T7" fmla="*/ 20 h 196"/>
                  <a:gd name="T8" fmla="*/ 134 w 134"/>
                  <a:gd name="T9" fmla="*/ 18 h 196"/>
                  <a:gd name="T10" fmla="*/ 128 w 134"/>
                  <a:gd name="T11" fmla="*/ 44 h 196"/>
                  <a:gd name="T12" fmla="*/ 126 w 134"/>
                  <a:gd name="T13" fmla="*/ 50 h 196"/>
                  <a:gd name="T14" fmla="*/ 116 w 134"/>
                  <a:gd name="T15" fmla="*/ 64 h 196"/>
                  <a:gd name="T16" fmla="*/ 122 w 134"/>
                  <a:gd name="T17" fmla="*/ 98 h 196"/>
                  <a:gd name="T18" fmla="*/ 128 w 134"/>
                  <a:gd name="T19" fmla="*/ 112 h 196"/>
                  <a:gd name="T20" fmla="*/ 78 w 134"/>
                  <a:gd name="T21" fmla="*/ 130 h 196"/>
                  <a:gd name="T22" fmla="*/ 76 w 134"/>
                  <a:gd name="T23" fmla="*/ 144 h 196"/>
                  <a:gd name="T24" fmla="*/ 64 w 134"/>
                  <a:gd name="T25" fmla="*/ 150 h 196"/>
                  <a:gd name="T26" fmla="*/ 62 w 134"/>
                  <a:gd name="T27" fmla="*/ 164 h 196"/>
                  <a:gd name="T28" fmla="*/ 80 w 134"/>
                  <a:gd name="T29" fmla="*/ 162 h 196"/>
                  <a:gd name="T30" fmla="*/ 94 w 134"/>
                  <a:gd name="T31" fmla="*/ 166 h 196"/>
                  <a:gd name="T32" fmla="*/ 84 w 134"/>
                  <a:gd name="T33" fmla="*/ 180 h 196"/>
                  <a:gd name="T34" fmla="*/ 84 w 134"/>
                  <a:gd name="T35" fmla="*/ 194 h 196"/>
                  <a:gd name="T36" fmla="*/ 76 w 134"/>
                  <a:gd name="T37" fmla="*/ 194 h 196"/>
                  <a:gd name="T38" fmla="*/ 54 w 134"/>
                  <a:gd name="T39" fmla="*/ 178 h 196"/>
                  <a:gd name="T40" fmla="*/ 46 w 134"/>
                  <a:gd name="T41" fmla="*/ 160 h 196"/>
                  <a:gd name="T42" fmla="*/ 46 w 134"/>
                  <a:gd name="T43" fmla="*/ 144 h 196"/>
                  <a:gd name="T44" fmla="*/ 38 w 134"/>
                  <a:gd name="T45" fmla="*/ 138 h 196"/>
                  <a:gd name="T46" fmla="*/ 48 w 134"/>
                  <a:gd name="T47" fmla="*/ 126 h 196"/>
                  <a:gd name="T48" fmla="*/ 52 w 134"/>
                  <a:gd name="T49" fmla="*/ 110 h 196"/>
                  <a:gd name="T50" fmla="*/ 42 w 134"/>
                  <a:gd name="T51" fmla="*/ 96 h 196"/>
                  <a:gd name="T52" fmla="*/ 4 w 134"/>
                  <a:gd name="T53" fmla="*/ 56 h 196"/>
                  <a:gd name="T54" fmla="*/ 0 w 134"/>
                  <a:gd name="T55" fmla="*/ 42 h 196"/>
                  <a:gd name="T56" fmla="*/ 6 w 134"/>
                  <a:gd name="T57" fmla="*/ 40 h 196"/>
                  <a:gd name="T58" fmla="*/ 50 w 134"/>
                  <a:gd name="T59" fmla="*/ 44 h 196"/>
                  <a:gd name="T60" fmla="*/ 84 w 134"/>
                  <a:gd name="T61" fmla="*/ 30 h 196"/>
                  <a:gd name="T62" fmla="*/ 94 w 134"/>
                  <a:gd name="T63" fmla="*/ 26 h 196"/>
                  <a:gd name="T64" fmla="*/ 96 w 134"/>
                  <a:gd name="T65" fmla="*/ 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196">
                    <a:moveTo>
                      <a:pt x="96" y="12"/>
                    </a:moveTo>
                    <a:lnTo>
                      <a:pt x="94" y="2"/>
                    </a:lnTo>
                    <a:lnTo>
                      <a:pt x="98" y="0"/>
                    </a:lnTo>
                    <a:lnTo>
                      <a:pt x="106" y="18"/>
                    </a:lnTo>
                    <a:lnTo>
                      <a:pt x="112" y="22"/>
                    </a:lnTo>
                    <a:lnTo>
                      <a:pt x="118" y="20"/>
                    </a:lnTo>
                    <a:lnTo>
                      <a:pt x="124" y="26"/>
                    </a:lnTo>
                    <a:lnTo>
                      <a:pt x="128" y="20"/>
                    </a:lnTo>
                    <a:lnTo>
                      <a:pt x="130" y="12"/>
                    </a:lnTo>
                    <a:lnTo>
                      <a:pt x="134" y="18"/>
                    </a:lnTo>
                    <a:lnTo>
                      <a:pt x="130" y="40"/>
                    </a:lnTo>
                    <a:lnTo>
                      <a:pt x="128" y="44"/>
                    </a:lnTo>
                    <a:lnTo>
                      <a:pt x="126" y="44"/>
                    </a:lnTo>
                    <a:lnTo>
                      <a:pt x="126" y="50"/>
                    </a:lnTo>
                    <a:lnTo>
                      <a:pt x="120" y="56"/>
                    </a:lnTo>
                    <a:lnTo>
                      <a:pt x="116" y="64"/>
                    </a:lnTo>
                    <a:lnTo>
                      <a:pt x="114" y="74"/>
                    </a:lnTo>
                    <a:lnTo>
                      <a:pt x="122" y="98"/>
                    </a:lnTo>
                    <a:lnTo>
                      <a:pt x="126" y="106"/>
                    </a:lnTo>
                    <a:lnTo>
                      <a:pt x="128" y="112"/>
                    </a:lnTo>
                    <a:lnTo>
                      <a:pt x="86" y="124"/>
                    </a:lnTo>
                    <a:lnTo>
                      <a:pt x="78" y="130"/>
                    </a:lnTo>
                    <a:lnTo>
                      <a:pt x="76" y="138"/>
                    </a:lnTo>
                    <a:lnTo>
                      <a:pt x="76" y="144"/>
                    </a:lnTo>
                    <a:lnTo>
                      <a:pt x="72" y="148"/>
                    </a:lnTo>
                    <a:lnTo>
                      <a:pt x="64" y="150"/>
                    </a:lnTo>
                    <a:lnTo>
                      <a:pt x="60" y="156"/>
                    </a:lnTo>
                    <a:lnTo>
                      <a:pt x="62" y="164"/>
                    </a:lnTo>
                    <a:lnTo>
                      <a:pt x="68" y="166"/>
                    </a:lnTo>
                    <a:lnTo>
                      <a:pt x="80" y="162"/>
                    </a:lnTo>
                    <a:lnTo>
                      <a:pt x="92" y="162"/>
                    </a:lnTo>
                    <a:lnTo>
                      <a:pt x="94" y="166"/>
                    </a:lnTo>
                    <a:lnTo>
                      <a:pt x="86" y="174"/>
                    </a:lnTo>
                    <a:lnTo>
                      <a:pt x="84" y="180"/>
                    </a:lnTo>
                    <a:lnTo>
                      <a:pt x="86" y="186"/>
                    </a:lnTo>
                    <a:lnTo>
                      <a:pt x="84" y="194"/>
                    </a:lnTo>
                    <a:lnTo>
                      <a:pt x="80" y="196"/>
                    </a:lnTo>
                    <a:lnTo>
                      <a:pt x="76" y="194"/>
                    </a:lnTo>
                    <a:lnTo>
                      <a:pt x="66" y="178"/>
                    </a:lnTo>
                    <a:lnTo>
                      <a:pt x="54" y="178"/>
                    </a:lnTo>
                    <a:lnTo>
                      <a:pt x="46" y="168"/>
                    </a:lnTo>
                    <a:lnTo>
                      <a:pt x="46" y="160"/>
                    </a:lnTo>
                    <a:lnTo>
                      <a:pt x="48" y="152"/>
                    </a:lnTo>
                    <a:lnTo>
                      <a:pt x="46" y="144"/>
                    </a:lnTo>
                    <a:lnTo>
                      <a:pt x="44" y="138"/>
                    </a:lnTo>
                    <a:lnTo>
                      <a:pt x="38" y="138"/>
                    </a:lnTo>
                    <a:lnTo>
                      <a:pt x="36" y="134"/>
                    </a:lnTo>
                    <a:lnTo>
                      <a:pt x="48" y="126"/>
                    </a:lnTo>
                    <a:lnTo>
                      <a:pt x="56" y="118"/>
                    </a:lnTo>
                    <a:lnTo>
                      <a:pt x="52" y="110"/>
                    </a:lnTo>
                    <a:lnTo>
                      <a:pt x="42" y="100"/>
                    </a:lnTo>
                    <a:lnTo>
                      <a:pt x="42" y="96"/>
                    </a:lnTo>
                    <a:lnTo>
                      <a:pt x="20" y="64"/>
                    </a:lnTo>
                    <a:lnTo>
                      <a:pt x="4" y="56"/>
                    </a:lnTo>
                    <a:lnTo>
                      <a:pt x="0" y="52"/>
                    </a:lnTo>
                    <a:lnTo>
                      <a:pt x="0" y="42"/>
                    </a:lnTo>
                    <a:lnTo>
                      <a:pt x="0" y="40"/>
                    </a:lnTo>
                    <a:lnTo>
                      <a:pt x="6" y="40"/>
                    </a:lnTo>
                    <a:lnTo>
                      <a:pt x="10" y="42"/>
                    </a:lnTo>
                    <a:lnTo>
                      <a:pt x="50" y="44"/>
                    </a:lnTo>
                    <a:lnTo>
                      <a:pt x="74" y="36"/>
                    </a:lnTo>
                    <a:lnTo>
                      <a:pt x="84" y="30"/>
                    </a:lnTo>
                    <a:lnTo>
                      <a:pt x="88" y="30"/>
                    </a:lnTo>
                    <a:lnTo>
                      <a:pt x="94" y="26"/>
                    </a:lnTo>
                    <a:lnTo>
                      <a:pt x="96" y="22"/>
                    </a:lnTo>
                    <a:lnTo>
                      <a:pt x="96" y="1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08" name="Freeform 168"/>
              <p:cNvSpPr>
                <a:spLocks/>
              </p:cNvSpPr>
              <p:nvPr/>
            </p:nvSpPr>
            <p:spPr bwMode="auto">
              <a:xfrm>
                <a:off x="6671073" y="2547938"/>
                <a:ext cx="230434" cy="311150"/>
              </a:xfrm>
              <a:custGeom>
                <a:avLst/>
                <a:gdLst>
                  <a:gd name="T0" fmla="*/ 94 w 134"/>
                  <a:gd name="T1" fmla="*/ 2 h 196"/>
                  <a:gd name="T2" fmla="*/ 106 w 134"/>
                  <a:gd name="T3" fmla="*/ 18 h 196"/>
                  <a:gd name="T4" fmla="*/ 118 w 134"/>
                  <a:gd name="T5" fmla="*/ 20 h 196"/>
                  <a:gd name="T6" fmla="*/ 128 w 134"/>
                  <a:gd name="T7" fmla="*/ 20 h 196"/>
                  <a:gd name="T8" fmla="*/ 134 w 134"/>
                  <a:gd name="T9" fmla="*/ 18 h 196"/>
                  <a:gd name="T10" fmla="*/ 128 w 134"/>
                  <a:gd name="T11" fmla="*/ 44 h 196"/>
                  <a:gd name="T12" fmla="*/ 126 w 134"/>
                  <a:gd name="T13" fmla="*/ 50 h 196"/>
                  <a:gd name="T14" fmla="*/ 116 w 134"/>
                  <a:gd name="T15" fmla="*/ 64 h 196"/>
                  <a:gd name="T16" fmla="*/ 122 w 134"/>
                  <a:gd name="T17" fmla="*/ 98 h 196"/>
                  <a:gd name="T18" fmla="*/ 128 w 134"/>
                  <a:gd name="T19" fmla="*/ 112 h 196"/>
                  <a:gd name="T20" fmla="*/ 78 w 134"/>
                  <a:gd name="T21" fmla="*/ 130 h 196"/>
                  <a:gd name="T22" fmla="*/ 76 w 134"/>
                  <a:gd name="T23" fmla="*/ 144 h 196"/>
                  <a:gd name="T24" fmla="*/ 64 w 134"/>
                  <a:gd name="T25" fmla="*/ 150 h 196"/>
                  <a:gd name="T26" fmla="*/ 62 w 134"/>
                  <a:gd name="T27" fmla="*/ 164 h 196"/>
                  <a:gd name="T28" fmla="*/ 80 w 134"/>
                  <a:gd name="T29" fmla="*/ 162 h 196"/>
                  <a:gd name="T30" fmla="*/ 94 w 134"/>
                  <a:gd name="T31" fmla="*/ 166 h 196"/>
                  <a:gd name="T32" fmla="*/ 84 w 134"/>
                  <a:gd name="T33" fmla="*/ 180 h 196"/>
                  <a:gd name="T34" fmla="*/ 84 w 134"/>
                  <a:gd name="T35" fmla="*/ 194 h 196"/>
                  <a:gd name="T36" fmla="*/ 76 w 134"/>
                  <a:gd name="T37" fmla="*/ 194 h 196"/>
                  <a:gd name="T38" fmla="*/ 54 w 134"/>
                  <a:gd name="T39" fmla="*/ 178 h 196"/>
                  <a:gd name="T40" fmla="*/ 46 w 134"/>
                  <a:gd name="T41" fmla="*/ 160 h 196"/>
                  <a:gd name="T42" fmla="*/ 46 w 134"/>
                  <a:gd name="T43" fmla="*/ 144 h 196"/>
                  <a:gd name="T44" fmla="*/ 38 w 134"/>
                  <a:gd name="T45" fmla="*/ 138 h 196"/>
                  <a:gd name="T46" fmla="*/ 48 w 134"/>
                  <a:gd name="T47" fmla="*/ 126 h 196"/>
                  <a:gd name="T48" fmla="*/ 52 w 134"/>
                  <a:gd name="T49" fmla="*/ 110 h 196"/>
                  <a:gd name="T50" fmla="*/ 42 w 134"/>
                  <a:gd name="T51" fmla="*/ 96 h 196"/>
                  <a:gd name="T52" fmla="*/ 4 w 134"/>
                  <a:gd name="T53" fmla="*/ 56 h 196"/>
                  <a:gd name="T54" fmla="*/ 0 w 134"/>
                  <a:gd name="T55" fmla="*/ 42 h 196"/>
                  <a:gd name="T56" fmla="*/ 6 w 134"/>
                  <a:gd name="T57" fmla="*/ 40 h 196"/>
                  <a:gd name="T58" fmla="*/ 50 w 134"/>
                  <a:gd name="T59" fmla="*/ 44 h 196"/>
                  <a:gd name="T60" fmla="*/ 84 w 134"/>
                  <a:gd name="T61" fmla="*/ 30 h 196"/>
                  <a:gd name="T62" fmla="*/ 94 w 134"/>
                  <a:gd name="T63" fmla="*/ 26 h 196"/>
                  <a:gd name="T64" fmla="*/ 96 w 134"/>
                  <a:gd name="T65" fmla="*/ 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196">
                    <a:moveTo>
                      <a:pt x="96" y="12"/>
                    </a:moveTo>
                    <a:lnTo>
                      <a:pt x="94" y="2"/>
                    </a:lnTo>
                    <a:lnTo>
                      <a:pt x="98" y="0"/>
                    </a:lnTo>
                    <a:lnTo>
                      <a:pt x="106" y="18"/>
                    </a:lnTo>
                    <a:lnTo>
                      <a:pt x="112" y="22"/>
                    </a:lnTo>
                    <a:lnTo>
                      <a:pt x="118" y="20"/>
                    </a:lnTo>
                    <a:lnTo>
                      <a:pt x="124" y="26"/>
                    </a:lnTo>
                    <a:lnTo>
                      <a:pt x="128" y="20"/>
                    </a:lnTo>
                    <a:lnTo>
                      <a:pt x="130" y="12"/>
                    </a:lnTo>
                    <a:lnTo>
                      <a:pt x="134" y="18"/>
                    </a:lnTo>
                    <a:lnTo>
                      <a:pt x="130" y="40"/>
                    </a:lnTo>
                    <a:lnTo>
                      <a:pt x="128" y="44"/>
                    </a:lnTo>
                    <a:lnTo>
                      <a:pt x="126" y="44"/>
                    </a:lnTo>
                    <a:lnTo>
                      <a:pt x="126" y="50"/>
                    </a:lnTo>
                    <a:lnTo>
                      <a:pt x="120" y="56"/>
                    </a:lnTo>
                    <a:lnTo>
                      <a:pt x="116" y="64"/>
                    </a:lnTo>
                    <a:lnTo>
                      <a:pt x="114" y="74"/>
                    </a:lnTo>
                    <a:lnTo>
                      <a:pt x="122" y="98"/>
                    </a:lnTo>
                    <a:lnTo>
                      <a:pt x="126" y="106"/>
                    </a:lnTo>
                    <a:lnTo>
                      <a:pt x="128" y="112"/>
                    </a:lnTo>
                    <a:lnTo>
                      <a:pt x="86" y="124"/>
                    </a:lnTo>
                    <a:lnTo>
                      <a:pt x="78" y="130"/>
                    </a:lnTo>
                    <a:lnTo>
                      <a:pt x="76" y="138"/>
                    </a:lnTo>
                    <a:lnTo>
                      <a:pt x="76" y="144"/>
                    </a:lnTo>
                    <a:lnTo>
                      <a:pt x="72" y="148"/>
                    </a:lnTo>
                    <a:lnTo>
                      <a:pt x="64" y="150"/>
                    </a:lnTo>
                    <a:lnTo>
                      <a:pt x="60" y="156"/>
                    </a:lnTo>
                    <a:lnTo>
                      <a:pt x="62" y="164"/>
                    </a:lnTo>
                    <a:lnTo>
                      <a:pt x="68" y="166"/>
                    </a:lnTo>
                    <a:lnTo>
                      <a:pt x="80" y="162"/>
                    </a:lnTo>
                    <a:lnTo>
                      <a:pt x="92" y="162"/>
                    </a:lnTo>
                    <a:lnTo>
                      <a:pt x="94" y="166"/>
                    </a:lnTo>
                    <a:lnTo>
                      <a:pt x="86" y="174"/>
                    </a:lnTo>
                    <a:lnTo>
                      <a:pt x="84" y="180"/>
                    </a:lnTo>
                    <a:lnTo>
                      <a:pt x="86" y="186"/>
                    </a:lnTo>
                    <a:lnTo>
                      <a:pt x="84" y="194"/>
                    </a:lnTo>
                    <a:lnTo>
                      <a:pt x="80" y="196"/>
                    </a:lnTo>
                    <a:lnTo>
                      <a:pt x="76" y="194"/>
                    </a:lnTo>
                    <a:lnTo>
                      <a:pt x="66" y="178"/>
                    </a:lnTo>
                    <a:lnTo>
                      <a:pt x="54" y="178"/>
                    </a:lnTo>
                    <a:lnTo>
                      <a:pt x="46" y="168"/>
                    </a:lnTo>
                    <a:lnTo>
                      <a:pt x="46" y="160"/>
                    </a:lnTo>
                    <a:lnTo>
                      <a:pt x="48" y="152"/>
                    </a:lnTo>
                    <a:lnTo>
                      <a:pt x="46" y="144"/>
                    </a:lnTo>
                    <a:lnTo>
                      <a:pt x="44" y="138"/>
                    </a:lnTo>
                    <a:lnTo>
                      <a:pt x="38" y="138"/>
                    </a:lnTo>
                    <a:lnTo>
                      <a:pt x="36" y="134"/>
                    </a:lnTo>
                    <a:lnTo>
                      <a:pt x="48" y="126"/>
                    </a:lnTo>
                    <a:lnTo>
                      <a:pt x="56" y="118"/>
                    </a:lnTo>
                    <a:lnTo>
                      <a:pt x="52" y="110"/>
                    </a:lnTo>
                    <a:lnTo>
                      <a:pt x="42" y="100"/>
                    </a:lnTo>
                    <a:lnTo>
                      <a:pt x="42" y="96"/>
                    </a:lnTo>
                    <a:lnTo>
                      <a:pt x="20" y="64"/>
                    </a:lnTo>
                    <a:lnTo>
                      <a:pt x="4" y="56"/>
                    </a:lnTo>
                    <a:lnTo>
                      <a:pt x="0" y="52"/>
                    </a:lnTo>
                    <a:lnTo>
                      <a:pt x="0" y="42"/>
                    </a:lnTo>
                    <a:lnTo>
                      <a:pt x="0" y="40"/>
                    </a:lnTo>
                    <a:lnTo>
                      <a:pt x="6" y="40"/>
                    </a:lnTo>
                    <a:lnTo>
                      <a:pt x="10" y="42"/>
                    </a:lnTo>
                    <a:lnTo>
                      <a:pt x="50" y="44"/>
                    </a:lnTo>
                    <a:lnTo>
                      <a:pt x="74" y="36"/>
                    </a:lnTo>
                    <a:lnTo>
                      <a:pt x="84" y="30"/>
                    </a:lnTo>
                    <a:lnTo>
                      <a:pt x="88" y="30"/>
                    </a:lnTo>
                    <a:lnTo>
                      <a:pt x="94" y="26"/>
                    </a:lnTo>
                    <a:lnTo>
                      <a:pt x="96" y="22"/>
                    </a:lnTo>
                    <a:lnTo>
                      <a:pt x="96" y="1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09" name="Freeform 169"/>
              <p:cNvSpPr>
                <a:spLocks/>
              </p:cNvSpPr>
              <p:nvPr/>
            </p:nvSpPr>
            <p:spPr bwMode="auto">
              <a:xfrm>
                <a:off x="6660755" y="2643188"/>
                <a:ext cx="10318" cy="9525"/>
              </a:xfrm>
              <a:custGeom>
                <a:avLst/>
                <a:gdLst>
                  <a:gd name="T0" fmla="*/ 0 w 6"/>
                  <a:gd name="T1" fmla="*/ 2 h 6"/>
                  <a:gd name="T2" fmla="*/ 0 w 6"/>
                  <a:gd name="T3" fmla="*/ 6 h 6"/>
                  <a:gd name="T4" fmla="*/ 4 w 6"/>
                  <a:gd name="T5" fmla="*/ 6 h 6"/>
                  <a:gd name="T6" fmla="*/ 6 w 6"/>
                  <a:gd name="T7" fmla="*/ 4 h 6"/>
                  <a:gd name="T8" fmla="*/ 2 w 6"/>
                  <a:gd name="T9" fmla="*/ 0 h 6"/>
                  <a:gd name="T10" fmla="*/ 0 w 6"/>
                  <a:gd name="T11" fmla="*/ 2 h 6"/>
                </a:gdLst>
                <a:ahLst/>
                <a:cxnLst>
                  <a:cxn ang="0">
                    <a:pos x="T0" y="T1"/>
                  </a:cxn>
                  <a:cxn ang="0">
                    <a:pos x="T2" y="T3"/>
                  </a:cxn>
                  <a:cxn ang="0">
                    <a:pos x="T4" y="T5"/>
                  </a:cxn>
                  <a:cxn ang="0">
                    <a:pos x="T6" y="T7"/>
                  </a:cxn>
                  <a:cxn ang="0">
                    <a:pos x="T8" y="T9"/>
                  </a:cxn>
                  <a:cxn ang="0">
                    <a:pos x="T10" y="T11"/>
                  </a:cxn>
                </a:cxnLst>
                <a:rect l="0" t="0" r="r" b="b"/>
                <a:pathLst>
                  <a:path w="6" h="6">
                    <a:moveTo>
                      <a:pt x="0" y="2"/>
                    </a:moveTo>
                    <a:lnTo>
                      <a:pt x="0" y="6"/>
                    </a:lnTo>
                    <a:lnTo>
                      <a:pt x="4" y="6"/>
                    </a:lnTo>
                    <a:lnTo>
                      <a:pt x="6" y="4"/>
                    </a:lnTo>
                    <a:lnTo>
                      <a:pt x="2" y="0"/>
                    </a:lnTo>
                    <a:lnTo>
                      <a:pt x="0"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10" name="Freeform 170"/>
              <p:cNvSpPr>
                <a:spLocks/>
              </p:cNvSpPr>
              <p:nvPr/>
            </p:nvSpPr>
            <p:spPr bwMode="auto">
              <a:xfrm>
                <a:off x="6660755" y="2643188"/>
                <a:ext cx="10318" cy="9525"/>
              </a:xfrm>
              <a:custGeom>
                <a:avLst/>
                <a:gdLst>
                  <a:gd name="T0" fmla="*/ 0 w 6"/>
                  <a:gd name="T1" fmla="*/ 2 h 6"/>
                  <a:gd name="T2" fmla="*/ 0 w 6"/>
                  <a:gd name="T3" fmla="*/ 6 h 6"/>
                  <a:gd name="T4" fmla="*/ 4 w 6"/>
                  <a:gd name="T5" fmla="*/ 6 h 6"/>
                  <a:gd name="T6" fmla="*/ 6 w 6"/>
                  <a:gd name="T7" fmla="*/ 4 h 6"/>
                  <a:gd name="T8" fmla="*/ 2 w 6"/>
                  <a:gd name="T9" fmla="*/ 0 h 6"/>
                  <a:gd name="T10" fmla="*/ 0 w 6"/>
                  <a:gd name="T11" fmla="*/ 2 h 6"/>
                </a:gdLst>
                <a:ahLst/>
                <a:cxnLst>
                  <a:cxn ang="0">
                    <a:pos x="T0" y="T1"/>
                  </a:cxn>
                  <a:cxn ang="0">
                    <a:pos x="T2" y="T3"/>
                  </a:cxn>
                  <a:cxn ang="0">
                    <a:pos x="T4" y="T5"/>
                  </a:cxn>
                  <a:cxn ang="0">
                    <a:pos x="T6" y="T7"/>
                  </a:cxn>
                  <a:cxn ang="0">
                    <a:pos x="T8" y="T9"/>
                  </a:cxn>
                  <a:cxn ang="0">
                    <a:pos x="T10" y="T11"/>
                  </a:cxn>
                </a:cxnLst>
                <a:rect l="0" t="0" r="r" b="b"/>
                <a:pathLst>
                  <a:path w="6" h="6">
                    <a:moveTo>
                      <a:pt x="0" y="2"/>
                    </a:moveTo>
                    <a:lnTo>
                      <a:pt x="0" y="6"/>
                    </a:lnTo>
                    <a:lnTo>
                      <a:pt x="4" y="6"/>
                    </a:lnTo>
                    <a:lnTo>
                      <a:pt x="6" y="4"/>
                    </a:lnTo>
                    <a:lnTo>
                      <a:pt x="2" y="0"/>
                    </a:lnTo>
                    <a:lnTo>
                      <a:pt x="0"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11" name="Freeform 171"/>
              <p:cNvSpPr>
                <a:spLocks/>
              </p:cNvSpPr>
              <p:nvPr/>
            </p:nvSpPr>
            <p:spPr bwMode="auto">
              <a:xfrm>
                <a:off x="6736420" y="2814638"/>
                <a:ext cx="371447" cy="717550"/>
              </a:xfrm>
              <a:custGeom>
                <a:avLst/>
                <a:gdLst>
                  <a:gd name="T0" fmla="*/ 74 w 216"/>
                  <a:gd name="T1" fmla="*/ 2 h 452"/>
                  <a:gd name="T2" fmla="*/ 106 w 216"/>
                  <a:gd name="T3" fmla="*/ 24 h 452"/>
                  <a:gd name="T4" fmla="*/ 142 w 216"/>
                  <a:gd name="T5" fmla="*/ 52 h 452"/>
                  <a:gd name="T6" fmla="*/ 144 w 216"/>
                  <a:gd name="T7" fmla="*/ 66 h 452"/>
                  <a:gd name="T8" fmla="*/ 152 w 216"/>
                  <a:gd name="T9" fmla="*/ 104 h 452"/>
                  <a:gd name="T10" fmla="*/ 184 w 216"/>
                  <a:gd name="T11" fmla="*/ 150 h 452"/>
                  <a:gd name="T12" fmla="*/ 212 w 216"/>
                  <a:gd name="T13" fmla="*/ 186 h 452"/>
                  <a:gd name="T14" fmla="*/ 212 w 216"/>
                  <a:gd name="T15" fmla="*/ 234 h 452"/>
                  <a:gd name="T16" fmla="*/ 200 w 216"/>
                  <a:gd name="T17" fmla="*/ 210 h 452"/>
                  <a:gd name="T18" fmla="*/ 200 w 216"/>
                  <a:gd name="T19" fmla="*/ 230 h 452"/>
                  <a:gd name="T20" fmla="*/ 190 w 216"/>
                  <a:gd name="T21" fmla="*/ 242 h 452"/>
                  <a:gd name="T22" fmla="*/ 194 w 216"/>
                  <a:gd name="T23" fmla="*/ 264 h 452"/>
                  <a:gd name="T24" fmla="*/ 180 w 216"/>
                  <a:gd name="T25" fmla="*/ 254 h 452"/>
                  <a:gd name="T26" fmla="*/ 154 w 216"/>
                  <a:gd name="T27" fmla="*/ 306 h 452"/>
                  <a:gd name="T28" fmla="*/ 148 w 216"/>
                  <a:gd name="T29" fmla="*/ 300 h 452"/>
                  <a:gd name="T30" fmla="*/ 140 w 216"/>
                  <a:gd name="T31" fmla="*/ 302 h 452"/>
                  <a:gd name="T32" fmla="*/ 138 w 216"/>
                  <a:gd name="T33" fmla="*/ 316 h 452"/>
                  <a:gd name="T34" fmla="*/ 150 w 216"/>
                  <a:gd name="T35" fmla="*/ 324 h 452"/>
                  <a:gd name="T36" fmla="*/ 144 w 216"/>
                  <a:gd name="T37" fmla="*/ 336 h 452"/>
                  <a:gd name="T38" fmla="*/ 136 w 216"/>
                  <a:gd name="T39" fmla="*/ 374 h 452"/>
                  <a:gd name="T40" fmla="*/ 118 w 216"/>
                  <a:gd name="T41" fmla="*/ 366 h 452"/>
                  <a:gd name="T42" fmla="*/ 110 w 216"/>
                  <a:gd name="T43" fmla="*/ 340 h 452"/>
                  <a:gd name="T44" fmla="*/ 86 w 216"/>
                  <a:gd name="T45" fmla="*/ 354 h 452"/>
                  <a:gd name="T46" fmla="*/ 70 w 216"/>
                  <a:gd name="T47" fmla="*/ 378 h 452"/>
                  <a:gd name="T48" fmla="*/ 38 w 216"/>
                  <a:gd name="T49" fmla="*/ 414 h 452"/>
                  <a:gd name="T50" fmla="*/ 26 w 216"/>
                  <a:gd name="T51" fmla="*/ 436 h 452"/>
                  <a:gd name="T52" fmla="*/ 16 w 216"/>
                  <a:gd name="T53" fmla="*/ 448 h 452"/>
                  <a:gd name="T54" fmla="*/ 10 w 216"/>
                  <a:gd name="T55" fmla="*/ 428 h 452"/>
                  <a:gd name="T56" fmla="*/ 22 w 216"/>
                  <a:gd name="T57" fmla="*/ 382 h 452"/>
                  <a:gd name="T58" fmla="*/ 38 w 216"/>
                  <a:gd name="T59" fmla="*/ 354 h 452"/>
                  <a:gd name="T60" fmla="*/ 96 w 216"/>
                  <a:gd name="T61" fmla="*/ 308 h 452"/>
                  <a:gd name="T62" fmla="*/ 88 w 216"/>
                  <a:gd name="T63" fmla="*/ 276 h 452"/>
                  <a:gd name="T64" fmla="*/ 84 w 216"/>
                  <a:gd name="T65" fmla="*/ 212 h 452"/>
                  <a:gd name="T66" fmla="*/ 88 w 216"/>
                  <a:gd name="T67" fmla="*/ 226 h 452"/>
                  <a:gd name="T68" fmla="*/ 98 w 216"/>
                  <a:gd name="T69" fmla="*/ 238 h 452"/>
                  <a:gd name="T70" fmla="*/ 106 w 216"/>
                  <a:gd name="T71" fmla="*/ 222 h 452"/>
                  <a:gd name="T72" fmla="*/ 114 w 216"/>
                  <a:gd name="T73" fmla="*/ 162 h 452"/>
                  <a:gd name="T74" fmla="*/ 88 w 216"/>
                  <a:gd name="T75" fmla="*/ 78 h 452"/>
                  <a:gd name="T76" fmla="*/ 76 w 216"/>
                  <a:gd name="T77" fmla="*/ 66 h 452"/>
                  <a:gd name="T78" fmla="*/ 64 w 216"/>
                  <a:gd name="T79" fmla="*/ 44 h 452"/>
                  <a:gd name="T80" fmla="*/ 58 w 216"/>
                  <a:gd name="T81" fmla="*/ 26 h 452"/>
                  <a:gd name="T82" fmla="*/ 74 w 216"/>
                  <a:gd name="T83" fmla="*/ 32 h 452"/>
                  <a:gd name="T84" fmla="*/ 78 w 216"/>
                  <a:gd name="T85" fmla="*/ 22 h 452"/>
                  <a:gd name="T86" fmla="*/ 70 w 216"/>
                  <a:gd name="T87" fmla="*/ 14 h 452"/>
                  <a:gd name="T88" fmla="*/ 58 w 216"/>
                  <a:gd name="T89" fmla="*/ 1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6" h="452">
                    <a:moveTo>
                      <a:pt x="66" y="6"/>
                    </a:moveTo>
                    <a:lnTo>
                      <a:pt x="70" y="0"/>
                    </a:lnTo>
                    <a:lnTo>
                      <a:pt x="74" y="2"/>
                    </a:lnTo>
                    <a:lnTo>
                      <a:pt x="90" y="20"/>
                    </a:lnTo>
                    <a:lnTo>
                      <a:pt x="98" y="24"/>
                    </a:lnTo>
                    <a:lnTo>
                      <a:pt x="106" y="24"/>
                    </a:lnTo>
                    <a:lnTo>
                      <a:pt x="138" y="42"/>
                    </a:lnTo>
                    <a:lnTo>
                      <a:pt x="140" y="46"/>
                    </a:lnTo>
                    <a:lnTo>
                      <a:pt x="142" y="52"/>
                    </a:lnTo>
                    <a:lnTo>
                      <a:pt x="146" y="56"/>
                    </a:lnTo>
                    <a:lnTo>
                      <a:pt x="146" y="62"/>
                    </a:lnTo>
                    <a:lnTo>
                      <a:pt x="144" y="66"/>
                    </a:lnTo>
                    <a:lnTo>
                      <a:pt x="158" y="88"/>
                    </a:lnTo>
                    <a:lnTo>
                      <a:pt x="152" y="94"/>
                    </a:lnTo>
                    <a:lnTo>
                      <a:pt x="152" y="104"/>
                    </a:lnTo>
                    <a:lnTo>
                      <a:pt x="156" y="114"/>
                    </a:lnTo>
                    <a:lnTo>
                      <a:pt x="184" y="140"/>
                    </a:lnTo>
                    <a:lnTo>
                      <a:pt x="184" y="150"/>
                    </a:lnTo>
                    <a:lnTo>
                      <a:pt x="202" y="182"/>
                    </a:lnTo>
                    <a:lnTo>
                      <a:pt x="210" y="184"/>
                    </a:lnTo>
                    <a:lnTo>
                      <a:pt x="212" y="186"/>
                    </a:lnTo>
                    <a:lnTo>
                      <a:pt x="212" y="192"/>
                    </a:lnTo>
                    <a:lnTo>
                      <a:pt x="216" y="212"/>
                    </a:lnTo>
                    <a:lnTo>
                      <a:pt x="212" y="234"/>
                    </a:lnTo>
                    <a:lnTo>
                      <a:pt x="208" y="230"/>
                    </a:lnTo>
                    <a:lnTo>
                      <a:pt x="200" y="216"/>
                    </a:lnTo>
                    <a:lnTo>
                      <a:pt x="200" y="210"/>
                    </a:lnTo>
                    <a:lnTo>
                      <a:pt x="198" y="204"/>
                    </a:lnTo>
                    <a:lnTo>
                      <a:pt x="192" y="210"/>
                    </a:lnTo>
                    <a:lnTo>
                      <a:pt x="200" y="230"/>
                    </a:lnTo>
                    <a:lnTo>
                      <a:pt x="196" y="230"/>
                    </a:lnTo>
                    <a:lnTo>
                      <a:pt x="188" y="234"/>
                    </a:lnTo>
                    <a:lnTo>
                      <a:pt x="190" y="242"/>
                    </a:lnTo>
                    <a:lnTo>
                      <a:pt x="198" y="256"/>
                    </a:lnTo>
                    <a:lnTo>
                      <a:pt x="198" y="262"/>
                    </a:lnTo>
                    <a:lnTo>
                      <a:pt x="194" y="264"/>
                    </a:lnTo>
                    <a:lnTo>
                      <a:pt x="186" y="258"/>
                    </a:lnTo>
                    <a:lnTo>
                      <a:pt x="184" y="252"/>
                    </a:lnTo>
                    <a:lnTo>
                      <a:pt x="180" y="254"/>
                    </a:lnTo>
                    <a:lnTo>
                      <a:pt x="180" y="282"/>
                    </a:lnTo>
                    <a:lnTo>
                      <a:pt x="158" y="298"/>
                    </a:lnTo>
                    <a:lnTo>
                      <a:pt x="154" y="306"/>
                    </a:lnTo>
                    <a:lnTo>
                      <a:pt x="154" y="302"/>
                    </a:lnTo>
                    <a:lnTo>
                      <a:pt x="154" y="296"/>
                    </a:lnTo>
                    <a:lnTo>
                      <a:pt x="148" y="300"/>
                    </a:lnTo>
                    <a:lnTo>
                      <a:pt x="146" y="300"/>
                    </a:lnTo>
                    <a:lnTo>
                      <a:pt x="146" y="304"/>
                    </a:lnTo>
                    <a:lnTo>
                      <a:pt x="140" y="302"/>
                    </a:lnTo>
                    <a:lnTo>
                      <a:pt x="136" y="296"/>
                    </a:lnTo>
                    <a:lnTo>
                      <a:pt x="134" y="300"/>
                    </a:lnTo>
                    <a:lnTo>
                      <a:pt x="138" y="316"/>
                    </a:lnTo>
                    <a:lnTo>
                      <a:pt x="150" y="316"/>
                    </a:lnTo>
                    <a:lnTo>
                      <a:pt x="156" y="324"/>
                    </a:lnTo>
                    <a:lnTo>
                      <a:pt x="150" y="324"/>
                    </a:lnTo>
                    <a:lnTo>
                      <a:pt x="150" y="328"/>
                    </a:lnTo>
                    <a:lnTo>
                      <a:pt x="146" y="330"/>
                    </a:lnTo>
                    <a:lnTo>
                      <a:pt x="144" y="336"/>
                    </a:lnTo>
                    <a:lnTo>
                      <a:pt x="148" y="364"/>
                    </a:lnTo>
                    <a:lnTo>
                      <a:pt x="146" y="370"/>
                    </a:lnTo>
                    <a:lnTo>
                      <a:pt x="136" y="374"/>
                    </a:lnTo>
                    <a:lnTo>
                      <a:pt x="130" y="370"/>
                    </a:lnTo>
                    <a:lnTo>
                      <a:pt x="122" y="372"/>
                    </a:lnTo>
                    <a:lnTo>
                      <a:pt x="118" y="366"/>
                    </a:lnTo>
                    <a:lnTo>
                      <a:pt x="112" y="358"/>
                    </a:lnTo>
                    <a:lnTo>
                      <a:pt x="110" y="342"/>
                    </a:lnTo>
                    <a:lnTo>
                      <a:pt x="110" y="340"/>
                    </a:lnTo>
                    <a:lnTo>
                      <a:pt x="108" y="340"/>
                    </a:lnTo>
                    <a:lnTo>
                      <a:pt x="100" y="348"/>
                    </a:lnTo>
                    <a:lnTo>
                      <a:pt x="86" y="354"/>
                    </a:lnTo>
                    <a:lnTo>
                      <a:pt x="80" y="358"/>
                    </a:lnTo>
                    <a:lnTo>
                      <a:pt x="74" y="378"/>
                    </a:lnTo>
                    <a:lnTo>
                      <a:pt x="70" y="378"/>
                    </a:lnTo>
                    <a:lnTo>
                      <a:pt x="46" y="412"/>
                    </a:lnTo>
                    <a:lnTo>
                      <a:pt x="40" y="412"/>
                    </a:lnTo>
                    <a:lnTo>
                      <a:pt x="38" y="414"/>
                    </a:lnTo>
                    <a:lnTo>
                      <a:pt x="42" y="430"/>
                    </a:lnTo>
                    <a:lnTo>
                      <a:pt x="40" y="434"/>
                    </a:lnTo>
                    <a:lnTo>
                      <a:pt x="26" y="436"/>
                    </a:lnTo>
                    <a:lnTo>
                      <a:pt x="22" y="442"/>
                    </a:lnTo>
                    <a:lnTo>
                      <a:pt x="18" y="444"/>
                    </a:lnTo>
                    <a:lnTo>
                      <a:pt x="16" y="448"/>
                    </a:lnTo>
                    <a:lnTo>
                      <a:pt x="6" y="452"/>
                    </a:lnTo>
                    <a:lnTo>
                      <a:pt x="0" y="440"/>
                    </a:lnTo>
                    <a:lnTo>
                      <a:pt x="10" y="428"/>
                    </a:lnTo>
                    <a:lnTo>
                      <a:pt x="18" y="402"/>
                    </a:lnTo>
                    <a:lnTo>
                      <a:pt x="18" y="390"/>
                    </a:lnTo>
                    <a:lnTo>
                      <a:pt x="22" y="382"/>
                    </a:lnTo>
                    <a:lnTo>
                      <a:pt x="22" y="372"/>
                    </a:lnTo>
                    <a:lnTo>
                      <a:pt x="28" y="358"/>
                    </a:lnTo>
                    <a:lnTo>
                      <a:pt x="38" y="354"/>
                    </a:lnTo>
                    <a:lnTo>
                      <a:pt x="80" y="308"/>
                    </a:lnTo>
                    <a:lnTo>
                      <a:pt x="82" y="314"/>
                    </a:lnTo>
                    <a:lnTo>
                      <a:pt x="96" y="308"/>
                    </a:lnTo>
                    <a:lnTo>
                      <a:pt x="98" y="304"/>
                    </a:lnTo>
                    <a:lnTo>
                      <a:pt x="100" y="292"/>
                    </a:lnTo>
                    <a:lnTo>
                      <a:pt x="88" y="276"/>
                    </a:lnTo>
                    <a:lnTo>
                      <a:pt x="90" y="250"/>
                    </a:lnTo>
                    <a:lnTo>
                      <a:pt x="78" y="224"/>
                    </a:lnTo>
                    <a:lnTo>
                      <a:pt x="84" y="212"/>
                    </a:lnTo>
                    <a:lnTo>
                      <a:pt x="88" y="208"/>
                    </a:lnTo>
                    <a:lnTo>
                      <a:pt x="90" y="214"/>
                    </a:lnTo>
                    <a:lnTo>
                      <a:pt x="88" y="226"/>
                    </a:lnTo>
                    <a:lnTo>
                      <a:pt x="88" y="228"/>
                    </a:lnTo>
                    <a:lnTo>
                      <a:pt x="94" y="232"/>
                    </a:lnTo>
                    <a:lnTo>
                      <a:pt x="98" y="238"/>
                    </a:lnTo>
                    <a:lnTo>
                      <a:pt x="102" y="236"/>
                    </a:lnTo>
                    <a:lnTo>
                      <a:pt x="106" y="230"/>
                    </a:lnTo>
                    <a:lnTo>
                      <a:pt x="106" y="222"/>
                    </a:lnTo>
                    <a:lnTo>
                      <a:pt x="114" y="204"/>
                    </a:lnTo>
                    <a:lnTo>
                      <a:pt x="116" y="182"/>
                    </a:lnTo>
                    <a:lnTo>
                      <a:pt x="114" y="162"/>
                    </a:lnTo>
                    <a:lnTo>
                      <a:pt x="116" y="152"/>
                    </a:lnTo>
                    <a:lnTo>
                      <a:pt x="118" y="150"/>
                    </a:lnTo>
                    <a:lnTo>
                      <a:pt x="88" y="78"/>
                    </a:lnTo>
                    <a:lnTo>
                      <a:pt x="82" y="78"/>
                    </a:lnTo>
                    <a:lnTo>
                      <a:pt x="76" y="80"/>
                    </a:lnTo>
                    <a:lnTo>
                      <a:pt x="76" y="66"/>
                    </a:lnTo>
                    <a:lnTo>
                      <a:pt x="64" y="54"/>
                    </a:lnTo>
                    <a:lnTo>
                      <a:pt x="62" y="48"/>
                    </a:lnTo>
                    <a:lnTo>
                      <a:pt x="64" y="44"/>
                    </a:lnTo>
                    <a:lnTo>
                      <a:pt x="58" y="36"/>
                    </a:lnTo>
                    <a:lnTo>
                      <a:pt x="56" y="32"/>
                    </a:lnTo>
                    <a:lnTo>
                      <a:pt x="58" y="26"/>
                    </a:lnTo>
                    <a:lnTo>
                      <a:pt x="62" y="28"/>
                    </a:lnTo>
                    <a:lnTo>
                      <a:pt x="70" y="32"/>
                    </a:lnTo>
                    <a:lnTo>
                      <a:pt x="74" y="32"/>
                    </a:lnTo>
                    <a:lnTo>
                      <a:pt x="72" y="26"/>
                    </a:lnTo>
                    <a:lnTo>
                      <a:pt x="76" y="24"/>
                    </a:lnTo>
                    <a:lnTo>
                      <a:pt x="78" y="22"/>
                    </a:lnTo>
                    <a:lnTo>
                      <a:pt x="76" y="12"/>
                    </a:lnTo>
                    <a:lnTo>
                      <a:pt x="72" y="8"/>
                    </a:lnTo>
                    <a:lnTo>
                      <a:pt x="70" y="14"/>
                    </a:lnTo>
                    <a:lnTo>
                      <a:pt x="68" y="20"/>
                    </a:lnTo>
                    <a:lnTo>
                      <a:pt x="62" y="18"/>
                    </a:lnTo>
                    <a:lnTo>
                      <a:pt x="58" y="10"/>
                    </a:lnTo>
                    <a:lnTo>
                      <a:pt x="60" y="8"/>
                    </a:lnTo>
                    <a:lnTo>
                      <a:pt x="66" y="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12" name="Freeform 172"/>
              <p:cNvSpPr>
                <a:spLocks/>
              </p:cNvSpPr>
              <p:nvPr/>
            </p:nvSpPr>
            <p:spPr bwMode="auto">
              <a:xfrm>
                <a:off x="6736420" y="2814638"/>
                <a:ext cx="371447" cy="717550"/>
              </a:xfrm>
              <a:custGeom>
                <a:avLst/>
                <a:gdLst>
                  <a:gd name="T0" fmla="*/ 74 w 216"/>
                  <a:gd name="T1" fmla="*/ 2 h 452"/>
                  <a:gd name="T2" fmla="*/ 106 w 216"/>
                  <a:gd name="T3" fmla="*/ 24 h 452"/>
                  <a:gd name="T4" fmla="*/ 142 w 216"/>
                  <a:gd name="T5" fmla="*/ 52 h 452"/>
                  <a:gd name="T6" fmla="*/ 144 w 216"/>
                  <a:gd name="T7" fmla="*/ 66 h 452"/>
                  <a:gd name="T8" fmla="*/ 152 w 216"/>
                  <a:gd name="T9" fmla="*/ 104 h 452"/>
                  <a:gd name="T10" fmla="*/ 184 w 216"/>
                  <a:gd name="T11" fmla="*/ 150 h 452"/>
                  <a:gd name="T12" fmla="*/ 212 w 216"/>
                  <a:gd name="T13" fmla="*/ 186 h 452"/>
                  <a:gd name="T14" fmla="*/ 212 w 216"/>
                  <a:gd name="T15" fmla="*/ 234 h 452"/>
                  <a:gd name="T16" fmla="*/ 200 w 216"/>
                  <a:gd name="T17" fmla="*/ 210 h 452"/>
                  <a:gd name="T18" fmla="*/ 200 w 216"/>
                  <a:gd name="T19" fmla="*/ 230 h 452"/>
                  <a:gd name="T20" fmla="*/ 190 w 216"/>
                  <a:gd name="T21" fmla="*/ 242 h 452"/>
                  <a:gd name="T22" fmla="*/ 194 w 216"/>
                  <a:gd name="T23" fmla="*/ 264 h 452"/>
                  <a:gd name="T24" fmla="*/ 180 w 216"/>
                  <a:gd name="T25" fmla="*/ 254 h 452"/>
                  <a:gd name="T26" fmla="*/ 154 w 216"/>
                  <a:gd name="T27" fmla="*/ 306 h 452"/>
                  <a:gd name="T28" fmla="*/ 148 w 216"/>
                  <a:gd name="T29" fmla="*/ 300 h 452"/>
                  <a:gd name="T30" fmla="*/ 140 w 216"/>
                  <a:gd name="T31" fmla="*/ 302 h 452"/>
                  <a:gd name="T32" fmla="*/ 138 w 216"/>
                  <a:gd name="T33" fmla="*/ 316 h 452"/>
                  <a:gd name="T34" fmla="*/ 150 w 216"/>
                  <a:gd name="T35" fmla="*/ 324 h 452"/>
                  <a:gd name="T36" fmla="*/ 144 w 216"/>
                  <a:gd name="T37" fmla="*/ 336 h 452"/>
                  <a:gd name="T38" fmla="*/ 136 w 216"/>
                  <a:gd name="T39" fmla="*/ 374 h 452"/>
                  <a:gd name="T40" fmla="*/ 118 w 216"/>
                  <a:gd name="T41" fmla="*/ 366 h 452"/>
                  <a:gd name="T42" fmla="*/ 110 w 216"/>
                  <a:gd name="T43" fmla="*/ 340 h 452"/>
                  <a:gd name="T44" fmla="*/ 86 w 216"/>
                  <a:gd name="T45" fmla="*/ 354 h 452"/>
                  <a:gd name="T46" fmla="*/ 70 w 216"/>
                  <a:gd name="T47" fmla="*/ 378 h 452"/>
                  <a:gd name="T48" fmla="*/ 38 w 216"/>
                  <a:gd name="T49" fmla="*/ 414 h 452"/>
                  <a:gd name="T50" fmla="*/ 26 w 216"/>
                  <a:gd name="T51" fmla="*/ 436 h 452"/>
                  <a:gd name="T52" fmla="*/ 16 w 216"/>
                  <a:gd name="T53" fmla="*/ 448 h 452"/>
                  <a:gd name="T54" fmla="*/ 10 w 216"/>
                  <a:gd name="T55" fmla="*/ 428 h 452"/>
                  <a:gd name="T56" fmla="*/ 22 w 216"/>
                  <a:gd name="T57" fmla="*/ 382 h 452"/>
                  <a:gd name="T58" fmla="*/ 38 w 216"/>
                  <a:gd name="T59" fmla="*/ 354 h 452"/>
                  <a:gd name="T60" fmla="*/ 96 w 216"/>
                  <a:gd name="T61" fmla="*/ 308 h 452"/>
                  <a:gd name="T62" fmla="*/ 88 w 216"/>
                  <a:gd name="T63" fmla="*/ 276 h 452"/>
                  <a:gd name="T64" fmla="*/ 84 w 216"/>
                  <a:gd name="T65" fmla="*/ 212 h 452"/>
                  <a:gd name="T66" fmla="*/ 88 w 216"/>
                  <a:gd name="T67" fmla="*/ 226 h 452"/>
                  <a:gd name="T68" fmla="*/ 98 w 216"/>
                  <a:gd name="T69" fmla="*/ 238 h 452"/>
                  <a:gd name="T70" fmla="*/ 106 w 216"/>
                  <a:gd name="T71" fmla="*/ 222 h 452"/>
                  <a:gd name="T72" fmla="*/ 114 w 216"/>
                  <a:gd name="T73" fmla="*/ 162 h 452"/>
                  <a:gd name="T74" fmla="*/ 88 w 216"/>
                  <a:gd name="T75" fmla="*/ 78 h 452"/>
                  <a:gd name="T76" fmla="*/ 76 w 216"/>
                  <a:gd name="T77" fmla="*/ 66 h 452"/>
                  <a:gd name="T78" fmla="*/ 64 w 216"/>
                  <a:gd name="T79" fmla="*/ 44 h 452"/>
                  <a:gd name="T80" fmla="*/ 58 w 216"/>
                  <a:gd name="T81" fmla="*/ 26 h 452"/>
                  <a:gd name="T82" fmla="*/ 74 w 216"/>
                  <a:gd name="T83" fmla="*/ 32 h 452"/>
                  <a:gd name="T84" fmla="*/ 78 w 216"/>
                  <a:gd name="T85" fmla="*/ 22 h 452"/>
                  <a:gd name="T86" fmla="*/ 70 w 216"/>
                  <a:gd name="T87" fmla="*/ 14 h 452"/>
                  <a:gd name="T88" fmla="*/ 58 w 216"/>
                  <a:gd name="T89" fmla="*/ 1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6" h="452">
                    <a:moveTo>
                      <a:pt x="66" y="6"/>
                    </a:moveTo>
                    <a:lnTo>
                      <a:pt x="70" y="0"/>
                    </a:lnTo>
                    <a:lnTo>
                      <a:pt x="74" y="2"/>
                    </a:lnTo>
                    <a:lnTo>
                      <a:pt x="90" y="20"/>
                    </a:lnTo>
                    <a:lnTo>
                      <a:pt x="98" y="24"/>
                    </a:lnTo>
                    <a:lnTo>
                      <a:pt x="106" y="24"/>
                    </a:lnTo>
                    <a:lnTo>
                      <a:pt x="138" y="42"/>
                    </a:lnTo>
                    <a:lnTo>
                      <a:pt x="140" y="46"/>
                    </a:lnTo>
                    <a:lnTo>
                      <a:pt x="142" y="52"/>
                    </a:lnTo>
                    <a:lnTo>
                      <a:pt x="146" y="56"/>
                    </a:lnTo>
                    <a:lnTo>
                      <a:pt x="146" y="62"/>
                    </a:lnTo>
                    <a:lnTo>
                      <a:pt x="144" y="66"/>
                    </a:lnTo>
                    <a:lnTo>
                      <a:pt x="158" y="88"/>
                    </a:lnTo>
                    <a:lnTo>
                      <a:pt x="152" y="94"/>
                    </a:lnTo>
                    <a:lnTo>
                      <a:pt x="152" y="104"/>
                    </a:lnTo>
                    <a:lnTo>
                      <a:pt x="156" y="114"/>
                    </a:lnTo>
                    <a:lnTo>
                      <a:pt x="184" y="140"/>
                    </a:lnTo>
                    <a:lnTo>
                      <a:pt x="184" y="150"/>
                    </a:lnTo>
                    <a:lnTo>
                      <a:pt x="202" y="182"/>
                    </a:lnTo>
                    <a:lnTo>
                      <a:pt x="210" y="184"/>
                    </a:lnTo>
                    <a:lnTo>
                      <a:pt x="212" y="186"/>
                    </a:lnTo>
                    <a:lnTo>
                      <a:pt x="212" y="192"/>
                    </a:lnTo>
                    <a:lnTo>
                      <a:pt x="216" y="212"/>
                    </a:lnTo>
                    <a:lnTo>
                      <a:pt x="212" y="234"/>
                    </a:lnTo>
                    <a:lnTo>
                      <a:pt x="208" y="230"/>
                    </a:lnTo>
                    <a:lnTo>
                      <a:pt x="200" y="216"/>
                    </a:lnTo>
                    <a:lnTo>
                      <a:pt x="200" y="210"/>
                    </a:lnTo>
                    <a:lnTo>
                      <a:pt x="198" y="204"/>
                    </a:lnTo>
                    <a:lnTo>
                      <a:pt x="192" y="210"/>
                    </a:lnTo>
                    <a:lnTo>
                      <a:pt x="200" y="230"/>
                    </a:lnTo>
                    <a:lnTo>
                      <a:pt x="196" y="230"/>
                    </a:lnTo>
                    <a:lnTo>
                      <a:pt x="188" y="234"/>
                    </a:lnTo>
                    <a:lnTo>
                      <a:pt x="190" y="242"/>
                    </a:lnTo>
                    <a:lnTo>
                      <a:pt x="198" y="256"/>
                    </a:lnTo>
                    <a:lnTo>
                      <a:pt x="198" y="262"/>
                    </a:lnTo>
                    <a:lnTo>
                      <a:pt x="194" y="264"/>
                    </a:lnTo>
                    <a:lnTo>
                      <a:pt x="186" y="258"/>
                    </a:lnTo>
                    <a:lnTo>
                      <a:pt x="184" y="252"/>
                    </a:lnTo>
                    <a:lnTo>
                      <a:pt x="180" y="254"/>
                    </a:lnTo>
                    <a:lnTo>
                      <a:pt x="180" y="282"/>
                    </a:lnTo>
                    <a:lnTo>
                      <a:pt x="158" y="298"/>
                    </a:lnTo>
                    <a:lnTo>
                      <a:pt x="154" y="306"/>
                    </a:lnTo>
                    <a:lnTo>
                      <a:pt x="154" y="302"/>
                    </a:lnTo>
                    <a:lnTo>
                      <a:pt x="154" y="296"/>
                    </a:lnTo>
                    <a:lnTo>
                      <a:pt x="148" y="300"/>
                    </a:lnTo>
                    <a:lnTo>
                      <a:pt x="146" y="300"/>
                    </a:lnTo>
                    <a:lnTo>
                      <a:pt x="146" y="304"/>
                    </a:lnTo>
                    <a:lnTo>
                      <a:pt x="140" y="302"/>
                    </a:lnTo>
                    <a:lnTo>
                      <a:pt x="136" y="296"/>
                    </a:lnTo>
                    <a:lnTo>
                      <a:pt x="134" y="300"/>
                    </a:lnTo>
                    <a:lnTo>
                      <a:pt x="138" y="316"/>
                    </a:lnTo>
                    <a:lnTo>
                      <a:pt x="150" y="316"/>
                    </a:lnTo>
                    <a:lnTo>
                      <a:pt x="156" y="324"/>
                    </a:lnTo>
                    <a:lnTo>
                      <a:pt x="150" y="324"/>
                    </a:lnTo>
                    <a:lnTo>
                      <a:pt x="150" y="328"/>
                    </a:lnTo>
                    <a:lnTo>
                      <a:pt x="146" y="330"/>
                    </a:lnTo>
                    <a:lnTo>
                      <a:pt x="144" y="336"/>
                    </a:lnTo>
                    <a:lnTo>
                      <a:pt x="148" y="364"/>
                    </a:lnTo>
                    <a:lnTo>
                      <a:pt x="146" y="370"/>
                    </a:lnTo>
                    <a:lnTo>
                      <a:pt x="136" y="374"/>
                    </a:lnTo>
                    <a:lnTo>
                      <a:pt x="130" y="370"/>
                    </a:lnTo>
                    <a:lnTo>
                      <a:pt x="122" y="372"/>
                    </a:lnTo>
                    <a:lnTo>
                      <a:pt x="118" y="366"/>
                    </a:lnTo>
                    <a:lnTo>
                      <a:pt x="112" y="358"/>
                    </a:lnTo>
                    <a:lnTo>
                      <a:pt x="110" y="342"/>
                    </a:lnTo>
                    <a:lnTo>
                      <a:pt x="110" y="340"/>
                    </a:lnTo>
                    <a:lnTo>
                      <a:pt x="108" y="340"/>
                    </a:lnTo>
                    <a:lnTo>
                      <a:pt x="100" y="348"/>
                    </a:lnTo>
                    <a:lnTo>
                      <a:pt x="86" y="354"/>
                    </a:lnTo>
                    <a:lnTo>
                      <a:pt x="80" y="358"/>
                    </a:lnTo>
                    <a:lnTo>
                      <a:pt x="74" y="378"/>
                    </a:lnTo>
                    <a:lnTo>
                      <a:pt x="70" y="378"/>
                    </a:lnTo>
                    <a:lnTo>
                      <a:pt x="46" y="412"/>
                    </a:lnTo>
                    <a:lnTo>
                      <a:pt x="40" y="412"/>
                    </a:lnTo>
                    <a:lnTo>
                      <a:pt x="38" y="414"/>
                    </a:lnTo>
                    <a:lnTo>
                      <a:pt x="42" y="430"/>
                    </a:lnTo>
                    <a:lnTo>
                      <a:pt x="40" y="434"/>
                    </a:lnTo>
                    <a:lnTo>
                      <a:pt x="26" y="436"/>
                    </a:lnTo>
                    <a:lnTo>
                      <a:pt x="22" y="442"/>
                    </a:lnTo>
                    <a:lnTo>
                      <a:pt x="18" y="444"/>
                    </a:lnTo>
                    <a:lnTo>
                      <a:pt x="16" y="448"/>
                    </a:lnTo>
                    <a:lnTo>
                      <a:pt x="6" y="452"/>
                    </a:lnTo>
                    <a:lnTo>
                      <a:pt x="0" y="440"/>
                    </a:lnTo>
                    <a:lnTo>
                      <a:pt x="10" y="428"/>
                    </a:lnTo>
                    <a:lnTo>
                      <a:pt x="18" y="402"/>
                    </a:lnTo>
                    <a:lnTo>
                      <a:pt x="18" y="390"/>
                    </a:lnTo>
                    <a:lnTo>
                      <a:pt x="22" y="382"/>
                    </a:lnTo>
                    <a:lnTo>
                      <a:pt x="22" y="372"/>
                    </a:lnTo>
                    <a:lnTo>
                      <a:pt x="28" y="358"/>
                    </a:lnTo>
                    <a:lnTo>
                      <a:pt x="38" y="354"/>
                    </a:lnTo>
                    <a:lnTo>
                      <a:pt x="80" y="308"/>
                    </a:lnTo>
                    <a:lnTo>
                      <a:pt x="82" y="314"/>
                    </a:lnTo>
                    <a:lnTo>
                      <a:pt x="96" y="308"/>
                    </a:lnTo>
                    <a:lnTo>
                      <a:pt x="98" y="304"/>
                    </a:lnTo>
                    <a:lnTo>
                      <a:pt x="100" y="292"/>
                    </a:lnTo>
                    <a:lnTo>
                      <a:pt x="88" y="276"/>
                    </a:lnTo>
                    <a:lnTo>
                      <a:pt x="90" y="250"/>
                    </a:lnTo>
                    <a:lnTo>
                      <a:pt x="78" y="224"/>
                    </a:lnTo>
                    <a:lnTo>
                      <a:pt x="84" y="212"/>
                    </a:lnTo>
                    <a:lnTo>
                      <a:pt x="88" y="208"/>
                    </a:lnTo>
                    <a:lnTo>
                      <a:pt x="90" y="214"/>
                    </a:lnTo>
                    <a:lnTo>
                      <a:pt x="88" y="226"/>
                    </a:lnTo>
                    <a:lnTo>
                      <a:pt x="88" y="228"/>
                    </a:lnTo>
                    <a:lnTo>
                      <a:pt x="94" y="232"/>
                    </a:lnTo>
                    <a:lnTo>
                      <a:pt x="98" y="238"/>
                    </a:lnTo>
                    <a:lnTo>
                      <a:pt x="102" y="236"/>
                    </a:lnTo>
                    <a:lnTo>
                      <a:pt x="106" y="230"/>
                    </a:lnTo>
                    <a:lnTo>
                      <a:pt x="106" y="222"/>
                    </a:lnTo>
                    <a:lnTo>
                      <a:pt x="114" y="204"/>
                    </a:lnTo>
                    <a:lnTo>
                      <a:pt x="116" y="182"/>
                    </a:lnTo>
                    <a:lnTo>
                      <a:pt x="114" y="162"/>
                    </a:lnTo>
                    <a:lnTo>
                      <a:pt x="116" y="152"/>
                    </a:lnTo>
                    <a:lnTo>
                      <a:pt x="118" y="150"/>
                    </a:lnTo>
                    <a:lnTo>
                      <a:pt x="88" y="78"/>
                    </a:lnTo>
                    <a:lnTo>
                      <a:pt x="82" y="78"/>
                    </a:lnTo>
                    <a:lnTo>
                      <a:pt x="76" y="80"/>
                    </a:lnTo>
                    <a:lnTo>
                      <a:pt x="76" y="66"/>
                    </a:lnTo>
                    <a:lnTo>
                      <a:pt x="64" y="54"/>
                    </a:lnTo>
                    <a:lnTo>
                      <a:pt x="62" y="48"/>
                    </a:lnTo>
                    <a:lnTo>
                      <a:pt x="64" y="44"/>
                    </a:lnTo>
                    <a:lnTo>
                      <a:pt x="58" y="36"/>
                    </a:lnTo>
                    <a:lnTo>
                      <a:pt x="56" y="32"/>
                    </a:lnTo>
                    <a:lnTo>
                      <a:pt x="58" y="26"/>
                    </a:lnTo>
                    <a:lnTo>
                      <a:pt x="62" y="28"/>
                    </a:lnTo>
                    <a:lnTo>
                      <a:pt x="70" y="32"/>
                    </a:lnTo>
                    <a:lnTo>
                      <a:pt x="74" y="32"/>
                    </a:lnTo>
                    <a:lnTo>
                      <a:pt x="72" y="26"/>
                    </a:lnTo>
                    <a:lnTo>
                      <a:pt x="76" y="24"/>
                    </a:lnTo>
                    <a:lnTo>
                      <a:pt x="78" y="22"/>
                    </a:lnTo>
                    <a:lnTo>
                      <a:pt x="76" y="12"/>
                    </a:lnTo>
                    <a:lnTo>
                      <a:pt x="72" y="8"/>
                    </a:lnTo>
                    <a:lnTo>
                      <a:pt x="70" y="14"/>
                    </a:lnTo>
                    <a:lnTo>
                      <a:pt x="68" y="20"/>
                    </a:lnTo>
                    <a:lnTo>
                      <a:pt x="62" y="18"/>
                    </a:lnTo>
                    <a:lnTo>
                      <a:pt x="58" y="10"/>
                    </a:lnTo>
                    <a:lnTo>
                      <a:pt x="60" y="8"/>
                    </a:lnTo>
                    <a:lnTo>
                      <a:pt x="66" y="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13" name="Freeform 173"/>
              <p:cNvSpPr>
                <a:spLocks/>
              </p:cNvSpPr>
              <p:nvPr/>
            </p:nvSpPr>
            <p:spPr bwMode="auto">
              <a:xfrm>
                <a:off x="6894629" y="3065463"/>
                <a:ext cx="20636" cy="28575"/>
              </a:xfrm>
              <a:custGeom>
                <a:avLst/>
                <a:gdLst>
                  <a:gd name="T0" fmla="*/ 2 w 12"/>
                  <a:gd name="T1" fmla="*/ 0 h 18"/>
                  <a:gd name="T2" fmla="*/ 6 w 12"/>
                  <a:gd name="T3" fmla="*/ 6 h 18"/>
                  <a:gd name="T4" fmla="*/ 8 w 12"/>
                  <a:gd name="T5" fmla="*/ 6 h 18"/>
                  <a:gd name="T6" fmla="*/ 12 w 12"/>
                  <a:gd name="T7" fmla="*/ 16 h 18"/>
                  <a:gd name="T8" fmla="*/ 8 w 12"/>
                  <a:gd name="T9" fmla="*/ 18 h 18"/>
                  <a:gd name="T10" fmla="*/ 4 w 12"/>
                  <a:gd name="T11" fmla="*/ 16 h 18"/>
                  <a:gd name="T12" fmla="*/ 0 w 12"/>
                  <a:gd name="T13" fmla="*/ 4 h 18"/>
                  <a:gd name="T14" fmla="*/ 2 w 12"/>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8">
                    <a:moveTo>
                      <a:pt x="2" y="0"/>
                    </a:moveTo>
                    <a:lnTo>
                      <a:pt x="6" y="6"/>
                    </a:lnTo>
                    <a:lnTo>
                      <a:pt x="8" y="6"/>
                    </a:lnTo>
                    <a:lnTo>
                      <a:pt x="12" y="16"/>
                    </a:lnTo>
                    <a:lnTo>
                      <a:pt x="8" y="18"/>
                    </a:lnTo>
                    <a:lnTo>
                      <a:pt x="4" y="16"/>
                    </a:lnTo>
                    <a:lnTo>
                      <a:pt x="0" y="4"/>
                    </a:lnTo>
                    <a:lnTo>
                      <a:pt x="2"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14" name="Freeform 174"/>
              <p:cNvSpPr>
                <a:spLocks/>
              </p:cNvSpPr>
              <p:nvPr/>
            </p:nvSpPr>
            <p:spPr bwMode="auto">
              <a:xfrm>
                <a:off x="6894629" y="3065463"/>
                <a:ext cx="20636" cy="28575"/>
              </a:xfrm>
              <a:custGeom>
                <a:avLst/>
                <a:gdLst>
                  <a:gd name="T0" fmla="*/ 2 w 12"/>
                  <a:gd name="T1" fmla="*/ 0 h 18"/>
                  <a:gd name="T2" fmla="*/ 6 w 12"/>
                  <a:gd name="T3" fmla="*/ 6 h 18"/>
                  <a:gd name="T4" fmla="*/ 8 w 12"/>
                  <a:gd name="T5" fmla="*/ 6 h 18"/>
                  <a:gd name="T6" fmla="*/ 12 w 12"/>
                  <a:gd name="T7" fmla="*/ 16 h 18"/>
                  <a:gd name="T8" fmla="*/ 8 w 12"/>
                  <a:gd name="T9" fmla="*/ 18 h 18"/>
                  <a:gd name="T10" fmla="*/ 4 w 12"/>
                  <a:gd name="T11" fmla="*/ 16 h 18"/>
                  <a:gd name="T12" fmla="*/ 0 w 12"/>
                  <a:gd name="T13" fmla="*/ 4 h 18"/>
                  <a:gd name="T14" fmla="*/ 2 w 12"/>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8">
                    <a:moveTo>
                      <a:pt x="2" y="0"/>
                    </a:moveTo>
                    <a:lnTo>
                      <a:pt x="6" y="6"/>
                    </a:lnTo>
                    <a:lnTo>
                      <a:pt x="8" y="6"/>
                    </a:lnTo>
                    <a:lnTo>
                      <a:pt x="12" y="16"/>
                    </a:lnTo>
                    <a:lnTo>
                      <a:pt x="8" y="18"/>
                    </a:lnTo>
                    <a:lnTo>
                      <a:pt x="4" y="16"/>
                    </a:lnTo>
                    <a:lnTo>
                      <a:pt x="0" y="4"/>
                    </a:lnTo>
                    <a:lnTo>
                      <a:pt x="2"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15" name="Freeform 175"/>
              <p:cNvSpPr>
                <a:spLocks/>
              </p:cNvSpPr>
              <p:nvPr/>
            </p:nvSpPr>
            <p:spPr bwMode="auto">
              <a:xfrm>
                <a:off x="6825843" y="3405188"/>
                <a:ext cx="99740" cy="136525"/>
              </a:xfrm>
              <a:custGeom>
                <a:avLst/>
                <a:gdLst>
                  <a:gd name="T0" fmla="*/ 56 w 58"/>
                  <a:gd name="T1" fmla="*/ 38 h 86"/>
                  <a:gd name="T2" fmla="*/ 40 w 58"/>
                  <a:gd name="T3" fmla="*/ 42 h 86"/>
                  <a:gd name="T4" fmla="*/ 36 w 58"/>
                  <a:gd name="T5" fmla="*/ 48 h 86"/>
                  <a:gd name="T6" fmla="*/ 32 w 58"/>
                  <a:gd name="T7" fmla="*/ 56 h 86"/>
                  <a:gd name="T8" fmla="*/ 34 w 58"/>
                  <a:gd name="T9" fmla="*/ 76 h 86"/>
                  <a:gd name="T10" fmla="*/ 36 w 58"/>
                  <a:gd name="T11" fmla="*/ 82 h 86"/>
                  <a:gd name="T12" fmla="*/ 32 w 58"/>
                  <a:gd name="T13" fmla="*/ 86 h 86"/>
                  <a:gd name="T14" fmla="*/ 22 w 58"/>
                  <a:gd name="T15" fmla="*/ 84 h 86"/>
                  <a:gd name="T16" fmla="*/ 14 w 58"/>
                  <a:gd name="T17" fmla="*/ 80 h 86"/>
                  <a:gd name="T18" fmla="*/ 14 w 58"/>
                  <a:gd name="T19" fmla="*/ 76 h 86"/>
                  <a:gd name="T20" fmla="*/ 10 w 58"/>
                  <a:gd name="T21" fmla="*/ 74 h 86"/>
                  <a:gd name="T22" fmla="*/ 4 w 58"/>
                  <a:gd name="T23" fmla="*/ 74 h 86"/>
                  <a:gd name="T24" fmla="*/ 0 w 58"/>
                  <a:gd name="T25" fmla="*/ 76 h 86"/>
                  <a:gd name="T26" fmla="*/ 4 w 58"/>
                  <a:gd name="T27" fmla="*/ 42 h 86"/>
                  <a:gd name="T28" fmla="*/ 10 w 58"/>
                  <a:gd name="T29" fmla="*/ 40 h 86"/>
                  <a:gd name="T30" fmla="*/ 16 w 58"/>
                  <a:gd name="T31" fmla="*/ 38 h 86"/>
                  <a:gd name="T32" fmla="*/ 24 w 58"/>
                  <a:gd name="T33" fmla="*/ 28 h 86"/>
                  <a:gd name="T34" fmla="*/ 22 w 58"/>
                  <a:gd name="T35" fmla="*/ 22 h 86"/>
                  <a:gd name="T36" fmla="*/ 24 w 58"/>
                  <a:gd name="T37" fmla="*/ 10 h 86"/>
                  <a:gd name="T38" fmla="*/ 28 w 58"/>
                  <a:gd name="T39" fmla="*/ 8 h 86"/>
                  <a:gd name="T40" fmla="*/ 34 w 58"/>
                  <a:gd name="T41" fmla="*/ 4 h 86"/>
                  <a:gd name="T42" fmla="*/ 40 w 58"/>
                  <a:gd name="T43" fmla="*/ 4 h 86"/>
                  <a:gd name="T44" fmla="*/ 44 w 58"/>
                  <a:gd name="T45" fmla="*/ 0 h 86"/>
                  <a:gd name="T46" fmla="*/ 56 w 58"/>
                  <a:gd name="T47" fmla="*/ 10 h 86"/>
                  <a:gd name="T48" fmla="*/ 58 w 58"/>
                  <a:gd name="T49" fmla="*/ 10 h 86"/>
                  <a:gd name="T50" fmla="*/ 58 w 58"/>
                  <a:gd name="T51" fmla="*/ 18 h 86"/>
                  <a:gd name="T52" fmla="*/ 56 w 58"/>
                  <a:gd name="T53" fmla="*/ 22 h 86"/>
                  <a:gd name="T54" fmla="*/ 56 w 58"/>
                  <a:gd name="T5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86">
                    <a:moveTo>
                      <a:pt x="56" y="38"/>
                    </a:moveTo>
                    <a:lnTo>
                      <a:pt x="40" y="42"/>
                    </a:lnTo>
                    <a:lnTo>
                      <a:pt x="36" y="48"/>
                    </a:lnTo>
                    <a:lnTo>
                      <a:pt x="32" y="56"/>
                    </a:lnTo>
                    <a:lnTo>
                      <a:pt x="34" y="76"/>
                    </a:lnTo>
                    <a:lnTo>
                      <a:pt x="36" y="82"/>
                    </a:lnTo>
                    <a:lnTo>
                      <a:pt x="32" y="86"/>
                    </a:lnTo>
                    <a:lnTo>
                      <a:pt x="22" y="84"/>
                    </a:lnTo>
                    <a:lnTo>
                      <a:pt x="14" y="80"/>
                    </a:lnTo>
                    <a:lnTo>
                      <a:pt x="14" y="76"/>
                    </a:lnTo>
                    <a:lnTo>
                      <a:pt x="10" y="74"/>
                    </a:lnTo>
                    <a:lnTo>
                      <a:pt x="4" y="74"/>
                    </a:lnTo>
                    <a:lnTo>
                      <a:pt x="0" y="76"/>
                    </a:lnTo>
                    <a:lnTo>
                      <a:pt x="4" y="42"/>
                    </a:lnTo>
                    <a:lnTo>
                      <a:pt x="10" y="40"/>
                    </a:lnTo>
                    <a:lnTo>
                      <a:pt x="16" y="38"/>
                    </a:lnTo>
                    <a:lnTo>
                      <a:pt x="24" y="28"/>
                    </a:lnTo>
                    <a:lnTo>
                      <a:pt x="22" y="22"/>
                    </a:lnTo>
                    <a:lnTo>
                      <a:pt x="24" y="10"/>
                    </a:lnTo>
                    <a:lnTo>
                      <a:pt x="28" y="8"/>
                    </a:lnTo>
                    <a:lnTo>
                      <a:pt x="34" y="4"/>
                    </a:lnTo>
                    <a:lnTo>
                      <a:pt x="40" y="4"/>
                    </a:lnTo>
                    <a:lnTo>
                      <a:pt x="44" y="0"/>
                    </a:lnTo>
                    <a:lnTo>
                      <a:pt x="56" y="10"/>
                    </a:lnTo>
                    <a:lnTo>
                      <a:pt x="58" y="10"/>
                    </a:lnTo>
                    <a:lnTo>
                      <a:pt x="58" y="18"/>
                    </a:lnTo>
                    <a:lnTo>
                      <a:pt x="56" y="22"/>
                    </a:lnTo>
                    <a:lnTo>
                      <a:pt x="56" y="3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16" name="Freeform 176"/>
              <p:cNvSpPr>
                <a:spLocks/>
              </p:cNvSpPr>
              <p:nvPr/>
            </p:nvSpPr>
            <p:spPr bwMode="auto">
              <a:xfrm>
                <a:off x="6825843" y="3405188"/>
                <a:ext cx="99740" cy="136525"/>
              </a:xfrm>
              <a:custGeom>
                <a:avLst/>
                <a:gdLst>
                  <a:gd name="T0" fmla="*/ 56 w 58"/>
                  <a:gd name="T1" fmla="*/ 38 h 86"/>
                  <a:gd name="T2" fmla="*/ 40 w 58"/>
                  <a:gd name="T3" fmla="*/ 42 h 86"/>
                  <a:gd name="T4" fmla="*/ 36 w 58"/>
                  <a:gd name="T5" fmla="*/ 48 h 86"/>
                  <a:gd name="T6" fmla="*/ 32 w 58"/>
                  <a:gd name="T7" fmla="*/ 56 h 86"/>
                  <a:gd name="T8" fmla="*/ 34 w 58"/>
                  <a:gd name="T9" fmla="*/ 76 h 86"/>
                  <a:gd name="T10" fmla="*/ 36 w 58"/>
                  <a:gd name="T11" fmla="*/ 82 h 86"/>
                  <a:gd name="T12" fmla="*/ 32 w 58"/>
                  <a:gd name="T13" fmla="*/ 86 h 86"/>
                  <a:gd name="T14" fmla="*/ 22 w 58"/>
                  <a:gd name="T15" fmla="*/ 84 h 86"/>
                  <a:gd name="T16" fmla="*/ 14 w 58"/>
                  <a:gd name="T17" fmla="*/ 80 h 86"/>
                  <a:gd name="T18" fmla="*/ 14 w 58"/>
                  <a:gd name="T19" fmla="*/ 76 h 86"/>
                  <a:gd name="T20" fmla="*/ 10 w 58"/>
                  <a:gd name="T21" fmla="*/ 74 h 86"/>
                  <a:gd name="T22" fmla="*/ 4 w 58"/>
                  <a:gd name="T23" fmla="*/ 74 h 86"/>
                  <a:gd name="T24" fmla="*/ 0 w 58"/>
                  <a:gd name="T25" fmla="*/ 76 h 86"/>
                  <a:gd name="T26" fmla="*/ 4 w 58"/>
                  <a:gd name="T27" fmla="*/ 42 h 86"/>
                  <a:gd name="T28" fmla="*/ 10 w 58"/>
                  <a:gd name="T29" fmla="*/ 40 h 86"/>
                  <a:gd name="T30" fmla="*/ 16 w 58"/>
                  <a:gd name="T31" fmla="*/ 38 h 86"/>
                  <a:gd name="T32" fmla="*/ 24 w 58"/>
                  <a:gd name="T33" fmla="*/ 28 h 86"/>
                  <a:gd name="T34" fmla="*/ 22 w 58"/>
                  <a:gd name="T35" fmla="*/ 22 h 86"/>
                  <a:gd name="T36" fmla="*/ 24 w 58"/>
                  <a:gd name="T37" fmla="*/ 10 h 86"/>
                  <a:gd name="T38" fmla="*/ 28 w 58"/>
                  <a:gd name="T39" fmla="*/ 8 h 86"/>
                  <a:gd name="T40" fmla="*/ 34 w 58"/>
                  <a:gd name="T41" fmla="*/ 4 h 86"/>
                  <a:gd name="T42" fmla="*/ 40 w 58"/>
                  <a:gd name="T43" fmla="*/ 4 h 86"/>
                  <a:gd name="T44" fmla="*/ 44 w 58"/>
                  <a:gd name="T45" fmla="*/ 0 h 86"/>
                  <a:gd name="T46" fmla="*/ 56 w 58"/>
                  <a:gd name="T47" fmla="*/ 10 h 86"/>
                  <a:gd name="T48" fmla="*/ 58 w 58"/>
                  <a:gd name="T49" fmla="*/ 10 h 86"/>
                  <a:gd name="T50" fmla="*/ 58 w 58"/>
                  <a:gd name="T51" fmla="*/ 18 h 86"/>
                  <a:gd name="T52" fmla="*/ 56 w 58"/>
                  <a:gd name="T53" fmla="*/ 22 h 86"/>
                  <a:gd name="T54" fmla="*/ 56 w 58"/>
                  <a:gd name="T5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86">
                    <a:moveTo>
                      <a:pt x="56" y="38"/>
                    </a:moveTo>
                    <a:lnTo>
                      <a:pt x="40" y="42"/>
                    </a:lnTo>
                    <a:lnTo>
                      <a:pt x="36" y="48"/>
                    </a:lnTo>
                    <a:lnTo>
                      <a:pt x="32" y="56"/>
                    </a:lnTo>
                    <a:lnTo>
                      <a:pt x="34" y="76"/>
                    </a:lnTo>
                    <a:lnTo>
                      <a:pt x="36" y="82"/>
                    </a:lnTo>
                    <a:lnTo>
                      <a:pt x="32" y="86"/>
                    </a:lnTo>
                    <a:lnTo>
                      <a:pt x="22" y="84"/>
                    </a:lnTo>
                    <a:lnTo>
                      <a:pt x="14" y="80"/>
                    </a:lnTo>
                    <a:lnTo>
                      <a:pt x="14" y="76"/>
                    </a:lnTo>
                    <a:lnTo>
                      <a:pt x="10" y="74"/>
                    </a:lnTo>
                    <a:lnTo>
                      <a:pt x="4" y="74"/>
                    </a:lnTo>
                    <a:lnTo>
                      <a:pt x="0" y="76"/>
                    </a:lnTo>
                    <a:lnTo>
                      <a:pt x="4" y="42"/>
                    </a:lnTo>
                    <a:lnTo>
                      <a:pt x="10" y="40"/>
                    </a:lnTo>
                    <a:lnTo>
                      <a:pt x="16" y="38"/>
                    </a:lnTo>
                    <a:lnTo>
                      <a:pt x="24" y="28"/>
                    </a:lnTo>
                    <a:lnTo>
                      <a:pt x="22" y="22"/>
                    </a:lnTo>
                    <a:lnTo>
                      <a:pt x="24" y="10"/>
                    </a:lnTo>
                    <a:lnTo>
                      <a:pt x="28" y="8"/>
                    </a:lnTo>
                    <a:lnTo>
                      <a:pt x="34" y="4"/>
                    </a:lnTo>
                    <a:lnTo>
                      <a:pt x="40" y="4"/>
                    </a:lnTo>
                    <a:lnTo>
                      <a:pt x="44" y="0"/>
                    </a:lnTo>
                    <a:lnTo>
                      <a:pt x="56" y="10"/>
                    </a:lnTo>
                    <a:lnTo>
                      <a:pt x="58" y="10"/>
                    </a:lnTo>
                    <a:lnTo>
                      <a:pt x="58" y="18"/>
                    </a:lnTo>
                    <a:lnTo>
                      <a:pt x="56" y="22"/>
                    </a:lnTo>
                    <a:lnTo>
                      <a:pt x="56" y="3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17" name="Freeform 177"/>
              <p:cNvSpPr>
                <a:spLocks/>
              </p:cNvSpPr>
              <p:nvPr/>
            </p:nvSpPr>
            <p:spPr bwMode="auto">
              <a:xfrm>
                <a:off x="6908386" y="3370263"/>
                <a:ext cx="10318" cy="31750"/>
              </a:xfrm>
              <a:custGeom>
                <a:avLst/>
                <a:gdLst>
                  <a:gd name="T0" fmla="*/ 0 w 6"/>
                  <a:gd name="T1" fmla="*/ 0 h 20"/>
                  <a:gd name="T2" fmla="*/ 0 w 6"/>
                  <a:gd name="T3" fmla="*/ 20 h 20"/>
                  <a:gd name="T4" fmla="*/ 4 w 6"/>
                  <a:gd name="T5" fmla="*/ 18 h 20"/>
                  <a:gd name="T6" fmla="*/ 6 w 6"/>
                  <a:gd name="T7" fmla="*/ 14 h 20"/>
                  <a:gd name="T8" fmla="*/ 0 w 6"/>
                  <a:gd name="T9" fmla="*/ 0 h 20"/>
                </a:gdLst>
                <a:ahLst/>
                <a:cxnLst>
                  <a:cxn ang="0">
                    <a:pos x="T0" y="T1"/>
                  </a:cxn>
                  <a:cxn ang="0">
                    <a:pos x="T2" y="T3"/>
                  </a:cxn>
                  <a:cxn ang="0">
                    <a:pos x="T4" y="T5"/>
                  </a:cxn>
                  <a:cxn ang="0">
                    <a:pos x="T6" y="T7"/>
                  </a:cxn>
                  <a:cxn ang="0">
                    <a:pos x="T8" y="T9"/>
                  </a:cxn>
                </a:cxnLst>
                <a:rect l="0" t="0" r="r" b="b"/>
                <a:pathLst>
                  <a:path w="6" h="20">
                    <a:moveTo>
                      <a:pt x="0" y="0"/>
                    </a:moveTo>
                    <a:lnTo>
                      <a:pt x="0" y="20"/>
                    </a:lnTo>
                    <a:lnTo>
                      <a:pt x="4" y="18"/>
                    </a:lnTo>
                    <a:lnTo>
                      <a:pt x="6" y="14"/>
                    </a:lnTo>
                    <a:lnTo>
                      <a:pt x="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18" name="Freeform 178"/>
              <p:cNvSpPr>
                <a:spLocks/>
              </p:cNvSpPr>
              <p:nvPr/>
            </p:nvSpPr>
            <p:spPr bwMode="auto">
              <a:xfrm>
                <a:off x="6908386" y="3370263"/>
                <a:ext cx="10318" cy="31750"/>
              </a:xfrm>
              <a:custGeom>
                <a:avLst/>
                <a:gdLst>
                  <a:gd name="T0" fmla="*/ 0 w 6"/>
                  <a:gd name="T1" fmla="*/ 0 h 20"/>
                  <a:gd name="T2" fmla="*/ 0 w 6"/>
                  <a:gd name="T3" fmla="*/ 20 h 20"/>
                  <a:gd name="T4" fmla="*/ 4 w 6"/>
                  <a:gd name="T5" fmla="*/ 18 h 20"/>
                  <a:gd name="T6" fmla="*/ 6 w 6"/>
                  <a:gd name="T7" fmla="*/ 14 h 20"/>
                  <a:gd name="T8" fmla="*/ 0 w 6"/>
                  <a:gd name="T9" fmla="*/ 0 h 20"/>
                </a:gdLst>
                <a:ahLst/>
                <a:cxnLst>
                  <a:cxn ang="0">
                    <a:pos x="T0" y="T1"/>
                  </a:cxn>
                  <a:cxn ang="0">
                    <a:pos x="T2" y="T3"/>
                  </a:cxn>
                  <a:cxn ang="0">
                    <a:pos x="T4" y="T5"/>
                  </a:cxn>
                  <a:cxn ang="0">
                    <a:pos x="T6" y="T7"/>
                  </a:cxn>
                  <a:cxn ang="0">
                    <a:pos x="T8" y="T9"/>
                  </a:cxn>
                </a:cxnLst>
                <a:rect l="0" t="0" r="r" b="b"/>
                <a:pathLst>
                  <a:path w="6" h="20">
                    <a:moveTo>
                      <a:pt x="0" y="0"/>
                    </a:moveTo>
                    <a:lnTo>
                      <a:pt x="0" y="20"/>
                    </a:lnTo>
                    <a:lnTo>
                      <a:pt x="4" y="18"/>
                    </a:lnTo>
                    <a:lnTo>
                      <a:pt x="6" y="14"/>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19" name="Freeform 179"/>
              <p:cNvSpPr>
                <a:spLocks/>
              </p:cNvSpPr>
              <p:nvPr/>
            </p:nvSpPr>
            <p:spPr bwMode="auto">
              <a:xfrm>
                <a:off x="6712345" y="3529013"/>
                <a:ext cx="141012" cy="171450"/>
              </a:xfrm>
              <a:custGeom>
                <a:avLst/>
                <a:gdLst>
                  <a:gd name="T0" fmla="*/ 18 w 82"/>
                  <a:gd name="T1" fmla="*/ 8 h 108"/>
                  <a:gd name="T2" fmla="*/ 20 w 82"/>
                  <a:gd name="T3" fmla="*/ 6 h 108"/>
                  <a:gd name="T4" fmla="*/ 18 w 82"/>
                  <a:gd name="T5" fmla="*/ 8 h 108"/>
                  <a:gd name="T6" fmla="*/ 14 w 82"/>
                  <a:gd name="T7" fmla="*/ 12 h 108"/>
                  <a:gd name="T8" fmla="*/ 12 w 82"/>
                  <a:gd name="T9" fmla="*/ 20 h 108"/>
                  <a:gd name="T10" fmla="*/ 14 w 82"/>
                  <a:gd name="T11" fmla="*/ 26 h 108"/>
                  <a:gd name="T12" fmla="*/ 10 w 82"/>
                  <a:gd name="T13" fmla="*/ 30 h 108"/>
                  <a:gd name="T14" fmla="*/ 8 w 82"/>
                  <a:gd name="T15" fmla="*/ 34 h 108"/>
                  <a:gd name="T16" fmla="*/ 6 w 82"/>
                  <a:gd name="T17" fmla="*/ 40 h 108"/>
                  <a:gd name="T18" fmla="*/ 2 w 82"/>
                  <a:gd name="T19" fmla="*/ 38 h 108"/>
                  <a:gd name="T20" fmla="*/ 0 w 82"/>
                  <a:gd name="T21" fmla="*/ 54 h 108"/>
                  <a:gd name="T22" fmla="*/ 12 w 82"/>
                  <a:gd name="T23" fmla="*/ 58 h 108"/>
                  <a:gd name="T24" fmla="*/ 16 w 82"/>
                  <a:gd name="T25" fmla="*/ 62 h 108"/>
                  <a:gd name="T26" fmla="*/ 10 w 82"/>
                  <a:gd name="T27" fmla="*/ 58 h 108"/>
                  <a:gd name="T28" fmla="*/ 6 w 82"/>
                  <a:gd name="T29" fmla="*/ 60 h 108"/>
                  <a:gd name="T30" fmla="*/ 16 w 82"/>
                  <a:gd name="T31" fmla="*/ 72 h 108"/>
                  <a:gd name="T32" fmla="*/ 18 w 82"/>
                  <a:gd name="T33" fmla="*/ 68 h 108"/>
                  <a:gd name="T34" fmla="*/ 22 w 82"/>
                  <a:gd name="T35" fmla="*/ 62 h 108"/>
                  <a:gd name="T36" fmla="*/ 30 w 82"/>
                  <a:gd name="T37" fmla="*/ 60 h 108"/>
                  <a:gd name="T38" fmla="*/ 30 w 82"/>
                  <a:gd name="T39" fmla="*/ 54 h 108"/>
                  <a:gd name="T40" fmla="*/ 24 w 82"/>
                  <a:gd name="T41" fmla="*/ 54 h 108"/>
                  <a:gd name="T42" fmla="*/ 22 w 82"/>
                  <a:gd name="T43" fmla="*/ 54 h 108"/>
                  <a:gd name="T44" fmla="*/ 18 w 82"/>
                  <a:gd name="T45" fmla="*/ 46 h 108"/>
                  <a:gd name="T46" fmla="*/ 20 w 82"/>
                  <a:gd name="T47" fmla="*/ 42 h 108"/>
                  <a:gd name="T48" fmla="*/ 34 w 82"/>
                  <a:gd name="T49" fmla="*/ 52 h 108"/>
                  <a:gd name="T50" fmla="*/ 36 w 82"/>
                  <a:gd name="T51" fmla="*/ 56 h 108"/>
                  <a:gd name="T52" fmla="*/ 38 w 82"/>
                  <a:gd name="T53" fmla="*/ 56 h 108"/>
                  <a:gd name="T54" fmla="*/ 42 w 82"/>
                  <a:gd name="T55" fmla="*/ 64 h 108"/>
                  <a:gd name="T56" fmla="*/ 44 w 82"/>
                  <a:gd name="T57" fmla="*/ 72 h 108"/>
                  <a:gd name="T58" fmla="*/ 42 w 82"/>
                  <a:gd name="T59" fmla="*/ 78 h 108"/>
                  <a:gd name="T60" fmla="*/ 42 w 82"/>
                  <a:gd name="T61" fmla="*/ 84 h 108"/>
                  <a:gd name="T62" fmla="*/ 52 w 82"/>
                  <a:gd name="T63" fmla="*/ 100 h 108"/>
                  <a:gd name="T64" fmla="*/ 54 w 82"/>
                  <a:gd name="T65" fmla="*/ 106 h 108"/>
                  <a:gd name="T66" fmla="*/ 58 w 82"/>
                  <a:gd name="T67" fmla="*/ 108 h 108"/>
                  <a:gd name="T68" fmla="*/ 68 w 82"/>
                  <a:gd name="T69" fmla="*/ 106 h 108"/>
                  <a:gd name="T70" fmla="*/ 66 w 82"/>
                  <a:gd name="T71" fmla="*/ 98 h 108"/>
                  <a:gd name="T72" fmla="*/ 60 w 82"/>
                  <a:gd name="T73" fmla="*/ 92 h 108"/>
                  <a:gd name="T74" fmla="*/ 58 w 82"/>
                  <a:gd name="T75" fmla="*/ 86 h 108"/>
                  <a:gd name="T76" fmla="*/ 64 w 82"/>
                  <a:gd name="T77" fmla="*/ 84 h 108"/>
                  <a:gd name="T78" fmla="*/ 62 w 82"/>
                  <a:gd name="T79" fmla="*/ 88 h 108"/>
                  <a:gd name="T80" fmla="*/ 74 w 82"/>
                  <a:gd name="T81" fmla="*/ 106 h 108"/>
                  <a:gd name="T82" fmla="*/ 78 w 82"/>
                  <a:gd name="T83" fmla="*/ 102 h 108"/>
                  <a:gd name="T84" fmla="*/ 80 w 82"/>
                  <a:gd name="T85" fmla="*/ 96 h 108"/>
                  <a:gd name="T86" fmla="*/ 78 w 82"/>
                  <a:gd name="T87" fmla="*/ 90 h 108"/>
                  <a:gd name="T88" fmla="*/ 78 w 82"/>
                  <a:gd name="T89" fmla="*/ 84 h 108"/>
                  <a:gd name="T90" fmla="*/ 82 w 82"/>
                  <a:gd name="T91" fmla="*/ 84 h 108"/>
                  <a:gd name="T92" fmla="*/ 72 w 82"/>
                  <a:gd name="T93" fmla="*/ 20 h 108"/>
                  <a:gd name="T94" fmla="*/ 68 w 82"/>
                  <a:gd name="T95" fmla="*/ 16 h 108"/>
                  <a:gd name="T96" fmla="*/ 62 w 82"/>
                  <a:gd name="T97" fmla="*/ 12 h 108"/>
                  <a:gd name="T98" fmla="*/ 54 w 82"/>
                  <a:gd name="T99" fmla="*/ 14 h 108"/>
                  <a:gd name="T100" fmla="*/ 52 w 82"/>
                  <a:gd name="T101" fmla="*/ 12 h 108"/>
                  <a:gd name="T102" fmla="*/ 50 w 82"/>
                  <a:gd name="T103" fmla="*/ 2 h 108"/>
                  <a:gd name="T104" fmla="*/ 46 w 82"/>
                  <a:gd name="T105" fmla="*/ 0 h 108"/>
                  <a:gd name="T106" fmla="*/ 44 w 82"/>
                  <a:gd name="T107" fmla="*/ 4 h 108"/>
                  <a:gd name="T108" fmla="*/ 36 w 82"/>
                  <a:gd name="T109" fmla="*/ 10 h 108"/>
                  <a:gd name="T110" fmla="*/ 26 w 82"/>
                  <a:gd name="T111" fmla="*/ 8 h 108"/>
                  <a:gd name="T112" fmla="*/ 24 w 82"/>
                  <a:gd name="T113" fmla="*/ 6 h 108"/>
                  <a:gd name="T114" fmla="*/ 18 w 82"/>
                  <a:gd name="T115" fmla="*/ 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 h="108">
                    <a:moveTo>
                      <a:pt x="18" y="8"/>
                    </a:moveTo>
                    <a:lnTo>
                      <a:pt x="20" y="6"/>
                    </a:lnTo>
                    <a:lnTo>
                      <a:pt x="18" y="8"/>
                    </a:lnTo>
                    <a:lnTo>
                      <a:pt x="14" y="12"/>
                    </a:lnTo>
                    <a:lnTo>
                      <a:pt x="12" y="20"/>
                    </a:lnTo>
                    <a:lnTo>
                      <a:pt x="14" y="26"/>
                    </a:lnTo>
                    <a:lnTo>
                      <a:pt x="10" y="30"/>
                    </a:lnTo>
                    <a:lnTo>
                      <a:pt x="8" y="34"/>
                    </a:lnTo>
                    <a:lnTo>
                      <a:pt x="6" y="40"/>
                    </a:lnTo>
                    <a:lnTo>
                      <a:pt x="2" y="38"/>
                    </a:lnTo>
                    <a:lnTo>
                      <a:pt x="0" y="54"/>
                    </a:lnTo>
                    <a:lnTo>
                      <a:pt x="12" y="58"/>
                    </a:lnTo>
                    <a:lnTo>
                      <a:pt x="16" y="62"/>
                    </a:lnTo>
                    <a:lnTo>
                      <a:pt x="10" y="58"/>
                    </a:lnTo>
                    <a:lnTo>
                      <a:pt x="6" y="60"/>
                    </a:lnTo>
                    <a:lnTo>
                      <a:pt x="16" y="72"/>
                    </a:lnTo>
                    <a:lnTo>
                      <a:pt x="18" y="68"/>
                    </a:lnTo>
                    <a:lnTo>
                      <a:pt x="22" y="62"/>
                    </a:lnTo>
                    <a:lnTo>
                      <a:pt x="30" y="60"/>
                    </a:lnTo>
                    <a:lnTo>
                      <a:pt x="30" y="54"/>
                    </a:lnTo>
                    <a:lnTo>
                      <a:pt x="24" y="54"/>
                    </a:lnTo>
                    <a:lnTo>
                      <a:pt x="22" y="54"/>
                    </a:lnTo>
                    <a:lnTo>
                      <a:pt x="18" y="46"/>
                    </a:lnTo>
                    <a:lnTo>
                      <a:pt x="20" y="42"/>
                    </a:lnTo>
                    <a:lnTo>
                      <a:pt x="34" y="52"/>
                    </a:lnTo>
                    <a:lnTo>
                      <a:pt x="36" y="56"/>
                    </a:lnTo>
                    <a:lnTo>
                      <a:pt x="38" y="56"/>
                    </a:lnTo>
                    <a:lnTo>
                      <a:pt x="42" y="64"/>
                    </a:lnTo>
                    <a:lnTo>
                      <a:pt x="44" y="72"/>
                    </a:lnTo>
                    <a:lnTo>
                      <a:pt x="42" y="78"/>
                    </a:lnTo>
                    <a:lnTo>
                      <a:pt x="42" y="84"/>
                    </a:lnTo>
                    <a:lnTo>
                      <a:pt x="52" y="100"/>
                    </a:lnTo>
                    <a:lnTo>
                      <a:pt x="54" y="106"/>
                    </a:lnTo>
                    <a:lnTo>
                      <a:pt x="58" y="108"/>
                    </a:lnTo>
                    <a:lnTo>
                      <a:pt x="68" y="106"/>
                    </a:lnTo>
                    <a:lnTo>
                      <a:pt x="66" y="98"/>
                    </a:lnTo>
                    <a:lnTo>
                      <a:pt x="60" y="92"/>
                    </a:lnTo>
                    <a:lnTo>
                      <a:pt x="58" y="86"/>
                    </a:lnTo>
                    <a:lnTo>
                      <a:pt x="64" y="84"/>
                    </a:lnTo>
                    <a:lnTo>
                      <a:pt x="62" y="88"/>
                    </a:lnTo>
                    <a:lnTo>
                      <a:pt x="74" y="106"/>
                    </a:lnTo>
                    <a:lnTo>
                      <a:pt x="78" y="102"/>
                    </a:lnTo>
                    <a:lnTo>
                      <a:pt x="80" y="96"/>
                    </a:lnTo>
                    <a:lnTo>
                      <a:pt x="78" y="90"/>
                    </a:lnTo>
                    <a:lnTo>
                      <a:pt x="78" y="84"/>
                    </a:lnTo>
                    <a:lnTo>
                      <a:pt x="82" y="84"/>
                    </a:lnTo>
                    <a:lnTo>
                      <a:pt x="72" y="20"/>
                    </a:lnTo>
                    <a:lnTo>
                      <a:pt x="68" y="16"/>
                    </a:lnTo>
                    <a:lnTo>
                      <a:pt x="62" y="12"/>
                    </a:lnTo>
                    <a:lnTo>
                      <a:pt x="54" y="14"/>
                    </a:lnTo>
                    <a:lnTo>
                      <a:pt x="52" y="12"/>
                    </a:lnTo>
                    <a:lnTo>
                      <a:pt x="50" y="2"/>
                    </a:lnTo>
                    <a:lnTo>
                      <a:pt x="46" y="0"/>
                    </a:lnTo>
                    <a:lnTo>
                      <a:pt x="44" y="4"/>
                    </a:lnTo>
                    <a:lnTo>
                      <a:pt x="36" y="10"/>
                    </a:lnTo>
                    <a:lnTo>
                      <a:pt x="26" y="8"/>
                    </a:lnTo>
                    <a:lnTo>
                      <a:pt x="24" y="6"/>
                    </a:lnTo>
                    <a:lnTo>
                      <a:pt x="18"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20" name="Freeform 180"/>
              <p:cNvSpPr>
                <a:spLocks/>
              </p:cNvSpPr>
              <p:nvPr/>
            </p:nvSpPr>
            <p:spPr bwMode="auto">
              <a:xfrm>
                <a:off x="6712345" y="3529013"/>
                <a:ext cx="141012" cy="171450"/>
              </a:xfrm>
              <a:custGeom>
                <a:avLst/>
                <a:gdLst>
                  <a:gd name="T0" fmla="*/ 18 w 82"/>
                  <a:gd name="T1" fmla="*/ 8 h 108"/>
                  <a:gd name="T2" fmla="*/ 20 w 82"/>
                  <a:gd name="T3" fmla="*/ 6 h 108"/>
                  <a:gd name="T4" fmla="*/ 18 w 82"/>
                  <a:gd name="T5" fmla="*/ 8 h 108"/>
                  <a:gd name="T6" fmla="*/ 14 w 82"/>
                  <a:gd name="T7" fmla="*/ 12 h 108"/>
                  <a:gd name="T8" fmla="*/ 12 w 82"/>
                  <a:gd name="T9" fmla="*/ 20 h 108"/>
                  <a:gd name="T10" fmla="*/ 14 w 82"/>
                  <a:gd name="T11" fmla="*/ 26 h 108"/>
                  <a:gd name="T12" fmla="*/ 10 w 82"/>
                  <a:gd name="T13" fmla="*/ 30 h 108"/>
                  <a:gd name="T14" fmla="*/ 8 w 82"/>
                  <a:gd name="T15" fmla="*/ 34 h 108"/>
                  <a:gd name="T16" fmla="*/ 6 w 82"/>
                  <a:gd name="T17" fmla="*/ 40 h 108"/>
                  <a:gd name="T18" fmla="*/ 2 w 82"/>
                  <a:gd name="T19" fmla="*/ 38 h 108"/>
                  <a:gd name="T20" fmla="*/ 0 w 82"/>
                  <a:gd name="T21" fmla="*/ 54 h 108"/>
                  <a:gd name="T22" fmla="*/ 12 w 82"/>
                  <a:gd name="T23" fmla="*/ 58 h 108"/>
                  <a:gd name="T24" fmla="*/ 16 w 82"/>
                  <a:gd name="T25" fmla="*/ 62 h 108"/>
                  <a:gd name="T26" fmla="*/ 10 w 82"/>
                  <a:gd name="T27" fmla="*/ 58 h 108"/>
                  <a:gd name="T28" fmla="*/ 6 w 82"/>
                  <a:gd name="T29" fmla="*/ 60 h 108"/>
                  <a:gd name="T30" fmla="*/ 16 w 82"/>
                  <a:gd name="T31" fmla="*/ 72 h 108"/>
                  <a:gd name="T32" fmla="*/ 18 w 82"/>
                  <a:gd name="T33" fmla="*/ 68 h 108"/>
                  <a:gd name="T34" fmla="*/ 22 w 82"/>
                  <a:gd name="T35" fmla="*/ 62 h 108"/>
                  <a:gd name="T36" fmla="*/ 30 w 82"/>
                  <a:gd name="T37" fmla="*/ 60 h 108"/>
                  <a:gd name="T38" fmla="*/ 30 w 82"/>
                  <a:gd name="T39" fmla="*/ 54 h 108"/>
                  <a:gd name="T40" fmla="*/ 24 w 82"/>
                  <a:gd name="T41" fmla="*/ 54 h 108"/>
                  <a:gd name="T42" fmla="*/ 22 w 82"/>
                  <a:gd name="T43" fmla="*/ 54 h 108"/>
                  <a:gd name="T44" fmla="*/ 18 w 82"/>
                  <a:gd name="T45" fmla="*/ 46 h 108"/>
                  <a:gd name="T46" fmla="*/ 20 w 82"/>
                  <a:gd name="T47" fmla="*/ 42 h 108"/>
                  <a:gd name="T48" fmla="*/ 34 w 82"/>
                  <a:gd name="T49" fmla="*/ 52 h 108"/>
                  <a:gd name="T50" fmla="*/ 36 w 82"/>
                  <a:gd name="T51" fmla="*/ 56 h 108"/>
                  <a:gd name="T52" fmla="*/ 38 w 82"/>
                  <a:gd name="T53" fmla="*/ 56 h 108"/>
                  <a:gd name="T54" fmla="*/ 42 w 82"/>
                  <a:gd name="T55" fmla="*/ 64 h 108"/>
                  <a:gd name="T56" fmla="*/ 44 w 82"/>
                  <a:gd name="T57" fmla="*/ 72 h 108"/>
                  <a:gd name="T58" fmla="*/ 42 w 82"/>
                  <a:gd name="T59" fmla="*/ 78 h 108"/>
                  <a:gd name="T60" fmla="*/ 42 w 82"/>
                  <a:gd name="T61" fmla="*/ 84 h 108"/>
                  <a:gd name="T62" fmla="*/ 52 w 82"/>
                  <a:gd name="T63" fmla="*/ 100 h 108"/>
                  <a:gd name="T64" fmla="*/ 54 w 82"/>
                  <a:gd name="T65" fmla="*/ 106 h 108"/>
                  <a:gd name="T66" fmla="*/ 58 w 82"/>
                  <a:gd name="T67" fmla="*/ 108 h 108"/>
                  <a:gd name="T68" fmla="*/ 68 w 82"/>
                  <a:gd name="T69" fmla="*/ 106 h 108"/>
                  <a:gd name="T70" fmla="*/ 66 w 82"/>
                  <a:gd name="T71" fmla="*/ 98 h 108"/>
                  <a:gd name="T72" fmla="*/ 60 w 82"/>
                  <a:gd name="T73" fmla="*/ 92 h 108"/>
                  <a:gd name="T74" fmla="*/ 58 w 82"/>
                  <a:gd name="T75" fmla="*/ 86 h 108"/>
                  <a:gd name="T76" fmla="*/ 64 w 82"/>
                  <a:gd name="T77" fmla="*/ 84 h 108"/>
                  <a:gd name="T78" fmla="*/ 62 w 82"/>
                  <a:gd name="T79" fmla="*/ 88 h 108"/>
                  <a:gd name="T80" fmla="*/ 74 w 82"/>
                  <a:gd name="T81" fmla="*/ 106 h 108"/>
                  <a:gd name="T82" fmla="*/ 78 w 82"/>
                  <a:gd name="T83" fmla="*/ 102 h 108"/>
                  <a:gd name="T84" fmla="*/ 80 w 82"/>
                  <a:gd name="T85" fmla="*/ 96 h 108"/>
                  <a:gd name="T86" fmla="*/ 78 w 82"/>
                  <a:gd name="T87" fmla="*/ 90 h 108"/>
                  <a:gd name="T88" fmla="*/ 78 w 82"/>
                  <a:gd name="T89" fmla="*/ 84 h 108"/>
                  <a:gd name="T90" fmla="*/ 82 w 82"/>
                  <a:gd name="T91" fmla="*/ 84 h 108"/>
                  <a:gd name="T92" fmla="*/ 72 w 82"/>
                  <a:gd name="T93" fmla="*/ 20 h 108"/>
                  <a:gd name="T94" fmla="*/ 68 w 82"/>
                  <a:gd name="T95" fmla="*/ 16 h 108"/>
                  <a:gd name="T96" fmla="*/ 62 w 82"/>
                  <a:gd name="T97" fmla="*/ 12 h 108"/>
                  <a:gd name="T98" fmla="*/ 54 w 82"/>
                  <a:gd name="T99" fmla="*/ 14 h 108"/>
                  <a:gd name="T100" fmla="*/ 52 w 82"/>
                  <a:gd name="T101" fmla="*/ 12 h 108"/>
                  <a:gd name="T102" fmla="*/ 50 w 82"/>
                  <a:gd name="T103" fmla="*/ 2 h 108"/>
                  <a:gd name="T104" fmla="*/ 46 w 82"/>
                  <a:gd name="T105" fmla="*/ 0 h 108"/>
                  <a:gd name="T106" fmla="*/ 44 w 82"/>
                  <a:gd name="T107" fmla="*/ 4 h 108"/>
                  <a:gd name="T108" fmla="*/ 36 w 82"/>
                  <a:gd name="T109" fmla="*/ 10 h 108"/>
                  <a:gd name="T110" fmla="*/ 26 w 82"/>
                  <a:gd name="T111" fmla="*/ 8 h 108"/>
                  <a:gd name="T112" fmla="*/ 24 w 82"/>
                  <a:gd name="T113" fmla="*/ 6 h 108"/>
                  <a:gd name="T114" fmla="*/ 18 w 82"/>
                  <a:gd name="T115" fmla="*/ 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 h="108">
                    <a:moveTo>
                      <a:pt x="18" y="8"/>
                    </a:moveTo>
                    <a:lnTo>
                      <a:pt x="20" y="6"/>
                    </a:lnTo>
                    <a:lnTo>
                      <a:pt x="18" y="8"/>
                    </a:lnTo>
                    <a:lnTo>
                      <a:pt x="14" y="12"/>
                    </a:lnTo>
                    <a:lnTo>
                      <a:pt x="12" y="20"/>
                    </a:lnTo>
                    <a:lnTo>
                      <a:pt x="14" y="26"/>
                    </a:lnTo>
                    <a:lnTo>
                      <a:pt x="10" y="30"/>
                    </a:lnTo>
                    <a:lnTo>
                      <a:pt x="8" y="34"/>
                    </a:lnTo>
                    <a:lnTo>
                      <a:pt x="6" y="40"/>
                    </a:lnTo>
                    <a:lnTo>
                      <a:pt x="2" y="38"/>
                    </a:lnTo>
                    <a:lnTo>
                      <a:pt x="0" y="54"/>
                    </a:lnTo>
                    <a:lnTo>
                      <a:pt x="12" y="58"/>
                    </a:lnTo>
                    <a:lnTo>
                      <a:pt x="16" y="62"/>
                    </a:lnTo>
                    <a:lnTo>
                      <a:pt x="10" y="58"/>
                    </a:lnTo>
                    <a:lnTo>
                      <a:pt x="6" y="60"/>
                    </a:lnTo>
                    <a:lnTo>
                      <a:pt x="16" y="72"/>
                    </a:lnTo>
                    <a:lnTo>
                      <a:pt x="18" y="68"/>
                    </a:lnTo>
                    <a:lnTo>
                      <a:pt x="22" y="62"/>
                    </a:lnTo>
                    <a:lnTo>
                      <a:pt x="30" y="60"/>
                    </a:lnTo>
                    <a:lnTo>
                      <a:pt x="30" y="54"/>
                    </a:lnTo>
                    <a:lnTo>
                      <a:pt x="24" y="54"/>
                    </a:lnTo>
                    <a:lnTo>
                      <a:pt x="22" y="54"/>
                    </a:lnTo>
                    <a:lnTo>
                      <a:pt x="18" y="46"/>
                    </a:lnTo>
                    <a:lnTo>
                      <a:pt x="20" y="42"/>
                    </a:lnTo>
                    <a:lnTo>
                      <a:pt x="34" y="52"/>
                    </a:lnTo>
                    <a:lnTo>
                      <a:pt x="36" y="56"/>
                    </a:lnTo>
                    <a:lnTo>
                      <a:pt x="38" y="56"/>
                    </a:lnTo>
                    <a:lnTo>
                      <a:pt x="42" y="64"/>
                    </a:lnTo>
                    <a:lnTo>
                      <a:pt x="44" y="72"/>
                    </a:lnTo>
                    <a:lnTo>
                      <a:pt x="42" y="78"/>
                    </a:lnTo>
                    <a:lnTo>
                      <a:pt x="42" y="84"/>
                    </a:lnTo>
                    <a:lnTo>
                      <a:pt x="52" y="100"/>
                    </a:lnTo>
                    <a:lnTo>
                      <a:pt x="54" y="106"/>
                    </a:lnTo>
                    <a:lnTo>
                      <a:pt x="58" y="108"/>
                    </a:lnTo>
                    <a:lnTo>
                      <a:pt x="68" y="106"/>
                    </a:lnTo>
                    <a:lnTo>
                      <a:pt x="66" y="98"/>
                    </a:lnTo>
                    <a:lnTo>
                      <a:pt x="60" y="92"/>
                    </a:lnTo>
                    <a:lnTo>
                      <a:pt x="58" y="86"/>
                    </a:lnTo>
                    <a:lnTo>
                      <a:pt x="64" y="84"/>
                    </a:lnTo>
                    <a:lnTo>
                      <a:pt x="62" y="88"/>
                    </a:lnTo>
                    <a:lnTo>
                      <a:pt x="74" y="106"/>
                    </a:lnTo>
                    <a:lnTo>
                      <a:pt x="78" y="102"/>
                    </a:lnTo>
                    <a:lnTo>
                      <a:pt x="80" y="96"/>
                    </a:lnTo>
                    <a:lnTo>
                      <a:pt x="78" y="90"/>
                    </a:lnTo>
                    <a:lnTo>
                      <a:pt x="78" y="84"/>
                    </a:lnTo>
                    <a:lnTo>
                      <a:pt x="82" y="84"/>
                    </a:lnTo>
                    <a:lnTo>
                      <a:pt x="72" y="20"/>
                    </a:lnTo>
                    <a:lnTo>
                      <a:pt x="68" y="16"/>
                    </a:lnTo>
                    <a:lnTo>
                      <a:pt x="62" y="12"/>
                    </a:lnTo>
                    <a:lnTo>
                      <a:pt x="54" y="14"/>
                    </a:lnTo>
                    <a:lnTo>
                      <a:pt x="52" y="12"/>
                    </a:lnTo>
                    <a:lnTo>
                      <a:pt x="50" y="2"/>
                    </a:lnTo>
                    <a:lnTo>
                      <a:pt x="46" y="0"/>
                    </a:lnTo>
                    <a:lnTo>
                      <a:pt x="44" y="4"/>
                    </a:lnTo>
                    <a:lnTo>
                      <a:pt x="36" y="10"/>
                    </a:lnTo>
                    <a:lnTo>
                      <a:pt x="26" y="8"/>
                    </a:lnTo>
                    <a:lnTo>
                      <a:pt x="24" y="6"/>
                    </a:lnTo>
                    <a:lnTo>
                      <a:pt x="18"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21" name="Freeform 181"/>
              <p:cNvSpPr>
                <a:spLocks/>
              </p:cNvSpPr>
              <p:nvPr/>
            </p:nvSpPr>
            <p:spPr bwMode="auto">
              <a:xfrm>
                <a:off x="6760496" y="3640138"/>
                <a:ext cx="10318" cy="19050"/>
              </a:xfrm>
              <a:custGeom>
                <a:avLst/>
                <a:gdLst>
                  <a:gd name="T0" fmla="*/ 0 w 6"/>
                  <a:gd name="T1" fmla="*/ 0 h 12"/>
                  <a:gd name="T2" fmla="*/ 0 w 6"/>
                  <a:gd name="T3" fmla="*/ 4 h 12"/>
                  <a:gd name="T4" fmla="*/ 2 w 6"/>
                  <a:gd name="T5" fmla="*/ 10 h 12"/>
                  <a:gd name="T6" fmla="*/ 6 w 6"/>
                  <a:gd name="T7" fmla="*/ 12 h 12"/>
                  <a:gd name="T8" fmla="*/ 4 w 6"/>
                  <a:gd name="T9" fmla="*/ 0 h 12"/>
                  <a:gd name="T10" fmla="*/ 0 w 6"/>
                  <a:gd name="T11" fmla="*/ 0 h 12"/>
                </a:gdLst>
                <a:ahLst/>
                <a:cxnLst>
                  <a:cxn ang="0">
                    <a:pos x="T0" y="T1"/>
                  </a:cxn>
                  <a:cxn ang="0">
                    <a:pos x="T2" y="T3"/>
                  </a:cxn>
                  <a:cxn ang="0">
                    <a:pos x="T4" y="T5"/>
                  </a:cxn>
                  <a:cxn ang="0">
                    <a:pos x="T6" y="T7"/>
                  </a:cxn>
                  <a:cxn ang="0">
                    <a:pos x="T8" y="T9"/>
                  </a:cxn>
                  <a:cxn ang="0">
                    <a:pos x="T10" y="T11"/>
                  </a:cxn>
                </a:cxnLst>
                <a:rect l="0" t="0" r="r" b="b"/>
                <a:pathLst>
                  <a:path w="6" h="12">
                    <a:moveTo>
                      <a:pt x="0" y="0"/>
                    </a:moveTo>
                    <a:lnTo>
                      <a:pt x="0" y="4"/>
                    </a:lnTo>
                    <a:lnTo>
                      <a:pt x="2" y="10"/>
                    </a:lnTo>
                    <a:lnTo>
                      <a:pt x="6" y="12"/>
                    </a:lnTo>
                    <a:lnTo>
                      <a:pt x="4" y="0"/>
                    </a:lnTo>
                    <a:lnTo>
                      <a:pt x="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22" name="Freeform 182"/>
              <p:cNvSpPr>
                <a:spLocks/>
              </p:cNvSpPr>
              <p:nvPr/>
            </p:nvSpPr>
            <p:spPr bwMode="auto">
              <a:xfrm>
                <a:off x="6760496" y="3640138"/>
                <a:ext cx="10318" cy="19050"/>
              </a:xfrm>
              <a:custGeom>
                <a:avLst/>
                <a:gdLst>
                  <a:gd name="T0" fmla="*/ 0 w 6"/>
                  <a:gd name="T1" fmla="*/ 0 h 12"/>
                  <a:gd name="T2" fmla="*/ 0 w 6"/>
                  <a:gd name="T3" fmla="*/ 4 h 12"/>
                  <a:gd name="T4" fmla="*/ 2 w 6"/>
                  <a:gd name="T5" fmla="*/ 10 h 12"/>
                  <a:gd name="T6" fmla="*/ 6 w 6"/>
                  <a:gd name="T7" fmla="*/ 12 h 12"/>
                  <a:gd name="T8" fmla="*/ 4 w 6"/>
                  <a:gd name="T9" fmla="*/ 0 h 12"/>
                  <a:gd name="T10" fmla="*/ 0 w 6"/>
                  <a:gd name="T11" fmla="*/ 0 h 12"/>
                </a:gdLst>
                <a:ahLst/>
                <a:cxnLst>
                  <a:cxn ang="0">
                    <a:pos x="T0" y="T1"/>
                  </a:cxn>
                  <a:cxn ang="0">
                    <a:pos x="T2" y="T3"/>
                  </a:cxn>
                  <a:cxn ang="0">
                    <a:pos x="T4" y="T5"/>
                  </a:cxn>
                  <a:cxn ang="0">
                    <a:pos x="T6" y="T7"/>
                  </a:cxn>
                  <a:cxn ang="0">
                    <a:pos x="T8" y="T9"/>
                  </a:cxn>
                  <a:cxn ang="0">
                    <a:pos x="T10" y="T11"/>
                  </a:cxn>
                </a:cxnLst>
                <a:rect l="0" t="0" r="r" b="b"/>
                <a:pathLst>
                  <a:path w="6" h="12">
                    <a:moveTo>
                      <a:pt x="0" y="0"/>
                    </a:moveTo>
                    <a:lnTo>
                      <a:pt x="0" y="4"/>
                    </a:lnTo>
                    <a:lnTo>
                      <a:pt x="2" y="10"/>
                    </a:lnTo>
                    <a:lnTo>
                      <a:pt x="6" y="12"/>
                    </a:lnTo>
                    <a:lnTo>
                      <a:pt x="4" y="0"/>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23" name="Freeform 183"/>
              <p:cNvSpPr>
                <a:spLocks/>
              </p:cNvSpPr>
              <p:nvPr/>
            </p:nvSpPr>
            <p:spPr bwMode="auto">
              <a:xfrm>
                <a:off x="6863675" y="3703638"/>
                <a:ext cx="10318" cy="25400"/>
              </a:xfrm>
              <a:custGeom>
                <a:avLst/>
                <a:gdLst>
                  <a:gd name="T0" fmla="*/ 2 w 6"/>
                  <a:gd name="T1" fmla="*/ 4 h 16"/>
                  <a:gd name="T2" fmla="*/ 0 w 6"/>
                  <a:gd name="T3" fmla="*/ 0 h 16"/>
                  <a:gd name="T4" fmla="*/ 2 w 6"/>
                  <a:gd name="T5" fmla="*/ 14 h 16"/>
                  <a:gd name="T6" fmla="*/ 6 w 6"/>
                  <a:gd name="T7" fmla="*/ 16 h 16"/>
                  <a:gd name="T8" fmla="*/ 2 w 6"/>
                  <a:gd name="T9" fmla="*/ 4 h 16"/>
                </a:gdLst>
                <a:ahLst/>
                <a:cxnLst>
                  <a:cxn ang="0">
                    <a:pos x="T0" y="T1"/>
                  </a:cxn>
                  <a:cxn ang="0">
                    <a:pos x="T2" y="T3"/>
                  </a:cxn>
                  <a:cxn ang="0">
                    <a:pos x="T4" y="T5"/>
                  </a:cxn>
                  <a:cxn ang="0">
                    <a:pos x="T6" y="T7"/>
                  </a:cxn>
                  <a:cxn ang="0">
                    <a:pos x="T8" y="T9"/>
                  </a:cxn>
                </a:cxnLst>
                <a:rect l="0" t="0" r="r" b="b"/>
                <a:pathLst>
                  <a:path w="6" h="16">
                    <a:moveTo>
                      <a:pt x="2" y="4"/>
                    </a:moveTo>
                    <a:lnTo>
                      <a:pt x="0" y="0"/>
                    </a:lnTo>
                    <a:lnTo>
                      <a:pt x="2" y="14"/>
                    </a:lnTo>
                    <a:lnTo>
                      <a:pt x="6" y="16"/>
                    </a:lnTo>
                    <a:lnTo>
                      <a:pt x="2"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24" name="Freeform 184"/>
              <p:cNvSpPr>
                <a:spLocks/>
              </p:cNvSpPr>
              <p:nvPr/>
            </p:nvSpPr>
            <p:spPr bwMode="auto">
              <a:xfrm>
                <a:off x="6863675" y="3703638"/>
                <a:ext cx="10318" cy="25400"/>
              </a:xfrm>
              <a:custGeom>
                <a:avLst/>
                <a:gdLst>
                  <a:gd name="T0" fmla="*/ 2 w 6"/>
                  <a:gd name="T1" fmla="*/ 4 h 16"/>
                  <a:gd name="T2" fmla="*/ 0 w 6"/>
                  <a:gd name="T3" fmla="*/ 0 h 16"/>
                  <a:gd name="T4" fmla="*/ 2 w 6"/>
                  <a:gd name="T5" fmla="*/ 14 h 16"/>
                  <a:gd name="T6" fmla="*/ 6 w 6"/>
                  <a:gd name="T7" fmla="*/ 16 h 16"/>
                  <a:gd name="T8" fmla="*/ 2 w 6"/>
                  <a:gd name="T9" fmla="*/ 4 h 16"/>
                </a:gdLst>
                <a:ahLst/>
                <a:cxnLst>
                  <a:cxn ang="0">
                    <a:pos x="T0" y="T1"/>
                  </a:cxn>
                  <a:cxn ang="0">
                    <a:pos x="T2" y="T3"/>
                  </a:cxn>
                  <a:cxn ang="0">
                    <a:pos x="T4" y="T5"/>
                  </a:cxn>
                  <a:cxn ang="0">
                    <a:pos x="T6" y="T7"/>
                  </a:cxn>
                  <a:cxn ang="0">
                    <a:pos x="T8" y="T9"/>
                  </a:cxn>
                </a:cxnLst>
                <a:rect l="0" t="0" r="r" b="b"/>
                <a:pathLst>
                  <a:path w="6" h="16">
                    <a:moveTo>
                      <a:pt x="2" y="4"/>
                    </a:moveTo>
                    <a:lnTo>
                      <a:pt x="0" y="0"/>
                    </a:lnTo>
                    <a:lnTo>
                      <a:pt x="2" y="14"/>
                    </a:lnTo>
                    <a:lnTo>
                      <a:pt x="6" y="16"/>
                    </a:lnTo>
                    <a:lnTo>
                      <a:pt x="2"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25" name="Freeform 185"/>
              <p:cNvSpPr>
                <a:spLocks/>
              </p:cNvSpPr>
              <p:nvPr/>
            </p:nvSpPr>
            <p:spPr bwMode="auto">
              <a:xfrm>
                <a:off x="6846479" y="3741738"/>
                <a:ext cx="13757" cy="9525"/>
              </a:xfrm>
              <a:custGeom>
                <a:avLst/>
                <a:gdLst>
                  <a:gd name="T0" fmla="*/ 2 w 8"/>
                  <a:gd name="T1" fmla="*/ 0 h 6"/>
                  <a:gd name="T2" fmla="*/ 0 w 8"/>
                  <a:gd name="T3" fmla="*/ 0 h 6"/>
                  <a:gd name="T4" fmla="*/ 0 w 8"/>
                  <a:gd name="T5" fmla="*/ 4 h 6"/>
                  <a:gd name="T6" fmla="*/ 4 w 8"/>
                  <a:gd name="T7" fmla="*/ 6 h 6"/>
                  <a:gd name="T8" fmla="*/ 8 w 8"/>
                  <a:gd name="T9" fmla="*/ 4 h 6"/>
                  <a:gd name="T10" fmla="*/ 6 w 8"/>
                  <a:gd name="T11" fmla="*/ 0 h 6"/>
                  <a:gd name="T12" fmla="*/ 2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2" y="0"/>
                    </a:moveTo>
                    <a:lnTo>
                      <a:pt x="0" y="0"/>
                    </a:lnTo>
                    <a:lnTo>
                      <a:pt x="0" y="4"/>
                    </a:lnTo>
                    <a:lnTo>
                      <a:pt x="4" y="6"/>
                    </a:lnTo>
                    <a:lnTo>
                      <a:pt x="8" y="4"/>
                    </a:lnTo>
                    <a:lnTo>
                      <a:pt x="6" y="0"/>
                    </a:lnTo>
                    <a:lnTo>
                      <a:pt x="2"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26" name="Freeform 186"/>
              <p:cNvSpPr>
                <a:spLocks/>
              </p:cNvSpPr>
              <p:nvPr/>
            </p:nvSpPr>
            <p:spPr bwMode="auto">
              <a:xfrm>
                <a:off x="6846479" y="3741738"/>
                <a:ext cx="13757" cy="9525"/>
              </a:xfrm>
              <a:custGeom>
                <a:avLst/>
                <a:gdLst>
                  <a:gd name="T0" fmla="*/ 2 w 8"/>
                  <a:gd name="T1" fmla="*/ 0 h 6"/>
                  <a:gd name="T2" fmla="*/ 0 w 8"/>
                  <a:gd name="T3" fmla="*/ 0 h 6"/>
                  <a:gd name="T4" fmla="*/ 0 w 8"/>
                  <a:gd name="T5" fmla="*/ 4 h 6"/>
                  <a:gd name="T6" fmla="*/ 4 w 8"/>
                  <a:gd name="T7" fmla="*/ 6 h 6"/>
                  <a:gd name="T8" fmla="*/ 8 w 8"/>
                  <a:gd name="T9" fmla="*/ 4 h 6"/>
                  <a:gd name="T10" fmla="*/ 6 w 8"/>
                  <a:gd name="T11" fmla="*/ 0 h 6"/>
                  <a:gd name="T12" fmla="*/ 2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2" y="0"/>
                    </a:moveTo>
                    <a:lnTo>
                      <a:pt x="0" y="0"/>
                    </a:lnTo>
                    <a:lnTo>
                      <a:pt x="0" y="4"/>
                    </a:lnTo>
                    <a:lnTo>
                      <a:pt x="4" y="6"/>
                    </a:lnTo>
                    <a:lnTo>
                      <a:pt x="8" y="4"/>
                    </a:lnTo>
                    <a:lnTo>
                      <a:pt x="6" y="0"/>
                    </a:lnTo>
                    <a:lnTo>
                      <a:pt x="2"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27" name="Freeform 187"/>
              <p:cNvSpPr>
                <a:spLocks/>
              </p:cNvSpPr>
              <p:nvPr/>
            </p:nvSpPr>
            <p:spPr bwMode="auto">
              <a:xfrm>
                <a:off x="6684831" y="3662363"/>
                <a:ext cx="10318" cy="15875"/>
              </a:xfrm>
              <a:custGeom>
                <a:avLst/>
                <a:gdLst>
                  <a:gd name="T0" fmla="*/ 2 w 6"/>
                  <a:gd name="T1" fmla="*/ 0 h 10"/>
                  <a:gd name="T2" fmla="*/ 0 w 6"/>
                  <a:gd name="T3" fmla="*/ 6 h 10"/>
                  <a:gd name="T4" fmla="*/ 2 w 6"/>
                  <a:gd name="T5" fmla="*/ 10 h 10"/>
                  <a:gd name="T6" fmla="*/ 6 w 6"/>
                  <a:gd name="T7" fmla="*/ 6 h 10"/>
                  <a:gd name="T8" fmla="*/ 2 w 6"/>
                  <a:gd name="T9" fmla="*/ 0 h 10"/>
                </a:gdLst>
                <a:ahLst/>
                <a:cxnLst>
                  <a:cxn ang="0">
                    <a:pos x="T0" y="T1"/>
                  </a:cxn>
                  <a:cxn ang="0">
                    <a:pos x="T2" y="T3"/>
                  </a:cxn>
                  <a:cxn ang="0">
                    <a:pos x="T4" y="T5"/>
                  </a:cxn>
                  <a:cxn ang="0">
                    <a:pos x="T6" y="T7"/>
                  </a:cxn>
                  <a:cxn ang="0">
                    <a:pos x="T8" y="T9"/>
                  </a:cxn>
                </a:cxnLst>
                <a:rect l="0" t="0" r="r" b="b"/>
                <a:pathLst>
                  <a:path w="6" h="10">
                    <a:moveTo>
                      <a:pt x="2" y="0"/>
                    </a:moveTo>
                    <a:lnTo>
                      <a:pt x="0" y="6"/>
                    </a:lnTo>
                    <a:lnTo>
                      <a:pt x="2" y="10"/>
                    </a:lnTo>
                    <a:lnTo>
                      <a:pt x="6" y="6"/>
                    </a:lnTo>
                    <a:lnTo>
                      <a:pt x="2"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28" name="Freeform 188"/>
              <p:cNvSpPr>
                <a:spLocks/>
              </p:cNvSpPr>
              <p:nvPr/>
            </p:nvSpPr>
            <p:spPr bwMode="auto">
              <a:xfrm>
                <a:off x="6684831" y="3662363"/>
                <a:ext cx="10318" cy="15875"/>
              </a:xfrm>
              <a:custGeom>
                <a:avLst/>
                <a:gdLst>
                  <a:gd name="T0" fmla="*/ 2 w 6"/>
                  <a:gd name="T1" fmla="*/ 0 h 10"/>
                  <a:gd name="T2" fmla="*/ 0 w 6"/>
                  <a:gd name="T3" fmla="*/ 6 h 10"/>
                  <a:gd name="T4" fmla="*/ 2 w 6"/>
                  <a:gd name="T5" fmla="*/ 10 h 10"/>
                  <a:gd name="T6" fmla="*/ 6 w 6"/>
                  <a:gd name="T7" fmla="*/ 6 h 10"/>
                  <a:gd name="T8" fmla="*/ 2 w 6"/>
                  <a:gd name="T9" fmla="*/ 0 h 10"/>
                </a:gdLst>
                <a:ahLst/>
                <a:cxnLst>
                  <a:cxn ang="0">
                    <a:pos x="T0" y="T1"/>
                  </a:cxn>
                  <a:cxn ang="0">
                    <a:pos x="T2" y="T3"/>
                  </a:cxn>
                  <a:cxn ang="0">
                    <a:pos x="T4" y="T5"/>
                  </a:cxn>
                  <a:cxn ang="0">
                    <a:pos x="T6" y="T7"/>
                  </a:cxn>
                  <a:cxn ang="0">
                    <a:pos x="T8" y="T9"/>
                  </a:cxn>
                </a:cxnLst>
                <a:rect l="0" t="0" r="r" b="b"/>
                <a:pathLst>
                  <a:path w="6" h="10">
                    <a:moveTo>
                      <a:pt x="2" y="0"/>
                    </a:moveTo>
                    <a:lnTo>
                      <a:pt x="0" y="6"/>
                    </a:lnTo>
                    <a:lnTo>
                      <a:pt x="2" y="10"/>
                    </a:lnTo>
                    <a:lnTo>
                      <a:pt x="6" y="6"/>
                    </a:lnTo>
                    <a:lnTo>
                      <a:pt x="2"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29" name="Freeform 189"/>
              <p:cNvSpPr>
                <a:spLocks/>
              </p:cNvSpPr>
              <p:nvPr/>
            </p:nvSpPr>
            <p:spPr bwMode="auto">
              <a:xfrm>
                <a:off x="6691709" y="3636963"/>
                <a:ext cx="10318" cy="15875"/>
              </a:xfrm>
              <a:custGeom>
                <a:avLst/>
                <a:gdLst>
                  <a:gd name="T0" fmla="*/ 4 w 6"/>
                  <a:gd name="T1" fmla="*/ 2 h 10"/>
                  <a:gd name="T2" fmla="*/ 2 w 6"/>
                  <a:gd name="T3" fmla="*/ 0 h 10"/>
                  <a:gd name="T4" fmla="*/ 0 w 6"/>
                  <a:gd name="T5" fmla="*/ 2 h 10"/>
                  <a:gd name="T6" fmla="*/ 0 w 6"/>
                  <a:gd name="T7" fmla="*/ 8 h 10"/>
                  <a:gd name="T8" fmla="*/ 4 w 6"/>
                  <a:gd name="T9" fmla="*/ 10 h 10"/>
                  <a:gd name="T10" fmla="*/ 6 w 6"/>
                  <a:gd name="T11" fmla="*/ 4 h 10"/>
                  <a:gd name="T12" fmla="*/ 4 w 6"/>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4" y="2"/>
                    </a:moveTo>
                    <a:lnTo>
                      <a:pt x="2" y="0"/>
                    </a:lnTo>
                    <a:lnTo>
                      <a:pt x="0" y="2"/>
                    </a:lnTo>
                    <a:lnTo>
                      <a:pt x="0" y="8"/>
                    </a:lnTo>
                    <a:lnTo>
                      <a:pt x="4" y="10"/>
                    </a:lnTo>
                    <a:lnTo>
                      <a:pt x="6" y="4"/>
                    </a:lnTo>
                    <a:lnTo>
                      <a:pt x="4"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30" name="Freeform 190"/>
              <p:cNvSpPr>
                <a:spLocks/>
              </p:cNvSpPr>
              <p:nvPr/>
            </p:nvSpPr>
            <p:spPr bwMode="auto">
              <a:xfrm>
                <a:off x="6691709" y="3636963"/>
                <a:ext cx="10318" cy="15875"/>
              </a:xfrm>
              <a:custGeom>
                <a:avLst/>
                <a:gdLst>
                  <a:gd name="T0" fmla="*/ 4 w 6"/>
                  <a:gd name="T1" fmla="*/ 2 h 10"/>
                  <a:gd name="T2" fmla="*/ 2 w 6"/>
                  <a:gd name="T3" fmla="*/ 0 h 10"/>
                  <a:gd name="T4" fmla="*/ 0 w 6"/>
                  <a:gd name="T5" fmla="*/ 2 h 10"/>
                  <a:gd name="T6" fmla="*/ 0 w 6"/>
                  <a:gd name="T7" fmla="*/ 8 h 10"/>
                  <a:gd name="T8" fmla="*/ 4 w 6"/>
                  <a:gd name="T9" fmla="*/ 10 h 10"/>
                  <a:gd name="T10" fmla="*/ 6 w 6"/>
                  <a:gd name="T11" fmla="*/ 4 h 10"/>
                  <a:gd name="T12" fmla="*/ 4 w 6"/>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4" y="2"/>
                    </a:moveTo>
                    <a:lnTo>
                      <a:pt x="2" y="0"/>
                    </a:lnTo>
                    <a:lnTo>
                      <a:pt x="0" y="2"/>
                    </a:lnTo>
                    <a:lnTo>
                      <a:pt x="0" y="8"/>
                    </a:lnTo>
                    <a:lnTo>
                      <a:pt x="4" y="10"/>
                    </a:lnTo>
                    <a:lnTo>
                      <a:pt x="6" y="4"/>
                    </a:lnTo>
                    <a:lnTo>
                      <a:pt x="4"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31" name="Freeform 191"/>
              <p:cNvSpPr>
                <a:spLocks/>
              </p:cNvSpPr>
              <p:nvPr/>
            </p:nvSpPr>
            <p:spPr bwMode="auto">
              <a:xfrm>
                <a:off x="6695149" y="3576638"/>
                <a:ext cx="6879" cy="6350"/>
              </a:xfrm>
              <a:custGeom>
                <a:avLst/>
                <a:gdLst>
                  <a:gd name="T0" fmla="*/ 0 w 4"/>
                  <a:gd name="T1" fmla="*/ 0 h 4"/>
                  <a:gd name="T2" fmla="*/ 0 w 4"/>
                  <a:gd name="T3" fmla="*/ 2 h 4"/>
                  <a:gd name="T4" fmla="*/ 2 w 4"/>
                  <a:gd name="T5" fmla="*/ 4 h 4"/>
                  <a:gd name="T6" fmla="*/ 4 w 4"/>
                  <a:gd name="T7" fmla="*/ 2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0" y="2"/>
                    </a:lnTo>
                    <a:lnTo>
                      <a:pt x="2" y="4"/>
                    </a:lnTo>
                    <a:lnTo>
                      <a:pt x="4" y="2"/>
                    </a:lnTo>
                    <a:lnTo>
                      <a:pt x="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32" name="Freeform 192"/>
              <p:cNvSpPr>
                <a:spLocks/>
              </p:cNvSpPr>
              <p:nvPr/>
            </p:nvSpPr>
            <p:spPr bwMode="auto">
              <a:xfrm>
                <a:off x="6695149" y="3576638"/>
                <a:ext cx="6879" cy="6350"/>
              </a:xfrm>
              <a:custGeom>
                <a:avLst/>
                <a:gdLst>
                  <a:gd name="T0" fmla="*/ 0 w 4"/>
                  <a:gd name="T1" fmla="*/ 0 h 4"/>
                  <a:gd name="T2" fmla="*/ 0 w 4"/>
                  <a:gd name="T3" fmla="*/ 2 h 4"/>
                  <a:gd name="T4" fmla="*/ 2 w 4"/>
                  <a:gd name="T5" fmla="*/ 4 h 4"/>
                  <a:gd name="T6" fmla="*/ 4 w 4"/>
                  <a:gd name="T7" fmla="*/ 2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0" y="2"/>
                    </a:lnTo>
                    <a:lnTo>
                      <a:pt x="2" y="4"/>
                    </a:lnTo>
                    <a:lnTo>
                      <a:pt x="4" y="2"/>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33" name="Freeform 193"/>
              <p:cNvSpPr>
                <a:spLocks/>
              </p:cNvSpPr>
              <p:nvPr/>
            </p:nvSpPr>
            <p:spPr bwMode="auto">
              <a:xfrm>
                <a:off x="6461275" y="4281488"/>
                <a:ext cx="79104" cy="209550"/>
              </a:xfrm>
              <a:custGeom>
                <a:avLst/>
                <a:gdLst>
                  <a:gd name="T0" fmla="*/ 26 w 46"/>
                  <a:gd name="T1" fmla="*/ 0 h 132"/>
                  <a:gd name="T2" fmla="*/ 30 w 46"/>
                  <a:gd name="T3" fmla="*/ 0 h 132"/>
                  <a:gd name="T4" fmla="*/ 34 w 46"/>
                  <a:gd name="T5" fmla="*/ 2 h 132"/>
                  <a:gd name="T6" fmla="*/ 36 w 46"/>
                  <a:gd name="T7" fmla="*/ 0 h 132"/>
                  <a:gd name="T8" fmla="*/ 38 w 46"/>
                  <a:gd name="T9" fmla="*/ 0 h 132"/>
                  <a:gd name="T10" fmla="*/ 42 w 46"/>
                  <a:gd name="T11" fmla="*/ 2 h 132"/>
                  <a:gd name="T12" fmla="*/ 42 w 46"/>
                  <a:gd name="T13" fmla="*/ 10 h 132"/>
                  <a:gd name="T14" fmla="*/ 46 w 46"/>
                  <a:gd name="T15" fmla="*/ 18 h 132"/>
                  <a:gd name="T16" fmla="*/ 44 w 46"/>
                  <a:gd name="T17" fmla="*/ 132 h 132"/>
                  <a:gd name="T18" fmla="*/ 42 w 46"/>
                  <a:gd name="T19" fmla="*/ 130 h 132"/>
                  <a:gd name="T20" fmla="*/ 36 w 46"/>
                  <a:gd name="T21" fmla="*/ 122 h 132"/>
                  <a:gd name="T22" fmla="*/ 30 w 46"/>
                  <a:gd name="T23" fmla="*/ 118 h 132"/>
                  <a:gd name="T24" fmla="*/ 22 w 46"/>
                  <a:gd name="T25" fmla="*/ 116 h 132"/>
                  <a:gd name="T26" fmla="*/ 14 w 46"/>
                  <a:gd name="T27" fmla="*/ 110 h 132"/>
                  <a:gd name="T28" fmla="*/ 0 w 46"/>
                  <a:gd name="T29" fmla="*/ 82 h 132"/>
                  <a:gd name="T30" fmla="*/ 0 w 46"/>
                  <a:gd name="T31" fmla="*/ 76 h 132"/>
                  <a:gd name="T32" fmla="*/ 12 w 46"/>
                  <a:gd name="T33" fmla="*/ 18 h 132"/>
                  <a:gd name="T34" fmla="*/ 22 w 46"/>
                  <a:gd name="T35" fmla="*/ 2 h 132"/>
                  <a:gd name="T36" fmla="*/ 26 w 46"/>
                  <a:gd name="T3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132">
                    <a:moveTo>
                      <a:pt x="26" y="0"/>
                    </a:moveTo>
                    <a:lnTo>
                      <a:pt x="30" y="0"/>
                    </a:lnTo>
                    <a:lnTo>
                      <a:pt x="34" y="2"/>
                    </a:lnTo>
                    <a:lnTo>
                      <a:pt x="36" y="0"/>
                    </a:lnTo>
                    <a:lnTo>
                      <a:pt x="38" y="0"/>
                    </a:lnTo>
                    <a:lnTo>
                      <a:pt x="42" y="2"/>
                    </a:lnTo>
                    <a:lnTo>
                      <a:pt x="42" y="10"/>
                    </a:lnTo>
                    <a:lnTo>
                      <a:pt x="46" y="18"/>
                    </a:lnTo>
                    <a:lnTo>
                      <a:pt x="44" y="132"/>
                    </a:lnTo>
                    <a:lnTo>
                      <a:pt x="42" y="130"/>
                    </a:lnTo>
                    <a:lnTo>
                      <a:pt x="36" y="122"/>
                    </a:lnTo>
                    <a:lnTo>
                      <a:pt x="30" y="118"/>
                    </a:lnTo>
                    <a:lnTo>
                      <a:pt x="22" y="116"/>
                    </a:lnTo>
                    <a:lnTo>
                      <a:pt x="14" y="110"/>
                    </a:lnTo>
                    <a:lnTo>
                      <a:pt x="0" y="82"/>
                    </a:lnTo>
                    <a:lnTo>
                      <a:pt x="0" y="76"/>
                    </a:lnTo>
                    <a:lnTo>
                      <a:pt x="12" y="18"/>
                    </a:lnTo>
                    <a:lnTo>
                      <a:pt x="22" y="2"/>
                    </a:lnTo>
                    <a:lnTo>
                      <a:pt x="26"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34" name="Freeform 194"/>
              <p:cNvSpPr>
                <a:spLocks/>
              </p:cNvSpPr>
              <p:nvPr/>
            </p:nvSpPr>
            <p:spPr bwMode="auto">
              <a:xfrm>
                <a:off x="6461275" y="4281488"/>
                <a:ext cx="79104" cy="209550"/>
              </a:xfrm>
              <a:custGeom>
                <a:avLst/>
                <a:gdLst>
                  <a:gd name="T0" fmla="*/ 26 w 46"/>
                  <a:gd name="T1" fmla="*/ 0 h 132"/>
                  <a:gd name="T2" fmla="*/ 30 w 46"/>
                  <a:gd name="T3" fmla="*/ 0 h 132"/>
                  <a:gd name="T4" fmla="*/ 34 w 46"/>
                  <a:gd name="T5" fmla="*/ 2 h 132"/>
                  <a:gd name="T6" fmla="*/ 36 w 46"/>
                  <a:gd name="T7" fmla="*/ 0 h 132"/>
                  <a:gd name="T8" fmla="*/ 38 w 46"/>
                  <a:gd name="T9" fmla="*/ 0 h 132"/>
                  <a:gd name="T10" fmla="*/ 42 w 46"/>
                  <a:gd name="T11" fmla="*/ 2 h 132"/>
                  <a:gd name="T12" fmla="*/ 42 w 46"/>
                  <a:gd name="T13" fmla="*/ 10 h 132"/>
                  <a:gd name="T14" fmla="*/ 46 w 46"/>
                  <a:gd name="T15" fmla="*/ 18 h 132"/>
                  <a:gd name="T16" fmla="*/ 44 w 46"/>
                  <a:gd name="T17" fmla="*/ 132 h 132"/>
                  <a:gd name="T18" fmla="*/ 42 w 46"/>
                  <a:gd name="T19" fmla="*/ 130 h 132"/>
                  <a:gd name="T20" fmla="*/ 36 w 46"/>
                  <a:gd name="T21" fmla="*/ 122 h 132"/>
                  <a:gd name="T22" fmla="*/ 30 w 46"/>
                  <a:gd name="T23" fmla="*/ 118 h 132"/>
                  <a:gd name="T24" fmla="*/ 22 w 46"/>
                  <a:gd name="T25" fmla="*/ 116 h 132"/>
                  <a:gd name="T26" fmla="*/ 14 w 46"/>
                  <a:gd name="T27" fmla="*/ 110 h 132"/>
                  <a:gd name="T28" fmla="*/ 0 w 46"/>
                  <a:gd name="T29" fmla="*/ 82 h 132"/>
                  <a:gd name="T30" fmla="*/ 0 w 46"/>
                  <a:gd name="T31" fmla="*/ 76 h 132"/>
                  <a:gd name="T32" fmla="*/ 12 w 46"/>
                  <a:gd name="T33" fmla="*/ 18 h 132"/>
                  <a:gd name="T34" fmla="*/ 22 w 46"/>
                  <a:gd name="T35" fmla="*/ 2 h 132"/>
                  <a:gd name="T36" fmla="*/ 26 w 46"/>
                  <a:gd name="T3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132">
                    <a:moveTo>
                      <a:pt x="26" y="0"/>
                    </a:moveTo>
                    <a:lnTo>
                      <a:pt x="30" y="0"/>
                    </a:lnTo>
                    <a:lnTo>
                      <a:pt x="34" y="2"/>
                    </a:lnTo>
                    <a:lnTo>
                      <a:pt x="36" y="0"/>
                    </a:lnTo>
                    <a:lnTo>
                      <a:pt x="38" y="0"/>
                    </a:lnTo>
                    <a:lnTo>
                      <a:pt x="42" y="2"/>
                    </a:lnTo>
                    <a:lnTo>
                      <a:pt x="42" y="10"/>
                    </a:lnTo>
                    <a:lnTo>
                      <a:pt x="46" y="18"/>
                    </a:lnTo>
                    <a:lnTo>
                      <a:pt x="44" y="132"/>
                    </a:lnTo>
                    <a:lnTo>
                      <a:pt x="42" y="130"/>
                    </a:lnTo>
                    <a:lnTo>
                      <a:pt x="36" y="122"/>
                    </a:lnTo>
                    <a:lnTo>
                      <a:pt x="30" y="118"/>
                    </a:lnTo>
                    <a:lnTo>
                      <a:pt x="22" y="116"/>
                    </a:lnTo>
                    <a:lnTo>
                      <a:pt x="14" y="110"/>
                    </a:lnTo>
                    <a:lnTo>
                      <a:pt x="0" y="82"/>
                    </a:lnTo>
                    <a:lnTo>
                      <a:pt x="0" y="76"/>
                    </a:lnTo>
                    <a:lnTo>
                      <a:pt x="12" y="18"/>
                    </a:lnTo>
                    <a:lnTo>
                      <a:pt x="22" y="2"/>
                    </a:lnTo>
                    <a:lnTo>
                      <a:pt x="26"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35" name="Freeform 195"/>
              <p:cNvSpPr>
                <a:spLocks/>
              </p:cNvSpPr>
              <p:nvPr/>
            </p:nvSpPr>
            <p:spPr bwMode="auto">
              <a:xfrm>
                <a:off x="6653877" y="4271963"/>
                <a:ext cx="10318" cy="9525"/>
              </a:xfrm>
              <a:custGeom>
                <a:avLst/>
                <a:gdLst>
                  <a:gd name="T0" fmla="*/ 0 w 6"/>
                  <a:gd name="T1" fmla="*/ 0 h 6"/>
                  <a:gd name="T2" fmla="*/ 4 w 6"/>
                  <a:gd name="T3" fmla="*/ 0 h 6"/>
                  <a:gd name="T4" fmla="*/ 6 w 6"/>
                  <a:gd name="T5" fmla="*/ 0 h 6"/>
                  <a:gd name="T6" fmla="*/ 6 w 6"/>
                  <a:gd name="T7" fmla="*/ 2 h 6"/>
                  <a:gd name="T8" fmla="*/ 6 w 6"/>
                  <a:gd name="T9" fmla="*/ 4 h 6"/>
                  <a:gd name="T10" fmla="*/ 2 w 6"/>
                  <a:gd name="T11" fmla="*/ 6 h 6"/>
                  <a:gd name="T12" fmla="*/ 0 w 6"/>
                  <a:gd name="T13" fmla="*/ 4 h 6"/>
                  <a:gd name="T14" fmla="*/ 0 w 6"/>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0" y="0"/>
                    </a:moveTo>
                    <a:lnTo>
                      <a:pt x="4" y="0"/>
                    </a:lnTo>
                    <a:lnTo>
                      <a:pt x="6" y="0"/>
                    </a:lnTo>
                    <a:lnTo>
                      <a:pt x="6" y="2"/>
                    </a:lnTo>
                    <a:lnTo>
                      <a:pt x="6" y="4"/>
                    </a:lnTo>
                    <a:lnTo>
                      <a:pt x="2" y="6"/>
                    </a:lnTo>
                    <a:lnTo>
                      <a:pt x="0" y="4"/>
                    </a:lnTo>
                    <a:lnTo>
                      <a:pt x="0" y="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36" name="Freeform 196"/>
              <p:cNvSpPr>
                <a:spLocks/>
              </p:cNvSpPr>
              <p:nvPr/>
            </p:nvSpPr>
            <p:spPr bwMode="auto">
              <a:xfrm>
                <a:off x="6653877" y="4271963"/>
                <a:ext cx="10318" cy="9525"/>
              </a:xfrm>
              <a:custGeom>
                <a:avLst/>
                <a:gdLst>
                  <a:gd name="T0" fmla="*/ 0 w 6"/>
                  <a:gd name="T1" fmla="*/ 0 h 6"/>
                  <a:gd name="T2" fmla="*/ 4 w 6"/>
                  <a:gd name="T3" fmla="*/ 0 h 6"/>
                  <a:gd name="T4" fmla="*/ 6 w 6"/>
                  <a:gd name="T5" fmla="*/ 0 h 6"/>
                  <a:gd name="T6" fmla="*/ 6 w 6"/>
                  <a:gd name="T7" fmla="*/ 2 h 6"/>
                  <a:gd name="T8" fmla="*/ 6 w 6"/>
                  <a:gd name="T9" fmla="*/ 4 h 6"/>
                  <a:gd name="T10" fmla="*/ 2 w 6"/>
                  <a:gd name="T11" fmla="*/ 6 h 6"/>
                  <a:gd name="T12" fmla="*/ 0 w 6"/>
                  <a:gd name="T13" fmla="*/ 4 h 6"/>
                  <a:gd name="T14" fmla="*/ 0 w 6"/>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0" y="0"/>
                    </a:moveTo>
                    <a:lnTo>
                      <a:pt x="4" y="0"/>
                    </a:lnTo>
                    <a:lnTo>
                      <a:pt x="6" y="0"/>
                    </a:lnTo>
                    <a:lnTo>
                      <a:pt x="6" y="2"/>
                    </a:lnTo>
                    <a:lnTo>
                      <a:pt x="6" y="4"/>
                    </a:lnTo>
                    <a:lnTo>
                      <a:pt x="2" y="6"/>
                    </a:lnTo>
                    <a:lnTo>
                      <a:pt x="0" y="4"/>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37" name="Freeform 197"/>
              <p:cNvSpPr>
                <a:spLocks/>
              </p:cNvSpPr>
              <p:nvPr/>
            </p:nvSpPr>
            <p:spPr bwMode="auto">
              <a:xfrm>
                <a:off x="6674513" y="4252913"/>
                <a:ext cx="10318" cy="15875"/>
              </a:xfrm>
              <a:custGeom>
                <a:avLst/>
                <a:gdLst>
                  <a:gd name="T0" fmla="*/ 2 w 6"/>
                  <a:gd name="T1" fmla="*/ 8 h 10"/>
                  <a:gd name="T2" fmla="*/ 0 w 6"/>
                  <a:gd name="T3" fmla="*/ 6 h 10"/>
                  <a:gd name="T4" fmla="*/ 2 w 6"/>
                  <a:gd name="T5" fmla="*/ 4 h 10"/>
                  <a:gd name="T6" fmla="*/ 4 w 6"/>
                  <a:gd name="T7" fmla="*/ 0 h 10"/>
                  <a:gd name="T8" fmla="*/ 6 w 6"/>
                  <a:gd name="T9" fmla="*/ 2 h 10"/>
                  <a:gd name="T10" fmla="*/ 6 w 6"/>
                  <a:gd name="T11" fmla="*/ 6 h 10"/>
                  <a:gd name="T12" fmla="*/ 4 w 6"/>
                  <a:gd name="T13" fmla="*/ 10 h 10"/>
                  <a:gd name="T14" fmla="*/ 2 w 6"/>
                  <a:gd name="T15" fmla="*/ 8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2" y="8"/>
                    </a:moveTo>
                    <a:lnTo>
                      <a:pt x="0" y="6"/>
                    </a:lnTo>
                    <a:lnTo>
                      <a:pt x="2" y="4"/>
                    </a:lnTo>
                    <a:lnTo>
                      <a:pt x="4" y="0"/>
                    </a:lnTo>
                    <a:lnTo>
                      <a:pt x="6" y="2"/>
                    </a:lnTo>
                    <a:lnTo>
                      <a:pt x="6" y="6"/>
                    </a:lnTo>
                    <a:lnTo>
                      <a:pt x="4" y="10"/>
                    </a:lnTo>
                    <a:lnTo>
                      <a:pt x="2" y="8"/>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38" name="Freeform 198"/>
              <p:cNvSpPr>
                <a:spLocks/>
              </p:cNvSpPr>
              <p:nvPr/>
            </p:nvSpPr>
            <p:spPr bwMode="auto">
              <a:xfrm>
                <a:off x="6674513" y="4252913"/>
                <a:ext cx="10318" cy="15875"/>
              </a:xfrm>
              <a:custGeom>
                <a:avLst/>
                <a:gdLst>
                  <a:gd name="T0" fmla="*/ 2 w 6"/>
                  <a:gd name="T1" fmla="*/ 8 h 10"/>
                  <a:gd name="T2" fmla="*/ 0 w 6"/>
                  <a:gd name="T3" fmla="*/ 6 h 10"/>
                  <a:gd name="T4" fmla="*/ 2 w 6"/>
                  <a:gd name="T5" fmla="*/ 4 h 10"/>
                  <a:gd name="T6" fmla="*/ 4 w 6"/>
                  <a:gd name="T7" fmla="*/ 0 h 10"/>
                  <a:gd name="T8" fmla="*/ 6 w 6"/>
                  <a:gd name="T9" fmla="*/ 2 h 10"/>
                  <a:gd name="T10" fmla="*/ 6 w 6"/>
                  <a:gd name="T11" fmla="*/ 6 h 10"/>
                  <a:gd name="T12" fmla="*/ 4 w 6"/>
                  <a:gd name="T13" fmla="*/ 10 h 10"/>
                  <a:gd name="T14" fmla="*/ 2 w 6"/>
                  <a:gd name="T15" fmla="*/ 8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2" y="8"/>
                    </a:moveTo>
                    <a:lnTo>
                      <a:pt x="0" y="6"/>
                    </a:lnTo>
                    <a:lnTo>
                      <a:pt x="2" y="4"/>
                    </a:lnTo>
                    <a:lnTo>
                      <a:pt x="4" y="0"/>
                    </a:lnTo>
                    <a:lnTo>
                      <a:pt x="6" y="2"/>
                    </a:lnTo>
                    <a:lnTo>
                      <a:pt x="6" y="6"/>
                    </a:lnTo>
                    <a:lnTo>
                      <a:pt x="4" y="10"/>
                    </a:lnTo>
                    <a:lnTo>
                      <a:pt x="2" y="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39" name="Freeform 199"/>
              <p:cNvSpPr>
                <a:spLocks/>
              </p:cNvSpPr>
              <p:nvPr/>
            </p:nvSpPr>
            <p:spPr bwMode="auto">
              <a:xfrm>
                <a:off x="6822403" y="4008438"/>
                <a:ext cx="20636" cy="53975"/>
              </a:xfrm>
              <a:custGeom>
                <a:avLst/>
                <a:gdLst>
                  <a:gd name="T0" fmla="*/ 2 w 12"/>
                  <a:gd name="T1" fmla="*/ 20 h 34"/>
                  <a:gd name="T2" fmla="*/ 2 w 12"/>
                  <a:gd name="T3" fmla="*/ 16 h 34"/>
                  <a:gd name="T4" fmla="*/ 2 w 12"/>
                  <a:gd name="T5" fmla="*/ 12 h 34"/>
                  <a:gd name="T6" fmla="*/ 4 w 12"/>
                  <a:gd name="T7" fmla="*/ 10 h 34"/>
                  <a:gd name="T8" fmla="*/ 8 w 12"/>
                  <a:gd name="T9" fmla="*/ 4 h 34"/>
                  <a:gd name="T10" fmla="*/ 8 w 12"/>
                  <a:gd name="T11" fmla="*/ 0 h 34"/>
                  <a:gd name="T12" fmla="*/ 10 w 12"/>
                  <a:gd name="T13" fmla="*/ 4 h 34"/>
                  <a:gd name="T14" fmla="*/ 12 w 12"/>
                  <a:gd name="T15" fmla="*/ 10 h 34"/>
                  <a:gd name="T16" fmla="*/ 8 w 12"/>
                  <a:gd name="T17" fmla="*/ 16 h 34"/>
                  <a:gd name="T18" fmla="*/ 6 w 12"/>
                  <a:gd name="T19" fmla="*/ 24 h 34"/>
                  <a:gd name="T20" fmla="*/ 6 w 12"/>
                  <a:gd name="T21" fmla="*/ 24 h 34"/>
                  <a:gd name="T22" fmla="*/ 6 w 12"/>
                  <a:gd name="T23" fmla="*/ 28 h 34"/>
                  <a:gd name="T24" fmla="*/ 6 w 12"/>
                  <a:gd name="T25" fmla="*/ 32 h 34"/>
                  <a:gd name="T26" fmla="*/ 6 w 12"/>
                  <a:gd name="T27" fmla="*/ 34 h 34"/>
                  <a:gd name="T28" fmla="*/ 2 w 12"/>
                  <a:gd name="T29" fmla="*/ 32 h 34"/>
                  <a:gd name="T30" fmla="*/ 0 w 12"/>
                  <a:gd name="T31" fmla="*/ 24 h 34"/>
                  <a:gd name="T32" fmla="*/ 2 w 12"/>
                  <a:gd name="T33"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34">
                    <a:moveTo>
                      <a:pt x="2" y="20"/>
                    </a:moveTo>
                    <a:lnTo>
                      <a:pt x="2" y="16"/>
                    </a:lnTo>
                    <a:lnTo>
                      <a:pt x="2" y="12"/>
                    </a:lnTo>
                    <a:lnTo>
                      <a:pt x="4" y="10"/>
                    </a:lnTo>
                    <a:lnTo>
                      <a:pt x="8" y="4"/>
                    </a:lnTo>
                    <a:lnTo>
                      <a:pt x="8" y="0"/>
                    </a:lnTo>
                    <a:lnTo>
                      <a:pt x="10" y="4"/>
                    </a:lnTo>
                    <a:lnTo>
                      <a:pt x="12" y="10"/>
                    </a:lnTo>
                    <a:lnTo>
                      <a:pt x="8" y="16"/>
                    </a:lnTo>
                    <a:lnTo>
                      <a:pt x="6" y="24"/>
                    </a:lnTo>
                    <a:lnTo>
                      <a:pt x="6" y="24"/>
                    </a:lnTo>
                    <a:lnTo>
                      <a:pt x="6" y="28"/>
                    </a:lnTo>
                    <a:lnTo>
                      <a:pt x="6" y="32"/>
                    </a:lnTo>
                    <a:lnTo>
                      <a:pt x="6" y="34"/>
                    </a:lnTo>
                    <a:lnTo>
                      <a:pt x="2" y="32"/>
                    </a:lnTo>
                    <a:lnTo>
                      <a:pt x="0" y="24"/>
                    </a:lnTo>
                    <a:lnTo>
                      <a:pt x="2" y="20"/>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40" name="Freeform 200"/>
              <p:cNvSpPr>
                <a:spLocks/>
              </p:cNvSpPr>
              <p:nvPr/>
            </p:nvSpPr>
            <p:spPr bwMode="auto">
              <a:xfrm>
                <a:off x="6822403" y="4008438"/>
                <a:ext cx="20636" cy="53975"/>
              </a:xfrm>
              <a:custGeom>
                <a:avLst/>
                <a:gdLst>
                  <a:gd name="T0" fmla="*/ 2 w 12"/>
                  <a:gd name="T1" fmla="*/ 20 h 34"/>
                  <a:gd name="T2" fmla="*/ 2 w 12"/>
                  <a:gd name="T3" fmla="*/ 16 h 34"/>
                  <a:gd name="T4" fmla="*/ 2 w 12"/>
                  <a:gd name="T5" fmla="*/ 12 h 34"/>
                  <a:gd name="T6" fmla="*/ 4 w 12"/>
                  <a:gd name="T7" fmla="*/ 10 h 34"/>
                  <a:gd name="T8" fmla="*/ 8 w 12"/>
                  <a:gd name="T9" fmla="*/ 4 h 34"/>
                  <a:gd name="T10" fmla="*/ 8 w 12"/>
                  <a:gd name="T11" fmla="*/ 0 h 34"/>
                  <a:gd name="T12" fmla="*/ 10 w 12"/>
                  <a:gd name="T13" fmla="*/ 4 h 34"/>
                  <a:gd name="T14" fmla="*/ 12 w 12"/>
                  <a:gd name="T15" fmla="*/ 10 h 34"/>
                  <a:gd name="T16" fmla="*/ 8 w 12"/>
                  <a:gd name="T17" fmla="*/ 16 h 34"/>
                  <a:gd name="T18" fmla="*/ 6 w 12"/>
                  <a:gd name="T19" fmla="*/ 24 h 34"/>
                  <a:gd name="T20" fmla="*/ 6 w 12"/>
                  <a:gd name="T21" fmla="*/ 24 h 34"/>
                  <a:gd name="T22" fmla="*/ 6 w 12"/>
                  <a:gd name="T23" fmla="*/ 28 h 34"/>
                  <a:gd name="T24" fmla="*/ 6 w 12"/>
                  <a:gd name="T25" fmla="*/ 32 h 34"/>
                  <a:gd name="T26" fmla="*/ 6 w 12"/>
                  <a:gd name="T27" fmla="*/ 34 h 34"/>
                  <a:gd name="T28" fmla="*/ 2 w 12"/>
                  <a:gd name="T29" fmla="*/ 32 h 34"/>
                  <a:gd name="T30" fmla="*/ 0 w 12"/>
                  <a:gd name="T31" fmla="*/ 24 h 34"/>
                  <a:gd name="T32" fmla="*/ 2 w 12"/>
                  <a:gd name="T33"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34">
                    <a:moveTo>
                      <a:pt x="2" y="20"/>
                    </a:moveTo>
                    <a:lnTo>
                      <a:pt x="2" y="16"/>
                    </a:lnTo>
                    <a:lnTo>
                      <a:pt x="2" y="12"/>
                    </a:lnTo>
                    <a:lnTo>
                      <a:pt x="4" y="10"/>
                    </a:lnTo>
                    <a:lnTo>
                      <a:pt x="8" y="4"/>
                    </a:lnTo>
                    <a:lnTo>
                      <a:pt x="8" y="0"/>
                    </a:lnTo>
                    <a:lnTo>
                      <a:pt x="10" y="4"/>
                    </a:lnTo>
                    <a:lnTo>
                      <a:pt x="12" y="10"/>
                    </a:lnTo>
                    <a:lnTo>
                      <a:pt x="8" y="16"/>
                    </a:lnTo>
                    <a:lnTo>
                      <a:pt x="6" y="24"/>
                    </a:lnTo>
                    <a:lnTo>
                      <a:pt x="6" y="24"/>
                    </a:lnTo>
                    <a:lnTo>
                      <a:pt x="6" y="28"/>
                    </a:lnTo>
                    <a:lnTo>
                      <a:pt x="6" y="32"/>
                    </a:lnTo>
                    <a:lnTo>
                      <a:pt x="6" y="34"/>
                    </a:lnTo>
                    <a:lnTo>
                      <a:pt x="2" y="32"/>
                    </a:lnTo>
                    <a:lnTo>
                      <a:pt x="0" y="24"/>
                    </a:lnTo>
                    <a:lnTo>
                      <a:pt x="2" y="2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41" name="Freeform 201"/>
              <p:cNvSpPr>
                <a:spLocks/>
              </p:cNvSpPr>
              <p:nvPr/>
            </p:nvSpPr>
            <p:spPr bwMode="auto">
              <a:xfrm>
                <a:off x="6843039" y="3929063"/>
                <a:ext cx="10318" cy="9525"/>
              </a:xfrm>
              <a:custGeom>
                <a:avLst/>
                <a:gdLst>
                  <a:gd name="T0" fmla="*/ 4 w 6"/>
                  <a:gd name="T1" fmla="*/ 4 h 6"/>
                  <a:gd name="T2" fmla="*/ 6 w 6"/>
                  <a:gd name="T3" fmla="*/ 6 h 6"/>
                  <a:gd name="T4" fmla="*/ 4 w 6"/>
                  <a:gd name="T5" fmla="*/ 6 h 6"/>
                  <a:gd name="T6" fmla="*/ 2 w 6"/>
                  <a:gd name="T7" fmla="*/ 6 h 6"/>
                  <a:gd name="T8" fmla="*/ 0 w 6"/>
                  <a:gd name="T9" fmla="*/ 2 h 6"/>
                  <a:gd name="T10" fmla="*/ 0 w 6"/>
                  <a:gd name="T11" fmla="*/ 0 h 6"/>
                  <a:gd name="T12" fmla="*/ 2 w 6"/>
                  <a:gd name="T13" fmla="*/ 4 h 6"/>
                  <a:gd name="T14" fmla="*/ 4 w 6"/>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4" y="4"/>
                    </a:moveTo>
                    <a:lnTo>
                      <a:pt x="6" y="6"/>
                    </a:lnTo>
                    <a:lnTo>
                      <a:pt x="4" y="6"/>
                    </a:lnTo>
                    <a:lnTo>
                      <a:pt x="2" y="6"/>
                    </a:lnTo>
                    <a:lnTo>
                      <a:pt x="0" y="2"/>
                    </a:lnTo>
                    <a:lnTo>
                      <a:pt x="0" y="0"/>
                    </a:lnTo>
                    <a:lnTo>
                      <a:pt x="2" y="4"/>
                    </a:lnTo>
                    <a:lnTo>
                      <a:pt x="4" y="4"/>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42" name="Freeform 202"/>
              <p:cNvSpPr>
                <a:spLocks/>
              </p:cNvSpPr>
              <p:nvPr/>
            </p:nvSpPr>
            <p:spPr bwMode="auto">
              <a:xfrm>
                <a:off x="6843039" y="3929063"/>
                <a:ext cx="10318" cy="9525"/>
              </a:xfrm>
              <a:custGeom>
                <a:avLst/>
                <a:gdLst>
                  <a:gd name="T0" fmla="*/ 4 w 6"/>
                  <a:gd name="T1" fmla="*/ 4 h 6"/>
                  <a:gd name="T2" fmla="*/ 6 w 6"/>
                  <a:gd name="T3" fmla="*/ 6 h 6"/>
                  <a:gd name="T4" fmla="*/ 4 w 6"/>
                  <a:gd name="T5" fmla="*/ 6 h 6"/>
                  <a:gd name="T6" fmla="*/ 2 w 6"/>
                  <a:gd name="T7" fmla="*/ 6 h 6"/>
                  <a:gd name="T8" fmla="*/ 0 w 6"/>
                  <a:gd name="T9" fmla="*/ 2 h 6"/>
                  <a:gd name="T10" fmla="*/ 0 w 6"/>
                  <a:gd name="T11" fmla="*/ 0 h 6"/>
                  <a:gd name="T12" fmla="*/ 2 w 6"/>
                  <a:gd name="T13" fmla="*/ 4 h 6"/>
                  <a:gd name="T14" fmla="*/ 4 w 6"/>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4" y="4"/>
                    </a:moveTo>
                    <a:lnTo>
                      <a:pt x="6" y="6"/>
                    </a:lnTo>
                    <a:lnTo>
                      <a:pt x="4" y="6"/>
                    </a:lnTo>
                    <a:lnTo>
                      <a:pt x="2" y="6"/>
                    </a:lnTo>
                    <a:lnTo>
                      <a:pt x="0" y="2"/>
                    </a:lnTo>
                    <a:lnTo>
                      <a:pt x="0" y="0"/>
                    </a:lnTo>
                    <a:lnTo>
                      <a:pt x="2" y="4"/>
                    </a:lnTo>
                    <a:lnTo>
                      <a:pt x="4"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43" name="Freeform 203"/>
              <p:cNvSpPr>
                <a:spLocks/>
              </p:cNvSpPr>
              <p:nvPr/>
            </p:nvSpPr>
            <p:spPr bwMode="auto">
              <a:xfrm>
                <a:off x="6849918" y="3875088"/>
                <a:ext cx="13757" cy="25400"/>
              </a:xfrm>
              <a:custGeom>
                <a:avLst/>
                <a:gdLst>
                  <a:gd name="T0" fmla="*/ 2 w 8"/>
                  <a:gd name="T1" fmla="*/ 6 h 16"/>
                  <a:gd name="T2" fmla="*/ 6 w 8"/>
                  <a:gd name="T3" fmla="*/ 0 h 16"/>
                  <a:gd name="T4" fmla="*/ 8 w 8"/>
                  <a:gd name="T5" fmla="*/ 0 h 16"/>
                  <a:gd name="T6" fmla="*/ 8 w 8"/>
                  <a:gd name="T7" fmla="*/ 4 h 16"/>
                  <a:gd name="T8" fmla="*/ 8 w 8"/>
                  <a:gd name="T9" fmla="*/ 8 h 16"/>
                  <a:gd name="T10" fmla="*/ 6 w 8"/>
                  <a:gd name="T11" fmla="*/ 12 h 16"/>
                  <a:gd name="T12" fmla="*/ 4 w 8"/>
                  <a:gd name="T13" fmla="*/ 16 h 16"/>
                  <a:gd name="T14" fmla="*/ 4 w 8"/>
                  <a:gd name="T15" fmla="*/ 16 h 16"/>
                  <a:gd name="T16" fmla="*/ 2 w 8"/>
                  <a:gd name="T17" fmla="*/ 14 h 16"/>
                  <a:gd name="T18" fmla="*/ 0 w 8"/>
                  <a:gd name="T19" fmla="*/ 12 h 16"/>
                  <a:gd name="T20" fmla="*/ 0 w 8"/>
                  <a:gd name="T21" fmla="*/ 8 h 16"/>
                  <a:gd name="T22" fmla="*/ 2 w 8"/>
                  <a:gd name="T2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2" y="6"/>
                    </a:moveTo>
                    <a:lnTo>
                      <a:pt x="6" y="0"/>
                    </a:lnTo>
                    <a:lnTo>
                      <a:pt x="8" y="0"/>
                    </a:lnTo>
                    <a:lnTo>
                      <a:pt x="8" y="4"/>
                    </a:lnTo>
                    <a:lnTo>
                      <a:pt x="8" y="8"/>
                    </a:lnTo>
                    <a:lnTo>
                      <a:pt x="6" y="12"/>
                    </a:lnTo>
                    <a:lnTo>
                      <a:pt x="4" y="16"/>
                    </a:lnTo>
                    <a:lnTo>
                      <a:pt x="4" y="16"/>
                    </a:lnTo>
                    <a:lnTo>
                      <a:pt x="2" y="14"/>
                    </a:lnTo>
                    <a:lnTo>
                      <a:pt x="0" y="12"/>
                    </a:lnTo>
                    <a:lnTo>
                      <a:pt x="0" y="8"/>
                    </a:lnTo>
                    <a:lnTo>
                      <a:pt x="2" y="6"/>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044" name="Freeform 204"/>
              <p:cNvSpPr>
                <a:spLocks/>
              </p:cNvSpPr>
              <p:nvPr/>
            </p:nvSpPr>
            <p:spPr bwMode="auto">
              <a:xfrm>
                <a:off x="6849918" y="3875088"/>
                <a:ext cx="13757" cy="25400"/>
              </a:xfrm>
              <a:custGeom>
                <a:avLst/>
                <a:gdLst>
                  <a:gd name="T0" fmla="*/ 2 w 8"/>
                  <a:gd name="T1" fmla="*/ 6 h 16"/>
                  <a:gd name="T2" fmla="*/ 6 w 8"/>
                  <a:gd name="T3" fmla="*/ 0 h 16"/>
                  <a:gd name="T4" fmla="*/ 8 w 8"/>
                  <a:gd name="T5" fmla="*/ 0 h 16"/>
                  <a:gd name="T6" fmla="*/ 8 w 8"/>
                  <a:gd name="T7" fmla="*/ 4 h 16"/>
                  <a:gd name="T8" fmla="*/ 8 w 8"/>
                  <a:gd name="T9" fmla="*/ 8 h 16"/>
                  <a:gd name="T10" fmla="*/ 6 w 8"/>
                  <a:gd name="T11" fmla="*/ 12 h 16"/>
                  <a:gd name="T12" fmla="*/ 4 w 8"/>
                  <a:gd name="T13" fmla="*/ 16 h 16"/>
                  <a:gd name="T14" fmla="*/ 4 w 8"/>
                  <a:gd name="T15" fmla="*/ 16 h 16"/>
                  <a:gd name="T16" fmla="*/ 2 w 8"/>
                  <a:gd name="T17" fmla="*/ 14 h 16"/>
                  <a:gd name="T18" fmla="*/ 0 w 8"/>
                  <a:gd name="T19" fmla="*/ 12 h 16"/>
                  <a:gd name="T20" fmla="*/ 0 w 8"/>
                  <a:gd name="T21" fmla="*/ 8 h 16"/>
                  <a:gd name="T22" fmla="*/ 2 w 8"/>
                  <a:gd name="T2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2" y="6"/>
                    </a:moveTo>
                    <a:lnTo>
                      <a:pt x="6" y="0"/>
                    </a:lnTo>
                    <a:lnTo>
                      <a:pt x="8" y="0"/>
                    </a:lnTo>
                    <a:lnTo>
                      <a:pt x="8" y="4"/>
                    </a:lnTo>
                    <a:lnTo>
                      <a:pt x="8" y="8"/>
                    </a:lnTo>
                    <a:lnTo>
                      <a:pt x="6" y="12"/>
                    </a:lnTo>
                    <a:lnTo>
                      <a:pt x="4" y="16"/>
                    </a:lnTo>
                    <a:lnTo>
                      <a:pt x="4" y="16"/>
                    </a:lnTo>
                    <a:lnTo>
                      <a:pt x="2" y="14"/>
                    </a:lnTo>
                    <a:lnTo>
                      <a:pt x="0" y="12"/>
                    </a:lnTo>
                    <a:lnTo>
                      <a:pt x="0" y="8"/>
                    </a:lnTo>
                    <a:lnTo>
                      <a:pt x="2" y="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1045" name="Freeform 205"/>
              <p:cNvSpPr>
                <a:spLocks/>
              </p:cNvSpPr>
              <p:nvPr/>
            </p:nvSpPr>
            <p:spPr bwMode="auto">
              <a:xfrm>
                <a:off x="6729542" y="4205288"/>
                <a:ext cx="13757" cy="9525"/>
              </a:xfrm>
              <a:custGeom>
                <a:avLst/>
                <a:gdLst>
                  <a:gd name="T0" fmla="*/ 2 w 8"/>
                  <a:gd name="T1" fmla="*/ 2 h 6"/>
                  <a:gd name="T2" fmla="*/ 0 w 8"/>
                  <a:gd name="T3" fmla="*/ 0 h 6"/>
                  <a:gd name="T4" fmla="*/ 2 w 8"/>
                  <a:gd name="T5" fmla="*/ 2 h 6"/>
                  <a:gd name="T6" fmla="*/ 4 w 8"/>
                  <a:gd name="T7" fmla="*/ 2 h 6"/>
                  <a:gd name="T8" fmla="*/ 6 w 8"/>
                  <a:gd name="T9" fmla="*/ 2 h 6"/>
                  <a:gd name="T10" fmla="*/ 8 w 8"/>
                  <a:gd name="T11" fmla="*/ 2 h 6"/>
                  <a:gd name="T12" fmla="*/ 6 w 8"/>
                  <a:gd name="T13" fmla="*/ 6 h 6"/>
                  <a:gd name="T14" fmla="*/ 4 w 8"/>
                  <a:gd name="T15" fmla="*/ 4 h 6"/>
                  <a:gd name="T16" fmla="*/ 2 w 8"/>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2" y="2"/>
                    </a:moveTo>
                    <a:lnTo>
                      <a:pt x="0" y="0"/>
                    </a:lnTo>
                    <a:lnTo>
                      <a:pt x="2" y="2"/>
                    </a:lnTo>
                    <a:lnTo>
                      <a:pt x="4" y="2"/>
                    </a:lnTo>
                    <a:lnTo>
                      <a:pt x="6" y="2"/>
                    </a:lnTo>
                    <a:lnTo>
                      <a:pt x="8" y="2"/>
                    </a:lnTo>
                    <a:lnTo>
                      <a:pt x="6" y="6"/>
                    </a:lnTo>
                    <a:lnTo>
                      <a:pt x="4" y="4"/>
                    </a:lnTo>
                    <a:lnTo>
                      <a:pt x="2" y="2"/>
                    </a:lnTo>
                    <a:close/>
                  </a:path>
                </a:pathLst>
              </a:custGeom>
              <a:solidFill>
                <a:schemeClr val="bg2"/>
              </a:solid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grpSp>
        <p:grpSp>
          <p:nvGrpSpPr>
            <p:cNvPr id="554" name="Group 206"/>
            <p:cNvGrpSpPr>
              <a:grpSpLocks/>
            </p:cNvGrpSpPr>
            <p:nvPr/>
          </p:nvGrpSpPr>
          <p:grpSpPr bwMode="auto">
            <a:xfrm>
              <a:off x="1655763" y="887413"/>
              <a:ext cx="6827838" cy="4946650"/>
              <a:chOff x="975" y="463"/>
              <a:chExt cx="3970" cy="3116"/>
            </a:xfrm>
            <a:solidFill>
              <a:schemeClr val="bg2"/>
            </a:solidFill>
          </p:grpSpPr>
          <p:sp>
            <p:nvSpPr>
              <p:cNvPr id="656" name="Freeform 207"/>
              <p:cNvSpPr>
                <a:spLocks/>
              </p:cNvSpPr>
              <p:nvPr/>
            </p:nvSpPr>
            <p:spPr bwMode="auto">
              <a:xfrm>
                <a:off x="3925" y="2553"/>
                <a:ext cx="8" cy="6"/>
              </a:xfrm>
              <a:custGeom>
                <a:avLst/>
                <a:gdLst>
                  <a:gd name="T0" fmla="*/ 2 w 8"/>
                  <a:gd name="T1" fmla="*/ 2 h 6"/>
                  <a:gd name="T2" fmla="*/ 0 w 8"/>
                  <a:gd name="T3" fmla="*/ 0 h 6"/>
                  <a:gd name="T4" fmla="*/ 2 w 8"/>
                  <a:gd name="T5" fmla="*/ 2 h 6"/>
                  <a:gd name="T6" fmla="*/ 4 w 8"/>
                  <a:gd name="T7" fmla="*/ 2 h 6"/>
                  <a:gd name="T8" fmla="*/ 6 w 8"/>
                  <a:gd name="T9" fmla="*/ 2 h 6"/>
                  <a:gd name="T10" fmla="*/ 8 w 8"/>
                  <a:gd name="T11" fmla="*/ 2 h 6"/>
                  <a:gd name="T12" fmla="*/ 6 w 8"/>
                  <a:gd name="T13" fmla="*/ 6 h 6"/>
                  <a:gd name="T14" fmla="*/ 4 w 8"/>
                  <a:gd name="T15" fmla="*/ 4 h 6"/>
                  <a:gd name="T16" fmla="*/ 2 w 8"/>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2" y="2"/>
                    </a:moveTo>
                    <a:lnTo>
                      <a:pt x="0" y="0"/>
                    </a:lnTo>
                    <a:lnTo>
                      <a:pt x="2" y="2"/>
                    </a:lnTo>
                    <a:lnTo>
                      <a:pt x="4" y="2"/>
                    </a:lnTo>
                    <a:lnTo>
                      <a:pt x="6" y="2"/>
                    </a:lnTo>
                    <a:lnTo>
                      <a:pt x="8" y="2"/>
                    </a:lnTo>
                    <a:lnTo>
                      <a:pt x="6" y="6"/>
                    </a:lnTo>
                    <a:lnTo>
                      <a:pt x="4" y="4"/>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57" name="Freeform 208"/>
              <p:cNvSpPr>
                <a:spLocks/>
              </p:cNvSpPr>
              <p:nvPr/>
            </p:nvSpPr>
            <p:spPr bwMode="auto">
              <a:xfrm>
                <a:off x="3565" y="2809"/>
                <a:ext cx="8" cy="8"/>
              </a:xfrm>
              <a:custGeom>
                <a:avLst/>
                <a:gdLst>
                  <a:gd name="T0" fmla="*/ 6 w 8"/>
                  <a:gd name="T1" fmla="*/ 0 h 8"/>
                  <a:gd name="T2" fmla="*/ 4 w 8"/>
                  <a:gd name="T3" fmla="*/ 2 h 8"/>
                  <a:gd name="T4" fmla="*/ 2 w 8"/>
                  <a:gd name="T5" fmla="*/ 4 h 8"/>
                  <a:gd name="T6" fmla="*/ 0 w 8"/>
                  <a:gd name="T7" fmla="*/ 8 h 8"/>
                  <a:gd name="T8" fmla="*/ 0 w 8"/>
                  <a:gd name="T9" fmla="*/ 8 h 8"/>
                  <a:gd name="T10" fmla="*/ 2 w 8"/>
                  <a:gd name="T11" fmla="*/ 8 h 8"/>
                  <a:gd name="T12" fmla="*/ 2 w 8"/>
                  <a:gd name="T13" fmla="*/ 8 h 8"/>
                  <a:gd name="T14" fmla="*/ 4 w 8"/>
                  <a:gd name="T15" fmla="*/ 8 h 8"/>
                  <a:gd name="T16" fmla="*/ 4 w 8"/>
                  <a:gd name="T17" fmla="*/ 6 h 8"/>
                  <a:gd name="T18" fmla="*/ 6 w 8"/>
                  <a:gd name="T19" fmla="*/ 8 h 8"/>
                  <a:gd name="T20" fmla="*/ 6 w 8"/>
                  <a:gd name="T21" fmla="*/ 8 h 8"/>
                  <a:gd name="T22" fmla="*/ 6 w 8"/>
                  <a:gd name="T23" fmla="*/ 4 h 8"/>
                  <a:gd name="T24" fmla="*/ 6 w 8"/>
                  <a:gd name="T25" fmla="*/ 4 h 8"/>
                  <a:gd name="T26" fmla="*/ 6 w 8"/>
                  <a:gd name="T27" fmla="*/ 2 h 8"/>
                  <a:gd name="T28" fmla="*/ 8 w 8"/>
                  <a:gd name="T29" fmla="*/ 2 h 8"/>
                  <a:gd name="T30" fmla="*/ 6 w 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8">
                    <a:moveTo>
                      <a:pt x="6" y="0"/>
                    </a:moveTo>
                    <a:lnTo>
                      <a:pt x="4" y="2"/>
                    </a:lnTo>
                    <a:lnTo>
                      <a:pt x="2" y="4"/>
                    </a:lnTo>
                    <a:lnTo>
                      <a:pt x="0" y="8"/>
                    </a:lnTo>
                    <a:lnTo>
                      <a:pt x="0" y="8"/>
                    </a:lnTo>
                    <a:lnTo>
                      <a:pt x="2" y="8"/>
                    </a:lnTo>
                    <a:lnTo>
                      <a:pt x="2" y="8"/>
                    </a:lnTo>
                    <a:lnTo>
                      <a:pt x="4" y="8"/>
                    </a:lnTo>
                    <a:lnTo>
                      <a:pt x="4" y="6"/>
                    </a:lnTo>
                    <a:lnTo>
                      <a:pt x="6" y="8"/>
                    </a:lnTo>
                    <a:lnTo>
                      <a:pt x="6" y="8"/>
                    </a:lnTo>
                    <a:lnTo>
                      <a:pt x="6" y="4"/>
                    </a:lnTo>
                    <a:lnTo>
                      <a:pt x="6" y="4"/>
                    </a:lnTo>
                    <a:lnTo>
                      <a:pt x="6" y="2"/>
                    </a:lnTo>
                    <a:lnTo>
                      <a:pt x="8" y="2"/>
                    </a:lnTo>
                    <a:lnTo>
                      <a:pt x="6"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58" name="Freeform 209"/>
              <p:cNvSpPr>
                <a:spLocks/>
              </p:cNvSpPr>
              <p:nvPr/>
            </p:nvSpPr>
            <p:spPr bwMode="auto">
              <a:xfrm>
                <a:off x="3565" y="2809"/>
                <a:ext cx="8" cy="8"/>
              </a:xfrm>
              <a:custGeom>
                <a:avLst/>
                <a:gdLst>
                  <a:gd name="T0" fmla="*/ 6 w 8"/>
                  <a:gd name="T1" fmla="*/ 0 h 8"/>
                  <a:gd name="T2" fmla="*/ 4 w 8"/>
                  <a:gd name="T3" fmla="*/ 2 h 8"/>
                  <a:gd name="T4" fmla="*/ 2 w 8"/>
                  <a:gd name="T5" fmla="*/ 4 h 8"/>
                  <a:gd name="T6" fmla="*/ 0 w 8"/>
                  <a:gd name="T7" fmla="*/ 8 h 8"/>
                  <a:gd name="T8" fmla="*/ 0 w 8"/>
                  <a:gd name="T9" fmla="*/ 8 h 8"/>
                  <a:gd name="T10" fmla="*/ 2 w 8"/>
                  <a:gd name="T11" fmla="*/ 8 h 8"/>
                  <a:gd name="T12" fmla="*/ 2 w 8"/>
                  <a:gd name="T13" fmla="*/ 8 h 8"/>
                  <a:gd name="T14" fmla="*/ 4 w 8"/>
                  <a:gd name="T15" fmla="*/ 8 h 8"/>
                  <a:gd name="T16" fmla="*/ 4 w 8"/>
                  <a:gd name="T17" fmla="*/ 6 h 8"/>
                  <a:gd name="T18" fmla="*/ 6 w 8"/>
                  <a:gd name="T19" fmla="*/ 8 h 8"/>
                  <a:gd name="T20" fmla="*/ 6 w 8"/>
                  <a:gd name="T21" fmla="*/ 8 h 8"/>
                  <a:gd name="T22" fmla="*/ 6 w 8"/>
                  <a:gd name="T23" fmla="*/ 4 h 8"/>
                  <a:gd name="T24" fmla="*/ 6 w 8"/>
                  <a:gd name="T25" fmla="*/ 4 h 8"/>
                  <a:gd name="T26" fmla="*/ 6 w 8"/>
                  <a:gd name="T27" fmla="*/ 2 h 8"/>
                  <a:gd name="T28" fmla="*/ 8 w 8"/>
                  <a:gd name="T29" fmla="*/ 2 h 8"/>
                  <a:gd name="T30" fmla="*/ 6 w 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8">
                    <a:moveTo>
                      <a:pt x="6" y="0"/>
                    </a:moveTo>
                    <a:lnTo>
                      <a:pt x="4" y="2"/>
                    </a:lnTo>
                    <a:lnTo>
                      <a:pt x="2" y="4"/>
                    </a:lnTo>
                    <a:lnTo>
                      <a:pt x="0" y="8"/>
                    </a:lnTo>
                    <a:lnTo>
                      <a:pt x="0" y="8"/>
                    </a:lnTo>
                    <a:lnTo>
                      <a:pt x="2" y="8"/>
                    </a:lnTo>
                    <a:lnTo>
                      <a:pt x="2" y="8"/>
                    </a:lnTo>
                    <a:lnTo>
                      <a:pt x="4" y="8"/>
                    </a:lnTo>
                    <a:lnTo>
                      <a:pt x="4" y="6"/>
                    </a:lnTo>
                    <a:lnTo>
                      <a:pt x="6" y="8"/>
                    </a:lnTo>
                    <a:lnTo>
                      <a:pt x="6" y="8"/>
                    </a:lnTo>
                    <a:lnTo>
                      <a:pt x="6" y="4"/>
                    </a:lnTo>
                    <a:lnTo>
                      <a:pt x="6" y="4"/>
                    </a:lnTo>
                    <a:lnTo>
                      <a:pt x="6" y="2"/>
                    </a:lnTo>
                    <a:lnTo>
                      <a:pt x="8" y="2"/>
                    </a:lnTo>
                    <a:lnTo>
                      <a:pt x="6"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59" name="Freeform 210"/>
              <p:cNvSpPr>
                <a:spLocks/>
              </p:cNvSpPr>
              <p:nvPr/>
            </p:nvSpPr>
            <p:spPr bwMode="auto">
              <a:xfrm>
                <a:off x="3575" y="2809"/>
                <a:ext cx="6" cy="4"/>
              </a:xfrm>
              <a:custGeom>
                <a:avLst/>
                <a:gdLst>
                  <a:gd name="T0" fmla="*/ 2 w 6"/>
                  <a:gd name="T1" fmla="*/ 0 h 4"/>
                  <a:gd name="T2" fmla="*/ 0 w 6"/>
                  <a:gd name="T3" fmla="*/ 2 h 4"/>
                  <a:gd name="T4" fmla="*/ 0 w 6"/>
                  <a:gd name="T5" fmla="*/ 2 h 4"/>
                  <a:gd name="T6" fmla="*/ 2 w 6"/>
                  <a:gd name="T7" fmla="*/ 2 h 4"/>
                  <a:gd name="T8" fmla="*/ 4 w 6"/>
                  <a:gd name="T9" fmla="*/ 4 h 4"/>
                  <a:gd name="T10" fmla="*/ 4 w 6"/>
                  <a:gd name="T11" fmla="*/ 2 h 4"/>
                  <a:gd name="T12" fmla="*/ 6 w 6"/>
                  <a:gd name="T13" fmla="*/ 4 h 4"/>
                  <a:gd name="T14" fmla="*/ 4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0" y="2"/>
                    </a:lnTo>
                    <a:lnTo>
                      <a:pt x="0" y="2"/>
                    </a:lnTo>
                    <a:lnTo>
                      <a:pt x="2" y="2"/>
                    </a:lnTo>
                    <a:lnTo>
                      <a:pt x="4" y="4"/>
                    </a:lnTo>
                    <a:lnTo>
                      <a:pt x="4" y="2"/>
                    </a:lnTo>
                    <a:lnTo>
                      <a:pt x="6" y="4"/>
                    </a:lnTo>
                    <a:lnTo>
                      <a:pt x="4" y="2"/>
                    </a:lnTo>
                    <a:lnTo>
                      <a:pt x="2"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60" name="Freeform 211"/>
              <p:cNvSpPr>
                <a:spLocks/>
              </p:cNvSpPr>
              <p:nvPr/>
            </p:nvSpPr>
            <p:spPr bwMode="auto">
              <a:xfrm>
                <a:off x="3575" y="2809"/>
                <a:ext cx="6" cy="4"/>
              </a:xfrm>
              <a:custGeom>
                <a:avLst/>
                <a:gdLst>
                  <a:gd name="T0" fmla="*/ 2 w 6"/>
                  <a:gd name="T1" fmla="*/ 0 h 4"/>
                  <a:gd name="T2" fmla="*/ 0 w 6"/>
                  <a:gd name="T3" fmla="*/ 2 h 4"/>
                  <a:gd name="T4" fmla="*/ 0 w 6"/>
                  <a:gd name="T5" fmla="*/ 2 h 4"/>
                  <a:gd name="T6" fmla="*/ 2 w 6"/>
                  <a:gd name="T7" fmla="*/ 2 h 4"/>
                  <a:gd name="T8" fmla="*/ 4 w 6"/>
                  <a:gd name="T9" fmla="*/ 4 h 4"/>
                  <a:gd name="T10" fmla="*/ 4 w 6"/>
                  <a:gd name="T11" fmla="*/ 2 h 4"/>
                  <a:gd name="T12" fmla="*/ 6 w 6"/>
                  <a:gd name="T13" fmla="*/ 4 h 4"/>
                  <a:gd name="T14" fmla="*/ 4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0" y="2"/>
                    </a:lnTo>
                    <a:lnTo>
                      <a:pt x="0" y="2"/>
                    </a:lnTo>
                    <a:lnTo>
                      <a:pt x="2" y="2"/>
                    </a:lnTo>
                    <a:lnTo>
                      <a:pt x="4" y="4"/>
                    </a:lnTo>
                    <a:lnTo>
                      <a:pt x="4" y="2"/>
                    </a:lnTo>
                    <a:lnTo>
                      <a:pt x="6" y="4"/>
                    </a:lnTo>
                    <a:lnTo>
                      <a:pt x="4" y="2"/>
                    </a:lnTo>
                    <a:lnTo>
                      <a:pt x="2"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61" name="Freeform 212"/>
              <p:cNvSpPr>
                <a:spLocks/>
              </p:cNvSpPr>
              <p:nvPr/>
            </p:nvSpPr>
            <p:spPr bwMode="auto">
              <a:xfrm>
                <a:off x="975" y="2043"/>
                <a:ext cx="76" cy="32"/>
              </a:xfrm>
              <a:custGeom>
                <a:avLst/>
                <a:gdLst>
                  <a:gd name="T0" fmla="*/ 54 w 76"/>
                  <a:gd name="T1" fmla="*/ 16 h 32"/>
                  <a:gd name="T2" fmla="*/ 74 w 76"/>
                  <a:gd name="T3" fmla="*/ 18 h 32"/>
                  <a:gd name="T4" fmla="*/ 76 w 76"/>
                  <a:gd name="T5" fmla="*/ 18 h 32"/>
                  <a:gd name="T6" fmla="*/ 72 w 76"/>
                  <a:gd name="T7" fmla="*/ 22 h 32"/>
                  <a:gd name="T8" fmla="*/ 64 w 76"/>
                  <a:gd name="T9" fmla="*/ 24 h 32"/>
                  <a:gd name="T10" fmla="*/ 60 w 76"/>
                  <a:gd name="T11" fmla="*/ 22 h 32"/>
                  <a:gd name="T12" fmla="*/ 50 w 76"/>
                  <a:gd name="T13" fmla="*/ 26 h 32"/>
                  <a:gd name="T14" fmla="*/ 48 w 76"/>
                  <a:gd name="T15" fmla="*/ 30 h 32"/>
                  <a:gd name="T16" fmla="*/ 42 w 76"/>
                  <a:gd name="T17" fmla="*/ 32 h 32"/>
                  <a:gd name="T18" fmla="*/ 36 w 76"/>
                  <a:gd name="T19" fmla="*/ 28 h 32"/>
                  <a:gd name="T20" fmla="*/ 28 w 76"/>
                  <a:gd name="T21" fmla="*/ 30 h 32"/>
                  <a:gd name="T22" fmla="*/ 18 w 76"/>
                  <a:gd name="T23" fmla="*/ 26 h 32"/>
                  <a:gd name="T24" fmla="*/ 12 w 76"/>
                  <a:gd name="T25" fmla="*/ 26 h 32"/>
                  <a:gd name="T26" fmla="*/ 4 w 76"/>
                  <a:gd name="T27" fmla="*/ 20 h 32"/>
                  <a:gd name="T28" fmla="*/ 0 w 76"/>
                  <a:gd name="T29" fmla="*/ 12 h 32"/>
                  <a:gd name="T30" fmla="*/ 2 w 76"/>
                  <a:gd name="T31" fmla="*/ 0 h 32"/>
                  <a:gd name="T32" fmla="*/ 24 w 76"/>
                  <a:gd name="T33" fmla="*/ 6 h 32"/>
                  <a:gd name="T34" fmla="*/ 26 w 76"/>
                  <a:gd name="T35" fmla="*/ 2 h 32"/>
                  <a:gd name="T36" fmla="*/ 28 w 76"/>
                  <a:gd name="T37" fmla="*/ 4 h 32"/>
                  <a:gd name="T38" fmla="*/ 54 w 76"/>
                  <a:gd name="T39"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32">
                    <a:moveTo>
                      <a:pt x="54" y="16"/>
                    </a:moveTo>
                    <a:lnTo>
                      <a:pt x="74" y="18"/>
                    </a:lnTo>
                    <a:lnTo>
                      <a:pt x="76" y="18"/>
                    </a:lnTo>
                    <a:lnTo>
                      <a:pt x="72" y="22"/>
                    </a:lnTo>
                    <a:lnTo>
                      <a:pt x="64" y="24"/>
                    </a:lnTo>
                    <a:lnTo>
                      <a:pt x="60" y="22"/>
                    </a:lnTo>
                    <a:lnTo>
                      <a:pt x="50" y="26"/>
                    </a:lnTo>
                    <a:lnTo>
                      <a:pt x="48" y="30"/>
                    </a:lnTo>
                    <a:lnTo>
                      <a:pt x="42" y="32"/>
                    </a:lnTo>
                    <a:lnTo>
                      <a:pt x="36" y="28"/>
                    </a:lnTo>
                    <a:lnTo>
                      <a:pt x="28" y="30"/>
                    </a:lnTo>
                    <a:lnTo>
                      <a:pt x="18" y="26"/>
                    </a:lnTo>
                    <a:lnTo>
                      <a:pt x="12" y="26"/>
                    </a:lnTo>
                    <a:lnTo>
                      <a:pt x="4" y="20"/>
                    </a:lnTo>
                    <a:lnTo>
                      <a:pt x="0" y="12"/>
                    </a:lnTo>
                    <a:lnTo>
                      <a:pt x="2" y="0"/>
                    </a:lnTo>
                    <a:lnTo>
                      <a:pt x="24" y="6"/>
                    </a:lnTo>
                    <a:lnTo>
                      <a:pt x="26" y="2"/>
                    </a:lnTo>
                    <a:lnTo>
                      <a:pt x="28" y="4"/>
                    </a:lnTo>
                    <a:lnTo>
                      <a:pt x="54" y="1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62" name="Freeform 213"/>
              <p:cNvSpPr>
                <a:spLocks/>
              </p:cNvSpPr>
              <p:nvPr/>
            </p:nvSpPr>
            <p:spPr bwMode="auto">
              <a:xfrm>
                <a:off x="975" y="2043"/>
                <a:ext cx="76" cy="32"/>
              </a:xfrm>
              <a:custGeom>
                <a:avLst/>
                <a:gdLst>
                  <a:gd name="T0" fmla="*/ 54 w 76"/>
                  <a:gd name="T1" fmla="*/ 16 h 32"/>
                  <a:gd name="T2" fmla="*/ 74 w 76"/>
                  <a:gd name="T3" fmla="*/ 18 h 32"/>
                  <a:gd name="T4" fmla="*/ 76 w 76"/>
                  <a:gd name="T5" fmla="*/ 18 h 32"/>
                  <a:gd name="T6" fmla="*/ 72 w 76"/>
                  <a:gd name="T7" fmla="*/ 22 h 32"/>
                  <a:gd name="T8" fmla="*/ 64 w 76"/>
                  <a:gd name="T9" fmla="*/ 24 h 32"/>
                  <a:gd name="T10" fmla="*/ 60 w 76"/>
                  <a:gd name="T11" fmla="*/ 22 h 32"/>
                  <a:gd name="T12" fmla="*/ 50 w 76"/>
                  <a:gd name="T13" fmla="*/ 26 h 32"/>
                  <a:gd name="T14" fmla="*/ 48 w 76"/>
                  <a:gd name="T15" fmla="*/ 30 h 32"/>
                  <a:gd name="T16" fmla="*/ 42 w 76"/>
                  <a:gd name="T17" fmla="*/ 32 h 32"/>
                  <a:gd name="T18" fmla="*/ 36 w 76"/>
                  <a:gd name="T19" fmla="*/ 28 h 32"/>
                  <a:gd name="T20" fmla="*/ 28 w 76"/>
                  <a:gd name="T21" fmla="*/ 30 h 32"/>
                  <a:gd name="T22" fmla="*/ 18 w 76"/>
                  <a:gd name="T23" fmla="*/ 26 h 32"/>
                  <a:gd name="T24" fmla="*/ 12 w 76"/>
                  <a:gd name="T25" fmla="*/ 26 h 32"/>
                  <a:gd name="T26" fmla="*/ 4 w 76"/>
                  <a:gd name="T27" fmla="*/ 20 h 32"/>
                  <a:gd name="T28" fmla="*/ 0 w 76"/>
                  <a:gd name="T29" fmla="*/ 12 h 32"/>
                  <a:gd name="T30" fmla="*/ 2 w 76"/>
                  <a:gd name="T31" fmla="*/ 0 h 32"/>
                  <a:gd name="T32" fmla="*/ 24 w 76"/>
                  <a:gd name="T33" fmla="*/ 6 h 32"/>
                  <a:gd name="T34" fmla="*/ 26 w 76"/>
                  <a:gd name="T35" fmla="*/ 2 h 32"/>
                  <a:gd name="T36" fmla="*/ 28 w 76"/>
                  <a:gd name="T37" fmla="*/ 4 h 32"/>
                  <a:gd name="T38" fmla="*/ 54 w 76"/>
                  <a:gd name="T39"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32">
                    <a:moveTo>
                      <a:pt x="54" y="16"/>
                    </a:moveTo>
                    <a:lnTo>
                      <a:pt x="74" y="18"/>
                    </a:lnTo>
                    <a:lnTo>
                      <a:pt x="76" y="18"/>
                    </a:lnTo>
                    <a:lnTo>
                      <a:pt x="72" y="22"/>
                    </a:lnTo>
                    <a:lnTo>
                      <a:pt x="64" y="24"/>
                    </a:lnTo>
                    <a:lnTo>
                      <a:pt x="60" y="22"/>
                    </a:lnTo>
                    <a:lnTo>
                      <a:pt x="50" y="26"/>
                    </a:lnTo>
                    <a:lnTo>
                      <a:pt x="48" y="30"/>
                    </a:lnTo>
                    <a:lnTo>
                      <a:pt x="42" y="32"/>
                    </a:lnTo>
                    <a:lnTo>
                      <a:pt x="36" y="28"/>
                    </a:lnTo>
                    <a:lnTo>
                      <a:pt x="28" y="30"/>
                    </a:lnTo>
                    <a:lnTo>
                      <a:pt x="18" y="26"/>
                    </a:lnTo>
                    <a:lnTo>
                      <a:pt x="12" y="26"/>
                    </a:lnTo>
                    <a:lnTo>
                      <a:pt x="4" y="20"/>
                    </a:lnTo>
                    <a:lnTo>
                      <a:pt x="0" y="12"/>
                    </a:lnTo>
                    <a:lnTo>
                      <a:pt x="2" y="0"/>
                    </a:lnTo>
                    <a:lnTo>
                      <a:pt x="24" y="6"/>
                    </a:lnTo>
                    <a:lnTo>
                      <a:pt x="26" y="2"/>
                    </a:lnTo>
                    <a:lnTo>
                      <a:pt x="28" y="4"/>
                    </a:lnTo>
                    <a:lnTo>
                      <a:pt x="54" y="1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63" name="Freeform 214"/>
              <p:cNvSpPr>
                <a:spLocks/>
              </p:cNvSpPr>
              <p:nvPr/>
            </p:nvSpPr>
            <p:spPr bwMode="auto">
              <a:xfrm>
                <a:off x="3397" y="2929"/>
                <a:ext cx="84" cy="80"/>
              </a:xfrm>
              <a:custGeom>
                <a:avLst/>
                <a:gdLst>
                  <a:gd name="T0" fmla="*/ 64 w 84"/>
                  <a:gd name="T1" fmla="*/ 4 h 80"/>
                  <a:gd name="T2" fmla="*/ 62 w 84"/>
                  <a:gd name="T3" fmla="*/ 4 h 80"/>
                  <a:gd name="T4" fmla="*/ 66 w 84"/>
                  <a:gd name="T5" fmla="*/ 0 h 80"/>
                  <a:gd name="T6" fmla="*/ 70 w 84"/>
                  <a:gd name="T7" fmla="*/ 2 h 80"/>
                  <a:gd name="T8" fmla="*/ 78 w 84"/>
                  <a:gd name="T9" fmla="*/ 0 h 80"/>
                  <a:gd name="T10" fmla="*/ 84 w 84"/>
                  <a:gd name="T11" fmla="*/ 12 h 80"/>
                  <a:gd name="T12" fmla="*/ 78 w 84"/>
                  <a:gd name="T13" fmla="*/ 20 h 80"/>
                  <a:gd name="T14" fmla="*/ 70 w 84"/>
                  <a:gd name="T15" fmla="*/ 50 h 80"/>
                  <a:gd name="T16" fmla="*/ 58 w 84"/>
                  <a:gd name="T17" fmla="*/ 66 h 80"/>
                  <a:gd name="T18" fmla="*/ 50 w 84"/>
                  <a:gd name="T19" fmla="*/ 70 h 80"/>
                  <a:gd name="T20" fmla="*/ 46 w 84"/>
                  <a:gd name="T21" fmla="*/ 80 h 80"/>
                  <a:gd name="T22" fmla="*/ 42 w 84"/>
                  <a:gd name="T23" fmla="*/ 80 h 80"/>
                  <a:gd name="T24" fmla="*/ 38 w 84"/>
                  <a:gd name="T25" fmla="*/ 78 h 80"/>
                  <a:gd name="T26" fmla="*/ 12 w 84"/>
                  <a:gd name="T27" fmla="*/ 78 h 80"/>
                  <a:gd name="T28" fmla="*/ 6 w 84"/>
                  <a:gd name="T29" fmla="*/ 72 h 80"/>
                  <a:gd name="T30" fmla="*/ 0 w 84"/>
                  <a:gd name="T31" fmla="*/ 50 h 80"/>
                  <a:gd name="T32" fmla="*/ 18 w 84"/>
                  <a:gd name="T33" fmla="*/ 28 h 80"/>
                  <a:gd name="T34" fmla="*/ 18 w 84"/>
                  <a:gd name="T35" fmla="*/ 26 h 80"/>
                  <a:gd name="T36" fmla="*/ 30 w 84"/>
                  <a:gd name="T37" fmla="*/ 16 h 80"/>
                  <a:gd name="T38" fmla="*/ 48 w 84"/>
                  <a:gd name="T39" fmla="*/ 10 h 80"/>
                  <a:gd name="T40" fmla="*/ 52 w 84"/>
                  <a:gd name="T41" fmla="*/ 6 h 80"/>
                  <a:gd name="T42" fmla="*/ 64 w 84"/>
                  <a:gd name="T43" fmla="*/ 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 h="80">
                    <a:moveTo>
                      <a:pt x="64" y="4"/>
                    </a:moveTo>
                    <a:lnTo>
                      <a:pt x="62" y="4"/>
                    </a:lnTo>
                    <a:lnTo>
                      <a:pt x="66" y="0"/>
                    </a:lnTo>
                    <a:lnTo>
                      <a:pt x="70" y="2"/>
                    </a:lnTo>
                    <a:lnTo>
                      <a:pt x="78" y="0"/>
                    </a:lnTo>
                    <a:lnTo>
                      <a:pt x="84" y="12"/>
                    </a:lnTo>
                    <a:lnTo>
                      <a:pt x="78" y="20"/>
                    </a:lnTo>
                    <a:lnTo>
                      <a:pt x="70" y="50"/>
                    </a:lnTo>
                    <a:lnTo>
                      <a:pt x="58" y="66"/>
                    </a:lnTo>
                    <a:lnTo>
                      <a:pt x="50" y="70"/>
                    </a:lnTo>
                    <a:lnTo>
                      <a:pt x="46" y="80"/>
                    </a:lnTo>
                    <a:lnTo>
                      <a:pt x="42" y="80"/>
                    </a:lnTo>
                    <a:lnTo>
                      <a:pt x="38" y="78"/>
                    </a:lnTo>
                    <a:lnTo>
                      <a:pt x="12" y="78"/>
                    </a:lnTo>
                    <a:lnTo>
                      <a:pt x="6" y="72"/>
                    </a:lnTo>
                    <a:lnTo>
                      <a:pt x="0" y="50"/>
                    </a:lnTo>
                    <a:lnTo>
                      <a:pt x="18" y="28"/>
                    </a:lnTo>
                    <a:lnTo>
                      <a:pt x="18" y="26"/>
                    </a:lnTo>
                    <a:lnTo>
                      <a:pt x="30" y="16"/>
                    </a:lnTo>
                    <a:lnTo>
                      <a:pt x="48" y="10"/>
                    </a:lnTo>
                    <a:lnTo>
                      <a:pt x="52" y="6"/>
                    </a:lnTo>
                    <a:lnTo>
                      <a:pt x="64"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64" name="Freeform 215"/>
              <p:cNvSpPr>
                <a:spLocks/>
              </p:cNvSpPr>
              <p:nvPr/>
            </p:nvSpPr>
            <p:spPr bwMode="auto">
              <a:xfrm>
                <a:off x="3397" y="2929"/>
                <a:ext cx="84" cy="80"/>
              </a:xfrm>
              <a:custGeom>
                <a:avLst/>
                <a:gdLst>
                  <a:gd name="T0" fmla="*/ 64 w 84"/>
                  <a:gd name="T1" fmla="*/ 4 h 80"/>
                  <a:gd name="T2" fmla="*/ 62 w 84"/>
                  <a:gd name="T3" fmla="*/ 4 h 80"/>
                  <a:gd name="T4" fmla="*/ 66 w 84"/>
                  <a:gd name="T5" fmla="*/ 0 h 80"/>
                  <a:gd name="T6" fmla="*/ 70 w 84"/>
                  <a:gd name="T7" fmla="*/ 2 h 80"/>
                  <a:gd name="T8" fmla="*/ 78 w 84"/>
                  <a:gd name="T9" fmla="*/ 0 h 80"/>
                  <a:gd name="T10" fmla="*/ 84 w 84"/>
                  <a:gd name="T11" fmla="*/ 12 h 80"/>
                  <a:gd name="T12" fmla="*/ 78 w 84"/>
                  <a:gd name="T13" fmla="*/ 20 h 80"/>
                  <a:gd name="T14" fmla="*/ 70 w 84"/>
                  <a:gd name="T15" fmla="*/ 50 h 80"/>
                  <a:gd name="T16" fmla="*/ 58 w 84"/>
                  <a:gd name="T17" fmla="*/ 66 h 80"/>
                  <a:gd name="T18" fmla="*/ 50 w 84"/>
                  <a:gd name="T19" fmla="*/ 70 h 80"/>
                  <a:gd name="T20" fmla="*/ 46 w 84"/>
                  <a:gd name="T21" fmla="*/ 80 h 80"/>
                  <a:gd name="T22" fmla="*/ 42 w 84"/>
                  <a:gd name="T23" fmla="*/ 80 h 80"/>
                  <a:gd name="T24" fmla="*/ 38 w 84"/>
                  <a:gd name="T25" fmla="*/ 78 h 80"/>
                  <a:gd name="T26" fmla="*/ 12 w 84"/>
                  <a:gd name="T27" fmla="*/ 78 h 80"/>
                  <a:gd name="T28" fmla="*/ 6 w 84"/>
                  <a:gd name="T29" fmla="*/ 72 h 80"/>
                  <a:gd name="T30" fmla="*/ 0 w 84"/>
                  <a:gd name="T31" fmla="*/ 50 h 80"/>
                  <a:gd name="T32" fmla="*/ 18 w 84"/>
                  <a:gd name="T33" fmla="*/ 28 h 80"/>
                  <a:gd name="T34" fmla="*/ 18 w 84"/>
                  <a:gd name="T35" fmla="*/ 26 h 80"/>
                  <a:gd name="T36" fmla="*/ 30 w 84"/>
                  <a:gd name="T37" fmla="*/ 16 h 80"/>
                  <a:gd name="T38" fmla="*/ 48 w 84"/>
                  <a:gd name="T39" fmla="*/ 10 h 80"/>
                  <a:gd name="T40" fmla="*/ 52 w 84"/>
                  <a:gd name="T41" fmla="*/ 6 h 80"/>
                  <a:gd name="T42" fmla="*/ 64 w 84"/>
                  <a:gd name="T43" fmla="*/ 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 h="80">
                    <a:moveTo>
                      <a:pt x="64" y="4"/>
                    </a:moveTo>
                    <a:lnTo>
                      <a:pt x="62" y="4"/>
                    </a:lnTo>
                    <a:lnTo>
                      <a:pt x="66" y="0"/>
                    </a:lnTo>
                    <a:lnTo>
                      <a:pt x="70" y="2"/>
                    </a:lnTo>
                    <a:lnTo>
                      <a:pt x="78" y="0"/>
                    </a:lnTo>
                    <a:lnTo>
                      <a:pt x="84" y="12"/>
                    </a:lnTo>
                    <a:lnTo>
                      <a:pt x="78" y="20"/>
                    </a:lnTo>
                    <a:lnTo>
                      <a:pt x="70" y="50"/>
                    </a:lnTo>
                    <a:lnTo>
                      <a:pt x="58" y="66"/>
                    </a:lnTo>
                    <a:lnTo>
                      <a:pt x="50" y="70"/>
                    </a:lnTo>
                    <a:lnTo>
                      <a:pt x="46" y="80"/>
                    </a:lnTo>
                    <a:lnTo>
                      <a:pt x="42" y="80"/>
                    </a:lnTo>
                    <a:lnTo>
                      <a:pt x="38" y="78"/>
                    </a:lnTo>
                    <a:lnTo>
                      <a:pt x="12" y="78"/>
                    </a:lnTo>
                    <a:lnTo>
                      <a:pt x="6" y="72"/>
                    </a:lnTo>
                    <a:lnTo>
                      <a:pt x="0" y="50"/>
                    </a:lnTo>
                    <a:lnTo>
                      <a:pt x="18" y="28"/>
                    </a:lnTo>
                    <a:lnTo>
                      <a:pt x="18" y="26"/>
                    </a:lnTo>
                    <a:lnTo>
                      <a:pt x="30" y="16"/>
                    </a:lnTo>
                    <a:lnTo>
                      <a:pt x="48" y="10"/>
                    </a:lnTo>
                    <a:lnTo>
                      <a:pt x="52" y="6"/>
                    </a:lnTo>
                    <a:lnTo>
                      <a:pt x="64"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65" name="Freeform 216"/>
              <p:cNvSpPr>
                <a:spLocks/>
              </p:cNvSpPr>
              <p:nvPr/>
            </p:nvSpPr>
            <p:spPr bwMode="auto">
              <a:xfrm>
                <a:off x="2195" y="1597"/>
                <a:ext cx="1558" cy="1368"/>
              </a:xfrm>
              <a:custGeom>
                <a:avLst/>
                <a:gdLst>
                  <a:gd name="T0" fmla="*/ 1358 w 1558"/>
                  <a:gd name="T1" fmla="*/ 1204 h 1368"/>
                  <a:gd name="T2" fmla="*/ 1318 w 1558"/>
                  <a:gd name="T3" fmla="*/ 1256 h 1368"/>
                  <a:gd name="T4" fmla="*/ 1242 w 1558"/>
                  <a:gd name="T5" fmla="*/ 1330 h 1368"/>
                  <a:gd name="T6" fmla="*/ 1164 w 1558"/>
                  <a:gd name="T7" fmla="*/ 1308 h 1368"/>
                  <a:gd name="T8" fmla="*/ 1020 w 1558"/>
                  <a:gd name="T9" fmla="*/ 1292 h 1368"/>
                  <a:gd name="T10" fmla="*/ 946 w 1558"/>
                  <a:gd name="T11" fmla="*/ 1318 h 1368"/>
                  <a:gd name="T12" fmla="*/ 866 w 1558"/>
                  <a:gd name="T13" fmla="*/ 1346 h 1368"/>
                  <a:gd name="T14" fmla="*/ 792 w 1558"/>
                  <a:gd name="T15" fmla="*/ 1240 h 1368"/>
                  <a:gd name="T16" fmla="*/ 756 w 1558"/>
                  <a:gd name="T17" fmla="*/ 1138 h 1368"/>
                  <a:gd name="T18" fmla="*/ 664 w 1558"/>
                  <a:gd name="T19" fmla="*/ 1112 h 1368"/>
                  <a:gd name="T20" fmla="*/ 540 w 1558"/>
                  <a:gd name="T21" fmla="*/ 1168 h 1368"/>
                  <a:gd name="T22" fmla="*/ 460 w 1558"/>
                  <a:gd name="T23" fmla="*/ 1180 h 1368"/>
                  <a:gd name="T24" fmla="*/ 408 w 1558"/>
                  <a:gd name="T25" fmla="*/ 1180 h 1368"/>
                  <a:gd name="T26" fmla="*/ 356 w 1558"/>
                  <a:gd name="T27" fmla="*/ 1170 h 1368"/>
                  <a:gd name="T28" fmla="*/ 306 w 1558"/>
                  <a:gd name="T29" fmla="*/ 1146 h 1368"/>
                  <a:gd name="T30" fmla="*/ 286 w 1558"/>
                  <a:gd name="T31" fmla="*/ 1132 h 1368"/>
                  <a:gd name="T32" fmla="*/ 206 w 1558"/>
                  <a:gd name="T33" fmla="*/ 1094 h 1368"/>
                  <a:gd name="T34" fmla="*/ 160 w 1558"/>
                  <a:gd name="T35" fmla="*/ 1064 h 1368"/>
                  <a:gd name="T36" fmla="*/ 126 w 1558"/>
                  <a:gd name="T37" fmla="*/ 1048 h 1368"/>
                  <a:gd name="T38" fmla="*/ 130 w 1558"/>
                  <a:gd name="T39" fmla="*/ 1000 h 1368"/>
                  <a:gd name="T40" fmla="*/ 158 w 1558"/>
                  <a:gd name="T41" fmla="*/ 1000 h 1368"/>
                  <a:gd name="T42" fmla="*/ 144 w 1558"/>
                  <a:gd name="T43" fmla="*/ 962 h 1368"/>
                  <a:gd name="T44" fmla="*/ 170 w 1558"/>
                  <a:gd name="T45" fmla="*/ 936 h 1368"/>
                  <a:gd name="T46" fmla="*/ 182 w 1558"/>
                  <a:gd name="T47" fmla="*/ 904 h 1368"/>
                  <a:gd name="T48" fmla="*/ 160 w 1558"/>
                  <a:gd name="T49" fmla="*/ 884 h 1368"/>
                  <a:gd name="T50" fmla="*/ 92 w 1558"/>
                  <a:gd name="T51" fmla="*/ 894 h 1368"/>
                  <a:gd name="T52" fmla="*/ 58 w 1558"/>
                  <a:gd name="T53" fmla="*/ 868 h 1368"/>
                  <a:gd name="T54" fmla="*/ 32 w 1558"/>
                  <a:gd name="T55" fmla="*/ 838 h 1368"/>
                  <a:gd name="T56" fmla="*/ 34 w 1558"/>
                  <a:gd name="T57" fmla="*/ 810 h 1368"/>
                  <a:gd name="T58" fmla="*/ 40 w 1558"/>
                  <a:gd name="T59" fmla="*/ 720 h 1368"/>
                  <a:gd name="T60" fmla="*/ 204 w 1558"/>
                  <a:gd name="T61" fmla="*/ 650 h 1368"/>
                  <a:gd name="T62" fmla="*/ 298 w 1558"/>
                  <a:gd name="T63" fmla="*/ 492 h 1368"/>
                  <a:gd name="T64" fmla="*/ 406 w 1558"/>
                  <a:gd name="T65" fmla="*/ 422 h 1368"/>
                  <a:gd name="T66" fmla="*/ 494 w 1558"/>
                  <a:gd name="T67" fmla="*/ 548 h 1368"/>
                  <a:gd name="T68" fmla="*/ 894 w 1558"/>
                  <a:gd name="T69" fmla="*/ 608 h 1368"/>
                  <a:gd name="T70" fmla="*/ 1066 w 1558"/>
                  <a:gd name="T71" fmla="*/ 470 h 1368"/>
                  <a:gd name="T72" fmla="*/ 1182 w 1558"/>
                  <a:gd name="T73" fmla="*/ 294 h 1368"/>
                  <a:gd name="T74" fmla="*/ 1084 w 1558"/>
                  <a:gd name="T75" fmla="*/ 266 h 1368"/>
                  <a:gd name="T76" fmla="*/ 1130 w 1558"/>
                  <a:gd name="T77" fmla="*/ 96 h 1368"/>
                  <a:gd name="T78" fmla="*/ 1184 w 1558"/>
                  <a:gd name="T79" fmla="*/ 12 h 1368"/>
                  <a:gd name="T80" fmla="*/ 1336 w 1558"/>
                  <a:gd name="T81" fmla="*/ 68 h 1368"/>
                  <a:gd name="T82" fmla="*/ 1440 w 1558"/>
                  <a:gd name="T83" fmla="*/ 80 h 1368"/>
                  <a:gd name="T84" fmla="*/ 1538 w 1558"/>
                  <a:gd name="T85" fmla="*/ 132 h 1368"/>
                  <a:gd name="T86" fmla="*/ 1526 w 1558"/>
                  <a:gd name="T87" fmla="*/ 280 h 1368"/>
                  <a:gd name="T88" fmla="*/ 1422 w 1558"/>
                  <a:gd name="T89" fmla="*/ 478 h 1368"/>
                  <a:gd name="T90" fmla="*/ 1380 w 1558"/>
                  <a:gd name="T91" fmla="*/ 494 h 1368"/>
                  <a:gd name="T92" fmla="*/ 1306 w 1558"/>
                  <a:gd name="T93" fmla="*/ 560 h 1368"/>
                  <a:gd name="T94" fmla="*/ 1370 w 1558"/>
                  <a:gd name="T95" fmla="*/ 614 h 1368"/>
                  <a:gd name="T96" fmla="*/ 1452 w 1558"/>
                  <a:gd name="T97" fmla="*/ 560 h 1368"/>
                  <a:gd name="T98" fmla="*/ 1418 w 1558"/>
                  <a:gd name="T99" fmla="*/ 618 h 1368"/>
                  <a:gd name="T100" fmla="*/ 1434 w 1558"/>
                  <a:gd name="T101" fmla="*/ 700 h 1368"/>
                  <a:gd name="T102" fmla="*/ 1466 w 1558"/>
                  <a:gd name="T103" fmla="*/ 784 h 1368"/>
                  <a:gd name="T104" fmla="*/ 1516 w 1558"/>
                  <a:gd name="T105" fmla="*/ 824 h 1368"/>
                  <a:gd name="T106" fmla="*/ 1544 w 1558"/>
                  <a:gd name="T107" fmla="*/ 852 h 1368"/>
                  <a:gd name="T108" fmla="*/ 1548 w 1558"/>
                  <a:gd name="T109" fmla="*/ 904 h 1368"/>
                  <a:gd name="T110" fmla="*/ 1530 w 1558"/>
                  <a:gd name="T111" fmla="*/ 1006 h 1368"/>
                  <a:gd name="T112" fmla="*/ 1516 w 1558"/>
                  <a:gd name="T113" fmla="*/ 1054 h 1368"/>
                  <a:gd name="T114" fmla="*/ 1482 w 1558"/>
                  <a:gd name="T115" fmla="*/ 1114 h 1368"/>
                  <a:gd name="T116" fmla="*/ 1418 w 1558"/>
                  <a:gd name="T117" fmla="*/ 1180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58" h="1368">
                    <a:moveTo>
                      <a:pt x="1394" y="1198"/>
                    </a:moveTo>
                    <a:lnTo>
                      <a:pt x="1392" y="1204"/>
                    </a:lnTo>
                    <a:lnTo>
                      <a:pt x="1390" y="1202"/>
                    </a:lnTo>
                    <a:lnTo>
                      <a:pt x="1390" y="1200"/>
                    </a:lnTo>
                    <a:lnTo>
                      <a:pt x="1386" y="1198"/>
                    </a:lnTo>
                    <a:lnTo>
                      <a:pt x="1380" y="1204"/>
                    </a:lnTo>
                    <a:lnTo>
                      <a:pt x="1380" y="1204"/>
                    </a:lnTo>
                    <a:lnTo>
                      <a:pt x="1384" y="1206"/>
                    </a:lnTo>
                    <a:lnTo>
                      <a:pt x="1374" y="1212"/>
                    </a:lnTo>
                    <a:lnTo>
                      <a:pt x="1372" y="1210"/>
                    </a:lnTo>
                    <a:lnTo>
                      <a:pt x="1374" y="1208"/>
                    </a:lnTo>
                    <a:lnTo>
                      <a:pt x="1370" y="1206"/>
                    </a:lnTo>
                    <a:lnTo>
                      <a:pt x="1362" y="1204"/>
                    </a:lnTo>
                    <a:lnTo>
                      <a:pt x="1358" y="1204"/>
                    </a:lnTo>
                    <a:lnTo>
                      <a:pt x="1354" y="1200"/>
                    </a:lnTo>
                    <a:lnTo>
                      <a:pt x="1358" y="1220"/>
                    </a:lnTo>
                    <a:lnTo>
                      <a:pt x="1356" y="1222"/>
                    </a:lnTo>
                    <a:lnTo>
                      <a:pt x="1354" y="1224"/>
                    </a:lnTo>
                    <a:lnTo>
                      <a:pt x="1342" y="1216"/>
                    </a:lnTo>
                    <a:lnTo>
                      <a:pt x="1340" y="1214"/>
                    </a:lnTo>
                    <a:lnTo>
                      <a:pt x="1338" y="1230"/>
                    </a:lnTo>
                    <a:lnTo>
                      <a:pt x="1340" y="1232"/>
                    </a:lnTo>
                    <a:lnTo>
                      <a:pt x="1342" y="1238"/>
                    </a:lnTo>
                    <a:lnTo>
                      <a:pt x="1340" y="1240"/>
                    </a:lnTo>
                    <a:lnTo>
                      <a:pt x="1336" y="1240"/>
                    </a:lnTo>
                    <a:lnTo>
                      <a:pt x="1328" y="1248"/>
                    </a:lnTo>
                    <a:lnTo>
                      <a:pt x="1320" y="1252"/>
                    </a:lnTo>
                    <a:lnTo>
                      <a:pt x="1318" y="1256"/>
                    </a:lnTo>
                    <a:lnTo>
                      <a:pt x="1312" y="1256"/>
                    </a:lnTo>
                    <a:lnTo>
                      <a:pt x="1308" y="1256"/>
                    </a:lnTo>
                    <a:lnTo>
                      <a:pt x="1302" y="1258"/>
                    </a:lnTo>
                    <a:lnTo>
                      <a:pt x="1296" y="1266"/>
                    </a:lnTo>
                    <a:lnTo>
                      <a:pt x="1282" y="1274"/>
                    </a:lnTo>
                    <a:lnTo>
                      <a:pt x="1276" y="1276"/>
                    </a:lnTo>
                    <a:lnTo>
                      <a:pt x="1274" y="1278"/>
                    </a:lnTo>
                    <a:lnTo>
                      <a:pt x="1260" y="1288"/>
                    </a:lnTo>
                    <a:lnTo>
                      <a:pt x="1254" y="1288"/>
                    </a:lnTo>
                    <a:lnTo>
                      <a:pt x="1248" y="1306"/>
                    </a:lnTo>
                    <a:lnTo>
                      <a:pt x="1258" y="1316"/>
                    </a:lnTo>
                    <a:lnTo>
                      <a:pt x="1260" y="1324"/>
                    </a:lnTo>
                    <a:lnTo>
                      <a:pt x="1250" y="1332"/>
                    </a:lnTo>
                    <a:lnTo>
                      <a:pt x="1242" y="1330"/>
                    </a:lnTo>
                    <a:lnTo>
                      <a:pt x="1226" y="1308"/>
                    </a:lnTo>
                    <a:lnTo>
                      <a:pt x="1228" y="1292"/>
                    </a:lnTo>
                    <a:lnTo>
                      <a:pt x="1224" y="1288"/>
                    </a:lnTo>
                    <a:lnTo>
                      <a:pt x="1216" y="1296"/>
                    </a:lnTo>
                    <a:lnTo>
                      <a:pt x="1208" y="1298"/>
                    </a:lnTo>
                    <a:lnTo>
                      <a:pt x="1204" y="1296"/>
                    </a:lnTo>
                    <a:lnTo>
                      <a:pt x="1204" y="1294"/>
                    </a:lnTo>
                    <a:lnTo>
                      <a:pt x="1184" y="1294"/>
                    </a:lnTo>
                    <a:lnTo>
                      <a:pt x="1182" y="1294"/>
                    </a:lnTo>
                    <a:lnTo>
                      <a:pt x="1180" y="1300"/>
                    </a:lnTo>
                    <a:lnTo>
                      <a:pt x="1174" y="1304"/>
                    </a:lnTo>
                    <a:lnTo>
                      <a:pt x="1174" y="1308"/>
                    </a:lnTo>
                    <a:lnTo>
                      <a:pt x="1172" y="1302"/>
                    </a:lnTo>
                    <a:lnTo>
                      <a:pt x="1164" y="1308"/>
                    </a:lnTo>
                    <a:lnTo>
                      <a:pt x="1158" y="1306"/>
                    </a:lnTo>
                    <a:lnTo>
                      <a:pt x="1138" y="1310"/>
                    </a:lnTo>
                    <a:lnTo>
                      <a:pt x="1136" y="1308"/>
                    </a:lnTo>
                    <a:lnTo>
                      <a:pt x="1118" y="1302"/>
                    </a:lnTo>
                    <a:lnTo>
                      <a:pt x="1112" y="1296"/>
                    </a:lnTo>
                    <a:lnTo>
                      <a:pt x="1108" y="1288"/>
                    </a:lnTo>
                    <a:lnTo>
                      <a:pt x="1110" y="1278"/>
                    </a:lnTo>
                    <a:lnTo>
                      <a:pt x="1106" y="1272"/>
                    </a:lnTo>
                    <a:lnTo>
                      <a:pt x="1084" y="1274"/>
                    </a:lnTo>
                    <a:lnTo>
                      <a:pt x="1054" y="1268"/>
                    </a:lnTo>
                    <a:lnTo>
                      <a:pt x="1050" y="1270"/>
                    </a:lnTo>
                    <a:lnTo>
                      <a:pt x="1038" y="1284"/>
                    </a:lnTo>
                    <a:lnTo>
                      <a:pt x="1026" y="1292"/>
                    </a:lnTo>
                    <a:lnTo>
                      <a:pt x="1020" y="1292"/>
                    </a:lnTo>
                    <a:lnTo>
                      <a:pt x="1014" y="1298"/>
                    </a:lnTo>
                    <a:lnTo>
                      <a:pt x="1008" y="1302"/>
                    </a:lnTo>
                    <a:lnTo>
                      <a:pt x="1006" y="1298"/>
                    </a:lnTo>
                    <a:lnTo>
                      <a:pt x="996" y="1302"/>
                    </a:lnTo>
                    <a:lnTo>
                      <a:pt x="992" y="1300"/>
                    </a:lnTo>
                    <a:lnTo>
                      <a:pt x="980" y="1310"/>
                    </a:lnTo>
                    <a:lnTo>
                      <a:pt x="976" y="1310"/>
                    </a:lnTo>
                    <a:lnTo>
                      <a:pt x="970" y="1306"/>
                    </a:lnTo>
                    <a:lnTo>
                      <a:pt x="960" y="1306"/>
                    </a:lnTo>
                    <a:lnTo>
                      <a:pt x="958" y="1306"/>
                    </a:lnTo>
                    <a:lnTo>
                      <a:pt x="956" y="1306"/>
                    </a:lnTo>
                    <a:lnTo>
                      <a:pt x="950" y="1316"/>
                    </a:lnTo>
                    <a:lnTo>
                      <a:pt x="952" y="1318"/>
                    </a:lnTo>
                    <a:lnTo>
                      <a:pt x="946" y="1318"/>
                    </a:lnTo>
                    <a:lnTo>
                      <a:pt x="946" y="1316"/>
                    </a:lnTo>
                    <a:lnTo>
                      <a:pt x="932" y="1318"/>
                    </a:lnTo>
                    <a:lnTo>
                      <a:pt x="928" y="1324"/>
                    </a:lnTo>
                    <a:lnTo>
                      <a:pt x="930" y="1342"/>
                    </a:lnTo>
                    <a:lnTo>
                      <a:pt x="936" y="1350"/>
                    </a:lnTo>
                    <a:lnTo>
                      <a:pt x="936" y="1360"/>
                    </a:lnTo>
                    <a:lnTo>
                      <a:pt x="932" y="1362"/>
                    </a:lnTo>
                    <a:lnTo>
                      <a:pt x="920" y="1368"/>
                    </a:lnTo>
                    <a:lnTo>
                      <a:pt x="914" y="1348"/>
                    </a:lnTo>
                    <a:lnTo>
                      <a:pt x="906" y="1348"/>
                    </a:lnTo>
                    <a:lnTo>
                      <a:pt x="896" y="1358"/>
                    </a:lnTo>
                    <a:lnTo>
                      <a:pt x="882" y="1362"/>
                    </a:lnTo>
                    <a:lnTo>
                      <a:pt x="870" y="1352"/>
                    </a:lnTo>
                    <a:lnTo>
                      <a:pt x="866" y="1346"/>
                    </a:lnTo>
                    <a:lnTo>
                      <a:pt x="844" y="1344"/>
                    </a:lnTo>
                    <a:lnTo>
                      <a:pt x="848" y="1314"/>
                    </a:lnTo>
                    <a:lnTo>
                      <a:pt x="828" y="1306"/>
                    </a:lnTo>
                    <a:lnTo>
                      <a:pt x="826" y="1294"/>
                    </a:lnTo>
                    <a:lnTo>
                      <a:pt x="822" y="1286"/>
                    </a:lnTo>
                    <a:lnTo>
                      <a:pt x="822" y="1278"/>
                    </a:lnTo>
                    <a:lnTo>
                      <a:pt x="796" y="1284"/>
                    </a:lnTo>
                    <a:lnTo>
                      <a:pt x="782" y="1298"/>
                    </a:lnTo>
                    <a:lnTo>
                      <a:pt x="778" y="1294"/>
                    </a:lnTo>
                    <a:lnTo>
                      <a:pt x="784" y="1284"/>
                    </a:lnTo>
                    <a:lnTo>
                      <a:pt x="784" y="1278"/>
                    </a:lnTo>
                    <a:lnTo>
                      <a:pt x="782" y="1268"/>
                    </a:lnTo>
                    <a:lnTo>
                      <a:pt x="786" y="1248"/>
                    </a:lnTo>
                    <a:lnTo>
                      <a:pt x="792" y="1240"/>
                    </a:lnTo>
                    <a:lnTo>
                      <a:pt x="794" y="1234"/>
                    </a:lnTo>
                    <a:lnTo>
                      <a:pt x="798" y="1232"/>
                    </a:lnTo>
                    <a:lnTo>
                      <a:pt x="804" y="1224"/>
                    </a:lnTo>
                    <a:lnTo>
                      <a:pt x="808" y="1208"/>
                    </a:lnTo>
                    <a:lnTo>
                      <a:pt x="808" y="1186"/>
                    </a:lnTo>
                    <a:lnTo>
                      <a:pt x="800" y="1154"/>
                    </a:lnTo>
                    <a:lnTo>
                      <a:pt x="790" y="1156"/>
                    </a:lnTo>
                    <a:lnTo>
                      <a:pt x="786" y="1152"/>
                    </a:lnTo>
                    <a:lnTo>
                      <a:pt x="784" y="1142"/>
                    </a:lnTo>
                    <a:lnTo>
                      <a:pt x="774" y="1134"/>
                    </a:lnTo>
                    <a:lnTo>
                      <a:pt x="766" y="1132"/>
                    </a:lnTo>
                    <a:lnTo>
                      <a:pt x="764" y="1132"/>
                    </a:lnTo>
                    <a:lnTo>
                      <a:pt x="762" y="1136"/>
                    </a:lnTo>
                    <a:lnTo>
                      <a:pt x="756" y="1138"/>
                    </a:lnTo>
                    <a:lnTo>
                      <a:pt x="754" y="1132"/>
                    </a:lnTo>
                    <a:lnTo>
                      <a:pt x="746" y="1130"/>
                    </a:lnTo>
                    <a:lnTo>
                      <a:pt x="738" y="1132"/>
                    </a:lnTo>
                    <a:lnTo>
                      <a:pt x="732" y="1130"/>
                    </a:lnTo>
                    <a:lnTo>
                      <a:pt x="720" y="1132"/>
                    </a:lnTo>
                    <a:lnTo>
                      <a:pt x="720" y="1114"/>
                    </a:lnTo>
                    <a:lnTo>
                      <a:pt x="714" y="1114"/>
                    </a:lnTo>
                    <a:lnTo>
                      <a:pt x="712" y="1108"/>
                    </a:lnTo>
                    <a:lnTo>
                      <a:pt x="712" y="1102"/>
                    </a:lnTo>
                    <a:lnTo>
                      <a:pt x="704" y="1096"/>
                    </a:lnTo>
                    <a:lnTo>
                      <a:pt x="698" y="1100"/>
                    </a:lnTo>
                    <a:lnTo>
                      <a:pt x="690" y="1106"/>
                    </a:lnTo>
                    <a:lnTo>
                      <a:pt x="668" y="1112"/>
                    </a:lnTo>
                    <a:lnTo>
                      <a:pt x="664" y="1112"/>
                    </a:lnTo>
                    <a:lnTo>
                      <a:pt x="658" y="1108"/>
                    </a:lnTo>
                    <a:lnTo>
                      <a:pt x="656" y="1108"/>
                    </a:lnTo>
                    <a:lnTo>
                      <a:pt x="644" y="1116"/>
                    </a:lnTo>
                    <a:lnTo>
                      <a:pt x="642" y="1122"/>
                    </a:lnTo>
                    <a:lnTo>
                      <a:pt x="630" y="1134"/>
                    </a:lnTo>
                    <a:lnTo>
                      <a:pt x="620" y="1138"/>
                    </a:lnTo>
                    <a:lnTo>
                      <a:pt x="606" y="1152"/>
                    </a:lnTo>
                    <a:lnTo>
                      <a:pt x="562" y="1172"/>
                    </a:lnTo>
                    <a:lnTo>
                      <a:pt x="562" y="1172"/>
                    </a:lnTo>
                    <a:lnTo>
                      <a:pt x="562" y="1172"/>
                    </a:lnTo>
                    <a:lnTo>
                      <a:pt x="554" y="1168"/>
                    </a:lnTo>
                    <a:lnTo>
                      <a:pt x="552" y="1166"/>
                    </a:lnTo>
                    <a:lnTo>
                      <a:pt x="550" y="1164"/>
                    </a:lnTo>
                    <a:lnTo>
                      <a:pt x="540" y="1168"/>
                    </a:lnTo>
                    <a:lnTo>
                      <a:pt x="518" y="1166"/>
                    </a:lnTo>
                    <a:lnTo>
                      <a:pt x="514" y="1162"/>
                    </a:lnTo>
                    <a:lnTo>
                      <a:pt x="514" y="1162"/>
                    </a:lnTo>
                    <a:lnTo>
                      <a:pt x="512" y="1158"/>
                    </a:lnTo>
                    <a:lnTo>
                      <a:pt x="508" y="1158"/>
                    </a:lnTo>
                    <a:lnTo>
                      <a:pt x="500" y="1158"/>
                    </a:lnTo>
                    <a:lnTo>
                      <a:pt x="492" y="1162"/>
                    </a:lnTo>
                    <a:lnTo>
                      <a:pt x="464" y="1190"/>
                    </a:lnTo>
                    <a:lnTo>
                      <a:pt x="464" y="1194"/>
                    </a:lnTo>
                    <a:lnTo>
                      <a:pt x="460" y="1194"/>
                    </a:lnTo>
                    <a:lnTo>
                      <a:pt x="458" y="1192"/>
                    </a:lnTo>
                    <a:lnTo>
                      <a:pt x="458" y="1192"/>
                    </a:lnTo>
                    <a:lnTo>
                      <a:pt x="458" y="1186"/>
                    </a:lnTo>
                    <a:lnTo>
                      <a:pt x="460" y="1180"/>
                    </a:lnTo>
                    <a:lnTo>
                      <a:pt x="460" y="1176"/>
                    </a:lnTo>
                    <a:lnTo>
                      <a:pt x="458" y="1170"/>
                    </a:lnTo>
                    <a:lnTo>
                      <a:pt x="458" y="1168"/>
                    </a:lnTo>
                    <a:lnTo>
                      <a:pt x="454" y="1168"/>
                    </a:lnTo>
                    <a:lnTo>
                      <a:pt x="452" y="1168"/>
                    </a:lnTo>
                    <a:lnTo>
                      <a:pt x="446" y="1172"/>
                    </a:lnTo>
                    <a:lnTo>
                      <a:pt x="442" y="1172"/>
                    </a:lnTo>
                    <a:lnTo>
                      <a:pt x="436" y="1174"/>
                    </a:lnTo>
                    <a:lnTo>
                      <a:pt x="436" y="1176"/>
                    </a:lnTo>
                    <a:lnTo>
                      <a:pt x="432" y="1174"/>
                    </a:lnTo>
                    <a:lnTo>
                      <a:pt x="428" y="1176"/>
                    </a:lnTo>
                    <a:lnTo>
                      <a:pt x="424" y="1180"/>
                    </a:lnTo>
                    <a:lnTo>
                      <a:pt x="414" y="1178"/>
                    </a:lnTo>
                    <a:lnTo>
                      <a:pt x="408" y="1180"/>
                    </a:lnTo>
                    <a:lnTo>
                      <a:pt x="396" y="1176"/>
                    </a:lnTo>
                    <a:lnTo>
                      <a:pt x="392" y="1172"/>
                    </a:lnTo>
                    <a:lnTo>
                      <a:pt x="386" y="1172"/>
                    </a:lnTo>
                    <a:lnTo>
                      <a:pt x="382" y="1172"/>
                    </a:lnTo>
                    <a:lnTo>
                      <a:pt x="380" y="1176"/>
                    </a:lnTo>
                    <a:lnTo>
                      <a:pt x="378" y="1176"/>
                    </a:lnTo>
                    <a:lnTo>
                      <a:pt x="374" y="1176"/>
                    </a:lnTo>
                    <a:lnTo>
                      <a:pt x="372" y="1176"/>
                    </a:lnTo>
                    <a:lnTo>
                      <a:pt x="368" y="1174"/>
                    </a:lnTo>
                    <a:lnTo>
                      <a:pt x="366" y="1176"/>
                    </a:lnTo>
                    <a:lnTo>
                      <a:pt x="362" y="1176"/>
                    </a:lnTo>
                    <a:lnTo>
                      <a:pt x="358" y="1174"/>
                    </a:lnTo>
                    <a:lnTo>
                      <a:pt x="356" y="1172"/>
                    </a:lnTo>
                    <a:lnTo>
                      <a:pt x="356" y="1170"/>
                    </a:lnTo>
                    <a:lnTo>
                      <a:pt x="352" y="1166"/>
                    </a:lnTo>
                    <a:lnTo>
                      <a:pt x="348" y="1164"/>
                    </a:lnTo>
                    <a:lnTo>
                      <a:pt x="342" y="1166"/>
                    </a:lnTo>
                    <a:lnTo>
                      <a:pt x="334" y="1160"/>
                    </a:lnTo>
                    <a:lnTo>
                      <a:pt x="334" y="1158"/>
                    </a:lnTo>
                    <a:lnTo>
                      <a:pt x="336" y="1150"/>
                    </a:lnTo>
                    <a:lnTo>
                      <a:pt x="334" y="1148"/>
                    </a:lnTo>
                    <a:lnTo>
                      <a:pt x="330" y="1152"/>
                    </a:lnTo>
                    <a:lnTo>
                      <a:pt x="322" y="1152"/>
                    </a:lnTo>
                    <a:lnTo>
                      <a:pt x="318" y="1150"/>
                    </a:lnTo>
                    <a:lnTo>
                      <a:pt x="314" y="1150"/>
                    </a:lnTo>
                    <a:lnTo>
                      <a:pt x="310" y="1148"/>
                    </a:lnTo>
                    <a:lnTo>
                      <a:pt x="308" y="1148"/>
                    </a:lnTo>
                    <a:lnTo>
                      <a:pt x="306" y="1146"/>
                    </a:lnTo>
                    <a:lnTo>
                      <a:pt x="304" y="1142"/>
                    </a:lnTo>
                    <a:lnTo>
                      <a:pt x="302" y="1144"/>
                    </a:lnTo>
                    <a:lnTo>
                      <a:pt x="300" y="1142"/>
                    </a:lnTo>
                    <a:lnTo>
                      <a:pt x="302" y="1136"/>
                    </a:lnTo>
                    <a:lnTo>
                      <a:pt x="302" y="1132"/>
                    </a:lnTo>
                    <a:lnTo>
                      <a:pt x="304" y="1128"/>
                    </a:lnTo>
                    <a:lnTo>
                      <a:pt x="304" y="1126"/>
                    </a:lnTo>
                    <a:lnTo>
                      <a:pt x="300" y="1126"/>
                    </a:lnTo>
                    <a:lnTo>
                      <a:pt x="296" y="1126"/>
                    </a:lnTo>
                    <a:lnTo>
                      <a:pt x="294" y="1126"/>
                    </a:lnTo>
                    <a:lnTo>
                      <a:pt x="292" y="1128"/>
                    </a:lnTo>
                    <a:lnTo>
                      <a:pt x="290" y="1130"/>
                    </a:lnTo>
                    <a:lnTo>
                      <a:pt x="288" y="1132"/>
                    </a:lnTo>
                    <a:lnTo>
                      <a:pt x="286" y="1132"/>
                    </a:lnTo>
                    <a:lnTo>
                      <a:pt x="284" y="1134"/>
                    </a:lnTo>
                    <a:lnTo>
                      <a:pt x="278" y="1132"/>
                    </a:lnTo>
                    <a:lnTo>
                      <a:pt x="276" y="1130"/>
                    </a:lnTo>
                    <a:lnTo>
                      <a:pt x="274" y="1120"/>
                    </a:lnTo>
                    <a:lnTo>
                      <a:pt x="264" y="1110"/>
                    </a:lnTo>
                    <a:lnTo>
                      <a:pt x="256" y="1108"/>
                    </a:lnTo>
                    <a:lnTo>
                      <a:pt x="248" y="1098"/>
                    </a:lnTo>
                    <a:lnTo>
                      <a:pt x="222" y="1090"/>
                    </a:lnTo>
                    <a:lnTo>
                      <a:pt x="220" y="1090"/>
                    </a:lnTo>
                    <a:lnTo>
                      <a:pt x="210" y="1088"/>
                    </a:lnTo>
                    <a:lnTo>
                      <a:pt x="210" y="1088"/>
                    </a:lnTo>
                    <a:lnTo>
                      <a:pt x="208" y="1088"/>
                    </a:lnTo>
                    <a:lnTo>
                      <a:pt x="208" y="1092"/>
                    </a:lnTo>
                    <a:lnTo>
                      <a:pt x="206" y="1094"/>
                    </a:lnTo>
                    <a:lnTo>
                      <a:pt x="206" y="1096"/>
                    </a:lnTo>
                    <a:lnTo>
                      <a:pt x="206" y="1098"/>
                    </a:lnTo>
                    <a:lnTo>
                      <a:pt x="202" y="1094"/>
                    </a:lnTo>
                    <a:lnTo>
                      <a:pt x="200" y="1090"/>
                    </a:lnTo>
                    <a:lnTo>
                      <a:pt x="186" y="1086"/>
                    </a:lnTo>
                    <a:lnTo>
                      <a:pt x="184" y="1084"/>
                    </a:lnTo>
                    <a:lnTo>
                      <a:pt x="182" y="1080"/>
                    </a:lnTo>
                    <a:lnTo>
                      <a:pt x="180" y="1080"/>
                    </a:lnTo>
                    <a:lnTo>
                      <a:pt x="174" y="1074"/>
                    </a:lnTo>
                    <a:lnTo>
                      <a:pt x="166" y="1072"/>
                    </a:lnTo>
                    <a:lnTo>
                      <a:pt x="164" y="1070"/>
                    </a:lnTo>
                    <a:lnTo>
                      <a:pt x="164" y="1068"/>
                    </a:lnTo>
                    <a:lnTo>
                      <a:pt x="164" y="1066"/>
                    </a:lnTo>
                    <a:lnTo>
                      <a:pt x="160" y="1064"/>
                    </a:lnTo>
                    <a:lnTo>
                      <a:pt x="160" y="1064"/>
                    </a:lnTo>
                    <a:lnTo>
                      <a:pt x="158" y="1062"/>
                    </a:lnTo>
                    <a:lnTo>
                      <a:pt x="152" y="1064"/>
                    </a:lnTo>
                    <a:lnTo>
                      <a:pt x="152" y="1064"/>
                    </a:lnTo>
                    <a:lnTo>
                      <a:pt x="150" y="1060"/>
                    </a:lnTo>
                    <a:lnTo>
                      <a:pt x="150" y="1058"/>
                    </a:lnTo>
                    <a:lnTo>
                      <a:pt x="148" y="1058"/>
                    </a:lnTo>
                    <a:lnTo>
                      <a:pt x="140" y="1058"/>
                    </a:lnTo>
                    <a:lnTo>
                      <a:pt x="134" y="1060"/>
                    </a:lnTo>
                    <a:lnTo>
                      <a:pt x="132" y="1060"/>
                    </a:lnTo>
                    <a:lnTo>
                      <a:pt x="130" y="1058"/>
                    </a:lnTo>
                    <a:lnTo>
                      <a:pt x="132" y="1052"/>
                    </a:lnTo>
                    <a:lnTo>
                      <a:pt x="128" y="1050"/>
                    </a:lnTo>
                    <a:lnTo>
                      <a:pt x="126" y="1048"/>
                    </a:lnTo>
                    <a:lnTo>
                      <a:pt x="126" y="1046"/>
                    </a:lnTo>
                    <a:lnTo>
                      <a:pt x="124" y="1042"/>
                    </a:lnTo>
                    <a:lnTo>
                      <a:pt x="124" y="1040"/>
                    </a:lnTo>
                    <a:lnTo>
                      <a:pt x="126" y="1036"/>
                    </a:lnTo>
                    <a:lnTo>
                      <a:pt x="126" y="1032"/>
                    </a:lnTo>
                    <a:lnTo>
                      <a:pt x="126" y="1028"/>
                    </a:lnTo>
                    <a:lnTo>
                      <a:pt x="128" y="1024"/>
                    </a:lnTo>
                    <a:lnTo>
                      <a:pt x="120" y="1014"/>
                    </a:lnTo>
                    <a:lnTo>
                      <a:pt x="120" y="1008"/>
                    </a:lnTo>
                    <a:lnTo>
                      <a:pt x="120" y="1004"/>
                    </a:lnTo>
                    <a:lnTo>
                      <a:pt x="120" y="1002"/>
                    </a:lnTo>
                    <a:lnTo>
                      <a:pt x="126" y="1002"/>
                    </a:lnTo>
                    <a:lnTo>
                      <a:pt x="130" y="1000"/>
                    </a:lnTo>
                    <a:lnTo>
                      <a:pt x="130" y="1000"/>
                    </a:lnTo>
                    <a:lnTo>
                      <a:pt x="130" y="1004"/>
                    </a:lnTo>
                    <a:lnTo>
                      <a:pt x="132" y="1008"/>
                    </a:lnTo>
                    <a:lnTo>
                      <a:pt x="132" y="1008"/>
                    </a:lnTo>
                    <a:lnTo>
                      <a:pt x="136" y="1010"/>
                    </a:lnTo>
                    <a:lnTo>
                      <a:pt x="138" y="1010"/>
                    </a:lnTo>
                    <a:lnTo>
                      <a:pt x="140" y="1010"/>
                    </a:lnTo>
                    <a:lnTo>
                      <a:pt x="142" y="1010"/>
                    </a:lnTo>
                    <a:lnTo>
                      <a:pt x="142" y="1006"/>
                    </a:lnTo>
                    <a:lnTo>
                      <a:pt x="146" y="1006"/>
                    </a:lnTo>
                    <a:lnTo>
                      <a:pt x="148" y="1002"/>
                    </a:lnTo>
                    <a:lnTo>
                      <a:pt x="148" y="1002"/>
                    </a:lnTo>
                    <a:lnTo>
                      <a:pt x="150" y="1006"/>
                    </a:lnTo>
                    <a:lnTo>
                      <a:pt x="152" y="1006"/>
                    </a:lnTo>
                    <a:lnTo>
                      <a:pt x="158" y="1000"/>
                    </a:lnTo>
                    <a:lnTo>
                      <a:pt x="158" y="998"/>
                    </a:lnTo>
                    <a:lnTo>
                      <a:pt x="152" y="990"/>
                    </a:lnTo>
                    <a:lnTo>
                      <a:pt x="152" y="988"/>
                    </a:lnTo>
                    <a:lnTo>
                      <a:pt x="154" y="986"/>
                    </a:lnTo>
                    <a:lnTo>
                      <a:pt x="154" y="984"/>
                    </a:lnTo>
                    <a:lnTo>
                      <a:pt x="148" y="980"/>
                    </a:lnTo>
                    <a:lnTo>
                      <a:pt x="144" y="982"/>
                    </a:lnTo>
                    <a:lnTo>
                      <a:pt x="144" y="980"/>
                    </a:lnTo>
                    <a:lnTo>
                      <a:pt x="140" y="974"/>
                    </a:lnTo>
                    <a:lnTo>
                      <a:pt x="140" y="968"/>
                    </a:lnTo>
                    <a:lnTo>
                      <a:pt x="142" y="966"/>
                    </a:lnTo>
                    <a:lnTo>
                      <a:pt x="142" y="964"/>
                    </a:lnTo>
                    <a:lnTo>
                      <a:pt x="142" y="962"/>
                    </a:lnTo>
                    <a:lnTo>
                      <a:pt x="144" y="962"/>
                    </a:lnTo>
                    <a:lnTo>
                      <a:pt x="140" y="956"/>
                    </a:lnTo>
                    <a:lnTo>
                      <a:pt x="140" y="954"/>
                    </a:lnTo>
                    <a:lnTo>
                      <a:pt x="142" y="954"/>
                    </a:lnTo>
                    <a:lnTo>
                      <a:pt x="146" y="954"/>
                    </a:lnTo>
                    <a:lnTo>
                      <a:pt x="150" y="952"/>
                    </a:lnTo>
                    <a:lnTo>
                      <a:pt x="156" y="954"/>
                    </a:lnTo>
                    <a:lnTo>
                      <a:pt x="158" y="954"/>
                    </a:lnTo>
                    <a:lnTo>
                      <a:pt x="160" y="950"/>
                    </a:lnTo>
                    <a:lnTo>
                      <a:pt x="164" y="946"/>
                    </a:lnTo>
                    <a:lnTo>
                      <a:pt x="164" y="940"/>
                    </a:lnTo>
                    <a:lnTo>
                      <a:pt x="170" y="940"/>
                    </a:lnTo>
                    <a:lnTo>
                      <a:pt x="170" y="938"/>
                    </a:lnTo>
                    <a:lnTo>
                      <a:pt x="170" y="938"/>
                    </a:lnTo>
                    <a:lnTo>
                      <a:pt x="170" y="936"/>
                    </a:lnTo>
                    <a:lnTo>
                      <a:pt x="172" y="934"/>
                    </a:lnTo>
                    <a:lnTo>
                      <a:pt x="172" y="932"/>
                    </a:lnTo>
                    <a:lnTo>
                      <a:pt x="180" y="928"/>
                    </a:lnTo>
                    <a:lnTo>
                      <a:pt x="180" y="926"/>
                    </a:lnTo>
                    <a:lnTo>
                      <a:pt x="182" y="922"/>
                    </a:lnTo>
                    <a:lnTo>
                      <a:pt x="184" y="912"/>
                    </a:lnTo>
                    <a:lnTo>
                      <a:pt x="186" y="912"/>
                    </a:lnTo>
                    <a:lnTo>
                      <a:pt x="186" y="906"/>
                    </a:lnTo>
                    <a:lnTo>
                      <a:pt x="192" y="904"/>
                    </a:lnTo>
                    <a:lnTo>
                      <a:pt x="190" y="902"/>
                    </a:lnTo>
                    <a:lnTo>
                      <a:pt x="190" y="900"/>
                    </a:lnTo>
                    <a:lnTo>
                      <a:pt x="186" y="900"/>
                    </a:lnTo>
                    <a:lnTo>
                      <a:pt x="182" y="904"/>
                    </a:lnTo>
                    <a:lnTo>
                      <a:pt x="182" y="904"/>
                    </a:lnTo>
                    <a:lnTo>
                      <a:pt x="180" y="902"/>
                    </a:lnTo>
                    <a:lnTo>
                      <a:pt x="178" y="896"/>
                    </a:lnTo>
                    <a:lnTo>
                      <a:pt x="176" y="898"/>
                    </a:lnTo>
                    <a:lnTo>
                      <a:pt x="174" y="898"/>
                    </a:lnTo>
                    <a:lnTo>
                      <a:pt x="172" y="896"/>
                    </a:lnTo>
                    <a:lnTo>
                      <a:pt x="170" y="896"/>
                    </a:lnTo>
                    <a:lnTo>
                      <a:pt x="170" y="894"/>
                    </a:lnTo>
                    <a:lnTo>
                      <a:pt x="170" y="890"/>
                    </a:lnTo>
                    <a:lnTo>
                      <a:pt x="168" y="888"/>
                    </a:lnTo>
                    <a:lnTo>
                      <a:pt x="166" y="888"/>
                    </a:lnTo>
                    <a:lnTo>
                      <a:pt x="166" y="886"/>
                    </a:lnTo>
                    <a:lnTo>
                      <a:pt x="164" y="886"/>
                    </a:lnTo>
                    <a:lnTo>
                      <a:pt x="162" y="884"/>
                    </a:lnTo>
                    <a:lnTo>
                      <a:pt x="160" y="884"/>
                    </a:lnTo>
                    <a:lnTo>
                      <a:pt x="158" y="882"/>
                    </a:lnTo>
                    <a:lnTo>
                      <a:pt x="156" y="884"/>
                    </a:lnTo>
                    <a:lnTo>
                      <a:pt x="152" y="884"/>
                    </a:lnTo>
                    <a:lnTo>
                      <a:pt x="148" y="886"/>
                    </a:lnTo>
                    <a:lnTo>
                      <a:pt x="140" y="886"/>
                    </a:lnTo>
                    <a:lnTo>
                      <a:pt x="124" y="894"/>
                    </a:lnTo>
                    <a:lnTo>
                      <a:pt x="120" y="896"/>
                    </a:lnTo>
                    <a:lnTo>
                      <a:pt x="118" y="896"/>
                    </a:lnTo>
                    <a:lnTo>
                      <a:pt x="116" y="898"/>
                    </a:lnTo>
                    <a:lnTo>
                      <a:pt x="112" y="896"/>
                    </a:lnTo>
                    <a:lnTo>
                      <a:pt x="108" y="898"/>
                    </a:lnTo>
                    <a:lnTo>
                      <a:pt x="100" y="898"/>
                    </a:lnTo>
                    <a:lnTo>
                      <a:pt x="96" y="894"/>
                    </a:lnTo>
                    <a:lnTo>
                      <a:pt x="92" y="894"/>
                    </a:lnTo>
                    <a:lnTo>
                      <a:pt x="74" y="884"/>
                    </a:lnTo>
                    <a:lnTo>
                      <a:pt x="74" y="880"/>
                    </a:lnTo>
                    <a:lnTo>
                      <a:pt x="74" y="878"/>
                    </a:lnTo>
                    <a:lnTo>
                      <a:pt x="72" y="878"/>
                    </a:lnTo>
                    <a:lnTo>
                      <a:pt x="68" y="880"/>
                    </a:lnTo>
                    <a:lnTo>
                      <a:pt x="66" y="880"/>
                    </a:lnTo>
                    <a:lnTo>
                      <a:pt x="64" y="882"/>
                    </a:lnTo>
                    <a:lnTo>
                      <a:pt x="62" y="880"/>
                    </a:lnTo>
                    <a:lnTo>
                      <a:pt x="58" y="874"/>
                    </a:lnTo>
                    <a:lnTo>
                      <a:pt x="54" y="872"/>
                    </a:lnTo>
                    <a:lnTo>
                      <a:pt x="54" y="870"/>
                    </a:lnTo>
                    <a:lnTo>
                      <a:pt x="54" y="870"/>
                    </a:lnTo>
                    <a:lnTo>
                      <a:pt x="56" y="870"/>
                    </a:lnTo>
                    <a:lnTo>
                      <a:pt x="58" y="868"/>
                    </a:lnTo>
                    <a:lnTo>
                      <a:pt x="58" y="864"/>
                    </a:lnTo>
                    <a:lnTo>
                      <a:pt x="56" y="864"/>
                    </a:lnTo>
                    <a:lnTo>
                      <a:pt x="58" y="860"/>
                    </a:lnTo>
                    <a:lnTo>
                      <a:pt x="58" y="858"/>
                    </a:lnTo>
                    <a:lnTo>
                      <a:pt x="58" y="854"/>
                    </a:lnTo>
                    <a:lnTo>
                      <a:pt x="48" y="846"/>
                    </a:lnTo>
                    <a:lnTo>
                      <a:pt x="46" y="846"/>
                    </a:lnTo>
                    <a:lnTo>
                      <a:pt x="42" y="848"/>
                    </a:lnTo>
                    <a:lnTo>
                      <a:pt x="42" y="848"/>
                    </a:lnTo>
                    <a:lnTo>
                      <a:pt x="42" y="840"/>
                    </a:lnTo>
                    <a:lnTo>
                      <a:pt x="42" y="840"/>
                    </a:lnTo>
                    <a:lnTo>
                      <a:pt x="38" y="840"/>
                    </a:lnTo>
                    <a:lnTo>
                      <a:pt x="34" y="838"/>
                    </a:lnTo>
                    <a:lnTo>
                      <a:pt x="32" y="838"/>
                    </a:lnTo>
                    <a:lnTo>
                      <a:pt x="24" y="838"/>
                    </a:lnTo>
                    <a:lnTo>
                      <a:pt x="18" y="836"/>
                    </a:lnTo>
                    <a:lnTo>
                      <a:pt x="20" y="834"/>
                    </a:lnTo>
                    <a:lnTo>
                      <a:pt x="18" y="832"/>
                    </a:lnTo>
                    <a:lnTo>
                      <a:pt x="16" y="830"/>
                    </a:lnTo>
                    <a:lnTo>
                      <a:pt x="14" y="828"/>
                    </a:lnTo>
                    <a:lnTo>
                      <a:pt x="20" y="824"/>
                    </a:lnTo>
                    <a:lnTo>
                      <a:pt x="22" y="824"/>
                    </a:lnTo>
                    <a:lnTo>
                      <a:pt x="24" y="826"/>
                    </a:lnTo>
                    <a:lnTo>
                      <a:pt x="26" y="826"/>
                    </a:lnTo>
                    <a:lnTo>
                      <a:pt x="24" y="826"/>
                    </a:lnTo>
                    <a:lnTo>
                      <a:pt x="28" y="828"/>
                    </a:lnTo>
                    <a:lnTo>
                      <a:pt x="30" y="828"/>
                    </a:lnTo>
                    <a:lnTo>
                      <a:pt x="34" y="810"/>
                    </a:lnTo>
                    <a:lnTo>
                      <a:pt x="30" y="796"/>
                    </a:lnTo>
                    <a:lnTo>
                      <a:pt x="30" y="786"/>
                    </a:lnTo>
                    <a:lnTo>
                      <a:pt x="28" y="780"/>
                    </a:lnTo>
                    <a:lnTo>
                      <a:pt x="18" y="778"/>
                    </a:lnTo>
                    <a:lnTo>
                      <a:pt x="6" y="780"/>
                    </a:lnTo>
                    <a:lnTo>
                      <a:pt x="0" y="776"/>
                    </a:lnTo>
                    <a:lnTo>
                      <a:pt x="0" y="766"/>
                    </a:lnTo>
                    <a:lnTo>
                      <a:pt x="0" y="758"/>
                    </a:lnTo>
                    <a:lnTo>
                      <a:pt x="8" y="742"/>
                    </a:lnTo>
                    <a:lnTo>
                      <a:pt x="8" y="736"/>
                    </a:lnTo>
                    <a:lnTo>
                      <a:pt x="16" y="726"/>
                    </a:lnTo>
                    <a:lnTo>
                      <a:pt x="32" y="722"/>
                    </a:lnTo>
                    <a:lnTo>
                      <a:pt x="36" y="720"/>
                    </a:lnTo>
                    <a:lnTo>
                      <a:pt x="40" y="720"/>
                    </a:lnTo>
                    <a:lnTo>
                      <a:pt x="44" y="714"/>
                    </a:lnTo>
                    <a:lnTo>
                      <a:pt x="50" y="716"/>
                    </a:lnTo>
                    <a:lnTo>
                      <a:pt x="58" y="714"/>
                    </a:lnTo>
                    <a:lnTo>
                      <a:pt x="62" y="714"/>
                    </a:lnTo>
                    <a:lnTo>
                      <a:pt x="66" y="722"/>
                    </a:lnTo>
                    <a:lnTo>
                      <a:pt x="84" y="722"/>
                    </a:lnTo>
                    <a:lnTo>
                      <a:pt x="92" y="718"/>
                    </a:lnTo>
                    <a:lnTo>
                      <a:pt x="96" y="710"/>
                    </a:lnTo>
                    <a:lnTo>
                      <a:pt x="102" y="704"/>
                    </a:lnTo>
                    <a:lnTo>
                      <a:pt x="142" y="700"/>
                    </a:lnTo>
                    <a:lnTo>
                      <a:pt x="156" y="688"/>
                    </a:lnTo>
                    <a:lnTo>
                      <a:pt x="200" y="670"/>
                    </a:lnTo>
                    <a:lnTo>
                      <a:pt x="204" y="664"/>
                    </a:lnTo>
                    <a:lnTo>
                      <a:pt x="204" y="650"/>
                    </a:lnTo>
                    <a:lnTo>
                      <a:pt x="206" y="646"/>
                    </a:lnTo>
                    <a:lnTo>
                      <a:pt x="210" y="642"/>
                    </a:lnTo>
                    <a:lnTo>
                      <a:pt x="210" y="636"/>
                    </a:lnTo>
                    <a:lnTo>
                      <a:pt x="218" y="630"/>
                    </a:lnTo>
                    <a:lnTo>
                      <a:pt x="218" y="624"/>
                    </a:lnTo>
                    <a:lnTo>
                      <a:pt x="204" y="574"/>
                    </a:lnTo>
                    <a:lnTo>
                      <a:pt x="200" y="570"/>
                    </a:lnTo>
                    <a:lnTo>
                      <a:pt x="206" y="566"/>
                    </a:lnTo>
                    <a:lnTo>
                      <a:pt x="262" y="558"/>
                    </a:lnTo>
                    <a:lnTo>
                      <a:pt x="266" y="556"/>
                    </a:lnTo>
                    <a:lnTo>
                      <a:pt x="262" y="542"/>
                    </a:lnTo>
                    <a:lnTo>
                      <a:pt x="284" y="488"/>
                    </a:lnTo>
                    <a:lnTo>
                      <a:pt x="294" y="490"/>
                    </a:lnTo>
                    <a:lnTo>
                      <a:pt x="298" y="492"/>
                    </a:lnTo>
                    <a:lnTo>
                      <a:pt x="308" y="496"/>
                    </a:lnTo>
                    <a:lnTo>
                      <a:pt x="324" y="494"/>
                    </a:lnTo>
                    <a:lnTo>
                      <a:pt x="334" y="500"/>
                    </a:lnTo>
                    <a:lnTo>
                      <a:pt x="340" y="494"/>
                    </a:lnTo>
                    <a:lnTo>
                      <a:pt x="350" y="492"/>
                    </a:lnTo>
                    <a:lnTo>
                      <a:pt x="352" y="454"/>
                    </a:lnTo>
                    <a:lnTo>
                      <a:pt x="356" y="444"/>
                    </a:lnTo>
                    <a:lnTo>
                      <a:pt x="364" y="446"/>
                    </a:lnTo>
                    <a:lnTo>
                      <a:pt x="374" y="442"/>
                    </a:lnTo>
                    <a:lnTo>
                      <a:pt x="380" y="434"/>
                    </a:lnTo>
                    <a:lnTo>
                      <a:pt x="384" y="426"/>
                    </a:lnTo>
                    <a:lnTo>
                      <a:pt x="396" y="428"/>
                    </a:lnTo>
                    <a:lnTo>
                      <a:pt x="404" y="422"/>
                    </a:lnTo>
                    <a:lnTo>
                      <a:pt x="406" y="422"/>
                    </a:lnTo>
                    <a:lnTo>
                      <a:pt x="406" y="422"/>
                    </a:lnTo>
                    <a:lnTo>
                      <a:pt x="412" y="438"/>
                    </a:lnTo>
                    <a:lnTo>
                      <a:pt x="428" y="448"/>
                    </a:lnTo>
                    <a:lnTo>
                      <a:pt x="434" y="456"/>
                    </a:lnTo>
                    <a:lnTo>
                      <a:pt x="440" y="460"/>
                    </a:lnTo>
                    <a:lnTo>
                      <a:pt x="444" y="456"/>
                    </a:lnTo>
                    <a:lnTo>
                      <a:pt x="452" y="456"/>
                    </a:lnTo>
                    <a:lnTo>
                      <a:pt x="458" y="460"/>
                    </a:lnTo>
                    <a:lnTo>
                      <a:pt x="466" y="460"/>
                    </a:lnTo>
                    <a:lnTo>
                      <a:pt x="488" y="502"/>
                    </a:lnTo>
                    <a:lnTo>
                      <a:pt x="492" y="532"/>
                    </a:lnTo>
                    <a:lnTo>
                      <a:pt x="490" y="540"/>
                    </a:lnTo>
                    <a:lnTo>
                      <a:pt x="490" y="546"/>
                    </a:lnTo>
                    <a:lnTo>
                      <a:pt x="494" y="548"/>
                    </a:lnTo>
                    <a:lnTo>
                      <a:pt x="540" y="554"/>
                    </a:lnTo>
                    <a:lnTo>
                      <a:pt x="546" y="552"/>
                    </a:lnTo>
                    <a:lnTo>
                      <a:pt x="552" y="550"/>
                    </a:lnTo>
                    <a:lnTo>
                      <a:pt x="612" y="566"/>
                    </a:lnTo>
                    <a:lnTo>
                      <a:pt x="618" y="566"/>
                    </a:lnTo>
                    <a:lnTo>
                      <a:pt x="668" y="614"/>
                    </a:lnTo>
                    <a:lnTo>
                      <a:pt x="676" y="616"/>
                    </a:lnTo>
                    <a:lnTo>
                      <a:pt x="770" y="592"/>
                    </a:lnTo>
                    <a:lnTo>
                      <a:pt x="802" y="594"/>
                    </a:lnTo>
                    <a:lnTo>
                      <a:pt x="816" y="602"/>
                    </a:lnTo>
                    <a:lnTo>
                      <a:pt x="870" y="608"/>
                    </a:lnTo>
                    <a:lnTo>
                      <a:pt x="884" y="606"/>
                    </a:lnTo>
                    <a:lnTo>
                      <a:pt x="888" y="606"/>
                    </a:lnTo>
                    <a:lnTo>
                      <a:pt x="894" y="608"/>
                    </a:lnTo>
                    <a:lnTo>
                      <a:pt x="900" y="610"/>
                    </a:lnTo>
                    <a:lnTo>
                      <a:pt x="906" y="606"/>
                    </a:lnTo>
                    <a:lnTo>
                      <a:pt x="914" y="596"/>
                    </a:lnTo>
                    <a:lnTo>
                      <a:pt x="938" y="580"/>
                    </a:lnTo>
                    <a:lnTo>
                      <a:pt x="940" y="576"/>
                    </a:lnTo>
                    <a:lnTo>
                      <a:pt x="970" y="556"/>
                    </a:lnTo>
                    <a:lnTo>
                      <a:pt x="984" y="554"/>
                    </a:lnTo>
                    <a:lnTo>
                      <a:pt x="990" y="548"/>
                    </a:lnTo>
                    <a:lnTo>
                      <a:pt x="1006" y="548"/>
                    </a:lnTo>
                    <a:lnTo>
                      <a:pt x="1008" y="544"/>
                    </a:lnTo>
                    <a:lnTo>
                      <a:pt x="1022" y="540"/>
                    </a:lnTo>
                    <a:lnTo>
                      <a:pt x="1046" y="512"/>
                    </a:lnTo>
                    <a:lnTo>
                      <a:pt x="1048" y="504"/>
                    </a:lnTo>
                    <a:lnTo>
                      <a:pt x="1066" y="470"/>
                    </a:lnTo>
                    <a:lnTo>
                      <a:pt x="1064" y="464"/>
                    </a:lnTo>
                    <a:lnTo>
                      <a:pt x="1048" y="456"/>
                    </a:lnTo>
                    <a:lnTo>
                      <a:pt x="1046" y="448"/>
                    </a:lnTo>
                    <a:lnTo>
                      <a:pt x="1050" y="428"/>
                    </a:lnTo>
                    <a:lnTo>
                      <a:pt x="1058" y="420"/>
                    </a:lnTo>
                    <a:lnTo>
                      <a:pt x="1066" y="420"/>
                    </a:lnTo>
                    <a:lnTo>
                      <a:pt x="1074" y="424"/>
                    </a:lnTo>
                    <a:lnTo>
                      <a:pt x="1094" y="418"/>
                    </a:lnTo>
                    <a:lnTo>
                      <a:pt x="1102" y="406"/>
                    </a:lnTo>
                    <a:lnTo>
                      <a:pt x="1112" y="380"/>
                    </a:lnTo>
                    <a:lnTo>
                      <a:pt x="1122" y="374"/>
                    </a:lnTo>
                    <a:lnTo>
                      <a:pt x="1130" y="364"/>
                    </a:lnTo>
                    <a:lnTo>
                      <a:pt x="1144" y="320"/>
                    </a:lnTo>
                    <a:lnTo>
                      <a:pt x="1182" y="294"/>
                    </a:lnTo>
                    <a:lnTo>
                      <a:pt x="1200" y="288"/>
                    </a:lnTo>
                    <a:lnTo>
                      <a:pt x="1202" y="284"/>
                    </a:lnTo>
                    <a:lnTo>
                      <a:pt x="1200" y="280"/>
                    </a:lnTo>
                    <a:lnTo>
                      <a:pt x="1192" y="278"/>
                    </a:lnTo>
                    <a:lnTo>
                      <a:pt x="1188" y="270"/>
                    </a:lnTo>
                    <a:lnTo>
                      <a:pt x="1182" y="264"/>
                    </a:lnTo>
                    <a:lnTo>
                      <a:pt x="1164" y="262"/>
                    </a:lnTo>
                    <a:lnTo>
                      <a:pt x="1150" y="254"/>
                    </a:lnTo>
                    <a:lnTo>
                      <a:pt x="1138" y="278"/>
                    </a:lnTo>
                    <a:lnTo>
                      <a:pt x="1118" y="292"/>
                    </a:lnTo>
                    <a:lnTo>
                      <a:pt x="1100" y="296"/>
                    </a:lnTo>
                    <a:lnTo>
                      <a:pt x="1094" y="292"/>
                    </a:lnTo>
                    <a:lnTo>
                      <a:pt x="1084" y="274"/>
                    </a:lnTo>
                    <a:lnTo>
                      <a:pt x="1084" y="266"/>
                    </a:lnTo>
                    <a:lnTo>
                      <a:pt x="1072" y="244"/>
                    </a:lnTo>
                    <a:lnTo>
                      <a:pt x="1074" y="218"/>
                    </a:lnTo>
                    <a:lnTo>
                      <a:pt x="1076" y="212"/>
                    </a:lnTo>
                    <a:lnTo>
                      <a:pt x="1076" y="210"/>
                    </a:lnTo>
                    <a:lnTo>
                      <a:pt x="1114" y="208"/>
                    </a:lnTo>
                    <a:lnTo>
                      <a:pt x="1118" y="204"/>
                    </a:lnTo>
                    <a:lnTo>
                      <a:pt x="1134" y="174"/>
                    </a:lnTo>
                    <a:lnTo>
                      <a:pt x="1134" y="172"/>
                    </a:lnTo>
                    <a:lnTo>
                      <a:pt x="1130" y="168"/>
                    </a:lnTo>
                    <a:lnTo>
                      <a:pt x="1128" y="162"/>
                    </a:lnTo>
                    <a:lnTo>
                      <a:pt x="1130" y="150"/>
                    </a:lnTo>
                    <a:lnTo>
                      <a:pt x="1122" y="118"/>
                    </a:lnTo>
                    <a:lnTo>
                      <a:pt x="1126" y="112"/>
                    </a:lnTo>
                    <a:lnTo>
                      <a:pt x="1130" y="96"/>
                    </a:lnTo>
                    <a:lnTo>
                      <a:pt x="1128" y="94"/>
                    </a:lnTo>
                    <a:lnTo>
                      <a:pt x="1124" y="92"/>
                    </a:lnTo>
                    <a:lnTo>
                      <a:pt x="1118" y="82"/>
                    </a:lnTo>
                    <a:lnTo>
                      <a:pt x="1116" y="80"/>
                    </a:lnTo>
                    <a:lnTo>
                      <a:pt x="1106" y="90"/>
                    </a:lnTo>
                    <a:lnTo>
                      <a:pt x="1104" y="88"/>
                    </a:lnTo>
                    <a:lnTo>
                      <a:pt x="1102" y="82"/>
                    </a:lnTo>
                    <a:lnTo>
                      <a:pt x="1106" y="68"/>
                    </a:lnTo>
                    <a:lnTo>
                      <a:pt x="1106" y="62"/>
                    </a:lnTo>
                    <a:lnTo>
                      <a:pt x="1108" y="56"/>
                    </a:lnTo>
                    <a:lnTo>
                      <a:pt x="1154" y="14"/>
                    </a:lnTo>
                    <a:lnTo>
                      <a:pt x="1170" y="12"/>
                    </a:lnTo>
                    <a:lnTo>
                      <a:pt x="1178" y="14"/>
                    </a:lnTo>
                    <a:lnTo>
                      <a:pt x="1184" y="12"/>
                    </a:lnTo>
                    <a:lnTo>
                      <a:pt x="1190" y="6"/>
                    </a:lnTo>
                    <a:lnTo>
                      <a:pt x="1202" y="2"/>
                    </a:lnTo>
                    <a:lnTo>
                      <a:pt x="1218" y="10"/>
                    </a:lnTo>
                    <a:lnTo>
                      <a:pt x="1220" y="14"/>
                    </a:lnTo>
                    <a:lnTo>
                      <a:pt x="1230" y="14"/>
                    </a:lnTo>
                    <a:lnTo>
                      <a:pt x="1232" y="16"/>
                    </a:lnTo>
                    <a:lnTo>
                      <a:pt x="1232" y="14"/>
                    </a:lnTo>
                    <a:lnTo>
                      <a:pt x="1302" y="64"/>
                    </a:lnTo>
                    <a:lnTo>
                      <a:pt x="1302" y="66"/>
                    </a:lnTo>
                    <a:lnTo>
                      <a:pt x="1302" y="66"/>
                    </a:lnTo>
                    <a:lnTo>
                      <a:pt x="1314" y="82"/>
                    </a:lnTo>
                    <a:lnTo>
                      <a:pt x="1322" y="82"/>
                    </a:lnTo>
                    <a:lnTo>
                      <a:pt x="1330" y="76"/>
                    </a:lnTo>
                    <a:lnTo>
                      <a:pt x="1336" y="68"/>
                    </a:lnTo>
                    <a:lnTo>
                      <a:pt x="1344" y="66"/>
                    </a:lnTo>
                    <a:lnTo>
                      <a:pt x="1352" y="62"/>
                    </a:lnTo>
                    <a:lnTo>
                      <a:pt x="1360" y="60"/>
                    </a:lnTo>
                    <a:lnTo>
                      <a:pt x="1380" y="62"/>
                    </a:lnTo>
                    <a:lnTo>
                      <a:pt x="1388" y="60"/>
                    </a:lnTo>
                    <a:lnTo>
                      <a:pt x="1392" y="58"/>
                    </a:lnTo>
                    <a:lnTo>
                      <a:pt x="1396" y="58"/>
                    </a:lnTo>
                    <a:lnTo>
                      <a:pt x="1398" y="60"/>
                    </a:lnTo>
                    <a:lnTo>
                      <a:pt x="1398" y="60"/>
                    </a:lnTo>
                    <a:lnTo>
                      <a:pt x="1402" y="66"/>
                    </a:lnTo>
                    <a:lnTo>
                      <a:pt x="1408" y="66"/>
                    </a:lnTo>
                    <a:lnTo>
                      <a:pt x="1418" y="80"/>
                    </a:lnTo>
                    <a:lnTo>
                      <a:pt x="1432" y="86"/>
                    </a:lnTo>
                    <a:lnTo>
                      <a:pt x="1440" y="80"/>
                    </a:lnTo>
                    <a:lnTo>
                      <a:pt x="1448" y="76"/>
                    </a:lnTo>
                    <a:lnTo>
                      <a:pt x="1454" y="70"/>
                    </a:lnTo>
                    <a:lnTo>
                      <a:pt x="1464" y="36"/>
                    </a:lnTo>
                    <a:lnTo>
                      <a:pt x="1470" y="30"/>
                    </a:lnTo>
                    <a:lnTo>
                      <a:pt x="1484" y="0"/>
                    </a:lnTo>
                    <a:lnTo>
                      <a:pt x="1486" y="2"/>
                    </a:lnTo>
                    <a:lnTo>
                      <a:pt x="1486" y="8"/>
                    </a:lnTo>
                    <a:lnTo>
                      <a:pt x="1492" y="16"/>
                    </a:lnTo>
                    <a:lnTo>
                      <a:pt x="1500" y="20"/>
                    </a:lnTo>
                    <a:lnTo>
                      <a:pt x="1506" y="28"/>
                    </a:lnTo>
                    <a:lnTo>
                      <a:pt x="1504" y="44"/>
                    </a:lnTo>
                    <a:lnTo>
                      <a:pt x="1526" y="88"/>
                    </a:lnTo>
                    <a:lnTo>
                      <a:pt x="1532" y="122"/>
                    </a:lnTo>
                    <a:lnTo>
                      <a:pt x="1538" y="132"/>
                    </a:lnTo>
                    <a:lnTo>
                      <a:pt x="1536" y="138"/>
                    </a:lnTo>
                    <a:lnTo>
                      <a:pt x="1532" y="138"/>
                    </a:lnTo>
                    <a:lnTo>
                      <a:pt x="1510" y="150"/>
                    </a:lnTo>
                    <a:lnTo>
                      <a:pt x="1504" y="182"/>
                    </a:lnTo>
                    <a:lnTo>
                      <a:pt x="1512" y="184"/>
                    </a:lnTo>
                    <a:lnTo>
                      <a:pt x="1540" y="220"/>
                    </a:lnTo>
                    <a:lnTo>
                      <a:pt x="1542" y="234"/>
                    </a:lnTo>
                    <a:lnTo>
                      <a:pt x="1538" y="248"/>
                    </a:lnTo>
                    <a:lnTo>
                      <a:pt x="1544" y="256"/>
                    </a:lnTo>
                    <a:lnTo>
                      <a:pt x="1540" y="258"/>
                    </a:lnTo>
                    <a:lnTo>
                      <a:pt x="1532" y="254"/>
                    </a:lnTo>
                    <a:lnTo>
                      <a:pt x="1524" y="252"/>
                    </a:lnTo>
                    <a:lnTo>
                      <a:pt x="1524" y="260"/>
                    </a:lnTo>
                    <a:lnTo>
                      <a:pt x="1526" y="280"/>
                    </a:lnTo>
                    <a:lnTo>
                      <a:pt x="1520" y="300"/>
                    </a:lnTo>
                    <a:lnTo>
                      <a:pt x="1504" y="316"/>
                    </a:lnTo>
                    <a:lnTo>
                      <a:pt x="1504" y="322"/>
                    </a:lnTo>
                    <a:lnTo>
                      <a:pt x="1516" y="334"/>
                    </a:lnTo>
                    <a:lnTo>
                      <a:pt x="1498" y="348"/>
                    </a:lnTo>
                    <a:lnTo>
                      <a:pt x="1490" y="348"/>
                    </a:lnTo>
                    <a:lnTo>
                      <a:pt x="1480" y="352"/>
                    </a:lnTo>
                    <a:lnTo>
                      <a:pt x="1458" y="414"/>
                    </a:lnTo>
                    <a:lnTo>
                      <a:pt x="1454" y="420"/>
                    </a:lnTo>
                    <a:lnTo>
                      <a:pt x="1450" y="446"/>
                    </a:lnTo>
                    <a:lnTo>
                      <a:pt x="1450" y="448"/>
                    </a:lnTo>
                    <a:lnTo>
                      <a:pt x="1432" y="466"/>
                    </a:lnTo>
                    <a:lnTo>
                      <a:pt x="1428" y="466"/>
                    </a:lnTo>
                    <a:lnTo>
                      <a:pt x="1422" y="478"/>
                    </a:lnTo>
                    <a:lnTo>
                      <a:pt x="1410" y="494"/>
                    </a:lnTo>
                    <a:lnTo>
                      <a:pt x="1408" y="500"/>
                    </a:lnTo>
                    <a:lnTo>
                      <a:pt x="1408" y="508"/>
                    </a:lnTo>
                    <a:lnTo>
                      <a:pt x="1404" y="516"/>
                    </a:lnTo>
                    <a:lnTo>
                      <a:pt x="1400" y="518"/>
                    </a:lnTo>
                    <a:lnTo>
                      <a:pt x="1398" y="522"/>
                    </a:lnTo>
                    <a:lnTo>
                      <a:pt x="1392" y="532"/>
                    </a:lnTo>
                    <a:lnTo>
                      <a:pt x="1388" y="532"/>
                    </a:lnTo>
                    <a:lnTo>
                      <a:pt x="1388" y="522"/>
                    </a:lnTo>
                    <a:lnTo>
                      <a:pt x="1394" y="518"/>
                    </a:lnTo>
                    <a:lnTo>
                      <a:pt x="1392" y="504"/>
                    </a:lnTo>
                    <a:lnTo>
                      <a:pt x="1380" y="504"/>
                    </a:lnTo>
                    <a:lnTo>
                      <a:pt x="1382" y="500"/>
                    </a:lnTo>
                    <a:lnTo>
                      <a:pt x="1380" y="494"/>
                    </a:lnTo>
                    <a:lnTo>
                      <a:pt x="1384" y="486"/>
                    </a:lnTo>
                    <a:lnTo>
                      <a:pt x="1386" y="458"/>
                    </a:lnTo>
                    <a:lnTo>
                      <a:pt x="1384" y="456"/>
                    </a:lnTo>
                    <a:lnTo>
                      <a:pt x="1374" y="452"/>
                    </a:lnTo>
                    <a:lnTo>
                      <a:pt x="1370" y="448"/>
                    </a:lnTo>
                    <a:lnTo>
                      <a:pt x="1366" y="446"/>
                    </a:lnTo>
                    <a:lnTo>
                      <a:pt x="1366" y="450"/>
                    </a:lnTo>
                    <a:lnTo>
                      <a:pt x="1354" y="456"/>
                    </a:lnTo>
                    <a:lnTo>
                      <a:pt x="1352" y="460"/>
                    </a:lnTo>
                    <a:lnTo>
                      <a:pt x="1344" y="494"/>
                    </a:lnTo>
                    <a:lnTo>
                      <a:pt x="1326" y="520"/>
                    </a:lnTo>
                    <a:lnTo>
                      <a:pt x="1328" y="536"/>
                    </a:lnTo>
                    <a:lnTo>
                      <a:pt x="1322" y="548"/>
                    </a:lnTo>
                    <a:lnTo>
                      <a:pt x="1306" y="560"/>
                    </a:lnTo>
                    <a:lnTo>
                      <a:pt x="1302" y="560"/>
                    </a:lnTo>
                    <a:lnTo>
                      <a:pt x="1296" y="562"/>
                    </a:lnTo>
                    <a:lnTo>
                      <a:pt x="1294" y="568"/>
                    </a:lnTo>
                    <a:lnTo>
                      <a:pt x="1296" y="590"/>
                    </a:lnTo>
                    <a:lnTo>
                      <a:pt x="1314" y="598"/>
                    </a:lnTo>
                    <a:lnTo>
                      <a:pt x="1318" y="598"/>
                    </a:lnTo>
                    <a:lnTo>
                      <a:pt x="1322" y="596"/>
                    </a:lnTo>
                    <a:lnTo>
                      <a:pt x="1326" y="598"/>
                    </a:lnTo>
                    <a:lnTo>
                      <a:pt x="1330" y="596"/>
                    </a:lnTo>
                    <a:lnTo>
                      <a:pt x="1336" y="602"/>
                    </a:lnTo>
                    <a:lnTo>
                      <a:pt x="1342" y="602"/>
                    </a:lnTo>
                    <a:lnTo>
                      <a:pt x="1348" y="612"/>
                    </a:lnTo>
                    <a:lnTo>
                      <a:pt x="1354" y="614"/>
                    </a:lnTo>
                    <a:lnTo>
                      <a:pt x="1370" y="614"/>
                    </a:lnTo>
                    <a:lnTo>
                      <a:pt x="1378" y="610"/>
                    </a:lnTo>
                    <a:lnTo>
                      <a:pt x="1380" y="598"/>
                    </a:lnTo>
                    <a:lnTo>
                      <a:pt x="1384" y="590"/>
                    </a:lnTo>
                    <a:lnTo>
                      <a:pt x="1384" y="584"/>
                    </a:lnTo>
                    <a:lnTo>
                      <a:pt x="1396" y="570"/>
                    </a:lnTo>
                    <a:lnTo>
                      <a:pt x="1404" y="572"/>
                    </a:lnTo>
                    <a:lnTo>
                      <a:pt x="1410" y="574"/>
                    </a:lnTo>
                    <a:lnTo>
                      <a:pt x="1416" y="572"/>
                    </a:lnTo>
                    <a:lnTo>
                      <a:pt x="1422" y="574"/>
                    </a:lnTo>
                    <a:lnTo>
                      <a:pt x="1432" y="568"/>
                    </a:lnTo>
                    <a:lnTo>
                      <a:pt x="1434" y="562"/>
                    </a:lnTo>
                    <a:lnTo>
                      <a:pt x="1442" y="562"/>
                    </a:lnTo>
                    <a:lnTo>
                      <a:pt x="1450" y="560"/>
                    </a:lnTo>
                    <a:lnTo>
                      <a:pt x="1452" y="560"/>
                    </a:lnTo>
                    <a:lnTo>
                      <a:pt x="1454" y="568"/>
                    </a:lnTo>
                    <a:lnTo>
                      <a:pt x="1454" y="574"/>
                    </a:lnTo>
                    <a:lnTo>
                      <a:pt x="1454" y="576"/>
                    </a:lnTo>
                    <a:lnTo>
                      <a:pt x="1452" y="584"/>
                    </a:lnTo>
                    <a:lnTo>
                      <a:pt x="1450" y="584"/>
                    </a:lnTo>
                    <a:lnTo>
                      <a:pt x="1446" y="580"/>
                    </a:lnTo>
                    <a:lnTo>
                      <a:pt x="1444" y="584"/>
                    </a:lnTo>
                    <a:lnTo>
                      <a:pt x="1440" y="584"/>
                    </a:lnTo>
                    <a:lnTo>
                      <a:pt x="1436" y="594"/>
                    </a:lnTo>
                    <a:lnTo>
                      <a:pt x="1426" y="602"/>
                    </a:lnTo>
                    <a:lnTo>
                      <a:pt x="1422" y="608"/>
                    </a:lnTo>
                    <a:lnTo>
                      <a:pt x="1416" y="612"/>
                    </a:lnTo>
                    <a:lnTo>
                      <a:pt x="1420" y="618"/>
                    </a:lnTo>
                    <a:lnTo>
                      <a:pt x="1418" y="618"/>
                    </a:lnTo>
                    <a:lnTo>
                      <a:pt x="1418" y="622"/>
                    </a:lnTo>
                    <a:lnTo>
                      <a:pt x="1418" y="632"/>
                    </a:lnTo>
                    <a:lnTo>
                      <a:pt x="1412" y="636"/>
                    </a:lnTo>
                    <a:lnTo>
                      <a:pt x="1408" y="632"/>
                    </a:lnTo>
                    <a:lnTo>
                      <a:pt x="1404" y="634"/>
                    </a:lnTo>
                    <a:lnTo>
                      <a:pt x="1402" y="640"/>
                    </a:lnTo>
                    <a:lnTo>
                      <a:pt x="1408" y="642"/>
                    </a:lnTo>
                    <a:lnTo>
                      <a:pt x="1406" y="654"/>
                    </a:lnTo>
                    <a:lnTo>
                      <a:pt x="1400" y="664"/>
                    </a:lnTo>
                    <a:lnTo>
                      <a:pt x="1396" y="696"/>
                    </a:lnTo>
                    <a:lnTo>
                      <a:pt x="1400" y="700"/>
                    </a:lnTo>
                    <a:lnTo>
                      <a:pt x="1406" y="698"/>
                    </a:lnTo>
                    <a:lnTo>
                      <a:pt x="1412" y="700"/>
                    </a:lnTo>
                    <a:lnTo>
                      <a:pt x="1434" y="700"/>
                    </a:lnTo>
                    <a:lnTo>
                      <a:pt x="1440" y="704"/>
                    </a:lnTo>
                    <a:lnTo>
                      <a:pt x="1446" y="712"/>
                    </a:lnTo>
                    <a:lnTo>
                      <a:pt x="1452" y="714"/>
                    </a:lnTo>
                    <a:lnTo>
                      <a:pt x="1480" y="748"/>
                    </a:lnTo>
                    <a:lnTo>
                      <a:pt x="1488" y="752"/>
                    </a:lnTo>
                    <a:lnTo>
                      <a:pt x="1496" y="752"/>
                    </a:lnTo>
                    <a:lnTo>
                      <a:pt x="1500" y="758"/>
                    </a:lnTo>
                    <a:lnTo>
                      <a:pt x="1512" y="762"/>
                    </a:lnTo>
                    <a:lnTo>
                      <a:pt x="1524" y="768"/>
                    </a:lnTo>
                    <a:lnTo>
                      <a:pt x="1524" y="770"/>
                    </a:lnTo>
                    <a:lnTo>
                      <a:pt x="1502" y="772"/>
                    </a:lnTo>
                    <a:lnTo>
                      <a:pt x="1496" y="774"/>
                    </a:lnTo>
                    <a:lnTo>
                      <a:pt x="1480" y="774"/>
                    </a:lnTo>
                    <a:lnTo>
                      <a:pt x="1466" y="784"/>
                    </a:lnTo>
                    <a:lnTo>
                      <a:pt x="1468" y="788"/>
                    </a:lnTo>
                    <a:lnTo>
                      <a:pt x="1480" y="778"/>
                    </a:lnTo>
                    <a:lnTo>
                      <a:pt x="1484" y="778"/>
                    </a:lnTo>
                    <a:lnTo>
                      <a:pt x="1488" y="782"/>
                    </a:lnTo>
                    <a:lnTo>
                      <a:pt x="1494" y="780"/>
                    </a:lnTo>
                    <a:lnTo>
                      <a:pt x="1502" y="782"/>
                    </a:lnTo>
                    <a:lnTo>
                      <a:pt x="1512" y="786"/>
                    </a:lnTo>
                    <a:lnTo>
                      <a:pt x="1520" y="786"/>
                    </a:lnTo>
                    <a:lnTo>
                      <a:pt x="1536" y="794"/>
                    </a:lnTo>
                    <a:lnTo>
                      <a:pt x="1536" y="798"/>
                    </a:lnTo>
                    <a:lnTo>
                      <a:pt x="1528" y="802"/>
                    </a:lnTo>
                    <a:lnTo>
                      <a:pt x="1524" y="810"/>
                    </a:lnTo>
                    <a:lnTo>
                      <a:pt x="1516" y="820"/>
                    </a:lnTo>
                    <a:lnTo>
                      <a:pt x="1516" y="824"/>
                    </a:lnTo>
                    <a:lnTo>
                      <a:pt x="1510" y="832"/>
                    </a:lnTo>
                    <a:lnTo>
                      <a:pt x="1496" y="840"/>
                    </a:lnTo>
                    <a:lnTo>
                      <a:pt x="1490" y="846"/>
                    </a:lnTo>
                    <a:lnTo>
                      <a:pt x="1498" y="842"/>
                    </a:lnTo>
                    <a:lnTo>
                      <a:pt x="1512" y="840"/>
                    </a:lnTo>
                    <a:lnTo>
                      <a:pt x="1522" y="830"/>
                    </a:lnTo>
                    <a:lnTo>
                      <a:pt x="1528" y="828"/>
                    </a:lnTo>
                    <a:lnTo>
                      <a:pt x="1534" y="830"/>
                    </a:lnTo>
                    <a:lnTo>
                      <a:pt x="1538" y="834"/>
                    </a:lnTo>
                    <a:lnTo>
                      <a:pt x="1546" y="832"/>
                    </a:lnTo>
                    <a:lnTo>
                      <a:pt x="1550" y="830"/>
                    </a:lnTo>
                    <a:lnTo>
                      <a:pt x="1554" y="830"/>
                    </a:lnTo>
                    <a:lnTo>
                      <a:pt x="1542" y="852"/>
                    </a:lnTo>
                    <a:lnTo>
                      <a:pt x="1544" y="852"/>
                    </a:lnTo>
                    <a:lnTo>
                      <a:pt x="1552" y="844"/>
                    </a:lnTo>
                    <a:lnTo>
                      <a:pt x="1558" y="856"/>
                    </a:lnTo>
                    <a:lnTo>
                      <a:pt x="1556" y="856"/>
                    </a:lnTo>
                    <a:lnTo>
                      <a:pt x="1554" y="858"/>
                    </a:lnTo>
                    <a:lnTo>
                      <a:pt x="1548" y="864"/>
                    </a:lnTo>
                    <a:lnTo>
                      <a:pt x="1548" y="866"/>
                    </a:lnTo>
                    <a:lnTo>
                      <a:pt x="1554" y="870"/>
                    </a:lnTo>
                    <a:lnTo>
                      <a:pt x="1554" y="878"/>
                    </a:lnTo>
                    <a:lnTo>
                      <a:pt x="1554" y="882"/>
                    </a:lnTo>
                    <a:lnTo>
                      <a:pt x="1558" y="892"/>
                    </a:lnTo>
                    <a:lnTo>
                      <a:pt x="1558" y="902"/>
                    </a:lnTo>
                    <a:lnTo>
                      <a:pt x="1554" y="902"/>
                    </a:lnTo>
                    <a:lnTo>
                      <a:pt x="1550" y="900"/>
                    </a:lnTo>
                    <a:lnTo>
                      <a:pt x="1548" y="904"/>
                    </a:lnTo>
                    <a:lnTo>
                      <a:pt x="1540" y="938"/>
                    </a:lnTo>
                    <a:lnTo>
                      <a:pt x="1542" y="942"/>
                    </a:lnTo>
                    <a:lnTo>
                      <a:pt x="1540" y="956"/>
                    </a:lnTo>
                    <a:lnTo>
                      <a:pt x="1534" y="968"/>
                    </a:lnTo>
                    <a:lnTo>
                      <a:pt x="1534" y="976"/>
                    </a:lnTo>
                    <a:lnTo>
                      <a:pt x="1532" y="982"/>
                    </a:lnTo>
                    <a:lnTo>
                      <a:pt x="1530" y="982"/>
                    </a:lnTo>
                    <a:lnTo>
                      <a:pt x="1528" y="974"/>
                    </a:lnTo>
                    <a:lnTo>
                      <a:pt x="1522" y="976"/>
                    </a:lnTo>
                    <a:lnTo>
                      <a:pt x="1520" y="982"/>
                    </a:lnTo>
                    <a:lnTo>
                      <a:pt x="1528" y="990"/>
                    </a:lnTo>
                    <a:lnTo>
                      <a:pt x="1528" y="992"/>
                    </a:lnTo>
                    <a:lnTo>
                      <a:pt x="1528" y="1004"/>
                    </a:lnTo>
                    <a:lnTo>
                      <a:pt x="1530" y="1006"/>
                    </a:lnTo>
                    <a:lnTo>
                      <a:pt x="1530" y="1014"/>
                    </a:lnTo>
                    <a:lnTo>
                      <a:pt x="1528" y="1018"/>
                    </a:lnTo>
                    <a:lnTo>
                      <a:pt x="1528" y="1018"/>
                    </a:lnTo>
                    <a:lnTo>
                      <a:pt x="1528" y="1022"/>
                    </a:lnTo>
                    <a:lnTo>
                      <a:pt x="1530" y="1026"/>
                    </a:lnTo>
                    <a:lnTo>
                      <a:pt x="1530" y="1028"/>
                    </a:lnTo>
                    <a:lnTo>
                      <a:pt x="1526" y="1028"/>
                    </a:lnTo>
                    <a:lnTo>
                      <a:pt x="1524" y="1030"/>
                    </a:lnTo>
                    <a:lnTo>
                      <a:pt x="1522" y="1034"/>
                    </a:lnTo>
                    <a:lnTo>
                      <a:pt x="1524" y="1038"/>
                    </a:lnTo>
                    <a:lnTo>
                      <a:pt x="1524" y="1042"/>
                    </a:lnTo>
                    <a:lnTo>
                      <a:pt x="1520" y="1042"/>
                    </a:lnTo>
                    <a:lnTo>
                      <a:pt x="1516" y="1044"/>
                    </a:lnTo>
                    <a:lnTo>
                      <a:pt x="1516" y="1054"/>
                    </a:lnTo>
                    <a:lnTo>
                      <a:pt x="1514" y="1060"/>
                    </a:lnTo>
                    <a:lnTo>
                      <a:pt x="1514" y="1066"/>
                    </a:lnTo>
                    <a:lnTo>
                      <a:pt x="1512" y="1072"/>
                    </a:lnTo>
                    <a:lnTo>
                      <a:pt x="1502" y="1076"/>
                    </a:lnTo>
                    <a:lnTo>
                      <a:pt x="1496" y="1078"/>
                    </a:lnTo>
                    <a:lnTo>
                      <a:pt x="1492" y="1084"/>
                    </a:lnTo>
                    <a:lnTo>
                      <a:pt x="1494" y="1086"/>
                    </a:lnTo>
                    <a:lnTo>
                      <a:pt x="1496" y="1088"/>
                    </a:lnTo>
                    <a:lnTo>
                      <a:pt x="1496" y="1094"/>
                    </a:lnTo>
                    <a:lnTo>
                      <a:pt x="1490" y="1106"/>
                    </a:lnTo>
                    <a:lnTo>
                      <a:pt x="1488" y="1108"/>
                    </a:lnTo>
                    <a:lnTo>
                      <a:pt x="1488" y="1116"/>
                    </a:lnTo>
                    <a:lnTo>
                      <a:pt x="1484" y="1110"/>
                    </a:lnTo>
                    <a:lnTo>
                      <a:pt x="1482" y="1114"/>
                    </a:lnTo>
                    <a:lnTo>
                      <a:pt x="1482" y="1120"/>
                    </a:lnTo>
                    <a:lnTo>
                      <a:pt x="1480" y="1120"/>
                    </a:lnTo>
                    <a:lnTo>
                      <a:pt x="1478" y="1120"/>
                    </a:lnTo>
                    <a:lnTo>
                      <a:pt x="1472" y="1128"/>
                    </a:lnTo>
                    <a:lnTo>
                      <a:pt x="1470" y="1128"/>
                    </a:lnTo>
                    <a:lnTo>
                      <a:pt x="1466" y="1130"/>
                    </a:lnTo>
                    <a:lnTo>
                      <a:pt x="1458" y="1154"/>
                    </a:lnTo>
                    <a:lnTo>
                      <a:pt x="1438" y="1174"/>
                    </a:lnTo>
                    <a:lnTo>
                      <a:pt x="1428" y="1174"/>
                    </a:lnTo>
                    <a:lnTo>
                      <a:pt x="1426" y="1178"/>
                    </a:lnTo>
                    <a:lnTo>
                      <a:pt x="1426" y="1180"/>
                    </a:lnTo>
                    <a:lnTo>
                      <a:pt x="1422" y="1184"/>
                    </a:lnTo>
                    <a:lnTo>
                      <a:pt x="1418" y="1182"/>
                    </a:lnTo>
                    <a:lnTo>
                      <a:pt x="1418" y="1180"/>
                    </a:lnTo>
                    <a:lnTo>
                      <a:pt x="1412" y="1180"/>
                    </a:lnTo>
                    <a:lnTo>
                      <a:pt x="1408" y="1186"/>
                    </a:lnTo>
                    <a:lnTo>
                      <a:pt x="1404" y="1192"/>
                    </a:lnTo>
                    <a:lnTo>
                      <a:pt x="1400" y="1194"/>
                    </a:lnTo>
                    <a:lnTo>
                      <a:pt x="1398" y="1190"/>
                    </a:lnTo>
                    <a:lnTo>
                      <a:pt x="1398" y="1188"/>
                    </a:lnTo>
                    <a:lnTo>
                      <a:pt x="1392" y="1192"/>
                    </a:lnTo>
                    <a:lnTo>
                      <a:pt x="1394" y="1198"/>
                    </a:lnTo>
                    <a:lnTo>
                      <a:pt x="1394" y="1198"/>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66" name="Freeform 217"/>
              <p:cNvSpPr>
                <a:spLocks/>
              </p:cNvSpPr>
              <p:nvPr/>
            </p:nvSpPr>
            <p:spPr bwMode="auto">
              <a:xfrm>
                <a:off x="2195" y="1597"/>
                <a:ext cx="1558" cy="1368"/>
              </a:xfrm>
              <a:custGeom>
                <a:avLst/>
                <a:gdLst>
                  <a:gd name="T0" fmla="*/ 1358 w 1558"/>
                  <a:gd name="T1" fmla="*/ 1204 h 1368"/>
                  <a:gd name="T2" fmla="*/ 1318 w 1558"/>
                  <a:gd name="T3" fmla="*/ 1256 h 1368"/>
                  <a:gd name="T4" fmla="*/ 1242 w 1558"/>
                  <a:gd name="T5" fmla="*/ 1330 h 1368"/>
                  <a:gd name="T6" fmla="*/ 1164 w 1558"/>
                  <a:gd name="T7" fmla="*/ 1308 h 1368"/>
                  <a:gd name="T8" fmla="*/ 1020 w 1558"/>
                  <a:gd name="T9" fmla="*/ 1292 h 1368"/>
                  <a:gd name="T10" fmla="*/ 946 w 1558"/>
                  <a:gd name="T11" fmla="*/ 1318 h 1368"/>
                  <a:gd name="T12" fmla="*/ 866 w 1558"/>
                  <a:gd name="T13" fmla="*/ 1346 h 1368"/>
                  <a:gd name="T14" fmla="*/ 792 w 1558"/>
                  <a:gd name="T15" fmla="*/ 1240 h 1368"/>
                  <a:gd name="T16" fmla="*/ 756 w 1558"/>
                  <a:gd name="T17" fmla="*/ 1138 h 1368"/>
                  <a:gd name="T18" fmla="*/ 664 w 1558"/>
                  <a:gd name="T19" fmla="*/ 1112 h 1368"/>
                  <a:gd name="T20" fmla="*/ 540 w 1558"/>
                  <a:gd name="T21" fmla="*/ 1168 h 1368"/>
                  <a:gd name="T22" fmla="*/ 460 w 1558"/>
                  <a:gd name="T23" fmla="*/ 1180 h 1368"/>
                  <a:gd name="T24" fmla="*/ 408 w 1558"/>
                  <a:gd name="T25" fmla="*/ 1180 h 1368"/>
                  <a:gd name="T26" fmla="*/ 356 w 1558"/>
                  <a:gd name="T27" fmla="*/ 1170 h 1368"/>
                  <a:gd name="T28" fmla="*/ 306 w 1558"/>
                  <a:gd name="T29" fmla="*/ 1146 h 1368"/>
                  <a:gd name="T30" fmla="*/ 286 w 1558"/>
                  <a:gd name="T31" fmla="*/ 1132 h 1368"/>
                  <a:gd name="T32" fmla="*/ 206 w 1558"/>
                  <a:gd name="T33" fmla="*/ 1094 h 1368"/>
                  <a:gd name="T34" fmla="*/ 160 w 1558"/>
                  <a:gd name="T35" fmla="*/ 1064 h 1368"/>
                  <a:gd name="T36" fmla="*/ 126 w 1558"/>
                  <a:gd name="T37" fmla="*/ 1048 h 1368"/>
                  <a:gd name="T38" fmla="*/ 130 w 1558"/>
                  <a:gd name="T39" fmla="*/ 1000 h 1368"/>
                  <a:gd name="T40" fmla="*/ 158 w 1558"/>
                  <a:gd name="T41" fmla="*/ 1000 h 1368"/>
                  <a:gd name="T42" fmla="*/ 144 w 1558"/>
                  <a:gd name="T43" fmla="*/ 962 h 1368"/>
                  <a:gd name="T44" fmla="*/ 170 w 1558"/>
                  <a:gd name="T45" fmla="*/ 936 h 1368"/>
                  <a:gd name="T46" fmla="*/ 182 w 1558"/>
                  <a:gd name="T47" fmla="*/ 904 h 1368"/>
                  <a:gd name="T48" fmla="*/ 160 w 1558"/>
                  <a:gd name="T49" fmla="*/ 884 h 1368"/>
                  <a:gd name="T50" fmla="*/ 92 w 1558"/>
                  <a:gd name="T51" fmla="*/ 894 h 1368"/>
                  <a:gd name="T52" fmla="*/ 58 w 1558"/>
                  <a:gd name="T53" fmla="*/ 868 h 1368"/>
                  <a:gd name="T54" fmla="*/ 32 w 1558"/>
                  <a:gd name="T55" fmla="*/ 838 h 1368"/>
                  <a:gd name="T56" fmla="*/ 34 w 1558"/>
                  <a:gd name="T57" fmla="*/ 810 h 1368"/>
                  <a:gd name="T58" fmla="*/ 40 w 1558"/>
                  <a:gd name="T59" fmla="*/ 720 h 1368"/>
                  <a:gd name="T60" fmla="*/ 204 w 1558"/>
                  <a:gd name="T61" fmla="*/ 650 h 1368"/>
                  <a:gd name="T62" fmla="*/ 298 w 1558"/>
                  <a:gd name="T63" fmla="*/ 492 h 1368"/>
                  <a:gd name="T64" fmla="*/ 406 w 1558"/>
                  <a:gd name="T65" fmla="*/ 422 h 1368"/>
                  <a:gd name="T66" fmla="*/ 494 w 1558"/>
                  <a:gd name="T67" fmla="*/ 548 h 1368"/>
                  <a:gd name="T68" fmla="*/ 894 w 1558"/>
                  <a:gd name="T69" fmla="*/ 608 h 1368"/>
                  <a:gd name="T70" fmla="*/ 1066 w 1558"/>
                  <a:gd name="T71" fmla="*/ 470 h 1368"/>
                  <a:gd name="T72" fmla="*/ 1182 w 1558"/>
                  <a:gd name="T73" fmla="*/ 294 h 1368"/>
                  <a:gd name="T74" fmla="*/ 1084 w 1558"/>
                  <a:gd name="T75" fmla="*/ 266 h 1368"/>
                  <a:gd name="T76" fmla="*/ 1130 w 1558"/>
                  <a:gd name="T77" fmla="*/ 96 h 1368"/>
                  <a:gd name="T78" fmla="*/ 1184 w 1558"/>
                  <a:gd name="T79" fmla="*/ 12 h 1368"/>
                  <a:gd name="T80" fmla="*/ 1336 w 1558"/>
                  <a:gd name="T81" fmla="*/ 68 h 1368"/>
                  <a:gd name="T82" fmla="*/ 1440 w 1558"/>
                  <a:gd name="T83" fmla="*/ 80 h 1368"/>
                  <a:gd name="T84" fmla="*/ 1538 w 1558"/>
                  <a:gd name="T85" fmla="*/ 132 h 1368"/>
                  <a:gd name="T86" fmla="*/ 1526 w 1558"/>
                  <a:gd name="T87" fmla="*/ 280 h 1368"/>
                  <a:gd name="T88" fmla="*/ 1422 w 1558"/>
                  <a:gd name="T89" fmla="*/ 478 h 1368"/>
                  <a:gd name="T90" fmla="*/ 1380 w 1558"/>
                  <a:gd name="T91" fmla="*/ 494 h 1368"/>
                  <a:gd name="T92" fmla="*/ 1306 w 1558"/>
                  <a:gd name="T93" fmla="*/ 560 h 1368"/>
                  <a:gd name="T94" fmla="*/ 1370 w 1558"/>
                  <a:gd name="T95" fmla="*/ 614 h 1368"/>
                  <a:gd name="T96" fmla="*/ 1452 w 1558"/>
                  <a:gd name="T97" fmla="*/ 560 h 1368"/>
                  <a:gd name="T98" fmla="*/ 1418 w 1558"/>
                  <a:gd name="T99" fmla="*/ 618 h 1368"/>
                  <a:gd name="T100" fmla="*/ 1434 w 1558"/>
                  <a:gd name="T101" fmla="*/ 700 h 1368"/>
                  <a:gd name="T102" fmla="*/ 1466 w 1558"/>
                  <a:gd name="T103" fmla="*/ 784 h 1368"/>
                  <a:gd name="T104" fmla="*/ 1516 w 1558"/>
                  <a:gd name="T105" fmla="*/ 824 h 1368"/>
                  <a:gd name="T106" fmla="*/ 1544 w 1558"/>
                  <a:gd name="T107" fmla="*/ 852 h 1368"/>
                  <a:gd name="T108" fmla="*/ 1548 w 1558"/>
                  <a:gd name="T109" fmla="*/ 904 h 1368"/>
                  <a:gd name="T110" fmla="*/ 1530 w 1558"/>
                  <a:gd name="T111" fmla="*/ 1006 h 1368"/>
                  <a:gd name="T112" fmla="*/ 1516 w 1558"/>
                  <a:gd name="T113" fmla="*/ 1054 h 1368"/>
                  <a:gd name="T114" fmla="*/ 1482 w 1558"/>
                  <a:gd name="T115" fmla="*/ 1114 h 1368"/>
                  <a:gd name="T116" fmla="*/ 1418 w 1558"/>
                  <a:gd name="T117" fmla="*/ 1180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58" h="1368">
                    <a:moveTo>
                      <a:pt x="1394" y="1198"/>
                    </a:moveTo>
                    <a:lnTo>
                      <a:pt x="1392" y="1204"/>
                    </a:lnTo>
                    <a:lnTo>
                      <a:pt x="1390" y="1202"/>
                    </a:lnTo>
                    <a:lnTo>
                      <a:pt x="1390" y="1200"/>
                    </a:lnTo>
                    <a:lnTo>
                      <a:pt x="1386" y="1198"/>
                    </a:lnTo>
                    <a:lnTo>
                      <a:pt x="1380" y="1204"/>
                    </a:lnTo>
                    <a:lnTo>
                      <a:pt x="1380" y="1204"/>
                    </a:lnTo>
                    <a:lnTo>
                      <a:pt x="1384" y="1206"/>
                    </a:lnTo>
                    <a:lnTo>
                      <a:pt x="1374" y="1212"/>
                    </a:lnTo>
                    <a:lnTo>
                      <a:pt x="1372" y="1210"/>
                    </a:lnTo>
                    <a:lnTo>
                      <a:pt x="1374" y="1208"/>
                    </a:lnTo>
                    <a:lnTo>
                      <a:pt x="1370" y="1206"/>
                    </a:lnTo>
                    <a:lnTo>
                      <a:pt x="1362" y="1204"/>
                    </a:lnTo>
                    <a:lnTo>
                      <a:pt x="1358" y="1204"/>
                    </a:lnTo>
                    <a:lnTo>
                      <a:pt x="1354" y="1200"/>
                    </a:lnTo>
                    <a:lnTo>
                      <a:pt x="1358" y="1220"/>
                    </a:lnTo>
                    <a:lnTo>
                      <a:pt x="1356" y="1222"/>
                    </a:lnTo>
                    <a:lnTo>
                      <a:pt x="1354" y="1224"/>
                    </a:lnTo>
                    <a:lnTo>
                      <a:pt x="1342" y="1216"/>
                    </a:lnTo>
                    <a:lnTo>
                      <a:pt x="1340" y="1214"/>
                    </a:lnTo>
                    <a:lnTo>
                      <a:pt x="1338" y="1230"/>
                    </a:lnTo>
                    <a:lnTo>
                      <a:pt x="1340" y="1232"/>
                    </a:lnTo>
                    <a:lnTo>
                      <a:pt x="1342" y="1238"/>
                    </a:lnTo>
                    <a:lnTo>
                      <a:pt x="1340" y="1240"/>
                    </a:lnTo>
                    <a:lnTo>
                      <a:pt x="1336" y="1240"/>
                    </a:lnTo>
                    <a:lnTo>
                      <a:pt x="1328" y="1248"/>
                    </a:lnTo>
                    <a:lnTo>
                      <a:pt x="1320" y="1252"/>
                    </a:lnTo>
                    <a:lnTo>
                      <a:pt x="1318" y="1256"/>
                    </a:lnTo>
                    <a:lnTo>
                      <a:pt x="1312" y="1256"/>
                    </a:lnTo>
                    <a:lnTo>
                      <a:pt x="1308" y="1256"/>
                    </a:lnTo>
                    <a:lnTo>
                      <a:pt x="1302" y="1258"/>
                    </a:lnTo>
                    <a:lnTo>
                      <a:pt x="1296" y="1266"/>
                    </a:lnTo>
                    <a:lnTo>
                      <a:pt x="1282" y="1274"/>
                    </a:lnTo>
                    <a:lnTo>
                      <a:pt x="1276" y="1276"/>
                    </a:lnTo>
                    <a:lnTo>
                      <a:pt x="1274" y="1278"/>
                    </a:lnTo>
                    <a:lnTo>
                      <a:pt x="1260" y="1288"/>
                    </a:lnTo>
                    <a:lnTo>
                      <a:pt x="1254" y="1288"/>
                    </a:lnTo>
                    <a:lnTo>
                      <a:pt x="1248" y="1306"/>
                    </a:lnTo>
                    <a:lnTo>
                      <a:pt x="1258" y="1316"/>
                    </a:lnTo>
                    <a:lnTo>
                      <a:pt x="1260" y="1324"/>
                    </a:lnTo>
                    <a:lnTo>
                      <a:pt x="1250" y="1332"/>
                    </a:lnTo>
                    <a:lnTo>
                      <a:pt x="1242" y="1330"/>
                    </a:lnTo>
                    <a:lnTo>
                      <a:pt x="1226" y="1308"/>
                    </a:lnTo>
                    <a:lnTo>
                      <a:pt x="1228" y="1292"/>
                    </a:lnTo>
                    <a:lnTo>
                      <a:pt x="1224" y="1288"/>
                    </a:lnTo>
                    <a:lnTo>
                      <a:pt x="1216" y="1296"/>
                    </a:lnTo>
                    <a:lnTo>
                      <a:pt x="1208" y="1298"/>
                    </a:lnTo>
                    <a:lnTo>
                      <a:pt x="1204" y="1296"/>
                    </a:lnTo>
                    <a:lnTo>
                      <a:pt x="1204" y="1294"/>
                    </a:lnTo>
                    <a:lnTo>
                      <a:pt x="1184" y="1294"/>
                    </a:lnTo>
                    <a:lnTo>
                      <a:pt x="1182" y="1294"/>
                    </a:lnTo>
                    <a:lnTo>
                      <a:pt x="1180" y="1300"/>
                    </a:lnTo>
                    <a:lnTo>
                      <a:pt x="1174" y="1304"/>
                    </a:lnTo>
                    <a:lnTo>
                      <a:pt x="1174" y="1308"/>
                    </a:lnTo>
                    <a:lnTo>
                      <a:pt x="1172" y="1302"/>
                    </a:lnTo>
                    <a:lnTo>
                      <a:pt x="1164" y="1308"/>
                    </a:lnTo>
                    <a:lnTo>
                      <a:pt x="1158" y="1306"/>
                    </a:lnTo>
                    <a:lnTo>
                      <a:pt x="1138" y="1310"/>
                    </a:lnTo>
                    <a:lnTo>
                      <a:pt x="1136" y="1308"/>
                    </a:lnTo>
                    <a:lnTo>
                      <a:pt x="1118" y="1302"/>
                    </a:lnTo>
                    <a:lnTo>
                      <a:pt x="1112" y="1296"/>
                    </a:lnTo>
                    <a:lnTo>
                      <a:pt x="1108" y="1288"/>
                    </a:lnTo>
                    <a:lnTo>
                      <a:pt x="1110" y="1278"/>
                    </a:lnTo>
                    <a:lnTo>
                      <a:pt x="1106" y="1272"/>
                    </a:lnTo>
                    <a:lnTo>
                      <a:pt x="1084" y="1274"/>
                    </a:lnTo>
                    <a:lnTo>
                      <a:pt x="1054" y="1268"/>
                    </a:lnTo>
                    <a:lnTo>
                      <a:pt x="1050" y="1270"/>
                    </a:lnTo>
                    <a:lnTo>
                      <a:pt x="1038" y="1284"/>
                    </a:lnTo>
                    <a:lnTo>
                      <a:pt x="1026" y="1292"/>
                    </a:lnTo>
                    <a:lnTo>
                      <a:pt x="1020" y="1292"/>
                    </a:lnTo>
                    <a:lnTo>
                      <a:pt x="1014" y="1298"/>
                    </a:lnTo>
                    <a:lnTo>
                      <a:pt x="1008" y="1302"/>
                    </a:lnTo>
                    <a:lnTo>
                      <a:pt x="1006" y="1298"/>
                    </a:lnTo>
                    <a:lnTo>
                      <a:pt x="996" y="1302"/>
                    </a:lnTo>
                    <a:lnTo>
                      <a:pt x="992" y="1300"/>
                    </a:lnTo>
                    <a:lnTo>
                      <a:pt x="980" y="1310"/>
                    </a:lnTo>
                    <a:lnTo>
                      <a:pt x="976" y="1310"/>
                    </a:lnTo>
                    <a:lnTo>
                      <a:pt x="970" y="1306"/>
                    </a:lnTo>
                    <a:lnTo>
                      <a:pt x="960" y="1306"/>
                    </a:lnTo>
                    <a:lnTo>
                      <a:pt x="958" y="1306"/>
                    </a:lnTo>
                    <a:lnTo>
                      <a:pt x="956" y="1306"/>
                    </a:lnTo>
                    <a:lnTo>
                      <a:pt x="950" y="1316"/>
                    </a:lnTo>
                    <a:lnTo>
                      <a:pt x="952" y="1318"/>
                    </a:lnTo>
                    <a:lnTo>
                      <a:pt x="946" y="1318"/>
                    </a:lnTo>
                    <a:lnTo>
                      <a:pt x="946" y="1316"/>
                    </a:lnTo>
                    <a:lnTo>
                      <a:pt x="932" y="1318"/>
                    </a:lnTo>
                    <a:lnTo>
                      <a:pt x="928" y="1324"/>
                    </a:lnTo>
                    <a:lnTo>
                      <a:pt x="930" y="1342"/>
                    </a:lnTo>
                    <a:lnTo>
                      <a:pt x="936" y="1350"/>
                    </a:lnTo>
                    <a:lnTo>
                      <a:pt x="936" y="1360"/>
                    </a:lnTo>
                    <a:lnTo>
                      <a:pt x="932" y="1362"/>
                    </a:lnTo>
                    <a:lnTo>
                      <a:pt x="920" y="1368"/>
                    </a:lnTo>
                    <a:lnTo>
                      <a:pt x="914" y="1348"/>
                    </a:lnTo>
                    <a:lnTo>
                      <a:pt x="906" y="1348"/>
                    </a:lnTo>
                    <a:lnTo>
                      <a:pt x="896" y="1358"/>
                    </a:lnTo>
                    <a:lnTo>
                      <a:pt x="882" y="1362"/>
                    </a:lnTo>
                    <a:lnTo>
                      <a:pt x="870" y="1352"/>
                    </a:lnTo>
                    <a:lnTo>
                      <a:pt x="866" y="1346"/>
                    </a:lnTo>
                    <a:lnTo>
                      <a:pt x="844" y="1344"/>
                    </a:lnTo>
                    <a:lnTo>
                      <a:pt x="848" y="1314"/>
                    </a:lnTo>
                    <a:lnTo>
                      <a:pt x="828" y="1306"/>
                    </a:lnTo>
                    <a:lnTo>
                      <a:pt x="826" y="1294"/>
                    </a:lnTo>
                    <a:lnTo>
                      <a:pt x="822" y="1286"/>
                    </a:lnTo>
                    <a:lnTo>
                      <a:pt x="822" y="1278"/>
                    </a:lnTo>
                    <a:lnTo>
                      <a:pt x="796" y="1284"/>
                    </a:lnTo>
                    <a:lnTo>
                      <a:pt x="782" y="1298"/>
                    </a:lnTo>
                    <a:lnTo>
                      <a:pt x="778" y="1294"/>
                    </a:lnTo>
                    <a:lnTo>
                      <a:pt x="784" y="1284"/>
                    </a:lnTo>
                    <a:lnTo>
                      <a:pt x="784" y="1278"/>
                    </a:lnTo>
                    <a:lnTo>
                      <a:pt x="782" y="1268"/>
                    </a:lnTo>
                    <a:lnTo>
                      <a:pt x="786" y="1248"/>
                    </a:lnTo>
                    <a:lnTo>
                      <a:pt x="792" y="1240"/>
                    </a:lnTo>
                    <a:lnTo>
                      <a:pt x="794" y="1234"/>
                    </a:lnTo>
                    <a:lnTo>
                      <a:pt x="798" y="1232"/>
                    </a:lnTo>
                    <a:lnTo>
                      <a:pt x="804" y="1224"/>
                    </a:lnTo>
                    <a:lnTo>
                      <a:pt x="808" y="1208"/>
                    </a:lnTo>
                    <a:lnTo>
                      <a:pt x="808" y="1186"/>
                    </a:lnTo>
                    <a:lnTo>
                      <a:pt x="800" y="1154"/>
                    </a:lnTo>
                    <a:lnTo>
                      <a:pt x="790" y="1156"/>
                    </a:lnTo>
                    <a:lnTo>
                      <a:pt x="786" y="1152"/>
                    </a:lnTo>
                    <a:lnTo>
                      <a:pt x="784" y="1142"/>
                    </a:lnTo>
                    <a:lnTo>
                      <a:pt x="774" y="1134"/>
                    </a:lnTo>
                    <a:lnTo>
                      <a:pt x="766" y="1132"/>
                    </a:lnTo>
                    <a:lnTo>
                      <a:pt x="764" y="1132"/>
                    </a:lnTo>
                    <a:lnTo>
                      <a:pt x="762" y="1136"/>
                    </a:lnTo>
                    <a:lnTo>
                      <a:pt x="756" y="1138"/>
                    </a:lnTo>
                    <a:lnTo>
                      <a:pt x="754" y="1132"/>
                    </a:lnTo>
                    <a:lnTo>
                      <a:pt x="746" y="1130"/>
                    </a:lnTo>
                    <a:lnTo>
                      <a:pt x="738" y="1132"/>
                    </a:lnTo>
                    <a:lnTo>
                      <a:pt x="732" y="1130"/>
                    </a:lnTo>
                    <a:lnTo>
                      <a:pt x="720" y="1132"/>
                    </a:lnTo>
                    <a:lnTo>
                      <a:pt x="720" y="1114"/>
                    </a:lnTo>
                    <a:lnTo>
                      <a:pt x="714" y="1114"/>
                    </a:lnTo>
                    <a:lnTo>
                      <a:pt x="712" y="1108"/>
                    </a:lnTo>
                    <a:lnTo>
                      <a:pt x="712" y="1102"/>
                    </a:lnTo>
                    <a:lnTo>
                      <a:pt x="704" y="1096"/>
                    </a:lnTo>
                    <a:lnTo>
                      <a:pt x="698" y="1100"/>
                    </a:lnTo>
                    <a:lnTo>
                      <a:pt x="690" y="1106"/>
                    </a:lnTo>
                    <a:lnTo>
                      <a:pt x="668" y="1112"/>
                    </a:lnTo>
                    <a:lnTo>
                      <a:pt x="664" y="1112"/>
                    </a:lnTo>
                    <a:lnTo>
                      <a:pt x="658" y="1108"/>
                    </a:lnTo>
                    <a:lnTo>
                      <a:pt x="656" y="1108"/>
                    </a:lnTo>
                    <a:lnTo>
                      <a:pt x="644" y="1116"/>
                    </a:lnTo>
                    <a:lnTo>
                      <a:pt x="642" y="1122"/>
                    </a:lnTo>
                    <a:lnTo>
                      <a:pt x="630" y="1134"/>
                    </a:lnTo>
                    <a:lnTo>
                      <a:pt x="620" y="1138"/>
                    </a:lnTo>
                    <a:lnTo>
                      <a:pt x="606" y="1152"/>
                    </a:lnTo>
                    <a:lnTo>
                      <a:pt x="562" y="1172"/>
                    </a:lnTo>
                    <a:lnTo>
                      <a:pt x="562" y="1172"/>
                    </a:lnTo>
                    <a:lnTo>
                      <a:pt x="562" y="1172"/>
                    </a:lnTo>
                    <a:lnTo>
                      <a:pt x="554" y="1168"/>
                    </a:lnTo>
                    <a:lnTo>
                      <a:pt x="552" y="1166"/>
                    </a:lnTo>
                    <a:lnTo>
                      <a:pt x="550" y="1164"/>
                    </a:lnTo>
                    <a:lnTo>
                      <a:pt x="540" y="1168"/>
                    </a:lnTo>
                    <a:lnTo>
                      <a:pt x="518" y="1166"/>
                    </a:lnTo>
                    <a:lnTo>
                      <a:pt x="514" y="1162"/>
                    </a:lnTo>
                    <a:lnTo>
                      <a:pt x="514" y="1162"/>
                    </a:lnTo>
                    <a:lnTo>
                      <a:pt x="512" y="1158"/>
                    </a:lnTo>
                    <a:lnTo>
                      <a:pt x="508" y="1158"/>
                    </a:lnTo>
                    <a:lnTo>
                      <a:pt x="500" y="1158"/>
                    </a:lnTo>
                    <a:lnTo>
                      <a:pt x="492" y="1162"/>
                    </a:lnTo>
                    <a:lnTo>
                      <a:pt x="464" y="1190"/>
                    </a:lnTo>
                    <a:lnTo>
                      <a:pt x="464" y="1194"/>
                    </a:lnTo>
                    <a:lnTo>
                      <a:pt x="460" y="1194"/>
                    </a:lnTo>
                    <a:lnTo>
                      <a:pt x="458" y="1192"/>
                    </a:lnTo>
                    <a:lnTo>
                      <a:pt x="458" y="1192"/>
                    </a:lnTo>
                    <a:lnTo>
                      <a:pt x="458" y="1186"/>
                    </a:lnTo>
                    <a:lnTo>
                      <a:pt x="460" y="1180"/>
                    </a:lnTo>
                    <a:lnTo>
                      <a:pt x="460" y="1176"/>
                    </a:lnTo>
                    <a:lnTo>
                      <a:pt x="458" y="1170"/>
                    </a:lnTo>
                    <a:lnTo>
                      <a:pt x="458" y="1168"/>
                    </a:lnTo>
                    <a:lnTo>
                      <a:pt x="454" y="1168"/>
                    </a:lnTo>
                    <a:lnTo>
                      <a:pt x="452" y="1168"/>
                    </a:lnTo>
                    <a:lnTo>
                      <a:pt x="446" y="1172"/>
                    </a:lnTo>
                    <a:lnTo>
                      <a:pt x="442" y="1172"/>
                    </a:lnTo>
                    <a:lnTo>
                      <a:pt x="436" y="1174"/>
                    </a:lnTo>
                    <a:lnTo>
                      <a:pt x="436" y="1176"/>
                    </a:lnTo>
                    <a:lnTo>
                      <a:pt x="432" y="1174"/>
                    </a:lnTo>
                    <a:lnTo>
                      <a:pt x="428" y="1176"/>
                    </a:lnTo>
                    <a:lnTo>
                      <a:pt x="424" y="1180"/>
                    </a:lnTo>
                    <a:lnTo>
                      <a:pt x="414" y="1178"/>
                    </a:lnTo>
                    <a:lnTo>
                      <a:pt x="408" y="1180"/>
                    </a:lnTo>
                    <a:lnTo>
                      <a:pt x="396" y="1176"/>
                    </a:lnTo>
                    <a:lnTo>
                      <a:pt x="392" y="1172"/>
                    </a:lnTo>
                    <a:lnTo>
                      <a:pt x="386" y="1172"/>
                    </a:lnTo>
                    <a:lnTo>
                      <a:pt x="382" y="1172"/>
                    </a:lnTo>
                    <a:lnTo>
                      <a:pt x="380" y="1176"/>
                    </a:lnTo>
                    <a:lnTo>
                      <a:pt x="378" y="1176"/>
                    </a:lnTo>
                    <a:lnTo>
                      <a:pt x="374" y="1176"/>
                    </a:lnTo>
                    <a:lnTo>
                      <a:pt x="372" y="1176"/>
                    </a:lnTo>
                    <a:lnTo>
                      <a:pt x="368" y="1174"/>
                    </a:lnTo>
                    <a:lnTo>
                      <a:pt x="366" y="1176"/>
                    </a:lnTo>
                    <a:lnTo>
                      <a:pt x="362" y="1176"/>
                    </a:lnTo>
                    <a:lnTo>
                      <a:pt x="358" y="1174"/>
                    </a:lnTo>
                    <a:lnTo>
                      <a:pt x="356" y="1172"/>
                    </a:lnTo>
                    <a:lnTo>
                      <a:pt x="356" y="1170"/>
                    </a:lnTo>
                    <a:lnTo>
                      <a:pt x="352" y="1166"/>
                    </a:lnTo>
                    <a:lnTo>
                      <a:pt x="348" y="1164"/>
                    </a:lnTo>
                    <a:lnTo>
                      <a:pt x="342" y="1166"/>
                    </a:lnTo>
                    <a:lnTo>
                      <a:pt x="334" y="1160"/>
                    </a:lnTo>
                    <a:lnTo>
                      <a:pt x="334" y="1158"/>
                    </a:lnTo>
                    <a:lnTo>
                      <a:pt x="336" y="1150"/>
                    </a:lnTo>
                    <a:lnTo>
                      <a:pt x="334" y="1148"/>
                    </a:lnTo>
                    <a:lnTo>
                      <a:pt x="330" y="1152"/>
                    </a:lnTo>
                    <a:lnTo>
                      <a:pt x="322" y="1152"/>
                    </a:lnTo>
                    <a:lnTo>
                      <a:pt x="318" y="1150"/>
                    </a:lnTo>
                    <a:lnTo>
                      <a:pt x="314" y="1150"/>
                    </a:lnTo>
                    <a:lnTo>
                      <a:pt x="310" y="1148"/>
                    </a:lnTo>
                    <a:lnTo>
                      <a:pt x="308" y="1148"/>
                    </a:lnTo>
                    <a:lnTo>
                      <a:pt x="306" y="1146"/>
                    </a:lnTo>
                    <a:lnTo>
                      <a:pt x="304" y="1142"/>
                    </a:lnTo>
                    <a:lnTo>
                      <a:pt x="302" y="1144"/>
                    </a:lnTo>
                    <a:lnTo>
                      <a:pt x="300" y="1142"/>
                    </a:lnTo>
                    <a:lnTo>
                      <a:pt x="302" y="1136"/>
                    </a:lnTo>
                    <a:lnTo>
                      <a:pt x="302" y="1132"/>
                    </a:lnTo>
                    <a:lnTo>
                      <a:pt x="304" y="1128"/>
                    </a:lnTo>
                    <a:lnTo>
                      <a:pt x="304" y="1126"/>
                    </a:lnTo>
                    <a:lnTo>
                      <a:pt x="300" y="1126"/>
                    </a:lnTo>
                    <a:lnTo>
                      <a:pt x="296" y="1126"/>
                    </a:lnTo>
                    <a:lnTo>
                      <a:pt x="294" y="1126"/>
                    </a:lnTo>
                    <a:lnTo>
                      <a:pt x="292" y="1128"/>
                    </a:lnTo>
                    <a:lnTo>
                      <a:pt x="290" y="1130"/>
                    </a:lnTo>
                    <a:lnTo>
                      <a:pt x="288" y="1132"/>
                    </a:lnTo>
                    <a:lnTo>
                      <a:pt x="286" y="1132"/>
                    </a:lnTo>
                    <a:lnTo>
                      <a:pt x="284" y="1134"/>
                    </a:lnTo>
                    <a:lnTo>
                      <a:pt x="278" y="1132"/>
                    </a:lnTo>
                    <a:lnTo>
                      <a:pt x="276" y="1130"/>
                    </a:lnTo>
                    <a:lnTo>
                      <a:pt x="274" y="1120"/>
                    </a:lnTo>
                    <a:lnTo>
                      <a:pt x="264" y="1110"/>
                    </a:lnTo>
                    <a:lnTo>
                      <a:pt x="256" y="1108"/>
                    </a:lnTo>
                    <a:lnTo>
                      <a:pt x="248" y="1098"/>
                    </a:lnTo>
                    <a:lnTo>
                      <a:pt x="222" y="1090"/>
                    </a:lnTo>
                    <a:lnTo>
                      <a:pt x="220" y="1090"/>
                    </a:lnTo>
                    <a:lnTo>
                      <a:pt x="210" y="1088"/>
                    </a:lnTo>
                    <a:lnTo>
                      <a:pt x="210" y="1088"/>
                    </a:lnTo>
                    <a:lnTo>
                      <a:pt x="208" y="1088"/>
                    </a:lnTo>
                    <a:lnTo>
                      <a:pt x="208" y="1092"/>
                    </a:lnTo>
                    <a:lnTo>
                      <a:pt x="206" y="1094"/>
                    </a:lnTo>
                    <a:lnTo>
                      <a:pt x="206" y="1096"/>
                    </a:lnTo>
                    <a:lnTo>
                      <a:pt x="206" y="1098"/>
                    </a:lnTo>
                    <a:lnTo>
                      <a:pt x="202" y="1094"/>
                    </a:lnTo>
                    <a:lnTo>
                      <a:pt x="200" y="1090"/>
                    </a:lnTo>
                    <a:lnTo>
                      <a:pt x="186" y="1086"/>
                    </a:lnTo>
                    <a:lnTo>
                      <a:pt x="184" y="1084"/>
                    </a:lnTo>
                    <a:lnTo>
                      <a:pt x="182" y="1080"/>
                    </a:lnTo>
                    <a:lnTo>
                      <a:pt x="180" y="1080"/>
                    </a:lnTo>
                    <a:lnTo>
                      <a:pt x="174" y="1074"/>
                    </a:lnTo>
                    <a:lnTo>
                      <a:pt x="166" y="1072"/>
                    </a:lnTo>
                    <a:lnTo>
                      <a:pt x="164" y="1070"/>
                    </a:lnTo>
                    <a:lnTo>
                      <a:pt x="164" y="1068"/>
                    </a:lnTo>
                    <a:lnTo>
                      <a:pt x="164" y="1066"/>
                    </a:lnTo>
                    <a:lnTo>
                      <a:pt x="160" y="1064"/>
                    </a:lnTo>
                    <a:lnTo>
                      <a:pt x="160" y="1064"/>
                    </a:lnTo>
                    <a:lnTo>
                      <a:pt x="158" y="1062"/>
                    </a:lnTo>
                    <a:lnTo>
                      <a:pt x="152" y="1064"/>
                    </a:lnTo>
                    <a:lnTo>
                      <a:pt x="152" y="1064"/>
                    </a:lnTo>
                    <a:lnTo>
                      <a:pt x="150" y="1060"/>
                    </a:lnTo>
                    <a:lnTo>
                      <a:pt x="150" y="1058"/>
                    </a:lnTo>
                    <a:lnTo>
                      <a:pt x="148" y="1058"/>
                    </a:lnTo>
                    <a:lnTo>
                      <a:pt x="140" y="1058"/>
                    </a:lnTo>
                    <a:lnTo>
                      <a:pt x="134" y="1060"/>
                    </a:lnTo>
                    <a:lnTo>
                      <a:pt x="132" y="1060"/>
                    </a:lnTo>
                    <a:lnTo>
                      <a:pt x="130" y="1058"/>
                    </a:lnTo>
                    <a:lnTo>
                      <a:pt x="132" y="1052"/>
                    </a:lnTo>
                    <a:lnTo>
                      <a:pt x="128" y="1050"/>
                    </a:lnTo>
                    <a:lnTo>
                      <a:pt x="126" y="1048"/>
                    </a:lnTo>
                    <a:lnTo>
                      <a:pt x="126" y="1046"/>
                    </a:lnTo>
                    <a:lnTo>
                      <a:pt x="124" y="1042"/>
                    </a:lnTo>
                    <a:lnTo>
                      <a:pt x="124" y="1040"/>
                    </a:lnTo>
                    <a:lnTo>
                      <a:pt x="126" y="1036"/>
                    </a:lnTo>
                    <a:lnTo>
                      <a:pt x="126" y="1032"/>
                    </a:lnTo>
                    <a:lnTo>
                      <a:pt x="126" y="1028"/>
                    </a:lnTo>
                    <a:lnTo>
                      <a:pt x="128" y="1024"/>
                    </a:lnTo>
                    <a:lnTo>
                      <a:pt x="120" y="1014"/>
                    </a:lnTo>
                    <a:lnTo>
                      <a:pt x="120" y="1008"/>
                    </a:lnTo>
                    <a:lnTo>
                      <a:pt x="120" y="1004"/>
                    </a:lnTo>
                    <a:lnTo>
                      <a:pt x="120" y="1002"/>
                    </a:lnTo>
                    <a:lnTo>
                      <a:pt x="126" y="1002"/>
                    </a:lnTo>
                    <a:lnTo>
                      <a:pt x="130" y="1000"/>
                    </a:lnTo>
                    <a:lnTo>
                      <a:pt x="130" y="1000"/>
                    </a:lnTo>
                    <a:lnTo>
                      <a:pt x="130" y="1004"/>
                    </a:lnTo>
                    <a:lnTo>
                      <a:pt x="132" y="1008"/>
                    </a:lnTo>
                    <a:lnTo>
                      <a:pt x="132" y="1008"/>
                    </a:lnTo>
                    <a:lnTo>
                      <a:pt x="136" y="1010"/>
                    </a:lnTo>
                    <a:lnTo>
                      <a:pt x="138" y="1010"/>
                    </a:lnTo>
                    <a:lnTo>
                      <a:pt x="140" y="1010"/>
                    </a:lnTo>
                    <a:lnTo>
                      <a:pt x="142" y="1010"/>
                    </a:lnTo>
                    <a:lnTo>
                      <a:pt x="142" y="1006"/>
                    </a:lnTo>
                    <a:lnTo>
                      <a:pt x="146" y="1006"/>
                    </a:lnTo>
                    <a:lnTo>
                      <a:pt x="148" y="1002"/>
                    </a:lnTo>
                    <a:lnTo>
                      <a:pt x="148" y="1002"/>
                    </a:lnTo>
                    <a:lnTo>
                      <a:pt x="150" y="1006"/>
                    </a:lnTo>
                    <a:lnTo>
                      <a:pt x="152" y="1006"/>
                    </a:lnTo>
                    <a:lnTo>
                      <a:pt x="158" y="1000"/>
                    </a:lnTo>
                    <a:lnTo>
                      <a:pt x="158" y="998"/>
                    </a:lnTo>
                    <a:lnTo>
                      <a:pt x="152" y="990"/>
                    </a:lnTo>
                    <a:lnTo>
                      <a:pt x="152" y="988"/>
                    </a:lnTo>
                    <a:lnTo>
                      <a:pt x="154" y="986"/>
                    </a:lnTo>
                    <a:lnTo>
                      <a:pt x="154" y="984"/>
                    </a:lnTo>
                    <a:lnTo>
                      <a:pt x="148" y="980"/>
                    </a:lnTo>
                    <a:lnTo>
                      <a:pt x="144" y="982"/>
                    </a:lnTo>
                    <a:lnTo>
                      <a:pt x="144" y="980"/>
                    </a:lnTo>
                    <a:lnTo>
                      <a:pt x="140" y="974"/>
                    </a:lnTo>
                    <a:lnTo>
                      <a:pt x="140" y="968"/>
                    </a:lnTo>
                    <a:lnTo>
                      <a:pt x="142" y="966"/>
                    </a:lnTo>
                    <a:lnTo>
                      <a:pt x="142" y="964"/>
                    </a:lnTo>
                    <a:lnTo>
                      <a:pt x="142" y="962"/>
                    </a:lnTo>
                    <a:lnTo>
                      <a:pt x="144" y="962"/>
                    </a:lnTo>
                    <a:lnTo>
                      <a:pt x="140" y="956"/>
                    </a:lnTo>
                    <a:lnTo>
                      <a:pt x="140" y="954"/>
                    </a:lnTo>
                    <a:lnTo>
                      <a:pt x="142" y="954"/>
                    </a:lnTo>
                    <a:lnTo>
                      <a:pt x="146" y="954"/>
                    </a:lnTo>
                    <a:lnTo>
                      <a:pt x="150" y="952"/>
                    </a:lnTo>
                    <a:lnTo>
                      <a:pt x="156" y="954"/>
                    </a:lnTo>
                    <a:lnTo>
                      <a:pt x="158" y="954"/>
                    </a:lnTo>
                    <a:lnTo>
                      <a:pt x="160" y="950"/>
                    </a:lnTo>
                    <a:lnTo>
                      <a:pt x="164" y="946"/>
                    </a:lnTo>
                    <a:lnTo>
                      <a:pt x="164" y="940"/>
                    </a:lnTo>
                    <a:lnTo>
                      <a:pt x="170" y="940"/>
                    </a:lnTo>
                    <a:lnTo>
                      <a:pt x="170" y="938"/>
                    </a:lnTo>
                    <a:lnTo>
                      <a:pt x="170" y="938"/>
                    </a:lnTo>
                    <a:lnTo>
                      <a:pt x="170" y="936"/>
                    </a:lnTo>
                    <a:lnTo>
                      <a:pt x="172" y="934"/>
                    </a:lnTo>
                    <a:lnTo>
                      <a:pt x="172" y="932"/>
                    </a:lnTo>
                    <a:lnTo>
                      <a:pt x="180" y="928"/>
                    </a:lnTo>
                    <a:lnTo>
                      <a:pt x="180" y="926"/>
                    </a:lnTo>
                    <a:lnTo>
                      <a:pt x="182" y="922"/>
                    </a:lnTo>
                    <a:lnTo>
                      <a:pt x="184" y="912"/>
                    </a:lnTo>
                    <a:lnTo>
                      <a:pt x="186" y="912"/>
                    </a:lnTo>
                    <a:lnTo>
                      <a:pt x="186" y="906"/>
                    </a:lnTo>
                    <a:lnTo>
                      <a:pt x="192" y="904"/>
                    </a:lnTo>
                    <a:lnTo>
                      <a:pt x="190" y="902"/>
                    </a:lnTo>
                    <a:lnTo>
                      <a:pt x="190" y="900"/>
                    </a:lnTo>
                    <a:lnTo>
                      <a:pt x="186" y="900"/>
                    </a:lnTo>
                    <a:lnTo>
                      <a:pt x="182" y="904"/>
                    </a:lnTo>
                    <a:lnTo>
                      <a:pt x="182" y="904"/>
                    </a:lnTo>
                    <a:lnTo>
                      <a:pt x="180" y="902"/>
                    </a:lnTo>
                    <a:lnTo>
                      <a:pt x="178" y="896"/>
                    </a:lnTo>
                    <a:lnTo>
                      <a:pt x="176" y="898"/>
                    </a:lnTo>
                    <a:lnTo>
                      <a:pt x="174" y="898"/>
                    </a:lnTo>
                    <a:lnTo>
                      <a:pt x="172" y="896"/>
                    </a:lnTo>
                    <a:lnTo>
                      <a:pt x="170" y="896"/>
                    </a:lnTo>
                    <a:lnTo>
                      <a:pt x="170" y="894"/>
                    </a:lnTo>
                    <a:lnTo>
                      <a:pt x="170" y="890"/>
                    </a:lnTo>
                    <a:lnTo>
                      <a:pt x="168" y="888"/>
                    </a:lnTo>
                    <a:lnTo>
                      <a:pt x="166" y="888"/>
                    </a:lnTo>
                    <a:lnTo>
                      <a:pt x="166" y="886"/>
                    </a:lnTo>
                    <a:lnTo>
                      <a:pt x="164" y="886"/>
                    </a:lnTo>
                    <a:lnTo>
                      <a:pt x="162" y="884"/>
                    </a:lnTo>
                    <a:lnTo>
                      <a:pt x="160" y="884"/>
                    </a:lnTo>
                    <a:lnTo>
                      <a:pt x="158" y="882"/>
                    </a:lnTo>
                    <a:lnTo>
                      <a:pt x="156" y="884"/>
                    </a:lnTo>
                    <a:lnTo>
                      <a:pt x="152" y="884"/>
                    </a:lnTo>
                    <a:lnTo>
                      <a:pt x="148" y="886"/>
                    </a:lnTo>
                    <a:lnTo>
                      <a:pt x="140" y="886"/>
                    </a:lnTo>
                    <a:lnTo>
                      <a:pt x="124" y="894"/>
                    </a:lnTo>
                    <a:lnTo>
                      <a:pt x="120" y="896"/>
                    </a:lnTo>
                    <a:lnTo>
                      <a:pt x="118" y="896"/>
                    </a:lnTo>
                    <a:lnTo>
                      <a:pt x="116" y="898"/>
                    </a:lnTo>
                    <a:lnTo>
                      <a:pt x="112" y="896"/>
                    </a:lnTo>
                    <a:lnTo>
                      <a:pt x="108" y="898"/>
                    </a:lnTo>
                    <a:lnTo>
                      <a:pt x="100" y="898"/>
                    </a:lnTo>
                    <a:lnTo>
                      <a:pt x="96" y="894"/>
                    </a:lnTo>
                    <a:lnTo>
                      <a:pt x="92" y="894"/>
                    </a:lnTo>
                    <a:lnTo>
                      <a:pt x="74" y="884"/>
                    </a:lnTo>
                    <a:lnTo>
                      <a:pt x="74" y="880"/>
                    </a:lnTo>
                    <a:lnTo>
                      <a:pt x="74" y="878"/>
                    </a:lnTo>
                    <a:lnTo>
                      <a:pt x="72" y="878"/>
                    </a:lnTo>
                    <a:lnTo>
                      <a:pt x="68" y="880"/>
                    </a:lnTo>
                    <a:lnTo>
                      <a:pt x="66" y="880"/>
                    </a:lnTo>
                    <a:lnTo>
                      <a:pt x="64" y="882"/>
                    </a:lnTo>
                    <a:lnTo>
                      <a:pt x="62" y="880"/>
                    </a:lnTo>
                    <a:lnTo>
                      <a:pt x="58" y="874"/>
                    </a:lnTo>
                    <a:lnTo>
                      <a:pt x="54" y="872"/>
                    </a:lnTo>
                    <a:lnTo>
                      <a:pt x="54" y="870"/>
                    </a:lnTo>
                    <a:lnTo>
                      <a:pt x="54" y="870"/>
                    </a:lnTo>
                    <a:lnTo>
                      <a:pt x="56" y="870"/>
                    </a:lnTo>
                    <a:lnTo>
                      <a:pt x="58" y="868"/>
                    </a:lnTo>
                    <a:lnTo>
                      <a:pt x="58" y="864"/>
                    </a:lnTo>
                    <a:lnTo>
                      <a:pt x="56" y="864"/>
                    </a:lnTo>
                    <a:lnTo>
                      <a:pt x="58" y="860"/>
                    </a:lnTo>
                    <a:lnTo>
                      <a:pt x="58" y="858"/>
                    </a:lnTo>
                    <a:lnTo>
                      <a:pt x="58" y="854"/>
                    </a:lnTo>
                    <a:lnTo>
                      <a:pt x="48" y="846"/>
                    </a:lnTo>
                    <a:lnTo>
                      <a:pt x="46" y="846"/>
                    </a:lnTo>
                    <a:lnTo>
                      <a:pt x="42" y="848"/>
                    </a:lnTo>
                    <a:lnTo>
                      <a:pt x="42" y="848"/>
                    </a:lnTo>
                    <a:lnTo>
                      <a:pt x="42" y="840"/>
                    </a:lnTo>
                    <a:lnTo>
                      <a:pt x="42" y="840"/>
                    </a:lnTo>
                    <a:lnTo>
                      <a:pt x="38" y="840"/>
                    </a:lnTo>
                    <a:lnTo>
                      <a:pt x="34" y="838"/>
                    </a:lnTo>
                    <a:lnTo>
                      <a:pt x="32" y="838"/>
                    </a:lnTo>
                    <a:lnTo>
                      <a:pt x="24" y="838"/>
                    </a:lnTo>
                    <a:lnTo>
                      <a:pt x="18" y="836"/>
                    </a:lnTo>
                    <a:lnTo>
                      <a:pt x="20" y="834"/>
                    </a:lnTo>
                    <a:lnTo>
                      <a:pt x="18" y="832"/>
                    </a:lnTo>
                    <a:lnTo>
                      <a:pt x="16" y="830"/>
                    </a:lnTo>
                    <a:lnTo>
                      <a:pt x="14" y="828"/>
                    </a:lnTo>
                    <a:lnTo>
                      <a:pt x="20" y="824"/>
                    </a:lnTo>
                    <a:lnTo>
                      <a:pt x="22" y="824"/>
                    </a:lnTo>
                    <a:lnTo>
                      <a:pt x="24" y="826"/>
                    </a:lnTo>
                    <a:lnTo>
                      <a:pt x="26" y="826"/>
                    </a:lnTo>
                    <a:lnTo>
                      <a:pt x="24" y="826"/>
                    </a:lnTo>
                    <a:lnTo>
                      <a:pt x="28" y="828"/>
                    </a:lnTo>
                    <a:lnTo>
                      <a:pt x="30" y="828"/>
                    </a:lnTo>
                    <a:lnTo>
                      <a:pt x="34" y="810"/>
                    </a:lnTo>
                    <a:lnTo>
                      <a:pt x="30" y="796"/>
                    </a:lnTo>
                    <a:lnTo>
                      <a:pt x="30" y="786"/>
                    </a:lnTo>
                    <a:lnTo>
                      <a:pt x="28" y="780"/>
                    </a:lnTo>
                    <a:lnTo>
                      <a:pt x="18" y="778"/>
                    </a:lnTo>
                    <a:lnTo>
                      <a:pt x="6" y="780"/>
                    </a:lnTo>
                    <a:lnTo>
                      <a:pt x="0" y="776"/>
                    </a:lnTo>
                    <a:lnTo>
                      <a:pt x="0" y="766"/>
                    </a:lnTo>
                    <a:lnTo>
                      <a:pt x="0" y="758"/>
                    </a:lnTo>
                    <a:lnTo>
                      <a:pt x="8" y="742"/>
                    </a:lnTo>
                    <a:lnTo>
                      <a:pt x="8" y="736"/>
                    </a:lnTo>
                    <a:lnTo>
                      <a:pt x="16" y="726"/>
                    </a:lnTo>
                    <a:lnTo>
                      <a:pt x="32" y="722"/>
                    </a:lnTo>
                    <a:lnTo>
                      <a:pt x="36" y="720"/>
                    </a:lnTo>
                    <a:lnTo>
                      <a:pt x="40" y="720"/>
                    </a:lnTo>
                    <a:lnTo>
                      <a:pt x="44" y="714"/>
                    </a:lnTo>
                    <a:lnTo>
                      <a:pt x="50" y="716"/>
                    </a:lnTo>
                    <a:lnTo>
                      <a:pt x="58" y="714"/>
                    </a:lnTo>
                    <a:lnTo>
                      <a:pt x="62" y="714"/>
                    </a:lnTo>
                    <a:lnTo>
                      <a:pt x="66" y="722"/>
                    </a:lnTo>
                    <a:lnTo>
                      <a:pt x="84" y="722"/>
                    </a:lnTo>
                    <a:lnTo>
                      <a:pt x="92" y="718"/>
                    </a:lnTo>
                    <a:lnTo>
                      <a:pt x="96" y="710"/>
                    </a:lnTo>
                    <a:lnTo>
                      <a:pt x="102" y="704"/>
                    </a:lnTo>
                    <a:lnTo>
                      <a:pt x="142" y="700"/>
                    </a:lnTo>
                    <a:lnTo>
                      <a:pt x="156" y="688"/>
                    </a:lnTo>
                    <a:lnTo>
                      <a:pt x="200" y="670"/>
                    </a:lnTo>
                    <a:lnTo>
                      <a:pt x="204" y="664"/>
                    </a:lnTo>
                    <a:lnTo>
                      <a:pt x="204" y="650"/>
                    </a:lnTo>
                    <a:lnTo>
                      <a:pt x="206" y="646"/>
                    </a:lnTo>
                    <a:lnTo>
                      <a:pt x="210" y="642"/>
                    </a:lnTo>
                    <a:lnTo>
                      <a:pt x="210" y="636"/>
                    </a:lnTo>
                    <a:lnTo>
                      <a:pt x="218" y="630"/>
                    </a:lnTo>
                    <a:lnTo>
                      <a:pt x="218" y="624"/>
                    </a:lnTo>
                    <a:lnTo>
                      <a:pt x="204" y="574"/>
                    </a:lnTo>
                    <a:lnTo>
                      <a:pt x="200" y="570"/>
                    </a:lnTo>
                    <a:lnTo>
                      <a:pt x="206" y="566"/>
                    </a:lnTo>
                    <a:lnTo>
                      <a:pt x="262" y="558"/>
                    </a:lnTo>
                    <a:lnTo>
                      <a:pt x="266" y="556"/>
                    </a:lnTo>
                    <a:lnTo>
                      <a:pt x="262" y="542"/>
                    </a:lnTo>
                    <a:lnTo>
                      <a:pt x="284" y="488"/>
                    </a:lnTo>
                    <a:lnTo>
                      <a:pt x="294" y="490"/>
                    </a:lnTo>
                    <a:lnTo>
                      <a:pt x="298" y="492"/>
                    </a:lnTo>
                    <a:lnTo>
                      <a:pt x="308" y="496"/>
                    </a:lnTo>
                    <a:lnTo>
                      <a:pt x="324" y="494"/>
                    </a:lnTo>
                    <a:lnTo>
                      <a:pt x="334" y="500"/>
                    </a:lnTo>
                    <a:lnTo>
                      <a:pt x="340" y="494"/>
                    </a:lnTo>
                    <a:lnTo>
                      <a:pt x="350" y="492"/>
                    </a:lnTo>
                    <a:lnTo>
                      <a:pt x="352" y="454"/>
                    </a:lnTo>
                    <a:lnTo>
                      <a:pt x="356" y="444"/>
                    </a:lnTo>
                    <a:lnTo>
                      <a:pt x="364" y="446"/>
                    </a:lnTo>
                    <a:lnTo>
                      <a:pt x="374" y="442"/>
                    </a:lnTo>
                    <a:lnTo>
                      <a:pt x="380" y="434"/>
                    </a:lnTo>
                    <a:lnTo>
                      <a:pt x="384" y="426"/>
                    </a:lnTo>
                    <a:lnTo>
                      <a:pt x="396" y="428"/>
                    </a:lnTo>
                    <a:lnTo>
                      <a:pt x="404" y="422"/>
                    </a:lnTo>
                    <a:lnTo>
                      <a:pt x="406" y="422"/>
                    </a:lnTo>
                    <a:lnTo>
                      <a:pt x="406" y="422"/>
                    </a:lnTo>
                    <a:lnTo>
                      <a:pt x="412" y="438"/>
                    </a:lnTo>
                    <a:lnTo>
                      <a:pt x="428" y="448"/>
                    </a:lnTo>
                    <a:lnTo>
                      <a:pt x="434" y="456"/>
                    </a:lnTo>
                    <a:lnTo>
                      <a:pt x="440" y="460"/>
                    </a:lnTo>
                    <a:lnTo>
                      <a:pt x="444" y="456"/>
                    </a:lnTo>
                    <a:lnTo>
                      <a:pt x="452" y="456"/>
                    </a:lnTo>
                    <a:lnTo>
                      <a:pt x="458" y="460"/>
                    </a:lnTo>
                    <a:lnTo>
                      <a:pt x="466" y="460"/>
                    </a:lnTo>
                    <a:lnTo>
                      <a:pt x="488" y="502"/>
                    </a:lnTo>
                    <a:lnTo>
                      <a:pt x="492" y="532"/>
                    </a:lnTo>
                    <a:lnTo>
                      <a:pt x="490" y="540"/>
                    </a:lnTo>
                    <a:lnTo>
                      <a:pt x="490" y="546"/>
                    </a:lnTo>
                    <a:lnTo>
                      <a:pt x="494" y="548"/>
                    </a:lnTo>
                    <a:lnTo>
                      <a:pt x="540" y="554"/>
                    </a:lnTo>
                    <a:lnTo>
                      <a:pt x="546" y="552"/>
                    </a:lnTo>
                    <a:lnTo>
                      <a:pt x="552" y="550"/>
                    </a:lnTo>
                    <a:lnTo>
                      <a:pt x="612" y="566"/>
                    </a:lnTo>
                    <a:lnTo>
                      <a:pt x="618" y="566"/>
                    </a:lnTo>
                    <a:lnTo>
                      <a:pt x="668" y="614"/>
                    </a:lnTo>
                    <a:lnTo>
                      <a:pt x="676" y="616"/>
                    </a:lnTo>
                    <a:lnTo>
                      <a:pt x="770" y="592"/>
                    </a:lnTo>
                    <a:lnTo>
                      <a:pt x="802" y="594"/>
                    </a:lnTo>
                    <a:lnTo>
                      <a:pt x="816" y="602"/>
                    </a:lnTo>
                    <a:lnTo>
                      <a:pt x="870" y="608"/>
                    </a:lnTo>
                    <a:lnTo>
                      <a:pt x="884" y="606"/>
                    </a:lnTo>
                    <a:lnTo>
                      <a:pt x="888" y="606"/>
                    </a:lnTo>
                    <a:lnTo>
                      <a:pt x="894" y="608"/>
                    </a:lnTo>
                    <a:lnTo>
                      <a:pt x="900" y="610"/>
                    </a:lnTo>
                    <a:lnTo>
                      <a:pt x="906" y="606"/>
                    </a:lnTo>
                    <a:lnTo>
                      <a:pt x="914" y="596"/>
                    </a:lnTo>
                    <a:lnTo>
                      <a:pt x="938" y="580"/>
                    </a:lnTo>
                    <a:lnTo>
                      <a:pt x="940" y="576"/>
                    </a:lnTo>
                    <a:lnTo>
                      <a:pt x="970" y="556"/>
                    </a:lnTo>
                    <a:lnTo>
                      <a:pt x="984" y="554"/>
                    </a:lnTo>
                    <a:lnTo>
                      <a:pt x="990" y="548"/>
                    </a:lnTo>
                    <a:lnTo>
                      <a:pt x="1006" y="548"/>
                    </a:lnTo>
                    <a:lnTo>
                      <a:pt x="1008" y="544"/>
                    </a:lnTo>
                    <a:lnTo>
                      <a:pt x="1022" y="540"/>
                    </a:lnTo>
                    <a:lnTo>
                      <a:pt x="1046" y="512"/>
                    </a:lnTo>
                    <a:lnTo>
                      <a:pt x="1048" y="504"/>
                    </a:lnTo>
                    <a:lnTo>
                      <a:pt x="1066" y="470"/>
                    </a:lnTo>
                    <a:lnTo>
                      <a:pt x="1064" y="464"/>
                    </a:lnTo>
                    <a:lnTo>
                      <a:pt x="1048" y="456"/>
                    </a:lnTo>
                    <a:lnTo>
                      <a:pt x="1046" y="448"/>
                    </a:lnTo>
                    <a:lnTo>
                      <a:pt x="1050" y="428"/>
                    </a:lnTo>
                    <a:lnTo>
                      <a:pt x="1058" y="420"/>
                    </a:lnTo>
                    <a:lnTo>
                      <a:pt x="1066" y="420"/>
                    </a:lnTo>
                    <a:lnTo>
                      <a:pt x="1074" y="424"/>
                    </a:lnTo>
                    <a:lnTo>
                      <a:pt x="1094" y="418"/>
                    </a:lnTo>
                    <a:lnTo>
                      <a:pt x="1102" y="406"/>
                    </a:lnTo>
                    <a:lnTo>
                      <a:pt x="1112" y="380"/>
                    </a:lnTo>
                    <a:lnTo>
                      <a:pt x="1122" y="374"/>
                    </a:lnTo>
                    <a:lnTo>
                      <a:pt x="1130" y="364"/>
                    </a:lnTo>
                    <a:lnTo>
                      <a:pt x="1144" y="320"/>
                    </a:lnTo>
                    <a:lnTo>
                      <a:pt x="1182" y="294"/>
                    </a:lnTo>
                    <a:lnTo>
                      <a:pt x="1200" y="288"/>
                    </a:lnTo>
                    <a:lnTo>
                      <a:pt x="1202" y="284"/>
                    </a:lnTo>
                    <a:lnTo>
                      <a:pt x="1200" y="280"/>
                    </a:lnTo>
                    <a:lnTo>
                      <a:pt x="1192" y="278"/>
                    </a:lnTo>
                    <a:lnTo>
                      <a:pt x="1188" y="270"/>
                    </a:lnTo>
                    <a:lnTo>
                      <a:pt x="1182" y="264"/>
                    </a:lnTo>
                    <a:lnTo>
                      <a:pt x="1164" y="262"/>
                    </a:lnTo>
                    <a:lnTo>
                      <a:pt x="1150" y="254"/>
                    </a:lnTo>
                    <a:lnTo>
                      <a:pt x="1138" y="278"/>
                    </a:lnTo>
                    <a:lnTo>
                      <a:pt x="1118" y="292"/>
                    </a:lnTo>
                    <a:lnTo>
                      <a:pt x="1100" y="296"/>
                    </a:lnTo>
                    <a:lnTo>
                      <a:pt x="1094" y="292"/>
                    </a:lnTo>
                    <a:lnTo>
                      <a:pt x="1084" y="274"/>
                    </a:lnTo>
                    <a:lnTo>
                      <a:pt x="1084" y="266"/>
                    </a:lnTo>
                    <a:lnTo>
                      <a:pt x="1072" y="244"/>
                    </a:lnTo>
                    <a:lnTo>
                      <a:pt x="1074" y="218"/>
                    </a:lnTo>
                    <a:lnTo>
                      <a:pt x="1076" y="212"/>
                    </a:lnTo>
                    <a:lnTo>
                      <a:pt x="1076" y="210"/>
                    </a:lnTo>
                    <a:lnTo>
                      <a:pt x="1114" y="208"/>
                    </a:lnTo>
                    <a:lnTo>
                      <a:pt x="1118" y="204"/>
                    </a:lnTo>
                    <a:lnTo>
                      <a:pt x="1134" y="174"/>
                    </a:lnTo>
                    <a:lnTo>
                      <a:pt x="1134" y="172"/>
                    </a:lnTo>
                    <a:lnTo>
                      <a:pt x="1130" y="168"/>
                    </a:lnTo>
                    <a:lnTo>
                      <a:pt x="1128" y="162"/>
                    </a:lnTo>
                    <a:lnTo>
                      <a:pt x="1130" y="150"/>
                    </a:lnTo>
                    <a:lnTo>
                      <a:pt x="1122" y="118"/>
                    </a:lnTo>
                    <a:lnTo>
                      <a:pt x="1126" y="112"/>
                    </a:lnTo>
                    <a:lnTo>
                      <a:pt x="1130" y="96"/>
                    </a:lnTo>
                    <a:lnTo>
                      <a:pt x="1128" y="94"/>
                    </a:lnTo>
                    <a:lnTo>
                      <a:pt x="1124" y="92"/>
                    </a:lnTo>
                    <a:lnTo>
                      <a:pt x="1118" y="82"/>
                    </a:lnTo>
                    <a:lnTo>
                      <a:pt x="1116" y="80"/>
                    </a:lnTo>
                    <a:lnTo>
                      <a:pt x="1106" y="90"/>
                    </a:lnTo>
                    <a:lnTo>
                      <a:pt x="1104" y="88"/>
                    </a:lnTo>
                    <a:lnTo>
                      <a:pt x="1102" y="82"/>
                    </a:lnTo>
                    <a:lnTo>
                      <a:pt x="1106" y="68"/>
                    </a:lnTo>
                    <a:lnTo>
                      <a:pt x="1106" y="62"/>
                    </a:lnTo>
                    <a:lnTo>
                      <a:pt x="1108" y="56"/>
                    </a:lnTo>
                    <a:lnTo>
                      <a:pt x="1154" y="14"/>
                    </a:lnTo>
                    <a:lnTo>
                      <a:pt x="1170" y="12"/>
                    </a:lnTo>
                    <a:lnTo>
                      <a:pt x="1178" y="14"/>
                    </a:lnTo>
                    <a:lnTo>
                      <a:pt x="1184" y="12"/>
                    </a:lnTo>
                    <a:lnTo>
                      <a:pt x="1190" y="6"/>
                    </a:lnTo>
                    <a:lnTo>
                      <a:pt x="1202" y="2"/>
                    </a:lnTo>
                    <a:lnTo>
                      <a:pt x="1218" y="10"/>
                    </a:lnTo>
                    <a:lnTo>
                      <a:pt x="1220" y="14"/>
                    </a:lnTo>
                    <a:lnTo>
                      <a:pt x="1230" y="14"/>
                    </a:lnTo>
                    <a:lnTo>
                      <a:pt x="1232" y="16"/>
                    </a:lnTo>
                    <a:lnTo>
                      <a:pt x="1232" y="14"/>
                    </a:lnTo>
                    <a:lnTo>
                      <a:pt x="1302" y="64"/>
                    </a:lnTo>
                    <a:lnTo>
                      <a:pt x="1302" y="66"/>
                    </a:lnTo>
                    <a:lnTo>
                      <a:pt x="1302" y="66"/>
                    </a:lnTo>
                    <a:lnTo>
                      <a:pt x="1314" y="82"/>
                    </a:lnTo>
                    <a:lnTo>
                      <a:pt x="1322" y="82"/>
                    </a:lnTo>
                    <a:lnTo>
                      <a:pt x="1330" y="76"/>
                    </a:lnTo>
                    <a:lnTo>
                      <a:pt x="1336" y="68"/>
                    </a:lnTo>
                    <a:lnTo>
                      <a:pt x="1344" y="66"/>
                    </a:lnTo>
                    <a:lnTo>
                      <a:pt x="1352" y="62"/>
                    </a:lnTo>
                    <a:lnTo>
                      <a:pt x="1360" y="60"/>
                    </a:lnTo>
                    <a:lnTo>
                      <a:pt x="1380" y="62"/>
                    </a:lnTo>
                    <a:lnTo>
                      <a:pt x="1388" y="60"/>
                    </a:lnTo>
                    <a:lnTo>
                      <a:pt x="1392" y="58"/>
                    </a:lnTo>
                    <a:lnTo>
                      <a:pt x="1396" y="58"/>
                    </a:lnTo>
                    <a:lnTo>
                      <a:pt x="1398" y="60"/>
                    </a:lnTo>
                    <a:lnTo>
                      <a:pt x="1398" y="60"/>
                    </a:lnTo>
                    <a:lnTo>
                      <a:pt x="1402" y="66"/>
                    </a:lnTo>
                    <a:lnTo>
                      <a:pt x="1408" y="66"/>
                    </a:lnTo>
                    <a:lnTo>
                      <a:pt x="1418" y="80"/>
                    </a:lnTo>
                    <a:lnTo>
                      <a:pt x="1432" y="86"/>
                    </a:lnTo>
                    <a:lnTo>
                      <a:pt x="1440" y="80"/>
                    </a:lnTo>
                    <a:lnTo>
                      <a:pt x="1448" y="76"/>
                    </a:lnTo>
                    <a:lnTo>
                      <a:pt x="1454" y="70"/>
                    </a:lnTo>
                    <a:lnTo>
                      <a:pt x="1464" y="36"/>
                    </a:lnTo>
                    <a:lnTo>
                      <a:pt x="1470" y="30"/>
                    </a:lnTo>
                    <a:lnTo>
                      <a:pt x="1484" y="0"/>
                    </a:lnTo>
                    <a:lnTo>
                      <a:pt x="1486" y="2"/>
                    </a:lnTo>
                    <a:lnTo>
                      <a:pt x="1486" y="8"/>
                    </a:lnTo>
                    <a:lnTo>
                      <a:pt x="1492" y="16"/>
                    </a:lnTo>
                    <a:lnTo>
                      <a:pt x="1500" y="20"/>
                    </a:lnTo>
                    <a:lnTo>
                      <a:pt x="1506" y="28"/>
                    </a:lnTo>
                    <a:lnTo>
                      <a:pt x="1504" y="44"/>
                    </a:lnTo>
                    <a:lnTo>
                      <a:pt x="1526" y="88"/>
                    </a:lnTo>
                    <a:lnTo>
                      <a:pt x="1532" y="122"/>
                    </a:lnTo>
                    <a:lnTo>
                      <a:pt x="1538" y="132"/>
                    </a:lnTo>
                    <a:lnTo>
                      <a:pt x="1536" y="138"/>
                    </a:lnTo>
                    <a:lnTo>
                      <a:pt x="1532" y="138"/>
                    </a:lnTo>
                    <a:lnTo>
                      <a:pt x="1510" y="150"/>
                    </a:lnTo>
                    <a:lnTo>
                      <a:pt x="1504" y="182"/>
                    </a:lnTo>
                    <a:lnTo>
                      <a:pt x="1512" y="184"/>
                    </a:lnTo>
                    <a:lnTo>
                      <a:pt x="1540" y="220"/>
                    </a:lnTo>
                    <a:lnTo>
                      <a:pt x="1542" y="234"/>
                    </a:lnTo>
                    <a:lnTo>
                      <a:pt x="1538" y="248"/>
                    </a:lnTo>
                    <a:lnTo>
                      <a:pt x="1544" y="256"/>
                    </a:lnTo>
                    <a:lnTo>
                      <a:pt x="1540" y="258"/>
                    </a:lnTo>
                    <a:lnTo>
                      <a:pt x="1532" y="254"/>
                    </a:lnTo>
                    <a:lnTo>
                      <a:pt x="1524" y="252"/>
                    </a:lnTo>
                    <a:lnTo>
                      <a:pt x="1524" y="260"/>
                    </a:lnTo>
                    <a:lnTo>
                      <a:pt x="1526" y="280"/>
                    </a:lnTo>
                    <a:lnTo>
                      <a:pt x="1520" y="300"/>
                    </a:lnTo>
                    <a:lnTo>
                      <a:pt x="1504" y="316"/>
                    </a:lnTo>
                    <a:lnTo>
                      <a:pt x="1504" y="322"/>
                    </a:lnTo>
                    <a:lnTo>
                      <a:pt x="1516" y="334"/>
                    </a:lnTo>
                    <a:lnTo>
                      <a:pt x="1498" y="348"/>
                    </a:lnTo>
                    <a:lnTo>
                      <a:pt x="1490" y="348"/>
                    </a:lnTo>
                    <a:lnTo>
                      <a:pt x="1480" y="352"/>
                    </a:lnTo>
                    <a:lnTo>
                      <a:pt x="1458" y="414"/>
                    </a:lnTo>
                    <a:lnTo>
                      <a:pt x="1454" y="420"/>
                    </a:lnTo>
                    <a:lnTo>
                      <a:pt x="1450" y="446"/>
                    </a:lnTo>
                    <a:lnTo>
                      <a:pt x="1450" y="448"/>
                    </a:lnTo>
                    <a:lnTo>
                      <a:pt x="1432" y="466"/>
                    </a:lnTo>
                    <a:lnTo>
                      <a:pt x="1428" y="466"/>
                    </a:lnTo>
                    <a:lnTo>
                      <a:pt x="1422" y="478"/>
                    </a:lnTo>
                    <a:lnTo>
                      <a:pt x="1410" y="494"/>
                    </a:lnTo>
                    <a:lnTo>
                      <a:pt x="1408" y="500"/>
                    </a:lnTo>
                    <a:lnTo>
                      <a:pt x="1408" y="508"/>
                    </a:lnTo>
                    <a:lnTo>
                      <a:pt x="1404" y="516"/>
                    </a:lnTo>
                    <a:lnTo>
                      <a:pt x="1400" y="518"/>
                    </a:lnTo>
                    <a:lnTo>
                      <a:pt x="1398" y="522"/>
                    </a:lnTo>
                    <a:lnTo>
                      <a:pt x="1392" y="532"/>
                    </a:lnTo>
                    <a:lnTo>
                      <a:pt x="1388" y="532"/>
                    </a:lnTo>
                    <a:lnTo>
                      <a:pt x="1388" y="522"/>
                    </a:lnTo>
                    <a:lnTo>
                      <a:pt x="1394" y="518"/>
                    </a:lnTo>
                    <a:lnTo>
                      <a:pt x="1392" y="504"/>
                    </a:lnTo>
                    <a:lnTo>
                      <a:pt x="1380" y="504"/>
                    </a:lnTo>
                    <a:lnTo>
                      <a:pt x="1382" y="500"/>
                    </a:lnTo>
                    <a:lnTo>
                      <a:pt x="1380" y="494"/>
                    </a:lnTo>
                    <a:lnTo>
                      <a:pt x="1384" y="486"/>
                    </a:lnTo>
                    <a:lnTo>
                      <a:pt x="1386" y="458"/>
                    </a:lnTo>
                    <a:lnTo>
                      <a:pt x="1384" y="456"/>
                    </a:lnTo>
                    <a:lnTo>
                      <a:pt x="1374" y="452"/>
                    </a:lnTo>
                    <a:lnTo>
                      <a:pt x="1370" y="448"/>
                    </a:lnTo>
                    <a:lnTo>
                      <a:pt x="1366" y="446"/>
                    </a:lnTo>
                    <a:lnTo>
                      <a:pt x="1366" y="450"/>
                    </a:lnTo>
                    <a:lnTo>
                      <a:pt x="1354" y="456"/>
                    </a:lnTo>
                    <a:lnTo>
                      <a:pt x="1352" y="460"/>
                    </a:lnTo>
                    <a:lnTo>
                      <a:pt x="1344" y="494"/>
                    </a:lnTo>
                    <a:lnTo>
                      <a:pt x="1326" y="520"/>
                    </a:lnTo>
                    <a:lnTo>
                      <a:pt x="1328" y="536"/>
                    </a:lnTo>
                    <a:lnTo>
                      <a:pt x="1322" y="548"/>
                    </a:lnTo>
                    <a:lnTo>
                      <a:pt x="1306" y="560"/>
                    </a:lnTo>
                    <a:lnTo>
                      <a:pt x="1302" y="560"/>
                    </a:lnTo>
                    <a:lnTo>
                      <a:pt x="1296" y="562"/>
                    </a:lnTo>
                    <a:lnTo>
                      <a:pt x="1294" y="568"/>
                    </a:lnTo>
                    <a:lnTo>
                      <a:pt x="1296" y="590"/>
                    </a:lnTo>
                    <a:lnTo>
                      <a:pt x="1314" y="598"/>
                    </a:lnTo>
                    <a:lnTo>
                      <a:pt x="1318" y="598"/>
                    </a:lnTo>
                    <a:lnTo>
                      <a:pt x="1322" y="596"/>
                    </a:lnTo>
                    <a:lnTo>
                      <a:pt x="1326" y="598"/>
                    </a:lnTo>
                    <a:lnTo>
                      <a:pt x="1330" y="596"/>
                    </a:lnTo>
                    <a:lnTo>
                      <a:pt x="1336" y="602"/>
                    </a:lnTo>
                    <a:lnTo>
                      <a:pt x="1342" y="602"/>
                    </a:lnTo>
                    <a:lnTo>
                      <a:pt x="1348" y="612"/>
                    </a:lnTo>
                    <a:lnTo>
                      <a:pt x="1354" y="614"/>
                    </a:lnTo>
                    <a:lnTo>
                      <a:pt x="1370" y="614"/>
                    </a:lnTo>
                    <a:lnTo>
                      <a:pt x="1378" y="610"/>
                    </a:lnTo>
                    <a:lnTo>
                      <a:pt x="1380" y="598"/>
                    </a:lnTo>
                    <a:lnTo>
                      <a:pt x="1384" y="590"/>
                    </a:lnTo>
                    <a:lnTo>
                      <a:pt x="1384" y="584"/>
                    </a:lnTo>
                    <a:lnTo>
                      <a:pt x="1396" y="570"/>
                    </a:lnTo>
                    <a:lnTo>
                      <a:pt x="1404" y="572"/>
                    </a:lnTo>
                    <a:lnTo>
                      <a:pt x="1410" y="574"/>
                    </a:lnTo>
                    <a:lnTo>
                      <a:pt x="1416" y="572"/>
                    </a:lnTo>
                    <a:lnTo>
                      <a:pt x="1422" y="574"/>
                    </a:lnTo>
                    <a:lnTo>
                      <a:pt x="1432" y="568"/>
                    </a:lnTo>
                    <a:lnTo>
                      <a:pt x="1434" y="562"/>
                    </a:lnTo>
                    <a:lnTo>
                      <a:pt x="1442" y="562"/>
                    </a:lnTo>
                    <a:lnTo>
                      <a:pt x="1450" y="560"/>
                    </a:lnTo>
                    <a:lnTo>
                      <a:pt x="1452" y="560"/>
                    </a:lnTo>
                    <a:lnTo>
                      <a:pt x="1454" y="568"/>
                    </a:lnTo>
                    <a:lnTo>
                      <a:pt x="1454" y="574"/>
                    </a:lnTo>
                    <a:lnTo>
                      <a:pt x="1454" y="576"/>
                    </a:lnTo>
                    <a:lnTo>
                      <a:pt x="1452" y="584"/>
                    </a:lnTo>
                    <a:lnTo>
                      <a:pt x="1450" y="584"/>
                    </a:lnTo>
                    <a:lnTo>
                      <a:pt x="1446" y="580"/>
                    </a:lnTo>
                    <a:lnTo>
                      <a:pt x="1444" y="584"/>
                    </a:lnTo>
                    <a:lnTo>
                      <a:pt x="1440" y="584"/>
                    </a:lnTo>
                    <a:lnTo>
                      <a:pt x="1436" y="594"/>
                    </a:lnTo>
                    <a:lnTo>
                      <a:pt x="1426" y="602"/>
                    </a:lnTo>
                    <a:lnTo>
                      <a:pt x="1422" y="608"/>
                    </a:lnTo>
                    <a:lnTo>
                      <a:pt x="1416" y="612"/>
                    </a:lnTo>
                    <a:lnTo>
                      <a:pt x="1420" y="618"/>
                    </a:lnTo>
                    <a:lnTo>
                      <a:pt x="1418" y="618"/>
                    </a:lnTo>
                    <a:lnTo>
                      <a:pt x="1418" y="622"/>
                    </a:lnTo>
                    <a:lnTo>
                      <a:pt x="1418" y="632"/>
                    </a:lnTo>
                    <a:lnTo>
                      <a:pt x="1412" y="636"/>
                    </a:lnTo>
                    <a:lnTo>
                      <a:pt x="1408" y="632"/>
                    </a:lnTo>
                    <a:lnTo>
                      <a:pt x="1404" y="634"/>
                    </a:lnTo>
                    <a:lnTo>
                      <a:pt x="1402" y="640"/>
                    </a:lnTo>
                    <a:lnTo>
                      <a:pt x="1408" y="642"/>
                    </a:lnTo>
                    <a:lnTo>
                      <a:pt x="1406" y="654"/>
                    </a:lnTo>
                    <a:lnTo>
                      <a:pt x="1400" y="664"/>
                    </a:lnTo>
                    <a:lnTo>
                      <a:pt x="1396" y="696"/>
                    </a:lnTo>
                    <a:lnTo>
                      <a:pt x="1400" y="700"/>
                    </a:lnTo>
                    <a:lnTo>
                      <a:pt x="1406" y="698"/>
                    </a:lnTo>
                    <a:lnTo>
                      <a:pt x="1412" y="700"/>
                    </a:lnTo>
                    <a:lnTo>
                      <a:pt x="1434" y="700"/>
                    </a:lnTo>
                    <a:lnTo>
                      <a:pt x="1440" y="704"/>
                    </a:lnTo>
                    <a:lnTo>
                      <a:pt x="1446" y="712"/>
                    </a:lnTo>
                    <a:lnTo>
                      <a:pt x="1452" y="714"/>
                    </a:lnTo>
                    <a:lnTo>
                      <a:pt x="1480" y="748"/>
                    </a:lnTo>
                    <a:lnTo>
                      <a:pt x="1488" y="752"/>
                    </a:lnTo>
                    <a:lnTo>
                      <a:pt x="1496" y="752"/>
                    </a:lnTo>
                    <a:lnTo>
                      <a:pt x="1500" y="758"/>
                    </a:lnTo>
                    <a:lnTo>
                      <a:pt x="1512" y="762"/>
                    </a:lnTo>
                    <a:lnTo>
                      <a:pt x="1524" y="768"/>
                    </a:lnTo>
                    <a:lnTo>
                      <a:pt x="1524" y="770"/>
                    </a:lnTo>
                    <a:lnTo>
                      <a:pt x="1502" y="772"/>
                    </a:lnTo>
                    <a:lnTo>
                      <a:pt x="1496" y="774"/>
                    </a:lnTo>
                    <a:lnTo>
                      <a:pt x="1480" y="774"/>
                    </a:lnTo>
                    <a:lnTo>
                      <a:pt x="1466" y="784"/>
                    </a:lnTo>
                    <a:lnTo>
                      <a:pt x="1468" y="788"/>
                    </a:lnTo>
                    <a:lnTo>
                      <a:pt x="1480" y="778"/>
                    </a:lnTo>
                    <a:lnTo>
                      <a:pt x="1484" y="778"/>
                    </a:lnTo>
                    <a:lnTo>
                      <a:pt x="1488" y="782"/>
                    </a:lnTo>
                    <a:lnTo>
                      <a:pt x="1494" y="780"/>
                    </a:lnTo>
                    <a:lnTo>
                      <a:pt x="1502" y="782"/>
                    </a:lnTo>
                    <a:lnTo>
                      <a:pt x="1512" y="786"/>
                    </a:lnTo>
                    <a:lnTo>
                      <a:pt x="1520" y="786"/>
                    </a:lnTo>
                    <a:lnTo>
                      <a:pt x="1536" y="794"/>
                    </a:lnTo>
                    <a:lnTo>
                      <a:pt x="1536" y="798"/>
                    </a:lnTo>
                    <a:lnTo>
                      <a:pt x="1528" y="802"/>
                    </a:lnTo>
                    <a:lnTo>
                      <a:pt x="1524" y="810"/>
                    </a:lnTo>
                    <a:lnTo>
                      <a:pt x="1516" y="820"/>
                    </a:lnTo>
                    <a:lnTo>
                      <a:pt x="1516" y="824"/>
                    </a:lnTo>
                    <a:lnTo>
                      <a:pt x="1510" y="832"/>
                    </a:lnTo>
                    <a:lnTo>
                      <a:pt x="1496" y="840"/>
                    </a:lnTo>
                    <a:lnTo>
                      <a:pt x="1490" y="846"/>
                    </a:lnTo>
                    <a:lnTo>
                      <a:pt x="1498" y="842"/>
                    </a:lnTo>
                    <a:lnTo>
                      <a:pt x="1512" y="840"/>
                    </a:lnTo>
                    <a:lnTo>
                      <a:pt x="1522" y="830"/>
                    </a:lnTo>
                    <a:lnTo>
                      <a:pt x="1528" y="828"/>
                    </a:lnTo>
                    <a:lnTo>
                      <a:pt x="1534" y="830"/>
                    </a:lnTo>
                    <a:lnTo>
                      <a:pt x="1538" y="834"/>
                    </a:lnTo>
                    <a:lnTo>
                      <a:pt x="1546" y="832"/>
                    </a:lnTo>
                    <a:lnTo>
                      <a:pt x="1550" y="830"/>
                    </a:lnTo>
                    <a:lnTo>
                      <a:pt x="1554" y="830"/>
                    </a:lnTo>
                    <a:lnTo>
                      <a:pt x="1542" y="852"/>
                    </a:lnTo>
                    <a:lnTo>
                      <a:pt x="1544" y="852"/>
                    </a:lnTo>
                    <a:lnTo>
                      <a:pt x="1552" y="844"/>
                    </a:lnTo>
                    <a:lnTo>
                      <a:pt x="1558" y="856"/>
                    </a:lnTo>
                    <a:lnTo>
                      <a:pt x="1556" y="856"/>
                    </a:lnTo>
                    <a:lnTo>
                      <a:pt x="1554" y="858"/>
                    </a:lnTo>
                    <a:lnTo>
                      <a:pt x="1548" y="864"/>
                    </a:lnTo>
                    <a:lnTo>
                      <a:pt x="1548" y="866"/>
                    </a:lnTo>
                    <a:lnTo>
                      <a:pt x="1554" y="870"/>
                    </a:lnTo>
                    <a:lnTo>
                      <a:pt x="1554" y="878"/>
                    </a:lnTo>
                    <a:lnTo>
                      <a:pt x="1554" y="882"/>
                    </a:lnTo>
                    <a:lnTo>
                      <a:pt x="1558" y="892"/>
                    </a:lnTo>
                    <a:lnTo>
                      <a:pt x="1558" y="902"/>
                    </a:lnTo>
                    <a:lnTo>
                      <a:pt x="1554" y="902"/>
                    </a:lnTo>
                    <a:lnTo>
                      <a:pt x="1550" y="900"/>
                    </a:lnTo>
                    <a:lnTo>
                      <a:pt x="1548" y="904"/>
                    </a:lnTo>
                    <a:lnTo>
                      <a:pt x="1540" y="938"/>
                    </a:lnTo>
                    <a:lnTo>
                      <a:pt x="1542" y="942"/>
                    </a:lnTo>
                    <a:lnTo>
                      <a:pt x="1540" y="956"/>
                    </a:lnTo>
                    <a:lnTo>
                      <a:pt x="1534" y="968"/>
                    </a:lnTo>
                    <a:lnTo>
                      <a:pt x="1534" y="976"/>
                    </a:lnTo>
                    <a:lnTo>
                      <a:pt x="1532" y="982"/>
                    </a:lnTo>
                    <a:lnTo>
                      <a:pt x="1530" y="982"/>
                    </a:lnTo>
                    <a:lnTo>
                      <a:pt x="1528" y="974"/>
                    </a:lnTo>
                    <a:lnTo>
                      <a:pt x="1522" y="976"/>
                    </a:lnTo>
                    <a:lnTo>
                      <a:pt x="1520" y="982"/>
                    </a:lnTo>
                    <a:lnTo>
                      <a:pt x="1528" y="990"/>
                    </a:lnTo>
                    <a:lnTo>
                      <a:pt x="1528" y="992"/>
                    </a:lnTo>
                    <a:lnTo>
                      <a:pt x="1528" y="1004"/>
                    </a:lnTo>
                    <a:lnTo>
                      <a:pt x="1530" y="1006"/>
                    </a:lnTo>
                    <a:lnTo>
                      <a:pt x="1530" y="1014"/>
                    </a:lnTo>
                    <a:lnTo>
                      <a:pt x="1528" y="1018"/>
                    </a:lnTo>
                    <a:lnTo>
                      <a:pt x="1528" y="1018"/>
                    </a:lnTo>
                    <a:lnTo>
                      <a:pt x="1528" y="1022"/>
                    </a:lnTo>
                    <a:lnTo>
                      <a:pt x="1530" y="1026"/>
                    </a:lnTo>
                    <a:lnTo>
                      <a:pt x="1530" y="1028"/>
                    </a:lnTo>
                    <a:lnTo>
                      <a:pt x="1526" y="1028"/>
                    </a:lnTo>
                    <a:lnTo>
                      <a:pt x="1524" y="1030"/>
                    </a:lnTo>
                    <a:lnTo>
                      <a:pt x="1522" y="1034"/>
                    </a:lnTo>
                    <a:lnTo>
                      <a:pt x="1524" y="1038"/>
                    </a:lnTo>
                    <a:lnTo>
                      <a:pt x="1524" y="1042"/>
                    </a:lnTo>
                    <a:lnTo>
                      <a:pt x="1520" y="1042"/>
                    </a:lnTo>
                    <a:lnTo>
                      <a:pt x="1516" y="1044"/>
                    </a:lnTo>
                    <a:lnTo>
                      <a:pt x="1516" y="1054"/>
                    </a:lnTo>
                    <a:lnTo>
                      <a:pt x="1514" y="1060"/>
                    </a:lnTo>
                    <a:lnTo>
                      <a:pt x="1514" y="1066"/>
                    </a:lnTo>
                    <a:lnTo>
                      <a:pt x="1512" y="1072"/>
                    </a:lnTo>
                    <a:lnTo>
                      <a:pt x="1502" y="1076"/>
                    </a:lnTo>
                    <a:lnTo>
                      <a:pt x="1496" y="1078"/>
                    </a:lnTo>
                    <a:lnTo>
                      <a:pt x="1492" y="1084"/>
                    </a:lnTo>
                    <a:lnTo>
                      <a:pt x="1494" y="1086"/>
                    </a:lnTo>
                    <a:lnTo>
                      <a:pt x="1496" y="1088"/>
                    </a:lnTo>
                    <a:lnTo>
                      <a:pt x="1496" y="1094"/>
                    </a:lnTo>
                    <a:lnTo>
                      <a:pt x="1490" y="1106"/>
                    </a:lnTo>
                    <a:lnTo>
                      <a:pt x="1488" y="1108"/>
                    </a:lnTo>
                    <a:lnTo>
                      <a:pt x="1488" y="1116"/>
                    </a:lnTo>
                    <a:lnTo>
                      <a:pt x="1484" y="1110"/>
                    </a:lnTo>
                    <a:lnTo>
                      <a:pt x="1482" y="1114"/>
                    </a:lnTo>
                    <a:lnTo>
                      <a:pt x="1482" y="1120"/>
                    </a:lnTo>
                    <a:lnTo>
                      <a:pt x="1480" y="1120"/>
                    </a:lnTo>
                    <a:lnTo>
                      <a:pt x="1478" y="1120"/>
                    </a:lnTo>
                    <a:lnTo>
                      <a:pt x="1472" y="1128"/>
                    </a:lnTo>
                    <a:lnTo>
                      <a:pt x="1470" y="1128"/>
                    </a:lnTo>
                    <a:lnTo>
                      <a:pt x="1466" y="1130"/>
                    </a:lnTo>
                    <a:lnTo>
                      <a:pt x="1458" y="1154"/>
                    </a:lnTo>
                    <a:lnTo>
                      <a:pt x="1438" y="1174"/>
                    </a:lnTo>
                    <a:lnTo>
                      <a:pt x="1428" y="1174"/>
                    </a:lnTo>
                    <a:lnTo>
                      <a:pt x="1426" y="1178"/>
                    </a:lnTo>
                    <a:lnTo>
                      <a:pt x="1426" y="1180"/>
                    </a:lnTo>
                    <a:lnTo>
                      <a:pt x="1422" y="1184"/>
                    </a:lnTo>
                    <a:lnTo>
                      <a:pt x="1418" y="1182"/>
                    </a:lnTo>
                    <a:lnTo>
                      <a:pt x="1418" y="1180"/>
                    </a:lnTo>
                    <a:lnTo>
                      <a:pt x="1412" y="1180"/>
                    </a:lnTo>
                    <a:lnTo>
                      <a:pt x="1408" y="1186"/>
                    </a:lnTo>
                    <a:lnTo>
                      <a:pt x="1404" y="1192"/>
                    </a:lnTo>
                    <a:lnTo>
                      <a:pt x="1400" y="1194"/>
                    </a:lnTo>
                    <a:lnTo>
                      <a:pt x="1398" y="1190"/>
                    </a:lnTo>
                    <a:lnTo>
                      <a:pt x="1398" y="1188"/>
                    </a:lnTo>
                    <a:lnTo>
                      <a:pt x="1392" y="1192"/>
                    </a:lnTo>
                    <a:lnTo>
                      <a:pt x="1394" y="1198"/>
                    </a:lnTo>
                    <a:lnTo>
                      <a:pt x="1394" y="1198"/>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67" name="Freeform 218"/>
              <p:cNvSpPr>
                <a:spLocks/>
              </p:cNvSpPr>
              <p:nvPr/>
            </p:nvSpPr>
            <p:spPr bwMode="auto">
              <a:xfrm>
                <a:off x="1715" y="2043"/>
                <a:ext cx="474" cy="346"/>
              </a:xfrm>
              <a:custGeom>
                <a:avLst/>
                <a:gdLst>
                  <a:gd name="T0" fmla="*/ 26 w 474"/>
                  <a:gd name="T1" fmla="*/ 132 h 346"/>
                  <a:gd name="T2" fmla="*/ 32 w 474"/>
                  <a:gd name="T3" fmla="*/ 120 h 346"/>
                  <a:gd name="T4" fmla="*/ 40 w 474"/>
                  <a:gd name="T5" fmla="*/ 108 h 346"/>
                  <a:gd name="T6" fmla="*/ 62 w 474"/>
                  <a:gd name="T7" fmla="*/ 106 h 346"/>
                  <a:gd name="T8" fmla="*/ 70 w 474"/>
                  <a:gd name="T9" fmla="*/ 100 h 346"/>
                  <a:gd name="T10" fmla="*/ 78 w 474"/>
                  <a:gd name="T11" fmla="*/ 100 h 346"/>
                  <a:gd name="T12" fmla="*/ 84 w 474"/>
                  <a:gd name="T13" fmla="*/ 98 h 346"/>
                  <a:gd name="T14" fmla="*/ 102 w 474"/>
                  <a:gd name="T15" fmla="*/ 116 h 346"/>
                  <a:gd name="T16" fmla="*/ 118 w 474"/>
                  <a:gd name="T17" fmla="*/ 122 h 346"/>
                  <a:gd name="T18" fmla="*/ 116 w 474"/>
                  <a:gd name="T19" fmla="*/ 134 h 346"/>
                  <a:gd name="T20" fmla="*/ 116 w 474"/>
                  <a:gd name="T21" fmla="*/ 140 h 346"/>
                  <a:gd name="T22" fmla="*/ 112 w 474"/>
                  <a:gd name="T23" fmla="*/ 150 h 346"/>
                  <a:gd name="T24" fmla="*/ 144 w 474"/>
                  <a:gd name="T25" fmla="*/ 170 h 346"/>
                  <a:gd name="T26" fmla="*/ 154 w 474"/>
                  <a:gd name="T27" fmla="*/ 166 h 346"/>
                  <a:gd name="T28" fmla="*/ 160 w 474"/>
                  <a:gd name="T29" fmla="*/ 190 h 346"/>
                  <a:gd name="T30" fmla="*/ 166 w 474"/>
                  <a:gd name="T31" fmla="*/ 200 h 346"/>
                  <a:gd name="T32" fmla="*/ 168 w 474"/>
                  <a:gd name="T33" fmla="*/ 224 h 346"/>
                  <a:gd name="T34" fmla="*/ 200 w 474"/>
                  <a:gd name="T35" fmla="*/ 262 h 346"/>
                  <a:gd name="T36" fmla="*/ 238 w 474"/>
                  <a:gd name="T37" fmla="*/ 300 h 346"/>
                  <a:gd name="T38" fmla="*/ 258 w 474"/>
                  <a:gd name="T39" fmla="*/ 306 h 346"/>
                  <a:gd name="T40" fmla="*/ 266 w 474"/>
                  <a:gd name="T41" fmla="*/ 316 h 346"/>
                  <a:gd name="T42" fmla="*/ 256 w 474"/>
                  <a:gd name="T43" fmla="*/ 338 h 346"/>
                  <a:gd name="T44" fmla="*/ 284 w 474"/>
                  <a:gd name="T45" fmla="*/ 344 h 346"/>
                  <a:gd name="T46" fmla="*/ 294 w 474"/>
                  <a:gd name="T47" fmla="*/ 346 h 346"/>
                  <a:gd name="T48" fmla="*/ 312 w 474"/>
                  <a:gd name="T49" fmla="*/ 324 h 346"/>
                  <a:gd name="T50" fmla="*/ 318 w 474"/>
                  <a:gd name="T51" fmla="*/ 314 h 346"/>
                  <a:gd name="T52" fmla="*/ 312 w 474"/>
                  <a:gd name="T53" fmla="*/ 300 h 346"/>
                  <a:gd name="T54" fmla="*/ 316 w 474"/>
                  <a:gd name="T55" fmla="*/ 288 h 346"/>
                  <a:gd name="T56" fmla="*/ 304 w 474"/>
                  <a:gd name="T57" fmla="*/ 284 h 346"/>
                  <a:gd name="T58" fmla="*/ 302 w 474"/>
                  <a:gd name="T59" fmla="*/ 272 h 346"/>
                  <a:gd name="T60" fmla="*/ 314 w 474"/>
                  <a:gd name="T61" fmla="*/ 264 h 346"/>
                  <a:gd name="T62" fmla="*/ 334 w 474"/>
                  <a:gd name="T63" fmla="*/ 270 h 346"/>
                  <a:gd name="T64" fmla="*/ 348 w 474"/>
                  <a:gd name="T65" fmla="*/ 254 h 346"/>
                  <a:gd name="T66" fmla="*/ 362 w 474"/>
                  <a:gd name="T67" fmla="*/ 250 h 346"/>
                  <a:gd name="T68" fmla="*/ 364 w 474"/>
                  <a:gd name="T69" fmla="*/ 240 h 346"/>
                  <a:gd name="T70" fmla="*/ 374 w 474"/>
                  <a:gd name="T71" fmla="*/ 238 h 346"/>
                  <a:gd name="T72" fmla="*/ 396 w 474"/>
                  <a:gd name="T73" fmla="*/ 230 h 346"/>
                  <a:gd name="T74" fmla="*/ 404 w 474"/>
                  <a:gd name="T75" fmla="*/ 234 h 346"/>
                  <a:gd name="T76" fmla="*/ 402 w 474"/>
                  <a:gd name="T77" fmla="*/ 244 h 346"/>
                  <a:gd name="T78" fmla="*/ 398 w 474"/>
                  <a:gd name="T79" fmla="*/ 258 h 346"/>
                  <a:gd name="T80" fmla="*/ 436 w 474"/>
                  <a:gd name="T81" fmla="*/ 264 h 346"/>
                  <a:gd name="T82" fmla="*/ 446 w 474"/>
                  <a:gd name="T83" fmla="*/ 256 h 346"/>
                  <a:gd name="T84" fmla="*/ 456 w 474"/>
                  <a:gd name="T85" fmla="*/ 256 h 346"/>
                  <a:gd name="T86" fmla="*/ 472 w 474"/>
                  <a:gd name="T87" fmla="*/ 250 h 346"/>
                  <a:gd name="T88" fmla="*/ 468 w 474"/>
                  <a:gd name="T89" fmla="*/ 246 h 346"/>
                  <a:gd name="T90" fmla="*/ 450 w 474"/>
                  <a:gd name="T91" fmla="*/ 236 h 346"/>
                  <a:gd name="T92" fmla="*/ 440 w 474"/>
                  <a:gd name="T93" fmla="*/ 220 h 346"/>
                  <a:gd name="T94" fmla="*/ 428 w 474"/>
                  <a:gd name="T95" fmla="*/ 226 h 346"/>
                  <a:gd name="T96" fmla="*/ 410 w 474"/>
                  <a:gd name="T97" fmla="*/ 224 h 346"/>
                  <a:gd name="T98" fmla="*/ 400 w 474"/>
                  <a:gd name="T99" fmla="*/ 214 h 346"/>
                  <a:gd name="T100" fmla="*/ 420 w 474"/>
                  <a:gd name="T101" fmla="*/ 196 h 346"/>
                  <a:gd name="T102" fmla="*/ 420 w 474"/>
                  <a:gd name="T103" fmla="*/ 186 h 346"/>
                  <a:gd name="T104" fmla="*/ 408 w 474"/>
                  <a:gd name="T105" fmla="*/ 194 h 346"/>
                  <a:gd name="T106" fmla="*/ 396 w 474"/>
                  <a:gd name="T107" fmla="*/ 202 h 346"/>
                  <a:gd name="T108" fmla="*/ 364 w 474"/>
                  <a:gd name="T109" fmla="*/ 212 h 346"/>
                  <a:gd name="T110" fmla="*/ 330 w 474"/>
                  <a:gd name="T111" fmla="*/ 208 h 346"/>
                  <a:gd name="T112" fmla="*/ 284 w 474"/>
                  <a:gd name="T113" fmla="*/ 176 h 346"/>
                  <a:gd name="T114" fmla="*/ 296 w 474"/>
                  <a:gd name="T115" fmla="*/ 142 h 346"/>
                  <a:gd name="T116" fmla="*/ 270 w 474"/>
                  <a:gd name="T117" fmla="*/ 110 h 346"/>
                  <a:gd name="T118" fmla="*/ 188 w 474"/>
                  <a:gd name="T119" fmla="*/ 9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4" h="346">
                    <a:moveTo>
                      <a:pt x="48" y="0"/>
                    </a:moveTo>
                    <a:lnTo>
                      <a:pt x="0" y="120"/>
                    </a:lnTo>
                    <a:lnTo>
                      <a:pt x="26" y="132"/>
                    </a:lnTo>
                    <a:lnTo>
                      <a:pt x="30" y="130"/>
                    </a:lnTo>
                    <a:lnTo>
                      <a:pt x="30" y="124"/>
                    </a:lnTo>
                    <a:lnTo>
                      <a:pt x="32" y="120"/>
                    </a:lnTo>
                    <a:lnTo>
                      <a:pt x="32" y="112"/>
                    </a:lnTo>
                    <a:lnTo>
                      <a:pt x="36" y="110"/>
                    </a:lnTo>
                    <a:lnTo>
                      <a:pt x="40" y="108"/>
                    </a:lnTo>
                    <a:lnTo>
                      <a:pt x="46" y="104"/>
                    </a:lnTo>
                    <a:lnTo>
                      <a:pt x="58" y="106"/>
                    </a:lnTo>
                    <a:lnTo>
                      <a:pt x="62" y="106"/>
                    </a:lnTo>
                    <a:lnTo>
                      <a:pt x="66" y="104"/>
                    </a:lnTo>
                    <a:lnTo>
                      <a:pt x="66" y="100"/>
                    </a:lnTo>
                    <a:lnTo>
                      <a:pt x="70" y="100"/>
                    </a:lnTo>
                    <a:lnTo>
                      <a:pt x="76" y="106"/>
                    </a:lnTo>
                    <a:lnTo>
                      <a:pt x="78" y="108"/>
                    </a:lnTo>
                    <a:lnTo>
                      <a:pt x="78" y="100"/>
                    </a:lnTo>
                    <a:lnTo>
                      <a:pt x="76" y="96"/>
                    </a:lnTo>
                    <a:lnTo>
                      <a:pt x="80" y="96"/>
                    </a:lnTo>
                    <a:lnTo>
                      <a:pt x="84" y="98"/>
                    </a:lnTo>
                    <a:lnTo>
                      <a:pt x="88" y="96"/>
                    </a:lnTo>
                    <a:lnTo>
                      <a:pt x="88" y="94"/>
                    </a:lnTo>
                    <a:lnTo>
                      <a:pt x="102" y="116"/>
                    </a:lnTo>
                    <a:lnTo>
                      <a:pt x="106" y="118"/>
                    </a:lnTo>
                    <a:lnTo>
                      <a:pt x="110" y="118"/>
                    </a:lnTo>
                    <a:lnTo>
                      <a:pt x="118" y="122"/>
                    </a:lnTo>
                    <a:lnTo>
                      <a:pt x="118" y="126"/>
                    </a:lnTo>
                    <a:lnTo>
                      <a:pt x="116" y="130"/>
                    </a:lnTo>
                    <a:lnTo>
                      <a:pt x="116" y="134"/>
                    </a:lnTo>
                    <a:lnTo>
                      <a:pt x="118" y="136"/>
                    </a:lnTo>
                    <a:lnTo>
                      <a:pt x="120" y="140"/>
                    </a:lnTo>
                    <a:lnTo>
                      <a:pt x="116" y="140"/>
                    </a:lnTo>
                    <a:lnTo>
                      <a:pt x="114" y="144"/>
                    </a:lnTo>
                    <a:lnTo>
                      <a:pt x="114" y="148"/>
                    </a:lnTo>
                    <a:lnTo>
                      <a:pt x="112" y="150"/>
                    </a:lnTo>
                    <a:lnTo>
                      <a:pt x="114" y="154"/>
                    </a:lnTo>
                    <a:lnTo>
                      <a:pt x="120" y="160"/>
                    </a:lnTo>
                    <a:lnTo>
                      <a:pt x="144" y="170"/>
                    </a:lnTo>
                    <a:lnTo>
                      <a:pt x="148" y="170"/>
                    </a:lnTo>
                    <a:lnTo>
                      <a:pt x="148" y="166"/>
                    </a:lnTo>
                    <a:lnTo>
                      <a:pt x="154" y="166"/>
                    </a:lnTo>
                    <a:lnTo>
                      <a:pt x="162" y="178"/>
                    </a:lnTo>
                    <a:lnTo>
                      <a:pt x="162" y="182"/>
                    </a:lnTo>
                    <a:lnTo>
                      <a:pt x="160" y="190"/>
                    </a:lnTo>
                    <a:lnTo>
                      <a:pt x="162" y="194"/>
                    </a:lnTo>
                    <a:lnTo>
                      <a:pt x="164" y="198"/>
                    </a:lnTo>
                    <a:lnTo>
                      <a:pt x="166" y="200"/>
                    </a:lnTo>
                    <a:lnTo>
                      <a:pt x="166" y="210"/>
                    </a:lnTo>
                    <a:lnTo>
                      <a:pt x="164" y="212"/>
                    </a:lnTo>
                    <a:lnTo>
                      <a:pt x="168" y="224"/>
                    </a:lnTo>
                    <a:lnTo>
                      <a:pt x="188" y="246"/>
                    </a:lnTo>
                    <a:lnTo>
                      <a:pt x="196" y="260"/>
                    </a:lnTo>
                    <a:lnTo>
                      <a:pt x="200" y="262"/>
                    </a:lnTo>
                    <a:lnTo>
                      <a:pt x="208" y="266"/>
                    </a:lnTo>
                    <a:lnTo>
                      <a:pt x="234" y="298"/>
                    </a:lnTo>
                    <a:lnTo>
                      <a:pt x="238" y="300"/>
                    </a:lnTo>
                    <a:lnTo>
                      <a:pt x="242" y="298"/>
                    </a:lnTo>
                    <a:lnTo>
                      <a:pt x="246" y="300"/>
                    </a:lnTo>
                    <a:lnTo>
                      <a:pt x="258" y="306"/>
                    </a:lnTo>
                    <a:lnTo>
                      <a:pt x="260" y="310"/>
                    </a:lnTo>
                    <a:lnTo>
                      <a:pt x="264" y="312"/>
                    </a:lnTo>
                    <a:lnTo>
                      <a:pt x="266" y="316"/>
                    </a:lnTo>
                    <a:lnTo>
                      <a:pt x="260" y="322"/>
                    </a:lnTo>
                    <a:lnTo>
                      <a:pt x="256" y="338"/>
                    </a:lnTo>
                    <a:lnTo>
                      <a:pt x="256" y="338"/>
                    </a:lnTo>
                    <a:lnTo>
                      <a:pt x="272" y="340"/>
                    </a:lnTo>
                    <a:lnTo>
                      <a:pt x="278" y="344"/>
                    </a:lnTo>
                    <a:lnTo>
                      <a:pt x="284" y="344"/>
                    </a:lnTo>
                    <a:lnTo>
                      <a:pt x="292" y="346"/>
                    </a:lnTo>
                    <a:lnTo>
                      <a:pt x="292" y="346"/>
                    </a:lnTo>
                    <a:lnTo>
                      <a:pt x="294" y="346"/>
                    </a:lnTo>
                    <a:lnTo>
                      <a:pt x="294" y="338"/>
                    </a:lnTo>
                    <a:lnTo>
                      <a:pt x="308" y="324"/>
                    </a:lnTo>
                    <a:lnTo>
                      <a:pt x="312" y="324"/>
                    </a:lnTo>
                    <a:lnTo>
                      <a:pt x="316" y="322"/>
                    </a:lnTo>
                    <a:lnTo>
                      <a:pt x="318" y="318"/>
                    </a:lnTo>
                    <a:lnTo>
                      <a:pt x="318" y="314"/>
                    </a:lnTo>
                    <a:lnTo>
                      <a:pt x="314" y="312"/>
                    </a:lnTo>
                    <a:lnTo>
                      <a:pt x="312" y="308"/>
                    </a:lnTo>
                    <a:lnTo>
                      <a:pt x="312" y="300"/>
                    </a:lnTo>
                    <a:lnTo>
                      <a:pt x="316" y="296"/>
                    </a:lnTo>
                    <a:lnTo>
                      <a:pt x="316" y="292"/>
                    </a:lnTo>
                    <a:lnTo>
                      <a:pt x="316" y="288"/>
                    </a:lnTo>
                    <a:lnTo>
                      <a:pt x="314" y="286"/>
                    </a:lnTo>
                    <a:lnTo>
                      <a:pt x="308" y="286"/>
                    </a:lnTo>
                    <a:lnTo>
                      <a:pt x="304" y="284"/>
                    </a:lnTo>
                    <a:lnTo>
                      <a:pt x="304" y="280"/>
                    </a:lnTo>
                    <a:lnTo>
                      <a:pt x="298" y="274"/>
                    </a:lnTo>
                    <a:lnTo>
                      <a:pt x="302" y="272"/>
                    </a:lnTo>
                    <a:lnTo>
                      <a:pt x="302" y="268"/>
                    </a:lnTo>
                    <a:lnTo>
                      <a:pt x="306" y="264"/>
                    </a:lnTo>
                    <a:lnTo>
                      <a:pt x="314" y="264"/>
                    </a:lnTo>
                    <a:lnTo>
                      <a:pt x="316" y="268"/>
                    </a:lnTo>
                    <a:lnTo>
                      <a:pt x="330" y="270"/>
                    </a:lnTo>
                    <a:lnTo>
                      <a:pt x="334" y="270"/>
                    </a:lnTo>
                    <a:lnTo>
                      <a:pt x="342" y="260"/>
                    </a:lnTo>
                    <a:lnTo>
                      <a:pt x="344" y="256"/>
                    </a:lnTo>
                    <a:lnTo>
                      <a:pt x="348" y="254"/>
                    </a:lnTo>
                    <a:lnTo>
                      <a:pt x="356" y="256"/>
                    </a:lnTo>
                    <a:lnTo>
                      <a:pt x="360" y="254"/>
                    </a:lnTo>
                    <a:lnTo>
                      <a:pt x="362" y="250"/>
                    </a:lnTo>
                    <a:lnTo>
                      <a:pt x="362" y="246"/>
                    </a:lnTo>
                    <a:lnTo>
                      <a:pt x="362" y="242"/>
                    </a:lnTo>
                    <a:lnTo>
                      <a:pt x="364" y="240"/>
                    </a:lnTo>
                    <a:lnTo>
                      <a:pt x="366" y="236"/>
                    </a:lnTo>
                    <a:lnTo>
                      <a:pt x="370" y="236"/>
                    </a:lnTo>
                    <a:lnTo>
                      <a:pt x="374" y="238"/>
                    </a:lnTo>
                    <a:lnTo>
                      <a:pt x="378" y="238"/>
                    </a:lnTo>
                    <a:lnTo>
                      <a:pt x="394" y="234"/>
                    </a:lnTo>
                    <a:lnTo>
                      <a:pt x="396" y="230"/>
                    </a:lnTo>
                    <a:lnTo>
                      <a:pt x="400" y="228"/>
                    </a:lnTo>
                    <a:lnTo>
                      <a:pt x="404" y="230"/>
                    </a:lnTo>
                    <a:lnTo>
                      <a:pt x="404" y="234"/>
                    </a:lnTo>
                    <a:lnTo>
                      <a:pt x="406" y="236"/>
                    </a:lnTo>
                    <a:lnTo>
                      <a:pt x="406" y="240"/>
                    </a:lnTo>
                    <a:lnTo>
                      <a:pt x="402" y="244"/>
                    </a:lnTo>
                    <a:lnTo>
                      <a:pt x="398" y="244"/>
                    </a:lnTo>
                    <a:lnTo>
                      <a:pt x="396" y="248"/>
                    </a:lnTo>
                    <a:lnTo>
                      <a:pt x="398" y="258"/>
                    </a:lnTo>
                    <a:lnTo>
                      <a:pt x="420" y="260"/>
                    </a:lnTo>
                    <a:lnTo>
                      <a:pt x="426" y="264"/>
                    </a:lnTo>
                    <a:lnTo>
                      <a:pt x="436" y="264"/>
                    </a:lnTo>
                    <a:lnTo>
                      <a:pt x="440" y="262"/>
                    </a:lnTo>
                    <a:lnTo>
                      <a:pt x="442" y="258"/>
                    </a:lnTo>
                    <a:lnTo>
                      <a:pt x="446" y="256"/>
                    </a:lnTo>
                    <a:lnTo>
                      <a:pt x="450" y="258"/>
                    </a:lnTo>
                    <a:lnTo>
                      <a:pt x="452" y="254"/>
                    </a:lnTo>
                    <a:lnTo>
                      <a:pt x="456" y="256"/>
                    </a:lnTo>
                    <a:lnTo>
                      <a:pt x="460" y="254"/>
                    </a:lnTo>
                    <a:lnTo>
                      <a:pt x="464" y="252"/>
                    </a:lnTo>
                    <a:lnTo>
                      <a:pt x="472" y="250"/>
                    </a:lnTo>
                    <a:lnTo>
                      <a:pt x="474" y="248"/>
                    </a:lnTo>
                    <a:lnTo>
                      <a:pt x="472" y="246"/>
                    </a:lnTo>
                    <a:lnTo>
                      <a:pt x="468" y="246"/>
                    </a:lnTo>
                    <a:lnTo>
                      <a:pt x="460" y="242"/>
                    </a:lnTo>
                    <a:lnTo>
                      <a:pt x="454" y="236"/>
                    </a:lnTo>
                    <a:lnTo>
                      <a:pt x="450" y="236"/>
                    </a:lnTo>
                    <a:lnTo>
                      <a:pt x="440" y="228"/>
                    </a:lnTo>
                    <a:lnTo>
                      <a:pt x="442" y="224"/>
                    </a:lnTo>
                    <a:lnTo>
                      <a:pt x="440" y="220"/>
                    </a:lnTo>
                    <a:lnTo>
                      <a:pt x="436" y="218"/>
                    </a:lnTo>
                    <a:lnTo>
                      <a:pt x="432" y="224"/>
                    </a:lnTo>
                    <a:lnTo>
                      <a:pt x="428" y="226"/>
                    </a:lnTo>
                    <a:lnTo>
                      <a:pt x="426" y="230"/>
                    </a:lnTo>
                    <a:lnTo>
                      <a:pt x="422" y="230"/>
                    </a:lnTo>
                    <a:lnTo>
                      <a:pt x="410" y="224"/>
                    </a:lnTo>
                    <a:lnTo>
                      <a:pt x="408" y="216"/>
                    </a:lnTo>
                    <a:lnTo>
                      <a:pt x="404" y="218"/>
                    </a:lnTo>
                    <a:lnTo>
                      <a:pt x="400" y="214"/>
                    </a:lnTo>
                    <a:lnTo>
                      <a:pt x="396" y="212"/>
                    </a:lnTo>
                    <a:lnTo>
                      <a:pt x="398" y="208"/>
                    </a:lnTo>
                    <a:lnTo>
                      <a:pt x="420" y="196"/>
                    </a:lnTo>
                    <a:lnTo>
                      <a:pt x="428" y="194"/>
                    </a:lnTo>
                    <a:lnTo>
                      <a:pt x="428" y="190"/>
                    </a:lnTo>
                    <a:lnTo>
                      <a:pt x="420" y="186"/>
                    </a:lnTo>
                    <a:lnTo>
                      <a:pt x="418" y="190"/>
                    </a:lnTo>
                    <a:lnTo>
                      <a:pt x="412" y="194"/>
                    </a:lnTo>
                    <a:lnTo>
                      <a:pt x="408" y="194"/>
                    </a:lnTo>
                    <a:lnTo>
                      <a:pt x="404" y="192"/>
                    </a:lnTo>
                    <a:lnTo>
                      <a:pt x="400" y="200"/>
                    </a:lnTo>
                    <a:lnTo>
                      <a:pt x="396" y="202"/>
                    </a:lnTo>
                    <a:lnTo>
                      <a:pt x="374" y="206"/>
                    </a:lnTo>
                    <a:lnTo>
                      <a:pt x="372" y="210"/>
                    </a:lnTo>
                    <a:lnTo>
                      <a:pt x="364" y="212"/>
                    </a:lnTo>
                    <a:lnTo>
                      <a:pt x="358" y="218"/>
                    </a:lnTo>
                    <a:lnTo>
                      <a:pt x="350" y="222"/>
                    </a:lnTo>
                    <a:lnTo>
                      <a:pt x="330" y="208"/>
                    </a:lnTo>
                    <a:lnTo>
                      <a:pt x="300" y="206"/>
                    </a:lnTo>
                    <a:lnTo>
                      <a:pt x="300" y="182"/>
                    </a:lnTo>
                    <a:lnTo>
                      <a:pt x="284" y="176"/>
                    </a:lnTo>
                    <a:lnTo>
                      <a:pt x="286" y="162"/>
                    </a:lnTo>
                    <a:lnTo>
                      <a:pt x="290" y="162"/>
                    </a:lnTo>
                    <a:lnTo>
                      <a:pt x="296" y="142"/>
                    </a:lnTo>
                    <a:lnTo>
                      <a:pt x="288" y="142"/>
                    </a:lnTo>
                    <a:lnTo>
                      <a:pt x="284" y="124"/>
                    </a:lnTo>
                    <a:lnTo>
                      <a:pt x="270" y="110"/>
                    </a:lnTo>
                    <a:lnTo>
                      <a:pt x="268" y="108"/>
                    </a:lnTo>
                    <a:lnTo>
                      <a:pt x="262" y="108"/>
                    </a:lnTo>
                    <a:lnTo>
                      <a:pt x="188" y="96"/>
                    </a:lnTo>
                    <a:lnTo>
                      <a:pt x="122" y="0"/>
                    </a:lnTo>
                    <a:lnTo>
                      <a:pt x="48"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68" name="Freeform 219"/>
              <p:cNvSpPr>
                <a:spLocks/>
              </p:cNvSpPr>
              <p:nvPr/>
            </p:nvSpPr>
            <p:spPr bwMode="auto">
              <a:xfrm>
                <a:off x="1715" y="2043"/>
                <a:ext cx="474" cy="346"/>
              </a:xfrm>
              <a:custGeom>
                <a:avLst/>
                <a:gdLst>
                  <a:gd name="T0" fmla="*/ 26 w 474"/>
                  <a:gd name="T1" fmla="*/ 132 h 346"/>
                  <a:gd name="T2" fmla="*/ 32 w 474"/>
                  <a:gd name="T3" fmla="*/ 120 h 346"/>
                  <a:gd name="T4" fmla="*/ 40 w 474"/>
                  <a:gd name="T5" fmla="*/ 108 h 346"/>
                  <a:gd name="T6" fmla="*/ 62 w 474"/>
                  <a:gd name="T7" fmla="*/ 106 h 346"/>
                  <a:gd name="T8" fmla="*/ 70 w 474"/>
                  <a:gd name="T9" fmla="*/ 100 h 346"/>
                  <a:gd name="T10" fmla="*/ 78 w 474"/>
                  <a:gd name="T11" fmla="*/ 100 h 346"/>
                  <a:gd name="T12" fmla="*/ 84 w 474"/>
                  <a:gd name="T13" fmla="*/ 98 h 346"/>
                  <a:gd name="T14" fmla="*/ 102 w 474"/>
                  <a:gd name="T15" fmla="*/ 116 h 346"/>
                  <a:gd name="T16" fmla="*/ 118 w 474"/>
                  <a:gd name="T17" fmla="*/ 122 h 346"/>
                  <a:gd name="T18" fmla="*/ 116 w 474"/>
                  <a:gd name="T19" fmla="*/ 134 h 346"/>
                  <a:gd name="T20" fmla="*/ 116 w 474"/>
                  <a:gd name="T21" fmla="*/ 140 h 346"/>
                  <a:gd name="T22" fmla="*/ 112 w 474"/>
                  <a:gd name="T23" fmla="*/ 150 h 346"/>
                  <a:gd name="T24" fmla="*/ 144 w 474"/>
                  <a:gd name="T25" fmla="*/ 170 h 346"/>
                  <a:gd name="T26" fmla="*/ 154 w 474"/>
                  <a:gd name="T27" fmla="*/ 166 h 346"/>
                  <a:gd name="T28" fmla="*/ 160 w 474"/>
                  <a:gd name="T29" fmla="*/ 190 h 346"/>
                  <a:gd name="T30" fmla="*/ 166 w 474"/>
                  <a:gd name="T31" fmla="*/ 200 h 346"/>
                  <a:gd name="T32" fmla="*/ 168 w 474"/>
                  <a:gd name="T33" fmla="*/ 224 h 346"/>
                  <a:gd name="T34" fmla="*/ 200 w 474"/>
                  <a:gd name="T35" fmla="*/ 262 h 346"/>
                  <a:gd name="T36" fmla="*/ 238 w 474"/>
                  <a:gd name="T37" fmla="*/ 300 h 346"/>
                  <a:gd name="T38" fmla="*/ 258 w 474"/>
                  <a:gd name="T39" fmla="*/ 306 h 346"/>
                  <a:gd name="T40" fmla="*/ 266 w 474"/>
                  <a:gd name="T41" fmla="*/ 316 h 346"/>
                  <a:gd name="T42" fmla="*/ 256 w 474"/>
                  <a:gd name="T43" fmla="*/ 338 h 346"/>
                  <a:gd name="T44" fmla="*/ 284 w 474"/>
                  <a:gd name="T45" fmla="*/ 344 h 346"/>
                  <a:gd name="T46" fmla="*/ 294 w 474"/>
                  <a:gd name="T47" fmla="*/ 346 h 346"/>
                  <a:gd name="T48" fmla="*/ 312 w 474"/>
                  <a:gd name="T49" fmla="*/ 324 h 346"/>
                  <a:gd name="T50" fmla="*/ 318 w 474"/>
                  <a:gd name="T51" fmla="*/ 314 h 346"/>
                  <a:gd name="T52" fmla="*/ 312 w 474"/>
                  <a:gd name="T53" fmla="*/ 300 h 346"/>
                  <a:gd name="T54" fmla="*/ 316 w 474"/>
                  <a:gd name="T55" fmla="*/ 288 h 346"/>
                  <a:gd name="T56" fmla="*/ 304 w 474"/>
                  <a:gd name="T57" fmla="*/ 284 h 346"/>
                  <a:gd name="T58" fmla="*/ 302 w 474"/>
                  <a:gd name="T59" fmla="*/ 272 h 346"/>
                  <a:gd name="T60" fmla="*/ 314 w 474"/>
                  <a:gd name="T61" fmla="*/ 264 h 346"/>
                  <a:gd name="T62" fmla="*/ 334 w 474"/>
                  <a:gd name="T63" fmla="*/ 270 h 346"/>
                  <a:gd name="T64" fmla="*/ 348 w 474"/>
                  <a:gd name="T65" fmla="*/ 254 h 346"/>
                  <a:gd name="T66" fmla="*/ 362 w 474"/>
                  <a:gd name="T67" fmla="*/ 250 h 346"/>
                  <a:gd name="T68" fmla="*/ 364 w 474"/>
                  <a:gd name="T69" fmla="*/ 240 h 346"/>
                  <a:gd name="T70" fmla="*/ 374 w 474"/>
                  <a:gd name="T71" fmla="*/ 238 h 346"/>
                  <a:gd name="T72" fmla="*/ 396 w 474"/>
                  <a:gd name="T73" fmla="*/ 230 h 346"/>
                  <a:gd name="T74" fmla="*/ 404 w 474"/>
                  <a:gd name="T75" fmla="*/ 234 h 346"/>
                  <a:gd name="T76" fmla="*/ 402 w 474"/>
                  <a:gd name="T77" fmla="*/ 244 h 346"/>
                  <a:gd name="T78" fmla="*/ 398 w 474"/>
                  <a:gd name="T79" fmla="*/ 258 h 346"/>
                  <a:gd name="T80" fmla="*/ 436 w 474"/>
                  <a:gd name="T81" fmla="*/ 264 h 346"/>
                  <a:gd name="T82" fmla="*/ 446 w 474"/>
                  <a:gd name="T83" fmla="*/ 256 h 346"/>
                  <a:gd name="T84" fmla="*/ 456 w 474"/>
                  <a:gd name="T85" fmla="*/ 256 h 346"/>
                  <a:gd name="T86" fmla="*/ 472 w 474"/>
                  <a:gd name="T87" fmla="*/ 250 h 346"/>
                  <a:gd name="T88" fmla="*/ 468 w 474"/>
                  <a:gd name="T89" fmla="*/ 246 h 346"/>
                  <a:gd name="T90" fmla="*/ 450 w 474"/>
                  <a:gd name="T91" fmla="*/ 236 h 346"/>
                  <a:gd name="T92" fmla="*/ 440 w 474"/>
                  <a:gd name="T93" fmla="*/ 220 h 346"/>
                  <a:gd name="T94" fmla="*/ 428 w 474"/>
                  <a:gd name="T95" fmla="*/ 226 h 346"/>
                  <a:gd name="T96" fmla="*/ 410 w 474"/>
                  <a:gd name="T97" fmla="*/ 224 h 346"/>
                  <a:gd name="T98" fmla="*/ 400 w 474"/>
                  <a:gd name="T99" fmla="*/ 214 h 346"/>
                  <a:gd name="T100" fmla="*/ 420 w 474"/>
                  <a:gd name="T101" fmla="*/ 196 h 346"/>
                  <a:gd name="T102" fmla="*/ 420 w 474"/>
                  <a:gd name="T103" fmla="*/ 186 h 346"/>
                  <a:gd name="T104" fmla="*/ 408 w 474"/>
                  <a:gd name="T105" fmla="*/ 194 h 346"/>
                  <a:gd name="T106" fmla="*/ 396 w 474"/>
                  <a:gd name="T107" fmla="*/ 202 h 346"/>
                  <a:gd name="T108" fmla="*/ 364 w 474"/>
                  <a:gd name="T109" fmla="*/ 212 h 346"/>
                  <a:gd name="T110" fmla="*/ 330 w 474"/>
                  <a:gd name="T111" fmla="*/ 208 h 346"/>
                  <a:gd name="T112" fmla="*/ 284 w 474"/>
                  <a:gd name="T113" fmla="*/ 176 h 346"/>
                  <a:gd name="T114" fmla="*/ 296 w 474"/>
                  <a:gd name="T115" fmla="*/ 142 h 346"/>
                  <a:gd name="T116" fmla="*/ 270 w 474"/>
                  <a:gd name="T117" fmla="*/ 110 h 346"/>
                  <a:gd name="T118" fmla="*/ 188 w 474"/>
                  <a:gd name="T119" fmla="*/ 9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4" h="346">
                    <a:moveTo>
                      <a:pt x="48" y="0"/>
                    </a:moveTo>
                    <a:lnTo>
                      <a:pt x="0" y="120"/>
                    </a:lnTo>
                    <a:lnTo>
                      <a:pt x="26" y="132"/>
                    </a:lnTo>
                    <a:lnTo>
                      <a:pt x="30" y="130"/>
                    </a:lnTo>
                    <a:lnTo>
                      <a:pt x="30" y="124"/>
                    </a:lnTo>
                    <a:lnTo>
                      <a:pt x="32" y="120"/>
                    </a:lnTo>
                    <a:lnTo>
                      <a:pt x="32" y="112"/>
                    </a:lnTo>
                    <a:lnTo>
                      <a:pt x="36" y="110"/>
                    </a:lnTo>
                    <a:lnTo>
                      <a:pt x="40" y="108"/>
                    </a:lnTo>
                    <a:lnTo>
                      <a:pt x="46" y="104"/>
                    </a:lnTo>
                    <a:lnTo>
                      <a:pt x="58" y="106"/>
                    </a:lnTo>
                    <a:lnTo>
                      <a:pt x="62" y="106"/>
                    </a:lnTo>
                    <a:lnTo>
                      <a:pt x="66" y="104"/>
                    </a:lnTo>
                    <a:lnTo>
                      <a:pt x="66" y="100"/>
                    </a:lnTo>
                    <a:lnTo>
                      <a:pt x="70" y="100"/>
                    </a:lnTo>
                    <a:lnTo>
                      <a:pt x="76" y="106"/>
                    </a:lnTo>
                    <a:lnTo>
                      <a:pt x="78" y="108"/>
                    </a:lnTo>
                    <a:lnTo>
                      <a:pt x="78" y="100"/>
                    </a:lnTo>
                    <a:lnTo>
                      <a:pt x="76" y="96"/>
                    </a:lnTo>
                    <a:lnTo>
                      <a:pt x="80" y="96"/>
                    </a:lnTo>
                    <a:lnTo>
                      <a:pt x="84" y="98"/>
                    </a:lnTo>
                    <a:lnTo>
                      <a:pt x="88" y="96"/>
                    </a:lnTo>
                    <a:lnTo>
                      <a:pt x="88" y="94"/>
                    </a:lnTo>
                    <a:lnTo>
                      <a:pt x="102" y="116"/>
                    </a:lnTo>
                    <a:lnTo>
                      <a:pt x="106" y="118"/>
                    </a:lnTo>
                    <a:lnTo>
                      <a:pt x="110" y="118"/>
                    </a:lnTo>
                    <a:lnTo>
                      <a:pt x="118" y="122"/>
                    </a:lnTo>
                    <a:lnTo>
                      <a:pt x="118" y="126"/>
                    </a:lnTo>
                    <a:lnTo>
                      <a:pt x="116" y="130"/>
                    </a:lnTo>
                    <a:lnTo>
                      <a:pt x="116" y="134"/>
                    </a:lnTo>
                    <a:lnTo>
                      <a:pt x="118" y="136"/>
                    </a:lnTo>
                    <a:lnTo>
                      <a:pt x="120" y="140"/>
                    </a:lnTo>
                    <a:lnTo>
                      <a:pt x="116" y="140"/>
                    </a:lnTo>
                    <a:lnTo>
                      <a:pt x="114" y="144"/>
                    </a:lnTo>
                    <a:lnTo>
                      <a:pt x="114" y="148"/>
                    </a:lnTo>
                    <a:lnTo>
                      <a:pt x="112" y="150"/>
                    </a:lnTo>
                    <a:lnTo>
                      <a:pt x="114" y="154"/>
                    </a:lnTo>
                    <a:lnTo>
                      <a:pt x="120" y="160"/>
                    </a:lnTo>
                    <a:lnTo>
                      <a:pt x="144" y="170"/>
                    </a:lnTo>
                    <a:lnTo>
                      <a:pt x="148" y="170"/>
                    </a:lnTo>
                    <a:lnTo>
                      <a:pt x="148" y="166"/>
                    </a:lnTo>
                    <a:lnTo>
                      <a:pt x="154" y="166"/>
                    </a:lnTo>
                    <a:lnTo>
                      <a:pt x="162" y="178"/>
                    </a:lnTo>
                    <a:lnTo>
                      <a:pt x="162" y="182"/>
                    </a:lnTo>
                    <a:lnTo>
                      <a:pt x="160" y="190"/>
                    </a:lnTo>
                    <a:lnTo>
                      <a:pt x="162" y="194"/>
                    </a:lnTo>
                    <a:lnTo>
                      <a:pt x="164" y="198"/>
                    </a:lnTo>
                    <a:lnTo>
                      <a:pt x="166" y="200"/>
                    </a:lnTo>
                    <a:lnTo>
                      <a:pt x="166" y="210"/>
                    </a:lnTo>
                    <a:lnTo>
                      <a:pt x="164" y="212"/>
                    </a:lnTo>
                    <a:lnTo>
                      <a:pt x="168" y="224"/>
                    </a:lnTo>
                    <a:lnTo>
                      <a:pt x="188" y="246"/>
                    </a:lnTo>
                    <a:lnTo>
                      <a:pt x="196" y="260"/>
                    </a:lnTo>
                    <a:lnTo>
                      <a:pt x="200" y="262"/>
                    </a:lnTo>
                    <a:lnTo>
                      <a:pt x="208" y="266"/>
                    </a:lnTo>
                    <a:lnTo>
                      <a:pt x="234" y="298"/>
                    </a:lnTo>
                    <a:lnTo>
                      <a:pt x="238" y="300"/>
                    </a:lnTo>
                    <a:lnTo>
                      <a:pt x="242" y="298"/>
                    </a:lnTo>
                    <a:lnTo>
                      <a:pt x="246" y="300"/>
                    </a:lnTo>
                    <a:lnTo>
                      <a:pt x="258" y="306"/>
                    </a:lnTo>
                    <a:lnTo>
                      <a:pt x="260" y="310"/>
                    </a:lnTo>
                    <a:lnTo>
                      <a:pt x="264" y="312"/>
                    </a:lnTo>
                    <a:lnTo>
                      <a:pt x="266" y="316"/>
                    </a:lnTo>
                    <a:lnTo>
                      <a:pt x="260" y="322"/>
                    </a:lnTo>
                    <a:lnTo>
                      <a:pt x="256" y="338"/>
                    </a:lnTo>
                    <a:lnTo>
                      <a:pt x="256" y="338"/>
                    </a:lnTo>
                    <a:lnTo>
                      <a:pt x="272" y="340"/>
                    </a:lnTo>
                    <a:lnTo>
                      <a:pt x="278" y="344"/>
                    </a:lnTo>
                    <a:lnTo>
                      <a:pt x="284" y="344"/>
                    </a:lnTo>
                    <a:lnTo>
                      <a:pt x="292" y="346"/>
                    </a:lnTo>
                    <a:lnTo>
                      <a:pt x="292" y="346"/>
                    </a:lnTo>
                    <a:lnTo>
                      <a:pt x="294" y="346"/>
                    </a:lnTo>
                    <a:lnTo>
                      <a:pt x="294" y="338"/>
                    </a:lnTo>
                    <a:lnTo>
                      <a:pt x="308" y="324"/>
                    </a:lnTo>
                    <a:lnTo>
                      <a:pt x="312" y="324"/>
                    </a:lnTo>
                    <a:lnTo>
                      <a:pt x="316" y="322"/>
                    </a:lnTo>
                    <a:lnTo>
                      <a:pt x="318" y="318"/>
                    </a:lnTo>
                    <a:lnTo>
                      <a:pt x="318" y="314"/>
                    </a:lnTo>
                    <a:lnTo>
                      <a:pt x="314" y="312"/>
                    </a:lnTo>
                    <a:lnTo>
                      <a:pt x="312" y="308"/>
                    </a:lnTo>
                    <a:lnTo>
                      <a:pt x="312" y="300"/>
                    </a:lnTo>
                    <a:lnTo>
                      <a:pt x="316" y="296"/>
                    </a:lnTo>
                    <a:lnTo>
                      <a:pt x="316" y="292"/>
                    </a:lnTo>
                    <a:lnTo>
                      <a:pt x="316" y="288"/>
                    </a:lnTo>
                    <a:lnTo>
                      <a:pt x="314" y="286"/>
                    </a:lnTo>
                    <a:lnTo>
                      <a:pt x="308" y="286"/>
                    </a:lnTo>
                    <a:lnTo>
                      <a:pt x="304" y="284"/>
                    </a:lnTo>
                    <a:lnTo>
                      <a:pt x="304" y="280"/>
                    </a:lnTo>
                    <a:lnTo>
                      <a:pt x="298" y="274"/>
                    </a:lnTo>
                    <a:lnTo>
                      <a:pt x="302" y="272"/>
                    </a:lnTo>
                    <a:lnTo>
                      <a:pt x="302" y="268"/>
                    </a:lnTo>
                    <a:lnTo>
                      <a:pt x="306" y="264"/>
                    </a:lnTo>
                    <a:lnTo>
                      <a:pt x="314" y="264"/>
                    </a:lnTo>
                    <a:lnTo>
                      <a:pt x="316" y="268"/>
                    </a:lnTo>
                    <a:lnTo>
                      <a:pt x="330" y="270"/>
                    </a:lnTo>
                    <a:lnTo>
                      <a:pt x="334" y="270"/>
                    </a:lnTo>
                    <a:lnTo>
                      <a:pt x="342" y="260"/>
                    </a:lnTo>
                    <a:lnTo>
                      <a:pt x="344" y="256"/>
                    </a:lnTo>
                    <a:lnTo>
                      <a:pt x="348" y="254"/>
                    </a:lnTo>
                    <a:lnTo>
                      <a:pt x="356" y="256"/>
                    </a:lnTo>
                    <a:lnTo>
                      <a:pt x="360" y="254"/>
                    </a:lnTo>
                    <a:lnTo>
                      <a:pt x="362" y="250"/>
                    </a:lnTo>
                    <a:lnTo>
                      <a:pt x="362" y="246"/>
                    </a:lnTo>
                    <a:lnTo>
                      <a:pt x="362" y="242"/>
                    </a:lnTo>
                    <a:lnTo>
                      <a:pt x="364" y="240"/>
                    </a:lnTo>
                    <a:lnTo>
                      <a:pt x="366" y="236"/>
                    </a:lnTo>
                    <a:lnTo>
                      <a:pt x="370" y="236"/>
                    </a:lnTo>
                    <a:lnTo>
                      <a:pt x="374" y="238"/>
                    </a:lnTo>
                    <a:lnTo>
                      <a:pt x="378" y="238"/>
                    </a:lnTo>
                    <a:lnTo>
                      <a:pt x="394" y="234"/>
                    </a:lnTo>
                    <a:lnTo>
                      <a:pt x="396" y="230"/>
                    </a:lnTo>
                    <a:lnTo>
                      <a:pt x="400" y="228"/>
                    </a:lnTo>
                    <a:lnTo>
                      <a:pt x="404" y="230"/>
                    </a:lnTo>
                    <a:lnTo>
                      <a:pt x="404" y="234"/>
                    </a:lnTo>
                    <a:lnTo>
                      <a:pt x="406" y="236"/>
                    </a:lnTo>
                    <a:lnTo>
                      <a:pt x="406" y="240"/>
                    </a:lnTo>
                    <a:lnTo>
                      <a:pt x="402" y="244"/>
                    </a:lnTo>
                    <a:lnTo>
                      <a:pt x="398" y="244"/>
                    </a:lnTo>
                    <a:lnTo>
                      <a:pt x="396" y="248"/>
                    </a:lnTo>
                    <a:lnTo>
                      <a:pt x="398" y="258"/>
                    </a:lnTo>
                    <a:lnTo>
                      <a:pt x="420" y="260"/>
                    </a:lnTo>
                    <a:lnTo>
                      <a:pt x="426" y="264"/>
                    </a:lnTo>
                    <a:lnTo>
                      <a:pt x="436" y="264"/>
                    </a:lnTo>
                    <a:lnTo>
                      <a:pt x="440" y="262"/>
                    </a:lnTo>
                    <a:lnTo>
                      <a:pt x="442" y="258"/>
                    </a:lnTo>
                    <a:lnTo>
                      <a:pt x="446" y="256"/>
                    </a:lnTo>
                    <a:lnTo>
                      <a:pt x="450" y="258"/>
                    </a:lnTo>
                    <a:lnTo>
                      <a:pt x="452" y="254"/>
                    </a:lnTo>
                    <a:lnTo>
                      <a:pt x="456" y="256"/>
                    </a:lnTo>
                    <a:lnTo>
                      <a:pt x="460" y="254"/>
                    </a:lnTo>
                    <a:lnTo>
                      <a:pt x="464" y="252"/>
                    </a:lnTo>
                    <a:lnTo>
                      <a:pt x="472" y="250"/>
                    </a:lnTo>
                    <a:lnTo>
                      <a:pt x="474" y="248"/>
                    </a:lnTo>
                    <a:lnTo>
                      <a:pt x="472" y="246"/>
                    </a:lnTo>
                    <a:lnTo>
                      <a:pt x="468" y="246"/>
                    </a:lnTo>
                    <a:lnTo>
                      <a:pt x="460" y="242"/>
                    </a:lnTo>
                    <a:lnTo>
                      <a:pt x="454" y="236"/>
                    </a:lnTo>
                    <a:lnTo>
                      <a:pt x="450" y="236"/>
                    </a:lnTo>
                    <a:lnTo>
                      <a:pt x="440" y="228"/>
                    </a:lnTo>
                    <a:lnTo>
                      <a:pt x="442" y="224"/>
                    </a:lnTo>
                    <a:lnTo>
                      <a:pt x="440" y="220"/>
                    </a:lnTo>
                    <a:lnTo>
                      <a:pt x="436" y="218"/>
                    </a:lnTo>
                    <a:lnTo>
                      <a:pt x="432" y="224"/>
                    </a:lnTo>
                    <a:lnTo>
                      <a:pt x="428" y="226"/>
                    </a:lnTo>
                    <a:lnTo>
                      <a:pt x="426" y="230"/>
                    </a:lnTo>
                    <a:lnTo>
                      <a:pt x="422" y="230"/>
                    </a:lnTo>
                    <a:lnTo>
                      <a:pt x="410" y="224"/>
                    </a:lnTo>
                    <a:lnTo>
                      <a:pt x="408" y="216"/>
                    </a:lnTo>
                    <a:lnTo>
                      <a:pt x="404" y="218"/>
                    </a:lnTo>
                    <a:lnTo>
                      <a:pt x="400" y="214"/>
                    </a:lnTo>
                    <a:lnTo>
                      <a:pt x="396" y="212"/>
                    </a:lnTo>
                    <a:lnTo>
                      <a:pt x="398" y="208"/>
                    </a:lnTo>
                    <a:lnTo>
                      <a:pt x="420" y="196"/>
                    </a:lnTo>
                    <a:lnTo>
                      <a:pt x="428" y="194"/>
                    </a:lnTo>
                    <a:lnTo>
                      <a:pt x="428" y="190"/>
                    </a:lnTo>
                    <a:lnTo>
                      <a:pt x="420" y="186"/>
                    </a:lnTo>
                    <a:lnTo>
                      <a:pt x="418" y="190"/>
                    </a:lnTo>
                    <a:lnTo>
                      <a:pt x="412" y="194"/>
                    </a:lnTo>
                    <a:lnTo>
                      <a:pt x="408" y="194"/>
                    </a:lnTo>
                    <a:lnTo>
                      <a:pt x="404" y="192"/>
                    </a:lnTo>
                    <a:lnTo>
                      <a:pt x="400" y="200"/>
                    </a:lnTo>
                    <a:lnTo>
                      <a:pt x="396" y="202"/>
                    </a:lnTo>
                    <a:lnTo>
                      <a:pt x="374" y="206"/>
                    </a:lnTo>
                    <a:lnTo>
                      <a:pt x="372" y="210"/>
                    </a:lnTo>
                    <a:lnTo>
                      <a:pt x="364" y="212"/>
                    </a:lnTo>
                    <a:lnTo>
                      <a:pt x="358" y="218"/>
                    </a:lnTo>
                    <a:lnTo>
                      <a:pt x="350" y="222"/>
                    </a:lnTo>
                    <a:lnTo>
                      <a:pt x="330" y="208"/>
                    </a:lnTo>
                    <a:lnTo>
                      <a:pt x="300" y="206"/>
                    </a:lnTo>
                    <a:lnTo>
                      <a:pt x="300" y="182"/>
                    </a:lnTo>
                    <a:lnTo>
                      <a:pt x="284" y="176"/>
                    </a:lnTo>
                    <a:lnTo>
                      <a:pt x="286" y="162"/>
                    </a:lnTo>
                    <a:lnTo>
                      <a:pt x="290" y="162"/>
                    </a:lnTo>
                    <a:lnTo>
                      <a:pt x="296" y="142"/>
                    </a:lnTo>
                    <a:lnTo>
                      <a:pt x="288" y="142"/>
                    </a:lnTo>
                    <a:lnTo>
                      <a:pt x="284" y="124"/>
                    </a:lnTo>
                    <a:lnTo>
                      <a:pt x="270" y="110"/>
                    </a:lnTo>
                    <a:lnTo>
                      <a:pt x="268" y="108"/>
                    </a:lnTo>
                    <a:lnTo>
                      <a:pt x="262" y="108"/>
                    </a:lnTo>
                    <a:lnTo>
                      <a:pt x="188" y="96"/>
                    </a:lnTo>
                    <a:lnTo>
                      <a:pt x="122" y="0"/>
                    </a:lnTo>
                    <a:lnTo>
                      <a:pt x="48"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69" name="Freeform 220"/>
              <p:cNvSpPr>
                <a:spLocks/>
              </p:cNvSpPr>
              <p:nvPr/>
            </p:nvSpPr>
            <p:spPr bwMode="auto">
              <a:xfrm>
                <a:off x="3017" y="3455"/>
                <a:ext cx="8" cy="12"/>
              </a:xfrm>
              <a:custGeom>
                <a:avLst/>
                <a:gdLst>
                  <a:gd name="T0" fmla="*/ 2 w 8"/>
                  <a:gd name="T1" fmla="*/ 2 h 12"/>
                  <a:gd name="T2" fmla="*/ 0 w 8"/>
                  <a:gd name="T3" fmla="*/ 2 h 12"/>
                  <a:gd name="T4" fmla="*/ 0 w 8"/>
                  <a:gd name="T5" fmla="*/ 8 h 12"/>
                  <a:gd name="T6" fmla="*/ 2 w 8"/>
                  <a:gd name="T7" fmla="*/ 12 h 12"/>
                  <a:gd name="T8" fmla="*/ 6 w 8"/>
                  <a:gd name="T9" fmla="*/ 8 h 12"/>
                  <a:gd name="T10" fmla="*/ 8 w 8"/>
                  <a:gd name="T11" fmla="*/ 4 h 12"/>
                  <a:gd name="T12" fmla="*/ 4 w 8"/>
                  <a:gd name="T13" fmla="*/ 0 h 12"/>
                  <a:gd name="T14" fmla="*/ 2 w 8"/>
                  <a:gd name="T15" fmla="*/ 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2" y="2"/>
                    </a:moveTo>
                    <a:lnTo>
                      <a:pt x="0" y="2"/>
                    </a:lnTo>
                    <a:lnTo>
                      <a:pt x="0" y="8"/>
                    </a:lnTo>
                    <a:lnTo>
                      <a:pt x="2" y="12"/>
                    </a:lnTo>
                    <a:lnTo>
                      <a:pt x="6" y="8"/>
                    </a:lnTo>
                    <a:lnTo>
                      <a:pt x="8" y="4"/>
                    </a:lnTo>
                    <a:lnTo>
                      <a:pt x="4" y="0"/>
                    </a:lnTo>
                    <a:lnTo>
                      <a:pt x="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70" name="Freeform 221"/>
              <p:cNvSpPr>
                <a:spLocks/>
              </p:cNvSpPr>
              <p:nvPr/>
            </p:nvSpPr>
            <p:spPr bwMode="auto">
              <a:xfrm>
                <a:off x="3017" y="3455"/>
                <a:ext cx="8" cy="12"/>
              </a:xfrm>
              <a:custGeom>
                <a:avLst/>
                <a:gdLst>
                  <a:gd name="T0" fmla="*/ 2 w 8"/>
                  <a:gd name="T1" fmla="*/ 2 h 12"/>
                  <a:gd name="T2" fmla="*/ 0 w 8"/>
                  <a:gd name="T3" fmla="*/ 2 h 12"/>
                  <a:gd name="T4" fmla="*/ 0 w 8"/>
                  <a:gd name="T5" fmla="*/ 8 h 12"/>
                  <a:gd name="T6" fmla="*/ 2 w 8"/>
                  <a:gd name="T7" fmla="*/ 12 h 12"/>
                  <a:gd name="T8" fmla="*/ 6 w 8"/>
                  <a:gd name="T9" fmla="*/ 8 h 12"/>
                  <a:gd name="T10" fmla="*/ 8 w 8"/>
                  <a:gd name="T11" fmla="*/ 4 h 12"/>
                  <a:gd name="T12" fmla="*/ 4 w 8"/>
                  <a:gd name="T13" fmla="*/ 0 h 12"/>
                  <a:gd name="T14" fmla="*/ 2 w 8"/>
                  <a:gd name="T15" fmla="*/ 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2" y="2"/>
                    </a:moveTo>
                    <a:lnTo>
                      <a:pt x="0" y="2"/>
                    </a:lnTo>
                    <a:lnTo>
                      <a:pt x="0" y="8"/>
                    </a:lnTo>
                    <a:lnTo>
                      <a:pt x="2" y="12"/>
                    </a:lnTo>
                    <a:lnTo>
                      <a:pt x="6" y="8"/>
                    </a:lnTo>
                    <a:lnTo>
                      <a:pt x="8" y="4"/>
                    </a:lnTo>
                    <a:lnTo>
                      <a:pt x="4" y="0"/>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71" name="Freeform 222"/>
              <p:cNvSpPr>
                <a:spLocks/>
              </p:cNvSpPr>
              <p:nvPr/>
            </p:nvSpPr>
            <p:spPr bwMode="auto">
              <a:xfrm>
                <a:off x="2985" y="2989"/>
                <a:ext cx="312" cy="542"/>
              </a:xfrm>
              <a:custGeom>
                <a:avLst/>
                <a:gdLst>
                  <a:gd name="T0" fmla="*/ 82 w 312"/>
                  <a:gd name="T1" fmla="*/ 16 h 542"/>
                  <a:gd name="T2" fmla="*/ 14 w 312"/>
                  <a:gd name="T3" fmla="*/ 54 h 542"/>
                  <a:gd name="T4" fmla="*/ 0 w 312"/>
                  <a:gd name="T5" fmla="*/ 98 h 542"/>
                  <a:gd name="T6" fmla="*/ 36 w 312"/>
                  <a:gd name="T7" fmla="*/ 140 h 542"/>
                  <a:gd name="T8" fmla="*/ 50 w 312"/>
                  <a:gd name="T9" fmla="*/ 174 h 542"/>
                  <a:gd name="T10" fmla="*/ 40 w 312"/>
                  <a:gd name="T11" fmla="*/ 200 h 542"/>
                  <a:gd name="T12" fmla="*/ 28 w 312"/>
                  <a:gd name="T13" fmla="*/ 224 h 542"/>
                  <a:gd name="T14" fmla="*/ 64 w 312"/>
                  <a:gd name="T15" fmla="*/ 260 h 542"/>
                  <a:gd name="T16" fmla="*/ 72 w 312"/>
                  <a:gd name="T17" fmla="*/ 294 h 542"/>
                  <a:gd name="T18" fmla="*/ 72 w 312"/>
                  <a:gd name="T19" fmla="*/ 350 h 542"/>
                  <a:gd name="T20" fmla="*/ 32 w 312"/>
                  <a:gd name="T21" fmla="*/ 458 h 542"/>
                  <a:gd name="T22" fmla="*/ 64 w 312"/>
                  <a:gd name="T23" fmla="*/ 474 h 542"/>
                  <a:gd name="T24" fmla="*/ 88 w 312"/>
                  <a:gd name="T25" fmla="*/ 494 h 542"/>
                  <a:gd name="T26" fmla="*/ 110 w 312"/>
                  <a:gd name="T27" fmla="*/ 510 h 542"/>
                  <a:gd name="T28" fmla="*/ 144 w 312"/>
                  <a:gd name="T29" fmla="*/ 516 h 542"/>
                  <a:gd name="T30" fmla="*/ 154 w 312"/>
                  <a:gd name="T31" fmla="*/ 542 h 542"/>
                  <a:gd name="T32" fmla="*/ 194 w 312"/>
                  <a:gd name="T33" fmla="*/ 520 h 542"/>
                  <a:gd name="T34" fmla="*/ 140 w 312"/>
                  <a:gd name="T35" fmla="*/ 498 h 542"/>
                  <a:gd name="T36" fmla="*/ 124 w 312"/>
                  <a:gd name="T37" fmla="*/ 480 h 542"/>
                  <a:gd name="T38" fmla="*/ 102 w 312"/>
                  <a:gd name="T39" fmla="*/ 426 h 542"/>
                  <a:gd name="T40" fmla="*/ 80 w 312"/>
                  <a:gd name="T41" fmla="*/ 424 h 542"/>
                  <a:gd name="T42" fmla="*/ 74 w 312"/>
                  <a:gd name="T43" fmla="*/ 376 h 542"/>
                  <a:gd name="T44" fmla="*/ 82 w 312"/>
                  <a:gd name="T45" fmla="*/ 358 h 542"/>
                  <a:gd name="T46" fmla="*/ 102 w 312"/>
                  <a:gd name="T47" fmla="*/ 280 h 542"/>
                  <a:gd name="T48" fmla="*/ 134 w 312"/>
                  <a:gd name="T49" fmla="*/ 260 h 542"/>
                  <a:gd name="T50" fmla="*/ 138 w 312"/>
                  <a:gd name="T51" fmla="*/ 292 h 542"/>
                  <a:gd name="T52" fmla="*/ 176 w 312"/>
                  <a:gd name="T53" fmla="*/ 286 h 542"/>
                  <a:gd name="T54" fmla="*/ 204 w 312"/>
                  <a:gd name="T55" fmla="*/ 300 h 542"/>
                  <a:gd name="T56" fmla="*/ 220 w 312"/>
                  <a:gd name="T57" fmla="*/ 316 h 542"/>
                  <a:gd name="T58" fmla="*/ 210 w 312"/>
                  <a:gd name="T59" fmla="*/ 288 h 542"/>
                  <a:gd name="T60" fmla="*/ 192 w 312"/>
                  <a:gd name="T61" fmla="*/ 250 h 542"/>
                  <a:gd name="T62" fmla="*/ 206 w 312"/>
                  <a:gd name="T63" fmla="*/ 236 h 542"/>
                  <a:gd name="T64" fmla="*/ 288 w 312"/>
                  <a:gd name="T65" fmla="*/ 202 h 542"/>
                  <a:gd name="T66" fmla="*/ 304 w 312"/>
                  <a:gd name="T67" fmla="*/ 200 h 542"/>
                  <a:gd name="T68" fmla="*/ 308 w 312"/>
                  <a:gd name="T69" fmla="*/ 164 h 542"/>
                  <a:gd name="T70" fmla="*/ 308 w 312"/>
                  <a:gd name="T71" fmla="*/ 148 h 542"/>
                  <a:gd name="T72" fmla="*/ 296 w 312"/>
                  <a:gd name="T73" fmla="*/ 138 h 542"/>
                  <a:gd name="T74" fmla="*/ 278 w 312"/>
                  <a:gd name="T75" fmla="*/ 130 h 542"/>
                  <a:gd name="T76" fmla="*/ 264 w 312"/>
                  <a:gd name="T77" fmla="*/ 86 h 542"/>
                  <a:gd name="T78" fmla="*/ 252 w 312"/>
                  <a:gd name="T79" fmla="*/ 78 h 542"/>
                  <a:gd name="T80" fmla="*/ 208 w 312"/>
                  <a:gd name="T81" fmla="*/ 76 h 542"/>
                  <a:gd name="T82" fmla="*/ 186 w 312"/>
                  <a:gd name="T83" fmla="*/ 88 h 542"/>
                  <a:gd name="T84" fmla="*/ 168 w 312"/>
                  <a:gd name="T85" fmla="*/ 80 h 542"/>
                  <a:gd name="T86" fmla="*/ 138 w 312"/>
                  <a:gd name="T87" fmla="*/ 100 h 542"/>
                  <a:gd name="T88" fmla="*/ 130 w 312"/>
                  <a:gd name="T89" fmla="*/ 108 h 542"/>
                  <a:gd name="T90" fmla="*/ 130 w 312"/>
                  <a:gd name="T91" fmla="*/ 46 h 542"/>
                  <a:gd name="T92" fmla="*/ 110 w 312"/>
                  <a:gd name="T93" fmla="*/ 36 h 542"/>
                  <a:gd name="T94" fmla="*/ 98 w 312"/>
                  <a:gd name="T95" fmla="*/ 6 h 542"/>
                  <a:gd name="T96" fmla="*/ 92 w 312"/>
                  <a:gd name="T97"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2" h="542">
                    <a:moveTo>
                      <a:pt x="94" y="0"/>
                    </a:moveTo>
                    <a:lnTo>
                      <a:pt x="90" y="2"/>
                    </a:lnTo>
                    <a:lnTo>
                      <a:pt x="82" y="16"/>
                    </a:lnTo>
                    <a:lnTo>
                      <a:pt x="72" y="20"/>
                    </a:lnTo>
                    <a:lnTo>
                      <a:pt x="44" y="46"/>
                    </a:lnTo>
                    <a:lnTo>
                      <a:pt x="14" y="54"/>
                    </a:lnTo>
                    <a:lnTo>
                      <a:pt x="4" y="86"/>
                    </a:lnTo>
                    <a:lnTo>
                      <a:pt x="6" y="92"/>
                    </a:lnTo>
                    <a:lnTo>
                      <a:pt x="0" y="98"/>
                    </a:lnTo>
                    <a:lnTo>
                      <a:pt x="14" y="126"/>
                    </a:lnTo>
                    <a:lnTo>
                      <a:pt x="30" y="134"/>
                    </a:lnTo>
                    <a:lnTo>
                      <a:pt x="36" y="140"/>
                    </a:lnTo>
                    <a:lnTo>
                      <a:pt x="40" y="168"/>
                    </a:lnTo>
                    <a:lnTo>
                      <a:pt x="46" y="168"/>
                    </a:lnTo>
                    <a:lnTo>
                      <a:pt x="50" y="174"/>
                    </a:lnTo>
                    <a:lnTo>
                      <a:pt x="46" y="178"/>
                    </a:lnTo>
                    <a:lnTo>
                      <a:pt x="40" y="194"/>
                    </a:lnTo>
                    <a:lnTo>
                      <a:pt x="40" y="200"/>
                    </a:lnTo>
                    <a:lnTo>
                      <a:pt x="30" y="210"/>
                    </a:lnTo>
                    <a:lnTo>
                      <a:pt x="28" y="214"/>
                    </a:lnTo>
                    <a:lnTo>
                      <a:pt x="28" y="224"/>
                    </a:lnTo>
                    <a:lnTo>
                      <a:pt x="32" y="234"/>
                    </a:lnTo>
                    <a:lnTo>
                      <a:pt x="60" y="252"/>
                    </a:lnTo>
                    <a:lnTo>
                      <a:pt x="64" y="260"/>
                    </a:lnTo>
                    <a:lnTo>
                      <a:pt x="66" y="282"/>
                    </a:lnTo>
                    <a:lnTo>
                      <a:pt x="70" y="294"/>
                    </a:lnTo>
                    <a:lnTo>
                      <a:pt x="72" y="294"/>
                    </a:lnTo>
                    <a:lnTo>
                      <a:pt x="86" y="324"/>
                    </a:lnTo>
                    <a:lnTo>
                      <a:pt x="86" y="330"/>
                    </a:lnTo>
                    <a:lnTo>
                      <a:pt x="72" y="350"/>
                    </a:lnTo>
                    <a:lnTo>
                      <a:pt x="64" y="356"/>
                    </a:lnTo>
                    <a:lnTo>
                      <a:pt x="50" y="392"/>
                    </a:lnTo>
                    <a:lnTo>
                      <a:pt x="32" y="458"/>
                    </a:lnTo>
                    <a:lnTo>
                      <a:pt x="34" y="464"/>
                    </a:lnTo>
                    <a:lnTo>
                      <a:pt x="50" y="460"/>
                    </a:lnTo>
                    <a:lnTo>
                      <a:pt x="64" y="474"/>
                    </a:lnTo>
                    <a:lnTo>
                      <a:pt x="68" y="476"/>
                    </a:lnTo>
                    <a:lnTo>
                      <a:pt x="80" y="488"/>
                    </a:lnTo>
                    <a:lnTo>
                      <a:pt x="88" y="494"/>
                    </a:lnTo>
                    <a:lnTo>
                      <a:pt x="92" y="502"/>
                    </a:lnTo>
                    <a:lnTo>
                      <a:pt x="112" y="520"/>
                    </a:lnTo>
                    <a:lnTo>
                      <a:pt x="110" y="510"/>
                    </a:lnTo>
                    <a:lnTo>
                      <a:pt x="118" y="510"/>
                    </a:lnTo>
                    <a:lnTo>
                      <a:pt x="124" y="514"/>
                    </a:lnTo>
                    <a:lnTo>
                      <a:pt x="144" y="516"/>
                    </a:lnTo>
                    <a:lnTo>
                      <a:pt x="152" y="524"/>
                    </a:lnTo>
                    <a:lnTo>
                      <a:pt x="150" y="536"/>
                    </a:lnTo>
                    <a:lnTo>
                      <a:pt x="154" y="542"/>
                    </a:lnTo>
                    <a:lnTo>
                      <a:pt x="172" y="530"/>
                    </a:lnTo>
                    <a:lnTo>
                      <a:pt x="188" y="528"/>
                    </a:lnTo>
                    <a:lnTo>
                      <a:pt x="194" y="520"/>
                    </a:lnTo>
                    <a:lnTo>
                      <a:pt x="178" y="504"/>
                    </a:lnTo>
                    <a:lnTo>
                      <a:pt x="166" y="496"/>
                    </a:lnTo>
                    <a:lnTo>
                      <a:pt x="140" y="498"/>
                    </a:lnTo>
                    <a:lnTo>
                      <a:pt x="130" y="488"/>
                    </a:lnTo>
                    <a:lnTo>
                      <a:pt x="126" y="486"/>
                    </a:lnTo>
                    <a:lnTo>
                      <a:pt x="124" y="480"/>
                    </a:lnTo>
                    <a:lnTo>
                      <a:pt x="118" y="458"/>
                    </a:lnTo>
                    <a:lnTo>
                      <a:pt x="106" y="446"/>
                    </a:lnTo>
                    <a:lnTo>
                      <a:pt x="102" y="426"/>
                    </a:lnTo>
                    <a:lnTo>
                      <a:pt x="98" y="420"/>
                    </a:lnTo>
                    <a:lnTo>
                      <a:pt x="90" y="418"/>
                    </a:lnTo>
                    <a:lnTo>
                      <a:pt x="80" y="424"/>
                    </a:lnTo>
                    <a:lnTo>
                      <a:pt x="74" y="422"/>
                    </a:lnTo>
                    <a:lnTo>
                      <a:pt x="68" y="386"/>
                    </a:lnTo>
                    <a:lnTo>
                      <a:pt x="74" y="376"/>
                    </a:lnTo>
                    <a:lnTo>
                      <a:pt x="74" y="368"/>
                    </a:lnTo>
                    <a:lnTo>
                      <a:pt x="78" y="366"/>
                    </a:lnTo>
                    <a:lnTo>
                      <a:pt x="82" y="358"/>
                    </a:lnTo>
                    <a:lnTo>
                      <a:pt x="82" y="352"/>
                    </a:lnTo>
                    <a:lnTo>
                      <a:pt x="98" y="314"/>
                    </a:lnTo>
                    <a:lnTo>
                      <a:pt x="102" y="280"/>
                    </a:lnTo>
                    <a:lnTo>
                      <a:pt x="98" y="266"/>
                    </a:lnTo>
                    <a:lnTo>
                      <a:pt x="120" y="260"/>
                    </a:lnTo>
                    <a:lnTo>
                      <a:pt x="134" y="260"/>
                    </a:lnTo>
                    <a:lnTo>
                      <a:pt x="138" y="264"/>
                    </a:lnTo>
                    <a:lnTo>
                      <a:pt x="136" y="286"/>
                    </a:lnTo>
                    <a:lnTo>
                      <a:pt x="138" y="292"/>
                    </a:lnTo>
                    <a:lnTo>
                      <a:pt x="142" y="292"/>
                    </a:lnTo>
                    <a:lnTo>
                      <a:pt x="140" y="290"/>
                    </a:lnTo>
                    <a:lnTo>
                      <a:pt x="176" y="286"/>
                    </a:lnTo>
                    <a:lnTo>
                      <a:pt x="194" y="298"/>
                    </a:lnTo>
                    <a:lnTo>
                      <a:pt x="204" y="302"/>
                    </a:lnTo>
                    <a:lnTo>
                      <a:pt x="204" y="300"/>
                    </a:lnTo>
                    <a:lnTo>
                      <a:pt x="208" y="302"/>
                    </a:lnTo>
                    <a:lnTo>
                      <a:pt x="214" y="314"/>
                    </a:lnTo>
                    <a:lnTo>
                      <a:pt x="220" y="316"/>
                    </a:lnTo>
                    <a:lnTo>
                      <a:pt x="220" y="310"/>
                    </a:lnTo>
                    <a:lnTo>
                      <a:pt x="220" y="306"/>
                    </a:lnTo>
                    <a:lnTo>
                      <a:pt x="210" y="288"/>
                    </a:lnTo>
                    <a:lnTo>
                      <a:pt x="200" y="282"/>
                    </a:lnTo>
                    <a:lnTo>
                      <a:pt x="190" y="262"/>
                    </a:lnTo>
                    <a:lnTo>
                      <a:pt x="192" y="250"/>
                    </a:lnTo>
                    <a:lnTo>
                      <a:pt x="196" y="246"/>
                    </a:lnTo>
                    <a:lnTo>
                      <a:pt x="200" y="238"/>
                    </a:lnTo>
                    <a:lnTo>
                      <a:pt x="206" y="236"/>
                    </a:lnTo>
                    <a:lnTo>
                      <a:pt x="220" y="216"/>
                    </a:lnTo>
                    <a:lnTo>
                      <a:pt x="226" y="212"/>
                    </a:lnTo>
                    <a:lnTo>
                      <a:pt x="288" y="202"/>
                    </a:lnTo>
                    <a:lnTo>
                      <a:pt x="296" y="208"/>
                    </a:lnTo>
                    <a:lnTo>
                      <a:pt x="304" y="202"/>
                    </a:lnTo>
                    <a:lnTo>
                      <a:pt x="304" y="200"/>
                    </a:lnTo>
                    <a:lnTo>
                      <a:pt x="306" y="200"/>
                    </a:lnTo>
                    <a:lnTo>
                      <a:pt x="312" y="192"/>
                    </a:lnTo>
                    <a:lnTo>
                      <a:pt x="308" y="164"/>
                    </a:lnTo>
                    <a:lnTo>
                      <a:pt x="310" y="158"/>
                    </a:lnTo>
                    <a:lnTo>
                      <a:pt x="310" y="150"/>
                    </a:lnTo>
                    <a:lnTo>
                      <a:pt x="308" y="148"/>
                    </a:lnTo>
                    <a:lnTo>
                      <a:pt x="304" y="144"/>
                    </a:lnTo>
                    <a:lnTo>
                      <a:pt x="298" y="142"/>
                    </a:lnTo>
                    <a:lnTo>
                      <a:pt x="296" y="138"/>
                    </a:lnTo>
                    <a:lnTo>
                      <a:pt x="290" y="138"/>
                    </a:lnTo>
                    <a:lnTo>
                      <a:pt x="284" y="136"/>
                    </a:lnTo>
                    <a:lnTo>
                      <a:pt x="278" y="130"/>
                    </a:lnTo>
                    <a:lnTo>
                      <a:pt x="274" y="124"/>
                    </a:lnTo>
                    <a:lnTo>
                      <a:pt x="272" y="100"/>
                    </a:lnTo>
                    <a:lnTo>
                      <a:pt x="264" y="86"/>
                    </a:lnTo>
                    <a:lnTo>
                      <a:pt x="260" y="84"/>
                    </a:lnTo>
                    <a:lnTo>
                      <a:pt x="258" y="80"/>
                    </a:lnTo>
                    <a:lnTo>
                      <a:pt x="252" y="78"/>
                    </a:lnTo>
                    <a:lnTo>
                      <a:pt x="232" y="62"/>
                    </a:lnTo>
                    <a:lnTo>
                      <a:pt x="210" y="68"/>
                    </a:lnTo>
                    <a:lnTo>
                      <a:pt x="208" y="76"/>
                    </a:lnTo>
                    <a:lnTo>
                      <a:pt x="204" y="80"/>
                    </a:lnTo>
                    <a:lnTo>
                      <a:pt x="190" y="88"/>
                    </a:lnTo>
                    <a:lnTo>
                      <a:pt x="186" y="88"/>
                    </a:lnTo>
                    <a:lnTo>
                      <a:pt x="178" y="86"/>
                    </a:lnTo>
                    <a:lnTo>
                      <a:pt x="174" y="80"/>
                    </a:lnTo>
                    <a:lnTo>
                      <a:pt x="168" y="80"/>
                    </a:lnTo>
                    <a:lnTo>
                      <a:pt x="154" y="86"/>
                    </a:lnTo>
                    <a:lnTo>
                      <a:pt x="146" y="96"/>
                    </a:lnTo>
                    <a:lnTo>
                      <a:pt x="138" y="100"/>
                    </a:lnTo>
                    <a:lnTo>
                      <a:pt x="132" y="108"/>
                    </a:lnTo>
                    <a:lnTo>
                      <a:pt x="130" y="110"/>
                    </a:lnTo>
                    <a:lnTo>
                      <a:pt x="130" y="108"/>
                    </a:lnTo>
                    <a:lnTo>
                      <a:pt x="126" y="100"/>
                    </a:lnTo>
                    <a:lnTo>
                      <a:pt x="132" y="56"/>
                    </a:lnTo>
                    <a:lnTo>
                      <a:pt x="130" y="46"/>
                    </a:lnTo>
                    <a:lnTo>
                      <a:pt x="132" y="34"/>
                    </a:lnTo>
                    <a:lnTo>
                      <a:pt x="128" y="32"/>
                    </a:lnTo>
                    <a:lnTo>
                      <a:pt x="110" y="36"/>
                    </a:lnTo>
                    <a:lnTo>
                      <a:pt x="108" y="34"/>
                    </a:lnTo>
                    <a:lnTo>
                      <a:pt x="104" y="14"/>
                    </a:lnTo>
                    <a:lnTo>
                      <a:pt x="98" y="6"/>
                    </a:lnTo>
                    <a:lnTo>
                      <a:pt x="94" y="8"/>
                    </a:lnTo>
                    <a:lnTo>
                      <a:pt x="92" y="6"/>
                    </a:lnTo>
                    <a:lnTo>
                      <a:pt x="92" y="0"/>
                    </a:lnTo>
                    <a:lnTo>
                      <a:pt x="94"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72" name="Freeform 223"/>
              <p:cNvSpPr>
                <a:spLocks/>
              </p:cNvSpPr>
              <p:nvPr/>
            </p:nvSpPr>
            <p:spPr bwMode="auto">
              <a:xfrm>
                <a:off x="2985" y="2989"/>
                <a:ext cx="312" cy="542"/>
              </a:xfrm>
              <a:custGeom>
                <a:avLst/>
                <a:gdLst>
                  <a:gd name="T0" fmla="*/ 82 w 312"/>
                  <a:gd name="T1" fmla="*/ 16 h 542"/>
                  <a:gd name="T2" fmla="*/ 14 w 312"/>
                  <a:gd name="T3" fmla="*/ 54 h 542"/>
                  <a:gd name="T4" fmla="*/ 0 w 312"/>
                  <a:gd name="T5" fmla="*/ 98 h 542"/>
                  <a:gd name="T6" fmla="*/ 36 w 312"/>
                  <a:gd name="T7" fmla="*/ 140 h 542"/>
                  <a:gd name="T8" fmla="*/ 50 w 312"/>
                  <a:gd name="T9" fmla="*/ 174 h 542"/>
                  <a:gd name="T10" fmla="*/ 40 w 312"/>
                  <a:gd name="T11" fmla="*/ 200 h 542"/>
                  <a:gd name="T12" fmla="*/ 28 w 312"/>
                  <a:gd name="T13" fmla="*/ 224 h 542"/>
                  <a:gd name="T14" fmla="*/ 64 w 312"/>
                  <a:gd name="T15" fmla="*/ 260 h 542"/>
                  <a:gd name="T16" fmla="*/ 72 w 312"/>
                  <a:gd name="T17" fmla="*/ 294 h 542"/>
                  <a:gd name="T18" fmla="*/ 72 w 312"/>
                  <a:gd name="T19" fmla="*/ 350 h 542"/>
                  <a:gd name="T20" fmla="*/ 32 w 312"/>
                  <a:gd name="T21" fmla="*/ 458 h 542"/>
                  <a:gd name="T22" fmla="*/ 64 w 312"/>
                  <a:gd name="T23" fmla="*/ 474 h 542"/>
                  <a:gd name="T24" fmla="*/ 88 w 312"/>
                  <a:gd name="T25" fmla="*/ 494 h 542"/>
                  <a:gd name="T26" fmla="*/ 110 w 312"/>
                  <a:gd name="T27" fmla="*/ 510 h 542"/>
                  <a:gd name="T28" fmla="*/ 144 w 312"/>
                  <a:gd name="T29" fmla="*/ 516 h 542"/>
                  <a:gd name="T30" fmla="*/ 154 w 312"/>
                  <a:gd name="T31" fmla="*/ 542 h 542"/>
                  <a:gd name="T32" fmla="*/ 194 w 312"/>
                  <a:gd name="T33" fmla="*/ 520 h 542"/>
                  <a:gd name="T34" fmla="*/ 140 w 312"/>
                  <a:gd name="T35" fmla="*/ 498 h 542"/>
                  <a:gd name="T36" fmla="*/ 124 w 312"/>
                  <a:gd name="T37" fmla="*/ 480 h 542"/>
                  <a:gd name="T38" fmla="*/ 102 w 312"/>
                  <a:gd name="T39" fmla="*/ 426 h 542"/>
                  <a:gd name="T40" fmla="*/ 80 w 312"/>
                  <a:gd name="T41" fmla="*/ 424 h 542"/>
                  <a:gd name="T42" fmla="*/ 74 w 312"/>
                  <a:gd name="T43" fmla="*/ 376 h 542"/>
                  <a:gd name="T44" fmla="*/ 82 w 312"/>
                  <a:gd name="T45" fmla="*/ 358 h 542"/>
                  <a:gd name="T46" fmla="*/ 102 w 312"/>
                  <a:gd name="T47" fmla="*/ 280 h 542"/>
                  <a:gd name="T48" fmla="*/ 134 w 312"/>
                  <a:gd name="T49" fmla="*/ 260 h 542"/>
                  <a:gd name="T50" fmla="*/ 138 w 312"/>
                  <a:gd name="T51" fmla="*/ 292 h 542"/>
                  <a:gd name="T52" fmla="*/ 176 w 312"/>
                  <a:gd name="T53" fmla="*/ 286 h 542"/>
                  <a:gd name="T54" fmla="*/ 204 w 312"/>
                  <a:gd name="T55" fmla="*/ 300 h 542"/>
                  <a:gd name="T56" fmla="*/ 220 w 312"/>
                  <a:gd name="T57" fmla="*/ 316 h 542"/>
                  <a:gd name="T58" fmla="*/ 210 w 312"/>
                  <a:gd name="T59" fmla="*/ 288 h 542"/>
                  <a:gd name="T60" fmla="*/ 192 w 312"/>
                  <a:gd name="T61" fmla="*/ 250 h 542"/>
                  <a:gd name="T62" fmla="*/ 206 w 312"/>
                  <a:gd name="T63" fmla="*/ 236 h 542"/>
                  <a:gd name="T64" fmla="*/ 288 w 312"/>
                  <a:gd name="T65" fmla="*/ 202 h 542"/>
                  <a:gd name="T66" fmla="*/ 304 w 312"/>
                  <a:gd name="T67" fmla="*/ 200 h 542"/>
                  <a:gd name="T68" fmla="*/ 308 w 312"/>
                  <a:gd name="T69" fmla="*/ 164 h 542"/>
                  <a:gd name="T70" fmla="*/ 308 w 312"/>
                  <a:gd name="T71" fmla="*/ 148 h 542"/>
                  <a:gd name="T72" fmla="*/ 296 w 312"/>
                  <a:gd name="T73" fmla="*/ 138 h 542"/>
                  <a:gd name="T74" fmla="*/ 278 w 312"/>
                  <a:gd name="T75" fmla="*/ 130 h 542"/>
                  <a:gd name="T76" fmla="*/ 264 w 312"/>
                  <a:gd name="T77" fmla="*/ 86 h 542"/>
                  <a:gd name="T78" fmla="*/ 252 w 312"/>
                  <a:gd name="T79" fmla="*/ 78 h 542"/>
                  <a:gd name="T80" fmla="*/ 208 w 312"/>
                  <a:gd name="T81" fmla="*/ 76 h 542"/>
                  <a:gd name="T82" fmla="*/ 186 w 312"/>
                  <a:gd name="T83" fmla="*/ 88 h 542"/>
                  <a:gd name="T84" fmla="*/ 168 w 312"/>
                  <a:gd name="T85" fmla="*/ 80 h 542"/>
                  <a:gd name="T86" fmla="*/ 138 w 312"/>
                  <a:gd name="T87" fmla="*/ 100 h 542"/>
                  <a:gd name="T88" fmla="*/ 130 w 312"/>
                  <a:gd name="T89" fmla="*/ 108 h 542"/>
                  <a:gd name="T90" fmla="*/ 130 w 312"/>
                  <a:gd name="T91" fmla="*/ 46 h 542"/>
                  <a:gd name="T92" fmla="*/ 110 w 312"/>
                  <a:gd name="T93" fmla="*/ 36 h 542"/>
                  <a:gd name="T94" fmla="*/ 98 w 312"/>
                  <a:gd name="T95" fmla="*/ 6 h 542"/>
                  <a:gd name="T96" fmla="*/ 92 w 312"/>
                  <a:gd name="T97"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2" h="542">
                    <a:moveTo>
                      <a:pt x="94" y="0"/>
                    </a:moveTo>
                    <a:lnTo>
                      <a:pt x="90" y="2"/>
                    </a:lnTo>
                    <a:lnTo>
                      <a:pt x="82" y="16"/>
                    </a:lnTo>
                    <a:lnTo>
                      <a:pt x="72" y="20"/>
                    </a:lnTo>
                    <a:lnTo>
                      <a:pt x="44" y="46"/>
                    </a:lnTo>
                    <a:lnTo>
                      <a:pt x="14" y="54"/>
                    </a:lnTo>
                    <a:lnTo>
                      <a:pt x="4" y="86"/>
                    </a:lnTo>
                    <a:lnTo>
                      <a:pt x="6" y="92"/>
                    </a:lnTo>
                    <a:lnTo>
                      <a:pt x="0" y="98"/>
                    </a:lnTo>
                    <a:lnTo>
                      <a:pt x="14" y="126"/>
                    </a:lnTo>
                    <a:lnTo>
                      <a:pt x="30" y="134"/>
                    </a:lnTo>
                    <a:lnTo>
                      <a:pt x="36" y="140"/>
                    </a:lnTo>
                    <a:lnTo>
                      <a:pt x="40" y="168"/>
                    </a:lnTo>
                    <a:lnTo>
                      <a:pt x="46" y="168"/>
                    </a:lnTo>
                    <a:lnTo>
                      <a:pt x="50" y="174"/>
                    </a:lnTo>
                    <a:lnTo>
                      <a:pt x="46" y="178"/>
                    </a:lnTo>
                    <a:lnTo>
                      <a:pt x="40" y="194"/>
                    </a:lnTo>
                    <a:lnTo>
                      <a:pt x="40" y="200"/>
                    </a:lnTo>
                    <a:lnTo>
                      <a:pt x="30" y="210"/>
                    </a:lnTo>
                    <a:lnTo>
                      <a:pt x="28" y="214"/>
                    </a:lnTo>
                    <a:lnTo>
                      <a:pt x="28" y="224"/>
                    </a:lnTo>
                    <a:lnTo>
                      <a:pt x="32" y="234"/>
                    </a:lnTo>
                    <a:lnTo>
                      <a:pt x="60" y="252"/>
                    </a:lnTo>
                    <a:lnTo>
                      <a:pt x="64" y="260"/>
                    </a:lnTo>
                    <a:lnTo>
                      <a:pt x="66" y="282"/>
                    </a:lnTo>
                    <a:lnTo>
                      <a:pt x="70" y="294"/>
                    </a:lnTo>
                    <a:lnTo>
                      <a:pt x="72" y="294"/>
                    </a:lnTo>
                    <a:lnTo>
                      <a:pt x="86" y="324"/>
                    </a:lnTo>
                    <a:lnTo>
                      <a:pt x="86" y="330"/>
                    </a:lnTo>
                    <a:lnTo>
                      <a:pt x="72" y="350"/>
                    </a:lnTo>
                    <a:lnTo>
                      <a:pt x="64" y="356"/>
                    </a:lnTo>
                    <a:lnTo>
                      <a:pt x="50" y="392"/>
                    </a:lnTo>
                    <a:lnTo>
                      <a:pt x="32" y="458"/>
                    </a:lnTo>
                    <a:lnTo>
                      <a:pt x="34" y="464"/>
                    </a:lnTo>
                    <a:lnTo>
                      <a:pt x="50" y="460"/>
                    </a:lnTo>
                    <a:lnTo>
                      <a:pt x="64" y="474"/>
                    </a:lnTo>
                    <a:lnTo>
                      <a:pt x="68" y="476"/>
                    </a:lnTo>
                    <a:lnTo>
                      <a:pt x="80" y="488"/>
                    </a:lnTo>
                    <a:lnTo>
                      <a:pt x="88" y="494"/>
                    </a:lnTo>
                    <a:lnTo>
                      <a:pt x="92" y="502"/>
                    </a:lnTo>
                    <a:lnTo>
                      <a:pt x="112" y="520"/>
                    </a:lnTo>
                    <a:lnTo>
                      <a:pt x="110" y="510"/>
                    </a:lnTo>
                    <a:lnTo>
                      <a:pt x="118" y="510"/>
                    </a:lnTo>
                    <a:lnTo>
                      <a:pt x="124" y="514"/>
                    </a:lnTo>
                    <a:lnTo>
                      <a:pt x="144" y="516"/>
                    </a:lnTo>
                    <a:lnTo>
                      <a:pt x="152" y="524"/>
                    </a:lnTo>
                    <a:lnTo>
                      <a:pt x="150" y="536"/>
                    </a:lnTo>
                    <a:lnTo>
                      <a:pt x="154" y="542"/>
                    </a:lnTo>
                    <a:lnTo>
                      <a:pt x="172" y="530"/>
                    </a:lnTo>
                    <a:lnTo>
                      <a:pt x="188" y="528"/>
                    </a:lnTo>
                    <a:lnTo>
                      <a:pt x="194" y="520"/>
                    </a:lnTo>
                    <a:lnTo>
                      <a:pt x="178" y="504"/>
                    </a:lnTo>
                    <a:lnTo>
                      <a:pt x="166" y="496"/>
                    </a:lnTo>
                    <a:lnTo>
                      <a:pt x="140" y="498"/>
                    </a:lnTo>
                    <a:lnTo>
                      <a:pt x="130" y="488"/>
                    </a:lnTo>
                    <a:lnTo>
                      <a:pt x="126" y="486"/>
                    </a:lnTo>
                    <a:lnTo>
                      <a:pt x="124" y="480"/>
                    </a:lnTo>
                    <a:lnTo>
                      <a:pt x="118" y="458"/>
                    </a:lnTo>
                    <a:lnTo>
                      <a:pt x="106" y="446"/>
                    </a:lnTo>
                    <a:lnTo>
                      <a:pt x="102" y="426"/>
                    </a:lnTo>
                    <a:lnTo>
                      <a:pt x="98" y="420"/>
                    </a:lnTo>
                    <a:lnTo>
                      <a:pt x="90" y="418"/>
                    </a:lnTo>
                    <a:lnTo>
                      <a:pt x="80" y="424"/>
                    </a:lnTo>
                    <a:lnTo>
                      <a:pt x="74" y="422"/>
                    </a:lnTo>
                    <a:lnTo>
                      <a:pt x="68" y="386"/>
                    </a:lnTo>
                    <a:lnTo>
                      <a:pt x="74" y="376"/>
                    </a:lnTo>
                    <a:lnTo>
                      <a:pt x="74" y="368"/>
                    </a:lnTo>
                    <a:lnTo>
                      <a:pt x="78" y="366"/>
                    </a:lnTo>
                    <a:lnTo>
                      <a:pt x="82" y="358"/>
                    </a:lnTo>
                    <a:lnTo>
                      <a:pt x="82" y="352"/>
                    </a:lnTo>
                    <a:lnTo>
                      <a:pt x="98" y="314"/>
                    </a:lnTo>
                    <a:lnTo>
                      <a:pt x="102" y="280"/>
                    </a:lnTo>
                    <a:lnTo>
                      <a:pt x="98" y="266"/>
                    </a:lnTo>
                    <a:lnTo>
                      <a:pt x="120" y="260"/>
                    </a:lnTo>
                    <a:lnTo>
                      <a:pt x="134" y="260"/>
                    </a:lnTo>
                    <a:lnTo>
                      <a:pt x="138" y="264"/>
                    </a:lnTo>
                    <a:lnTo>
                      <a:pt x="136" y="286"/>
                    </a:lnTo>
                    <a:lnTo>
                      <a:pt x="138" y="292"/>
                    </a:lnTo>
                    <a:lnTo>
                      <a:pt x="142" y="292"/>
                    </a:lnTo>
                    <a:lnTo>
                      <a:pt x="140" y="290"/>
                    </a:lnTo>
                    <a:lnTo>
                      <a:pt x="176" y="286"/>
                    </a:lnTo>
                    <a:lnTo>
                      <a:pt x="194" y="298"/>
                    </a:lnTo>
                    <a:lnTo>
                      <a:pt x="204" y="302"/>
                    </a:lnTo>
                    <a:lnTo>
                      <a:pt x="204" y="300"/>
                    </a:lnTo>
                    <a:lnTo>
                      <a:pt x="208" y="302"/>
                    </a:lnTo>
                    <a:lnTo>
                      <a:pt x="214" y="314"/>
                    </a:lnTo>
                    <a:lnTo>
                      <a:pt x="220" y="316"/>
                    </a:lnTo>
                    <a:lnTo>
                      <a:pt x="220" y="310"/>
                    </a:lnTo>
                    <a:lnTo>
                      <a:pt x="220" y="306"/>
                    </a:lnTo>
                    <a:lnTo>
                      <a:pt x="210" y="288"/>
                    </a:lnTo>
                    <a:lnTo>
                      <a:pt x="200" y="282"/>
                    </a:lnTo>
                    <a:lnTo>
                      <a:pt x="190" y="262"/>
                    </a:lnTo>
                    <a:lnTo>
                      <a:pt x="192" y="250"/>
                    </a:lnTo>
                    <a:lnTo>
                      <a:pt x="196" y="246"/>
                    </a:lnTo>
                    <a:lnTo>
                      <a:pt x="200" y="238"/>
                    </a:lnTo>
                    <a:lnTo>
                      <a:pt x="206" y="236"/>
                    </a:lnTo>
                    <a:lnTo>
                      <a:pt x="220" y="216"/>
                    </a:lnTo>
                    <a:lnTo>
                      <a:pt x="226" y="212"/>
                    </a:lnTo>
                    <a:lnTo>
                      <a:pt x="288" y="202"/>
                    </a:lnTo>
                    <a:lnTo>
                      <a:pt x="296" y="208"/>
                    </a:lnTo>
                    <a:lnTo>
                      <a:pt x="304" y="202"/>
                    </a:lnTo>
                    <a:lnTo>
                      <a:pt x="304" y="200"/>
                    </a:lnTo>
                    <a:lnTo>
                      <a:pt x="306" y="200"/>
                    </a:lnTo>
                    <a:lnTo>
                      <a:pt x="312" y="192"/>
                    </a:lnTo>
                    <a:lnTo>
                      <a:pt x="308" y="164"/>
                    </a:lnTo>
                    <a:lnTo>
                      <a:pt x="310" y="158"/>
                    </a:lnTo>
                    <a:lnTo>
                      <a:pt x="310" y="150"/>
                    </a:lnTo>
                    <a:lnTo>
                      <a:pt x="308" y="148"/>
                    </a:lnTo>
                    <a:lnTo>
                      <a:pt x="304" y="144"/>
                    </a:lnTo>
                    <a:lnTo>
                      <a:pt x="298" y="142"/>
                    </a:lnTo>
                    <a:lnTo>
                      <a:pt x="296" y="138"/>
                    </a:lnTo>
                    <a:lnTo>
                      <a:pt x="290" y="138"/>
                    </a:lnTo>
                    <a:lnTo>
                      <a:pt x="284" y="136"/>
                    </a:lnTo>
                    <a:lnTo>
                      <a:pt x="278" y="130"/>
                    </a:lnTo>
                    <a:lnTo>
                      <a:pt x="274" y="124"/>
                    </a:lnTo>
                    <a:lnTo>
                      <a:pt x="272" y="100"/>
                    </a:lnTo>
                    <a:lnTo>
                      <a:pt x="264" y="86"/>
                    </a:lnTo>
                    <a:lnTo>
                      <a:pt x="260" y="84"/>
                    </a:lnTo>
                    <a:lnTo>
                      <a:pt x="258" y="80"/>
                    </a:lnTo>
                    <a:lnTo>
                      <a:pt x="252" y="78"/>
                    </a:lnTo>
                    <a:lnTo>
                      <a:pt x="232" y="62"/>
                    </a:lnTo>
                    <a:lnTo>
                      <a:pt x="210" y="68"/>
                    </a:lnTo>
                    <a:lnTo>
                      <a:pt x="208" y="76"/>
                    </a:lnTo>
                    <a:lnTo>
                      <a:pt x="204" y="80"/>
                    </a:lnTo>
                    <a:lnTo>
                      <a:pt x="190" y="88"/>
                    </a:lnTo>
                    <a:lnTo>
                      <a:pt x="186" y="88"/>
                    </a:lnTo>
                    <a:lnTo>
                      <a:pt x="178" y="86"/>
                    </a:lnTo>
                    <a:lnTo>
                      <a:pt x="174" y="80"/>
                    </a:lnTo>
                    <a:lnTo>
                      <a:pt x="168" y="80"/>
                    </a:lnTo>
                    <a:lnTo>
                      <a:pt x="154" y="86"/>
                    </a:lnTo>
                    <a:lnTo>
                      <a:pt x="146" y="96"/>
                    </a:lnTo>
                    <a:lnTo>
                      <a:pt x="138" y="100"/>
                    </a:lnTo>
                    <a:lnTo>
                      <a:pt x="132" y="108"/>
                    </a:lnTo>
                    <a:lnTo>
                      <a:pt x="130" y="110"/>
                    </a:lnTo>
                    <a:lnTo>
                      <a:pt x="130" y="108"/>
                    </a:lnTo>
                    <a:lnTo>
                      <a:pt x="126" y="100"/>
                    </a:lnTo>
                    <a:lnTo>
                      <a:pt x="132" y="56"/>
                    </a:lnTo>
                    <a:lnTo>
                      <a:pt x="130" y="46"/>
                    </a:lnTo>
                    <a:lnTo>
                      <a:pt x="132" y="34"/>
                    </a:lnTo>
                    <a:lnTo>
                      <a:pt x="128" y="32"/>
                    </a:lnTo>
                    <a:lnTo>
                      <a:pt x="110" y="36"/>
                    </a:lnTo>
                    <a:lnTo>
                      <a:pt x="108" y="34"/>
                    </a:lnTo>
                    <a:lnTo>
                      <a:pt x="104" y="14"/>
                    </a:lnTo>
                    <a:lnTo>
                      <a:pt x="98" y="6"/>
                    </a:lnTo>
                    <a:lnTo>
                      <a:pt x="94" y="8"/>
                    </a:lnTo>
                    <a:lnTo>
                      <a:pt x="92" y="6"/>
                    </a:lnTo>
                    <a:lnTo>
                      <a:pt x="92" y="0"/>
                    </a:lnTo>
                    <a:lnTo>
                      <a:pt x="94"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73" name="Freeform 224"/>
              <p:cNvSpPr>
                <a:spLocks/>
              </p:cNvSpPr>
              <p:nvPr/>
            </p:nvSpPr>
            <p:spPr bwMode="auto">
              <a:xfrm>
                <a:off x="4851" y="3269"/>
                <a:ext cx="94" cy="310"/>
              </a:xfrm>
              <a:custGeom>
                <a:avLst/>
                <a:gdLst>
                  <a:gd name="T0" fmla="*/ 82 w 94"/>
                  <a:gd name="T1" fmla="*/ 6 h 310"/>
                  <a:gd name="T2" fmla="*/ 0 w 94"/>
                  <a:gd name="T3" fmla="*/ 20 h 310"/>
                  <a:gd name="T4" fmla="*/ 28 w 94"/>
                  <a:gd name="T5" fmla="*/ 204 h 310"/>
                  <a:gd name="T6" fmla="*/ 26 w 94"/>
                  <a:gd name="T7" fmla="*/ 210 h 310"/>
                  <a:gd name="T8" fmla="*/ 34 w 94"/>
                  <a:gd name="T9" fmla="*/ 220 h 310"/>
                  <a:gd name="T10" fmla="*/ 46 w 94"/>
                  <a:gd name="T11" fmla="*/ 310 h 310"/>
                  <a:gd name="T12" fmla="*/ 56 w 94"/>
                  <a:gd name="T13" fmla="*/ 304 h 310"/>
                  <a:gd name="T14" fmla="*/ 60 w 94"/>
                  <a:gd name="T15" fmla="*/ 304 h 310"/>
                  <a:gd name="T16" fmla="*/ 94 w 94"/>
                  <a:gd name="T17" fmla="*/ 286 h 310"/>
                  <a:gd name="T18" fmla="*/ 94 w 94"/>
                  <a:gd name="T19" fmla="*/ 0 h 310"/>
                  <a:gd name="T20" fmla="*/ 82 w 94"/>
                  <a:gd name="T21" fmla="*/ 6 h 310"/>
                  <a:gd name="T22" fmla="*/ 82 w 94"/>
                  <a:gd name="T23" fmla="*/ 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310">
                    <a:moveTo>
                      <a:pt x="82" y="6"/>
                    </a:moveTo>
                    <a:lnTo>
                      <a:pt x="0" y="20"/>
                    </a:lnTo>
                    <a:lnTo>
                      <a:pt x="28" y="204"/>
                    </a:lnTo>
                    <a:lnTo>
                      <a:pt x="26" y="210"/>
                    </a:lnTo>
                    <a:lnTo>
                      <a:pt x="34" y="220"/>
                    </a:lnTo>
                    <a:lnTo>
                      <a:pt x="46" y="310"/>
                    </a:lnTo>
                    <a:lnTo>
                      <a:pt x="56" y="304"/>
                    </a:lnTo>
                    <a:lnTo>
                      <a:pt x="60" y="304"/>
                    </a:lnTo>
                    <a:lnTo>
                      <a:pt x="94" y="286"/>
                    </a:lnTo>
                    <a:lnTo>
                      <a:pt x="94" y="0"/>
                    </a:lnTo>
                    <a:lnTo>
                      <a:pt x="82" y="6"/>
                    </a:lnTo>
                    <a:lnTo>
                      <a:pt x="82" y="6"/>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74" name="Freeform 225"/>
              <p:cNvSpPr>
                <a:spLocks/>
              </p:cNvSpPr>
              <p:nvPr/>
            </p:nvSpPr>
            <p:spPr bwMode="auto">
              <a:xfrm>
                <a:off x="3135" y="463"/>
                <a:ext cx="34" cy="46"/>
              </a:xfrm>
              <a:custGeom>
                <a:avLst/>
                <a:gdLst>
                  <a:gd name="T0" fmla="*/ 2 w 34"/>
                  <a:gd name="T1" fmla="*/ 30 h 46"/>
                  <a:gd name="T2" fmla="*/ 2 w 34"/>
                  <a:gd name="T3" fmla="*/ 28 h 46"/>
                  <a:gd name="T4" fmla="*/ 2 w 34"/>
                  <a:gd name="T5" fmla="*/ 26 h 46"/>
                  <a:gd name="T6" fmla="*/ 2 w 34"/>
                  <a:gd name="T7" fmla="*/ 22 h 46"/>
                  <a:gd name="T8" fmla="*/ 0 w 34"/>
                  <a:gd name="T9" fmla="*/ 20 h 46"/>
                  <a:gd name="T10" fmla="*/ 0 w 34"/>
                  <a:gd name="T11" fmla="*/ 18 h 46"/>
                  <a:gd name="T12" fmla="*/ 0 w 34"/>
                  <a:gd name="T13" fmla="*/ 18 h 46"/>
                  <a:gd name="T14" fmla="*/ 2 w 34"/>
                  <a:gd name="T15" fmla="*/ 8 h 46"/>
                  <a:gd name="T16" fmla="*/ 2 w 34"/>
                  <a:gd name="T17" fmla="*/ 6 h 46"/>
                  <a:gd name="T18" fmla="*/ 4 w 34"/>
                  <a:gd name="T19" fmla="*/ 6 h 46"/>
                  <a:gd name="T20" fmla="*/ 4 w 34"/>
                  <a:gd name="T21" fmla="*/ 6 h 46"/>
                  <a:gd name="T22" fmla="*/ 8 w 34"/>
                  <a:gd name="T23" fmla="*/ 0 h 46"/>
                  <a:gd name="T24" fmla="*/ 12 w 34"/>
                  <a:gd name="T25" fmla="*/ 0 h 46"/>
                  <a:gd name="T26" fmla="*/ 14 w 34"/>
                  <a:gd name="T27" fmla="*/ 0 h 46"/>
                  <a:gd name="T28" fmla="*/ 26 w 34"/>
                  <a:gd name="T29" fmla="*/ 18 h 46"/>
                  <a:gd name="T30" fmla="*/ 26 w 34"/>
                  <a:gd name="T31" fmla="*/ 22 h 46"/>
                  <a:gd name="T32" fmla="*/ 26 w 34"/>
                  <a:gd name="T33" fmla="*/ 22 h 46"/>
                  <a:gd name="T34" fmla="*/ 26 w 34"/>
                  <a:gd name="T35" fmla="*/ 30 h 46"/>
                  <a:gd name="T36" fmla="*/ 26 w 34"/>
                  <a:gd name="T37" fmla="*/ 32 h 46"/>
                  <a:gd name="T38" fmla="*/ 28 w 34"/>
                  <a:gd name="T39" fmla="*/ 32 h 46"/>
                  <a:gd name="T40" fmla="*/ 32 w 34"/>
                  <a:gd name="T41" fmla="*/ 34 h 46"/>
                  <a:gd name="T42" fmla="*/ 32 w 34"/>
                  <a:gd name="T43" fmla="*/ 38 h 46"/>
                  <a:gd name="T44" fmla="*/ 32 w 34"/>
                  <a:gd name="T45" fmla="*/ 38 h 46"/>
                  <a:gd name="T46" fmla="*/ 34 w 34"/>
                  <a:gd name="T47" fmla="*/ 42 h 46"/>
                  <a:gd name="T48" fmla="*/ 32 w 34"/>
                  <a:gd name="T49" fmla="*/ 44 h 46"/>
                  <a:gd name="T50" fmla="*/ 26 w 34"/>
                  <a:gd name="T51" fmla="*/ 46 h 46"/>
                  <a:gd name="T52" fmla="*/ 24 w 34"/>
                  <a:gd name="T53" fmla="*/ 46 h 46"/>
                  <a:gd name="T54" fmla="*/ 22 w 34"/>
                  <a:gd name="T55" fmla="*/ 44 h 46"/>
                  <a:gd name="T56" fmla="*/ 18 w 34"/>
                  <a:gd name="T57" fmla="*/ 44 h 46"/>
                  <a:gd name="T58" fmla="*/ 8 w 34"/>
                  <a:gd name="T59" fmla="*/ 34 h 46"/>
                  <a:gd name="T60" fmla="*/ 6 w 34"/>
                  <a:gd name="T61" fmla="*/ 34 h 46"/>
                  <a:gd name="T62" fmla="*/ 4 w 34"/>
                  <a:gd name="T63" fmla="*/ 32 h 46"/>
                  <a:gd name="T64" fmla="*/ 2 w 34"/>
                  <a:gd name="T65" fmla="*/ 30 h 46"/>
                  <a:gd name="T66" fmla="*/ 2 w 34"/>
                  <a:gd name="T67" fmla="*/ 30 h 46"/>
                  <a:gd name="T68" fmla="*/ 2 w 34"/>
                  <a:gd name="T6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46">
                    <a:moveTo>
                      <a:pt x="2" y="30"/>
                    </a:moveTo>
                    <a:lnTo>
                      <a:pt x="2" y="28"/>
                    </a:lnTo>
                    <a:lnTo>
                      <a:pt x="2" y="26"/>
                    </a:lnTo>
                    <a:lnTo>
                      <a:pt x="2" y="22"/>
                    </a:lnTo>
                    <a:lnTo>
                      <a:pt x="0" y="20"/>
                    </a:lnTo>
                    <a:lnTo>
                      <a:pt x="0" y="18"/>
                    </a:lnTo>
                    <a:lnTo>
                      <a:pt x="0" y="18"/>
                    </a:lnTo>
                    <a:lnTo>
                      <a:pt x="2" y="8"/>
                    </a:lnTo>
                    <a:lnTo>
                      <a:pt x="2" y="6"/>
                    </a:lnTo>
                    <a:lnTo>
                      <a:pt x="4" y="6"/>
                    </a:lnTo>
                    <a:lnTo>
                      <a:pt x="4" y="6"/>
                    </a:lnTo>
                    <a:lnTo>
                      <a:pt x="8" y="0"/>
                    </a:lnTo>
                    <a:lnTo>
                      <a:pt x="12" y="0"/>
                    </a:lnTo>
                    <a:lnTo>
                      <a:pt x="14" y="0"/>
                    </a:lnTo>
                    <a:lnTo>
                      <a:pt x="26" y="18"/>
                    </a:lnTo>
                    <a:lnTo>
                      <a:pt x="26" y="22"/>
                    </a:lnTo>
                    <a:lnTo>
                      <a:pt x="26" y="22"/>
                    </a:lnTo>
                    <a:lnTo>
                      <a:pt x="26" y="30"/>
                    </a:lnTo>
                    <a:lnTo>
                      <a:pt x="26" y="32"/>
                    </a:lnTo>
                    <a:lnTo>
                      <a:pt x="28" y="32"/>
                    </a:lnTo>
                    <a:lnTo>
                      <a:pt x="32" y="34"/>
                    </a:lnTo>
                    <a:lnTo>
                      <a:pt x="32" y="38"/>
                    </a:lnTo>
                    <a:lnTo>
                      <a:pt x="32" y="38"/>
                    </a:lnTo>
                    <a:lnTo>
                      <a:pt x="34" y="42"/>
                    </a:lnTo>
                    <a:lnTo>
                      <a:pt x="32" y="44"/>
                    </a:lnTo>
                    <a:lnTo>
                      <a:pt x="26" y="46"/>
                    </a:lnTo>
                    <a:lnTo>
                      <a:pt x="24" y="46"/>
                    </a:lnTo>
                    <a:lnTo>
                      <a:pt x="22" y="44"/>
                    </a:lnTo>
                    <a:lnTo>
                      <a:pt x="18" y="44"/>
                    </a:lnTo>
                    <a:lnTo>
                      <a:pt x="8" y="34"/>
                    </a:lnTo>
                    <a:lnTo>
                      <a:pt x="6" y="34"/>
                    </a:lnTo>
                    <a:lnTo>
                      <a:pt x="4" y="32"/>
                    </a:lnTo>
                    <a:lnTo>
                      <a:pt x="2" y="30"/>
                    </a:lnTo>
                    <a:lnTo>
                      <a:pt x="2" y="30"/>
                    </a:lnTo>
                    <a:lnTo>
                      <a:pt x="2" y="30"/>
                    </a:lnTo>
                    <a:close/>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75" name="Freeform 226"/>
              <p:cNvSpPr>
                <a:spLocks/>
              </p:cNvSpPr>
              <p:nvPr/>
            </p:nvSpPr>
            <p:spPr bwMode="auto">
              <a:xfrm>
                <a:off x="1415" y="2705"/>
                <a:ext cx="10" cy="6"/>
              </a:xfrm>
              <a:custGeom>
                <a:avLst/>
                <a:gdLst>
                  <a:gd name="T0" fmla="*/ 0 w 10"/>
                  <a:gd name="T1" fmla="*/ 2 h 6"/>
                  <a:gd name="T2" fmla="*/ 4 w 10"/>
                  <a:gd name="T3" fmla="*/ 4 h 6"/>
                  <a:gd name="T4" fmla="*/ 6 w 10"/>
                  <a:gd name="T5" fmla="*/ 4 h 6"/>
                  <a:gd name="T6" fmla="*/ 8 w 10"/>
                  <a:gd name="T7" fmla="*/ 6 h 6"/>
                  <a:gd name="T8" fmla="*/ 10 w 10"/>
                  <a:gd name="T9" fmla="*/ 4 h 6"/>
                  <a:gd name="T10" fmla="*/ 8 w 10"/>
                  <a:gd name="T11" fmla="*/ 4 h 6"/>
                  <a:gd name="T12" fmla="*/ 8 w 10"/>
                  <a:gd name="T13" fmla="*/ 4 h 6"/>
                  <a:gd name="T14" fmla="*/ 8 w 10"/>
                  <a:gd name="T15" fmla="*/ 2 h 6"/>
                  <a:gd name="T16" fmla="*/ 6 w 10"/>
                  <a:gd name="T17" fmla="*/ 0 h 6"/>
                  <a:gd name="T18" fmla="*/ 2 w 10"/>
                  <a:gd name="T19" fmla="*/ 0 h 6"/>
                  <a:gd name="T20" fmla="*/ 0 w 10"/>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
                    <a:moveTo>
                      <a:pt x="0" y="2"/>
                    </a:moveTo>
                    <a:lnTo>
                      <a:pt x="4" y="4"/>
                    </a:lnTo>
                    <a:lnTo>
                      <a:pt x="6" y="4"/>
                    </a:lnTo>
                    <a:lnTo>
                      <a:pt x="8" y="6"/>
                    </a:lnTo>
                    <a:lnTo>
                      <a:pt x="10" y="4"/>
                    </a:lnTo>
                    <a:lnTo>
                      <a:pt x="8" y="4"/>
                    </a:lnTo>
                    <a:lnTo>
                      <a:pt x="8" y="4"/>
                    </a:lnTo>
                    <a:lnTo>
                      <a:pt x="8" y="2"/>
                    </a:lnTo>
                    <a:lnTo>
                      <a:pt x="6" y="0"/>
                    </a:lnTo>
                    <a:lnTo>
                      <a:pt x="2" y="0"/>
                    </a:lnTo>
                    <a:lnTo>
                      <a:pt x="0"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76" name="Freeform 227"/>
              <p:cNvSpPr>
                <a:spLocks/>
              </p:cNvSpPr>
              <p:nvPr/>
            </p:nvSpPr>
            <p:spPr bwMode="auto">
              <a:xfrm>
                <a:off x="1415" y="2705"/>
                <a:ext cx="10" cy="6"/>
              </a:xfrm>
              <a:custGeom>
                <a:avLst/>
                <a:gdLst>
                  <a:gd name="T0" fmla="*/ 0 w 10"/>
                  <a:gd name="T1" fmla="*/ 2 h 6"/>
                  <a:gd name="T2" fmla="*/ 4 w 10"/>
                  <a:gd name="T3" fmla="*/ 4 h 6"/>
                  <a:gd name="T4" fmla="*/ 6 w 10"/>
                  <a:gd name="T5" fmla="*/ 4 h 6"/>
                  <a:gd name="T6" fmla="*/ 8 w 10"/>
                  <a:gd name="T7" fmla="*/ 6 h 6"/>
                  <a:gd name="T8" fmla="*/ 10 w 10"/>
                  <a:gd name="T9" fmla="*/ 4 h 6"/>
                  <a:gd name="T10" fmla="*/ 8 w 10"/>
                  <a:gd name="T11" fmla="*/ 4 h 6"/>
                  <a:gd name="T12" fmla="*/ 8 w 10"/>
                  <a:gd name="T13" fmla="*/ 4 h 6"/>
                  <a:gd name="T14" fmla="*/ 8 w 10"/>
                  <a:gd name="T15" fmla="*/ 2 h 6"/>
                  <a:gd name="T16" fmla="*/ 6 w 10"/>
                  <a:gd name="T17" fmla="*/ 0 h 6"/>
                  <a:gd name="T18" fmla="*/ 2 w 10"/>
                  <a:gd name="T19" fmla="*/ 0 h 6"/>
                  <a:gd name="T20" fmla="*/ 0 w 10"/>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
                    <a:moveTo>
                      <a:pt x="0" y="2"/>
                    </a:moveTo>
                    <a:lnTo>
                      <a:pt x="4" y="4"/>
                    </a:lnTo>
                    <a:lnTo>
                      <a:pt x="6" y="4"/>
                    </a:lnTo>
                    <a:lnTo>
                      <a:pt x="8" y="6"/>
                    </a:lnTo>
                    <a:lnTo>
                      <a:pt x="10" y="4"/>
                    </a:lnTo>
                    <a:lnTo>
                      <a:pt x="8" y="4"/>
                    </a:lnTo>
                    <a:lnTo>
                      <a:pt x="8" y="4"/>
                    </a:lnTo>
                    <a:lnTo>
                      <a:pt x="8" y="2"/>
                    </a:lnTo>
                    <a:lnTo>
                      <a:pt x="6" y="0"/>
                    </a:lnTo>
                    <a:lnTo>
                      <a:pt x="2" y="0"/>
                    </a:lnTo>
                    <a:lnTo>
                      <a:pt x="0"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77" name="Freeform 228"/>
              <p:cNvSpPr>
                <a:spLocks/>
              </p:cNvSpPr>
              <p:nvPr/>
            </p:nvSpPr>
            <p:spPr bwMode="auto">
              <a:xfrm>
                <a:off x="3019" y="3321"/>
                <a:ext cx="10" cy="10"/>
              </a:xfrm>
              <a:custGeom>
                <a:avLst/>
                <a:gdLst>
                  <a:gd name="T0" fmla="*/ 6 w 10"/>
                  <a:gd name="T1" fmla="*/ 0 h 10"/>
                  <a:gd name="T2" fmla="*/ 8 w 10"/>
                  <a:gd name="T3" fmla="*/ 2 h 10"/>
                  <a:gd name="T4" fmla="*/ 6 w 10"/>
                  <a:gd name="T5" fmla="*/ 0 h 10"/>
                  <a:gd name="T6" fmla="*/ 0 w 10"/>
                  <a:gd name="T7" fmla="*/ 10 h 10"/>
                  <a:gd name="T8" fmla="*/ 6 w 10"/>
                  <a:gd name="T9" fmla="*/ 10 h 10"/>
                  <a:gd name="T10" fmla="*/ 8 w 10"/>
                  <a:gd name="T11" fmla="*/ 10 h 10"/>
                  <a:gd name="T12" fmla="*/ 10 w 10"/>
                  <a:gd name="T13" fmla="*/ 4 h 10"/>
                  <a:gd name="T14" fmla="*/ 6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6" y="0"/>
                    </a:moveTo>
                    <a:lnTo>
                      <a:pt x="8" y="2"/>
                    </a:lnTo>
                    <a:lnTo>
                      <a:pt x="6" y="0"/>
                    </a:lnTo>
                    <a:lnTo>
                      <a:pt x="0" y="10"/>
                    </a:lnTo>
                    <a:lnTo>
                      <a:pt x="6" y="10"/>
                    </a:lnTo>
                    <a:lnTo>
                      <a:pt x="8" y="10"/>
                    </a:lnTo>
                    <a:lnTo>
                      <a:pt x="10" y="4"/>
                    </a:lnTo>
                    <a:lnTo>
                      <a:pt x="6"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78" name="Freeform 229"/>
              <p:cNvSpPr>
                <a:spLocks/>
              </p:cNvSpPr>
              <p:nvPr/>
            </p:nvSpPr>
            <p:spPr bwMode="auto">
              <a:xfrm>
                <a:off x="3019" y="3321"/>
                <a:ext cx="10" cy="10"/>
              </a:xfrm>
              <a:custGeom>
                <a:avLst/>
                <a:gdLst>
                  <a:gd name="T0" fmla="*/ 6 w 10"/>
                  <a:gd name="T1" fmla="*/ 0 h 10"/>
                  <a:gd name="T2" fmla="*/ 8 w 10"/>
                  <a:gd name="T3" fmla="*/ 2 h 10"/>
                  <a:gd name="T4" fmla="*/ 6 w 10"/>
                  <a:gd name="T5" fmla="*/ 0 h 10"/>
                  <a:gd name="T6" fmla="*/ 0 w 10"/>
                  <a:gd name="T7" fmla="*/ 10 h 10"/>
                  <a:gd name="T8" fmla="*/ 6 w 10"/>
                  <a:gd name="T9" fmla="*/ 10 h 10"/>
                  <a:gd name="T10" fmla="*/ 8 w 10"/>
                  <a:gd name="T11" fmla="*/ 10 h 10"/>
                  <a:gd name="T12" fmla="*/ 10 w 10"/>
                  <a:gd name="T13" fmla="*/ 4 h 10"/>
                  <a:gd name="T14" fmla="*/ 6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6" y="0"/>
                    </a:moveTo>
                    <a:lnTo>
                      <a:pt x="8" y="2"/>
                    </a:lnTo>
                    <a:lnTo>
                      <a:pt x="6" y="0"/>
                    </a:lnTo>
                    <a:lnTo>
                      <a:pt x="0" y="10"/>
                    </a:lnTo>
                    <a:lnTo>
                      <a:pt x="6" y="10"/>
                    </a:lnTo>
                    <a:lnTo>
                      <a:pt x="8" y="10"/>
                    </a:lnTo>
                    <a:lnTo>
                      <a:pt x="10" y="4"/>
                    </a:lnTo>
                    <a:lnTo>
                      <a:pt x="6"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79" name="Freeform 230"/>
              <p:cNvSpPr>
                <a:spLocks/>
              </p:cNvSpPr>
              <p:nvPr/>
            </p:nvSpPr>
            <p:spPr bwMode="auto">
              <a:xfrm>
                <a:off x="3015" y="3323"/>
                <a:ext cx="4" cy="12"/>
              </a:xfrm>
              <a:custGeom>
                <a:avLst/>
                <a:gdLst>
                  <a:gd name="T0" fmla="*/ 4 w 4"/>
                  <a:gd name="T1" fmla="*/ 2 h 12"/>
                  <a:gd name="T2" fmla="*/ 2 w 4"/>
                  <a:gd name="T3" fmla="*/ 2 h 12"/>
                  <a:gd name="T4" fmla="*/ 0 w 4"/>
                  <a:gd name="T5" fmla="*/ 12 h 12"/>
                  <a:gd name="T6" fmla="*/ 4 w 4"/>
                  <a:gd name="T7" fmla="*/ 8 h 12"/>
                  <a:gd name="T8" fmla="*/ 4 w 4"/>
                  <a:gd name="T9" fmla="*/ 0 h 12"/>
                  <a:gd name="T10" fmla="*/ 4 w 4"/>
                  <a:gd name="T11" fmla="*/ 2 h 12"/>
                </a:gdLst>
                <a:ahLst/>
                <a:cxnLst>
                  <a:cxn ang="0">
                    <a:pos x="T0" y="T1"/>
                  </a:cxn>
                  <a:cxn ang="0">
                    <a:pos x="T2" y="T3"/>
                  </a:cxn>
                  <a:cxn ang="0">
                    <a:pos x="T4" y="T5"/>
                  </a:cxn>
                  <a:cxn ang="0">
                    <a:pos x="T6" y="T7"/>
                  </a:cxn>
                  <a:cxn ang="0">
                    <a:pos x="T8" y="T9"/>
                  </a:cxn>
                  <a:cxn ang="0">
                    <a:pos x="T10" y="T11"/>
                  </a:cxn>
                </a:cxnLst>
                <a:rect l="0" t="0" r="r" b="b"/>
                <a:pathLst>
                  <a:path w="4" h="12">
                    <a:moveTo>
                      <a:pt x="4" y="2"/>
                    </a:moveTo>
                    <a:lnTo>
                      <a:pt x="2" y="2"/>
                    </a:lnTo>
                    <a:lnTo>
                      <a:pt x="0" y="12"/>
                    </a:lnTo>
                    <a:lnTo>
                      <a:pt x="4" y="8"/>
                    </a:lnTo>
                    <a:lnTo>
                      <a:pt x="4" y="0"/>
                    </a:lnTo>
                    <a:lnTo>
                      <a:pt x="4"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80" name="Freeform 231"/>
              <p:cNvSpPr>
                <a:spLocks/>
              </p:cNvSpPr>
              <p:nvPr/>
            </p:nvSpPr>
            <p:spPr bwMode="auto">
              <a:xfrm>
                <a:off x="3015" y="3323"/>
                <a:ext cx="4" cy="12"/>
              </a:xfrm>
              <a:custGeom>
                <a:avLst/>
                <a:gdLst>
                  <a:gd name="T0" fmla="*/ 4 w 4"/>
                  <a:gd name="T1" fmla="*/ 2 h 12"/>
                  <a:gd name="T2" fmla="*/ 2 w 4"/>
                  <a:gd name="T3" fmla="*/ 2 h 12"/>
                  <a:gd name="T4" fmla="*/ 0 w 4"/>
                  <a:gd name="T5" fmla="*/ 12 h 12"/>
                  <a:gd name="T6" fmla="*/ 4 w 4"/>
                  <a:gd name="T7" fmla="*/ 8 h 12"/>
                  <a:gd name="T8" fmla="*/ 4 w 4"/>
                  <a:gd name="T9" fmla="*/ 0 h 12"/>
                  <a:gd name="T10" fmla="*/ 4 w 4"/>
                  <a:gd name="T11" fmla="*/ 2 h 12"/>
                </a:gdLst>
                <a:ahLst/>
                <a:cxnLst>
                  <a:cxn ang="0">
                    <a:pos x="T0" y="T1"/>
                  </a:cxn>
                  <a:cxn ang="0">
                    <a:pos x="T2" y="T3"/>
                  </a:cxn>
                  <a:cxn ang="0">
                    <a:pos x="T4" y="T5"/>
                  </a:cxn>
                  <a:cxn ang="0">
                    <a:pos x="T6" y="T7"/>
                  </a:cxn>
                  <a:cxn ang="0">
                    <a:pos x="T8" y="T9"/>
                  </a:cxn>
                  <a:cxn ang="0">
                    <a:pos x="T10" y="T11"/>
                  </a:cxn>
                </a:cxnLst>
                <a:rect l="0" t="0" r="r" b="b"/>
                <a:pathLst>
                  <a:path w="4" h="12">
                    <a:moveTo>
                      <a:pt x="4" y="2"/>
                    </a:moveTo>
                    <a:lnTo>
                      <a:pt x="2" y="2"/>
                    </a:lnTo>
                    <a:lnTo>
                      <a:pt x="0" y="12"/>
                    </a:lnTo>
                    <a:lnTo>
                      <a:pt x="4" y="8"/>
                    </a:lnTo>
                    <a:lnTo>
                      <a:pt x="4" y="0"/>
                    </a:lnTo>
                    <a:lnTo>
                      <a:pt x="4"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81" name="Freeform 232"/>
              <p:cNvSpPr>
                <a:spLocks/>
              </p:cNvSpPr>
              <p:nvPr/>
            </p:nvSpPr>
            <p:spPr bwMode="auto">
              <a:xfrm>
                <a:off x="3019" y="3291"/>
                <a:ext cx="4" cy="12"/>
              </a:xfrm>
              <a:custGeom>
                <a:avLst/>
                <a:gdLst>
                  <a:gd name="T0" fmla="*/ 0 w 4"/>
                  <a:gd name="T1" fmla="*/ 0 h 12"/>
                  <a:gd name="T2" fmla="*/ 0 w 4"/>
                  <a:gd name="T3" fmla="*/ 10 h 12"/>
                  <a:gd name="T4" fmla="*/ 0 w 4"/>
                  <a:gd name="T5" fmla="*/ 12 h 12"/>
                  <a:gd name="T6" fmla="*/ 4 w 4"/>
                  <a:gd name="T7" fmla="*/ 8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0" y="10"/>
                    </a:lnTo>
                    <a:lnTo>
                      <a:pt x="0" y="12"/>
                    </a:lnTo>
                    <a:lnTo>
                      <a:pt x="4" y="8"/>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82" name="Freeform 233"/>
              <p:cNvSpPr>
                <a:spLocks/>
              </p:cNvSpPr>
              <p:nvPr/>
            </p:nvSpPr>
            <p:spPr bwMode="auto">
              <a:xfrm>
                <a:off x="3019" y="3291"/>
                <a:ext cx="4" cy="12"/>
              </a:xfrm>
              <a:custGeom>
                <a:avLst/>
                <a:gdLst>
                  <a:gd name="T0" fmla="*/ 0 w 4"/>
                  <a:gd name="T1" fmla="*/ 0 h 12"/>
                  <a:gd name="T2" fmla="*/ 0 w 4"/>
                  <a:gd name="T3" fmla="*/ 10 h 12"/>
                  <a:gd name="T4" fmla="*/ 0 w 4"/>
                  <a:gd name="T5" fmla="*/ 12 h 12"/>
                  <a:gd name="T6" fmla="*/ 4 w 4"/>
                  <a:gd name="T7" fmla="*/ 8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0" y="10"/>
                    </a:lnTo>
                    <a:lnTo>
                      <a:pt x="0" y="12"/>
                    </a:lnTo>
                    <a:lnTo>
                      <a:pt x="4" y="8"/>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83" name="Freeform 234"/>
              <p:cNvSpPr>
                <a:spLocks/>
              </p:cNvSpPr>
              <p:nvPr/>
            </p:nvSpPr>
            <p:spPr bwMode="auto">
              <a:xfrm>
                <a:off x="3793" y="3147"/>
                <a:ext cx="82" cy="142"/>
              </a:xfrm>
              <a:custGeom>
                <a:avLst/>
                <a:gdLst>
                  <a:gd name="T0" fmla="*/ 70 w 82"/>
                  <a:gd name="T1" fmla="*/ 2 h 142"/>
                  <a:gd name="T2" fmla="*/ 72 w 82"/>
                  <a:gd name="T3" fmla="*/ 0 h 142"/>
                  <a:gd name="T4" fmla="*/ 74 w 82"/>
                  <a:gd name="T5" fmla="*/ 0 h 142"/>
                  <a:gd name="T6" fmla="*/ 76 w 82"/>
                  <a:gd name="T7" fmla="*/ 10 h 142"/>
                  <a:gd name="T8" fmla="*/ 78 w 82"/>
                  <a:gd name="T9" fmla="*/ 12 h 142"/>
                  <a:gd name="T10" fmla="*/ 76 w 82"/>
                  <a:gd name="T11" fmla="*/ 16 h 142"/>
                  <a:gd name="T12" fmla="*/ 82 w 82"/>
                  <a:gd name="T13" fmla="*/ 30 h 142"/>
                  <a:gd name="T14" fmla="*/ 82 w 82"/>
                  <a:gd name="T15" fmla="*/ 36 h 142"/>
                  <a:gd name="T16" fmla="*/ 66 w 82"/>
                  <a:gd name="T17" fmla="*/ 58 h 142"/>
                  <a:gd name="T18" fmla="*/ 56 w 82"/>
                  <a:gd name="T19" fmla="*/ 68 h 142"/>
                  <a:gd name="T20" fmla="*/ 54 w 82"/>
                  <a:gd name="T21" fmla="*/ 78 h 142"/>
                  <a:gd name="T22" fmla="*/ 20 w 82"/>
                  <a:gd name="T23" fmla="*/ 126 h 142"/>
                  <a:gd name="T24" fmla="*/ 14 w 82"/>
                  <a:gd name="T25" fmla="*/ 130 h 142"/>
                  <a:gd name="T26" fmla="*/ 6 w 82"/>
                  <a:gd name="T27" fmla="*/ 142 h 142"/>
                  <a:gd name="T28" fmla="*/ 0 w 82"/>
                  <a:gd name="T29" fmla="*/ 142 h 142"/>
                  <a:gd name="T30" fmla="*/ 2 w 82"/>
                  <a:gd name="T31" fmla="*/ 132 h 142"/>
                  <a:gd name="T32" fmla="*/ 20 w 82"/>
                  <a:gd name="T33" fmla="*/ 104 h 142"/>
                  <a:gd name="T34" fmla="*/ 24 w 82"/>
                  <a:gd name="T35" fmla="*/ 102 h 142"/>
                  <a:gd name="T36" fmla="*/ 66 w 82"/>
                  <a:gd name="T37" fmla="*/ 40 h 142"/>
                  <a:gd name="T38" fmla="*/ 68 w 82"/>
                  <a:gd name="T39" fmla="*/ 30 h 142"/>
                  <a:gd name="T40" fmla="*/ 66 w 82"/>
                  <a:gd name="T41" fmla="*/ 24 h 142"/>
                  <a:gd name="T42" fmla="*/ 70 w 82"/>
                  <a:gd name="T43" fmla="*/ 26 h 142"/>
                  <a:gd name="T44" fmla="*/ 72 w 82"/>
                  <a:gd name="T45" fmla="*/ 22 h 142"/>
                  <a:gd name="T46" fmla="*/ 70 w 82"/>
                  <a:gd name="T47" fmla="*/ 20 h 142"/>
                  <a:gd name="T48" fmla="*/ 66 w 82"/>
                  <a:gd name="T49" fmla="*/ 20 h 142"/>
                  <a:gd name="T50" fmla="*/ 70 w 82"/>
                  <a:gd name="T51" fmla="*/ 10 h 142"/>
                  <a:gd name="T52" fmla="*/ 70 w 82"/>
                  <a:gd name="T53" fmla="*/ 4 h 142"/>
                  <a:gd name="T54" fmla="*/ 70 w 82"/>
                  <a:gd name="T55" fmla="*/ 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142">
                    <a:moveTo>
                      <a:pt x="70" y="2"/>
                    </a:moveTo>
                    <a:lnTo>
                      <a:pt x="72" y="0"/>
                    </a:lnTo>
                    <a:lnTo>
                      <a:pt x="74" y="0"/>
                    </a:lnTo>
                    <a:lnTo>
                      <a:pt x="76" y="10"/>
                    </a:lnTo>
                    <a:lnTo>
                      <a:pt x="78" y="12"/>
                    </a:lnTo>
                    <a:lnTo>
                      <a:pt x="76" y="16"/>
                    </a:lnTo>
                    <a:lnTo>
                      <a:pt x="82" y="30"/>
                    </a:lnTo>
                    <a:lnTo>
                      <a:pt x="82" y="36"/>
                    </a:lnTo>
                    <a:lnTo>
                      <a:pt x="66" y="58"/>
                    </a:lnTo>
                    <a:lnTo>
                      <a:pt x="56" y="68"/>
                    </a:lnTo>
                    <a:lnTo>
                      <a:pt x="54" y="78"/>
                    </a:lnTo>
                    <a:lnTo>
                      <a:pt x="20" y="126"/>
                    </a:lnTo>
                    <a:lnTo>
                      <a:pt x="14" y="130"/>
                    </a:lnTo>
                    <a:lnTo>
                      <a:pt x="6" y="142"/>
                    </a:lnTo>
                    <a:lnTo>
                      <a:pt x="0" y="142"/>
                    </a:lnTo>
                    <a:lnTo>
                      <a:pt x="2" y="132"/>
                    </a:lnTo>
                    <a:lnTo>
                      <a:pt x="20" y="104"/>
                    </a:lnTo>
                    <a:lnTo>
                      <a:pt x="24" y="102"/>
                    </a:lnTo>
                    <a:lnTo>
                      <a:pt x="66" y="40"/>
                    </a:lnTo>
                    <a:lnTo>
                      <a:pt x="68" y="30"/>
                    </a:lnTo>
                    <a:lnTo>
                      <a:pt x="66" y="24"/>
                    </a:lnTo>
                    <a:lnTo>
                      <a:pt x="70" y="26"/>
                    </a:lnTo>
                    <a:lnTo>
                      <a:pt x="72" y="22"/>
                    </a:lnTo>
                    <a:lnTo>
                      <a:pt x="70" y="20"/>
                    </a:lnTo>
                    <a:lnTo>
                      <a:pt x="66" y="20"/>
                    </a:lnTo>
                    <a:lnTo>
                      <a:pt x="70" y="10"/>
                    </a:lnTo>
                    <a:lnTo>
                      <a:pt x="70" y="4"/>
                    </a:lnTo>
                    <a:lnTo>
                      <a:pt x="70"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84" name="Freeform 235"/>
              <p:cNvSpPr>
                <a:spLocks/>
              </p:cNvSpPr>
              <p:nvPr/>
            </p:nvSpPr>
            <p:spPr bwMode="auto">
              <a:xfrm>
                <a:off x="3793" y="3147"/>
                <a:ext cx="82" cy="142"/>
              </a:xfrm>
              <a:custGeom>
                <a:avLst/>
                <a:gdLst>
                  <a:gd name="T0" fmla="*/ 70 w 82"/>
                  <a:gd name="T1" fmla="*/ 2 h 142"/>
                  <a:gd name="T2" fmla="*/ 72 w 82"/>
                  <a:gd name="T3" fmla="*/ 0 h 142"/>
                  <a:gd name="T4" fmla="*/ 74 w 82"/>
                  <a:gd name="T5" fmla="*/ 0 h 142"/>
                  <a:gd name="T6" fmla="*/ 76 w 82"/>
                  <a:gd name="T7" fmla="*/ 10 h 142"/>
                  <a:gd name="T8" fmla="*/ 78 w 82"/>
                  <a:gd name="T9" fmla="*/ 12 h 142"/>
                  <a:gd name="T10" fmla="*/ 76 w 82"/>
                  <a:gd name="T11" fmla="*/ 16 h 142"/>
                  <a:gd name="T12" fmla="*/ 82 w 82"/>
                  <a:gd name="T13" fmla="*/ 30 h 142"/>
                  <a:gd name="T14" fmla="*/ 82 w 82"/>
                  <a:gd name="T15" fmla="*/ 36 h 142"/>
                  <a:gd name="T16" fmla="*/ 66 w 82"/>
                  <a:gd name="T17" fmla="*/ 58 h 142"/>
                  <a:gd name="T18" fmla="*/ 56 w 82"/>
                  <a:gd name="T19" fmla="*/ 68 h 142"/>
                  <a:gd name="T20" fmla="*/ 54 w 82"/>
                  <a:gd name="T21" fmla="*/ 78 h 142"/>
                  <a:gd name="T22" fmla="*/ 20 w 82"/>
                  <a:gd name="T23" fmla="*/ 126 h 142"/>
                  <a:gd name="T24" fmla="*/ 14 w 82"/>
                  <a:gd name="T25" fmla="*/ 130 h 142"/>
                  <a:gd name="T26" fmla="*/ 6 w 82"/>
                  <a:gd name="T27" fmla="*/ 142 h 142"/>
                  <a:gd name="T28" fmla="*/ 0 w 82"/>
                  <a:gd name="T29" fmla="*/ 142 h 142"/>
                  <a:gd name="T30" fmla="*/ 2 w 82"/>
                  <a:gd name="T31" fmla="*/ 132 h 142"/>
                  <a:gd name="T32" fmla="*/ 20 w 82"/>
                  <a:gd name="T33" fmla="*/ 104 h 142"/>
                  <a:gd name="T34" fmla="*/ 24 w 82"/>
                  <a:gd name="T35" fmla="*/ 102 h 142"/>
                  <a:gd name="T36" fmla="*/ 66 w 82"/>
                  <a:gd name="T37" fmla="*/ 40 h 142"/>
                  <a:gd name="T38" fmla="*/ 68 w 82"/>
                  <a:gd name="T39" fmla="*/ 30 h 142"/>
                  <a:gd name="T40" fmla="*/ 66 w 82"/>
                  <a:gd name="T41" fmla="*/ 24 h 142"/>
                  <a:gd name="T42" fmla="*/ 70 w 82"/>
                  <a:gd name="T43" fmla="*/ 26 h 142"/>
                  <a:gd name="T44" fmla="*/ 72 w 82"/>
                  <a:gd name="T45" fmla="*/ 22 h 142"/>
                  <a:gd name="T46" fmla="*/ 70 w 82"/>
                  <a:gd name="T47" fmla="*/ 20 h 142"/>
                  <a:gd name="T48" fmla="*/ 66 w 82"/>
                  <a:gd name="T49" fmla="*/ 20 h 142"/>
                  <a:gd name="T50" fmla="*/ 70 w 82"/>
                  <a:gd name="T51" fmla="*/ 10 h 142"/>
                  <a:gd name="T52" fmla="*/ 70 w 82"/>
                  <a:gd name="T53" fmla="*/ 4 h 142"/>
                  <a:gd name="T54" fmla="*/ 70 w 82"/>
                  <a:gd name="T55" fmla="*/ 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142">
                    <a:moveTo>
                      <a:pt x="70" y="2"/>
                    </a:moveTo>
                    <a:lnTo>
                      <a:pt x="72" y="0"/>
                    </a:lnTo>
                    <a:lnTo>
                      <a:pt x="74" y="0"/>
                    </a:lnTo>
                    <a:lnTo>
                      <a:pt x="76" y="10"/>
                    </a:lnTo>
                    <a:lnTo>
                      <a:pt x="78" y="12"/>
                    </a:lnTo>
                    <a:lnTo>
                      <a:pt x="76" y="16"/>
                    </a:lnTo>
                    <a:lnTo>
                      <a:pt x="82" y="30"/>
                    </a:lnTo>
                    <a:lnTo>
                      <a:pt x="82" y="36"/>
                    </a:lnTo>
                    <a:lnTo>
                      <a:pt x="66" y="58"/>
                    </a:lnTo>
                    <a:lnTo>
                      <a:pt x="56" y="68"/>
                    </a:lnTo>
                    <a:lnTo>
                      <a:pt x="54" y="78"/>
                    </a:lnTo>
                    <a:lnTo>
                      <a:pt x="20" y="126"/>
                    </a:lnTo>
                    <a:lnTo>
                      <a:pt x="14" y="130"/>
                    </a:lnTo>
                    <a:lnTo>
                      <a:pt x="6" y="142"/>
                    </a:lnTo>
                    <a:lnTo>
                      <a:pt x="0" y="142"/>
                    </a:lnTo>
                    <a:lnTo>
                      <a:pt x="2" y="132"/>
                    </a:lnTo>
                    <a:lnTo>
                      <a:pt x="20" y="104"/>
                    </a:lnTo>
                    <a:lnTo>
                      <a:pt x="24" y="102"/>
                    </a:lnTo>
                    <a:lnTo>
                      <a:pt x="66" y="40"/>
                    </a:lnTo>
                    <a:lnTo>
                      <a:pt x="68" y="30"/>
                    </a:lnTo>
                    <a:lnTo>
                      <a:pt x="66" y="24"/>
                    </a:lnTo>
                    <a:lnTo>
                      <a:pt x="70" y="26"/>
                    </a:lnTo>
                    <a:lnTo>
                      <a:pt x="72" y="22"/>
                    </a:lnTo>
                    <a:lnTo>
                      <a:pt x="70" y="20"/>
                    </a:lnTo>
                    <a:lnTo>
                      <a:pt x="66" y="20"/>
                    </a:lnTo>
                    <a:lnTo>
                      <a:pt x="70" y="10"/>
                    </a:lnTo>
                    <a:lnTo>
                      <a:pt x="70" y="4"/>
                    </a:lnTo>
                    <a:lnTo>
                      <a:pt x="70"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85" name="Freeform 236"/>
              <p:cNvSpPr>
                <a:spLocks/>
              </p:cNvSpPr>
              <p:nvPr/>
            </p:nvSpPr>
            <p:spPr bwMode="auto">
              <a:xfrm>
                <a:off x="3875" y="3121"/>
                <a:ext cx="8" cy="6"/>
              </a:xfrm>
              <a:custGeom>
                <a:avLst/>
                <a:gdLst>
                  <a:gd name="T0" fmla="*/ 0 w 8"/>
                  <a:gd name="T1" fmla="*/ 0 h 6"/>
                  <a:gd name="T2" fmla="*/ 6 w 8"/>
                  <a:gd name="T3" fmla="*/ 0 h 6"/>
                  <a:gd name="T4" fmla="*/ 8 w 8"/>
                  <a:gd name="T5" fmla="*/ 2 h 6"/>
                  <a:gd name="T6" fmla="*/ 8 w 8"/>
                  <a:gd name="T7" fmla="*/ 4 h 6"/>
                  <a:gd name="T8" fmla="*/ 8 w 8"/>
                  <a:gd name="T9" fmla="*/ 6 h 6"/>
                  <a:gd name="T10" fmla="*/ 4 w 8"/>
                  <a:gd name="T11" fmla="*/ 6 h 6"/>
                  <a:gd name="T12" fmla="*/ 2 w 8"/>
                  <a:gd name="T13" fmla="*/ 2 h 6"/>
                  <a:gd name="T14" fmla="*/ 0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0" y="0"/>
                    </a:moveTo>
                    <a:lnTo>
                      <a:pt x="6" y="0"/>
                    </a:lnTo>
                    <a:lnTo>
                      <a:pt x="8" y="2"/>
                    </a:lnTo>
                    <a:lnTo>
                      <a:pt x="8" y="4"/>
                    </a:lnTo>
                    <a:lnTo>
                      <a:pt x="8" y="6"/>
                    </a:lnTo>
                    <a:lnTo>
                      <a:pt x="4" y="6"/>
                    </a:lnTo>
                    <a:lnTo>
                      <a:pt x="2" y="2"/>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86" name="Freeform 237"/>
              <p:cNvSpPr>
                <a:spLocks/>
              </p:cNvSpPr>
              <p:nvPr/>
            </p:nvSpPr>
            <p:spPr bwMode="auto">
              <a:xfrm>
                <a:off x="3875" y="3121"/>
                <a:ext cx="8" cy="6"/>
              </a:xfrm>
              <a:custGeom>
                <a:avLst/>
                <a:gdLst>
                  <a:gd name="T0" fmla="*/ 0 w 8"/>
                  <a:gd name="T1" fmla="*/ 0 h 6"/>
                  <a:gd name="T2" fmla="*/ 6 w 8"/>
                  <a:gd name="T3" fmla="*/ 0 h 6"/>
                  <a:gd name="T4" fmla="*/ 8 w 8"/>
                  <a:gd name="T5" fmla="*/ 2 h 6"/>
                  <a:gd name="T6" fmla="*/ 8 w 8"/>
                  <a:gd name="T7" fmla="*/ 4 h 6"/>
                  <a:gd name="T8" fmla="*/ 8 w 8"/>
                  <a:gd name="T9" fmla="*/ 6 h 6"/>
                  <a:gd name="T10" fmla="*/ 4 w 8"/>
                  <a:gd name="T11" fmla="*/ 6 h 6"/>
                  <a:gd name="T12" fmla="*/ 2 w 8"/>
                  <a:gd name="T13" fmla="*/ 2 h 6"/>
                  <a:gd name="T14" fmla="*/ 0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0" y="0"/>
                    </a:moveTo>
                    <a:lnTo>
                      <a:pt x="6" y="0"/>
                    </a:lnTo>
                    <a:lnTo>
                      <a:pt x="8" y="2"/>
                    </a:lnTo>
                    <a:lnTo>
                      <a:pt x="8" y="4"/>
                    </a:lnTo>
                    <a:lnTo>
                      <a:pt x="8" y="6"/>
                    </a:lnTo>
                    <a:lnTo>
                      <a:pt x="4" y="6"/>
                    </a:lnTo>
                    <a:lnTo>
                      <a:pt x="2" y="2"/>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87" name="Freeform 238"/>
              <p:cNvSpPr>
                <a:spLocks/>
              </p:cNvSpPr>
              <p:nvPr/>
            </p:nvSpPr>
            <p:spPr bwMode="auto">
              <a:xfrm>
                <a:off x="3873" y="3107"/>
                <a:ext cx="16" cy="6"/>
              </a:xfrm>
              <a:custGeom>
                <a:avLst/>
                <a:gdLst>
                  <a:gd name="T0" fmla="*/ 2 w 16"/>
                  <a:gd name="T1" fmla="*/ 0 h 6"/>
                  <a:gd name="T2" fmla="*/ 0 w 16"/>
                  <a:gd name="T3" fmla="*/ 0 h 6"/>
                  <a:gd name="T4" fmla="*/ 8 w 16"/>
                  <a:gd name="T5" fmla="*/ 2 h 6"/>
                  <a:gd name="T6" fmla="*/ 12 w 16"/>
                  <a:gd name="T7" fmla="*/ 0 h 6"/>
                  <a:gd name="T8" fmla="*/ 16 w 16"/>
                  <a:gd name="T9" fmla="*/ 2 h 6"/>
                  <a:gd name="T10" fmla="*/ 16 w 16"/>
                  <a:gd name="T11" fmla="*/ 4 h 6"/>
                  <a:gd name="T12" fmla="*/ 12 w 16"/>
                  <a:gd name="T13" fmla="*/ 6 h 6"/>
                  <a:gd name="T14" fmla="*/ 6 w 16"/>
                  <a:gd name="T15" fmla="*/ 6 h 6"/>
                  <a:gd name="T16" fmla="*/ 2 w 1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6">
                    <a:moveTo>
                      <a:pt x="2" y="0"/>
                    </a:moveTo>
                    <a:lnTo>
                      <a:pt x="0" y="0"/>
                    </a:lnTo>
                    <a:lnTo>
                      <a:pt x="8" y="2"/>
                    </a:lnTo>
                    <a:lnTo>
                      <a:pt x="12" y="0"/>
                    </a:lnTo>
                    <a:lnTo>
                      <a:pt x="16" y="2"/>
                    </a:lnTo>
                    <a:lnTo>
                      <a:pt x="16" y="4"/>
                    </a:lnTo>
                    <a:lnTo>
                      <a:pt x="12" y="6"/>
                    </a:lnTo>
                    <a:lnTo>
                      <a:pt x="6" y="6"/>
                    </a:lnTo>
                    <a:lnTo>
                      <a:pt x="2"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88" name="Freeform 239"/>
              <p:cNvSpPr>
                <a:spLocks/>
              </p:cNvSpPr>
              <p:nvPr/>
            </p:nvSpPr>
            <p:spPr bwMode="auto">
              <a:xfrm>
                <a:off x="3873" y="3107"/>
                <a:ext cx="16" cy="6"/>
              </a:xfrm>
              <a:custGeom>
                <a:avLst/>
                <a:gdLst>
                  <a:gd name="T0" fmla="*/ 2 w 16"/>
                  <a:gd name="T1" fmla="*/ 0 h 6"/>
                  <a:gd name="T2" fmla="*/ 0 w 16"/>
                  <a:gd name="T3" fmla="*/ 0 h 6"/>
                  <a:gd name="T4" fmla="*/ 8 w 16"/>
                  <a:gd name="T5" fmla="*/ 2 h 6"/>
                  <a:gd name="T6" fmla="*/ 12 w 16"/>
                  <a:gd name="T7" fmla="*/ 0 h 6"/>
                  <a:gd name="T8" fmla="*/ 16 w 16"/>
                  <a:gd name="T9" fmla="*/ 2 h 6"/>
                  <a:gd name="T10" fmla="*/ 16 w 16"/>
                  <a:gd name="T11" fmla="*/ 4 h 6"/>
                  <a:gd name="T12" fmla="*/ 12 w 16"/>
                  <a:gd name="T13" fmla="*/ 6 h 6"/>
                  <a:gd name="T14" fmla="*/ 6 w 16"/>
                  <a:gd name="T15" fmla="*/ 6 h 6"/>
                  <a:gd name="T16" fmla="*/ 2 w 1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6">
                    <a:moveTo>
                      <a:pt x="2" y="0"/>
                    </a:moveTo>
                    <a:lnTo>
                      <a:pt x="0" y="0"/>
                    </a:lnTo>
                    <a:lnTo>
                      <a:pt x="8" y="2"/>
                    </a:lnTo>
                    <a:lnTo>
                      <a:pt x="12" y="0"/>
                    </a:lnTo>
                    <a:lnTo>
                      <a:pt x="16" y="2"/>
                    </a:lnTo>
                    <a:lnTo>
                      <a:pt x="16" y="4"/>
                    </a:lnTo>
                    <a:lnTo>
                      <a:pt x="12" y="6"/>
                    </a:lnTo>
                    <a:lnTo>
                      <a:pt x="6" y="6"/>
                    </a:lnTo>
                    <a:lnTo>
                      <a:pt x="2"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89" name="Freeform 240"/>
              <p:cNvSpPr>
                <a:spLocks/>
              </p:cNvSpPr>
              <p:nvPr/>
            </p:nvSpPr>
            <p:spPr bwMode="auto">
              <a:xfrm>
                <a:off x="3883" y="3045"/>
                <a:ext cx="52" cy="46"/>
              </a:xfrm>
              <a:custGeom>
                <a:avLst/>
                <a:gdLst>
                  <a:gd name="T0" fmla="*/ 0 w 52"/>
                  <a:gd name="T1" fmla="*/ 12 h 46"/>
                  <a:gd name="T2" fmla="*/ 0 w 52"/>
                  <a:gd name="T3" fmla="*/ 10 h 46"/>
                  <a:gd name="T4" fmla="*/ 32 w 52"/>
                  <a:gd name="T5" fmla="*/ 0 h 46"/>
                  <a:gd name="T6" fmla="*/ 38 w 52"/>
                  <a:gd name="T7" fmla="*/ 2 h 46"/>
                  <a:gd name="T8" fmla="*/ 42 w 52"/>
                  <a:gd name="T9" fmla="*/ 6 h 46"/>
                  <a:gd name="T10" fmla="*/ 46 w 52"/>
                  <a:gd name="T11" fmla="*/ 4 h 46"/>
                  <a:gd name="T12" fmla="*/ 52 w 52"/>
                  <a:gd name="T13" fmla="*/ 26 h 46"/>
                  <a:gd name="T14" fmla="*/ 52 w 52"/>
                  <a:gd name="T15" fmla="*/ 30 h 46"/>
                  <a:gd name="T16" fmla="*/ 52 w 52"/>
                  <a:gd name="T17" fmla="*/ 36 h 46"/>
                  <a:gd name="T18" fmla="*/ 44 w 52"/>
                  <a:gd name="T19" fmla="*/ 46 h 46"/>
                  <a:gd name="T20" fmla="*/ 40 w 52"/>
                  <a:gd name="T21" fmla="*/ 42 h 46"/>
                  <a:gd name="T22" fmla="*/ 32 w 52"/>
                  <a:gd name="T23" fmla="*/ 40 h 46"/>
                  <a:gd name="T24" fmla="*/ 22 w 52"/>
                  <a:gd name="T25" fmla="*/ 28 h 46"/>
                  <a:gd name="T26" fmla="*/ 20 w 52"/>
                  <a:gd name="T27" fmla="*/ 20 h 46"/>
                  <a:gd name="T28" fmla="*/ 14 w 52"/>
                  <a:gd name="T29" fmla="*/ 16 h 46"/>
                  <a:gd name="T30" fmla="*/ 10 w 52"/>
                  <a:gd name="T31" fmla="*/ 16 h 46"/>
                  <a:gd name="T32" fmla="*/ 6 w 52"/>
                  <a:gd name="T33" fmla="*/ 10 h 46"/>
                  <a:gd name="T34" fmla="*/ 2 w 52"/>
                  <a:gd name="T35" fmla="*/ 10 h 46"/>
                  <a:gd name="T36" fmla="*/ 0 w 52"/>
                  <a:gd name="T3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46">
                    <a:moveTo>
                      <a:pt x="0" y="12"/>
                    </a:moveTo>
                    <a:lnTo>
                      <a:pt x="0" y="10"/>
                    </a:lnTo>
                    <a:lnTo>
                      <a:pt x="32" y="0"/>
                    </a:lnTo>
                    <a:lnTo>
                      <a:pt x="38" y="2"/>
                    </a:lnTo>
                    <a:lnTo>
                      <a:pt x="42" y="6"/>
                    </a:lnTo>
                    <a:lnTo>
                      <a:pt x="46" y="4"/>
                    </a:lnTo>
                    <a:lnTo>
                      <a:pt x="52" y="26"/>
                    </a:lnTo>
                    <a:lnTo>
                      <a:pt x="52" y="30"/>
                    </a:lnTo>
                    <a:lnTo>
                      <a:pt x="52" y="36"/>
                    </a:lnTo>
                    <a:lnTo>
                      <a:pt x="44" y="46"/>
                    </a:lnTo>
                    <a:lnTo>
                      <a:pt x="40" y="42"/>
                    </a:lnTo>
                    <a:lnTo>
                      <a:pt x="32" y="40"/>
                    </a:lnTo>
                    <a:lnTo>
                      <a:pt x="22" y="28"/>
                    </a:lnTo>
                    <a:lnTo>
                      <a:pt x="20" y="20"/>
                    </a:lnTo>
                    <a:lnTo>
                      <a:pt x="14" y="16"/>
                    </a:lnTo>
                    <a:lnTo>
                      <a:pt x="10" y="16"/>
                    </a:lnTo>
                    <a:lnTo>
                      <a:pt x="6" y="10"/>
                    </a:lnTo>
                    <a:lnTo>
                      <a:pt x="2" y="10"/>
                    </a:lnTo>
                    <a:lnTo>
                      <a:pt x="0" y="1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90" name="Freeform 241"/>
              <p:cNvSpPr>
                <a:spLocks/>
              </p:cNvSpPr>
              <p:nvPr/>
            </p:nvSpPr>
            <p:spPr bwMode="auto">
              <a:xfrm>
                <a:off x="3883" y="3045"/>
                <a:ext cx="52" cy="46"/>
              </a:xfrm>
              <a:custGeom>
                <a:avLst/>
                <a:gdLst>
                  <a:gd name="T0" fmla="*/ 0 w 52"/>
                  <a:gd name="T1" fmla="*/ 12 h 46"/>
                  <a:gd name="T2" fmla="*/ 0 w 52"/>
                  <a:gd name="T3" fmla="*/ 10 h 46"/>
                  <a:gd name="T4" fmla="*/ 32 w 52"/>
                  <a:gd name="T5" fmla="*/ 0 h 46"/>
                  <a:gd name="T6" fmla="*/ 38 w 52"/>
                  <a:gd name="T7" fmla="*/ 2 h 46"/>
                  <a:gd name="T8" fmla="*/ 42 w 52"/>
                  <a:gd name="T9" fmla="*/ 6 h 46"/>
                  <a:gd name="T10" fmla="*/ 46 w 52"/>
                  <a:gd name="T11" fmla="*/ 4 h 46"/>
                  <a:gd name="T12" fmla="*/ 52 w 52"/>
                  <a:gd name="T13" fmla="*/ 26 h 46"/>
                  <a:gd name="T14" fmla="*/ 52 w 52"/>
                  <a:gd name="T15" fmla="*/ 30 h 46"/>
                  <a:gd name="T16" fmla="*/ 52 w 52"/>
                  <a:gd name="T17" fmla="*/ 36 h 46"/>
                  <a:gd name="T18" fmla="*/ 44 w 52"/>
                  <a:gd name="T19" fmla="*/ 46 h 46"/>
                  <a:gd name="T20" fmla="*/ 40 w 52"/>
                  <a:gd name="T21" fmla="*/ 42 h 46"/>
                  <a:gd name="T22" fmla="*/ 32 w 52"/>
                  <a:gd name="T23" fmla="*/ 40 h 46"/>
                  <a:gd name="T24" fmla="*/ 22 w 52"/>
                  <a:gd name="T25" fmla="*/ 28 h 46"/>
                  <a:gd name="T26" fmla="*/ 20 w 52"/>
                  <a:gd name="T27" fmla="*/ 20 h 46"/>
                  <a:gd name="T28" fmla="*/ 14 w 52"/>
                  <a:gd name="T29" fmla="*/ 16 h 46"/>
                  <a:gd name="T30" fmla="*/ 10 w 52"/>
                  <a:gd name="T31" fmla="*/ 16 h 46"/>
                  <a:gd name="T32" fmla="*/ 6 w 52"/>
                  <a:gd name="T33" fmla="*/ 10 h 46"/>
                  <a:gd name="T34" fmla="*/ 2 w 52"/>
                  <a:gd name="T35" fmla="*/ 10 h 46"/>
                  <a:gd name="T36" fmla="*/ 0 w 52"/>
                  <a:gd name="T3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46">
                    <a:moveTo>
                      <a:pt x="0" y="12"/>
                    </a:moveTo>
                    <a:lnTo>
                      <a:pt x="0" y="10"/>
                    </a:lnTo>
                    <a:lnTo>
                      <a:pt x="32" y="0"/>
                    </a:lnTo>
                    <a:lnTo>
                      <a:pt x="38" y="2"/>
                    </a:lnTo>
                    <a:lnTo>
                      <a:pt x="42" y="6"/>
                    </a:lnTo>
                    <a:lnTo>
                      <a:pt x="46" y="4"/>
                    </a:lnTo>
                    <a:lnTo>
                      <a:pt x="52" y="26"/>
                    </a:lnTo>
                    <a:lnTo>
                      <a:pt x="52" y="30"/>
                    </a:lnTo>
                    <a:lnTo>
                      <a:pt x="52" y="36"/>
                    </a:lnTo>
                    <a:lnTo>
                      <a:pt x="44" y="46"/>
                    </a:lnTo>
                    <a:lnTo>
                      <a:pt x="40" y="42"/>
                    </a:lnTo>
                    <a:lnTo>
                      <a:pt x="32" y="40"/>
                    </a:lnTo>
                    <a:lnTo>
                      <a:pt x="22" y="28"/>
                    </a:lnTo>
                    <a:lnTo>
                      <a:pt x="20" y="20"/>
                    </a:lnTo>
                    <a:lnTo>
                      <a:pt x="14" y="16"/>
                    </a:lnTo>
                    <a:lnTo>
                      <a:pt x="10" y="16"/>
                    </a:lnTo>
                    <a:lnTo>
                      <a:pt x="6" y="10"/>
                    </a:lnTo>
                    <a:lnTo>
                      <a:pt x="2" y="10"/>
                    </a:lnTo>
                    <a:lnTo>
                      <a:pt x="0" y="1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91" name="Freeform 242"/>
              <p:cNvSpPr>
                <a:spLocks/>
              </p:cNvSpPr>
              <p:nvPr/>
            </p:nvSpPr>
            <p:spPr bwMode="auto">
              <a:xfrm>
                <a:off x="3837" y="2837"/>
                <a:ext cx="196" cy="200"/>
              </a:xfrm>
              <a:custGeom>
                <a:avLst/>
                <a:gdLst>
                  <a:gd name="T0" fmla="*/ 70 w 196"/>
                  <a:gd name="T1" fmla="*/ 4 h 200"/>
                  <a:gd name="T2" fmla="*/ 70 w 196"/>
                  <a:gd name="T3" fmla="*/ 20 h 200"/>
                  <a:gd name="T4" fmla="*/ 80 w 196"/>
                  <a:gd name="T5" fmla="*/ 44 h 200"/>
                  <a:gd name="T6" fmla="*/ 86 w 196"/>
                  <a:gd name="T7" fmla="*/ 48 h 200"/>
                  <a:gd name="T8" fmla="*/ 92 w 196"/>
                  <a:gd name="T9" fmla="*/ 56 h 200"/>
                  <a:gd name="T10" fmla="*/ 84 w 196"/>
                  <a:gd name="T11" fmla="*/ 96 h 200"/>
                  <a:gd name="T12" fmla="*/ 74 w 196"/>
                  <a:gd name="T13" fmla="*/ 108 h 200"/>
                  <a:gd name="T14" fmla="*/ 74 w 196"/>
                  <a:gd name="T15" fmla="*/ 122 h 200"/>
                  <a:gd name="T16" fmla="*/ 68 w 196"/>
                  <a:gd name="T17" fmla="*/ 134 h 200"/>
                  <a:gd name="T18" fmla="*/ 80 w 196"/>
                  <a:gd name="T19" fmla="*/ 150 h 200"/>
                  <a:gd name="T20" fmla="*/ 84 w 196"/>
                  <a:gd name="T21" fmla="*/ 156 h 200"/>
                  <a:gd name="T22" fmla="*/ 90 w 196"/>
                  <a:gd name="T23" fmla="*/ 168 h 200"/>
                  <a:gd name="T24" fmla="*/ 104 w 196"/>
                  <a:gd name="T25" fmla="*/ 178 h 200"/>
                  <a:gd name="T26" fmla="*/ 114 w 196"/>
                  <a:gd name="T27" fmla="*/ 172 h 200"/>
                  <a:gd name="T28" fmla="*/ 110 w 196"/>
                  <a:gd name="T29" fmla="*/ 162 h 200"/>
                  <a:gd name="T30" fmla="*/ 118 w 196"/>
                  <a:gd name="T31" fmla="*/ 156 h 200"/>
                  <a:gd name="T32" fmla="*/ 128 w 196"/>
                  <a:gd name="T33" fmla="*/ 150 h 200"/>
                  <a:gd name="T34" fmla="*/ 138 w 196"/>
                  <a:gd name="T35" fmla="*/ 152 h 200"/>
                  <a:gd name="T36" fmla="*/ 146 w 196"/>
                  <a:gd name="T37" fmla="*/ 164 h 200"/>
                  <a:gd name="T38" fmla="*/ 154 w 196"/>
                  <a:gd name="T39" fmla="*/ 160 h 200"/>
                  <a:gd name="T40" fmla="*/ 154 w 196"/>
                  <a:gd name="T41" fmla="*/ 152 h 200"/>
                  <a:gd name="T42" fmla="*/ 176 w 196"/>
                  <a:gd name="T43" fmla="*/ 152 h 200"/>
                  <a:gd name="T44" fmla="*/ 172 w 196"/>
                  <a:gd name="T45" fmla="*/ 158 h 200"/>
                  <a:gd name="T46" fmla="*/ 170 w 196"/>
                  <a:gd name="T47" fmla="*/ 170 h 200"/>
                  <a:gd name="T48" fmla="*/ 180 w 196"/>
                  <a:gd name="T49" fmla="*/ 170 h 200"/>
                  <a:gd name="T50" fmla="*/ 182 w 196"/>
                  <a:gd name="T51" fmla="*/ 178 h 200"/>
                  <a:gd name="T52" fmla="*/ 186 w 196"/>
                  <a:gd name="T53" fmla="*/ 178 h 200"/>
                  <a:gd name="T54" fmla="*/ 194 w 196"/>
                  <a:gd name="T55" fmla="*/ 180 h 200"/>
                  <a:gd name="T56" fmla="*/ 194 w 196"/>
                  <a:gd name="T57" fmla="*/ 198 h 200"/>
                  <a:gd name="T58" fmla="*/ 184 w 196"/>
                  <a:gd name="T59" fmla="*/ 190 h 200"/>
                  <a:gd name="T60" fmla="*/ 186 w 196"/>
                  <a:gd name="T61" fmla="*/ 186 h 200"/>
                  <a:gd name="T62" fmla="*/ 168 w 196"/>
                  <a:gd name="T63" fmla="*/ 186 h 200"/>
                  <a:gd name="T64" fmla="*/ 158 w 196"/>
                  <a:gd name="T65" fmla="*/ 180 h 200"/>
                  <a:gd name="T66" fmla="*/ 144 w 196"/>
                  <a:gd name="T67" fmla="*/ 176 h 200"/>
                  <a:gd name="T68" fmla="*/ 138 w 196"/>
                  <a:gd name="T69" fmla="*/ 172 h 200"/>
                  <a:gd name="T70" fmla="*/ 122 w 196"/>
                  <a:gd name="T71" fmla="*/ 170 h 200"/>
                  <a:gd name="T72" fmla="*/ 136 w 196"/>
                  <a:gd name="T73" fmla="*/ 190 h 200"/>
                  <a:gd name="T74" fmla="*/ 134 w 196"/>
                  <a:gd name="T75" fmla="*/ 194 h 200"/>
                  <a:gd name="T76" fmla="*/ 108 w 196"/>
                  <a:gd name="T77" fmla="*/ 180 h 200"/>
                  <a:gd name="T78" fmla="*/ 88 w 196"/>
                  <a:gd name="T79" fmla="*/ 184 h 200"/>
                  <a:gd name="T80" fmla="*/ 82 w 196"/>
                  <a:gd name="T81" fmla="*/ 198 h 200"/>
                  <a:gd name="T82" fmla="*/ 72 w 196"/>
                  <a:gd name="T83" fmla="*/ 198 h 200"/>
                  <a:gd name="T84" fmla="*/ 60 w 196"/>
                  <a:gd name="T85" fmla="*/ 196 h 200"/>
                  <a:gd name="T86" fmla="*/ 52 w 196"/>
                  <a:gd name="T87" fmla="*/ 196 h 200"/>
                  <a:gd name="T88" fmla="*/ 52 w 196"/>
                  <a:gd name="T89" fmla="*/ 184 h 200"/>
                  <a:gd name="T90" fmla="*/ 56 w 196"/>
                  <a:gd name="T91" fmla="*/ 166 h 200"/>
                  <a:gd name="T92" fmla="*/ 44 w 196"/>
                  <a:gd name="T93" fmla="*/ 166 h 200"/>
                  <a:gd name="T94" fmla="*/ 46 w 196"/>
                  <a:gd name="T95" fmla="*/ 180 h 200"/>
                  <a:gd name="T96" fmla="*/ 28 w 196"/>
                  <a:gd name="T97" fmla="*/ 172 h 200"/>
                  <a:gd name="T98" fmla="*/ 0 w 196"/>
                  <a:gd name="T99" fmla="*/ 122 h 200"/>
                  <a:gd name="T100" fmla="*/ 14 w 196"/>
                  <a:gd name="T101" fmla="*/ 124 h 200"/>
                  <a:gd name="T102" fmla="*/ 6 w 196"/>
                  <a:gd name="T103" fmla="*/ 36 h 200"/>
                  <a:gd name="T104" fmla="*/ 32 w 196"/>
                  <a:gd name="T105" fmla="*/ 14 h 200"/>
                  <a:gd name="T106" fmla="*/ 56 w 196"/>
                  <a:gd name="T107" fmla="*/ 14 h 200"/>
                  <a:gd name="T108" fmla="*/ 60 w 196"/>
                  <a:gd name="T109" fmla="*/ 2 h 200"/>
                  <a:gd name="T110" fmla="*/ 68 w 196"/>
                  <a:gd name="T111" fmla="*/ 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200">
                    <a:moveTo>
                      <a:pt x="68" y="4"/>
                    </a:moveTo>
                    <a:lnTo>
                      <a:pt x="70" y="4"/>
                    </a:lnTo>
                    <a:lnTo>
                      <a:pt x="72" y="6"/>
                    </a:lnTo>
                    <a:lnTo>
                      <a:pt x="70" y="20"/>
                    </a:lnTo>
                    <a:lnTo>
                      <a:pt x="76" y="42"/>
                    </a:lnTo>
                    <a:lnTo>
                      <a:pt x="80" y="44"/>
                    </a:lnTo>
                    <a:lnTo>
                      <a:pt x="84" y="44"/>
                    </a:lnTo>
                    <a:lnTo>
                      <a:pt x="86" y="48"/>
                    </a:lnTo>
                    <a:lnTo>
                      <a:pt x="90" y="50"/>
                    </a:lnTo>
                    <a:lnTo>
                      <a:pt x="92" y="56"/>
                    </a:lnTo>
                    <a:lnTo>
                      <a:pt x="88" y="92"/>
                    </a:lnTo>
                    <a:lnTo>
                      <a:pt x="84" y="96"/>
                    </a:lnTo>
                    <a:lnTo>
                      <a:pt x="84" y="94"/>
                    </a:lnTo>
                    <a:lnTo>
                      <a:pt x="74" y="108"/>
                    </a:lnTo>
                    <a:lnTo>
                      <a:pt x="72" y="114"/>
                    </a:lnTo>
                    <a:lnTo>
                      <a:pt x="74" y="122"/>
                    </a:lnTo>
                    <a:lnTo>
                      <a:pt x="72" y="128"/>
                    </a:lnTo>
                    <a:lnTo>
                      <a:pt x="68" y="134"/>
                    </a:lnTo>
                    <a:lnTo>
                      <a:pt x="72" y="140"/>
                    </a:lnTo>
                    <a:lnTo>
                      <a:pt x="80" y="150"/>
                    </a:lnTo>
                    <a:lnTo>
                      <a:pt x="84" y="152"/>
                    </a:lnTo>
                    <a:lnTo>
                      <a:pt x="84" y="156"/>
                    </a:lnTo>
                    <a:lnTo>
                      <a:pt x="86" y="164"/>
                    </a:lnTo>
                    <a:lnTo>
                      <a:pt x="90" y="168"/>
                    </a:lnTo>
                    <a:lnTo>
                      <a:pt x="92" y="174"/>
                    </a:lnTo>
                    <a:lnTo>
                      <a:pt x="104" y="178"/>
                    </a:lnTo>
                    <a:lnTo>
                      <a:pt x="108" y="176"/>
                    </a:lnTo>
                    <a:lnTo>
                      <a:pt x="114" y="172"/>
                    </a:lnTo>
                    <a:lnTo>
                      <a:pt x="112" y="170"/>
                    </a:lnTo>
                    <a:lnTo>
                      <a:pt x="110" y="162"/>
                    </a:lnTo>
                    <a:lnTo>
                      <a:pt x="112" y="164"/>
                    </a:lnTo>
                    <a:lnTo>
                      <a:pt x="118" y="156"/>
                    </a:lnTo>
                    <a:lnTo>
                      <a:pt x="124" y="154"/>
                    </a:lnTo>
                    <a:lnTo>
                      <a:pt x="128" y="150"/>
                    </a:lnTo>
                    <a:lnTo>
                      <a:pt x="132" y="148"/>
                    </a:lnTo>
                    <a:lnTo>
                      <a:pt x="138" y="152"/>
                    </a:lnTo>
                    <a:lnTo>
                      <a:pt x="144" y="158"/>
                    </a:lnTo>
                    <a:lnTo>
                      <a:pt x="146" y="164"/>
                    </a:lnTo>
                    <a:lnTo>
                      <a:pt x="150" y="166"/>
                    </a:lnTo>
                    <a:lnTo>
                      <a:pt x="154" y="160"/>
                    </a:lnTo>
                    <a:lnTo>
                      <a:pt x="150" y="152"/>
                    </a:lnTo>
                    <a:lnTo>
                      <a:pt x="154" y="152"/>
                    </a:lnTo>
                    <a:lnTo>
                      <a:pt x="158" y="152"/>
                    </a:lnTo>
                    <a:lnTo>
                      <a:pt x="176" y="152"/>
                    </a:lnTo>
                    <a:lnTo>
                      <a:pt x="178" y="154"/>
                    </a:lnTo>
                    <a:lnTo>
                      <a:pt x="172" y="158"/>
                    </a:lnTo>
                    <a:lnTo>
                      <a:pt x="168" y="164"/>
                    </a:lnTo>
                    <a:lnTo>
                      <a:pt x="170" y="170"/>
                    </a:lnTo>
                    <a:lnTo>
                      <a:pt x="176" y="170"/>
                    </a:lnTo>
                    <a:lnTo>
                      <a:pt x="180" y="170"/>
                    </a:lnTo>
                    <a:lnTo>
                      <a:pt x="180" y="176"/>
                    </a:lnTo>
                    <a:lnTo>
                      <a:pt x="182" y="178"/>
                    </a:lnTo>
                    <a:lnTo>
                      <a:pt x="184" y="176"/>
                    </a:lnTo>
                    <a:lnTo>
                      <a:pt x="186" y="178"/>
                    </a:lnTo>
                    <a:lnTo>
                      <a:pt x="190" y="178"/>
                    </a:lnTo>
                    <a:lnTo>
                      <a:pt x="194" y="180"/>
                    </a:lnTo>
                    <a:lnTo>
                      <a:pt x="196" y="192"/>
                    </a:lnTo>
                    <a:lnTo>
                      <a:pt x="194" y="198"/>
                    </a:lnTo>
                    <a:lnTo>
                      <a:pt x="188" y="194"/>
                    </a:lnTo>
                    <a:lnTo>
                      <a:pt x="184" y="190"/>
                    </a:lnTo>
                    <a:lnTo>
                      <a:pt x="188" y="184"/>
                    </a:lnTo>
                    <a:lnTo>
                      <a:pt x="186" y="186"/>
                    </a:lnTo>
                    <a:lnTo>
                      <a:pt x="178" y="190"/>
                    </a:lnTo>
                    <a:lnTo>
                      <a:pt x="168" y="186"/>
                    </a:lnTo>
                    <a:lnTo>
                      <a:pt x="164" y="188"/>
                    </a:lnTo>
                    <a:lnTo>
                      <a:pt x="158" y="180"/>
                    </a:lnTo>
                    <a:lnTo>
                      <a:pt x="154" y="176"/>
                    </a:lnTo>
                    <a:lnTo>
                      <a:pt x="144" y="176"/>
                    </a:lnTo>
                    <a:lnTo>
                      <a:pt x="140" y="174"/>
                    </a:lnTo>
                    <a:lnTo>
                      <a:pt x="138" y="172"/>
                    </a:lnTo>
                    <a:lnTo>
                      <a:pt x="130" y="168"/>
                    </a:lnTo>
                    <a:lnTo>
                      <a:pt x="122" y="170"/>
                    </a:lnTo>
                    <a:lnTo>
                      <a:pt x="126" y="178"/>
                    </a:lnTo>
                    <a:lnTo>
                      <a:pt x="136" y="190"/>
                    </a:lnTo>
                    <a:lnTo>
                      <a:pt x="138" y="192"/>
                    </a:lnTo>
                    <a:lnTo>
                      <a:pt x="134" y="194"/>
                    </a:lnTo>
                    <a:lnTo>
                      <a:pt x="128" y="188"/>
                    </a:lnTo>
                    <a:lnTo>
                      <a:pt x="108" y="180"/>
                    </a:lnTo>
                    <a:lnTo>
                      <a:pt x="96" y="180"/>
                    </a:lnTo>
                    <a:lnTo>
                      <a:pt x="88" y="184"/>
                    </a:lnTo>
                    <a:lnTo>
                      <a:pt x="86" y="192"/>
                    </a:lnTo>
                    <a:lnTo>
                      <a:pt x="82" y="198"/>
                    </a:lnTo>
                    <a:lnTo>
                      <a:pt x="76" y="200"/>
                    </a:lnTo>
                    <a:lnTo>
                      <a:pt x="72" y="198"/>
                    </a:lnTo>
                    <a:lnTo>
                      <a:pt x="66" y="200"/>
                    </a:lnTo>
                    <a:lnTo>
                      <a:pt x="60" y="196"/>
                    </a:lnTo>
                    <a:lnTo>
                      <a:pt x="56" y="200"/>
                    </a:lnTo>
                    <a:lnTo>
                      <a:pt x="52" y="196"/>
                    </a:lnTo>
                    <a:lnTo>
                      <a:pt x="50" y="190"/>
                    </a:lnTo>
                    <a:lnTo>
                      <a:pt x="52" y="184"/>
                    </a:lnTo>
                    <a:lnTo>
                      <a:pt x="58" y="170"/>
                    </a:lnTo>
                    <a:lnTo>
                      <a:pt x="56" y="166"/>
                    </a:lnTo>
                    <a:lnTo>
                      <a:pt x="52" y="164"/>
                    </a:lnTo>
                    <a:lnTo>
                      <a:pt x="44" y="166"/>
                    </a:lnTo>
                    <a:lnTo>
                      <a:pt x="46" y="176"/>
                    </a:lnTo>
                    <a:lnTo>
                      <a:pt x="46" y="180"/>
                    </a:lnTo>
                    <a:lnTo>
                      <a:pt x="32" y="170"/>
                    </a:lnTo>
                    <a:lnTo>
                      <a:pt x="28" y="172"/>
                    </a:lnTo>
                    <a:lnTo>
                      <a:pt x="0" y="124"/>
                    </a:lnTo>
                    <a:lnTo>
                      <a:pt x="0" y="122"/>
                    </a:lnTo>
                    <a:lnTo>
                      <a:pt x="6" y="120"/>
                    </a:lnTo>
                    <a:lnTo>
                      <a:pt x="14" y="124"/>
                    </a:lnTo>
                    <a:lnTo>
                      <a:pt x="22" y="120"/>
                    </a:lnTo>
                    <a:lnTo>
                      <a:pt x="6" y="36"/>
                    </a:lnTo>
                    <a:lnTo>
                      <a:pt x="10" y="20"/>
                    </a:lnTo>
                    <a:lnTo>
                      <a:pt x="32" y="14"/>
                    </a:lnTo>
                    <a:lnTo>
                      <a:pt x="48" y="16"/>
                    </a:lnTo>
                    <a:lnTo>
                      <a:pt x="56" y="14"/>
                    </a:lnTo>
                    <a:lnTo>
                      <a:pt x="60" y="10"/>
                    </a:lnTo>
                    <a:lnTo>
                      <a:pt x="60" y="2"/>
                    </a:lnTo>
                    <a:lnTo>
                      <a:pt x="64" y="0"/>
                    </a:lnTo>
                    <a:lnTo>
                      <a:pt x="68"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92" name="Freeform 243"/>
              <p:cNvSpPr>
                <a:spLocks/>
              </p:cNvSpPr>
              <p:nvPr/>
            </p:nvSpPr>
            <p:spPr bwMode="auto">
              <a:xfrm>
                <a:off x="3837" y="2837"/>
                <a:ext cx="196" cy="200"/>
              </a:xfrm>
              <a:custGeom>
                <a:avLst/>
                <a:gdLst>
                  <a:gd name="T0" fmla="*/ 70 w 196"/>
                  <a:gd name="T1" fmla="*/ 4 h 200"/>
                  <a:gd name="T2" fmla="*/ 70 w 196"/>
                  <a:gd name="T3" fmla="*/ 20 h 200"/>
                  <a:gd name="T4" fmla="*/ 80 w 196"/>
                  <a:gd name="T5" fmla="*/ 44 h 200"/>
                  <a:gd name="T6" fmla="*/ 86 w 196"/>
                  <a:gd name="T7" fmla="*/ 48 h 200"/>
                  <a:gd name="T8" fmla="*/ 92 w 196"/>
                  <a:gd name="T9" fmla="*/ 56 h 200"/>
                  <a:gd name="T10" fmla="*/ 84 w 196"/>
                  <a:gd name="T11" fmla="*/ 96 h 200"/>
                  <a:gd name="T12" fmla="*/ 74 w 196"/>
                  <a:gd name="T13" fmla="*/ 108 h 200"/>
                  <a:gd name="T14" fmla="*/ 74 w 196"/>
                  <a:gd name="T15" fmla="*/ 122 h 200"/>
                  <a:gd name="T16" fmla="*/ 68 w 196"/>
                  <a:gd name="T17" fmla="*/ 134 h 200"/>
                  <a:gd name="T18" fmla="*/ 80 w 196"/>
                  <a:gd name="T19" fmla="*/ 150 h 200"/>
                  <a:gd name="T20" fmla="*/ 84 w 196"/>
                  <a:gd name="T21" fmla="*/ 156 h 200"/>
                  <a:gd name="T22" fmla="*/ 90 w 196"/>
                  <a:gd name="T23" fmla="*/ 168 h 200"/>
                  <a:gd name="T24" fmla="*/ 104 w 196"/>
                  <a:gd name="T25" fmla="*/ 178 h 200"/>
                  <a:gd name="T26" fmla="*/ 114 w 196"/>
                  <a:gd name="T27" fmla="*/ 172 h 200"/>
                  <a:gd name="T28" fmla="*/ 110 w 196"/>
                  <a:gd name="T29" fmla="*/ 162 h 200"/>
                  <a:gd name="T30" fmla="*/ 118 w 196"/>
                  <a:gd name="T31" fmla="*/ 156 h 200"/>
                  <a:gd name="T32" fmla="*/ 128 w 196"/>
                  <a:gd name="T33" fmla="*/ 150 h 200"/>
                  <a:gd name="T34" fmla="*/ 138 w 196"/>
                  <a:gd name="T35" fmla="*/ 152 h 200"/>
                  <a:gd name="T36" fmla="*/ 146 w 196"/>
                  <a:gd name="T37" fmla="*/ 164 h 200"/>
                  <a:gd name="T38" fmla="*/ 154 w 196"/>
                  <a:gd name="T39" fmla="*/ 160 h 200"/>
                  <a:gd name="T40" fmla="*/ 154 w 196"/>
                  <a:gd name="T41" fmla="*/ 152 h 200"/>
                  <a:gd name="T42" fmla="*/ 176 w 196"/>
                  <a:gd name="T43" fmla="*/ 152 h 200"/>
                  <a:gd name="T44" fmla="*/ 172 w 196"/>
                  <a:gd name="T45" fmla="*/ 158 h 200"/>
                  <a:gd name="T46" fmla="*/ 170 w 196"/>
                  <a:gd name="T47" fmla="*/ 170 h 200"/>
                  <a:gd name="T48" fmla="*/ 180 w 196"/>
                  <a:gd name="T49" fmla="*/ 170 h 200"/>
                  <a:gd name="T50" fmla="*/ 182 w 196"/>
                  <a:gd name="T51" fmla="*/ 178 h 200"/>
                  <a:gd name="T52" fmla="*/ 186 w 196"/>
                  <a:gd name="T53" fmla="*/ 178 h 200"/>
                  <a:gd name="T54" fmla="*/ 194 w 196"/>
                  <a:gd name="T55" fmla="*/ 180 h 200"/>
                  <a:gd name="T56" fmla="*/ 194 w 196"/>
                  <a:gd name="T57" fmla="*/ 198 h 200"/>
                  <a:gd name="T58" fmla="*/ 184 w 196"/>
                  <a:gd name="T59" fmla="*/ 190 h 200"/>
                  <a:gd name="T60" fmla="*/ 186 w 196"/>
                  <a:gd name="T61" fmla="*/ 186 h 200"/>
                  <a:gd name="T62" fmla="*/ 168 w 196"/>
                  <a:gd name="T63" fmla="*/ 186 h 200"/>
                  <a:gd name="T64" fmla="*/ 158 w 196"/>
                  <a:gd name="T65" fmla="*/ 180 h 200"/>
                  <a:gd name="T66" fmla="*/ 144 w 196"/>
                  <a:gd name="T67" fmla="*/ 176 h 200"/>
                  <a:gd name="T68" fmla="*/ 138 w 196"/>
                  <a:gd name="T69" fmla="*/ 172 h 200"/>
                  <a:gd name="T70" fmla="*/ 122 w 196"/>
                  <a:gd name="T71" fmla="*/ 170 h 200"/>
                  <a:gd name="T72" fmla="*/ 136 w 196"/>
                  <a:gd name="T73" fmla="*/ 190 h 200"/>
                  <a:gd name="T74" fmla="*/ 134 w 196"/>
                  <a:gd name="T75" fmla="*/ 194 h 200"/>
                  <a:gd name="T76" fmla="*/ 108 w 196"/>
                  <a:gd name="T77" fmla="*/ 180 h 200"/>
                  <a:gd name="T78" fmla="*/ 88 w 196"/>
                  <a:gd name="T79" fmla="*/ 184 h 200"/>
                  <a:gd name="T80" fmla="*/ 82 w 196"/>
                  <a:gd name="T81" fmla="*/ 198 h 200"/>
                  <a:gd name="T82" fmla="*/ 72 w 196"/>
                  <a:gd name="T83" fmla="*/ 198 h 200"/>
                  <a:gd name="T84" fmla="*/ 60 w 196"/>
                  <a:gd name="T85" fmla="*/ 196 h 200"/>
                  <a:gd name="T86" fmla="*/ 52 w 196"/>
                  <a:gd name="T87" fmla="*/ 196 h 200"/>
                  <a:gd name="T88" fmla="*/ 52 w 196"/>
                  <a:gd name="T89" fmla="*/ 184 h 200"/>
                  <a:gd name="T90" fmla="*/ 56 w 196"/>
                  <a:gd name="T91" fmla="*/ 166 h 200"/>
                  <a:gd name="T92" fmla="*/ 44 w 196"/>
                  <a:gd name="T93" fmla="*/ 166 h 200"/>
                  <a:gd name="T94" fmla="*/ 46 w 196"/>
                  <a:gd name="T95" fmla="*/ 180 h 200"/>
                  <a:gd name="T96" fmla="*/ 28 w 196"/>
                  <a:gd name="T97" fmla="*/ 172 h 200"/>
                  <a:gd name="T98" fmla="*/ 0 w 196"/>
                  <a:gd name="T99" fmla="*/ 122 h 200"/>
                  <a:gd name="T100" fmla="*/ 14 w 196"/>
                  <a:gd name="T101" fmla="*/ 124 h 200"/>
                  <a:gd name="T102" fmla="*/ 6 w 196"/>
                  <a:gd name="T103" fmla="*/ 36 h 200"/>
                  <a:gd name="T104" fmla="*/ 32 w 196"/>
                  <a:gd name="T105" fmla="*/ 14 h 200"/>
                  <a:gd name="T106" fmla="*/ 56 w 196"/>
                  <a:gd name="T107" fmla="*/ 14 h 200"/>
                  <a:gd name="T108" fmla="*/ 60 w 196"/>
                  <a:gd name="T109" fmla="*/ 2 h 200"/>
                  <a:gd name="T110" fmla="*/ 68 w 196"/>
                  <a:gd name="T111" fmla="*/ 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200">
                    <a:moveTo>
                      <a:pt x="68" y="4"/>
                    </a:moveTo>
                    <a:lnTo>
                      <a:pt x="70" y="4"/>
                    </a:lnTo>
                    <a:lnTo>
                      <a:pt x="72" y="6"/>
                    </a:lnTo>
                    <a:lnTo>
                      <a:pt x="70" y="20"/>
                    </a:lnTo>
                    <a:lnTo>
                      <a:pt x="76" y="42"/>
                    </a:lnTo>
                    <a:lnTo>
                      <a:pt x="80" y="44"/>
                    </a:lnTo>
                    <a:lnTo>
                      <a:pt x="84" y="44"/>
                    </a:lnTo>
                    <a:lnTo>
                      <a:pt x="86" y="48"/>
                    </a:lnTo>
                    <a:lnTo>
                      <a:pt x="90" y="50"/>
                    </a:lnTo>
                    <a:lnTo>
                      <a:pt x="92" y="56"/>
                    </a:lnTo>
                    <a:lnTo>
                      <a:pt x="88" y="92"/>
                    </a:lnTo>
                    <a:lnTo>
                      <a:pt x="84" y="96"/>
                    </a:lnTo>
                    <a:lnTo>
                      <a:pt x="84" y="94"/>
                    </a:lnTo>
                    <a:lnTo>
                      <a:pt x="74" y="108"/>
                    </a:lnTo>
                    <a:lnTo>
                      <a:pt x="72" y="114"/>
                    </a:lnTo>
                    <a:lnTo>
                      <a:pt x="74" y="122"/>
                    </a:lnTo>
                    <a:lnTo>
                      <a:pt x="72" y="128"/>
                    </a:lnTo>
                    <a:lnTo>
                      <a:pt x="68" y="134"/>
                    </a:lnTo>
                    <a:lnTo>
                      <a:pt x="72" y="140"/>
                    </a:lnTo>
                    <a:lnTo>
                      <a:pt x="80" y="150"/>
                    </a:lnTo>
                    <a:lnTo>
                      <a:pt x="84" y="152"/>
                    </a:lnTo>
                    <a:lnTo>
                      <a:pt x="84" y="156"/>
                    </a:lnTo>
                    <a:lnTo>
                      <a:pt x="86" y="164"/>
                    </a:lnTo>
                    <a:lnTo>
                      <a:pt x="90" y="168"/>
                    </a:lnTo>
                    <a:lnTo>
                      <a:pt x="92" y="174"/>
                    </a:lnTo>
                    <a:lnTo>
                      <a:pt x="104" y="178"/>
                    </a:lnTo>
                    <a:lnTo>
                      <a:pt x="108" y="176"/>
                    </a:lnTo>
                    <a:lnTo>
                      <a:pt x="114" y="172"/>
                    </a:lnTo>
                    <a:lnTo>
                      <a:pt x="112" y="170"/>
                    </a:lnTo>
                    <a:lnTo>
                      <a:pt x="110" y="162"/>
                    </a:lnTo>
                    <a:lnTo>
                      <a:pt x="112" y="164"/>
                    </a:lnTo>
                    <a:lnTo>
                      <a:pt x="118" y="156"/>
                    </a:lnTo>
                    <a:lnTo>
                      <a:pt x="124" y="154"/>
                    </a:lnTo>
                    <a:lnTo>
                      <a:pt x="128" y="150"/>
                    </a:lnTo>
                    <a:lnTo>
                      <a:pt x="132" y="148"/>
                    </a:lnTo>
                    <a:lnTo>
                      <a:pt x="138" y="152"/>
                    </a:lnTo>
                    <a:lnTo>
                      <a:pt x="144" y="158"/>
                    </a:lnTo>
                    <a:lnTo>
                      <a:pt x="146" y="164"/>
                    </a:lnTo>
                    <a:lnTo>
                      <a:pt x="150" y="166"/>
                    </a:lnTo>
                    <a:lnTo>
                      <a:pt x="154" y="160"/>
                    </a:lnTo>
                    <a:lnTo>
                      <a:pt x="150" y="152"/>
                    </a:lnTo>
                    <a:lnTo>
                      <a:pt x="154" y="152"/>
                    </a:lnTo>
                    <a:lnTo>
                      <a:pt x="158" y="152"/>
                    </a:lnTo>
                    <a:lnTo>
                      <a:pt x="176" y="152"/>
                    </a:lnTo>
                    <a:lnTo>
                      <a:pt x="178" y="154"/>
                    </a:lnTo>
                    <a:lnTo>
                      <a:pt x="172" y="158"/>
                    </a:lnTo>
                    <a:lnTo>
                      <a:pt x="168" y="164"/>
                    </a:lnTo>
                    <a:lnTo>
                      <a:pt x="170" y="170"/>
                    </a:lnTo>
                    <a:lnTo>
                      <a:pt x="176" y="170"/>
                    </a:lnTo>
                    <a:lnTo>
                      <a:pt x="180" y="170"/>
                    </a:lnTo>
                    <a:lnTo>
                      <a:pt x="180" y="176"/>
                    </a:lnTo>
                    <a:lnTo>
                      <a:pt x="182" y="178"/>
                    </a:lnTo>
                    <a:lnTo>
                      <a:pt x="184" y="176"/>
                    </a:lnTo>
                    <a:lnTo>
                      <a:pt x="186" y="178"/>
                    </a:lnTo>
                    <a:lnTo>
                      <a:pt x="190" y="178"/>
                    </a:lnTo>
                    <a:lnTo>
                      <a:pt x="194" y="180"/>
                    </a:lnTo>
                    <a:lnTo>
                      <a:pt x="196" y="192"/>
                    </a:lnTo>
                    <a:lnTo>
                      <a:pt x="194" y="198"/>
                    </a:lnTo>
                    <a:lnTo>
                      <a:pt x="188" y="194"/>
                    </a:lnTo>
                    <a:lnTo>
                      <a:pt x="184" y="190"/>
                    </a:lnTo>
                    <a:lnTo>
                      <a:pt x="188" y="184"/>
                    </a:lnTo>
                    <a:lnTo>
                      <a:pt x="186" y="186"/>
                    </a:lnTo>
                    <a:lnTo>
                      <a:pt x="178" y="190"/>
                    </a:lnTo>
                    <a:lnTo>
                      <a:pt x="168" y="186"/>
                    </a:lnTo>
                    <a:lnTo>
                      <a:pt x="164" y="188"/>
                    </a:lnTo>
                    <a:lnTo>
                      <a:pt x="158" y="180"/>
                    </a:lnTo>
                    <a:lnTo>
                      <a:pt x="154" y="176"/>
                    </a:lnTo>
                    <a:lnTo>
                      <a:pt x="144" y="176"/>
                    </a:lnTo>
                    <a:lnTo>
                      <a:pt x="140" y="174"/>
                    </a:lnTo>
                    <a:lnTo>
                      <a:pt x="138" y="172"/>
                    </a:lnTo>
                    <a:lnTo>
                      <a:pt x="130" y="168"/>
                    </a:lnTo>
                    <a:lnTo>
                      <a:pt x="122" y="170"/>
                    </a:lnTo>
                    <a:lnTo>
                      <a:pt x="126" y="178"/>
                    </a:lnTo>
                    <a:lnTo>
                      <a:pt x="136" y="190"/>
                    </a:lnTo>
                    <a:lnTo>
                      <a:pt x="138" y="192"/>
                    </a:lnTo>
                    <a:lnTo>
                      <a:pt x="134" y="194"/>
                    </a:lnTo>
                    <a:lnTo>
                      <a:pt x="128" y="188"/>
                    </a:lnTo>
                    <a:lnTo>
                      <a:pt x="108" y="180"/>
                    </a:lnTo>
                    <a:lnTo>
                      <a:pt x="96" y="180"/>
                    </a:lnTo>
                    <a:lnTo>
                      <a:pt x="88" y="184"/>
                    </a:lnTo>
                    <a:lnTo>
                      <a:pt x="86" y="192"/>
                    </a:lnTo>
                    <a:lnTo>
                      <a:pt x="82" y="198"/>
                    </a:lnTo>
                    <a:lnTo>
                      <a:pt x="76" y="200"/>
                    </a:lnTo>
                    <a:lnTo>
                      <a:pt x="72" y="198"/>
                    </a:lnTo>
                    <a:lnTo>
                      <a:pt x="66" y="200"/>
                    </a:lnTo>
                    <a:lnTo>
                      <a:pt x="60" y="196"/>
                    </a:lnTo>
                    <a:lnTo>
                      <a:pt x="56" y="200"/>
                    </a:lnTo>
                    <a:lnTo>
                      <a:pt x="52" y="196"/>
                    </a:lnTo>
                    <a:lnTo>
                      <a:pt x="50" y="190"/>
                    </a:lnTo>
                    <a:lnTo>
                      <a:pt x="52" y="184"/>
                    </a:lnTo>
                    <a:lnTo>
                      <a:pt x="58" y="170"/>
                    </a:lnTo>
                    <a:lnTo>
                      <a:pt x="56" y="166"/>
                    </a:lnTo>
                    <a:lnTo>
                      <a:pt x="52" y="164"/>
                    </a:lnTo>
                    <a:lnTo>
                      <a:pt x="44" y="166"/>
                    </a:lnTo>
                    <a:lnTo>
                      <a:pt x="46" y="176"/>
                    </a:lnTo>
                    <a:lnTo>
                      <a:pt x="46" y="180"/>
                    </a:lnTo>
                    <a:lnTo>
                      <a:pt x="32" y="170"/>
                    </a:lnTo>
                    <a:lnTo>
                      <a:pt x="28" y="172"/>
                    </a:lnTo>
                    <a:lnTo>
                      <a:pt x="0" y="124"/>
                    </a:lnTo>
                    <a:lnTo>
                      <a:pt x="0" y="122"/>
                    </a:lnTo>
                    <a:lnTo>
                      <a:pt x="6" y="120"/>
                    </a:lnTo>
                    <a:lnTo>
                      <a:pt x="14" y="124"/>
                    </a:lnTo>
                    <a:lnTo>
                      <a:pt x="22" y="120"/>
                    </a:lnTo>
                    <a:lnTo>
                      <a:pt x="6" y="36"/>
                    </a:lnTo>
                    <a:lnTo>
                      <a:pt x="10" y="20"/>
                    </a:lnTo>
                    <a:lnTo>
                      <a:pt x="32" y="14"/>
                    </a:lnTo>
                    <a:lnTo>
                      <a:pt x="48" y="16"/>
                    </a:lnTo>
                    <a:lnTo>
                      <a:pt x="56" y="14"/>
                    </a:lnTo>
                    <a:lnTo>
                      <a:pt x="60" y="10"/>
                    </a:lnTo>
                    <a:lnTo>
                      <a:pt x="60" y="2"/>
                    </a:lnTo>
                    <a:lnTo>
                      <a:pt x="64" y="0"/>
                    </a:lnTo>
                    <a:lnTo>
                      <a:pt x="68"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93" name="Freeform 244"/>
              <p:cNvSpPr>
                <a:spLocks/>
              </p:cNvSpPr>
              <p:nvPr/>
            </p:nvSpPr>
            <p:spPr bwMode="auto">
              <a:xfrm>
                <a:off x="3927" y="2971"/>
                <a:ext cx="8" cy="16"/>
              </a:xfrm>
              <a:custGeom>
                <a:avLst/>
                <a:gdLst>
                  <a:gd name="T0" fmla="*/ 0 w 8"/>
                  <a:gd name="T1" fmla="*/ 4 h 16"/>
                  <a:gd name="T2" fmla="*/ 0 w 8"/>
                  <a:gd name="T3" fmla="*/ 0 h 16"/>
                  <a:gd name="T4" fmla="*/ 4 w 8"/>
                  <a:gd name="T5" fmla="*/ 0 h 16"/>
                  <a:gd name="T6" fmla="*/ 8 w 8"/>
                  <a:gd name="T7" fmla="*/ 14 h 16"/>
                  <a:gd name="T8" fmla="*/ 4 w 8"/>
                  <a:gd name="T9" fmla="*/ 16 h 16"/>
                  <a:gd name="T10" fmla="*/ 0 w 8"/>
                  <a:gd name="T11" fmla="*/ 4 h 16"/>
                </a:gdLst>
                <a:ahLst/>
                <a:cxnLst>
                  <a:cxn ang="0">
                    <a:pos x="T0" y="T1"/>
                  </a:cxn>
                  <a:cxn ang="0">
                    <a:pos x="T2" y="T3"/>
                  </a:cxn>
                  <a:cxn ang="0">
                    <a:pos x="T4" y="T5"/>
                  </a:cxn>
                  <a:cxn ang="0">
                    <a:pos x="T6" y="T7"/>
                  </a:cxn>
                  <a:cxn ang="0">
                    <a:pos x="T8" y="T9"/>
                  </a:cxn>
                  <a:cxn ang="0">
                    <a:pos x="T10" y="T11"/>
                  </a:cxn>
                </a:cxnLst>
                <a:rect l="0" t="0" r="r" b="b"/>
                <a:pathLst>
                  <a:path w="8" h="16">
                    <a:moveTo>
                      <a:pt x="0" y="4"/>
                    </a:moveTo>
                    <a:lnTo>
                      <a:pt x="0" y="0"/>
                    </a:lnTo>
                    <a:lnTo>
                      <a:pt x="4" y="0"/>
                    </a:lnTo>
                    <a:lnTo>
                      <a:pt x="8" y="14"/>
                    </a:lnTo>
                    <a:lnTo>
                      <a:pt x="4" y="16"/>
                    </a:lnTo>
                    <a:lnTo>
                      <a:pt x="0"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94" name="Freeform 245"/>
              <p:cNvSpPr>
                <a:spLocks/>
              </p:cNvSpPr>
              <p:nvPr/>
            </p:nvSpPr>
            <p:spPr bwMode="auto">
              <a:xfrm>
                <a:off x="3927" y="2971"/>
                <a:ext cx="8" cy="16"/>
              </a:xfrm>
              <a:custGeom>
                <a:avLst/>
                <a:gdLst>
                  <a:gd name="T0" fmla="*/ 0 w 8"/>
                  <a:gd name="T1" fmla="*/ 4 h 16"/>
                  <a:gd name="T2" fmla="*/ 0 w 8"/>
                  <a:gd name="T3" fmla="*/ 0 h 16"/>
                  <a:gd name="T4" fmla="*/ 4 w 8"/>
                  <a:gd name="T5" fmla="*/ 0 h 16"/>
                  <a:gd name="T6" fmla="*/ 8 w 8"/>
                  <a:gd name="T7" fmla="*/ 14 h 16"/>
                  <a:gd name="T8" fmla="*/ 4 w 8"/>
                  <a:gd name="T9" fmla="*/ 16 h 16"/>
                  <a:gd name="T10" fmla="*/ 0 w 8"/>
                  <a:gd name="T11" fmla="*/ 4 h 16"/>
                </a:gdLst>
                <a:ahLst/>
                <a:cxnLst>
                  <a:cxn ang="0">
                    <a:pos x="T0" y="T1"/>
                  </a:cxn>
                  <a:cxn ang="0">
                    <a:pos x="T2" y="T3"/>
                  </a:cxn>
                  <a:cxn ang="0">
                    <a:pos x="T4" y="T5"/>
                  </a:cxn>
                  <a:cxn ang="0">
                    <a:pos x="T6" y="T7"/>
                  </a:cxn>
                  <a:cxn ang="0">
                    <a:pos x="T8" y="T9"/>
                  </a:cxn>
                  <a:cxn ang="0">
                    <a:pos x="T10" y="T11"/>
                  </a:cxn>
                </a:cxnLst>
                <a:rect l="0" t="0" r="r" b="b"/>
                <a:pathLst>
                  <a:path w="8" h="16">
                    <a:moveTo>
                      <a:pt x="0" y="4"/>
                    </a:moveTo>
                    <a:lnTo>
                      <a:pt x="0" y="0"/>
                    </a:lnTo>
                    <a:lnTo>
                      <a:pt x="4" y="0"/>
                    </a:lnTo>
                    <a:lnTo>
                      <a:pt x="8" y="14"/>
                    </a:lnTo>
                    <a:lnTo>
                      <a:pt x="4" y="16"/>
                    </a:lnTo>
                    <a:lnTo>
                      <a:pt x="0"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95" name="Freeform 246"/>
              <p:cNvSpPr>
                <a:spLocks/>
              </p:cNvSpPr>
              <p:nvPr/>
            </p:nvSpPr>
            <p:spPr bwMode="auto">
              <a:xfrm>
                <a:off x="3939" y="3027"/>
                <a:ext cx="12" cy="14"/>
              </a:xfrm>
              <a:custGeom>
                <a:avLst/>
                <a:gdLst>
                  <a:gd name="T0" fmla="*/ 2 w 12"/>
                  <a:gd name="T1" fmla="*/ 12 h 14"/>
                  <a:gd name="T2" fmla="*/ 0 w 12"/>
                  <a:gd name="T3" fmla="*/ 10 h 14"/>
                  <a:gd name="T4" fmla="*/ 0 w 12"/>
                  <a:gd name="T5" fmla="*/ 4 h 14"/>
                  <a:gd name="T6" fmla="*/ 6 w 12"/>
                  <a:gd name="T7" fmla="*/ 0 h 14"/>
                  <a:gd name="T8" fmla="*/ 10 w 12"/>
                  <a:gd name="T9" fmla="*/ 2 h 14"/>
                  <a:gd name="T10" fmla="*/ 12 w 12"/>
                  <a:gd name="T11" fmla="*/ 6 h 14"/>
                  <a:gd name="T12" fmla="*/ 12 w 12"/>
                  <a:gd name="T13" fmla="*/ 12 h 14"/>
                  <a:gd name="T14" fmla="*/ 8 w 12"/>
                  <a:gd name="T15" fmla="*/ 14 h 14"/>
                  <a:gd name="T16" fmla="*/ 2 w 12"/>
                  <a:gd name="T1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4">
                    <a:moveTo>
                      <a:pt x="2" y="12"/>
                    </a:moveTo>
                    <a:lnTo>
                      <a:pt x="0" y="10"/>
                    </a:lnTo>
                    <a:lnTo>
                      <a:pt x="0" y="4"/>
                    </a:lnTo>
                    <a:lnTo>
                      <a:pt x="6" y="0"/>
                    </a:lnTo>
                    <a:lnTo>
                      <a:pt x="10" y="2"/>
                    </a:lnTo>
                    <a:lnTo>
                      <a:pt x="12" y="6"/>
                    </a:lnTo>
                    <a:lnTo>
                      <a:pt x="12" y="12"/>
                    </a:lnTo>
                    <a:lnTo>
                      <a:pt x="8" y="14"/>
                    </a:lnTo>
                    <a:lnTo>
                      <a:pt x="2" y="1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96" name="Freeform 247"/>
              <p:cNvSpPr>
                <a:spLocks/>
              </p:cNvSpPr>
              <p:nvPr/>
            </p:nvSpPr>
            <p:spPr bwMode="auto">
              <a:xfrm>
                <a:off x="3939" y="3027"/>
                <a:ext cx="12" cy="14"/>
              </a:xfrm>
              <a:custGeom>
                <a:avLst/>
                <a:gdLst>
                  <a:gd name="T0" fmla="*/ 2 w 12"/>
                  <a:gd name="T1" fmla="*/ 12 h 14"/>
                  <a:gd name="T2" fmla="*/ 0 w 12"/>
                  <a:gd name="T3" fmla="*/ 10 h 14"/>
                  <a:gd name="T4" fmla="*/ 0 w 12"/>
                  <a:gd name="T5" fmla="*/ 4 h 14"/>
                  <a:gd name="T6" fmla="*/ 6 w 12"/>
                  <a:gd name="T7" fmla="*/ 0 h 14"/>
                  <a:gd name="T8" fmla="*/ 10 w 12"/>
                  <a:gd name="T9" fmla="*/ 2 h 14"/>
                  <a:gd name="T10" fmla="*/ 12 w 12"/>
                  <a:gd name="T11" fmla="*/ 6 h 14"/>
                  <a:gd name="T12" fmla="*/ 12 w 12"/>
                  <a:gd name="T13" fmla="*/ 12 h 14"/>
                  <a:gd name="T14" fmla="*/ 8 w 12"/>
                  <a:gd name="T15" fmla="*/ 14 h 14"/>
                  <a:gd name="T16" fmla="*/ 2 w 12"/>
                  <a:gd name="T1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4">
                    <a:moveTo>
                      <a:pt x="2" y="12"/>
                    </a:moveTo>
                    <a:lnTo>
                      <a:pt x="0" y="10"/>
                    </a:lnTo>
                    <a:lnTo>
                      <a:pt x="0" y="4"/>
                    </a:lnTo>
                    <a:lnTo>
                      <a:pt x="6" y="0"/>
                    </a:lnTo>
                    <a:lnTo>
                      <a:pt x="10" y="2"/>
                    </a:lnTo>
                    <a:lnTo>
                      <a:pt x="12" y="6"/>
                    </a:lnTo>
                    <a:lnTo>
                      <a:pt x="12" y="12"/>
                    </a:lnTo>
                    <a:lnTo>
                      <a:pt x="8" y="14"/>
                    </a:lnTo>
                    <a:lnTo>
                      <a:pt x="2" y="1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97" name="Freeform 248"/>
              <p:cNvSpPr>
                <a:spLocks/>
              </p:cNvSpPr>
              <p:nvPr/>
            </p:nvSpPr>
            <p:spPr bwMode="auto">
              <a:xfrm>
                <a:off x="3953" y="3061"/>
                <a:ext cx="6" cy="20"/>
              </a:xfrm>
              <a:custGeom>
                <a:avLst/>
                <a:gdLst>
                  <a:gd name="T0" fmla="*/ 0 w 6"/>
                  <a:gd name="T1" fmla="*/ 8 h 20"/>
                  <a:gd name="T2" fmla="*/ 0 w 6"/>
                  <a:gd name="T3" fmla="*/ 2 h 20"/>
                  <a:gd name="T4" fmla="*/ 4 w 6"/>
                  <a:gd name="T5" fmla="*/ 0 h 20"/>
                  <a:gd name="T6" fmla="*/ 6 w 6"/>
                  <a:gd name="T7" fmla="*/ 16 h 20"/>
                  <a:gd name="T8" fmla="*/ 4 w 6"/>
                  <a:gd name="T9" fmla="*/ 20 h 20"/>
                  <a:gd name="T10" fmla="*/ 2 w 6"/>
                  <a:gd name="T11" fmla="*/ 16 h 20"/>
                  <a:gd name="T12" fmla="*/ 0 w 6"/>
                  <a:gd name="T13" fmla="*/ 8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0" y="8"/>
                    </a:moveTo>
                    <a:lnTo>
                      <a:pt x="0" y="2"/>
                    </a:lnTo>
                    <a:lnTo>
                      <a:pt x="4" y="0"/>
                    </a:lnTo>
                    <a:lnTo>
                      <a:pt x="6" y="16"/>
                    </a:lnTo>
                    <a:lnTo>
                      <a:pt x="4" y="20"/>
                    </a:lnTo>
                    <a:lnTo>
                      <a:pt x="2" y="16"/>
                    </a:lnTo>
                    <a:lnTo>
                      <a:pt x="0" y="8"/>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98" name="Freeform 249"/>
              <p:cNvSpPr>
                <a:spLocks/>
              </p:cNvSpPr>
              <p:nvPr/>
            </p:nvSpPr>
            <p:spPr bwMode="auto">
              <a:xfrm>
                <a:off x="3953" y="3061"/>
                <a:ext cx="6" cy="20"/>
              </a:xfrm>
              <a:custGeom>
                <a:avLst/>
                <a:gdLst>
                  <a:gd name="T0" fmla="*/ 0 w 6"/>
                  <a:gd name="T1" fmla="*/ 8 h 20"/>
                  <a:gd name="T2" fmla="*/ 0 w 6"/>
                  <a:gd name="T3" fmla="*/ 2 h 20"/>
                  <a:gd name="T4" fmla="*/ 4 w 6"/>
                  <a:gd name="T5" fmla="*/ 0 h 20"/>
                  <a:gd name="T6" fmla="*/ 6 w 6"/>
                  <a:gd name="T7" fmla="*/ 16 h 20"/>
                  <a:gd name="T8" fmla="*/ 4 w 6"/>
                  <a:gd name="T9" fmla="*/ 20 h 20"/>
                  <a:gd name="T10" fmla="*/ 2 w 6"/>
                  <a:gd name="T11" fmla="*/ 16 h 20"/>
                  <a:gd name="T12" fmla="*/ 0 w 6"/>
                  <a:gd name="T13" fmla="*/ 8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0" y="8"/>
                    </a:moveTo>
                    <a:lnTo>
                      <a:pt x="0" y="2"/>
                    </a:lnTo>
                    <a:lnTo>
                      <a:pt x="4" y="0"/>
                    </a:lnTo>
                    <a:lnTo>
                      <a:pt x="6" y="16"/>
                    </a:lnTo>
                    <a:lnTo>
                      <a:pt x="4" y="20"/>
                    </a:lnTo>
                    <a:lnTo>
                      <a:pt x="2" y="16"/>
                    </a:lnTo>
                    <a:lnTo>
                      <a:pt x="0" y="8"/>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99" name="Freeform 250"/>
              <p:cNvSpPr>
                <a:spLocks/>
              </p:cNvSpPr>
              <p:nvPr/>
            </p:nvSpPr>
            <p:spPr bwMode="auto">
              <a:xfrm>
                <a:off x="3971" y="3059"/>
                <a:ext cx="10" cy="6"/>
              </a:xfrm>
              <a:custGeom>
                <a:avLst/>
                <a:gdLst>
                  <a:gd name="T0" fmla="*/ 0 w 10"/>
                  <a:gd name="T1" fmla="*/ 4 h 6"/>
                  <a:gd name="T2" fmla="*/ 0 w 10"/>
                  <a:gd name="T3" fmla="*/ 2 h 6"/>
                  <a:gd name="T4" fmla="*/ 4 w 10"/>
                  <a:gd name="T5" fmla="*/ 0 h 6"/>
                  <a:gd name="T6" fmla="*/ 8 w 10"/>
                  <a:gd name="T7" fmla="*/ 2 h 6"/>
                  <a:gd name="T8" fmla="*/ 10 w 10"/>
                  <a:gd name="T9" fmla="*/ 4 h 6"/>
                  <a:gd name="T10" fmla="*/ 10 w 10"/>
                  <a:gd name="T11" fmla="*/ 6 h 6"/>
                  <a:gd name="T12" fmla="*/ 2 w 10"/>
                  <a:gd name="T13" fmla="*/ 6 h 6"/>
                  <a:gd name="T14" fmla="*/ 0 w 10"/>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0" y="4"/>
                    </a:moveTo>
                    <a:lnTo>
                      <a:pt x="0" y="2"/>
                    </a:lnTo>
                    <a:lnTo>
                      <a:pt x="4" y="0"/>
                    </a:lnTo>
                    <a:lnTo>
                      <a:pt x="8" y="2"/>
                    </a:lnTo>
                    <a:lnTo>
                      <a:pt x="10" y="4"/>
                    </a:lnTo>
                    <a:lnTo>
                      <a:pt x="10" y="6"/>
                    </a:lnTo>
                    <a:lnTo>
                      <a:pt x="2" y="6"/>
                    </a:lnTo>
                    <a:lnTo>
                      <a:pt x="0"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00" name="Freeform 251"/>
              <p:cNvSpPr>
                <a:spLocks/>
              </p:cNvSpPr>
              <p:nvPr/>
            </p:nvSpPr>
            <p:spPr bwMode="auto">
              <a:xfrm>
                <a:off x="3971" y="3059"/>
                <a:ext cx="10" cy="6"/>
              </a:xfrm>
              <a:custGeom>
                <a:avLst/>
                <a:gdLst>
                  <a:gd name="T0" fmla="*/ 0 w 10"/>
                  <a:gd name="T1" fmla="*/ 4 h 6"/>
                  <a:gd name="T2" fmla="*/ 0 w 10"/>
                  <a:gd name="T3" fmla="*/ 2 h 6"/>
                  <a:gd name="T4" fmla="*/ 4 w 10"/>
                  <a:gd name="T5" fmla="*/ 0 h 6"/>
                  <a:gd name="T6" fmla="*/ 8 w 10"/>
                  <a:gd name="T7" fmla="*/ 2 h 6"/>
                  <a:gd name="T8" fmla="*/ 10 w 10"/>
                  <a:gd name="T9" fmla="*/ 4 h 6"/>
                  <a:gd name="T10" fmla="*/ 10 w 10"/>
                  <a:gd name="T11" fmla="*/ 6 h 6"/>
                  <a:gd name="T12" fmla="*/ 2 w 10"/>
                  <a:gd name="T13" fmla="*/ 6 h 6"/>
                  <a:gd name="T14" fmla="*/ 0 w 10"/>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0" y="4"/>
                    </a:moveTo>
                    <a:lnTo>
                      <a:pt x="0" y="2"/>
                    </a:lnTo>
                    <a:lnTo>
                      <a:pt x="4" y="0"/>
                    </a:lnTo>
                    <a:lnTo>
                      <a:pt x="8" y="2"/>
                    </a:lnTo>
                    <a:lnTo>
                      <a:pt x="10" y="4"/>
                    </a:lnTo>
                    <a:lnTo>
                      <a:pt x="10" y="6"/>
                    </a:lnTo>
                    <a:lnTo>
                      <a:pt x="2" y="6"/>
                    </a:lnTo>
                    <a:lnTo>
                      <a:pt x="0"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01" name="Freeform 252"/>
              <p:cNvSpPr>
                <a:spLocks/>
              </p:cNvSpPr>
              <p:nvPr/>
            </p:nvSpPr>
            <p:spPr bwMode="auto">
              <a:xfrm>
                <a:off x="3987" y="3027"/>
                <a:ext cx="16" cy="10"/>
              </a:xfrm>
              <a:custGeom>
                <a:avLst/>
                <a:gdLst>
                  <a:gd name="T0" fmla="*/ 0 w 16"/>
                  <a:gd name="T1" fmla="*/ 0 h 10"/>
                  <a:gd name="T2" fmla="*/ 0 w 16"/>
                  <a:gd name="T3" fmla="*/ 0 h 10"/>
                  <a:gd name="T4" fmla="*/ 2 w 16"/>
                  <a:gd name="T5" fmla="*/ 2 h 10"/>
                  <a:gd name="T6" fmla="*/ 8 w 16"/>
                  <a:gd name="T7" fmla="*/ 4 h 10"/>
                  <a:gd name="T8" fmla="*/ 12 w 16"/>
                  <a:gd name="T9" fmla="*/ 6 h 10"/>
                  <a:gd name="T10" fmla="*/ 14 w 16"/>
                  <a:gd name="T11" fmla="*/ 8 h 10"/>
                  <a:gd name="T12" fmla="*/ 16 w 16"/>
                  <a:gd name="T13" fmla="*/ 10 h 10"/>
                  <a:gd name="T14" fmla="*/ 14 w 16"/>
                  <a:gd name="T15" fmla="*/ 8 h 10"/>
                  <a:gd name="T16" fmla="*/ 12 w 16"/>
                  <a:gd name="T17" fmla="*/ 10 h 10"/>
                  <a:gd name="T18" fmla="*/ 0 w 16"/>
                  <a:gd name="T19" fmla="*/ 4 h 10"/>
                  <a:gd name="T20" fmla="*/ 0 w 16"/>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0">
                    <a:moveTo>
                      <a:pt x="0" y="0"/>
                    </a:moveTo>
                    <a:lnTo>
                      <a:pt x="0" y="0"/>
                    </a:lnTo>
                    <a:lnTo>
                      <a:pt x="2" y="2"/>
                    </a:lnTo>
                    <a:lnTo>
                      <a:pt x="8" y="4"/>
                    </a:lnTo>
                    <a:lnTo>
                      <a:pt x="12" y="6"/>
                    </a:lnTo>
                    <a:lnTo>
                      <a:pt x="14" y="8"/>
                    </a:lnTo>
                    <a:lnTo>
                      <a:pt x="16" y="10"/>
                    </a:lnTo>
                    <a:lnTo>
                      <a:pt x="14" y="8"/>
                    </a:lnTo>
                    <a:lnTo>
                      <a:pt x="12" y="10"/>
                    </a:lnTo>
                    <a:lnTo>
                      <a:pt x="0" y="4"/>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02" name="Freeform 253"/>
              <p:cNvSpPr>
                <a:spLocks/>
              </p:cNvSpPr>
              <p:nvPr/>
            </p:nvSpPr>
            <p:spPr bwMode="auto">
              <a:xfrm>
                <a:off x="3987" y="3027"/>
                <a:ext cx="16" cy="10"/>
              </a:xfrm>
              <a:custGeom>
                <a:avLst/>
                <a:gdLst>
                  <a:gd name="T0" fmla="*/ 0 w 16"/>
                  <a:gd name="T1" fmla="*/ 0 h 10"/>
                  <a:gd name="T2" fmla="*/ 0 w 16"/>
                  <a:gd name="T3" fmla="*/ 0 h 10"/>
                  <a:gd name="T4" fmla="*/ 2 w 16"/>
                  <a:gd name="T5" fmla="*/ 2 h 10"/>
                  <a:gd name="T6" fmla="*/ 8 w 16"/>
                  <a:gd name="T7" fmla="*/ 4 h 10"/>
                  <a:gd name="T8" fmla="*/ 12 w 16"/>
                  <a:gd name="T9" fmla="*/ 6 h 10"/>
                  <a:gd name="T10" fmla="*/ 14 w 16"/>
                  <a:gd name="T11" fmla="*/ 8 h 10"/>
                  <a:gd name="T12" fmla="*/ 16 w 16"/>
                  <a:gd name="T13" fmla="*/ 10 h 10"/>
                  <a:gd name="T14" fmla="*/ 14 w 16"/>
                  <a:gd name="T15" fmla="*/ 8 h 10"/>
                  <a:gd name="T16" fmla="*/ 12 w 16"/>
                  <a:gd name="T17" fmla="*/ 10 h 10"/>
                  <a:gd name="T18" fmla="*/ 0 w 16"/>
                  <a:gd name="T19" fmla="*/ 4 h 10"/>
                  <a:gd name="T20" fmla="*/ 0 w 16"/>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0">
                    <a:moveTo>
                      <a:pt x="0" y="0"/>
                    </a:moveTo>
                    <a:lnTo>
                      <a:pt x="0" y="0"/>
                    </a:lnTo>
                    <a:lnTo>
                      <a:pt x="2" y="2"/>
                    </a:lnTo>
                    <a:lnTo>
                      <a:pt x="8" y="4"/>
                    </a:lnTo>
                    <a:lnTo>
                      <a:pt x="12" y="6"/>
                    </a:lnTo>
                    <a:lnTo>
                      <a:pt x="14" y="8"/>
                    </a:lnTo>
                    <a:lnTo>
                      <a:pt x="16" y="10"/>
                    </a:lnTo>
                    <a:lnTo>
                      <a:pt x="14" y="8"/>
                    </a:lnTo>
                    <a:lnTo>
                      <a:pt x="12" y="10"/>
                    </a:lnTo>
                    <a:lnTo>
                      <a:pt x="0" y="4"/>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03" name="Freeform 254"/>
              <p:cNvSpPr>
                <a:spLocks/>
              </p:cNvSpPr>
              <p:nvPr/>
            </p:nvSpPr>
            <p:spPr bwMode="auto">
              <a:xfrm>
                <a:off x="4017" y="3035"/>
                <a:ext cx="4" cy="8"/>
              </a:xfrm>
              <a:custGeom>
                <a:avLst/>
                <a:gdLst>
                  <a:gd name="T0" fmla="*/ 0 w 4"/>
                  <a:gd name="T1" fmla="*/ 0 h 8"/>
                  <a:gd name="T2" fmla="*/ 0 w 4"/>
                  <a:gd name="T3" fmla="*/ 0 h 8"/>
                  <a:gd name="T4" fmla="*/ 4 w 4"/>
                  <a:gd name="T5" fmla="*/ 4 h 8"/>
                  <a:gd name="T6" fmla="*/ 4 w 4"/>
                  <a:gd name="T7" fmla="*/ 8 h 8"/>
                  <a:gd name="T8" fmla="*/ 4 w 4"/>
                  <a:gd name="T9" fmla="*/ 8 h 8"/>
                  <a:gd name="T10" fmla="*/ 0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0" y="0"/>
                    </a:moveTo>
                    <a:lnTo>
                      <a:pt x="0" y="0"/>
                    </a:lnTo>
                    <a:lnTo>
                      <a:pt x="4" y="4"/>
                    </a:lnTo>
                    <a:lnTo>
                      <a:pt x="4" y="8"/>
                    </a:lnTo>
                    <a:lnTo>
                      <a:pt x="4" y="8"/>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04" name="Freeform 255"/>
              <p:cNvSpPr>
                <a:spLocks/>
              </p:cNvSpPr>
              <p:nvPr/>
            </p:nvSpPr>
            <p:spPr bwMode="auto">
              <a:xfrm>
                <a:off x="4017" y="3035"/>
                <a:ext cx="4" cy="8"/>
              </a:xfrm>
              <a:custGeom>
                <a:avLst/>
                <a:gdLst>
                  <a:gd name="T0" fmla="*/ 0 w 4"/>
                  <a:gd name="T1" fmla="*/ 0 h 8"/>
                  <a:gd name="T2" fmla="*/ 0 w 4"/>
                  <a:gd name="T3" fmla="*/ 0 h 8"/>
                  <a:gd name="T4" fmla="*/ 4 w 4"/>
                  <a:gd name="T5" fmla="*/ 4 h 8"/>
                  <a:gd name="T6" fmla="*/ 4 w 4"/>
                  <a:gd name="T7" fmla="*/ 8 h 8"/>
                  <a:gd name="T8" fmla="*/ 4 w 4"/>
                  <a:gd name="T9" fmla="*/ 8 h 8"/>
                  <a:gd name="T10" fmla="*/ 0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0" y="0"/>
                    </a:moveTo>
                    <a:lnTo>
                      <a:pt x="0" y="0"/>
                    </a:lnTo>
                    <a:lnTo>
                      <a:pt x="4" y="4"/>
                    </a:lnTo>
                    <a:lnTo>
                      <a:pt x="4" y="8"/>
                    </a:lnTo>
                    <a:lnTo>
                      <a:pt x="4" y="8"/>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05" name="Freeform 256"/>
              <p:cNvSpPr>
                <a:spLocks/>
              </p:cNvSpPr>
              <p:nvPr/>
            </p:nvSpPr>
            <p:spPr bwMode="auto">
              <a:xfrm>
                <a:off x="4001" y="3045"/>
                <a:ext cx="38" cy="22"/>
              </a:xfrm>
              <a:custGeom>
                <a:avLst/>
                <a:gdLst>
                  <a:gd name="T0" fmla="*/ 0 w 38"/>
                  <a:gd name="T1" fmla="*/ 0 h 22"/>
                  <a:gd name="T2" fmla="*/ 4 w 38"/>
                  <a:gd name="T3" fmla="*/ 0 h 22"/>
                  <a:gd name="T4" fmla="*/ 4 w 38"/>
                  <a:gd name="T5" fmla="*/ 2 h 22"/>
                  <a:gd name="T6" fmla="*/ 6 w 38"/>
                  <a:gd name="T7" fmla="*/ 2 h 22"/>
                  <a:gd name="T8" fmla="*/ 10 w 38"/>
                  <a:gd name="T9" fmla="*/ 0 h 22"/>
                  <a:gd name="T10" fmla="*/ 34 w 38"/>
                  <a:gd name="T11" fmla="*/ 8 h 22"/>
                  <a:gd name="T12" fmla="*/ 36 w 38"/>
                  <a:gd name="T13" fmla="*/ 12 h 22"/>
                  <a:gd name="T14" fmla="*/ 38 w 38"/>
                  <a:gd name="T15" fmla="*/ 18 h 22"/>
                  <a:gd name="T16" fmla="*/ 30 w 38"/>
                  <a:gd name="T17" fmla="*/ 18 h 22"/>
                  <a:gd name="T18" fmla="*/ 24 w 38"/>
                  <a:gd name="T19" fmla="*/ 16 h 22"/>
                  <a:gd name="T20" fmla="*/ 18 w 38"/>
                  <a:gd name="T21" fmla="*/ 12 h 22"/>
                  <a:gd name="T22" fmla="*/ 14 w 38"/>
                  <a:gd name="T23" fmla="*/ 10 h 22"/>
                  <a:gd name="T24" fmla="*/ 6 w 38"/>
                  <a:gd name="T25" fmla="*/ 22 h 22"/>
                  <a:gd name="T26" fmla="*/ 4 w 38"/>
                  <a:gd name="T27" fmla="*/ 22 h 22"/>
                  <a:gd name="T28" fmla="*/ 0 w 38"/>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22">
                    <a:moveTo>
                      <a:pt x="0" y="0"/>
                    </a:moveTo>
                    <a:lnTo>
                      <a:pt x="4" y="0"/>
                    </a:lnTo>
                    <a:lnTo>
                      <a:pt x="4" y="2"/>
                    </a:lnTo>
                    <a:lnTo>
                      <a:pt x="6" y="2"/>
                    </a:lnTo>
                    <a:lnTo>
                      <a:pt x="10" y="0"/>
                    </a:lnTo>
                    <a:lnTo>
                      <a:pt x="34" y="8"/>
                    </a:lnTo>
                    <a:lnTo>
                      <a:pt x="36" y="12"/>
                    </a:lnTo>
                    <a:lnTo>
                      <a:pt x="38" y="18"/>
                    </a:lnTo>
                    <a:lnTo>
                      <a:pt x="30" y="18"/>
                    </a:lnTo>
                    <a:lnTo>
                      <a:pt x="24" y="16"/>
                    </a:lnTo>
                    <a:lnTo>
                      <a:pt x="18" y="12"/>
                    </a:lnTo>
                    <a:lnTo>
                      <a:pt x="14" y="10"/>
                    </a:lnTo>
                    <a:lnTo>
                      <a:pt x="6" y="22"/>
                    </a:lnTo>
                    <a:lnTo>
                      <a:pt x="4" y="22"/>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06" name="Freeform 257"/>
              <p:cNvSpPr>
                <a:spLocks/>
              </p:cNvSpPr>
              <p:nvPr/>
            </p:nvSpPr>
            <p:spPr bwMode="auto">
              <a:xfrm>
                <a:off x="4001" y="3045"/>
                <a:ext cx="38" cy="22"/>
              </a:xfrm>
              <a:custGeom>
                <a:avLst/>
                <a:gdLst>
                  <a:gd name="T0" fmla="*/ 0 w 38"/>
                  <a:gd name="T1" fmla="*/ 0 h 22"/>
                  <a:gd name="T2" fmla="*/ 4 w 38"/>
                  <a:gd name="T3" fmla="*/ 0 h 22"/>
                  <a:gd name="T4" fmla="*/ 4 w 38"/>
                  <a:gd name="T5" fmla="*/ 2 h 22"/>
                  <a:gd name="T6" fmla="*/ 6 w 38"/>
                  <a:gd name="T7" fmla="*/ 2 h 22"/>
                  <a:gd name="T8" fmla="*/ 10 w 38"/>
                  <a:gd name="T9" fmla="*/ 0 h 22"/>
                  <a:gd name="T10" fmla="*/ 34 w 38"/>
                  <a:gd name="T11" fmla="*/ 8 h 22"/>
                  <a:gd name="T12" fmla="*/ 36 w 38"/>
                  <a:gd name="T13" fmla="*/ 12 h 22"/>
                  <a:gd name="T14" fmla="*/ 38 w 38"/>
                  <a:gd name="T15" fmla="*/ 18 h 22"/>
                  <a:gd name="T16" fmla="*/ 30 w 38"/>
                  <a:gd name="T17" fmla="*/ 18 h 22"/>
                  <a:gd name="T18" fmla="*/ 24 w 38"/>
                  <a:gd name="T19" fmla="*/ 16 h 22"/>
                  <a:gd name="T20" fmla="*/ 18 w 38"/>
                  <a:gd name="T21" fmla="*/ 12 h 22"/>
                  <a:gd name="T22" fmla="*/ 14 w 38"/>
                  <a:gd name="T23" fmla="*/ 10 h 22"/>
                  <a:gd name="T24" fmla="*/ 6 w 38"/>
                  <a:gd name="T25" fmla="*/ 22 h 22"/>
                  <a:gd name="T26" fmla="*/ 4 w 38"/>
                  <a:gd name="T27" fmla="*/ 22 h 22"/>
                  <a:gd name="T28" fmla="*/ 0 w 38"/>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22">
                    <a:moveTo>
                      <a:pt x="0" y="0"/>
                    </a:moveTo>
                    <a:lnTo>
                      <a:pt x="4" y="0"/>
                    </a:lnTo>
                    <a:lnTo>
                      <a:pt x="4" y="2"/>
                    </a:lnTo>
                    <a:lnTo>
                      <a:pt x="6" y="2"/>
                    </a:lnTo>
                    <a:lnTo>
                      <a:pt x="10" y="0"/>
                    </a:lnTo>
                    <a:lnTo>
                      <a:pt x="34" y="8"/>
                    </a:lnTo>
                    <a:lnTo>
                      <a:pt x="36" y="12"/>
                    </a:lnTo>
                    <a:lnTo>
                      <a:pt x="38" y="18"/>
                    </a:lnTo>
                    <a:lnTo>
                      <a:pt x="30" y="18"/>
                    </a:lnTo>
                    <a:lnTo>
                      <a:pt x="24" y="16"/>
                    </a:lnTo>
                    <a:lnTo>
                      <a:pt x="18" y="12"/>
                    </a:lnTo>
                    <a:lnTo>
                      <a:pt x="14" y="10"/>
                    </a:lnTo>
                    <a:lnTo>
                      <a:pt x="6" y="22"/>
                    </a:lnTo>
                    <a:lnTo>
                      <a:pt x="4" y="22"/>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07" name="Freeform 258"/>
              <p:cNvSpPr>
                <a:spLocks/>
              </p:cNvSpPr>
              <p:nvPr/>
            </p:nvSpPr>
            <p:spPr bwMode="auto">
              <a:xfrm>
                <a:off x="4043" y="3013"/>
                <a:ext cx="68" cy="54"/>
              </a:xfrm>
              <a:custGeom>
                <a:avLst/>
                <a:gdLst>
                  <a:gd name="T0" fmla="*/ 0 w 68"/>
                  <a:gd name="T1" fmla="*/ 16 h 54"/>
                  <a:gd name="T2" fmla="*/ 2 w 68"/>
                  <a:gd name="T3" fmla="*/ 14 h 54"/>
                  <a:gd name="T4" fmla="*/ 18 w 68"/>
                  <a:gd name="T5" fmla="*/ 8 h 54"/>
                  <a:gd name="T6" fmla="*/ 26 w 68"/>
                  <a:gd name="T7" fmla="*/ 2 h 54"/>
                  <a:gd name="T8" fmla="*/ 30 w 68"/>
                  <a:gd name="T9" fmla="*/ 0 h 54"/>
                  <a:gd name="T10" fmla="*/ 36 w 68"/>
                  <a:gd name="T11" fmla="*/ 2 h 54"/>
                  <a:gd name="T12" fmla="*/ 40 w 68"/>
                  <a:gd name="T13" fmla="*/ 6 h 54"/>
                  <a:gd name="T14" fmla="*/ 46 w 68"/>
                  <a:gd name="T15" fmla="*/ 8 h 54"/>
                  <a:gd name="T16" fmla="*/ 54 w 68"/>
                  <a:gd name="T17" fmla="*/ 32 h 54"/>
                  <a:gd name="T18" fmla="*/ 68 w 68"/>
                  <a:gd name="T19" fmla="*/ 48 h 54"/>
                  <a:gd name="T20" fmla="*/ 48 w 68"/>
                  <a:gd name="T21" fmla="*/ 54 h 54"/>
                  <a:gd name="T22" fmla="*/ 44 w 68"/>
                  <a:gd name="T23" fmla="*/ 48 h 54"/>
                  <a:gd name="T24" fmla="*/ 40 w 68"/>
                  <a:gd name="T25" fmla="*/ 48 h 54"/>
                  <a:gd name="T26" fmla="*/ 34 w 68"/>
                  <a:gd name="T27" fmla="*/ 46 h 54"/>
                  <a:gd name="T28" fmla="*/ 32 w 68"/>
                  <a:gd name="T29" fmla="*/ 44 h 54"/>
                  <a:gd name="T30" fmla="*/ 34 w 68"/>
                  <a:gd name="T31" fmla="*/ 36 h 54"/>
                  <a:gd name="T32" fmla="*/ 18 w 68"/>
                  <a:gd name="T33" fmla="*/ 30 h 54"/>
                  <a:gd name="T34" fmla="*/ 12 w 68"/>
                  <a:gd name="T35" fmla="*/ 30 h 54"/>
                  <a:gd name="T36" fmla="*/ 6 w 68"/>
                  <a:gd name="T37" fmla="*/ 26 h 54"/>
                  <a:gd name="T38" fmla="*/ 0 w 68"/>
                  <a:gd name="T39" fmla="*/ 18 h 54"/>
                  <a:gd name="T40" fmla="*/ 0 w 68"/>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54">
                    <a:moveTo>
                      <a:pt x="0" y="16"/>
                    </a:moveTo>
                    <a:lnTo>
                      <a:pt x="2" y="14"/>
                    </a:lnTo>
                    <a:lnTo>
                      <a:pt x="18" y="8"/>
                    </a:lnTo>
                    <a:lnTo>
                      <a:pt x="26" y="2"/>
                    </a:lnTo>
                    <a:lnTo>
                      <a:pt x="30" y="0"/>
                    </a:lnTo>
                    <a:lnTo>
                      <a:pt x="36" y="2"/>
                    </a:lnTo>
                    <a:lnTo>
                      <a:pt x="40" y="6"/>
                    </a:lnTo>
                    <a:lnTo>
                      <a:pt x="46" y="8"/>
                    </a:lnTo>
                    <a:lnTo>
                      <a:pt x="54" y="32"/>
                    </a:lnTo>
                    <a:lnTo>
                      <a:pt x="68" y="48"/>
                    </a:lnTo>
                    <a:lnTo>
                      <a:pt x="48" y="54"/>
                    </a:lnTo>
                    <a:lnTo>
                      <a:pt x="44" y="48"/>
                    </a:lnTo>
                    <a:lnTo>
                      <a:pt x="40" y="48"/>
                    </a:lnTo>
                    <a:lnTo>
                      <a:pt x="34" y="46"/>
                    </a:lnTo>
                    <a:lnTo>
                      <a:pt x="32" y="44"/>
                    </a:lnTo>
                    <a:lnTo>
                      <a:pt x="34" y="36"/>
                    </a:lnTo>
                    <a:lnTo>
                      <a:pt x="18" y="30"/>
                    </a:lnTo>
                    <a:lnTo>
                      <a:pt x="12" y="30"/>
                    </a:lnTo>
                    <a:lnTo>
                      <a:pt x="6" y="26"/>
                    </a:lnTo>
                    <a:lnTo>
                      <a:pt x="0" y="18"/>
                    </a:lnTo>
                    <a:lnTo>
                      <a:pt x="0" y="1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08" name="Freeform 259"/>
              <p:cNvSpPr>
                <a:spLocks/>
              </p:cNvSpPr>
              <p:nvPr/>
            </p:nvSpPr>
            <p:spPr bwMode="auto">
              <a:xfrm>
                <a:off x="4043" y="3013"/>
                <a:ext cx="68" cy="54"/>
              </a:xfrm>
              <a:custGeom>
                <a:avLst/>
                <a:gdLst>
                  <a:gd name="T0" fmla="*/ 0 w 68"/>
                  <a:gd name="T1" fmla="*/ 16 h 54"/>
                  <a:gd name="T2" fmla="*/ 2 w 68"/>
                  <a:gd name="T3" fmla="*/ 14 h 54"/>
                  <a:gd name="T4" fmla="*/ 18 w 68"/>
                  <a:gd name="T5" fmla="*/ 8 h 54"/>
                  <a:gd name="T6" fmla="*/ 26 w 68"/>
                  <a:gd name="T7" fmla="*/ 2 h 54"/>
                  <a:gd name="T8" fmla="*/ 30 w 68"/>
                  <a:gd name="T9" fmla="*/ 0 h 54"/>
                  <a:gd name="T10" fmla="*/ 36 w 68"/>
                  <a:gd name="T11" fmla="*/ 2 h 54"/>
                  <a:gd name="T12" fmla="*/ 40 w 68"/>
                  <a:gd name="T13" fmla="*/ 6 h 54"/>
                  <a:gd name="T14" fmla="*/ 46 w 68"/>
                  <a:gd name="T15" fmla="*/ 8 h 54"/>
                  <a:gd name="T16" fmla="*/ 54 w 68"/>
                  <a:gd name="T17" fmla="*/ 32 h 54"/>
                  <a:gd name="T18" fmla="*/ 68 w 68"/>
                  <a:gd name="T19" fmla="*/ 48 h 54"/>
                  <a:gd name="T20" fmla="*/ 48 w 68"/>
                  <a:gd name="T21" fmla="*/ 54 h 54"/>
                  <a:gd name="T22" fmla="*/ 44 w 68"/>
                  <a:gd name="T23" fmla="*/ 48 h 54"/>
                  <a:gd name="T24" fmla="*/ 40 w 68"/>
                  <a:gd name="T25" fmla="*/ 48 h 54"/>
                  <a:gd name="T26" fmla="*/ 34 w 68"/>
                  <a:gd name="T27" fmla="*/ 46 h 54"/>
                  <a:gd name="T28" fmla="*/ 32 w 68"/>
                  <a:gd name="T29" fmla="*/ 44 h 54"/>
                  <a:gd name="T30" fmla="*/ 34 w 68"/>
                  <a:gd name="T31" fmla="*/ 36 h 54"/>
                  <a:gd name="T32" fmla="*/ 18 w 68"/>
                  <a:gd name="T33" fmla="*/ 30 h 54"/>
                  <a:gd name="T34" fmla="*/ 12 w 68"/>
                  <a:gd name="T35" fmla="*/ 30 h 54"/>
                  <a:gd name="T36" fmla="*/ 6 w 68"/>
                  <a:gd name="T37" fmla="*/ 26 h 54"/>
                  <a:gd name="T38" fmla="*/ 0 w 68"/>
                  <a:gd name="T39" fmla="*/ 18 h 54"/>
                  <a:gd name="T40" fmla="*/ 0 w 68"/>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54">
                    <a:moveTo>
                      <a:pt x="0" y="16"/>
                    </a:moveTo>
                    <a:lnTo>
                      <a:pt x="2" y="14"/>
                    </a:lnTo>
                    <a:lnTo>
                      <a:pt x="18" y="8"/>
                    </a:lnTo>
                    <a:lnTo>
                      <a:pt x="26" y="2"/>
                    </a:lnTo>
                    <a:lnTo>
                      <a:pt x="30" y="0"/>
                    </a:lnTo>
                    <a:lnTo>
                      <a:pt x="36" y="2"/>
                    </a:lnTo>
                    <a:lnTo>
                      <a:pt x="40" y="6"/>
                    </a:lnTo>
                    <a:lnTo>
                      <a:pt x="46" y="8"/>
                    </a:lnTo>
                    <a:lnTo>
                      <a:pt x="54" y="32"/>
                    </a:lnTo>
                    <a:lnTo>
                      <a:pt x="68" y="48"/>
                    </a:lnTo>
                    <a:lnTo>
                      <a:pt x="48" y="54"/>
                    </a:lnTo>
                    <a:lnTo>
                      <a:pt x="44" y="48"/>
                    </a:lnTo>
                    <a:lnTo>
                      <a:pt x="40" y="48"/>
                    </a:lnTo>
                    <a:lnTo>
                      <a:pt x="34" y="46"/>
                    </a:lnTo>
                    <a:lnTo>
                      <a:pt x="32" y="44"/>
                    </a:lnTo>
                    <a:lnTo>
                      <a:pt x="34" y="36"/>
                    </a:lnTo>
                    <a:lnTo>
                      <a:pt x="18" y="30"/>
                    </a:lnTo>
                    <a:lnTo>
                      <a:pt x="12" y="30"/>
                    </a:lnTo>
                    <a:lnTo>
                      <a:pt x="6" y="26"/>
                    </a:lnTo>
                    <a:lnTo>
                      <a:pt x="0" y="18"/>
                    </a:lnTo>
                    <a:lnTo>
                      <a:pt x="0" y="1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09" name="Freeform 260"/>
              <p:cNvSpPr>
                <a:spLocks/>
              </p:cNvSpPr>
              <p:nvPr/>
            </p:nvSpPr>
            <p:spPr bwMode="auto">
              <a:xfrm>
                <a:off x="3957" y="3087"/>
                <a:ext cx="50" cy="60"/>
              </a:xfrm>
              <a:custGeom>
                <a:avLst/>
                <a:gdLst>
                  <a:gd name="T0" fmla="*/ 0 w 50"/>
                  <a:gd name="T1" fmla="*/ 6 h 60"/>
                  <a:gd name="T2" fmla="*/ 2 w 50"/>
                  <a:gd name="T3" fmla="*/ 4 h 60"/>
                  <a:gd name="T4" fmla="*/ 8 w 50"/>
                  <a:gd name="T5" fmla="*/ 2 h 60"/>
                  <a:gd name="T6" fmla="*/ 18 w 50"/>
                  <a:gd name="T7" fmla="*/ 6 h 60"/>
                  <a:gd name="T8" fmla="*/ 20 w 50"/>
                  <a:gd name="T9" fmla="*/ 8 h 60"/>
                  <a:gd name="T10" fmla="*/ 36 w 50"/>
                  <a:gd name="T11" fmla="*/ 4 h 60"/>
                  <a:gd name="T12" fmla="*/ 38 w 50"/>
                  <a:gd name="T13" fmla="*/ 6 h 60"/>
                  <a:gd name="T14" fmla="*/ 44 w 50"/>
                  <a:gd name="T15" fmla="*/ 2 h 60"/>
                  <a:gd name="T16" fmla="*/ 48 w 50"/>
                  <a:gd name="T17" fmla="*/ 0 h 60"/>
                  <a:gd name="T18" fmla="*/ 50 w 50"/>
                  <a:gd name="T19" fmla="*/ 8 h 60"/>
                  <a:gd name="T20" fmla="*/ 50 w 50"/>
                  <a:gd name="T21" fmla="*/ 18 h 60"/>
                  <a:gd name="T22" fmla="*/ 36 w 50"/>
                  <a:gd name="T23" fmla="*/ 40 h 60"/>
                  <a:gd name="T24" fmla="*/ 18 w 50"/>
                  <a:gd name="T25" fmla="*/ 52 h 60"/>
                  <a:gd name="T26" fmla="*/ 14 w 50"/>
                  <a:gd name="T27" fmla="*/ 60 h 60"/>
                  <a:gd name="T28" fmla="*/ 10 w 50"/>
                  <a:gd name="T29" fmla="*/ 54 h 60"/>
                  <a:gd name="T30" fmla="*/ 6 w 50"/>
                  <a:gd name="T31" fmla="*/ 14 h 60"/>
                  <a:gd name="T32" fmla="*/ 4 w 50"/>
                  <a:gd name="T33" fmla="*/ 12 h 60"/>
                  <a:gd name="T34" fmla="*/ 0 w 50"/>
                  <a:gd name="T35" fmla="*/ 8 h 60"/>
                  <a:gd name="T36" fmla="*/ 0 w 50"/>
                  <a:gd name="T37"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60">
                    <a:moveTo>
                      <a:pt x="0" y="6"/>
                    </a:moveTo>
                    <a:lnTo>
                      <a:pt x="2" y="4"/>
                    </a:lnTo>
                    <a:lnTo>
                      <a:pt x="8" y="2"/>
                    </a:lnTo>
                    <a:lnTo>
                      <a:pt x="18" y="6"/>
                    </a:lnTo>
                    <a:lnTo>
                      <a:pt x="20" y="8"/>
                    </a:lnTo>
                    <a:lnTo>
                      <a:pt x="36" y="4"/>
                    </a:lnTo>
                    <a:lnTo>
                      <a:pt x="38" y="6"/>
                    </a:lnTo>
                    <a:lnTo>
                      <a:pt x="44" y="2"/>
                    </a:lnTo>
                    <a:lnTo>
                      <a:pt x="48" y="0"/>
                    </a:lnTo>
                    <a:lnTo>
                      <a:pt x="50" y="8"/>
                    </a:lnTo>
                    <a:lnTo>
                      <a:pt x="50" y="18"/>
                    </a:lnTo>
                    <a:lnTo>
                      <a:pt x="36" y="40"/>
                    </a:lnTo>
                    <a:lnTo>
                      <a:pt x="18" y="52"/>
                    </a:lnTo>
                    <a:lnTo>
                      <a:pt x="14" y="60"/>
                    </a:lnTo>
                    <a:lnTo>
                      <a:pt x="10" y="54"/>
                    </a:lnTo>
                    <a:lnTo>
                      <a:pt x="6" y="14"/>
                    </a:lnTo>
                    <a:lnTo>
                      <a:pt x="4" y="12"/>
                    </a:lnTo>
                    <a:lnTo>
                      <a:pt x="0" y="8"/>
                    </a:lnTo>
                    <a:lnTo>
                      <a:pt x="0" y="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10" name="Freeform 261"/>
              <p:cNvSpPr>
                <a:spLocks/>
              </p:cNvSpPr>
              <p:nvPr/>
            </p:nvSpPr>
            <p:spPr bwMode="auto">
              <a:xfrm>
                <a:off x="3957" y="3087"/>
                <a:ext cx="50" cy="60"/>
              </a:xfrm>
              <a:custGeom>
                <a:avLst/>
                <a:gdLst>
                  <a:gd name="T0" fmla="*/ 0 w 50"/>
                  <a:gd name="T1" fmla="*/ 6 h 60"/>
                  <a:gd name="T2" fmla="*/ 2 w 50"/>
                  <a:gd name="T3" fmla="*/ 4 h 60"/>
                  <a:gd name="T4" fmla="*/ 8 w 50"/>
                  <a:gd name="T5" fmla="*/ 2 h 60"/>
                  <a:gd name="T6" fmla="*/ 18 w 50"/>
                  <a:gd name="T7" fmla="*/ 6 h 60"/>
                  <a:gd name="T8" fmla="*/ 20 w 50"/>
                  <a:gd name="T9" fmla="*/ 8 h 60"/>
                  <a:gd name="T10" fmla="*/ 36 w 50"/>
                  <a:gd name="T11" fmla="*/ 4 h 60"/>
                  <a:gd name="T12" fmla="*/ 38 w 50"/>
                  <a:gd name="T13" fmla="*/ 6 h 60"/>
                  <a:gd name="T14" fmla="*/ 44 w 50"/>
                  <a:gd name="T15" fmla="*/ 2 h 60"/>
                  <a:gd name="T16" fmla="*/ 48 w 50"/>
                  <a:gd name="T17" fmla="*/ 0 h 60"/>
                  <a:gd name="T18" fmla="*/ 50 w 50"/>
                  <a:gd name="T19" fmla="*/ 8 h 60"/>
                  <a:gd name="T20" fmla="*/ 50 w 50"/>
                  <a:gd name="T21" fmla="*/ 18 h 60"/>
                  <a:gd name="T22" fmla="*/ 36 w 50"/>
                  <a:gd name="T23" fmla="*/ 40 h 60"/>
                  <a:gd name="T24" fmla="*/ 18 w 50"/>
                  <a:gd name="T25" fmla="*/ 52 h 60"/>
                  <a:gd name="T26" fmla="*/ 14 w 50"/>
                  <a:gd name="T27" fmla="*/ 60 h 60"/>
                  <a:gd name="T28" fmla="*/ 10 w 50"/>
                  <a:gd name="T29" fmla="*/ 54 h 60"/>
                  <a:gd name="T30" fmla="*/ 6 w 50"/>
                  <a:gd name="T31" fmla="*/ 14 h 60"/>
                  <a:gd name="T32" fmla="*/ 4 w 50"/>
                  <a:gd name="T33" fmla="*/ 12 h 60"/>
                  <a:gd name="T34" fmla="*/ 0 w 50"/>
                  <a:gd name="T35" fmla="*/ 8 h 60"/>
                  <a:gd name="T36" fmla="*/ 0 w 50"/>
                  <a:gd name="T37"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60">
                    <a:moveTo>
                      <a:pt x="0" y="6"/>
                    </a:moveTo>
                    <a:lnTo>
                      <a:pt x="2" y="4"/>
                    </a:lnTo>
                    <a:lnTo>
                      <a:pt x="8" y="2"/>
                    </a:lnTo>
                    <a:lnTo>
                      <a:pt x="18" y="6"/>
                    </a:lnTo>
                    <a:lnTo>
                      <a:pt x="20" y="8"/>
                    </a:lnTo>
                    <a:lnTo>
                      <a:pt x="36" y="4"/>
                    </a:lnTo>
                    <a:lnTo>
                      <a:pt x="38" y="6"/>
                    </a:lnTo>
                    <a:lnTo>
                      <a:pt x="44" y="2"/>
                    </a:lnTo>
                    <a:lnTo>
                      <a:pt x="48" y="0"/>
                    </a:lnTo>
                    <a:lnTo>
                      <a:pt x="50" y="8"/>
                    </a:lnTo>
                    <a:lnTo>
                      <a:pt x="50" y="18"/>
                    </a:lnTo>
                    <a:lnTo>
                      <a:pt x="36" y="40"/>
                    </a:lnTo>
                    <a:lnTo>
                      <a:pt x="18" y="52"/>
                    </a:lnTo>
                    <a:lnTo>
                      <a:pt x="14" y="60"/>
                    </a:lnTo>
                    <a:lnTo>
                      <a:pt x="10" y="54"/>
                    </a:lnTo>
                    <a:lnTo>
                      <a:pt x="6" y="14"/>
                    </a:lnTo>
                    <a:lnTo>
                      <a:pt x="4" y="12"/>
                    </a:lnTo>
                    <a:lnTo>
                      <a:pt x="0" y="8"/>
                    </a:lnTo>
                    <a:lnTo>
                      <a:pt x="0" y="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11" name="Freeform 262"/>
              <p:cNvSpPr>
                <a:spLocks/>
              </p:cNvSpPr>
              <p:nvPr/>
            </p:nvSpPr>
            <p:spPr bwMode="auto">
              <a:xfrm>
                <a:off x="3991" y="3127"/>
                <a:ext cx="6" cy="10"/>
              </a:xfrm>
              <a:custGeom>
                <a:avLst/>
                <a:gdLst>
                  <a:gd name="T0" fmla="*/ 4 w 6"/>
                  <a:gd name="T1" fmla="*/ 0 h 10"/>
                  <a:gd name="T2" fmla="*/ 6 w 6"/>
                  <a:gd name="T3" fmla="*/ 0 h 10"/>
                  <a:gd name="T4" fmla="*/ 6 w 6"/>
                  <a:gd name="T5" fmla="*/ 6 h 10"/>
                  <a:gd name="T6" fmla="*/ 4 w 6"/>
                  <a:gd name="T7" fmla="*/ 10 h 10"/>
                  <a:gd name="T8" fmla="*/ 2 w 6"/>
                  <a:gd name="T9" fmla="*/ 10 h 10"/>
                  <a:gd name="T10" fmla="*/ 0 w 6"/>
                  <a:gd name="T11" fmla="*/ 6 h 10"/>
                  <a:gd name="T12" fmla="*/ 2 w 6"/>
                  <a:gd name="T13" fmla="*/ 2 h 10"/>
                  <a:gd name="T14" fmla="*/ 4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4" y="0"/>
                    </a:moveTo>
                    <a:lnTo>
                      <a:pt x="6" y="0"/>
                    </a:lnTo>
                    <a:lnTo>
                      <a:pt x="6" y="6"/>
                    </a:lnTo>
                    <a:lnTo>
                      <a:pt x="4" y="10"/>
                    </a:lnTo>
                    <a:lnTo>
                      <a:pt x="2" y="10"/>
                    </a:lnTo>
                    <a:lnTo>
                      <a:pt x="0" y="6"/>
                    </a:lnTo>
                    <a:lnTo>
                      <a:pt x="2" y="2"/>
                    </a:lnTo>
                    <a:lnTo>
                      <a:pt x="4"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12" name="Freeform 263"/>
              <p:cNvSpPr>
                <a:spLocks/>
              </p:cNvSpPr>
              <p:nvPr/>
            </p:nvSpPr>
            <p:spPr bwMode="auto">
              <a:xfrm>
                <a:off x="3991" y="3127"/>
                <a:ext cx="6" cy="10"/>
              </a:xfrm>
              <a:custGeom>
                <a:avLst/>
                <a:gdLst>
                  <a:gd name="T0" fmla="*/ 4 w 6"/>
                  <a:gd name="T1" fmla="*/ 0 h 10"/>
                  <a:gd name="T2" fmla="*/ 6 w 6"/>
                  <a:gd name="T3" fmla="*/ 0 h 10"/>
                  <a:gd name="T4" fmla="*/ 6 w 6"/>
                  <a:gd name="T5" fmla="*/ 6 h 10"/>
                  <a:gd name="T6" fmla="*/ 4 w 6"/>
                  <a:gd name="T7" fmla="*/ 10 h 10"/>
                  <a:gd name="T8" fmla="*/ 2 w 6"/>
                  <a:gd name="T9" fmla="*/ 10 h 10"/>
                  <a:gd name="T10" fmla="*/ 0 w 6"/>
                  <a:gd name="T11" fmla="*/ 6 h 10"/>
                  <a:gd name="T12" fmla="*/ 2 w 6"/>
                  <a:gd name="T13" fmla="*/ 2 h 10"/>
                  <a:gd name="T14" fmla="*/ 4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4" y="0"/>
                    </a:moveTo>
                    <a:lnTo>
                      <a:pt x="6" y="0"/>
                    </a:lnTo>
                    <a:lnTo>
                      <a:pt x="6" y="6"/>
                    </a:lnTo>
                    <a:lnTo>
                      <a:pt x="4" y="10"/>
                    </a:lnTo>
                    <a:lnTo>
                      <a:pt x="2" y="10"/>
                    </a:lnTo>
                    <a:lnTo>
                      <a:pt x="0" y="6"/>
                    </a:lnTo>
                    <a:lnTo>
                      <a:pt x="2" y="2"/>
                    </a:lnTo>
                    <a:lnTo>
                      <a:pt x="4"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13" name="Freeform 264"/>
              <p:cNvSpPr>
                <a:spLocks/>
              </p:cNvSpPr>
              <p:nvPr/>
            </p:nvSpPr>
            <p:spPr bwMode="auto">
              <a:xfrm>
                <a:off x="3993" y="3105"/>
                <a:ext cx="36" cy="78"/>
              </a:xfrm>
              <a:custGeom>
                <a:avLst/>
                <a:gdLst>
                  <a:gd name="T0" fmla="*/ 12 w 36"/>
                  <a:gd name="T1" fmla="*/ 10 h 78"/>
                  <a:gd name="T2" fmla="*/ 18 w 36"/>
                  <a:gd name="T3" fmla="*/ 2 h 78"/>
                  <a:gd name="T4" fmla="*/ 22 w 36"/>
                  <a:gd name="T5" fmla="*/ 4 h 78"/>
                  <a:gd name="T6" fmla="*/ 32 w 36"/>
                  <a:gd name="T7" fmla="*/ 0 h 78"/>
                  <a:gd name="T8" fmla="*/ 36 w 36"/>
                  <a:gd name="T9" fmla="*/ 16 h 78"/>
                  <a:gd name="T10" fmla="*/ 32 w 36"/>
                  <a:gd name="T11" fmla="*/ 20 h 78"/>
                  <a:gd name="T12" fmla="*/ 34 w 36"/>
                  <a:gd name="T13" fmla="*/ 28 h 78"/>
                  <a:gd name="T14" fmla="*/ 30 w 36"/>
                  <a:gd name="T15" fmla="*/ 44 h 78"/>
                  <a:gd name="T16" fmla="*/ 30 w 36"/>
                  <a:gd name="T17" fmla="*/ 54 h 78"/>
                  <a:gd name="T18" fmla="*/ 34 w 36"/>
                  <a:gd name="T19" fmla="*/ 64 h 78"/>
                  <a:gd name="T20" fmla="*/ 36 w 36"/>
                  <a:gd name="T21" fmla="*/ 72 h 78"/>
                  <a:gd name="T22" fmla="*/ 30 w 36"/>
                  <a:gd name="T23" fmla="*/ 78 h 78"/>
                  <a:gd name="T24" fmla="*/ 18 w 36"/>
                  <a:gd name="T25" fmla="*/ 70 h 78"/>
                  <a:gd name="T26" fmla="*/ 12 w 36"/>
                  <a:gd name="T27" fmla="*/ 70 h 78"/>
                  <a:gd name="T28" fmla="*/ 6 w 36"/>
                  <a:gd name="T29" fmla="*/ 68 h 78"/>
                  <a:gd name="T30" fmla="*/ 0 w 36"/>
                  <a:gd name="T31" fmla="*/ 62 h 78"/>
                  <a:gd name="T32" fmla="*/ 0 w 36"/>
                  <a:gd name="T33" fmla="*/ 52 h 78"/>
                  <a:gd name="T34" fmla="*/ 10 w 36"/>
                  <a:gd name="T35" fmla="*/ 44 h 78"/>
                  <a:gd name="T36" fmla="*/ 12 w 36"/>
                  <a:gd name="T37" fmla="*/ 38 h 78"/>
                  <a:gd name="T38" fmla="*/ 10 w 36"/>
                  <a:gd name="T39" fmla="*/ 26 h 78"/>
                  <a:gd name="T40" fmla="*/ 12 w 36"/>
                  <a:gd name="T41" fmla="*/ 1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78">
                    <a:moveTo>
                      <a:pt x="12" y="10"/>
                    </a:moveTo>
                    <a:lnTo>
                      <a:pt x="18" y="2"/>
                    </a:lnTo>
                    <a:lnTo>
                      <a:pt x="22" y="4"/>
                    </a:lnTo>
                    <a:lnTo>
                      <a:pt x="32" y="0"/>
                    </a:lnTo>
                    <a:lnTo>
                      <a:pt x="36" y="16"/>
                    </a:lnTo>
                    <a:lnTo>
                      <a:pt x="32" y="20"/>
                    </a:lnTo>
                    <a:lnTo>
                      <a:pt x="34" y="28"/>
                    </a:lnTo>
                    <a:lnTo>
                      <a:pt x="30" y="44"/>
                    </a:lnTo>
                    <a:lnTo>
                      <a:pt x="30" y="54"/>
                    </a:lnTo>
                    <a:lnTo>
                      <a:pt x="34" y="64"/>
                    </a:lnTo>
                    <a:lnTo>
                      <a:pt x="36" y="72"/>
                    </a:lnTo>
                    <a:lnTo>
                      <a:pt x="30" y="78"/>
                    </a:lnTo>
                    <a:lnTo>
                      <a:pt x="18" y="70"/>
                    </a:lnTo>
                    <a:lnTo>
                      <a:pt x="12" y="70"/>
                    </a:lnTo>
                    <a:lnTo>
                      <a:pt x="6" y="68"/>
                    </a:lnTo>
                    <a:lnTo>
                      <a:pt x="0" y="62"/>
                    </a:lnTo>
                    <a:lnTo>
                      <a:pt x="0" y="52"/>
                    </a:lnTo>
                    <a:lnTo>
                      <a:pt x="10" y="44"/>
                    </a:lnTo>
                    <a:lnTo>
                      <a:pt x="12" y="38"/>
                    </a:lnTo>
                    <a:lnTo>
                      <a:pt x="10" y="26"/>
                    </a:lnTo>
                    <a:lnTo>
                      <a:pt x="12" y="1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14" name="Freeform 265"/>
              <p:cNvSpPr>
                <a:spLocks/>
              </p:cNvSpPr>
              <p:nvPr/>
            </p:nvSpPr>
            <p:spPr bwMode="auto">
              <a:xfrm>
                <a:off x="3993" y="3105"/>
                <a:ext cx="36" cy="78"/>
              </a:xfrm>
              <a:custGeom>
                <a:avLst/>
                <a:gdLst>
                  <a:gd name="T0" fmla="*/ 12 w 36"/>
                  <a:gd name="T1" fmla="*/ 10 h 78"/>
                  <a:gd name="T2" fmla="*/ 18 w 36"/>
                  <a:gd name="T3" fmla="*/ 2 h 78"/>
                  <a:gd name="T4" fmla="*/ 22 w 36"/>
                  <a:gd name="T5" fmla="*/ 4 h 78"/>
                  <a:gd name="T6" fmla="*/ 32 w 36"/>
                  <a:gd name="T7" fmla="*/ 0 h 78"/>
                  <a:gd name="T8" fmla="*/ 36 w 36"/>
                  <a:gd name="T9" fmla="*/ 16 h 78"/>
                  <a:gd name="T10" fmla="*/ 32 w 36"/>
                  <a:gd name="T11" fmla="*/ 20 h 78"/>
                  <a:gd name="T12" fmla="*/ 34 w 36"/>
                  <a:gd name="T13" fmla="*/ 28 h 78"/>
                  <a:gd name="T14" fmla="*/ 30 w 36"/>
                  <a:gd name="T15" fmla="*/ 44 h 78"/>
                  <a:gd name="T16" fmla="*/ 30 w 36"/>
                  <a:gd name="T17" fmla="*/ 54 h 78"/>
                  <a:gd name="T18" fmla="*/ 34 w 36"/>
                  <a:gd name="T19" fmla="*/ 64 h 78"/>
                  <a:gd name="T20" fmla="*/ 36 w 36"/>
                  <a:gd name="T21" fmla="*/ 72 h 78"/>
                  <a:gd name="T22" fmla="*/ 30 w 36"/>
                  <a:gd name="T23" fmla="*/ 78 h 78"/>
                  <a:gd name="T24" fmla="*/ 18 w 36"/>
                  <a:gd name="T25" fmla="*/ 70 h 78"/>
                  <a:gd name="T26" fmla="*/ 12 w 36"/>
                  <a:gd name="T27" fmla="*/ 70 h 78"/>
                  <a:gd name="T28" fmla="*/ 6 w 36"/>
                  <a:gd name="T29" fmla="*/ 68 h 78"/>
                  <a:gd name="T30" fmla="*/ 0 w 36"/>
                  <a:gd name="T31" fmla="*/ 62 h 78"/>
                  <a:gd name="T32" fmla="*/ 0 w 36"/>
                  <a:gd name="T33" fmla="*/ 52 h 78"/>
                  <a:gd name="T34" fmla="*/ 10 w 36"/>
                  <a:gd name="T35" fmla="*/ 44 h 78"/>
                  <a:gd name="T36" fmla="*/ 12 w 36"/>
                  <a:gd name="T37" fmla="*/ 38 h 78"/>
                  <a:gd name="T38" fmla="*/ 10 w 36"/>
                  <a:gd name="T39" fmla="*/ 26 h 78"/>
                  <a:gd name="T40" fmla="*/ 12 w 36"/>
                  <a:gd name="T41" fmla="*/ 1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78">
                    <a:moveTo>
                      <a:pt x="12" y="10"/>
                    </a:moveTo>
                    <a:lnTo>
                      <a:pt x="18" y="2"/>
                    </a:lnTo>
                    <a:lnTo>
                      <a:pt x="22" y="4"/>
                    </a:lnTo>
                    <a:lnTo>
                      <a:pt x="32" y="0"/>
                    </a:lnTo>
                    <a:lnTo>
                      <a:pt x="36" y="16"/>
                    </a:lnTo>
                    <a:lnTo>
                      <a:pt x="32" y="20"/>
                    </a:lnTo>
                    <a:lnTo>
                      <a:pt x="34" y="28"/>
                    </a:lnTo>
                    <a:lnTo>
                      <a:pt x="30" y="44"/>
                    </a:lnTo>
                    <a:lnTo>
                      <a:pt x="30" y="54"/>
                    </a:lnTo>
                    <a:lnTo>
                      <a:pt x="34" y="64"/>
                    </a:lnTo>
                    <a:lnTo>
                      <a:pt x="36" y="72"/>
                    </a:lnTo>
                    <a:lnTo>
                      <a:pt x="30" y="78"/>
                    </a:lnTo>
                    <a:lnTo>
                      <a:pt x="18" y="70"/>
                    </a:lnTo>
                    <a:lnTo>
                      <a:pt x="12" y="70"/>
                    </a:lnTo>
                    <a:lnTo>
                      <a:pt x="6" y="68"/>
                    </a:lnTo>
                    <a:lnTo>
                      <a:pt x="0" y="62"/>
                    </a:lnTo>
                    <a:lnTo>
                      <a:pt x="0" y="52"/>
                    </a:lnTo>
                    <a:lnTo>
                      <a:pt x="10" y="44"/>
                    </a:lnTo>
                    <a:lnTo>
                      <a:pt x="12" y="38"/>
                    </a:lnTo>
                    <a:lnTo>
                      <a:pt x="10" y="26"/>
                    </a:lnTo>
                    <a:lnTo>
                      <a:pt x="12" y="1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15" name="Freeform 266"/>
              <p:cNvSpPr>
                <a:spLocks/>
              </p:cNvSpPr>
              <p:nvPr/>
            </p:nvSpPr>
            <p:spPr bwMode="auto">
              <a:xfrm>
                <a:off x="4053" y="3057"/>
                <a:ext cx="10" cy="8"/>
              </a:xfrm>
              <a:custGeom>
                <a:avLst/>
                <a:gdLst>
                  <a:gd name="T0" fmla="*/ 2 w 10"/>
                  <a:gd name="T1" fmla="*/ 4 h 8"/>
                  <a:gd name="T2" fmla="*/ 0 w 10"/>
                  <a:gd name="T3" fmla="*/ 0 h 8"/>
                  <a:gd name="T4" fmla="*/ 6 w 10"/>
                  <a:gd name="T5" fmla="*/ 2 h 8"/>
                  <a:gd name="T6" fmla="*/ 8 w 10"/>
                  <a:gd name="T7" fmla="*/ 4 h 8"/>
                  <a:gd name="T8" fmla="*/ 10 w 10"/>
                  <a:gd name="T9" fmla="*/ 6 h 8"/>
                  <a:gd name="T10" fmla="*/ 6 w 10"/>
                  <a:gd name="T11" fmla="*/ 8 h 8"/>
                  <a:gd name="T12" fmla="*/ 6 w 10"/>
                  <a:gd name="T13" fmla="*/ 8 h 8"/>
                  <a:gd name="T14" fmla="*/ 2 w 10"/>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2" y="4"/>
                    </a:moveTo>
                    <a:lnTo>
                      <a:pt x="0" y="0"/>
                    </a:lnTo>
                    <a:lnTo>
                      <a:pt x="6" y="2"/>
                    </a:lnTo>
                    <a:lnTo>
                      <a:pt x="8" y="4"/>
                    </a:lnTo>
                    <a:lnTo>
                      <a:pt x="10" y="6"/>
                    </a:lnTo>
                    <a:lnTo>
                      <a:pt x="6" y="8"/>
                    </a:lnTo>
                    <a:lnTo>
                      <a:pt x="6" y="8"/>
                    </a:lnTo>
                    <a:lnTo>
                      <a:pt x="2"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16" name="Freeform 267"/>
              <p:cNvSpPr>
                <a:spLocks/>
              </p:cNvSpPr>
              <p:nvPr/>
            </p:nvSpPr>
            <p:spPr bwMode="auto">
              <a:xfrm>
                <a:off x="4053" y="3057"/>
                <a:ext cx="10" cy="8"/>
              </a:xfrm>
              <a:custGeom>
                <a:avLst/>
                <a:gdLst>
                  <a:gd name="T0" fmla="*/ 2 w 10"/>
                  <a:gd name="T1" fmla="*/ 4 h 8"/>
                  <a:gd name="T2" fmla="*/ 0 w 10"/>
                  <a:gd name="T3" fmla="*/ 0 h 8"/>
                  <a:gd name="T4" fmla="*/ 6 w 10"/>
                  <a:gd name="T5" fmla="*/ 2 h 8"/>
                  <a:gd name="T6" fmla="*/ 8 w 10"/>
                  <a:gd name="T7" fmla="*/ 4 h 8"/>
                  <a:gd name="T8" fmla="*/ 10 w 10"/>
                  <a:gd name="T9" fmla="*/ 6 h 8"/>
                  <a:gd name="T10" fmla="*/ 6 w 10"/>
                  <a:gd name="T11" fmla="*/ 8 h 8"/>
                  <a:gd name="T12" fmla="*/ 6 w 10"/>
                  <a:gd name="T13" fmla="*/ 8 h 8"/>
                  <a:gd name="T14" fmla="*/ 2 w 10"/>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2" y="4"/>
                    </a:moveTo>
                    <a:lnTo>
                      <a:pt x="0" y="0"/>
                    </a:lnTo>
                    <a:lnTo>
                      <a:pt x="6" y="2"/>
                    </a:lnTo>
                    <a:lnTo>
                      <a:pt x="8" y="4"/>
                    </a:lnTo>
                    <a:lnTo>
                      <a:pt x="10" y="6"/>
                    </a:lnTo>
                    <a:lnTo>
                      <a:pt x="6" y="8"/>
                    </a:lnTo>
                    <a:lnTo>
                      <a:pt x="6" y="8"/>
                    </a:lnTo>
                    <a:lnTo>
                      <a:pt x="2"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17" name="Freeform 268"/>
              <p:cNvSpPr>
                <a:spLocks/>
              </p:cNvSpPr>
              <p:nvPr/>
            </p:nvSpPr>
            <p:spPr bwMode="auto">
              <a:xfrm>
                <a:off x="4053" y="3065"/>
                <a:ext cx="46" cy="48"/>
              </a:xfrm>
              <a:custGeom>
                <a:avLst/>
                <a:gdLst>
                  <a:gd name="T0" fmla="*/ 0 w 46"/>
                  <a:gd name="T1" fmla="*/ 4 h 48"/>
                  <a:gd name="T2" fmla="*/ 2 w 46"/>
                  <a:gd name="T3" fmla="*/ 6 h 48"/>
                  <a:gd name="T4" fmla="*/ 4 w 46"/>
                  <a:gd name="T5" fmla="*/ 8 h 48"/>
                  <a:gd name="T6" fmla="*/ 8 w 46"/>
                  <a:gd name="T7" fmla="*/ 4 h 48"/>
                  <a:gd name="T8" fmla="*/ 12 w 46"/>
                  <a:gd name="T9" fmla="*/ 4 h 48"/>
                  <a:gd name="T10" fmla="*/ 22 w 46"/>
                  <a:gd name="T11" fmla="*/ 0 h 48"/>
                  <a:gd name="T12" fmla="*/ 28 w 46"/>
                  <a:gd name="T13" fmla="*/ 4 h 48"/>
                  <a:gd name="T14" fmla="*/ 32 w 46"/>
                  <a:gd name="T15" fmla="*/ 22 h 48"/>
                  <a:gd name="T16" fmla="*/ 46 w 46"/>
                  <a:gd name="T17" fmla="*/ 36 h 48"/>
                  <a:gd name="T18" fmla="*/ 42 w 46"/>
                  <a:gd name="T19" fmla="*/ 40 h 48"/>
                  <a:gd name="T20" fmla="*/ 38 w 46"/>
                  <a:gd name="T21" fmla="*/ 40 h 48"/>
                  <a:gd name="T22" fmla="*/ 38 w 46"/>
                  <a:gd name="T23" fmla="*/ 48 h 48"/>
                  <a:gd name="T24" fmla="*/ 32 w 46"/>
                  <a:gd name="T25" fmla="*/ 48 h 48"/>
                  <a:gd name="T26" fmla="*/ 28 w 46"/>
                  <a:gd name="T27" fmla="*/ 44 h 48"/>
                  <a:gd name="T28" fmla="*/ 24 w 46"/>
                  <a:gd name="T29" fmla="*/ 26 h 48"/>
                  <a:gd name="T30" fmla="*/ 18 w 46"/>
                  <a:gd name="T31" fmla="*/ 20 h 48"/>
                  <a:gd name="T32" fmla="*/ 10 w 46"/>
                  <a:gd name="T33" fmla="*/ 24 h 48"/>
                  <a:gd name="T34" fmla="*/ 4 w 46"/>
                  <a:gd name="T35" fmla="*/ 10 h 48"/>
                  <a:gd name="T36" fmla="*/ 0 w 46"/>
                  <a:gd name="T37" fmla="*/ 8 h 48"/>
                  <a:gd name="T38" fmla="*/ 0 w 46"/>
                  <a:gd name="T39"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8">
                    <a:moveTo>
                      <a:pt x="0" y="4"/>
                    </a:moveTo>
                    <a:lnTo>
                      <a:pt x="2" y="6"/>
                    </a:lnTo>
                    <a:lnTo>
                      <a:pt x="4" y="8"/>
                    </a:lnTo>
                    <a:lnTo>
                      <a:pt x="8" y="4"/>
                    </a:lnTo>
                    <a:lnTo>
                      <a:pt x="12" y="4"/>
                    </a:lnTo>
                    <a:lnTo>
                      <a:pt x="22" y="0"/>
                    </a:lnTo>
                    <a:lnTo>
                      <a:pt x="28" y="4"/>
                    </a:lnTo>
                    <a:lnTo>
                      <a:pt x="32" y="22"/>
                    </a:lnTo>
                    <a:lnTo>
                      <a:pt x="46" y="36"/>
                    </a:lnTo>
                    <a:lnTo>
                      <a:pt x="42" y="40"/>
                    </a:lnTo>
                    <a:lnTo>
                      <a:pt x="38" y="40"/>
                    </a:lnTo>
                    <a:lnTo>
                      <a:pt x="38" y="48"/>
                    </a:lnTo>
                    <a:lnTo>
                      <a:pt x="32" y="48"/>
                    </a:lnTo>
                    <a:lnTo>
                      <a:pt x="28" y="44"/>
                    </a:lnTo>
                    <a:lnTo>
                      <a:pt x="24" y="26"/>
                    </a:lnTo>
                    <a:lnTo>
                      <a:pt x="18" y="20"/>
                    </a:lnTo>
                    <a:lnTo>
                      <a:pt x="10" y="24"/>
                    </a:lnTo>
                    <a:lnTo>
                      <a:pt x="4" y="10"/>
                    </a:lnTo>
                    <a:lnTo>
                      <a:pt x="0" y="8"/>
                    </a:lnTo>
                    <a:lnTo>
                      <a:pt x="0"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18" name="Freeform 269"/>
              <p:cNvSpPr>
                <a:spLocks/>
              </p:cNvSpPr>
              <p:nvPr/>
            </p:nvSpPr>
            <p:spPr bwMode="auto">
              <a:xfrm>
                <a:off x="4053" y="3065"/>
                <a:ext cx="46" cy="48"/>
              </a:xfrm>
              <a:custGeom>
                <a:avLst/>
                <a:gdLst>
                  <a:gd name="T0" fmla="*/ 0 w 46"/>
                  <a:gd name="T1" fmla="*/ 4 h 48"/>
                  <a:gd name="T2" fmla="*/ 2 w 46"/>
                  <a:gd name="T3" fmla="*/ 6 h 48"/>
                  <a:gd name="T4" fmla="*/ 4 w 46"/>
                  <a:gd name="T5" fmla="*/ 8 h 48"/>
                  <a:gd name="T6" fmla="*/ 8 w 46"/>
                  <a:gd name="T7" fmla="*/ 4 h 48"/>
                  <a:gd name="T8" fmla="*/ 12 w 46"/>
                  <a:gd name="T9" fmla="*/ 4 h 48"/>
                  <a:gd name="T10" fmla="*/ 22 w 46"/>
                  <a:gd name="T11" fmla="*/ 0 h 48"/>
                  <a:gd name="T12" fmla="*/ 28 w 46"/>
                  <a:gd name="T13" fmla="*/ 4 h 48"/>
                  <a:gd name="T14" fmla="*/ 32 w 46"/>
                  <a:gd name="T15" fmla="*/ 22 h 48"/>
                  <a:gd name="T16" fmla="*/ 46 w 46"/>
                  <a:gd name="T17" fmla="*/ 36 h 48"/>
                  <a:gd name="T18" fmla="*/ 42 w 46"/>
                  <a:gd name="T19" fmla="*/ 40 h 48"/>
                  <a:gd name="T20" fmla="*/ 38 w 46"/>
                  <a:gd name="T21" fmla="*/ 40 h 48"/>
                  <a:gd name="T22" fmla="*/ 38 w 46"/>
                  <a:gd name="T23" fmla="*/ 48 h 48"/>
                  <a:gd name="T24" fmla="*/ 32 w 46"/>
                  <a:gd name="T25" fmla="*/ 48 h 48"/>
                  <a:gd name="T26" fmla="*/ 28 w 46"/>
                  <a:gd name="T27" fmla="*/ 44 h 48"/>
                  <a:gd name="T28" fmla="*/ 24 w 46"/>
                  <a:gd name="T29" fmla="*/ 26 h 48"/>
                  <a:gd name="T30" fmla="*/ 18 w 46"/>
                  <a:gd name="T31" fmla="*/ 20 h 48"/>
                  <a:gd name="T32" fmla="*/ 10 w 46"/>
                  <a:gd name="T33" fmla="*/ 24 h 48"/>
                  <a:gd name="T34" fmla="*/ 4 w 46"/>
                  <a:gd name="T35" fmla="*/ 10 h 48"/>
                  <a:gd name="T36" fmla="*/ 0 w 46"/>
                  <a:gd name="T37" fmla="*/ 8 h 48"/>
                  <a:gd name="T38" fmla="*/ 0 w 46"/>
                  <a:gd name="T39"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8">
                    <a:moveTo>
                      <a:pt x="0" y="4"/>
                    </a:moveTo>
                    <a:lnTo>
                      <a:pt x="2" y="6"/>
                    </a:lnTo>
                    <a:lnTo>
                      <a:pt x="4" y="8"/>
                    </a:lnTo>
                    <a:lnTo>
                      <a:pt x="8" y="4"/>
                    </a:lnTo>
                    <a:lnTo>
                      <a:pt x="12" y="4"/>
                    </a:lnTo>
                    <a:lnTo>
                      <a:pt x="22" y="0"/>
                    </a:lnTo>
                    <a:lnTo>
                      <a:pt x="28" y="4"/>
                    </a:lnTo>
                    <a:lnTo>
                      <a:pt x="32" y="22"/>
                    </a:lnTo>
                    <a:lnTo>
                      <a:pt x="46" y="36"/>
                    </a:lnTo>
                    <a:lnTo>
                      <a:pt x="42" y="40"/>
                    </a:lnTo>
                    <a:lnTo>
                      <a:pt x="38" y="40"/>
                    </a:lnTo>
                    <a:lnTo>
                      <a:pt x="38" y="48"/>
                    </a:lnTo>
                    <a:lnTo>
                      <a:pt x="32" y="48"/>
                    </a:lnTo>
                    <a:lnTo>
                      <a:pt x="28" y="44"/>
                    </a:lnTo>
                    <a:lnTo>
                      <a:pt x="24" y="26"/>
                    </a:lnTo>
                    <a:lnTo>
                      <a:pt x="18" y="20"/>
                    </a:lnTo>
                    <a:lnTo>
                      <a:pt x="10" y="24"/>
                    </a:lnTo>
                    <a:lnTo>
                      <a:pt x="4" y="10"/>
                    </a:lnTo>
                    <a:lnTo>
                      <a:pt x="0" y="8"/>
                    </a:lnTo>
                    <a:lnTo>
                      <a:pt x="0"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19" name="Freeform 270"/>
              <p:cNvSpPr>
                <a:spLocks/>
              </p:cNvSpPr>
              <p:nvPr/>
            </p:nvSpPr>
            <p:spPr bwMode="auto">
              <a:xfrm>
                <a:off x="4111" y="3085"/>
                <a:ext cx="10" cy="24"/>
              </a:xfrm>
              <a:custGeom>
                <a:avLst/>
                <a:gdLst>
                  <a:gd name="T0" fmla="*/ 2 w 10"/>
                  <a:gd name="T1" fmla="*/ 14 h 24"/>
                  <a:gd name="T2" fmla="*/ 0 w 10"/>
                  <a:gd name="T3" fmla="*/ 8 h 24"/>
                  <a:gd name="T4" fmla="*/ 2 w 10"/>
                  <a:gd name="T5" fmla="*/ 0 h 24"/>
                  <a:gd name="T6" fmla="*/ 4 w 10"/>
                  <a:gd name="T7" fmla="*/ 2 h 24"/>
                  <a:gd name="T8" fmla="*/ 10 w 10"/>
                  <a:gd name="T9" fmla="*/ 22 h 24"/>
                  <a:gd name="T10" fmla="*/ 10 w 10"/>
                  <a:gd name="T11" fmla="*/ 24 h 24"/>
                  <a:gd name="T12" fmla="*/ 8 w 10"/>
                  <a:gd name="T13" fmla="*/ 20 h 24"/>
                  <a:gd name="T14" fmla="*/ 4 w 10"/>
                  <a:gd name="T15" fmla="*/ 18 h 24"/>
                  <a:gd name="T16" fmla="*/ 2 w 10"/>
                  <a:gd name="T17"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4">
                    <a:moveTo>
                      <a:pt x="2" y="14"/>
                    </a:moveTo>
                    <a:lnTo>
                      <a:pt x="0" y="8"/>
                    </a:lnTo>
                    <a:lnTo>
                      <a:pt x="2" y="0"/>
                    </a:lnTo>
                    <a:lnTo>
                      <a:pt x="4" y="2"/>
                    </a:lnTo>
                    <a:lnTo>
                      <a:pt x="10" y="22"/>
                    </a:lnTo>
                    <a:lnTo>
                      <a:pt x="10" y="24"/>
                    </a:lnTo>
                    <a:lnTo>
                      <a:pt x="8" y="20"/>
                    </a:lnTo>
                    <a:lnTo>
                      <a:pt x="4" y="18"/>
                    </a:lnTo>
                    <a:lnTo>
                      <a:pt x="2" y="1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20" name="Freeform 271"/>
              <p:cNvSpPr>
                <a:spLocks/>
              </p:cNvSpPr>
              <p:nvPr/>
            </p:nvSpPr>
            <p:spPr bwMode="auto">
              <a:xfrm>
                <a:off x="4111" y="3085"/>
                <a:ext cx="10" cy="24"/>
              </a:xfrm>
              <a:custGeom>
                <a:avLst/>
                <a:gdLst>
                  <a:gd name="T0" fmla="*/ 2 w 10"/>
                  <a:gd name="T1" fmla="*/ 14 h 24"/>
                  <a:gd name="T2" fmla="*/ 0 w 10"/>
                  <a:gd name="T3" fmla="*/ 8 h 24"/>
                  <a:gd name="T4" fmla="*/ 2 w 10"/>
                  <a:gd name="T5" fmla="*/ 0 h 24"/>
                  <a:gd name="T6" fmla="*/ 4 w 10"/>
                  <a:gd name="T7" fmla="*/ 2 h 24"/>
                  <a:gd name="T8" fmla="*/ 10 w 10"/>
                  <a:gd name="T9" fmla="*/ 22 h 24"/>
                  <a:gd name="T10" fmla="*/ 10 w 10"/>
                  <a:gd name="T11" fmla="*/ 24 h 24"/>
                  <a:gd name="T12" fmla="*/ 8 w 10"/>
                  <a:gd name="T13" fmla="*/ 20 h 24"/>
                  <a:gd name="T14" fmla="*/ 4 w 10"/>
                  <a:gd name="T15" fmla="*/ 18 h 24"/>
                  <a:gd name="T16" fmla="*/ 2 w 10"/>
                  <a:gd name="T17"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4">
                    <a:moveTo>
                      <a:pt x="2" y="14"/>
                    </a:moveTo>
                    <a:lnTo>
                      <a:pt x="0" y="8"/>
                    </a:lnTo>
                    <a:lnTo>
                      <a:pt x="2" y="0"/>
                    </a:lnTo>
                    <a:lnTo>
                      <a:pt x="4" y="2"/>
                    </a:lnTo>
                    <a:lnTo>
                      <a:pt x="10" y="22"/>
                    </a:lnTo>
                    <a:lnTo>
                      <a:pt x="10" y="24"/>
                    </a:lnTo>
                    <a:lnTo>
                      <a:pt x="8" y="20"/>
                    </a:lnTo>
                    <a:lnTo>
                      <a:pt x="4" y="18"/>
                    </a:lnTo>
                    <a:lnTo>
                      <a:pt x="2" y="1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21" name="Freeform 272"/>
              <p:cNvSpPr>
                <a:spLocks/>
              </p:cNvSpPr>
              <p:nvPr/>
            </p:nvSpPr>
            <p:spPr bwMode="auto">
              <a:xfrm>
                <a:off x="4131" y="3097"/>
                <a:ext cx="6" cy="6"/>
              </a:xfrm>
              <a:custGeom>
                <a:avLst/>
                <a:gdLst>
                  <a:gd name="T0" fmla="*/ 0 w 6"/>
                  <a:gd name="T1" fmla="*/ 0 h 6"/>
                  <a:gd name="T2" fmla="*/ 6 w 6"/>
                  <a:gd name="T3" fmla="*/ 4 h 6"/>
                  <a:gd name="T4" fmla="*/ 6 w 6"/>
                  <a:gd name="T5" fmla="*/ 6 h 6"/>
                  <a:gd name="T6" fmla="*/ 4 w 6"/>
                  <a:gd name="T7" fmla="*/ 6 h 6"/>
                  <a:gd name="T8" fmla="*/ 2 w 6"/>
                  <a:gd name="T9" fmla="*/ 4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6" y="4"/>
                    </a:lnTo>
                    <a:lnTo>
                      <a:pt x="6" y="6"/>
                    </a:lnTo>
                    <a:lnTo>
                      <a:pt x="4" y="6"/>
                    </a:lnTo>
                    <a:lnTo>
                      <a:pt x="2" y="4"/>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22" name="Freeform 273"/>
              <p:cNvSpPr>
                <a:spLocks/>
              </p:cNvSpPr>
              <p:nvPr/>
            </p:nvSpPr>
            <p:spPr bwMode="auto">
              <a:xfrm>
                <a:off x="4131" y="3097"/>
                <a:ext cx="6" cy="6"/>
              </a:xfrm>
              <a:custGeom>
                <a:avLst/>
                <a:gdLst>
                  <a:gd name="T0" fmla="*/ 0 w 6"/>
                  <a:gd name="T1" fmla="*/ 0 h 6"/>
                  <a:gd name="T2" fmla="*/ 6 w 6"/>
                  <a:gd name="T3" fmla="*/ 4 h 6"/>
                  <a:gd name="T4" fmla="*/ 6 w 6"/>
                  <a:gd name="T5" fmla="*/ 6 h 6"/>
                  <a:gd name="T6" fmla="*/ 4 w 6"/>
                  <a:gd name="T7" fmla="*/ 6 h 6"/>
                  <a:gd name="T8" fmla="*/ 2 w 6"/>
                  <a:gd name="T9" fmla="*/ 4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6" y="4"/>
                    </a:lnTo>
                    <a:lnTo>
                      <a:pt x="6" y="6"/>
                    </a:lnTo>
                    <a:lnTo>
                      <a:pt x="4" y="6"/>
                    </a:lnTo>
                    <a:lnTo>
                      <a:pt x="2" y="4"/>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23" name="Freeform 274"/>
              <p:cNvSpPr>
                <a:spLocks/>
              </p:cNvSpPr>
              <p:nvPr/>
            </p:nvSpPr>
            <p:spPr bwMode="auto">
              <a:xfrm>
                <a:off x="4029" y="3083"/>
                <a:ext cx="22" cy="78"/>
              </a:xfrm>
              <a:custGeom>
                <a:avLst/>
                <a:gdLst>
                  <a:gd name="T0" fmla="*/ 14 w 22"/>
                  <a:gd name="T1" fmla="*/ 2 h 78"/>
                  <a:gd name="T2" fmla="*/ 14 w 22"/>
                  <a:gd name="T3" fmla="*/ 0 h 78"/>
                  <a:gd name="T4" fmla="*/ 22 w 22"/>
                  <a:gd name="T5" fmla="*/ 32 h 78"/>
                  <a:gd name="T6" fmla="*/ 14 w 22"/>
                  <a:gd name="T7" fmla="*/ 44 h 78"/>
                  <a:gd name="T8" fmla="*/ 8 w 22"/>
                  <a:gd name="T9" fmla="*/ 74 h 78"/>
                  <a:gd name="T10" fmla="*/ 6 w 22"/>
                  <a:gd name="T11" fmla="*/ 78 h 78"/>
                  <a:gd name="T12" fmla="*/ 0 w 22"/>
                  <a:gd name="T13" fmla="*/ 64 h 78"/>
                  <a:gd name="T14" fmla="*/ 12 w 22"/>
                  <a:gd name="T15" fmla="*/ 4 h 78"/>
                  <a:gd name="T16" fmla="*/ 14 w 22"/>
                  <a:gd name="T1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78">
                    <a:moveTo>
                      <a:pt x="14" y="2"/>
                    </a:moveTo>
                    <a:lnTo>
                      <a:pt x="14" y="0"/>
                    </a:lnTo>
                    <a:lnTo>
                      <a:pt x="22" y="32"/>
                    </a:lnTo>
                    <a:lnTo>
                      <a:pt x="14" y="44"/>
                    </a:lnTo>
                    <a:lnTo>
                      <a:pt x="8" y="74"/>
                    </a:lnTo>
                    <a:lnTo>
                      <a:pt x="6" y="78"/>
                    </a:lnTo>
                    <a:lnTo>
                      <a:pt x="0" y="64"/>
                    </a:lnTo>
                    <a:lnTo>
                      <a:pt x="12" y="4"/>
                    </a:lnTo>
                    <a:lnTo>
                      <a:pt x="14"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24" name="Freeform 275"/>
              <p:cNvSpPr>
                <a:spLocks/>
              </p:cNvSpPr>
              <p:nvPr/>
            </p:nvSpPr>
            <p:spPr bwMode="auto">
              <a:xfrm>
                <a:off x="4029" y="3083"/>
                <a:ext cx="22" cy="78"/>
              </a:xfrm>
              <a:custGeom>
                <a:avLst/>
                <a:gdLst>
                  <a:gd name="T0" fmla="*/ 14 w 22"/>
                  <a:gd name="T1" fmla="*/ 2 h 78"/>
                  <a:gd name="T2" fmla="*/ 14 w 22"/>
                  <a:gd name="T3" fmla="*/ 0 h 78"/>
                  <a:gd name="T4" fmla="*/ 22 w 22"/>
                  <a:gd name="T5" fmla="*/ 32 h 78"/>
                  <a:gd name="T6" fmla="*/ 14 w 22"/>
                  <a:gd name="T7" fmla="*/ 44 h 78"/>
                  <a:gd name="T8" fmla="*/ 8 w 22"/>
                  <a:gd name="T9" fmla="*/ 74 h 78"/>
                  <a:gd name="T10" fmla="*/ 6 w 22"/>
                  <a:gd name="T11" fmla="*/ 78 h 78"/>
                  <a:gd name="T12" fmla="*/ 0 w 22"/>
                  <a:gd name="T13" fmla="*/ 64 h 78"/>
                  <a:gd name="T14" fmla="*/ 12 w 22"/>
                  <a:gd name="T15" fmla="*/ 4 h 78"/>
                  <a:gd name="T16" fmla="*/ 14 w 22"/>
                  <a:gd name="T1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78">
                    <a:moveTo>
                      <a:pt x="14" y="2"/>
                    </a:moveTo>
                    <a:lnTo>
                      <a:pt x="14" y="0"/>
                    </a:lnTo>
                    <a:lnTo>
                      <a:pt x="22" y="32"/>
                    </a:lnTo>
                    <a:lnTo>
                      <a:pt x="14" y="44"/>
                    </a:lnTo>
                    <a:lnTo>
                      <a:pt x="8" y="74"/>
                    </a:lnTo>
                    <a:lnTo>
                      <a:pt x="6" y="78"/>
                    </a:lnTo>
                    <a:lnTo>
                      <a:pt x="0" y="64"/>
                    </a:lnTo>
                    <a:lnTo>
                      <a:pt x="12" y="4"/>
                    </a:lnTo>
                    <a:lnTo>
                      <a:pt x="14"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25" name="Freeform 276"/>
              <p:cNvSpPr>
                <a:spLocks/>
              </p:cNvSpPr>
              <p:nvPr/>
            </p:nvSpPr>
            <p:spPr bwMode="auto">
              <a:xfrm>
                <a:off x="4047" y="3117"/>
                <a:ext cx="30" cy="30"/>
              </a:xfrm>
              <a:custGeom>
                <a:avLst/>
                <a:gdLst>
                  <a:gd name="T0" fmla="*/ 0 w 30"/>
                  <a:gd name="T1" fmla="*/ 22 h 30"/>
                  <a:gd name="T2" fmla="*/ 0 w 30"/>
                  <a:gd name="T3" fmla="*/ 22 h 30"/>
                  <a:gd name="T4" fmla="*/ 2 w 30"/>
                  <a:gd name="T5" fmla="*/ 20 h 30"/>
                  <a:gd name="T6" fmla="*/ 12 w 30"/>
                  <a:gd name="T7" fmla="*/ 4 h 30"/>
                  <a:gd name="T8" fmla="*/ 22 w 30"/>
                  <a:gd name="T9" fmla="*/ 4 h 30"/>
                  <a:gd name="T10" fmla="*/ 28 w 30"/>
                  <a:gd name="T11" fmla="*/ 0 h 30"/>
                  <a:gd name="T12" fmla="*/ 30 w 30"/>
                  <a:gd name="T13" fmla="*/ 8 h 30"/>
                  <a:gd name="T14" fmla="*/ 28 w 30"/>
                  <a:gd name="T15" fmla="*/ 10 h 30"/>
                  <a:gd name="T16" fmla="*/ 30 w 30"/>
                  <a:gd name="T17" fmla="*/ 14 h 30"/>
                  <a:gd name="T18" fmla="*/ 28 w 30"/>
                  <a:gd name="T19" fmla="*/ 18 h 30"/>
                  <a:gd name="T20" fmla="*/ 20 w 30"/>
                  <a:gd name="T21" fmla="*/ 26 h 30"/>
                  <a:gd name="T22" fmla="*/ 8 w 30"/>
                  <a:gd name="T23" fmla="*/ 30 h 30"/>
                  <a:gd name="T24" fmla="*/ 4 w 30"/>
                  <a:gd name="T25" fmla="*/ 28 h 30"/>
                  <a:gd name="T26" fmla="*/ 0 w 30"/>
                  <a:gd name="T27"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0">
                    <a:moveTo>
                      <a:pt x="0" y="22"/>
                    </a:moveTo>
                    <a:lnTo>
                      <a:pt x="0" y="22"/>
                    </a:lnTo>
                    <a:lnTo>
                      <a:pt x="2" y="20"/>
                    </a:lnTo>
                    <a:lnTo>
                      <a:pt x="12" y="4"/>
                    </a:lnTo>
                    <a:lnTo>
                      <a:pt x="22" y="4"/>
                    </a:lnTo>
                    <a:lnTo>
                      <a:pt x="28" y="0"/>
                    </a:lnTo>
                    <a:lnTo>
                      <a:pt x="30" y="8"/>
                    </a:lnTo>
                    <a:lnTo>
                      <a:pt x="28" y="10"/>
                    </a:lnTo>
                    <a:lnTo>
                      <a:pt x="30" y="14"/>
                    </a:lnTo>
                    <a:lnTo>
                      <a:pt x="28" y="18"/>
                    </a:lnTo>
                    <a:lnTo>
                      <a:pt x="20" y="26"/>
                    </a:lnTo>
                    <a:lnTo>
                      <a:pt x="8" y="30"/>
                    </a:lnTo>
                    <a:lnTo>
                      <a:pt x="4" y="28"/>
                    </a:lnTo>
                    <a:lnTo>
                      <a:pt x="0" y="2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26" name="Freeform 277"/>
              <p:cNvSpPr>
                <a:spLocks/>
              </p:cNvSpPr>
              <p:nvPr/>
            </p:nvSpPr>
            <p:spPr bwMode="auto">
              <a:xfrm>
                <a:off x="4047" y="3117"/>
                <a:ext cx="30" cy="30"/>
              </a:xfrm>
              <a:custGeom>
                <a:avLst/>
                <a:gdLst>
                  <a:gd name="T0" fmla="*/ 0 w 30"/>
                  <a:gd name="T1" fmla="*/ 22 h 30"/>
                  <a:gd name="T2" fmla="*/ 0 w 30"/>
                  <a:gd name="T3" fmla="*/ 22 h 30"/>
                  <a:gd name="T4" fmla="*/ 2 w 30"/>
                  <a:gd name="T5" fmla="*/ 20 h 30"/>
                  <a:gd name="T6" fmla="*/ 12 w 30"/>
                  <a:gd name="T7" fmla="*/ 4 h 30"/>
                  <a:gd name="T8" fmla="*/ 22 w 30"/>
                  <a:gd name="T9" fmla="*/ 4 h 30"/>
                  <a:gd name="T10" fmla="*/ 28 w 30"/>
                  <a:gd name="T11" fmla="*/ 0 h 30"/>
                  <a:gd name="T12" fmla="*/ 30 w 30"/>
                  <a:gd name="T13" fmla="*/ 8 h 30"/>
                  <a:gd name="T14" fmla="*/ 28 w 30"/>
                  <a:gd name="T15" fmla="*/ 10 h 30"/>
                  <a:gd name="T16" fmla="*/ 30 w 30"/>
                  <a:gd name="T17" fmla="*/ 14 h 30"/>
                  <a:gd name="T18" fmla="*/ 28 w 30"/>
                  <a:gd name="T19" fmla="*/ 18 h 30"/>
                  <a:gd name="T20" fmla="*/ 20 w 30"/>
                  <a:gd name="T21" fmla="*/ 26 h 30"/>
                  <a:gd name="T22" fmla="*/ 8 w 30"/>
                  <a:gd name="T23" fmla="*/ 30 h 30"/>
                  <a:gd name="T24" fmla="*/ 4 w 30"/>
                  <a:gd name="T25" fmla="*/ 28 h 30"/>
                  <a:gd name="T26" fmla="*/ 0 w 30"/>
                  <a:gd name="T27"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0">
                    <a:moveTo>
                      <a:pt x="0" y="22"/>
                    </a:moveTo>
                    <a:lnTo>
                      <a:pt x="0" y="22"/>
                    </a:lnTo>
                    <a:lnTo>
                      <a:pt x="2" y="20"/>
                    </a:lnTo>
                    <a:lnTo>
                      <a:pt x="12" y="4"/>
                    </a:lnTo>
                    <a:lnTo>
                      <a:pt x="22" y="4"/>
                    </a:lnTo>
                    <a:lnTo>
                      <a:pt x="28" y="0"/>
                    </a:lnTo>
                    <a:lnTo>
                      <a:pt x="30" y="8"/>
                    </a:lnTo>
                    <a:lnTo>
                      <a:pt x="28" y="10"/>
                    </a:lnTo>
                    <a:lnTo>
                      <a:pt x="30" y="14"/>
                    </a:lnTo>
                    <a:lnTo>
                      <a:pt x="28" y="18"/>
                    </a:lnTo>
                    <a:lnTo>
                      <a:pt x="20" y="26"/>
                    </a:lnTo>
                    <a:lnTo>
                      <a:pt x="8" y="30"/>
                    </a:lnTo>
                    <a:lnTo>
                      <a:pt x="4" y="28"/>
                    </a:lnTo>
                    <a:lnTo>
                      <a:pt x="0" y="2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27" name="Freeform 278"/>
              <p:cNvSpPr>
                <a:spLocks/>
              </p:cNvSpPr>
              <p:nvPr/>
            </p:nvSpPr>
            <p:spPr bwMode="auto">
              <a:xfrm>
                <a:off x="3991" y="3115"/>
                <a:ext cx="188" cy="166"/>
              </a:xfrm>
              <a:custGeom>
                <a:avLst/>
                <a:gdLst>
                  <a:gd name="T0" fmla="*/ 120 w 188"/>
                  <a:gd name="T1" fmla="*/ 2 h 166"/>
                  <a:gd name="T2" fmla="*/ 134 w 188"/>
                  <a:gd name="T3" fmla="*/ 4 h 166"/>
                  <a:gd name="T4" fmla="*/ 148 w 188"/>
                  <a:gd name="T5" fmla="*/ 10 h 166"/>
                  <a:gd name="T6" fmla="*/ 162 w 188"/>
                  <a:gd name="T7" fmla="*/ 20 h 166"/>
                  <a:gd name="T8" fmla="*/ 158 w 188"/>
                  <a:gd name="T9" fmla="*/ 34 h 166"/>
                  <a:gd name="T10" fmla="*/ 170 w 188"/>
                  <a:gd name="T11" fmla="*/ 44 h 166"/>
                  <a:gd name="T12" fmla="*/ 176 w 188"/>
                  <a:gd name="T13" fmla="*/ 58 h 166"/>
                  <a:gd name="T14" fmla="*/ 188 w 188"/>
                  <a:gd name="T15" fmla="*/ 84 h 166"/>
                  <a:gd name="T16" fmla="*/ 180 w 188"/>
                  <a:gd name="T17" fmla="*/ 94 h 166"/>
                  <a:gd name="T18" fmla="*/ 182 w 188"/>
                  <a:gd name="T19" fmla="*/ 118 h 166"/>
                  <a:gd name="T20" fmla="*/ 172 w 188"/>
                  <a:gd name="T21" fmla="*/ 108 h 166"/>
                  <a:gd name="T22" fmla="*/ 158 w 188"/>
                  <a:gd name="T23" fmla="*/ 88 h 166"/>
                  <a:gd name="T24" fmla="*/ 146 w 188"/>
                  <a:gd name="T25" fmla="*/ 114 h 166"/>
                  <a:gd name="T26" fmla="*/ 152 w 188"/>
                  <a:gd name="T27" fmla="*/ 126 h 166"/>
                  <a:gd name="T28" fmla="*/ 160 w 188"/>
                  <a:gd name="T29" fmla="*/ 144 h 166"/>
                  <a:gd name="T30" fmla="*/ 148 w 188"/>
                  <a:gd name="T31" fmla="*/ 162 h 166"/>
                  <a:gd name="T32" fmla="*/ 138 w 188"/>
                  <a:gd name="T33" fmla="*/ 156 h 166"/>
                  <a:gd name="T34" fmla="*/ 106 w 188"/>
                  <a:gd name="T35" fmla="*/ 160 h 166"/>
                  <a:gd name="T36" fmla="*/ 86 w 188"/>
                  <a:gd name="T37" fmla="*/ 132 h 166"/>
                  <a:gd name="T38" fmla="*/ 90 w 188"/>
                  <a:gd name="T39" fmla="*/ 112 h 166"/>
                  <a:gd name="T40" fmla="*/ 66 w 188"/>
                  <a:gd name="T41" fmla="*/ 104 h 166"/>
                  <a:gd name="T42" fmla="*/ 58 w 188"/>
                  <a:gd name="T43" fmla="*/ 120 h 166"/>
                  <a:gd name="T44" fmla="*/ 52 w 188"/>
                  <a:gd name="T45" fmla="*/ 122 h 166"/>
                  <a:gd name="T46" fmla="*/ 48 w 188"/>
                  <a:gd name="T47" fmla="*/ 120 h 166"/>
                  <a:gd name="T48" fmla="*/ 38 w 188"/>
                  <a:gd name="T49" fmla="*/ 136 h 166"/>
                  <a:gd name="T50" fmla="*/ 26 w 188"/>
                  <a:gd name="T51" fmla="*/ 126 h 166"/>
                  <a:gd name="T52" fmla="*/ 14 w 188"/>
                  <a:gd name="T53" fmla="*/ 162 h 166"/>
                  <a:gd name="T54" fmla="*/ 4 w 188"/>
                  <a:gd name="T55" fmla="*/ 166 h 166"/>
                  <a:gd name="T56" fmla="*/ 4 w 188"/>
                  <a:gd name="T57" fmla="*/ 128 h 166"/>
                  <a:gd name="T58" fmla="*/ 32 w 188"/>
                  <a:gd name="T59" fmla="*/ 104 h 166"/>
                  <a:gd name="T60" fmla="*/ 48 w 188"/>
                  <a:gd name="T61" fmla="*/ 76 h 166"/>
                  <a:gd name="T62" fmla="*/ 68 w 188"/>
                  <a:gd name="T63" fmla="*/ 82 h 166"/>
                  <a:gd name="T64" fmla="*/ 82 w 188"/>
                  <a:gd name="T65" fmla="*/ 84 h 166"/>
                  <a:gd name="T66" fmla="*/ 92 w 188"/>
                  <a:gd name="T67" fmla="*/ 62 h 166"/>
                  <a:gd name="T68" fmla="*/ 100 w 188"/>
                  <a:gd name="T69" fmla="*/ 56 h 166"/>
                  <a:gd name="T70" fmla="*/ 102 w 188"/>
                  <a:gd name="T71" fmla="*/ 42 h 166"/>
                  <a:gd name="T72" fmla="*/ 120 w 188"/>
                  <a:gd name="T73" fmla="*/ 34 h 166"/>
                  <a:gd name="T74" fmla="*/ 128 w 188"/>
                  <a:gd name="T75" fmla="*/ 28 h 166"/>
                  <a:gd name="T76" fmla="*/ 120 w 188"/>
                  <a:gd name="T77"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66">
                    <a:moveTo>
                      <a:pt x="120" y="4"/>
                    </a:moveTo>
                    <a:lnTo>
                      <a:pt x="120" y="2"/>
                    </a:lnTo>
                    <a:lnTo>
                      <a:pt x="126" y="0"/>
                    </a:lnTo>
                    <a:lnTo>
                      <a:pt x="134" y="4"/>
                    </a:lnTo>
                    <a:lnTo>
                      <a:pt x="138" y="4"/>
                    </a:lnTo>
                    <a:lnTo>
                      <a:pt x="148" y="10"/>
                    </a:lnTo>
                    <a:lnTo>
                      <a:pt x="152" y="8"/>
                    </a:lnTo>
                    <a:lnTo>
                      <a:pt x="162" y="20"/>
                    </a:lnTo>
                    <a:lnTo>
                      <a:pt x="164" y="22"/>
                    </a:lnTo>
                    <a:lnTo>
                      <a:pt x="158" y="34"/>
                    </a:lnTo>
                    <a:lnTo>
                      <a:pt x="166" y="36"/>
                    </a:lnTo>
                    <a:lnTo>
                      <a:pt x="170" y="44"/>
                    </a:lnTo>
                    <a:lnTo>
                      <a:pt x="172" y="46"/>
                    </a:lnTo>
                    <a:lnTo>
                      <a:pt x="176" y="58"/>
                    </a:lnTo>
                    <a:lnTo>
                      <a:pt x="184" y="70"/>
                    </a:lnTo>
                    <a:lnTo>
                      <a:pt x="188" y="84"/>
                    </a:lnTo>
                    <a:lnTo>
                      <a:pt x="184" y="90"/>
                    </a:lnTo>
                    <a:lnTo>
                      <a:pt x="180" y="94"/>
                    </a:lnTo>
                    <a:lnTo>
                      <a:pt x="178" y="100"/>
                    </a:lnTo>
                    <a:lnTo>
                      <a:pt x="182" y="118"/>
                    </a:lnTo>
                    <a:lnTo>
                      <a:pt x="176" y="116"/>
                    </a:lnTo>
                    <a:lnTo>
                      <a:pt x="172" y="108"/>
                    </a:lnTo>
                    <a:lnTo>
                      <a:pt x="168" y="98"/>
                    </a:lnTo>
                    <a:lnTo>
                      <a:pt x="158" y="88"/>
                    </a:lnTo>
                    <a:lnTo>
                      <a:pt x="156" y="88"/>
                    </a:lnTo>
                    <a:lnTo>
                      <a:pt x="146" y="114"/>
                    </a:lnTo>
                    <a:lnTo>
                      <a:pt x="146" y="124"/>
                    </a:lnTo>
                    <a:lnTo>
                      <a:pt x="152" y="126"/>
                    </a:lnTo>
                    <a:lnTo>
                      <a:pt x="160" y="140"/>
                    </a:lnTo>
                    <a:lnTo>
                      <a:pt x="160" y="144"/>
                    </a:lnTo>
                    <a:lnTo>
                      <a:pt x="154" y="162"/>
                    </a:lnTo>
                    <a:lnTo>
                      <a:pt x="148" y="162"/>
                    </a:lnTo>
                    <a:lnTo>
                      <a:pt x="144" y="150"/>
                    </a:lnTo>
                    <a:lnTo>
                      <a:pt x="138" y="156"/>
                    </a:lnTo>
                    <a:lnTo>
                      <a:pt x="130" y="160"/>
                    </a:lnTo>
                    <a:lnTo>
                      <a:pt x="106" y="160"/>
                    </a:lnTo>
                    <a:lnTo>
                      <a:pt x="94" y="152"/>
                    </a:lnTo>
                    <a:lnTo>
                      <a:pt x="86" y="132"/>
                    </a:lnTo>
                    <a:lnTo>
                      <a:pt x="92" y="116"/>
                    </a:lnTo>
                    <a:lnTo>
                      <a:pt x="90" y="112"/>
                    </a:lnTo>
                    <a:lnTo>
                      <a:pt x="74" y="104"/>
                    </a:lnTo>
                    <a:lnTo>
                      <a:pt x="66" y="104"/>
                    </a:lnTo>
                    <a:lnTo>
                      <a:pt x="62" y="106"/>
                    </a:lnTo>
                    <a:lnTo>
                      <a:pt x="58" y="120"/>
                    </a:lnTo>
                    <a:lnTo>
                      <a:pt x="58" y="124"/>
                    </a:lnTo>
                    <a:lnTo>
                      <a:pt x="52" y="122"/>
                    </a:lnTo>
                    <a:lnTo>
                      <a:pt x="48" y="124"/>
                    </a:lnTo>
                    <a:lnTo>
                      <a:pt x="48" y="120"/>
                    </a:lnTo>
                    <a:lnTo>
                      <a:pt x="40" y="132"/>
                    </a:lnTo>
                    <a:lnTo>
                      <a:pt x="38" y="136"/>
                    </a:lnTo>
                    <a:lnTo>
                      <a:pt x="32" y="124"/>
                    </a:lnTo>
                    <a:lnTo>
                      <a:pt x="26" y="126"/>
                    </a:lnTo>
                    <a:lnTo>
                      <a:pt x="20" y="138"/>
                    </a:lnTo>
                    <a:lnTo>
                      <a:pt x="14" y="162"/>
                    </a:lnTo>
                    <a:lnTo>
                      <a:pt x="10" y="166"/>
                    </a:lnTo>
                    <a:lnTo>
                      <a:pt x="4" y="166"/>
                    </a:lnTo>
                    <a:lnTo>
                      <a:pt x="0" y="160"/>
                    </a:lnTo>
                    <a:lnTo>
                      <a:pt x="4" y="128"/>
                    </a:lnTo>
                    <a:lnTo>
                      <a:pt x="10" y="118"/>
                    </a:lnTo>
                    <a:lnTo>
                      <a:pt x="32" y="104"/>
                    </a:lnTo>
                    <a:lnTo>
                      <a:pt x="34" y="96"/>
                    </a:lnTo>
                    <a:lnTo>
                      <a:pt x="48" y="76"/>
                    </a:lnTo>
                    <a:lnTo>
                      <a:pt x="64" y="76"/>
                    </a:lnTo>
                    <a:lnTo>
                      <a:pt x="68" y="82"/>
                    </a:lnTo>
                    <a:lnTo>
                      <a:pt x="66" y="96"/>
                    </a:lnTo>
                    <a:lnTo>
                      <a:pt x="82" y="84"/>
                    </a:lnTo>
                    <a:lnTo>
                      <a:pt x="84" y="70"/>
                    </a:lnTo>
                    <a:lnTo>
                      <a:pt x="92" y="62"/>
                    </a:lnTo>
                    <a:lnTo>
                      <a:pt x="98" y="62"/>
                    </a:lnTo>
                    <a:lnTo>
                      <a:pt x="100" y="56"/>
                    </a:lnTo>
                    <a:lnTo>
                      <a:pt x="100" y="48"/>
                    </a:lnTo>
                    <a:lnTo>
                      <a:pt x="102" y="42"/>
                    </a:lnTo>
                    <a:lnTo>
                      <a:pt x="112" y="42"/>
                    </a:lnTo>
                    <a:lnTo>
                      <a:pt x="120" y="34"/>
                    </a:lnTo>
                    <a:lnTo>
                      <a:pt x="124" y="34"/>
                    </a:lnTo>
                    <a:lnTo>
                      <a:pt x="128" y="28"/>
                    </a:lnTo>
                    <a:lnTo>
                      <a:pt x="126" y="18"/>
                    </a:lnTo>
                    <a:lnTo>
                      <a:pt x="120"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28" name="Freeform 279"/>
              <p:cNvSpPr>
                <a:spLocks/>
              </p:cNvSpPr>
              <p:nvPr/>
            </p:nvSpPr>
            <p:spPr bwMode="auto">
              <a:xfrm>
                <a:off x="3991" y="3115"/>
                <a:ext cx="188" cy="166"/>
              </a:xfrm>
              <a:custGeom>
                <a:avLst/>
                <a:gdLst>
                  <a:gd name="T0" fmla="*/ 120 w 188"/>
                  <a:gd name="T1" fmla="*/ 2 h 166"/>
                  <a:gd name="T2" fmla="*/ 134 w 188"/>
                  <a:gd name="T3" fmla="*/ 4 h 166"/>
                  <a:gd name="T4" fmla="*/ 148 w 188"/>
                  <a:gd name="T5" fmla="*/ 10 h 166"/>
                  <a:gd name="T6" fmla="*/ 162 w 188"/>
                  <a:gd name="T7" fmla="*/ 20 h 166"/>
                  <a:gd name="T8" fmla="*/ 158 w 188"/>
                  <a:gd name="T9" fmla="*/ 34 h 166"/>
                  <a:gd name="T10" fmla="*/ 170 w 188"/>
                  <a:gd name="T11" fmla="*/ 44 h 166"/>
                  <a:gd name="T12" fmla="*/ 176 w 188"/>
                  <a:gd name="T13" fmla="*/ 58 h 166"/>
                  <a:gd name="T14" fmla="*/ 188 w 188"/>
                  <a:gd name="T15" fmla="*/ 84 h 166"/>
                  <a:gd name="T16" fmla="*/ 180 w 188"/>
                  <a:gd name="T17" fmla="*/ 94 h 166"/>
                  <a:gd name="T18" fmla="*/ 182 w 188"/>
                  <a:gd name="T19" fmla="*/ 118 h 166"/>
                  <a:gd name="T20" fmla="*/ 172 w 188"/>
                  <a:gd name="T21" fmla="*/ 108 h 166"/>
                  <a:gd name="T22" fmla="*/ 158 w 188"/>
                  <a:gd name="T23" fmla="*/ 88 h 166"/>
                  <a:gd name="T24" fmla="*/ 146 w 188"/>
                  <a:gd name="T25" fmla="*/ 114 h 166"/>
                  <a:gd name="T26" fmla="*/ 152 w 188"/>
                  <a:gd name="T27" fmla="*/ 126 h 166"/>
                  <a:gd name="T28" fmla="*/ 160 w 188"/>
                  <a:gd name="T29" fmla="*/ 144 h 166"/>
                  <a:gd name="T30" fmla="*/ 148 w 188"/>
                  <a:gd name="T31" fmla="*/ 162 h 166"/>
                  <a:gd name="T32" fmla="*/ 138 w 188"/>
                  <a:gd name="T33" fmla="*/ 156 h 166"/>
                  <a:gd name="T34" fmla="*/ 106 w 188"/>
                  <a:gd name="T35" fmla="*/ 160 h 166"/>
                  <a:gd name="T36" fmla="*/ 86 w 188"/>
                  <a:gd name="T37" fmla="*/ 132 h 166"/>
                  <a:gd name="T38" fmla="*/ 90 w 188"/>
                  <a:gd name="T39" fmla="*/ 112 h 166"/>
                  <a:gd name="T40" fmla="*/ 66 w 188"/>
                  <a:gd name="T41" fmla="*/ 104 h 166"/>
                  <a:gd name="T42" fmla="*/ 58 w 188"/>
                  <a:gd name="T43" fmla="*/ 120 h 166"/>
                  <a:gd name="T44" fmla="*/ 52 w 188"/>
                  <a:gd name="T45" fmla="*/ 122 h 166"/>
                  <a:gd name="T46" fmla="*/ 48 w 188"/>
                  <a:gd name="T47" fmla="*/ 120 h 166"/>
                  <a:gd name="T48" fmla="*/ 38 w 188"/>
                  <a:gd name="T49" fmla="*/ 136 h 166"/>
                  <a:gd name="T50" fmla="*/ 26 w 188"/>
                  <a:gd name="T51" fmla="*/ 126 h 166"/>
                  <a:gd name="T52" fmla="*/ 14 w 188"/>
                  <a:gd name="T53" fmla="*/ 162 h 166"/>
                  <a:gd name="T54" fmla="*/ 4 w 188"/>
                  <a:gd name="T55" fmla="*/ 166 h 166"/>
                  <a:gd name="T56" fmla="*/ 4 w 188"/>
                  <a:gd name="T57" fmla="*/ 128 h 166"/>
                  <a:gd name="T58" fmla="*/ 32 w 188"/>
                  <a:gd name="T59" fmla="*/ 104 h 166"/>
                  <a:gd name="T60" fmla="*/ 48 w 188"/>
                  <a:gd name="T61" fmla="*/ 76 h 166"/>
                  <a:gd name="T62" fmla="*/ 68 w 188"/>
                  <a:gd name="T63" fmla="*/ 82 h 166"/>
                  <a:gd name="T64" fmla="*/ 82 w 188"/>
                  <a:gd name="T65" fmla="*/ 84 h 166"/>
                  <a:gd name="T66" fmla="*/ 92 w 188"/>
                  <a:gd name="T67" fmla="*/ 62 h 166"/>
                  <a:gd name="T68" fmla="*/ 100 w 188"/>
                  <a:gd name="T69" fmla="*/ 56 h 166"/>
                  <a:gd name="T70" fmla="*/ 102 w 188"/>
                  <a:gd name="T71" fmla="*/ 42 h 166"/>
                  <a:gd name="T72" fmla="*/ 120 w 188"/>
                  <a:gd name="T73" fmla="*/ 34 h 166"/>
                  <a:gd name="T74" fmla="*/ 128 w 188"/>
                  <a:gd name="T75" fmla="*/ 28 h 166"/>
                  <a:gd name="T76" fmla="*/ 120 w 188"/>
                  <a:gd name="T77"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66">
                    <a:moveTo>
                      <a:pt x="120" y="4"/>
                    </a:moveTo>
                    <a:lnTo>
                      <a:pt x="120" y="2"/>
                    </a:lnTo>
                    <a:lnTo>
                      <a:pt x="126" y="0"/>
                    </a:lnTo>
                    <a:lnTo>
                      <a:pt x="134" y="4"/>
                    </a:lnTo>
                    <a:lnTo>
                      <a:pt x="138" y="4"/>
                    </a:lnTo>
                    <a:lnTo>
                      <a:pt x="148" y="10"/>
                    </a:lnTo>
                    <a:lnTo>
                      <a:pt x="152" y="8"/>
                    </a:lnTo>
                    <a:lnTo>
                      <a:pt x="162" y="20"/>
                    </a:lnTo>
                    <a:lnTo>
                      <a:pt x="164" y="22"/>
                    </a:lnTo>
                    <a:lnTo>
                      <a:pt x="158" y="34"/>
                    </a:lnTo>
                    <a:lnTo>
                      <a:pt x="166" y="36"/>
                    </a:lnTo>
                    <a:lnTo>
                      <a:pt x="170" y="44"/>
                    </a:lnTo>
                    <a:lnTo>
                      <a:pt x="172" y="46"/>
                    </a:lnTo>
                    <a:lnTo>
                      <a:pt x="176" y="58"/>
                    </a:lnTo>
                    <a:lnTo>
                      <a:pt x="184" y="70"/>
                    </a:lnTo>
                    <a:lnTo>
                      <a:pt x="188" y="84"/>
                    </a:lnTo>
                    <a:lnTo>
                      <a:pt x="184" y="90"/>
                    </a:lnTo>
                    <a:lnTo>
                      <a:pt x="180" y="94"/>
                    </a:lnTo>
                    <a:lnTo>
                      <a:pt x="178" y="100"/>
                    </a:lnTo>
                    <a:lnTo>
                      <a:pt x="182" y="118"/>
                    </a:lnTo>
                    <a:lnTo>
                      <a:pt x="176" y="116"/>
                    </a:lnTo>
                    <a:lnTo>
                      <a:pt x="172" y="108"/>
                    </a:lnTo>
                    <a:lnTo>
                      <a:pt x="168" y="98"/>
                    </a:lnTo>
                    <a:lnTo>
                      <a:pt x="158" y="88"/>
                    </a:lnTo>
                    <a:lnTo>
                      <a:pt x="156" y="88"/>
                    </a:lnTo>
                    <a:lnTo>
                      <a:pt x="146" y="114"/>
                    </a:lnTo>
                    <a:lnTo>
                      <a:pt x="146" y="124"/>
                    </a:lnTo>
                    <a:lnTo>
                      <a:pt x="152" y="126"/>
                    </a:lnTo>
                    <a:lnTo>
                      <a:pt x="160" y="140"/>
                    </a:lnTo>
                    <a:lnTo>
                      <a:pt x="160" y="144"/>
                    </a:lnTo>
                    <a:lnTo>
                      <a:pt x="154" y="162"/>
                    </a:lnTo>
                    <a:lnTo>
                      <a:pt x="148" y="162"/>
                    </a:lnTo>
                    <a:lnTo>
                      <a:pt x="144" y="150"/>
                    </a:lnTo>
                    <a:lnTo>
                      <a:pt x="138" y="156"/>
                    </a:lnTo>
                    <a:lnTo>
                      <a:pt x="130" y="160"/>
                    </a:lnTo>
                    <a:lnTo>
                      <a:pt x="106" y="160"/>
                    </a:lnTo>
                    <a:lnTo>
                      <a:pt x="94" y="152"/>
                    </a:lnTo>
                    <a:lnTo>
                      <a:pt x="86" y="132"/>
                    </a:lnTo>
                    <a:lnTo>
                      <a:pt x="92" y="116"/>
                    </a:lnTo>
                    <a:lnTo>
                      <a:pt x="90" y="112"/>
                    </a:lnTo>
                    <a:lnTo>
                      <a:pt x="74" y="104"/>
                    </a:lnTo>
                    <a:lnTo>
                      <a:pt x="66" y="104"/>
                    </a:lnTo>
                    <a:lnTo>
                      <a:pt x="62" y="106"/>
                    </a:lnTo>
                    <a:lnTo>
                      <a:pt x="58" y="120"/>
                    </a:lnTo>
                    <a:lnTo>
                      <a:pt x="58" y="124"/>
                    </a:lnTo>
                    <a:lnTo>
                      <a:pt x="52" y="122"/>
                    </a:lnTo>
                    <a:lnTo>
                      <a:pt x="48" y="124"/>
                    </a:lnTo>
                    <a:lnTo>
                      <a:pt x="48" y="120"/>
                    </a:lnTo>
                    <a:lnTo>
                      <a:pt x="40" y="132"/>
                    </a:lnTo>
                    <a:lnTo>
                      <a:pt x="38" y="136"/>
                    </a:lnTo>
                    <a:lnTo>
                      <a:pt x="32" y="124"/>
                    </a:lnTo>
                    <a:lnTo>
                      <a:pt x="26" y="126"/>
                    </a:lnTo>
                    <a:lnTo>
                      <a:pt x="20" y="138"/>
                    </a:lnTo>
                    <a:lnTo>
                      <a:pt x="14" y="162"/>
                    </a:lnTo>
                    <a:lnTo>
                      <a:pt x="10" y="166"/>
                    </a:lnTo>
                    <a:lnTo>
                      <a:pt x="4" y="166"/>
                    </a:lnTo>
                    <a:lnTo>
                      <a:pt x="0" y="160"/>
                    </a:lnTo>
                    <a:lnTo>
                      <a:pt x="4" y="128"/>
                    </a:lnTo>
                    <a:lnTo>
                      <a:pt x="10" y="118"/>
                    </a:lnTo>
                    <a:lnTo>
                      <a:pt x="32" y="104"/>
                    </a:lnTo>
                    <a:lnTo>
                      <a:pt x="34" y="96"/>
                    </a:lnTo>
                    <a:lnTo>
                      <a:pt x="48" y="76"/>
                    </a:lnTo>
                    <a:lnTo>
                      <a:pt x="64" y="76"/>
                    </a:lnTo>
                    <a:lnTo>
                      <a:pt x="68" y="82"/>
                    </a:lnTo>
                    <a:lnTo>
                      <a:pt x="66" y="96"/>
                    </a:lnTo>
                    <a:lnTo>
                      <a:pt x="82" y="84"/>
                    </a:lnTo>
                    <a:lnTo>
                      <a:pt x="84" y="70"/>
                    </a:lnTo>
                    <a:lnTo>
                      <a:pt x="92" y="62"/>
                    </a:lnTo>
                    <a:lnTo>
                      <a:pt x="98" y="62"/>
                    </a:lnTo>
                    <a:lnTo>
                      <a:pt x="100" y="56"/>
                    </a:lnTo>
                    <a:lnTo>
                      <a:pt x="100" y="48"/>
                    </a:lnTo>
                    <a:lnTo>
                      <a:pt x="102" y="42"/>
                    </a:lnTo>
                    <a:lnTo>
                      <a:pt x="112" y="42"/>
                    </a:lnTo>
                    <a:lnTo>
                      <a:pt x="120" y="34"/>
                    </a:lnTo>
                    <a:lnTo>
                      <a:pt x="124" y="34"/>
                    </a:lnTo>
                    <a:lnTo>
                      <a:pt x="128" y="28"/>
                    </a:lnTo>
                    <a:lnTo>
                      <a:pt x="126" y="18"/>
                    </a:lnTo>
                    <a:lnTo>
                      <a:pt x="120"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29" name="Freeform 280"/>
              <p:cNvSpPr>
                <a:spLocks/>
              </p:cNvSpPr>
              <p:nvPr/>
            </p:nvSpPr>
            <p:spPr bwMode="auto">
              <a:xfrm>
                <a:off x="3991" y="3289"/>
                <a:ext cx="18" cy="12"/>
              </a:xfrm>
              <a:custGeom>
                <a:avLst/>
                <a:gdLst>
                  <a:gd name="T0" fmla="*/ 0 w 18"/>
                  <a:gd name="T1" fmla="*/ 6 h 12"/>
                  <a:gd name="T2" fmla="*/ 2 w 18"/>
                  <a:gd name="T3" fmla="*/ 2 h 12"/>
                  <a:gd name="T4" fmla="*/ 8 w 18"/>
                  <a:gd name="T5" fmla="*/ 0 h 12"/>
                  <a:gd name="T6" fmla="*/ 16 w 18"/>
                  <a:gd name="T7" fmla="*/ 0 h 12"/>
                  <a:gd name="T8" fmla="*/ 18 w 18"/>
                  <a:gd name="T9" fmla="*/ 0 h 12"/>
                  <a:gd name="T10" fmla="*/ 14 w 18"/>
                  <a:gd name="T11" fmla="*/ 8 h 12"/>
                  <a:gd name="T12" fmla="*/ 8 w 18"/>
                  <a:gd name="T13" fmla="*/ 12 h 12"/>
                  <a:gd name="T14" fmla="*/ 0 w 18"/>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2">
                    <a:moveTo>
                      <a:pt x="0" y="6"/>
                    </a:moveTo>
                    <a:lnTo>
                      <a:pt x="2" y="2"/>
                    </a:lnTo>
                    <a:lnTo>
                      <a:pt x="8" y="0"/>
                    </a:lnTo>
                    <a:lnTo>
                      <a:pt x="16" y="0"/>
                    </a:lnTo>
                    <a:lnTo>
                      <a:pt x="18" y="0"/>
                    </a:lnTo>
                    <a:lnTo>
                      <a:pt x="14" y="8"/>
                    </a:lnTo>
                    <a:lnTo>
                      <a:pt x="8" y="12"/>
                    </a:lnTo>
                    <a:lnTo>
                      <a:pt x="0" y="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30" name="Freeform 281"/>
              <p:cNvSpPr>
                <a:spLocks/>
              </p:cNvSpPr>
              <p:nvPr/>
            </p:nvSpPr>
            <p:spPr bwMode="auto">
              <a:xfrm>
                <a:off x="3991" y="3289"/>
                <a:ext cx="18" cy="12"/>
              </a:xfrm>
              <a:custGeom>
                <a:avLst/>
                <a:gdLst>
                  <a:gd name="T0" fmla="*/ 0 w 18"/>
                  <a:gd name="T1" fmla="*/ 6 h 12"/>
                  <a:gd name="T2" fmla="*/ 2 w 18"/>
                  <a:gd name="T3" fmla="*/ 2 h 12"/>
                  <a:gd name="T4" fmla="*/ 8 w 18"/>
                  <a:gd name="T5" fmla="*/ 0 h 12"/>
                  <a:gd name="T6" fmla="*/ 16 w 18"/>
                  <a:gd name="T7" fmla="*/ 0 h 12"/>
                  <a:gd name="T8" fmla="*/ 18 w 18"/>
                  <a:gd name="T9" fmla="*/ 0 h 12"/>
                  <a:gd name="T10" fmla="*/ 14 w 18"/>
                  <a:gd name="T11" fmla="*/ 8 h 12"/>
                  <a:gd name="T12" fmla="*/ 8 w 18"/>
                  <a:gd name="T13" fmla="*/ 12 h 12"/>
                  <a:gd name="T14" fmla="*/ 0 w 18"/>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2">
                    <a:moveTo>
                      <a:pt x="0" y="6"/>
                    </a:moveTo>
                    <a:lnTo>
                      <a:pt x="2" y="2"/>
                    </a:lnTo>
                    <a:lnTo>
                      <a:pt x="8" y="0"/>
                    </a:lnTo>
                    <a:lnTo>
                      <a:pt x="16" y="0"/>
                    </a:lnTo>
                    <a:lnTo>
                      <a:pt x="18" y="0"/>
                    </a:lnTo>
                    <a:lnTo>
                      <a:pt x="14" y="8"/>
                    </a:lnTo>
                    <a:lnTo>
                      <a:pt x="8" y="12"/>
                    </a:lnTo>
                    <a:lnTo>
                      <a:pt x="0" y="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31" name="Freeform 282"/>
              <p:cNvSpPr>
                <a:spLocks/>
              </p:cNvSpPr>
              <p:nvPr/>
            </p:nvSpPr>
            <p:spPr bwMode="auto">
              <a:xfrm>
                <a:off x="3959" y="3327"/>
                <a:ext cx="18" cy="10"/>
              </a:xfrm>
              <a:custGeom>
                <a:avLst/>
                <a:gdLst>
                  <a:gd name="T0" fmla="*/ 0 w 18"/>
                  <a:gd name="T1" fmla="*/ 10 h 10"/>
                  <a:gd name="T2" fmla="*/ 0 w 18"/>
                  <a:gd name="T3" fmla="*/ 8 h 10"/>
                  <a:gd name="T4" fmla="*/ 0 w 18"/>
                  <a:gd name="T5" fmla="*/ 4 h 10"/>
                  <a:gd name="T6" fmla="*/ 6 w 18"/>
                  <a:gd name="T7" fmla="*/ 2 h 10"/>
                  <a:gd name="T8" fmla="*/ 18 w 18"/>
                  <a:gd name="T9" fmla="*/ 0 h 10"/>
                  <a:gd name="T10" fmla="*/ 16 w 18"/>
                  <a:gd name="T11" fmla="*/ 6 h 10"/>
                  <a:gd name="T12" fmla="*/ 8 w 18"/>
                  <a:gd name="T13" fmla="*/ 6 h 10"/>
                  <a:gd name="T14" fmla="*/ 4 w 18"/>
                  <a:gd name="T15" fmla="*/ 10 h 10"/>
                  <a:gd name="T16" fmla="*/ 0 w 1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0">
                    <a:moveTo>
                      <a:pt x="0" y="10"/>
                    </a:moveTo>
                    <a:lnTo>
                      <a:pt x="0" y="8"/>
                    </a:lnTo>
                    <a:lnTo>
                      <a:pt x="0" y="4"/>
                    </a:lnTo>
                    <a:lnTo>
                      <a:pt x="6" y="2"/>
                    </a:lnTo>
                    <a:lnTo>
                      <a:pt x="18" y="0"/>
                    </a:lnTo>
                    <a:lnTo>
                      <a:pt x="16" y="6"/>
                    </a:lnTo>
                    <a:lnTo>
                      <a:pt x="8" y="6"/>
                    </a:lnTo>
                    <a:lnTo>
                      <a:pt x="4" y="10"/>
                    </a:lnTo>
                    <a:lnTo>
                      <a:pt x="0" y="1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32" name="Freeform 283"/>
              <p:cNvSpPr>
                <a:spLocks/>
              </p:cNvSpPr>
              <p:nvPr/>
            </p:nvSpPr>
            <p:spPr bwMode="auto">
              <a:xfrm>
                <a:off x="3959" y="3327"/>
                <a:ext cx="18" cy="10"/>
              </a:xfrm>
              <a:custGeom>
                <a:avLst/>
                <a:gdLst>
                  <a:gd name="T0" fmla="*/ 0 w 18"/>
                  <a:gd name="T1" fmla="*/ 10 h 10"/>
                  <a:gd name="T2" fmla="*/ 0 w 18"/>
                  <a:gd name="T3" fmla="*/ 8 h 10"/>
                  <a:gd name="T4" fmla="*/ 0 w 18"/>
                  <a:gd name="T5" fmla="*/ 4 h 10"/>
                  <a:gd name="T6" fmla="*/ 6 w 18"/>
                  <a:gd name="T7" fmla="*/ 2 h 10"/>
                  <a:gd name="T8" fmla="*/ 18 w 18"/>
                  <a:gd name="T9" fmla="*/ 0 h 10"/>
                  <a:gd name="T10" fmla="*/ 16 w 18"/>
                  <a:gd name="T11" fmla="*/ 6 h 10"/>
                  <a:gd name="T12" fmla="*/ 8 w 18"/>
                  <a:gd name="T13" fmla="*/ 6 h 10"/>
                  <a:gd name="T14" fmla="*/ 4 w 18"/>
                  <a:gd name="T15" fmla="*/ 10 h 10"/>
                  <a:gd name="T16" fmla="*/ 0 w 1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0">
                    <a:moveTo>
                      <a:pt x="0" y="10"/>
                    </a:moveTo>
                    <a:lnTo>
                      <a:pt x="0" y="8"/>
                    </a:lnTo>
                    <a:lnTo>
                      <a:pt x="0" y="4"/>
                    </a:lnTo>
                    <a:lnTo>
                      <a:pt x="6" y="2"/>
                    </a:lnTo>
                    <a:lnTo>
                      <a:pt x="18" y="0"/>
                    </a:lnTo>
                    <a:lnTo>
                      <a:pt x="16" y="6"/>
                    </a:lnTo>
                    <a:lnTo>
                      <a:pt x="8" y="6"/>
                    </a:lnTo>
                    <a:lnTo>
                      <a:pt x="4" y="10"/>
                    </a:lnTo>
                    <a:lnTo>
                      <a:pt x="0" y="1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33" name="Freeform 284"/>
              <p:cNvSpPr>
                <a:spLocks/>
              </p:cNvSpPr>
              <p:nvPr/>
            </p:nvSpPr>
            <p:spPr bwMode="auto">
              <a:xfrm>
                <a:off x="3917" y="3373"/>
                <a:ext cx="16" cy="14"/>
              </a:xfrm>
              <a:custGeom>
                <a:avLst/>
                <a:gdLst>
                  <a:gd name="T0" fmla="*/ 2 w 16"/>
                  <a:gd name="T1" fmla="*/ 14 h 14"/>
                  <a:gd name="T2" fmla="*/ 0 w 16"/>
                  <a:gd name="T3" fmla="*/ 12 h 14"/>
                  <a:gd name="T4" fmla="*/ 2 w 16"/>
                  <a:gd name="T5" fmla="*/ 8 h 14"/>
                  <a:gd name="T6" fmla="*/ 10 w 16"/>
                  <a:gd name="T7" fmla="*/ 0 h 14"/>
                  <a:gd name="T8" fmla="*/ 14 w 16"/>
                  <a:gd name="T9" fmla="*/ 0 h 14"/>
                  <a:gd name="T10" fmla="*/ 16 w 16"/>
                  <a:gd name="T11" fmla="*/ 2 h 14"/>
                  <a:gd name="T12" fmla="*/ 2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14"/>
                    </a:moveTo>
                    <a:lnTo>
                      <a:pt x="0" y="12"/>
                    </a:lnTo>
                    <a:lnTo>
                      <a:pt x="2" y="8"/>
                    </a:lnTo>
                    <a:lnTo>
                      <a:pt x="10" y="0"/>
                    </a:lnTo>
                    <a:lnTo>
                      <a:pt x="14" y="0"/>
                    </a:lnTo>
                    <a:lnTo>
                      <a:pt x="16" y="2"/>
                    </a:lnTo>
                    <a:lnTo>
                      <a:pt x="2" y="1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34" name="Freeform 285"/>
              <p:cNvSpPr>
                <a:spLocks/>
              </p:cNvSpPr>
              <p:nvPr/>
            </p:nvSpPr>
            <p:spPr bwMode="auto">
              <a:xfrm>
                <a:off x="3917" y="3373"/>
                <a:ext cx="16" cy="14"/>
              </a:xfrm>
              <a:custGeom>
                <a:avLst/>
                <a:gdLst>
                  <a:gd name="T0" fmla="*/ 2 w 16"/>
                  <a:gd name="T1" fmla="*/ 14 h 14"/>
                  <a:gd name="T2" fmla="*/ 0 w 16"/>
                  <a:gd name="T3" fmla="*/ 12 h 14"/>
                  <a:gd name="T4" fmla="*/ 2 w 16"/>
                  <a:gd name="T5" fmla="*/ 8 h 14"/>
                  <a:gd name="T6" fmla="*/ 10 w 16"/>
                  <a:gd name="T7" fmla="*/ 0 h 14"/>
                  <a:gd name="T8" fmla="*/ 14 w 16"/>
                  <a:gd name="T9" fmla="*/ 0 h 14"/>
                  <a:gd name="T10" fmla="*/ 16 w 16"/>
                  <a:gd name="T11" fmla="*/ 2 h 14"/>
                  <a:gd name="T12" fmla="*/ 2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14"/>
                    </a:moveTo>
                    <a:lnTo>
                      <a:pt x="0" y="12"/>
                    </a:lnTo>
                    <a:lnTo>
                      <a:pt x="2" y="8"/>
                    </a:lnTo>
                    <a:lnTo>
                      <a:pt x="10" y="0"/>
                    </a:lnTo>
                    <a:lnTo>
                      <a:pt x="14" y="0"/>
                    </a:lnTo>
                    <a:lnTo>
                      <a:pt x="16" y="2"/>
                    </a:lnTo>
                    <a:lnTo>
                      <a:pt x="2" y="1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35" name="Freeform 286"/>
              <p:cNvSpPr>
                <a:spLocks/>
              </p:cNvSpPr>
              <p:nvPr/>
            </p:nvSpPr>
            <p:spPr bwMode="auto">
              <a:xfrm>
                <a:off x="4491" y="3013"/>
                <a:ext cx="6" cy="16"/>
              </a:xfrm>
              <a:custGeom>
                <a:avLst/>
                <a:gdLst>
                  <a:gd name="T0" fmla="*/ 2 w 6"/>
                  <a:gd name="T1" fmla="*/ 2 h 16"/>
                  <a:gd name="T2" fmla="*/ 2 w 6"/>
                  <a:gd name="T3" fmla="*/ 0 h 16"/>
                  <a:gd name="T4" fmla="*/ 6 w 6"/>
                  <a:gd name="T5" fmla="*/ 12 h 16"/>
                  <a:gd name="T6" fmla="*/ 2 w 6"/>
                  <a:gd name="T7" fmla="*/ 16 h 16"/>
                  <a:gd name="T8" fmla="*/ 0 w 6"/>
                  <a:gd name="T9" fmla="*/ 12 h 16"/>
                  <a:gd name="T10" fmla="*/ 0 w 6"/>
                  <a:gd name="T11" fmla="*/ 8 h 16"/>
                  <a:gd name="T12" fmla="*/ 0 w 6"/>
                  <a:gd name="T13" fmla="*/ 6 h 16"/>
                  <a:gd name="T14" fmla="*/ 2 w 6"/>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2" y="2"/>
                    </a:moveTo>
                    <a:lnTo>
                      <a:pt x="2" y="0"/>
                    </a:lnTo>
                    <a:lnTo>
                      <a:pt x="6" y="12"/>
                    </a:lnTo>
                    <a:lnTo>
                      <a:pt x="2" y="16"/>
                    </a:lnTo>
                    <a:lnTo>
                      <a:pt x="0" y="12"/>
                    </a:lnTo>
                    <a:lnTo>
                      <a:pt x="0" y="8"/>
                    </a:lnTo>
                    <a:lnTo>
                      <a:pt x="0" y="6"/>
                    </a:lnTo>
                    <a:lnTo>
                      <a:pt x="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36" name="Freeform 287"/>
              <p:cNvSpPr>
                <a:spLocks/>
              </p:cNvSpPr>
              <p:nvPr/>
            </p:nvSpPr>
            <p:spPr bwMode="auto">
              <a:xfrm>
                <a:off x="4491" y="3013"/>
                <a:ext cx="6" cy="16"/>
              </a:xfrm>
              <a:custGeom>
                <a:avLst/>
                <a:gdLst>
                  <a:gd name="T0" fmla="*/ 2 w 6"/>
                  <a:gd name="T1" fmla="*/ 2 h 16"/>
                  <a:gd name="T2" fmla="*/ 2 w 6"/>
                  <a:gd name="T3" fmla="*/ 0 h 16"/>
                  <a:gd name="T4" fmla="*/ 6 w 6"/>
                  <a:gd name="T5" fmla="*/ 12 h 16"/>
                  <a:gd name="T6" fmla="*/ 2 w 6"/>
                  <a:gd name="T7" fmla="*/ 16 h 16"/>
                  <a:gd name="T8" fmla="*/ 0 w 6"/>
                  <a:gd name="T9" fmla="*/ 12 h 16"/>
                  <a:gd name="T10" fmla="*/ 0 w 6"/>
                  <a:gd name="T11" fmla="*/ 8 h 16"/>
                  <a:gd name="T12" fmla="*/ 0 w 6"/>
                  <a:gd name="T13" fmla="*/ 6 h 16"/>
                  <a:gd name="T14" fmla="*/ 2 w 6"/>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2" y="2"/>
                    </a:moveTo>
                    <a:lnTo>
                      <a:pt x="2" y="0"/>
                    </a:lnTo>
                    <a:lnTo>
                      <a:pt x="6" y="12"/>
                    </a:lnTo>
                    <a:lnTo>
                      <a:pt x="2" y="16"/>
                    </a:lnTo>
                    <a:lnTo>
                      <a:pt x="0" y="12"/>
                    </a:lnTo>
                    <a:lnTo>
                      <a:pt x="0" y="8"/>
                    </a:lnTo>
                    <a:lnTo>
                      <a:pt x="0" y="6"/>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37" name="Freeform 288"/>
              <p:cNvSpPr>
                <a:spLocks/>
              </p:cNvSpPr>
              <p:nvPr/>
            </p:nvSpPr>
            <p:spPr bwMode="auto">
              <a:xfrm>
                <a:off x="4601" y="2855"/>
                <a:ext cx="2" cy="4"/>
              </a:xfrm>
              <a:custGeom>
                <a:avLst/>
                <a:gdLst>
                  <a:gd name="T0" fmla="*/ 0 w 2"/>
                  <a:gd name="T1" fmla="*/ 0 h 4"/>
                  <a:gd name="T2" fmla="*/ 2 w 2"/>
                  <a:gd name="T3" fmla="*/ 0 h 4"/>
                  <a:gd name="T4" fmla="*/ 2 w 2"/>
                  <a:gd name="T5" fmla="*/ 2 h 4"/>
                  <a:gd name="T6" fmla="*/ 2 w 2"/>
                  <a:gd name="T7" fmla="*/ 4 h 4"/>
                  <a:gd name="T8" fmla="*/ 0 w 2"/>
                  <a:gd name="T9" fmla="*/ 2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2" y="0"/>
                    </a:lnTo>
                    <a:lnTo>
                      <a:pt x="2" y="2"/>
                    </a:lnTo>
                    <a:lnTo>
                      <a:pt x="2" y="4"/>
                    </a:lnTo>
                    <a:lnTo>
                      <a:pt x="0" y="2"/>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38" name="Freeform 289"/>
              <p:cNvSpPr>
                <a:spLocks/>
              </p:cNvSpPr>
              <p:nvPr/>
            </p:nvSpPr>
            <p:spPr bwMode="auto">
              <a:xfrm>
                <a:off x="4601" y="2855"/>
                <a:ext cx="2" cy="4"/>
              </a:xfrm>
              <a:custGeom>
                <a:avLst/>
                <a:gdLst>
                  <a:gd name="T0" fmla="*/ 0 w 2"/>
                  <a:gd name="T1" fmla="*/ 0 h 4"/>
                  <a:gd name="T2" fmla="*/ 2 w 2"/>
                  <a:gd name="T3" fmla="*/ 0 h 4"/>
                  <a:gd name="T4" fmla="*/ 2 w 2"/>
                  <a:gd name="T5" fmla="*/ 2 h 4"/>
                  <a:gd name="T6" fmla="*/ 2 w 2"/>
                  <a:gd name="T7" fmla="*/ 4 h 4"/>
                  <a:gd name="T8" fmla="*/ 0 w 2"/>
                  <a:gd name="T9" fmla="*/ 2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2" y="0"/>
                    </a:lnTo>
                    <a:lnTo>
                      <a:pt x="2" y="2"/>
                    </a:lnTo>
                    <a:lnTo>
                      <a:pt x="2" y="4"/>
                    </a:lnTo>
                    <a:lnTo>
                      <a:pt x="0" y="2"/>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39" name="Freeform 290"/>
              <p:cNvSpPr>
                <a:spLocks/>
              </p:cNvSpPr>
              <p:nvPr/>
            </p:nvSpPr>
            <p:spPr bwMode="auto">
              <a:xfrm>
                <a:off x="3629" y="1297"/>
                <a:ext cx="272" cy="236"/>
              </a:xfrm>
              <a:custGeom>
                <a:avLst/>
                <a:gdLst>
                  <a:gd name="T0" fmla="*/ 2 w 272"/>
                  <a:gd name="T1" fmla="*/ 2 h 236"/>
                  <a:gd name="T2" fmla="*/ 2 w 272"/>
                  <a:gd name="T3" fmla="*/ 2 h 236"/>
                  <a:gd name="T4" fmla="*/ 4 w 272"/>
                  <a:gd name="T5" fmla="*/ 0 h 236"/>
                  <a:gd name="T6" fmla="*/ 74 w 272"/>
                  <a:gd name="T7" fmla="*/ 42 h 236"/>
                  <a:gd name="T8" fmla="*/ 74 w 272"/>
                  <a:gd name="T9" fmla="*/ 46 h 236"/>
                  <a:gd name="T10" fmla="*/ 100 w 272"/>
                  <a:gd name="T11" fmla="*/ 62 h 236"/>
                  <a:gd name="T12" fmla="*/ 100 w 272"/>
                  <a:gd name="T13" fmla="*/ 60 h 236"/>
                  <a:gd name="T14" fmla="*/ 190 w 272"/>
                  <a:gd name="T15" fmla="*/ 102 h 236"/>
                  <a:gd name="T16" fmla="*/ 204 w 272"/>
                  <a:gd name="T17" fmla="*/ 104 h 236"/>
                  <a:gd name="T18" fmla="*/ 208 w 272"/>
                  <a:gd name="T19" fmla="*/ 106 h 236"/>
                  <a:gd name="T20" fmla="*/ 192 w 272"/>
                  <a:gd name="T21" fmla="*/ 104 h 236"/>
                  <a:gd name="T22" fmla="*/ 176 w 272"/>
                  <a:gd name="T23" fmla="*/ 110 h 236"/>
                  <a:gd name="T24" fmla="*/ 172 w 272"/>
                  <a:gd name="T25" fmla="*/ 114 h 236"/>
                  <a:gd name="T26" fmla="*/ 168 w 272"/>
                  <a:gd name="T27" fmla="*/ 120 h 236"/>
                  <a:gd name="T28" fmla="*/ 170 w 272"/>
                  <a:gd name="T29" fmla="*/ 126 h 236"/>
                  <a:gd name="T30" fmla="*/ 210 w 272"/>
                  <a:gd name="T31" fmla="*/ 178 h 236"/>
                  <a:gd name="T32" fmla="*/ 230 w 272"/>
                  <a:gd name="T33" fmla="*/ 182 h 236"/>
                  <a:gd name="T34" fmla="*/ 240 w 272"/>
                  <a:gd name="T35" fmla="*/ 188 h 236"/>
                  <a:gd name="T36" fmla="*/ 244 w 272"/>
                  <a:gd name="T37" fmla="*/ 188 h 236"/>
                  <a:gd name="T38" fmla="*/ 248 w 272"/>
                  <a:gd name="T39" fmla="*/ 186 h 236"/>
                  <a:gd name="T40" fmla="*/ 248 w 272"/>
                  <a:gd name="T41" fmla="*/ 184 h 236"/>
                  <a:gd name="T42" fmla="*/ 250 w 272"/>
                  <a:gd name="T43" fmla="*/ 184 h 236"/>
                  <a:gd name="T44" fmla="*/ 268 w 272"/>
                  <a:gd name="T45" fmla="*/ 196 h 236"/>
                  <a:gd name="T46" fmla="*/ 272 w 272"/>
                  <a:gd name="T47" fmla="*/ 204 h 236"/>
                  <a:gd name="T48" fmla="*/ 254 w 272"/>
                  <a:gd name="T49" fmla="*/ 194 h 236"/>
                  <a:gd name="T50" fmla="*/ 242 w 272"/>
                  <a:gd name="T51" fmla="*/ 198 h 236"/>
                  <a:gd name="T52" fmla="*/ 238 w 272"/>
                  <a:gd name="T53" fmla="*/ 204 h 236"/>
                  <a:gd name="T54" fmla="*/ 240 w 272"/>
                  <a:gd name="T55" fmla="*/ 210 h 236"/>
                  <a:gd name="T56" fmla="*/ 252 w 272"/>
                  <a:gd name="T57" fmla="*/ 234 h 236"/>
                  <a:gd name="T58" fmla="*/ 246 w 272"/>
                  <a:gd name="T59" fmla="*/ 236 h 236"/>
                  <a:gd name="T60" fmla="*/ 194 w 272"/>
                  <a:gd name="T61" fmla="*/ 182 h 236"/>
                  <a:gd name="T62" fmla="*/ 192 w 272"/>
                  <a:gd name="T63" fmla="*/ 176 h 236"/>
                  <a:gd name="T64" fmla="*/ 166 w 272"/>
                  <a:gd name="T65" fmla="*/ 162 h 236"/>
                  <a:gd name="T66" fmla="*/ 132 w 272"/>
                  <a:gd name="T67" fmla="*/ 124 h 236"/>
                  <a:gd name="T68" fmla="*/ 132 w 272"/>
                  <a:gd name="T69" fmla="*/ 124 h 236"/>
                  <a:gd name="T70" fmla="*/ 130 w 272"/>
                  <a:gd name="T71" fmla="*/ 122 h 236"/>
                  <a:gd name="T72" fmla="*/ 120 w 272"/>
                  <a:gd name="T73" fmla="*/ 114 h 236"/>
                  <a:gd name="T74" fmla="*/ 114 w 272"/>
                  <a:gd name="T75" fmla="*/ 112 h 236"/>
                  <a:gd name="T76" fmla="*/ 94 w 272"/>
                  <a:gd name="T77" fmla="*/ 90 h 236"/>
                  <a:gd name="T78" fmla="*/ 82 w 272"/>
                  <a:gd name="T79" fmla="*/ 86 h 236"/>
                  <a:gd name="T80" fmla="*/ 72 w 272"/>
                  <a:gd name="T81" fmla="*/ 86 h 236"/>
                  <a:gd name="T82" fmla="*/ 70 w 272"/>
                  <a:gd name="T83" fmla="*/ 84 h 236"/>
                  <a:gd name="T84" fmla="*/ 52 w 272"/>
                  <a:gd name="T85" fmla="*/ 72 h 236"/>
                  <a:gd name="T86" fmla="*/ 34 w 272"/>
                  <a:gd name="T87" fmla="*/ 50 h 236"/>
                  <a:gd name="T88" fmla="*/ 22 w 272"/>
                  <a:gd name="T89" fmla="*/ 42 h 236"/>
                  <a:gd name="T90" fmla="*/ 20 w 272"/>
                  <a:gd name="T91" fmla="*/ 38 h 236"/>
                  <a:gd name="T92" fmla="*/ 20 w 272"/>
                  <a:gd name="T93" fmla="*/ 32 h 236"/>
                  <a:gd name="T94" fmla="*/ 22 w 272"/>
                  <a:gd name="T95" fmla="*/ 32 h 236"/>
                  <a:gd name="T96" fmla="*/ 28 w 272"/>
                  <a:gd name="T97" fmla="*/ 30 h 236"/>
                  <a:gd name="T98" fmla="*/ 30 w 272"/>
                  <a:gd name="T99" fmla="*/ 26 h 236"/>
                  <a:gd name="T100" fmla="*/ 28 w 272"/>
                  <a:gd name="T101" fmla="*/ 24 h 236"/>
                  <a:gd name="T102" fmla="*/ 26 w 272"/>
                  <a:gd name="T103" fmla="*/ 24 h 236"/>
                  <a:gd name="T104" fmla="*/ 24 w 272"/>
                  <a:gd name="T105" fmla="*/ 20 h 236"/>
                  <a:gd name="T106" fmla="*/ 24 w 272"/>
                  <a:gd name="T107" fmla="*/ 18 h 236"/>
                  <a:gd name="T108" fmla="*/ 24 w 272"/>
                  <a:gd name="T109" fmla="*/ 18 h 236"/>
                  <a:gd name="T110" fmla="*/ 0 w 272"/>
                  <a:gd name="T111" fmla="*/ 8 h 236"/>
                  <a:gd name="T112" fmla="*/ 0 w 272"/>
                  <a:gd name="T113" fmla="*/ 8 h 236"/>
                  <a:gd name="T114" fmla="*/ 2 w 272"/>
                  <a:gd name="T115" fmla="*/ 6 h 236"/>
                  <a:gd name="T116" fmla="*/ 2 w 272"/>
                  <a:gd name="T117" fmla="*/ 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36">
                    <a:moveTo>
                      <a:pt x="2" y="2"/>
                    </a:moveTo>
                    <a:lnTo>
                      <a:pt x="2" y="2"/>
                    </a:lnTo>
                    <a:lnTo>
                      <a:pt x="4" y="0"/>
                    </a:lnTo>
                    <a:lnTo>
                      <a:pt x="74" y="42"/>
                    </a:lnTo>
                    <a:lnTo>
                      <a:pt x="74" y="46"/>
                    </a:lnTo>
                    <a:lnTo>
                      <a:pt x="100" y="62"/>
                    </a:lnTo>
                    <a:lnTo>
                      <a:pt x="100" y="60"/>
                    </a:lnTo>
                    <a:lnTo>
                      <a:pt x="190" y="102"/>
                    </a:lnTo>
                    <a:lnTo>
                      <a:pt x="204" y="104"/>
                    </a:lnTo>
                    <a:lnTo>
                      <a:pt x="208" y="106"/>
                    </a:lnTo>
                    <a:lnTo>
                      <a:pt x="192" y="104"/>
                    </a:lnTo>
                    <a:lnTo>
                      <a:pt x="176" y="110"/>
                    </a:lnTo>
                    <a:lnTo>
                      <a:pt x="172" y="114"/>
                    </a:lnTo>
                    <a:lnTo>
                      <a:pt x="168" y="120"/>
                    </a:lnTo>
                    <a:lnTo>
                      <a:pt x="170" y="126"/>
                    </a:lnTo>
                    <a:lnTo>
                      <a:pt x="210" y="178"/>
                    </a:lnTo>
                    <a:lnTo>
                      <a:pt x="230" y="182"/>
                    </a:lnTo>
                    <a:lnTo>
                      <a:pt x="240" y="188"/>
                    </a:lnTo>
                    <a:lnTo>
                      <a:pt x="244" y="188"/>
                    </a:lnTo>
                    <a:lnTo>
                      <a:pt x="248" y="186"/>
                    </a:lnTo>
                    <a:lnTo>
                      <a:pt x="248" y="184"/>
                    </a:lnTo>
                    <a:lnTo>
                      <a:pt x="250" y="184"/>
                    </a:lnTo>
                    <a:lnTo>
                      <a:pt x="268" y="196"/>
                    </a:lnTo>
                    <a:lnTo>
                      <a:pt x="272" y="204"/>
                    </a:lnTo>
                    <a:lnTo>
                      <a:pt x="254" y="194"/>
                    </a:lnTo>
                    <a:lnTo>
                      <a:pt x="242" y="198"/>
                    </a:lnTo>
                    <a:lnTo>
                      <a:pt x="238" y="204"/>
                    </a:lnTo>
                    <a:lnTo>
                      <a:pt x="240" y="210"/>
                    </a:lnTo>
                    <a:lnTo>
                      <a:pt x="252" y="234"/>
                    </a:lnTo>
                    <a:lnTo>
                      <a:pt x="246" y="236"/>
                    </a:lnTo>
                    <a:lnTo>
                      <a:pt x="194" y="182"/>
                    </a:lnTo>
                    <a:lnTo>
                      <a:pt x="192" y="176"/>
                    </a:lnTo>
                    <a:lnTo>
                      <a:pt x="166" y="162"/>
                    </a:lnTo>
                    <a:lnTo>
                      <a:pt x="132" y="124"/>
                    </a:lnTo>
                    <a:lnTo>
                      <a:pt x="132" y="124"/>
                    </a:lnTo>
                    <a:lnTo>
                      <a:pt x="130" y="122"/>
                    </a:lnTo>
                    <a:lnTo>
                      <a:pt x="120" y="114"/>
                    </a:lnTo>
                    <a:lnTo>
                      <a:pt x="114" y="112"/>
                    </a:lnTo>
                    <a:lnTo>
                      <a:pt x="94" y="90"/>
                    </a:lnTo>
                    <a:lnTo>
                      <a:pt x="82" y="86"/>
                    </a:lnTo>
                    <a:lnTo>
                      <a:pt x="72" y="86"/>
                    </a:lnTo>
                    <a:lnTo>
                      <a:pt x="70" y="84"/>
                    </a:lnTo>
                    <a:lnTo>
                      <a:pt x="52" y="72"/>
                    </a:lnTo>
                    <a:lnTo>
                      <a:pt x="34" y="50"/>
                    </a:lnTo>
                    <a:lnTo>
                      <a:pt x="22" y="42"/>
                    </a:lnTo>
                    <a:lnTo>
                      <a:pt x="20" y="38"/>
                    </a:lnTo>
                    <a:lnTo>
                      <a:pt x="20" y="32"/>
                    </a:lnTo>
                    <a:lnTo>
                      <a:pt x="22" y="32"/>
                    </a:lnTo>
                    <a:lnTo>
                      <a:pt x="28" y="30"/>
                    </a:lnTo>
                    <a:lnTo>
                      <a:pt x="30" y="26"/>
                    </a:lnTo>
                    <a:lnTo>
                      <a:pt x="28" y="24"/>
                    </a:lnTo>
                    <a:lnTo>
                      <a:pt x="26" y="24"/>
                    </a:lnTo>
                    <a:lnTo>
                      <a:pt x="24" y="20"/>
                    </a:lnTo>
                    <a:lnTo>
                      <a:pt x="24" y="18"/>
                    </a:lnTo>
                    <a:lnTo>
                      <a:pt x="24" y="18"/>
                    </a:lnTo>
                    <a:lnTo>
                      <a:pt x="0" y="8"/>
                    </a:lnTo>
                    <a:lnTo>
                      <a:pt x="0" y="8"/>
                    </a:lnTo>
                    <a:lnTo>
                      <a:pt x="2" y="6"/>
                    </a:lnTo>
                    <a:lnTo>
                      <a:pt x="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40" name="Freeform 291"/>
              <p:cNvSpPr>
                <a:spLocks/>
              </p:cNvSpPr>
              <p:nvPr/>
            </p:nvSpPr>
            <p:spPr bwMode="auto">
              <a:xfrm>
                <a:off x="3629" y="1297"/>
                <a:ext cx="272" cy="236"/>
              </a:xfrm>
              <a:custGeom>
                <a:avLst/>
                <a:gdLst>
                  <a:gd name="T0" fmla="*/ 2 w 272"/>
                  <a:gd name="T1" fmla="*/ 2 h 236"/>
                  <a:gd name="T2" fmla="*/ 2 w 272"/>
                  <a:gd name="T3" fmla="*/ 2 h 236"/>
                  <a:gd name="T4" fmla="*/ 4 w 272"/>
                  <a:gd name="T5" fmla="*/ 0 h 236"/>
                  <a:gd name="T6" fmla="*/ 74 w 272"/>
                  <a:gd name="T7" fmla="*/ 42 h 236"/>
                  <a:gd name="T8" fmla="*/ 74 w 272"/>
                  <a:gd name="T9" fmla="*/ 46 h 236"/>
                  <a:gd name="T10" fmla="*/ 100 w 272"/>
                  <a:gd name="T11" fmla="*/ 62 h 236"/>
                  <a:gd name="T12" fmla="*/ 100 w 272"/>
                  <a:gd name="T13" fmla="*/ 60 h 236"/>
                  <a:gd name="T14" fmla="*/ 190 w 272"/>
                  <a:gd name="T15" fmla="*/ 102 h 236"/>
                  <a:gd name="T16" fmla="*/ 204 w 272"/>
                  <a:gd name="T17" fmla="*/ 104 h 236"/>
                  <a:gd name="T18" fmla="*/ 208 w 272"/>
                  <a:gd name="T19" fmla="*/ 106 h 236"/>
                  <a:gd name="T20" fmla="*/ 192 w 272"/>
                  <a:gd name="T21" fmla="*/ 104 h 236"/>
                  <a:gd name="T22" fmla="*/ 176 w 272"/>
                  <a:gd name="T23" fmla="*/ 110 h 236"/>
                  <a:gd name="T24" fmla="*/ 172 w 272"/>
                  <a:gd name="T25" fmla="*/ 114 h 236"/>
                  <a:gd name="T26" fmla="*/ 168 w 272"/>
                  <a:gd name="T27" fmla="*/ 120 h 236"/>
                  <a:gd name="T28" fmla="*/ 170 w 272"/>
                  <a:gd name="T29" fmla="*/ 126 h 236"/>
                  <a:gd name="T30" fmla="*/ 210 w 272"/>
                  <a:gd name="T31" fmla="*/ 178 h 236"/>
                  <a:gd name="T32" fmla="*/ 230 w 272"/>
                  <a:gd name="T33" fmla="*/ 182 h 236"/>
                  <a:gd name="T34" fmla="*/ 240 w 272"/>
                  <a:gd name="T35" fmla="*/ 188 h 236"/>
                  <a:gd name="T36" fmla="*/ 244 w 272"/>
                  <a:gd name="T37" fmla="*/ 188 h 236"/>
                  <a:gd name="T38" fmla="*/ 248 w 272"/>
                  <a:gd name="T39" fmla="*/ 186 h 236"/>
                  <a:gd name="T40" fmla="*/ 248 w 272"/>
                  <a:gd name="T41" fmla="*/ 184 h 236"/>
                  <a:gd name="T42" fmla="*/ 250 w 272"/>
                  <a:gd name="T43" fmla="*/ 184 h 236"/>
                  <a:gd name="T44" fmla="*/ 268 w 272"/>
                  <a:gd name="T45" fmla="*/ 196 h 236"/>
                  <a:gd name="T46" fmla="*/ 272 w 272"/>
                  <a:gd name="T47" fmla="*/ 204 h 236"/>
                  <a:gd name="T48" fmla="*/ 254 w 272"/>
                  <a:gd name="T49" fmla="*/ 194 h 236"/>
                  <a:gd name="T50" fmla="*/ 242 w 272"/>
                  <a:gd name="T51" fmla="*/ 198 h 236"/>
                  <a:gd name="T52" fmla="*/ 238 w 272"/>
                  <a:gd name="T53" fmla="*/ 204 h 236"/>
                  <a:gd name="T54" fmla="*/ 240 w 272"/>
                  <a:gd name="T55" fmla="*/ 210 h 236"/>
                  <a:gd name="T56" fmla="*/ 252 w 272"/>
                  <a:gd name="T57" fmla="*/ 234 h 236"/>
                  <a:gd name="T58" fmla="*/ 246 w 272"/>
                  <a:gd name="T59" fmla="*/ 236 h 236"/>
                  <a:gd name="T60" fmla="*/ 194 w 272"/>
                  <a:gd name="T61" fmla="*/ 182 h 236"/>
                  <a:gd name="T62" fmla="*/ 192 w 272"/>
                  <a:gd name="T63" fmla="*/ 176 h 236"/>
                  <a:gd name="T64" fmla="*/ 166 w 272"/>
                  <a:gd name="T65" fmla="*/ 162 h 236"/>
                  <a:gd name="T66" fmla="*/ 132 w 272"/>
                  <a:gd name="T67" fmla="*/ 124 h 236"/>
                  <a:gd name="T68" fmla="*/ 132 w 272"/>
                  <a:gd name="T69" fmla="*/ 124 h 236"/>
                  <a:gd name="T70" fmla="*/ 130 w 272"/>
                  <a:gd name="T71" fmla="*/ 122 h 236"/>
                  <a:gd name="T72" fmla="*/ 120 w 272"/>
                  <a:gd name="T73" fmla="*/ 114 h 236"/>
                  <a:gd name="T74" fmla="*/ 114 w 272"/>
                  <a:gd name="T75" fmla="*/ 112 h 236"/>
                  <a:gd name="T76" fmla="*/ 94 w 272"/>
                  <a:gd name="T77" fmla="*/ 90 h 236"/>
                  <a:gd name="T78" fmla="*/ 82 w 272"/>
                  <a:gd name="T79" fmla="*/ 86 h 236"/>
                  <a:gd name="T80" fmla="*/ 72 w 272"/>
                  <a:gd name="T81" fmla="*/ 86 h 236"/>
                  <a:gd name="T82" fmla="*/ 70 w 272"/>
                  <a:gd name="T83" fmla="*/ 84 h 236"/>
                  <a:gd name="T84" fmla="*/ 52 w 272"/>
                  <a:gd name="T85" fmla="*/ 72 h 236"/>
                  <a:gd name="T86" fmla="*/ 34 w 272"/>
                  <a:gd name="T87" fmla="*/ 50 h 236"/>
                  <a:gd name="T88" fmla="*/ 22 w 272"/>
                  <a:gd name="T89" fmla="*/ 42 h 236"/>
                  <a:gd name="T90" fmla="*/ 20 w 272"/>
                  <a:gd name="T91" fmla="*/ 38 h 236"/>
                  <a:gd name="T92" fmla="*/ 20 w 272"/>
                  <a:gd name="T93" fmla="*/ 32 h 236"/>
                  <a:gd name="T94" fmla="*/ 22 w 272"/>
                  <a:gd name="T95" fmla="*/ 32 h 236"/>
                  <a:gd name="T96" fmla="*/ 28 w 272"/>
                  <a:gd name="T97" fmla="*/ 30 h 236"/>
                  <a:gd name="T98" fmla="*/ 30 w 272"/>
                  <a:gd name="T99" fmla="*/ 26 h 236"/>
                  <a:gd name="T100" fmla="*/ 28 w 272"/>
                  <a:gd name="T101" fmla="*/ 24 h 236"/>
                  <a:gd name="T102" fmla="*/ 26 w 272"/>
                  <a:gd name="T103" fmla="*/ 24 h 236"/>
                  <a:gd name="T104" fmla="*/ 24 w 272"/>
                  <a:gd name="T105" fmla="*/ 20 h 236"/>
                  <a:gd name="T106" fmla="*/ 24 w 272"/>
                  <a:gd name="T107" fmla="*/ 18 h 236"/>
                  <a:gd name="T108" fmla="*/ 24 w 272"/>
                  <a:gd name="T109" fmla="*/ 18 h 236"/>
                  <a:gd name="T110" fmla="*/ 0 w 272"/>
                  <a:gd name="T111" fmla="*/ 8 h 236"/>
                  <a:gd name="T112" fmla="*/ 0 w 272"/>
                  <a:gd name="T113" fmla="*/ 8 h 236"/>
                  <a:gd name="T114" fmla="*/ 2 w 272"/>
                  <a:gd name="T115" fmla="*/ 6 h 236"/>
                  <a:gd name="T116" fmla="*/ 2 w 272"/>
                  <a:gd name="T117" fmla="*/ 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36">
                    <a:moveTo>
                      <a:pt x="2" y="2"/>
                    </a:moveTo>
                    <a:lnTo>
                      <a:pt x="2" y="2"/>
                    </a:lnTo>
                    <a:lnTo>
                      <a:pt x="4" y="0"/>
                    </a:lnTo>
                    <a:lnTo>
                      <a:pt x="74" y="42"/>
                    </a:lnTo>
                    <a:lnTo>
                      <a:pt x="74" y="46"/>
                    </a:lnTo>
                    <a:lnTo>
                      <a:pt x="100" y="62"/>
                    </a:lnTo>
                    <a:lnTo>
                      <a:pt x="100" y="60"/>
                    </a:lnTo>
                    <a:lnTo>
                      <a:pt x="190" y="102"/>
                    </a:lnTo>
                    <a:lnTo>
                      <a:pt x="204" y="104"/>
                    </a:lnTo>
                    <a:lnTo>
                      <a:pt x="208" y="106"/>
                    </a:lnTo>
                    <a:lnTo>
                      <a:pt x="192" y="104"/>
                    </a:lnTo>
                    <a:lnTo>
                      <a:pt x="176" y="110"/>
                    </a:lnTo>
                    <a:lnTo>
                      <a:pt x="172" y="114"/>
                    </a:lnTo>
                    <a:lnTo>
                      <a:pt x="168" y="120"/>
                    </a:lnTo>
                    <a:lnTo>
                      <a:pt x="170" y="126"/>
                    </a:lnTo>
                    <a:lnTo>
                      <a:pt x="210" y="178"/>
                    </a:lnTo>
                    <a:lnTo>
                      <a:pt x="230" y="182"/>
                    </a:lnTo>
                    <a:lnTo>
                      <a:pt x="240" y="188"/>
                    </a:lnTo>
                    <a:lnTo>
                      <a:pt x="244" y="188"/>
                    </a:lnTo>
                    <a:lnTo>
                      <a:pt x="248" y="186"/>
                    </a:lnTo>
                    <a:lnTo>
                      <a:pt x="248" y="184"/>
                    </a:lnTo>
                    <a:lnTo>
                      <a:pt x="250" y="184"/>
                    </a:lnTo>
                    <a:lnTo>
                      <a:pt x="268" y="196"/>
                    </a:lnTo>
                    <a:lnTo>
                      <a:pt x="272" y="204"/>
                    </a:lnTo>
                    <a:lnTo>
                      <a:pt x="254" y="194"/>
                    </a:lnTo>
                    <a:lnTo>
                      <a:pt x="242" y="198"/>
                    </a:lnTo>
                    <a:lnTo>
                      <a:pt x="238" y="204"/>
                    </a:lnTo>
                    <a:lnTo>
                      <a:pt x="240" y="210"/>
                    </a:lnTo>
                    <a:lnTo>
                      <a:pt x="252" y="234"/>
                    </a:lnTo>
                    <a:lnTo>
                      <a:pt x="246" y="236"/>
                    </a:lnTo>
                    <a:lnTo>
                      <a:pt x="194" y="182"/>
                    </a:lnTo>
                    <a:lnTo>
                      <a:pt x="192" y="176"/>
                    </a:lnTo>
                    <a:lnTo>
                      <a:pt x="166" y="162"/>
                    </a:lnTo>
                    <a:lnTo>
                      <a:pt x="132" y="124"/>
                    </a:lnTo>
                    <a:lnTo>
                      <a:pt x="132" y="124"/>
                    </a:lnTo>
                    <a:lnTo>
                      <a:pt x="130" y="122"/>
                    </a:lnTo>
                    <a:lnTo>
                      <a:pt x="120" y="114"/>
                    </a:lnTo>
                    <a:lnTo>
                      <a:pt x="114" y="112"/>
                    </a:lnTo>
                    <a:lnTo>
                      <a:pt x="94" y="90"/>
                    </a:lnTo>
                    <a:lnTo>
                      <a:pt x="82" y="86"/>
                    </a:lnTo>
                    <a:lnTo>
                      <a:pt x="72" y="86"/>
                    </a:lnTo>
                    <a:lnTo>
                      <a:pt x="70" y="84"/>
                    </a:lnTo>
                    <a:lnTo>
                      <a:pt x="52" y="72"/>
                    </a:lnTo>
                    <a:lnTo>
                      <a:pt x="34" y="50"/>
                    </a:lnTo>
                    <a:lnTo>
                      <a:pt x="22" y="42"/>
                    </a:lnTo>
                    <a:lnTo>
                      <a:pt x="20" y="38"/>
                    </a:lnTo>
                    <a:lnTo>
                      <a:pt x="20" y="32"/>
                    </a:lnTo>
                    <a:lnTo>
                      <a:pt x="22" y="32"/>
                    </a:lnTo>
                    <a:lnTo>
                      <a:pt x="28" y="30"/>
                    </a:lnTo>
                    <a:lnTo>
                      <a:pt x="30" y="26"/>
                    </a:lnTo>
                    <a:lnTo>
                      <a:pt x="28" y="24"/>
                    </a:lnTo>
                    <a:lnTo>
                      <a:pt x="26" y="24"/>
                    </a:lnTo>
                    <a:lnTo>
                      <a:pt x="24" y="20"/>
                    </a:lnTo>
                    <a:lnTo>
                      <a:pt x="24" y="18"/>
                    </a:lnTo>
                    <a:lnTo>
                      <a:pt x="24" y="18"/>
                    </a:lnTo>
                    <a:lnTo>
                      <a:pt x="0" y="8"/>
                    </a:lnTo>
                    <a:lnTo>
                      <a:pt x="0" y="8"/>
                    </a:lnTo>
                    <a:lnTo>
                      <a:pt x="2" y="6"/>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41" name="Freeform 292"/>
              <p:cNvSpPr>
                <a:spLocks/>
              </p:cNvSpPr>
              <p:nvPr/>
            </p:nvSpPr>
            <p:spPr bwMode="auto">
              <a:xfrm>
                <a:off x="3537" y="1357"/>
                <a:ext cx="18" cy="22"/>
              </a:xfrm>
              <a:custGeom>
                <a:avLst/>
                <a:gdLst>
                  <a:gd name="T0" fmla="*/ 6 w 18"/>
                  <a:gd name="T1" fmla="*/ 20 h 22"/>
                  <a:gd name="T2" fmla="*/ 8 w 18"/>
                  <a:gd name="T3" fmla="*/ 22 h 22"/>
                  <a:gd name="T4" fmla="*/ 6 w 18"/>
                  <a:gd name="T5" fmla="*/ 18 h 22"/>
                  <a:gd name="T6" fmla="*/ 10 w 18"/>
                  <a:gd name="T7" fmla="*/ 18 h 22"/>
                  <a:gd name="T8" fmla="*/ 14 w 18"/>
                  <a:gd name="T9" fmla="*/ 18 h 22"/>
                  <a:gd name="T10" fmla="*/ 18 w 18"/>
                  <a:gd name="T11" fmla="*/ 18 h 22"/>
                  <a:gd name="T12" fmla="*/ 16 w 18"/>
                  <a:gd name="T13" fmla="*/ 8 h 22"/>
                  <a:gd name="T14" fmla="*/ 12 w 18"/>
                  <a:gd name="T15" fmla="*/ 4 h 22"/>
                  <a:gd name="T16" fmla="*/ 12 w 18"/>
                  <a:gd name="T17" fmla="*/ 0 h 22"/>
                  <a:gd name="T18" fmla="*/ 6 w 18"/>
                  <a:gd name="T19" fmla="*/ 0 h 22"/>
                  <a:gd name="T20" fmla="*/ 0 w 18"/>
                  <a:gd name="T21" fmla="*/ 4 h 22"/>
                  <a:gd name="T22" fmla="*/ 4 w 18"/>
                  <a:gd name="T23" fmla="*/ 12 h 22"/>
                  <a:gd name="T24" fmla="*/ 6 w 18"/>
                  <a:gd name="T25"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2">
                    <a:moveTo>
                      <a:pt x="6" y="20"/>
                    </a:moveTo>
                    <a:lnTo>
                      <a:pt x="8" y="22"/>
                    </a:lnTo>
                    <a:lnTo>
                      <a:pt x="6" y="18"/>
                    </a:lnTo>
                    <a:lnTo>
                      <a:pt x="10" y="18"/>
                    </a:lnTo>
                    <a:lnTo>
                      <a:pt x="14" y="18"/>
                    </a:lnTo>
                    <a:lnTo>
                      <a:pt x="18" y="18"/>
                    </a:lnTo>
                    <a:lnTo>
                      <a:pt x="16" y="8"/>
                    </a:lnTo>
                    <a:lnTo>
                      <a:pt x="12" y="4"/>
                    </a:lnTo>
                    <a:lnTo>
                      <a:pt x="12" y="0"/>
                    </a:lnTo>
                    <a:lnTo>
                      <a:pt x="6" y="0"/>
                    </a:lnTo>
                    <a:lnTo>
                      <a:pt x="0" y="4"/>
                    </a:lnTo>
                    <a:lnTo>
                      <a:pt x="4" y="12"/>
                    </a:lnTo>
                    <a:lnTo>
                      <a:pt x="6" y="2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42" name="Freeform 293"/>
              <p:cNvSpPr>
                <a:spLocks/>
              </p:cNvSpPr>
              <p:nvPr/>
            </p:nvSpPr>
            <p:spPr bwMode="auto">
              <a:xfrm>
                <a:off x="3537" y="1357"/>
                <a:ext cx="18" cy="22"/>
              </a:xfrm>
              <a:custGeom>
                <a:avLst/>
                <a:gdLst>
                  <a:gd name="T0" fmla="*/ 6 w 18"/>
                  <a:gd name="T1" fmla="*/ 20 h 22"/>
                  <a:gd name="T2" fmla="*/ 8 w 18"/>
                  <a:gd name="T3" fmla="*/ 22 h 22"/>
                  <a:gd name="T4" fmla="*/ 6 w 18"/>
                  <a:gd name="T5" fmla="*/ 18 h 22"/>
                  <a:gd name="T6" fmla="*/ 10 w 18"/>
                  <a:gd name="T7" fmla="*/ 18 h 22"/>
                  <a:gd name="T8" fmla="*/ 14 w 18"/>
                  <a:gd name="T9" fmla="*/ 18 h 22"/>
                  <a:gd name="T10" fmla="*/ 18 w 18"/>
                  <a:gd name="T11" fmla="*/ 18 h 22"/>
                  <a:gd name="T12" fmla="*/ 16 w 18"/>
                  <a:gd name="T13" fmla="*/ 8 h 22"/>
                  <a:gd name="T14" fmla="*/ 12 w 18"/>
                  <a:gd name="T15" fmla="*/ 4 h 22"/>
                  <a:gd name="T16" fmla="*/ 12 w 18"/>
                  <a:gd name="T17" fmla="*/ 0 h 22"/>
                  <a:gd name="T18" fmla="*/ 6 w 18"/>
                  <a:gd name="T19" fmla="*/ 0 h 22"/>
                  <a:gd name="T20" fmla="*/ 0 w 18"/>
                  <a:gd name="T21" fmla="*/ 4 h 22"/>
                  <a:gd name="T22" fmla="*/ 4 w 18"/>
                  <a:gd name="T23" fmla="*/ 12 h 22"/>
                  <a:gd name="T24" fmla="*/ 6 w 18"/>
                  <a:gd name="T25"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2">
                    <a:moveTo>
                      <a:pt x="6" y="20"/>
                    </a:moveTo>
                    <a:lnTo>
                      <a:pt x="8" y="22"/>
                    </a:lnTo>
                    <a:lnTo>
                      <a:pt x="6" y="18"/>
                    </a:lnTo>
                    <a:lnTo>
                      <a:pt x="10" y="18"/>
                    </a:lnTo>
                    <a:lnTo>
                      <a:pt x="14" y="18"/>
                    </a:lnTo>
                    <a:lnTo>
                      <a:pt x="18" y="18"/>
                    </a:lnTo>
                    <a:lnTo>
                      <a:pt x="16" y="8"/>
                    </a:lnTo>
                    <a:lnTo>
                      <a:pt x="12" y="4"/>
                    </a:lnTo>
                    <a:lnTo>
                      <a:pt x="12" y="0"/>
                    </a:lnTo>
                    <a:lnTo>
                      <a:pt x="6" y="0"/>
                    </a:lnTo>
                    <a:lnTo>
                      <a:pt x="0" y="4"/>
                    </a:lnTo>
                    <a:lnTo>
                      <a:pt x="4" y="12"/>
                    </a:lnTo>
                    <a:lnTo>
                      <a:pt x="6" y="2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43" name="Freeform 294"/>
              <p:cNvSpPr>
                <a:spLocks/>
              </p:cNvSpPr>
              <p:nvPr/>
            </p:nvSpPr>
            <p:spPr bwMode="auto">
              <a:xfrm>
                <a:off x="3639" y="799"/>
                <a:ext cx="24" cy="32"/>
              </a:xfrm>
              <a:custGeom>
                <a:avLst/>
                <a:gdLst>
                  <a:gd name="T0" fmla="*/ 0 w 24"/>
                  <a:gd name="T1" fmla="*/ 4 h 32"/>
                  <a:gd name="T2" fmla="*/ 2 w 24"/>
                  <a:gd name="T3" fmla="*/ 6 h 32"/>
                  <a:gd name="T4" fmla="*/ 4 w 24"/>
                  <a:gd name="T5" fmla="*/ 18 h 32"/>
                  <a:gd name="T6" fmla="*/ 6 w 24"/>
                  <a:gd name="T7" fmla="*/ 20 h 32"/>
                  <a:gd name="T8" fmla="*/ 8 w 24"/>
                  <a:gd name="T9" fmla="*/ 18 h 32"/>
                  <a:gd name="T10" fmla="*/ 24 w 24"/>
                  <a:gd name="T11" fmla="*/ 32 h 32"/>
                  <a:gd name="T12" fmla="*/ 16 w 24"/>
                  <a:gd name="T13" fmla="*/ 14 h 32"/>
                  <a:gd name="T14" fmla="*/ 14 w 24"/>
                  <a:gd name="T15" fmla="*/ 6 h 32"/>
                  <a:gd name="T16" fmla="*/ 10 w 24"/>
                  <a:gd name="T17" fmla="*/ 2 h 32"/>
                  <a:gd name="T18" fmla="*/ 4 w 24"/>
                  <a:gd name="T19" fmla="*/ 0 h 32"/>
                  <a:gd name="T20" fmla="*/ 0 w 24"/>
                  <a:gd name="T21" fmla="*/ 2 h 32"/>
                  <a:gd name="T22" fmla="*/ 0 w 24"/>
                  <a:gd name="T23"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2">
                    <a:moveTo>
                      <a:pt x="0" y="4"/>
                    </a:moveTo>
                    <a:lnTo>
                      <a:pt x="2" y="6"/>
                    </a:lnTo>
                    <a:lnTo>
                      <a:pt x="4" y="18"/>
                    </a:lnTo>
                    <a:lnTo>
                      <a:pt x="6" y="20"/>
                    </a:lnTo>
                    <a:lnTo>
                      <a:pt x="8" y="18"/>
                    </a:lnTo>
                    <a:lnTo>
                      <a:pt x="24" y="32"/>
                    </a:lnTo>
                    <a:lnTo>
                      <a:pt x="16" y="14"/>
                    </a:lnTo>
                    <a:lnTo>
                      <a:pt x="14" y="6"/>
                    </a:lnTo>
                    <a:lnTo>
                      <a:pt x="10" y="2"/>
                    </a:lnTo>
                    <a:lnTo>
                      <a:pt x="4" y="0"/>
                    </a:lnTo>
                    <a:lnTo>
                      <a:pt x="0" y="2"/>
                    </a:lnTo>
                    <a:lnTo>
                      <a:pt x="0"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44" name="Freeform 295"/>
              <p:cNvSpPr>
                <a:spLocks/>
              </p:cNvSpPr>
              <p:nvPr/>
            </p:nvSpPr>
            <p:spPr bwMode="auto">
              <a:xfrm>
                <a:off x="3639" y="799"/>
                <a:ext cx="24" cy="32"/>
              </a:xfrm>
              <a:custGeom>
                <a:avLst/>
                <a:gdLst>
                  <a:gd name="T0" fmla="*/ 0 w 24"/>
                  <a:gd name="T1" fmla="*/ 4 h 32"/>
                  <a:gd name="T2" fmla="*/ 2 w 24"/>
                  <a:gd name="T3" fmla="*/ 6 h 32"/>
                  <a:gd name="T4" fmla="*/ 4 w 24"/>
                  <a:gd name="T5" fmla="*/ 18 h 32"/>
                  <a:gd name="T6" fmla="*/ 6 w 24"/>
                  <a:gd name="T7" fmla="*/ 20 h 32"/>
                  <a:gd name="T8" fmla="*/ 8 w 24"/>
                  <a:gd name="T9" fmla="*/ 18 h 32"/>
                  <a:gd name="T10" fmla="*/ 24 w 24"/>
                  <a:gd name="T11" fmla="*/ 32 h 32"/>
                  <a:gd name="T12" fmla="*/ 16 w 24"/>
                  <a:gd name="T13" fmla="*/ 14 h 32"/>
                  <a:gd name="T14" fmla="*/ 14 w 24"/>
                  <a:gd name="T15" fmla="*/ 6 h 32"/>
                  <a:gd name="T16" fmla="*/ 10 w 24"/>
                  <a:gd name="T17" fmla="*/ 2 h 32"/>
                  <a:gd name="T18" fmla="*/ 4 w 24"/>
                  <a:gd name="T19" fmla="*/ 0 h 32"/>
                  <a:gd name="T20" fmla="*/ 0 w 24"/>
                  <a:gd name="T21" fmla="*/ 2 h 32"/>
                  <a:gd name="T22" fmla="*/ 0 w 24"/>
                  <a:gd name="T23"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2">
                    <a:moveTo>
                      <a:pt x="0" y="4"/>
                    </a:moveTo>
                    <a:lnTo>
                      <a:pt x="2" y="6"/>
                    </a:lnTo>
                    <a:lnTo>
                      <a:pt x="4" y="18"/>
                    </a:lnTo>
                    <a:lnTo>
                      <a:pt x="6" y="20"/>
                    </a:lnTo>
                    <a:lnTo>
                      <a:pt x="8" y="18"/>
                    </a:lnTo>
                    <a:lnTo>
                      <a:pt x="24" y="32"/>
                    </a:lnTo>
                    <a:lnTo>
                      <a:pt x="16" y="14"/>
                    </a:lnTo>
                    <a:lnTo>
                      <a:pt x="14" y="6"/>
                    </a:lnTo>
                    <a:lnTo>
                      <a:pt x="10" y="2"/>
                    </a:lnTo>
                    <a:lnTo>
                      <a:pt x="4" y="0"/>
                    </a:lnTo>
                    <a:lnTo>
                      <a:pt x="0" y="2"/>
                    </a:lnTo>
                    <a:lnTo>
                      <a:pt x="0"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45" name="Freeform 296"/>
              <p:cNvSpPr>
                <a:spLocks/>
              </p:cNvSpPr>
              <p:nvPr/>
            </p:nvSpPr>
            <p:spPr bwMode="auto">
              <a:xfrm>
                <a:off x="3907" y="1101"/>
                <a:ext cx="8" cy="10"/>
              </a:xfrm>
              <a:custGeom>
                <a:avLst/>
                <a:gdLst>
                  <a:gd name="T0" fmla="*/ 2 w 8"/>
                  <a:gd name="T1" fmla="*/ 2 h 10"/>
                  <a:gd name="T2" fmla="*/ 0 w 8"/>
                  <a:gd name="T3" fmla="*/ 0 h 10"/>
                  <a:gd name="T4" fmla="*/ 4 w 8"/>
                  <a:gd name="T5" fmla="*/ 10 h 10"/>
                  <a:gd name="T6" fmla="*/ 6 w 8"/>
                  <a:gd name="T7" fmla="*/ 10 h 10"/>
                  <a:gd name="T8" fmla="*/ 8 w 8"/>
                  <a:gd name="T9" fmla="*/ 8 h 10"/>
                  <a:gd name="T10" fmla="*/ 2 w 8"/>
                  <a:gd name="T11" fmla="*/ 2 h 10"/>
                </a:gdLst>
                <a:ahLst/>
                <a:cxnLst>
                  <a:cxn ang="0">
                    <a:pos x="T0" y="T1"/>
                  </a:cxn>
                  <a:cxn ang="0">
                    <a:pos x="T2" y="T3"/>
                  </a:cxn>
                  <a:cxn ang="0">
                    <a:pos x="T4" y="T5"/>
                  </a:cxn>
                  <a:cxn ang="0">
                    <a:pos x="T6" y="T7"/>
                  </a:cxn>
                  <a:cxn ang="0">
                    <a:pos x="T8" y="T9"/>
                  </a:cxn>
                  <a:cxn ang="0">
                    <a:pos x="T10" y="T11"/>
                  </a:cxn>
                </a:cxnLst>
                <a:rect l="0" t="0" r="r" b="b"/>
                <a:pathLst>
                  <a:path w="8" h="10">
                    <a:moveTo>
                      <a:pt x="2" y="2"/>
                    </a:moveTo>
                    <a:lnTo>
                      <a:pt x="0" y="0"/>
                    </a:lnTo>
                    <a:lnTo>
                      <a:pt x="4" y="10"/>
                    </a:lnTo>
                    <a:lnTo>
                      <a:pt x="6" y="10"/>
                    </a:lnTo>
                    <a:lnTo>
                      <a:pt x="8" y="8"/>
                    </a:lnTo>
                    <a:lnTo>
                      <a:pt x="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46" name="Freeform 297"/>
              <p:cNvSpPr>
                <a:spLocks/>
              </p:cNvSpPr>
              <p:nvPr/>
            </p:nvSpPr>
            <p:spPr bwMode="auto">
              <a:xfrm>
                <a:off x="3907" y="1101"/>
                <a:ext cx="8" cy="10"/>
              </a:xfrm>
              <a:custGeom>
                <a:avLst/>
                <a:gdLst>
                  <a:gd name="T0" fmla="*/ 2 w 8"/>
                  <a:gd name="T1" fmla="*/ 2 h 10"/>
                  <a:gd name="T2" fmla="*/ 0 w 8"/>
                  <a:gd name="T3" fmla="*/ 0 h 10"/>
                  <a:gd name="T4" fmla="*/ 4 w 8"/>
                  <a:gd name="T5" fmla="*/ 10 h 10"/>
                  <a:gd name="T6" fmla="*/ 6 w 8"/>
                  <a:gd name="T7" fmla="*/ 10 h 10"/>
                  <a:gd name="T8" fmla="*/ 8 w 8"/>
                  <a:gd name="T9" fmla="*/ 8 h 10"/>
                  <a:gd name="T10" fmla="*/ 2 w 8"/>
                  <a:gd name="T11" fmla="*/ 2 h 10"/>
                </a:gdLst>
                <a:ahLst/>
                <a:cxnLst>
                  <a:cxn ang="0">
                    <a:pos x="T0" y="T1"/>
                  </a:cxn>
                  <a:cxn ang="0">
                    <a:pos x="T2" y="T3"/>
                  </a:cxn>
                  <a:cxn ang="0">
                    <a:pos x="T4" y="T5"/>
                  </a:cxn>
                  <a:cxn ang="0">
                    <a:pos x="T6" y="T7"/>
                  </a:cxn>
                  <a:cxn ang="0">
                    <a:pos x="T8" y="T9"/>
                  </a:cxn>
                  <a:cxn ang="0">
                    <a:pos x="T10" y="T11"/>
                  </a:cxn>
                </a:cxnLst>
                <a:rect l="0" t="0" r="r" b="b"/>
                <a:pathLst>
                  <a:path w="8" h="10">
                    <a:moveTo>
                      <a:pt x="2" y="2"/>
                    </a:moveTo>
                    <a:lnTo>
                      <a:pt x="0" y="0"/>
                    </a:lnTo>
                    <a:lnTo>
                      <a:pt x="4" y="10"/>
                    </a:lnTo>
                    <a:lnTo>
                      <a:pt x="6" y="10"/>
                    </a:lnTo>
                    <a:lnTo>
                      <a:pt x="8" y="8"/>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47" name="Freeform 298"/>
              <p:cNvSpPr>
                <a:spLocks/>
              </p:cNvSpPr>
              <p:nvPr/>
            </p:nvSpPr>
            <p:spPr bwMode="auto">
              <a:xfrm>
                <a:off x="3909" y="1113"/>
                <a:ext cx="18" cy="34"/>
              </a:xfrm>
              <a:custGeom>
                <a:avLst/>
                <a:gdLst>
                  <a:gd name="T0" fmla="*/ 0 w 18"/>
                  <a:gd name="T1" fmla="*/ 2 h 34"/>
                  <a:gd name="T2" fmla="*/ 8 w 18"/>
                  <a:gd name="T3" fmla="*/ 18 h 34"/>
                  <a:gd name="T4" fmla="*/ 8 w 18"/>
                  <a:gd name="T5" fmla="*/ 22 h 34"/>
                  <a:gd name="T6" fmla="*/ 10 w 18"/>
                  <a:gd name="T7" fmla="*/ 26 h 34"/>
                  <a:gd name="T8" fmla="*/ 8 w 18"/>
                  <a:gd name="T9" fmla="*/ 28 h 34"/>
                  <a:gd name="T10" fmla="*/ 10 w 18"/>
                  <a:gd name="T11" fmla="*/ 30 h 34"/>
                  <a:gd name="T12" fmla="*/ 16 w 18"/>
                  <a:gd name="T13" fmla="*/ 34 h 34"/>
                  <a:gd name="T14" fmla="*/ 18 w 18"/>
                  <a:gd name="T15" fmla="*/ 32 h 34"/>
                  <a:gd name="T16" fmla="*/ 16 w 18"/>
                  <a:gd name="T17" fmla="*/ 22 h 34"/>
                  <a:gd name="T18" fmla="*/ 16 w 18"/>
                  <a:gd name="T19" fmla="*/ 16 h 34"/>
                  <a:gd name="T20" fmla="*/ 8 w 18"/>
                  <a:gd name="T21" fmla="*/ 4 h 34"/>
                  <a:gd name="T22" fmla="*/ 4 w 18"/>
                  <a:gd name="T23" fmla="*/ 2 h 34"/>
                  <a:gd name="T24" fmla="*/ 0 w 18"/>
                  <a:gd name="T25" fmla="*/ 0 h 34"/>
                  <a:gd name="T26" fmla="*/ 0 w 18"/>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34">
                    <a:moveTo>
                      <a:pt x="0" y="2"/>
                    </a:moveTo>
                    <a:lnTo>
                      <a:pt x="8" y="18"/>
                    </a:lnTo>
                    <a:lnTo>
                      <a:pt x="8" y="22"/>
                    </a:lnTo>
                    <a:lnTo>
                      <a:pt x="10" y="26"/>
                    </a:lnTo>
                    <a:lnTo>
                      <a:pt x="8" y="28"/>
                    </a:lnTo>
                    <a:lnTo>
                      <a:pt x="10" y="30"/>
                    </a:lnTo>
                    <a:lnTo>
                      <a:pt x="16" y="34"/>
                    </a:lnTo>
                    <a:lnTo>
                      <a:pt x="18" y="32"/>
                    </a:lnTo>
                    <a:lnTo>
                      <a:pt x="16" y="22"/>
                    </a:lnTo>
                    <a:lnTo>
                      <a:pt x="16" y="16"/>
                    </a:lnTo>
                    <a:lnTo>
                      <a:pt x="8" y="4"/>
                    </a:lnTo>
                    <a:lnTo>
                      <a:pt x="4" y="2"/>
                    </a:lnTo>
                    <a:lnTo>
                      <a:pt x="0" y="0"/>
                    </a:lnTo>
                    <a:lnTo>
                      <a:pt x="0"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48" name="Freeform 299"/>
              <p:cNvSpPr>
                <a:spLocks/>
              </p:cNvSpPr>
              <p:nvPr/>
            </p:nvSpPr>
            <p:spPr bwMode="auto">
              <a:xfrm>
                <a:off x="3909" y="1113"/>
                <a:ext cx="18" cy="34"/>
              </a:xfrm>
              <a:custGeom>
                <a:avLst/>
                <a:gdLst>
                  <a:gd name="T0" fmla="*/ 0 w 18"/>
                  <a:gd name="T1" fmla="*/ 2 h 34"/>
                  <a:gd name="T2" fmla="*/ 8 w 18"/>
                  <a:gd name="T3" fmla="*/ 18 h 34"/>
                  <a:gd name="T4" fmla="*/ 8 w 18"/>
                  <a:gd name="T5" fmla="*/ 22 h 34"/>
                  <a:gd name="T6" fmla="*/ 10 w 18"/>
                  <a:gd name="T7" fmla="*/ 26 h 34"/>
                  <a:gd name="T8" fmla="*/ 8 w 18"/>
                  <a:gd name="T9" fmla="*/ 28 h 34"/>
                  <a:gd name="T10" fmla="*/ 10 w 18"/>
                  <a:gd name="T11" fmla="*/ 30 h 34"/>
                  <a:gd name="T12" fmla="*/ 16 w 18"/>
                  <a:gd name="T13" fmla="*/ 34 h 34"/>
                  <a:gd name="T14" fmla="*/ 18 w 18"/>
                  <a:gd name="T15" fmla="*/ 32 h 34"/>
                  <a:gd name="T16" fmla="*/ 16 w 18"/>
                  <a:gd name="T17" fmla="*/ 22 h 34"/>
                  <a:gd name="T18" fmla="*/ 16 w 18"/>
                  <a:gd name="T19" fmla="*/ 16 h 34"/>
                  <a:gd name="T20" fmla="*/ 8 w 18"/>
                  <a:gd name="T21" fmla="*/ 4 h 34"/>
                  <a:gd name="T22" fmla="*/ 4 w 18"/>
                  <a:gd name="T23" fmla="*/ 2 h 34"/>
                  <a:gd name="T24" fmla="*/ 0 w 18"/>
                  <a:gd name="T25" fmla="*/ 0 h 34"/>
                  <a:gd name="T26" fmla="*/ 0 w 18"/>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34">
                    <a:moveTo>
                      <a:pt x="0" y="2"/>
                    </a:moveTo>
                    <a:lnTo>
                      <a:pt x="8" y="18"/>
                    </a:lnTo>
                    <a:lnTo>
                      <a:pt x="8" y="22"/>
                    </a:lnTo>
                    <a:lnTo>
                      <a:pt x="10" y="26"/>
                    </a:lnTo>
                    <a:lnTo>
                      <a:pt x="8" y="28"/>
                    </a:lnTo>
                    <a:lnTo>
                      <a:pt x="10" y="30"/>
                    </a:lnTo>
                    <a:lnTo>
                      <a:pt x="16" y="34"/>
                    </a:lnTo>
                    <a:lnTo>
                      <a:pt x="18" y="32"/>
                    </a:lnTo>
                    <a:lnTo>
                      <a:pt x="16" y="22"/>
                    </a:lnTo>
                    <a:lnTo>
                      <a:pt x="16" y="16"/>
                    </a:lnTo>
                    <a:lnTo>
                      <a:pt x="8" y="4"/>
                    </a:lnTo>
                    <a:lnTo>
                      <a:pt x="4" y="2"/>
                    </a:lnTo>
                    <a:lnTo>
                      <a:pt x="0" y="0"/>
                    </a:lnTo>
                    <a:lnTo>
                      <a:pt x="0"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49" name="Freeform 300"/>
              <p:cNvSpPr>
                <a:spLocks/>
              </p:cNvSpPr>
              <p:nvPr/>
            </p:nvSpPr>
            <p:spPr bwMode="auto">
              <a:xfrm>
                <a:off x="3935" y="1165"/>
                <a:ext cx="10" cy="12"/>
              </a:xfrm>
              <a:custGeom>
                <a:avLst/>
                <a:gdLst>
                  <a:gd name="T0" fmla="*/ 0 w 10"/>
                  <a:gd name="T1" fmla="*/ 0 h 12"/>
                  <a:gd name="T2" fmla="*/ 10 w 10"/>
                  <a:gd name="T3" fmla="*/ 12 h 12"/>
                  <a:gd name="T4" fmla="*/ 10 w 10"/>
                  <a:gd name="T5" fmla="*/ 8 h 12"/>
                  <a:gd name="T6" fmla="*/ 0 w 10"/>
                  <a:gd name="T7" fmla="*/ 0 h 12"/>
                </a:gdLst>
                <a:ahLst/>
                <a:cxnLst>
                  <a:cxn ang="0">
                    <a:pos x="T0" y="T1"/>
                  </a:cxn>
                  <a:cxn ang="0">
                    <a:pos x="T2" y="T3"/>
                  </a:cxn>
                  <a:cxn ang="0">
                    <a:pos x="T4" y="T5"/>
                  </a:cxn>
                  <a:cxn ang="0">
                    <a:pos x="T6" y="T7"/>
                  </a:cxn>
                </a:cxnLst>
                <a:rect l="0" t="0" r="r" b="b"/>
                <a:pathLst>
                  <a:path w="10" h="12">
                    <a:moveTo>
                      <a:pt x="0" y="0"/>
                    </a:moveTo>
                    <a:lnTo>
                      <a:pt x="10" y="12"/>
                    </a:lnTo>
                    <a:lnTo>
                      <a:pt x="10" y="8"/>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50" name="Freeform 301"/>
              <p:cNvSpPr>
                <a:spLocks/>
              </p:cNvSpPr>
              <p:nvPr/>
            </p:nvSpPr>
            <p:spPr bwMode="auto">
              <a:xfrm>
                <a:off x="3935" y="1165"/>
                <a:ext cx="10" cy="12"/>
              </a:xfrm>
              <a:custGeom>
                <a:avLst/>
                <a:gdLst>
                  <a:gd name="T0" fmla="*/ 0 w 10"/>
                  <a:gd name="T1" fmla="*/ 0 h 12"/>
                  <a:gd name="T2" fmla="*/ 10 w 10"/>
                  <a:gd name="T3" fmla="*/ 12 h 12"/>
                  <a:gd name="T4" fmla="*/ 10 w 10"/>
                  <a:gd name="T5" fmla="*/ 8 h 12"/>
                  <a:gd name="T6" fmla="*/ 0 w 10"/>
                  <a:gd name="T7" fmla="*/ 0 h 12"/>
                </a:gdLst>
                <a:ahLst/>
                <a:cxnLst>
                  <a:cxn ang="0">
                    <a:pos x="T0" y="T1"/>
                  </a:cxn>
                  <a:cxn ang="0">
                    <a:pos x="T2" y="T3"/>
                  </a:cxn>
                  <a:cxn ang="0">
                    <a:pos x="T4" y="T5"/>
                  </a:cxn>
                  <a:cxn ang="0">
                    <a:pos x="T6" y="T7"/>
                  </a:cxn>
                </a:cxnLst>
                <a:rect l="0" t="0" r="r" b="b"/>
                <a:pathLst>
                  <a:path w="10" h="12">
                    <a:moveTo>
                      <a:pt x="0" y="0"/>
                    </a:moveTo>
                    <a:lnTo>
                      <a:pt x="10" y="12"/>
                    </a:lnTo>
                    <a:lnTo>
                      <a:pt x="10" y="8"/>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51" name="Freeform 302"/>
              <p:cNvSpPr>
                <a:spLocks/>
              </p:cNvSpPr>
              <p:nvPr/>
            </p:nvSpPr>
            <p:spPr bwMode="auto">
              <a:xfrm>
                <a:off x="3955" y="1195"/>
                <a:ext cx="4" cy="6"/>
              </a:xfrm>
              <a:custGeom>
                <a:avLst/>
                <a:gdLst>
                  <a:gd name="T0" fmla="*/ 0 w 4"/>
                  <a:gd name="T1" fmla="*/ 0 h 6"/>
                  <a:gd name="T2" fmla="*/ 4 w 4"/>
                  <a:gd name="T3" fmla="*/ 6 h 6"/>
                  <a:gd name="T4" fmla="*/ 4 w 4"/>
                  <a:gd name="T5" fmla="*/ 2 h 6"/>
                  <a:gd name="T6" fmla="*/ 2 w 4"/>
                  <a:gd name="T7" fmla="*/ 0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lnTo>
                      <a:pt x="4" y="6"/>
                    </a:lnTo>
                    <a:lnTo>
                      <a:pt x="4" y="2"/>
                    </a:lnTo>
                    <a:lnTo>
                      <a:pt x="2" y="0"/>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52" name="Freeform 303"/>
              <p:cNvSpPr>
                <a:spLocks/>
              </p:cNvSpPr>
              <p:nvPr/>
            </p:nvSpPr>
            <p:spPr bwMode="auto">
              <a:xfrm>
                <a:off x="3955" y="1195"/>
                <a:ext cx="4" cy="6"/>
              </a:xfrm>
              <a:custGeom>
                <a:avLst/>
                <a:gdLst>
                  <a:gd name="T0" fmla="*/ 0 w 4"/>
                  <a:gd name="T1" fmla="*/ 0 h 6"/>
                  <a:gd name="T2" fmla="*/ 4 w 4"/>
                  <a:gd name="T3" fmla="*/ 6 h 6"/>
                  <a:gd name="T4" fmla="*/ 4 w 4"/>
                  <a:gd name="T5" fmla="*/ 2 h 6"/>
                  <a:gd name="T6" fmla="*/ 2 w 4"/>
                  <a:gd name="T7" fmla="*/ 0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lnTo>
                      <a:pt x="4" y="6"/>
                    </a:lnTo>
                    <a:lnTo>
                      <a:pt x="4" y="2"/>
                    </a:lnTo>
                    <a:lnTo>
                      <a:pt x="2" y="0"/>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53" name="Freeform 304"/>
              <p:cNvSpPr>
                <a:spLocks/>
              </p:cNvSpPr>
              <p:nvPr/>
            </p:nvSpPr>
            <p:spPr bwMode="auto">
              <a:xfrm>
                <a:off x="3993" y="1279"/>
                <a:ext cx="8" cy="20"/>
              </a:xfrm>
              <a:custGeom>
                <a:avLst/>
                <a:gdLst>
                  <a:gd name="T0" fmla="*/ 0 w 8"/>
                  <a:gd name="T1" fmla="*/ 0 h 20"/>
                  <a:gd name="T2" fmla="*/ 4 w 8"/>
                  <a:gd name="T3" fmla="*/ 4 h 20"/>
                  <a:gd name="T4" fmla="*/ 8 w 8"/>
                  <a:gd name="T5" fmla="*/ 18 h 20"/>
                  <a:gd name="T6" fmla="*/ 6 w 8"/>
                  <a:gd name="T7" fmla="*/ 20 h 20"/>
                  <a:gd name="T8" fmla="*/ 4 w 8"/>
                  <a:gd name="T9" fmla="*/ 14 h 20"/>
                  <a:gd name="T10" fmla="*/ 2 w 8"/>
                  <a:gd name="T11" fmla="*/ 8 h 20"/>
                  <a:gd name="T12" fmla="*/ 0 w 8"/>
                  <a:gd name="T13" fmla="*/ 2 h 20"/>
                  <a:gd name="T14" fmla="*/ 0 w 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0">
                    <a:moveTo>
                      <a:pt x="0" y="0"/>
                    </a:moveTo>
                    <a:lnTo>
                      <a:pt x="4" y="4"/>
                    </a:lnTo>
                    <a:lnTo>
                      <a:pt x="8" y="18"/>
                    </a:lnTo>
                    <a:lnTo>
                      <a:pt x="6" y="20"/>
                    </a:lnTo>
                    <a:lnTo>
                      <a:pt x="4" y="14"/>
                    </a:lnTo>
                    <a:lnTo>
                      <a:pt x="2" y="8"/>
                    </a:lnTo>
                    <a:lnTo>
                      <a:pt x="0" y="2"/>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54" name="Freeform 305"/>
              <p:cNvSpPr>
                <a:spLocks/>
              </p:cNvSpPr>
              <p:nvPr/>
            </p:nvSpPr>
            <p:spPr bwMode="auto">
              <a:xfrm>
                <a:off x="3993" y="1279"/>
                <a:ext cx="8" cy="20"/>
              </a:xfrm>
              <a:custGeom>
                <a:avLst/>
                <a:gdLst>
                  <a:gd name="T0" fmla="*/ 0 w 8"/>
                  <a:gd name="T1" fmla="*/ 0 h 20"/>
                  <a:gd name="T2" fmla="*/ 4 w 8"/>
                  <a:gd name="T3" fmla="*/ 4 h 20"/>
                  <a:gd name="T4" fmla="*/ 8 w 8"/>
                  <a:gd name="T5" fmla="*/ 18 h 20"/>
                  <a:gd name="T6" fmla="*/ 6 w 8"/>
                  <a:gd name="T7" fmla="*/ 20 h 20"/>
                  <a:gd name="T8" fmla="*/ 4 w 8"/>
                  <a:gd name="T9" fmla="*/ 14 h 20"/>
                  <a:gd name="T10" fmla="*/ 2 w 8"/>
                  <a:gd name="T11" fmla="*/ 8 h 20"/>
                  <a:gd name="T12" fmla="*/ 0 w 8"/>
                  <a:gd name="T13" fmla="*/ 2 h 20"/>
                  <a:gd name="T14" fmla="*/ 0 w 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0">
                    <a:moveTo>
                      <a:pt x="0" y="0"/>
                    </a:moveTo>
                    <a:lnTo>
                      <a:pt x="4" y="4"/>
                    </a:lnTo>
                    <a:lnTo>
                      <a:pt x="8" y="18"/>
                    </a:lnTo>
                    <a:lnTo>
                      <a:pt x="6" y="20"/>
                    </a:lnTo>
                    <a:lnTo>
                      <a:pt x="4" y="14"/>
                    </a:lnTo>
                    <a:lnTo>
                      <a:pt x="2" y="8"/>
                    </a:lnTo>
                    <a:lnTo>
                      <a:pt x="0" y="2"/>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55" name="Freeform 306"/>
              <p:cNvSpPr>
                <a:spLocks/>
              </p:cNvSpPr>
              <p:nvPr/>
            </p:nvSpPr>
            <p:spPr bwMode="auto">
              <a:xfrm>
                <a:off x="4001" y="1341"/>
                <a:ext cx="10" cy="38"/>
              </a:xfrm>
              <a:custGeom>
                <a:avLst/>
                <a:gdLst>
                  <a:gd name="T0" fmla="*/ 2 w 10"/>
                  <a:gd name="T1" fmla="*/ 2 h 38"/>
                  <a:gd name="T2" fmla="*/ 4 w 10"/>
                  <a:gd name="T3" fmla="*/ 4 h 38"/>
                  <a:gd name="T4" fmla="*/ 10 w 10"/>
                  <a:gd name="T5" fmla="*/ 34 h 38"/>
                  <a:gd name="T6" fmla="*/ 10 w 10"/>
                  <a:gd name="T7" fmla="*/ 38 h 38"/>
                  <a:gd name="T8" fmla="*/ 4 w 10"/>
                  <a:gd name="T9" fmla="*/ 32 h 38"/>
                  <a:gd name="T10" fmla="*/ 0 w 10"/>
                  <a:gd name="T11" fmla="*/ 2 h 38"/>
                  <a:gd name="T12" fmla="*/ 0 w 10"/>
                  <a:gd name="T13" fmla="*/ 0 h 38"/>
                  <a:gd name="T14" fmla="*/ 2 w 10"/>
                  <a:gd name="T15" fmla="*/ 2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38">
                    <a:moveTo>
                      <a:pt x="2" y="2"/>
                    </a:moveTo>
                    <a:lnTo>
                      <a:pt x="4" y="4"/>
                    </a:lnTo>
                    <a:lnTo>
                      <a:pt x="10" y="34"/>
                    </a:lnTo>
                    <a:lnTo>
                      <a:pt x="10" y="38"/>
                    </a:lnTo>
                    <a:lnTo>
                      <a:pt x="4" y="32"/>
                    </a:lnTo>
                    <a:lnTo>
                      <a:pt x="0" y="2"/>
                    </a:lnTo>
                    <a:lnTo>
                      <a:pt x="0" y="0"/>
                    </a:lnTo>
                    <a:lnTo>
                      <a:pt x="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56" name="Freeform 307"/>
              <p:cNvSpPr>
                <a:spLocks/>
              </p:cNvSpPr>
              <p:nvPr/>
            </p:nvSpPr>
            <p:spPr bwMode="auto">
              <a:xfrm>
                <a:off x="4001" y="1341"/>
                <a:ext cx="10" cy="38"/>
              </a:xfrm>
              <a:custGeom>
                <a:avLst/>
                <a:gdLst>
                  <a:gd name="T0" fmla="*/ 2 w 10"/>
                  <a:gd name="T1" fmla="*/ 2 h 38"/>
                  <a:gd name="T2" fmla="*/ 4 w 10"/>
                  <a:gd name="T3" fmla="*/ 4 h 38"/>
                  <a:gd name="T4" fmla="*/ 10 w 10"/>
                  <a:gd name="T5" fmla="*/ 34 h 38"/>
                  <a:gd name="T6" fmla="*/ 10 w 10"/>
                  <a:gd name="T7" fmla="*/ 38 h 38"/>
                  <a:gd name="T8" fmla="*/ 4 w 10"/>
                  <a:gd name="T9" fmla="*/ 32 h 38"/>
                  <a:gd name="T10" fmla="*/ 0 w 10"/>
                  <a:gd name="T11" fmla="*/ 2 h 38"/>
                  <a:gd name="T12" fmla="*/ 0 w 10"/>
                  <a:gd name="T13" fmla="*/ 0 h 38"/>
                  <a:gd name="T14" fmla="*/ 2 w 10"/>
                  <a:gd name="T15" fmla="*/ 2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38">
                    <a:moveTo>
                      <a:pt x="2" y="2"/>
                    </a:moveTo>
                    <a:lnTo>
                      <a:pt x="4" y="4"/>
                    </a:lnTo>
                    <a:lnTo>
                      <a:pt x="10" y="34"/>
                    </a:lnTo>
                    <a:lnTo>
                      <a:pt x="10" y="38"/>
                    </a:lnTo>
                    <a:lnTo>
                      <a:pt x="4" y="32"/>
                    </a:lnTo>
                    <a:lnTo>
                      <a:pt x="0" y="2"/>
                    </a:lnTo>
                    <a:lnTo>
                      <a:pt x="0" y="0"/>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57" name="Freeform 308"/>
              <p:cNvSpPr>
                <a:spLocks/>
              </p:cNvSpPr>
              <p:nvPr/>
            </p:nvSpPr>
            <p:spPr bwMode="auto">
              <a:xfrm>
                <a:off x="3995" y="1397"/>
                <a:ext cx="16" cy="70"/>
              </a:xfrm>
              <a:custGeom>
                <a:avLst/>
                <a:gdLst>
                  <a:gd name="T0" fmla="*/ 12 w 16"/>
                  <a:gd name="T1" fmla="*/ 2 h 70"/>
                  <a:gd name="T2" fmla="*/ 10 w 16"/>
                  <a:gd name="T3" fmla="*/ 0 h 70"/>
                  <a:gd name="T4" fmla="*/ 12 w 16"/>
                  <a:gd name="T5" fmla="*/ 2 h 70"/>
                  <a:gd name="T6" fmla="*/ 12 w 16"/>
                  <a:gd name="T7" fmla="*/ 36 h 70"/>
                  <a:gd name="T8" fmla="*/ 10 w 16"/>
                  <a:gd name="T9" fmla="*/ 38 h 70"/>
                  <a:gd name="T10" fmla="*/ 10 w 16"/>
                  <a:gd name="T11" fmla="*/ 42 h 70"/>
                  <a:gd name="T12" fmla="*/ 12 w 16"/>
                  <a:gd name="T13" fmla="*/ 48 h 70"/>
                  <a:gd name="T14" fmla="*/ 16 w 16"/>
                  <a:gd name="T15" fmla="*/ 66 h 70"/>
                  <a:gd name="T16" fmla="*/ 12 w 16"/>
                  <a:gd name="T17" fmla="*/ 70 h 70"/>
                  <a:gd name="T18" fmla="*/ 6 w 16"/>
                  <a:gd name="T19" fmla="*/ 56 h 70"/>
                  <a:gd name="T20" fmla="*/ 6 w 16"/>
                  <a:gd name="T21" fmla="*/ 54 h 70"/>
                  <a:gd name="T22" fmla="*/ 2 w 16"/>
                  <a:gd name="T23" fmla="*/ 38 h 70"/>
                  <a:gd name="T24" fmla="*/ 2 w 16"/>
                  <a:gd name="T25" fmla="*/ 34 h 70"/>
                  <a:gd name="T26" fmla="*/ 0 w 16"/>
                  <a:gd name="T27" fmla="*/ 28 h 70"/>
                  <a:gd name="T28" fmla="*/ 0 w 16"/>
                  <a:gd name="T29" fmla="*/ 24 h 70"/>
                  <a:gd name="T30" fmla="*/ 2 w 16"/>
                  <a:gd name="T31" fmla="*/ 24 h 70"/>
                  <a:gd name="T32" fmla="*/ 6 w 16"/>
                  <a:gd name="T33" fmla="*/ 24 h 70"/>
                  <a:gd name="T34" fmla="*/ 6 w 16"/>
                  <a:gd name="T35" fmla="*/ 20 h 70"/>
                  <a:gd name="T36" fmla="*/ 4 w 16"/>
                  <a:gd name="T37" fmla="*/ 6 h 70"/>
                  <a:gd name="T38" fmla="*/ 6 w 16"/>
                  <a:gd name="T39" fmla="*/ 2 h 70"/>
                  <a:gd name="T40" fmla="*/ 8 w 16"/>
                  <a:gd name="T41" fmla="*/ 0 h 70"/>
                  <a:gd name="T42" fmla="*/ 12 w 16"/>
                  <a:gd name="T43"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70">
                    <a:moveTo>
                      <a:pt x="12" y="2"/>
                    </a:moveTo>
                    <a:lnTo>
                      <a:pt x="10" y="0"/>
                    </a:lnTo>
                    <a:lnTo>
                      <a:pt x="12" y="2"/>
                    </a:lnTo>
                    <a:lnTo>
                      <a:pt x="12" y="36"/>
                    </a:lnTo>
                    <a:lnTo>
                      <a:pt x="10" y="38"/>
                    </a:lnTo>
                    <a:lnTo>
                      <a:pt x="10" y="42"/>
                    </a:lnTo>
                    <a:lnTo>
                      <a:pt x="12" y="48"/>
                    </a:lnTo>
                    <a:lnTo>
                      <a:pt x="16" y="66"/>
                    </a:lnTo>
                    <a:lnTo>
                      <a:pt x="12" y="70"/>
                    </a:lnTo>
                    <a:lnTo>
                      <a:pt x="6" y="56"/>
                    </a:lnTo>
                    <a:lnTo>
                      <a:pt x="6" y="54"/>
                    </a:lnTo>
                    <a:lnTo>
                      <a:pt x="2" y="38"/>
                    </a:lnTo>
                    <a:lnTo>
                      <a:pt x="2" y="34"/>
                    </a:lnTo>
                    <a:lnTo>
                      <a:pt x="0" y="28"/>
                    </a:lnTo>
                    <a:lnTo>
                      <a:pt x="0" y="24"/>
                    </a:lnTo>
                    <a:lnTo>
                      <a:pt x="2" y="24"/>
                    </a:lnTo>
                    <a:lnTo>
                      <a:pt x="6" y="24"/>
                    </a:lnTo>
                    <a:lnTo>
                      <a:pt x="6" y="20"/>
                    </a:lnTo>
                    <a:lnTo>
                      <a:pt x="4" y="6"/>
                    </a:lnTo>
                    <a:lnTo>
                      <a:pt x="6" y="2"/>
                    </a:lnTo>
                    <a:lnTo>
                      <a:pt x="8" y="0"/>
                    </a:lnTo>
                    <a:lnTo>
                      <a:pt x="1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58" name="Freeform 309"/>
              <p:cNvSpPr>
                <a:spLocks/>
              </p:cNvSpPr>
              <p:nvPr/>
            </p:nvSpPr>
            <p:spPr bwMode="auto">
              <a:xfrm>
                <a:off x="3995" y="1397"/>
                <a:ext cx="16" cy="70"/>
              </a:xfrm>
              <a:custGeom>
                <a:avLst/>
                <a:gdLst>
                  <a:gd name="T0" fmla="*/ 12 w 16"/>
                  <a:gd name="T1" fmla="*/ 2 h 70"/>
                  <a:gd name="T2" fmla="*/ 10 w 16"/>
                  <a:gd name="T3" fmla="*/ 0 h 70"/>
                  <a:gd name="T4" fmla="*/ 12 w 16"/>
                  <a:gd name="T5" fmla="*/ 2 h 70"/>
                  <a:gd name="T6" fmla="*/ 12 w 16"/>
                  <a:gd name="T7" fmla="*/ 36 h 70"/>
                  <a:gd name="T8" fmla="*/ 10 w 16"/>
                  <a:gd name="T9" fmla="*/ 38 h 70"/>
                  <a:gd name="T10" fmla="*/ 10 w 16"/>
                  <a:gd name="T11" fmla="*/ 42 h 70"/>
                  <a:gd name="T12" fmla="*/ 12 w 16"/>
                  <a:gd name="T13" fmla="*/ 48 h 70"/>
                  <a:gd name="T14" fmla="*/ 16 w 16"/>
                  <a:gd name="T15" fmla="*/ 66 h 70"/>
                  <a:gd name="T16" fmla="*/ 12 w 16"/>
                  <a:gd name="T17" fmla="*/ 70 h 70"/>
                  <a:gd name="T18" fmla="*/ 6 w 16"/>
                  <a:gd name="T19" fmla="*/ 56 h 70"/>
                  <a:gd name="T20" fmla="*/ 6 w 16"/>
                  <a:gd name="T21" fmla="*/ 54 h 70"/>
                  <a:gd name="T22" fmla="*/ 2 w 16"/>
                  <a:gd name="T23" fmla="*/ 38 h 70"/>
                  <a:gd name="T24" fmla="*/ 2 w 16"/>
                  <a:gd name="T25" fmla="*/ 34 h 70"/>
                  <a:gd name="T26" fmla="*/ 0 w 16"/>
                  <a:gd name="T27" fmla="*/ 28 h 70"/>
                  <a:gd name="T28" fmla="*/ 0 w 16"/>
                  <a:gd name="T29" fmla="*/ 24 h 70"/>
                  <a:gd name="T30" fmla="*/ 2 w 16"/>
                  <a:gd name="T31" fmla="*/ 24 h 70"/>
                  <a:gd name="T32" fmla="*/ 6 w 16"/>
                  <a:gd name="T33" fmla="*/ 24 h 70"/>
                  <a:gd name="T34" fmla="*/ 6 w 16"/>
                  <a:gd name="T35" fmla="*/ 20 h 70"/>
                  <a:gd name="T36" fmla="*/ 4 w 16"/>
                  <a:gd name="T37" fmla="*/ 6 h 70"/>
                  <a:gd name="T38" fmla="*/ 6 w 16"/>
                  <a:gd name="T39" fmla="*/ 2 h 70"/>
                  <a:gd name="T40" fmla="*/ 8 w 16"/>
                  <a:gd name="T41" fmla="*/ 0 h 70"/>
                  <a:gd name="T42" fmla="*/ 12 w 16"/>
                  <a:gd name="T43"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70">
                    <a:moveTo>
                      <a:pt x="12" y="2"/>
                    </a:moveTo>
                    <a:lnTo>
                      <a:pt x="10" y="0"/>
                    </a:lnTo>
                    <a:lnTo>
                      <a:pt x="12" y="2"/>
                    </a:lnTo>
                    <a:lnTo>
                      <a:pt x="12" y="36"/>
                    </a:lnTo>
                    <a:lnTo>
                      <a:pt x="10" y="38"/>
                    </a:lnTo>
                    <a:lnTo>
                      <a:pt x="10" y="42"/>
                    </a:lnTo>
                    <a:lnTo>
                      <a:pt x="12" y="48"/>
                    </a:lnTo>
                    <a:lnTo>
                      <a:pt x="16" y="66"/>
                    </a:lnTo>
                    <a:lnTo>
                      <a:pt x="12" y="70"/>
                    </a:lnTo>
                    <a:lnTo>
                      <a:pt x="6" y="56"/>
                    </a:lnTo>
                    <a:lnTo>
                      <a:pt x="6" y="54"/>
                    </a:lnTo>
                    <a:lnTo>
                      <a:pt x="2" y="38"/>
                    </a:lnTo>
                    <a:lnTo>
                      <a:pt x="2" y="34"/>
                    </a:lnTo>
                    <a:lnTo>
                      <a:pt x="0" y="28"/>
                    </a:lnTo>
                    <a:lnTo>
                      <a:pt x="0" y="24"/>
                    </a:lnTo>
                    <a:lnTo>
                      <a:pt x="2" y="24"/>
                    </a:lnTo>
                    <a:lnTo>
                      <a:pt x="6" y="24"/>
                    </a:lnTo>
                    <a:lnTo>
                      <a:pt x="6" y="20"/>
                    </a:lnTo>
                    <a:lnTo>
                      <a:pt x="4" y="6"/>
                    </a:lnTo>
                    <a:lnTo>
                      <a:pt x="6" y="2"/>
                    </a:lnTo>
                    <a:lnTo>
                      <a:pt x="8" y="0"/>
                    </a:lnTo>
                    <a:lnTo>
                      <a:pt x="1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59" name="Freeform 310"/>
              <p:cNvSpPr>
                <a:spLocks/>
              </p:cNvSpPr>
              <p:nvPr/>
            </p:nvSpPr>
            <p:spPr bwMode="auto">
              <a:xfrm>
                <a:off x="4023" y="1485"/>
                <a:ext cx="4" cy="10"/>
              </a:xfrm>
              <a:custGeom>
                <a:avLst/>
                <a:gdLst>
                  <a:gd name="T0" fmla="*/ 2 w 4"/>
                  <a:gd name="T1" fmla="*/ 2 h 10"/>
                  <a:gd name="T2" fmla="*/ 4 w 4"/>
                  <a:gd name="T3" fmla="*/ 0 h 10"/>
                  <a:gd name="T4" fmla="*/ 4 w 4"/>
                  <a:gd name="T5" fmla="*/ 4 h 10"/>
                  <a:gd name="T6" fmla="*/ 4 w 4"/>
                  <a:gd name="T7" fmla="*/ 10 h 10"/>
                  <a:gd name="T8" fmla="*/ 0 w 4"/>
                  <a:gd name="T9" fmla="*/ 10 h 10"/>
                  <a:gd name="T10" fmla="*/ 0 w 4"/>
                  <a:gd name="T11" fmla="*/ 6 h 10"/>
                  <a:gd name="T12" fmla="*/ 2 w 4"/>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2" y="2"/>
                    </a:moveTo>
                    <a:lnTo>
                      <a:pt x="4" y="0"/>
                    </a:lnTo>
                    <a:lnTo>
                      <a:pt x="4" y="4"/>
                    </a:lnTo>
                    <a:lnTo>
                      <a:pt x="4" y="10"/>
                    </a:lnTo>
                    <a:lnTo>
                      <a:pt x="0" y="10"/>
                    </a:lnTo>
                    <a:lnTo>
                      <a:pt x="0" y="6"/>
                    </a:lnTo>
                    <a:lnTo>
                      <a:pt x="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60" name="Freeform 311"/>
              <p:cNvSpPr>
                <a:spLocks/>
              </p:cNvSpPr>
              <p:nvPr/>
            </p:nvSpPr>
            <p:spPr bwMode="auto">
              <a:xfrm>
                <a:off x="4023" y="1485"/>
                <a:ext cx="4" cy="10"/>
              </a:xfrm>
              <a:custGeom>
                <a:avLst/>
                <a:gdLst>
                  <a:gd name="T0" fmla="*/ 2 w 4"/>
                  <a:gd name="T1" fmla="*/ 2 h 10"/>
                  <a:gd name="T2" fmla="*/ 4 w 4"/>
                  <a:gd name="T3" fmla="*/ 0 h 10"/>
                  <a:gd name="T4" fmla="*/ 4 w 4"/>
                  <a:gd name="T5" fmla="*/ 4 h 10"/>
                  <a:gd name="T6" fmla="*/ 4 w 4"/>
                  <a:gd name="T7" fmla="*/ 10 h 10"/>
                  <a:gd name="T8" fmla="*/ 0 w 4"/>
                  <a:gd name="T9" fmla="*/ 10 h 10"/>
                  <a:gd name="T10" fmla="*/ 0 w 4"/>
                  <a:gd name="T11" fmla="*/ 6 h 10"/>
                  <a:gd name="T12" fmla="*/ 2 w 4"/>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2" y="2"/>
                    </a:moveTo>
                    <a:lnTo>
                      <a:pt x="4" y="0"/>
                    </a:lnTo>
                    <a:lnTo>
                      <a:pt x="4" y="4"/>
                    </a:lnTo>
                    <a:lnTo>
                      <a:pt x="4" y="10"/>
                    </a:lnTo>
                    <a:lnTo>
                      <a:pt x="0" y="10"/>
                    </a:lnTo>
                    <a:lnTo>
                      <a:pt x="0" y="6"/>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61" name="Freeform 312"/>
              <p:cNvSpPr>
                <a:spLocks/>
              </p:cNvSpPr>
              <p:nvPr/>
            </p:nvSpPr>
            <p:spPr bwMode="auto">
              <a:xfrm>
                <a:off x="3993" y="1485"/>
                <a:ext cx="14" cy="36"/>
              </a:xfrm>
              <a:custGeom>
                <a:avLst/>
                <a:gdLst>
                  <a:gd name="T0" fmla="*/ 0 w 14"/>
                  <a:gd name="T1" fmla="*/ 2 h 36"/>
                  <a:gd name="T2" fmla="*/ 0 w 14"/>
                  <a:gd name="T3" fmla="*/ 0 h 36"/>
                  <a:gd name="T4" fmla="*/ 4 w 14"/>
                  <a:gd name="T5" fmla="*/ 0 h 36"/>
                  <a:gd name="T6" fmla="*/ 8 w 14"/>
                  <a:gd name="T7" fmla="*/ 0 h 36"/>
                  <a:gd name="T8" fmla="*/ 14 w 14"/>
                  <a:gd name="T9" fmla="*/ 36 h 36"/>
                  <a:gd name="T10" fmla="*/ 10 w 14"/>
                  <a:gd name="T11" fmla="*/ 34 h 36"/>
                  <a:gd name="T12" fmla="*/ 4 w 14"/>
                  <a:gd name="T13" fmla="*/ 10 h 36"/>
                  <a:gd name="T14" fmla="*/ 0 w 14"/>
                  <a:gd name="T15" fmla="*/ 4 h 36"/>
                  <a:gd name="T16" fmla="*/ 0 w 14"/>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6">
                    <a:moveTo>
                      <a:pt x="0" y="2"/>
                    </a:moveTo>
                    <a:lnTo>
                      <a:pt x="0" y="0"/>
                    </a:lnTo>
                    <a:lnTo>
                      <a:pt x="4" y="0"/>
                    </a:lnTo>
                    <a:lnTo>
                      <a:pt x="8" y="0"/>
                    </a:lnTo>
                    <a:lnTo>
                      <a:pt x="14" y="36"/>
                    </a:lnTo>
                    <a:lnTo>
                      <a:pt x="10" y="34"/>
                    </a:lnTo>
                    <a:lnTo>
                      <a:pt x="4" y="10"/>
                    </a:lnTo>
                    <a:lnTo>
                      <a:pt x="0" y="4"/>
                    </a:lnTo>
                    <a:lnTo>
                      <a:pt x="0"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62" name="Freeform 313"/>
              <p:cNvSpPr>
                <a:spLocks/>
              </p:cNvSpPr>
              <p:nvPr/>
            </p:nvSpPr>
            <p:spPr bwMode="auto">
              <a:xfrm>
                <a:off x="3993" y="1485"/>
                <a:ext cx="14" cy="36"/>
              </a:xfrm>
              <a:custGeom>
                <a:avLst/>
                <a:gdLst>
                  <a:gd name="T0" fmla="*/ 0 w 14"/>
                  <a:gd name="T1" fmla="*/ 2 h 36"/>
                  <a:gd name="T2" fmla="*/ 0 w 14"/>
                  <a:gd name="T3" fmla="*/ 0 h 36"/>
                  <a:gd name="T4" fmla="*/ 4 w 14"/>
                  <a:gd name="T5" fmla="*/ 0 h 36"/>
                  <a:gd name="T6" fmla="*/ 8 w 14"/>
                  <a:gd name="T7" fmla="*/ 0 h 36"/>
                  <a:gd name="T8" fmla="*/ 14 w 14"/>
                  <a:gd name="T9" fmla="*/ 36 h 36"/>
                  <a:gd name="T10" fmla="*/ 10 w 14"/>
                  <a:gd name="T11" fmla="*/ 34 h 36"/>
                  <a:gd name="T12" fmla="*/ 4 w 14"/>
                  <a:gd name="T13" fmla="*/ 10 h 36"/>
                  <a:gd name="T14" fmla="*/ 0 w 14"/>
                  <a:gd name="T15" fmla="*/ 4 h 36"/>
                  <a:gd name="T16" fmla="*/ 0 w 14"/>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6">
                    <a:moveTo>
                      <a:pt x="0" y="2"/>
                    </a:moveTo>
                    <a:lnTo>
                      <a:pt x="0" y="0"/>
                    </a:lnTo>
                    <a:lnTo>
                      <a:pt x="4" y="0"/>
                    </a:lnTo>
                    <a:lnTo>
                      <a:pt x="8" y="0"/>
                    </a:lnTo>
                    <a:lnTo>
                      <a:pt x="14" y="36"/>
                    </a:lnTo>
                    <a:lnTo>
                      <a:pt x="10" y="34"/>
                    </a:lnTo>
                    <a:lnTo>
                      <a:pt x="4" y="10"/>
                    </a:lnTo>
                    <a:lnTo>
                      <a:pt x="0" y="4"/>
                    </a:lnTo>
                    <a:lnTo>
                      <a:pt x="0"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63" name="Freeform 314"/>
              <p:cNvSpPr>
                <a:spLocks/>
              </p:cNvSpPr>
              <p:nvPr/>
            </p:nvSpPr>
            <p:spPr bwMode="auto">
              <a:xfrm>
                <a:off x="2407" y="889"/>
                <a:ext cx="8" cy="6"/>
              </a:xfrm>
              <a:custGeom>
                <a:avLst/>
                <a:gdLst>
                  <a:gd name="T0" fmla="*/ 2 w 8"/>
                  <a:gd name="T1" fmla="*/ 2 h 6"/>
                  <a:gd name="T2" fmla="*/ 4 w 8"/>
                  <a:gd name="T3" fmla="*/ 0 h 6"/>
                  <a:gd name="T4" fmla="*/ 8 w 8"/>
                  <a:gd name="T5" fmla="*/ 4 h 6"/>
                  <a:gd name="T6" fmla="*/ 8 w 8"/>
                  <a:gd name="T7" fmla="*/ 4 h 6"/>
                  <a:gd name="T8" fmla="*/ 8 w 8"/>
                  <a:gd name="T9" fmla="*/ 6 h 6"/>
                  <a:gd name="T10" fmla="*/ 6 w 8"/>
                  <a:gd name="T11" fmla="*/ 6 h 6"/>
                  <a:gd name="T12" fmla="*/ 2 w 8"/>
                  <a:gd name="T13" fmla="*/ 6 h 6"/>
                  <a:gd name="T14" fmla="*/ 0 w 8"/>
                  <a:gd name="T15" fmla="*/ 6 h 6"/>
                  <a:gd name="T16" fmla="*/ 0 w 8"/>
                  <a:gd name="T17" fmla="*/ 4 h 6"/>
                  <a:gd name="T18" fmla="*/ 2 w 8"/>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2"/>
                    </a:moveTo>
                    <a:lnTo>
                      <a:pt x="4" y="0"/>
                    </a:lnTo>
                    <a:lnTo>
                      <a:pt x="8" y="4"/>
                    </a:lnTo>
                    <a:lnTo>
                      <a:pt x="8" y="4"/>
                    </a:lnTo>
                    <a:lnTo>
                      <a:pt x="8" y="6"/>
                    </a:lnTo>
                    <a:lnTo>
                      <a:pt x="6" y="6"/>
                    </a:lnTo>
                    <a:lnTo>
                      <a:pt x="2" y="6"/>
                    </a:lnTo>
                    <a:lnTo>
                      <a:pt x="0" y="6"/>
                    </a:lnTo>
                    <a:lnTo>
                      <a:pt x="0" y="4"/>
                    </a:lnTo>
                    <a:lnTo>
                      <a:pt x="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64" name="Freeform 315"/>
              <p:cNvSpPr>
                <a:spLocks/>
              </p:cNvSpPr>
              <p:nvPr/>
            </p:nvSpPr>
            <p:spPr bwMode="auto">
              <a:xfrm>
                <a:off x="2407" y="889"/>
                <a:ext cx="8" cy="6"/>
              </a:xfrm>
              <a:custGeom>
                <a:avLst/>
                <a:gdLst>
                  <a:gd name="T0" fmla="*/ 2 w 8"/>
                  <a:gd name="T1" fmla="*/ 2 h 6"/>
                  <a:gd name="T2" fmla="*/ 4 w 8"/>
                  <a:gd name="T3" fmla="*/ 0 h 6"/>
                  <a:gd name="T4" fmla="*/ 8 w 8"/>
                  <a:gd name="T5" fmla="*/ 4 h 6"/>
                  <a:gd name="T6" fmla="*/ 8 w 8"/>
                  <a:gd name="T7" fmla="*/ 4 h 6"/>
                  <a:gd name="T8" fmla="*/ 8 w 8"/>
                  <a:gd name="T9" fmla="*/ 6 h 6"/>
                  <a:gd name="T10" fmla="*/ 6 w 8"/>
                  <a:gd name="T11" fmla="*/ 6 h 6"/>
                  <a:gd name="T12" fmla="*/ 2 w 8"/>
                  <a:gd name="T13" fmla="*/ 6 h 6"/>
                  <a:gd name="T14" fmla="*/ 0 w 8"/>
                  <a:gd name="T15" fmla="*/ 6 h 6"/>
                  <a:gd name="T16" fmla="*/ 0 w 8"/>
                  <a:gd name="T17" fmla="*/ 4 h 6"/>
                  <a:gd name="T18" fmla="*/ 2 w 8"/>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2"/>
                    </a:moveTo>
                    <a:lnTo>
                      <a:pt x="4" y="0"/>
                    </a:lnTo>
                    <a:lnTo>
                      <a:pt x="8" y="4"/>
                    </a:lnTo>
                    <a:lnTo>
                      <a:pt x="8" y="4"/>
                    </a:lnTo>
                    <a:lnTo>
                      <a:pt x="8" y="6"/>
                    </a:lnTo>
                    <a:lnTo>
                      <a:pt x="6" y="6"/>
                    </a:lnTo>
                    <a:lnTo>
                      <a:pt x="2" y="6"/>
                    </a:lnTo>
                    <a:lnTo>
                      <a:pt x="0" y="6"/>
                    </a:lnTo>
                    <a:lnTo>
                      <a:pt x="0" y="4"/>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65" name="Freeform 316"/>
              <p:cNvSpPr>
                <a:spLocks/>
              </p:cNvSpPr>
              <p:nvPr/>
            </p:nvSpPr>
            <p:spPr bwMode="auto">
              <a:xfrm>
                <a:off x="2485" y="913"/>
                <a:ext cx="20" cy="14"/>
              </a:xfrm>
              <a:custGeom>
                <a:avLst/>
                <a:gdLst>
                  <a:gd name="T0" fmla="*/ 2 w 20"/>
                  <a:gd name="T1" fmla="*/ 2 h 14"/>
                  <a:gd name="T2" fmla="*/ 0 w 20"/>
                  <a:gd name="T3" fmla="*/ 0 h 14"/>
                  <a:gd name="T4" fmla="*/ 2 w 20"/>
                  <a:gd name="T5" fmla="*/ 0 h 14"/>
                  <a:gd name="T6" fmla="*/ 6 w 20"/>
                  <a:gd name="T7" fmla="*/ 0 h 14"/>
                  <a:gd name="T8" fmla="*/ 6 w 20"/>
                  <a:gd name="T9" fmla="*/ 0 h 14"/>
                  <a:gd name="T10" fmla="*/ 14 w 20"/>
                  <a:gd name="T11" fmla="*/ 0 h 14"/>
                  <a:gd name="T12" fmla="*/ 20 w 20"/>
                  <a:gd name="T13" fmla="*/ 2 h 14"/>
                  <a:gd name="T14" fmla="*/ 20 w 20"/>
                  <a:gd name="T15" fmla="*/ 4 h 14"/>
                  <a:gd name="T16" fmla="*/ 20 w 20"/>
                  <a:gd name="T17" fmla="*/ 6 h 14"/>
                  <a:gd name="T18" fmla="*/ 18 w 20"/>
                  <a:gd name="T19" fmla="*/ 6 h 14"/>
                  <a:gd name="T20" fmla="*/ 16 w 20"/>
                  <a:gd name="T21" fmla="*/ 10 h 14"/>
                  <a:gd name="T22" fmla="*/ 14 w 20"/>
                  <a:gd name="T23" fmla="*/ 12 h 14"/>
                  <a:gd name="T24" fmla="*/ 12 w 20"/>
                  <a:gd name="T25" fmla="*/ 12 h 14"/>
                  <a:gd name="T26" fmla="*/ 10 w 20"/>
                  <a:gd name="T27" fmla="*/ 12 h 14"/>
                  <a:gd name="T28" fmla="*/ 8 w 20"/>
                  <a:gd name="T29" fmla="*/ 14 h 14"/>
                  <a:gd name="T30" fmla="*/ 6 w 20"/>
                  <a:gd name="T31" fmla="*/ 12 h 14"/>
                  <a:gd name="T32" fmla="*/ 6 w 20"/>
                  <a:gd name="T33" fmla="*/ 12 h 14"/>
                  <a:gd name="T34" fmla="*/ 8 w 20"/>
                  <a:gd name="T35" fmla="*/ 12 h 14"/>
                  <a:gd name="T36" fmla="*/ 8 w 20"/>
                  <a:gd name="T37" fmla="*/ 12 h 14"/>
                  <a:gd name="T38" fmla="*/ 10 w 20"/>
                  <a:gd name="T39" fmla="*/ 10 h 14"/>
                  <a:gd name="T40" fmla="*/ 12 w 20"/>
                  <a:gd name="T41" fmla="*/ 12 h 14"/>
                  <a:gd name="T42" fmla="*/ 12 w 20"/>
                  <a:gd name="T43" fmla="*/ 10 h 14"/>
                  <a:gd name="T44" fmla="*/ 8 w 20"/>
                  <a:gd name="T45" fmla="*/ 8 h 14"/>
                  <a:gd name="T46" fmla="*/ 4 w 20"/>
                  <a:gd name="T47" fmla="*/ 8 h 14"/>
                  <a:gd name="T48" fmla="*/ 4 w 20"/>
                  <a:gd name="T49" fmla="*/ 8 h 14"/>
                  <a:gd name="T50" fmla="*/ 4 w 20"/>
                  <a:gd name="T51" fmla="*/ 6 h 14"/>
                  <a:gd name="T52" fmla="*/ 2 w 20"/>
                  <a:gd name="T53" fmla="*/ 4 h 14"/>
                  <a:gd name="T54" fmla="*/ 2 w 20"/>
                  <a:gd name="T55" fmla="*/ 4 h 14"/>
                  <a:gd name="T56" fmla="*/ 2 w 20"/>
                  <a:gd name="T57"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14">
                    <a:moveTo>
                      <a:pt x="2" y="2"/>
                    </a:moveTo>
                    <a:lnTo>
                      <a:pt x="0" y="0"/>
                    </a:lnTo>
                    <a:lnTo>
                      <a:pt x="2" y="0"/>
                    </a:lnTo>
                    <a:lnTo>
                      <a:pt x="6" y="0"/>
                    </a:lnTo>
                    <a:lnTo>
                      <a:pt x="6" y="0"/>
                    </a:lnTo>
                    <a:lnTo>
                      <a:pt x="14" y="0"/>
                    </a:lnTo>
                    <a:lnTo>
                      <a:pt x="20" y="2"/>
                    </a:lnTo>
                    <a:lnTo>
                      <a:pt x="20" y="4"/>
                    </a:lnTo>
                    <a:lnTo>
                      <a:pt x="20" y="6"/>
                    </a:lnTo>
                    <a:lnTo>
                      <a:pt x="18" y="6"/>
                    </a:lnTo>
                    <a:lnTo>
                      <a:pt x="16" y="10"/>
                    </a:lnTo>
                    <a:lnTo>
                      <a:pt x="14" y="12"/>
                    </a:lnTo>
                    <a:lnTo>
                      <a:pt x="12" y="12"/>
                    </a:lnTo>
                    <a:lnTo>
                      <a:pt x="10" y="12"/>
                    </a:lnTo>
                    <a:lnTo>
                      <a:pt x="8" y="14"/>
                    </a:lnTo>
                    <a:lnTo>
                      <a:pt x="6" y="12"/>
                    </a:lnTo>
                    <a:lnTo>
                      <a:pt x="6" y="12"/>
                    </a:lnTo>
                    <a:lnTo>
                      <a:pt x="8" y="12"/>
                    </a:lnTo>
                    <a:lnTo>
                      <a:pt x="8" y="12"/>
                    </a:lnTo>
                    <a:lnTo>
                      <a:pt x="10" y="10"/>
                    </a:lnTo>
                    <a:lnTo>
                      <a:pt x="12" y="12"/>
                    </a:lnTo>
                    <a:lnTo>
                      <a:pt x="12" y="10"/>
                    </a:lnTo>
                    <a:lnTo>
                      <a:pt x="8" y="8"/>
                    </a:lnTo>
                    <a:lnTo>
                      <a:pt x="4" y="8"/>
                    </a:lnTo>
                    <a:lnTo>
                      <a:pt x="4" y="8"/>
                    </a:lnTo>
                    <a:lnTo>
                      <a:pt x="4" y="6"/>
                    </a:lnTo>
                    <a:lnTo>
                      <a:pt x="2" y="4"/>
                    </a:lnTo>
                    <a:lnTo>
                      <a:pt x="2" y="4"/>
                    </a:lnTo>
                    <a:lnTo>
                      <a:pt x="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66" name="Freeform 317"/>
              <p:cNvSpPr>
                <a:spLocks/>
              </p:cNvSpPr>
              <p:nvPr/>
            </p:nvSpPr>
            <p:spPr bwMode="auto">
              <a:xfrm>
                <a:off x="2485" y="913"/>
                <a:ext cx="20" cy="14"/>
              </a:xfrm>
              <a:custGeom>
                <a:avLst/>
                <a:gdLst>
                  <a:gd name="T0" fmla="*/ 2 w 20"/>
                  <a:gd name="T1" fmla="*/ 2 h 14"/>
                  <a:gd name="T2" fmla="*/ 0 w 20"/>
                  <a:gd name="T3" fmla="*/ 0 h 14"/>
                  <a:gd name="T4" fmla="*/ 2 w 20"/>
                  <a:gd name="T5" fmla="*/ 0 h 14"/>
                  <a:gd name="T6" fmla="*/ 6 w 20"/>
                  <a:gd name="T7" fmla="*/ 0 h 14"/>
                  <a:gd name="T8" fmla="*/ 6 w 20"/>
                  <a:gd name="T9" fmla="*/ 0 h 14"/>
                  <a:gd name="T10" fmla="*/ 14 w 20"/>
                  <a:gd name="T11" fmla="*/ 0 h 14"/>
                  <a:gd name="T12" fmla="*/ 20 w 20"/>
                  <a:gd name="T13" fmla="*/ 2 h 14"/>
                  <a:gd name="T14" fmla="*/ 20 w 20"/>
                  <a:gd name="T15" fmla="*/ 4 h 14"/>
                  <a:gd name="T16" fmla="*/ 20 w 20"/>
                  <a:gd name="T17" fmla="*/ 6 h 14"/>
                  <a:gd name="T18" fmla="*/ 18 w 20"/>
                  <a:gd name="T19" fmla="*/ 6 h 14"/>
                  <a:gd name="T20" fmla="*/ 16 w 20"/>
                  <a:gd name="T21" fmla="*/ 10 h 14"/>
                  <a:gd name="T22" fmla="*/ 14 w 20"/>
                  <a:gd name="T23" fmla="*/ 12 h 14"/>
                  <a:gd name="T24" fmla="*/ 12 w 20"/>
                  <a:gd name="T25" fmla="*/ 12 h 14"/>
                  <a:gd name="T26" fmla="*/ 10 w 20"/>
                  <a:gd name="T27" fmla="*/ 12 h 14"/>
                  <a:gd name="T28" fmla="*/ 8 w 20"/>
                  <a:gd name="T29" fmla="*/ 14 h 14"/>
                  <a:gd name="T30" fmla="*/ 6 w 20"/>
                  <a:gd name="T31" fmla="*/ 12 h 14"/>
                  <a:gd name="T32" fmla="*/ 6 w 20"/>
                  <a:gd name="T33" fmla="*/ 12 h 14"/>
                  <a:gd name="T34" fmla="*/ 8 w 20"/>
                  <a:gd name="T35" fmla="*/ 12 h 14"/>
                  <a:gd name="T36" fmla="*/ 8 w 20"/>
                  <a:gd name="T37" fmla="*/ 12 h 14"/>
                  <a:gd name="T38" fmla="*/ 10 w 20"/>
                  <a:gd name="T39" fmla="*/ 10 h 14"/>
                  <a:gd name="T40" fmla="*/ 12 w 20"/>
                  <a:gd name="T41" fmla="*/ 12 h 14"/>
                  <a:gd name="T42" fmla="*/ 12 w 20"/>
                  <a:gd name="T43" fmla="*/ 10 h 14"/>
                  <a:gd name="T44" fmla="*/ 8 w 20"/>
                  <a:gd name="T45" fmla="*/ 8 h 14"/>
                  <a:gd name="T46" fmla="*/ 4 w 20"/>
                  <a:gd name="T47" fmla="*/ 8 h 14"/>
                  <a:gd name="T48" fmla="*/ 4 w 20"/>
                  <a:gd name="T49" fmla="*/ 8 h 14"/>
                  <a:gd name="T50" fmla="*/ 4 w 20"/>
                  <a:gd name="T51" fmla="*/ 6 h 14"/>
                  <a:gd name="T52" fmla="*/ 2 w 20"/>
                  <a:gd name="T53" fmla="*/ 4 h 14"/>
                  <a:gd name="T54" fmla="*/ 2 w 20"/>
                  <a:gd name="T55" fmla="*/ 4 h 14"/>
                  <a:gd name="T56" fmla="*/ 2 w 20"/>
                  <a:gd name="T57"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14">
                    <a:moveTo>
                      <a:pt x="2" y="2"/>
                    </a:moveTo>
                    <a:lnTo>
                      <a:pt x="0" y="0"/>
                    </a:lnTo>
                    <a:lnTo>
                      <a:pt x="2" y="0"/>
                    </a:lnTo>
                    <a:lnTo>
                      <a:pt x="6" y="0"/>
                    </a:lnTo>
                    <a:lnTo>
                      <a:pt x="6" y="0"/>
                    </a:lnTo>
                    <a:lnTo>
                      <a:pt x="14" y="0"/>
                    </a:lnTo>
                    <a:lnTo>
                      <a:pt x="20" y="2"/>
                    </a:lnTo>
                    <a:lnTo>
                      <a:pt x="20" y="4"/>
                    </a:lnTo>
                    <a:lnTo>
                      <a:pt x="20" y="6"/>
                    </a:lnTo>
                    <a:lnTo>
                      <a:pt x="18" y="6"/>
                    </a:lnTo>
                    <a:lnTo>
                      <a:pt x="16" y="10"/>
                    </a:lnTo>
                    <a:lnTo>
                      <a:pt x="14" y="12"/>
                    </a:lnTo>
                    <a:lnTo>
                      <a:pt x="12" y="12"/>
                    </a:lnTo>
                    <a:lnTo>
                      <a:pt x="10" y="12"/>
                    </a:lnTo>
                    <a:lnTo>
                      <a:pt x="8" y="14"/>
                    </a:lnTo>
                    <a:lnTo>
                      <a:pt x="6" y="12"/>
                    </a:lnTo>
                    <a:lnTo>
                      <a:pt x="6" y="12"/>
                    </a:lnTo>
                    <a:lnTo>
                      <a:pt x="8" y="12"/>
                    </a:lnTo>
                    <a:lnTo>
                      <a:pt x="8" y="12"/>
                    </a:lnTo>
                    <a:lnTo>
                      <a:pt x="10" y="10"/>
                    </a:lnTo>
                    <a:lnTo>
                      <a:pt x="12" y="12"/>
                    </a:lnTo>
                    <a:lnTo>
                      <a:pt x="12" y="10"/>
                    </a:lnTo>
                    <a:lnTo>
                      <a:pt x="8" y="8"/>
                    </a:lnTo>
                    <a:lnTo>
                      <a:pt x="4" y="8"/>
                    </a:lnTo>
                    <a:lnTo>
                      <a:pt x="4" y="8"/>
                    </a:lnTo>
                    <a:lnTo>
                      <a:pt x="4" y="6"/>
                    </a:lnTo>
                    <a:lnTo>
                      <a:pt x="2" y="4"/>
                    </a:lnTo>
                    <a:lnTo>
                      <a:pt x="2" y="4"/>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67" name="Freeform 318"/>
              <p:cNvSpPr>
                <a:spLocks/>
              </p:cNvSpPr>
              <p:nvPr/>
            </p:nvSpPr>
            <p:spPr bwMode="auto">
              <a:xfrm>
                <a:off x="2469" y="873"/>
                <a:ext cx="10" cy="6"/>
              </a:xfrm>
              <a:custGeom>
                <a:avLst/>
                <a:gdLst>
                  <a:gd name="T0" fmla="*/ 6 w 10"/>
                  <a:gd name="T1" fmla="*/ 0 h 6"/>
                  <a:gd name="T2" fmla="*/ 8 w 10"/>
                  <a:gd name="T3" fmla="*/ 0 h 6"/>
                  <a:gd name="T4" fmla="*/ 10 w 10"/>
                  <a:gd name="T5" fmla="*/ 2 h 6"/>
                  <a:gd name="T6" fmla="*/ 10 w 10"/>
                  <a:gd name="T7" fmla="*/ 2 h 6"/>
                  <a:gd name="T8" fmla="*/ 10 w 10"/>
                  <a:gd name="T9" fmla="*/ 4 h 6"/>
                  <a:gd name="T10" fmla="*/ 8 w 10"/>
                  <a:gd name="T11" fmla="*/ 6 h 6"/>
                  <a:gd name="T12" fmla="*/ 4 w 10"/>
                  <a:gd name="T13" fmla="*/ 6 h 6"/>
                  <a:gd name="T14" fmla="*/ 2 w 10"/>
                  <a:gd name="T15" fmla="*/ 4 h 6"/>
                  <a:gd name="T16" fmla="*/ 0 w 10"/>
                  <a:gd name="T17" fmla="*/ 4 h 6"/>
                  <a:gd name="T18" fmla="*/ 0 w 10"/>
                  <a:gd name="T19" fmla="*/ 2 h 6"/>
                  <a:gd name="T20" fmla="*/ 2 w 10"/>
                  <a:gd name="T21" fmla="*/ 2 h 6"/>
                  <a:gd name="T22" fmla="*/ 4 w 10"/>
                  <a:gd name="T23" fmla="*/ 0 h 6"/>
                  <a:gd name="T24" fmla="*/ 6 w 10"/>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6" y="0"/>
                    </a:moveTo>
                    <a:lnTo>
                      <a:pt x="8" y="0"/>
                    </a:lnTo>
                    <a:lnTo>
                      <a:pt x="10" y="2"/>
                    </a:lnTo>
                    <a:lnTo>
                      <a:pt x="10" y="2"/>
                    </a:lnTo>
                    <a:lnTo>
                      <a:pt x="10" y="4"/>
                    </a:lnTo>
                    <a:lnTo>
                      <a:pt x="8" y="6"/>
                    </a:lnTo>
                    <a:lnTo>
                      <a:pt x="4" y="6"/>
                    </a:lnTo>
                    <a:lnTo>
                      <a:pt x="2" y="4"/>
                    </a:lnTo>
                    <a:lnTo>
                      <a:pt x="0" y="4"/>
                    </a:lnTo>
                    <a:lnTo>
                      <a:pt x="0" y="2"/>
                    </a:lnTo>
                    <a:lnTo>
                      <a:pt x="2" y="2"/>
                    </a:lnTo>
                    <a:lnTo>
                      <a:pt x="4" y="0"/>
                    </a:lnTo>
                    <a:lnTo>
                      <a:pt x="6"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68" name="Freeform 319"/>
              <p:cNvSpPr>
                <a:spLocks/>
              </p:cNvSpPr>
              <p:nvPr/>
            </p:nvSpPr>
            <p:spPr bwMode="auto">
              <a:xfrm>
                <a:off x="2469" y="873"/>
                <a:ext cx="10" cy="6"/>
              </a:xfrm>
              <a:custGeom>
                <a:avLst/>
                <a:gdLst>
                  <a:gd name="T0" fmla="*/ 6 w 10"/>
                  <a:gd name="T1" fmla="*/ 0 h 6"/>
                  <a:gd name="T2" fmla="*/ 8 w 10"/>
                  <a:gd name="T3" fmla="*/ 0 h 6"/>
                  <a:gd name="T4" fmla="*/ 10 w 10"/>
                  <a:gd name="T5" fmla="*/ 2 h 6"/>
                  <a:gd name="T6" fmla="*/ 10 w 10"/>
                  <a:gd name="T7" fmla="*/ 2 h 6"/>
                  <a:gd name="T8" fmla="*/ 10 w 10"/>
                  <a:gd name="T9" fmla="*/ 4 h 6"/>
                  <a:gd name="T10" fmla="*/ 8 w 10"/>
                  <a:gd name="T11" fmla="*/ 6 h 6"/>
                  <a:gd name="T12" fmla="*/ 4 w 10"/>
                  <a:gd name="T13" fmla="*/ 6 h 6"/>
                  <a:gd name="T14" fmla="*/ 2 w 10"/>
                  <a:gd name="T15" fmla="*/ 4 h 6"/>
                  <a:gd name="T16" fmla="*/ 0 w 10"/>
                  <a:gd name="T17" fmla="*/ 4 h 6"/>
                  <a:gd name="T18" fmla="*/ 0 w 10"/>
                  <a:gd name="T19" fmla="*/ 2 h 6"/>
                  <a:gd name="T20" fmla="*/ 2 w 10"/>
                  <a:gd name="T21" fmla="*/ 2 h 6"/>
                  <a:gd name="T22" fmla="*/ 4 w 10"/>
                  <a:gd name="T23" fmla="*/ 0 h 6"/>
                  <a:gd name="T24" fmla="*/ 6 w 10"/>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6" y="0"/>
                    </a:moveTo>
                    <a:lnTo>
                      <a:pt x="8" y="0"/>
                    </a:lnTo>
                    <a:lnTo>
                      <a:pt x="10" y="2"/>
                    </a:lnTo>
                    <a:lnTo>
                      <a:pt x="10" y="2"/>
                    </a:lnTo>
                    <a:lnTo>
                      <a:pt x="10" y="4"/>
                    </a:lnTo>
                    <a:lnTo>
                      <a:pt x="8" y="6"/>
                    </a:lnTo>
                    <a:lnTo>
                      <a:pt x="4" y="6"/>
                    </a:lnTo>
                    <a:lnTo>
                      <a:pt x="2" y="4"/>
                    </a:lnTo>
                    <a:lnTo>
                      <a:pt x="0" y="4"/>
                    </a:lnTo>
                    <a:lnTo>
                      <a:pt x="0" y="2"/>
                    </a:lnTo>
                    <a:lnTo>
                      <a:pt x="2" y="2"/>
                    </a:lnTo>
                    <a:lnTo>
                      <a:pt x="4" y="0"/>
                    </a:lnTo>
                    <a:lnTo>
                      <a:pt x="6"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69" name="Freeform 320"/>
              <p:cNvSpPr>
                <a:spLocks/>
              </p:cNvSpPr>
              <p:nvPr/>
            </p:nvSpPr>
            <p:spPr bwMode="auto">
              <a:xfrm>
                <a:off x="2485" y="867"/>
                <a:ext cx="38" cy="46"/>
              </a:xfrm>
              <a:custGeom>
                <a:avLst/>
                <a:gdLst>
                  <a:gd name="T0" fmla="*/ 14 w 38"/>
                  <a:gd name="T1" fmla="*/ 4 h 46"/>
                  <a:gd name="T2" fmla="*/ 16 w 38"/>
                  <a:gd name="T3" fmla="*/ 0 h 46"/>
                  <a:gd name="T4" fmla="*/ 20 w 38"/>
                  <a:gd name="T5" fmla="*/ 2 h 46"/>
                  <a:gd name="T6" fmla="*/ 24 w 38"/>
                  <a:gd name="T7" fmla="*/ 6 h 46"/>
                  <a:gd name="T8" fmla="*/ 32 w 38"/>
                  <a:gd name="T9" fmla="*/ 12 h 46"/>
                  <a:gd name="T10" fmla="*/ 34 w 38"/>
                  <a:gd name="T11" fmla="*/ 14 h 46"/>
                  <a:gd name="T12" fmla="*/ 36 w 38"/>
                  <a:gd name="T13" fmla="*/ 16 h 46"/>
                  <a:gd name="T14" fmla="*/ 34 w 38"/>
                  <a:gd name="T15" fmla="*/ 18 h 46"/>
                  <a:gd name="T16" fmla="*/ 34 w 38"/>
                  <a:gd name="T17" fmla="*/ 20 h 46"/>
                  <a:gd name="T18" fmla="*/ 36 w 38"/>
                  <a:gd name="T19" fmla="*/ 26 h 46"/>
                  <a:gd name="T20" fmla="*/ 38 w 38"/>
                  <a:gd name="T21" fmla="*/ 28 h 46"/>
                  <a:gd name="T22" fmla="*/ 38 w 38"/>
                  <a:gd name="T23" fmla="*/ 30 h 46"/>
                  <a:gd name="T24" fmla="*/ 38 w 38"/>
                  <a:gd name="T25" fmla="*/ 32 h 46"/>
                  <a:gd name="T26" fmla="*/ 30 w 38"/>
                  <a:gd name="T27" fmla="*/ 34 h 46"/>
                  <a:gd name="T28" fmla="*/ 24 w 38"/>
                  <a:gd name="T29" fmla="*/ 42 h 46"/>
                  <a:gd name="T30" fmla="*/ 20 w 38"/>
                  <a:gd name="T31" fmla="*/ 44 h 46"/>
                  <a:gd name="T32" fmla="*/ 18 w 38"/>
                  <a:gd name="T33" fmla="*/ 44 h 46"/>
                  <a:gd name="T34" fmla="*/ 14 w 38"/>
                  <a:gd name="T35" fmla="*/ 44 h 46"/>
                  <a:gd name="T36" fmla="*/ 10 w 38"/>
                  <a:gd name="T37" fmla="*/ 42 h 46"/>
                  <a:gd name="T38" fmla="*/ 6 w 38"/>
                  <a:gd name="T39" fmla="*/ 38 h 46"/>
                  <a:gd name="T40" fmla="*/ 6 w 38"/>
                  <a:gd name="T41" fmla="*/ 38 h 46"/>
                  <a:gd name="T42" fmla="*/ 2 w 38"/>
                  <a:gd name="T43" fmla="*/ 38 h 46"/>
                  <a:gd name="T44" fmla="*/ 0 w 38"/>
                  <a:gd name="T45" fmla="*/ 40 h 46"/>
                  <a:gd name="T46" fmla="*/ 2 w 38"/>
                  <a:gd name="T47" fmla="*/ 36 h 46"/>
                  <a:gd name="T48" fmla="*/ 4 w 38"/>
                  <a:gd name="T49" fmla="*/ 34 h 46"/>
                  <a:gd name="T50" fmla="*/ 2 w 38"/>
                  <a:gd name="T51" fmla="*/ 32 h 46"/>
                  <a:gd name="T52" fmla="*/ 6 w 38"/>
                  <a:gd name="T53" fmla="*/ 28 h 46"/>
                  <a:gd name="T54" fmla="*/ 6 w 38"/>
                  <a:gd name="T55" fmla="*/ 26 h 46"/>
                  <a:gd name="T56" fmla="*/ 4 w 38"/>
                  <a:gd name="T57" fmla="*/ 24 h 46"/>
                  <a:gd name="T58" fmla="*/ 4 w 38"/>
                  <a:gd name="T59" fmla="*/ 20 h 46"/>
                  <a:gd name="T60" fmla="*/ 6 w 38"/>
                  <a:gd name="T61" fmla="*/ 16 h 46"/>
                  <a:gd name="T62" fmla="*/ 8 w 38"/>
                  <a:gd name="T63" fmla="*/ 12 h 46"/>
                  <a:gd name="T64" fmla="*/ 14 w 38"/>
                  <a:gd name="T65" fmla="*/ 10 h 46"/>
                  <a:gd name="T66" fmla="*/ 14 w 38"/>
                  <a:gd name="T67"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46">
                    <a:moveTo>
                      <a:pt x="14" y="6"/>
                    </a:moveTo>
                    <a:lnTo>
                      <a:pt x="14" y="4"/>
                    </a:lnTo>
                    <a:lnTo>
                      <a:pt x="14" y="2"/>
                    </a:lnTo>
                    <a:lnTo>
                      <a:pt x="16" y="0"/>
                    </a:lnTo>
                    <a:lnTo>
                      <a:pt x="16" y="0"/>
                    </a:lnTo>
                    <a:lnTo>
                      <a:pt x="20" y="2"/>
                    </a:lnTo>
                    <a:lnTo>
                      <a:pt x="22" y="4"/>
                    </a:lnTo>
                    <a:lnTo>
                      <a:pt x="24" y="6"/>
                    </a:lnTo>
                    <a:lnTo>
                      <a:pt x="28" y="10"/>
                    </a:lnTo>
                    <a:lnTo>
                      <a:pt x="32" y="12"/>
                    </a:lnTo>
                    <a:lnTo>
                      <a:pt x="32" y="12"/>
                    </a:lnTo>
                    <a:lnTo>
                      <a:pt x="34" y="14"/>
                    </a:lnTo>
                    <a:lnTo>
                      <a:pt x="34" y="16"/>
                    </a:lnTo>
                    <a:lnTo>
                      <a:pt x="36" y="16"/>
                    </a:lnTo>
                    <a:lnTo>
                      <a:pt x="36" y="16"/>
                    </a:lnTo>
                    <a:lnTo>
                      <a:pt x="34" y="18"/>
                    </a:lnTo>
                    <a:lnTo>
                      <a:pt x="34" y="18"/>
                    </a:lnTo>
                    <a:lnTo>
                      <a:pt x="34" y="20"/>
                    </a:lnTo>
                    <a:lnTo>
                      <a:pt x="36" y="26"/>
                    </a:lnTo>
                    <a:lnTo>
                      <a:pt x="36" y="26"/>
                    </a:lnTo>
                    <a:lnTo>
                      <a:pt x="38" y="26"/>
                    </a:lnTo>
                    <a:lnTo>
                      <a:pt x="38" y="28"/>
                    </a:lnTo>
                    <a:lnTo>
                      <a:pt x="38" y="28"/>
                    </a:lnTo>
                    <a:lnTo>
                      <a:pt x="38" y="30"/>
                    </a:lnTo>
                    <a:lnTo>
                      <a:pt x="38" y="30"/>
                    </a:lnTo>
                    <a:lnTo>
                      <a:pt x="38" y="32"/>
                    </a:lnTo>
                    <a:lnTo>
                      <a:pt x="36" y="32"/>
                    </a:lnTo>
                    <a:lnTo>
                      <a:pt x="30" y="34"/>
                    </a:lnTo>
                    <a:lnTo>
                      <a:pt x="26" y="40"/>
                    </a:lnTo>
                    <a:lnTo>
                      <a:pt x="24" y="42"/>
                    </a:lnTo>
                    <a:lnTo>
                      <a:pt x="22" y="42"/>
                    </a:lnTo>
                    <a:lnTo>
                      <a:pt x="20" y="44"/>
                    </a:lnTo>
                    <a:lnTo>
                      <a:pt x="20" y="46"/>
                    </a:lnTo>
                    <a:lnTo>
                      <a:pt x="18" y="44"/>
                    </a:lnTo>
                    <a:lnTo>
                      <a:pt x="16" y="44"/>
                    </a:lnTo>
                    <a:lnTo>
                      <a:pt x="14" y="44"/>
                    </a:lnTo>
                    <a:lnTo>
                      <a:pt x="12" y="42"/>
                    </a:lnTo>
                    <a:lnTo>
                      <a:pt x="10" y="42"/>
                    </a:lnTo>
                    <a:lnTo>
                      <a:pt x="6" y="40"/>
                    </a:lnTo>
                    <a:lnTo>
                      <a:pt x="6" y="38"/>
                    </a:lnTo>
                    <a:lnTo>
                      <a:pt x="6" y="38"/>
                    </a:lnTo>
                    <a:lnTo>
                      <a:pt x="6" y="38"/>
                    </a:lnTo>
                    <a:lnTo>
                      <a:pt x="4" y="36"/>
                    </a:lnTo>
                    <a:lnTo>
                      <a:pt x="2" y="38"/>
                    </a:lnTo>
                    <a:lnTo>
                      <a:pt x="2" y="38"/>
                    </a:lnTo>
                    <a:lnTo>
                      <a:pt x="0" y="40"/>
                    </a:lnTo>
                    <a:lnTo>
                      <a:pt x="0" y="38"/>
                    </a:lnTo>
                    <a:lnTo>
                      <a:pt x="2" y="36"/>
                    </a:lnTo>
                    <a:lnTo>
                      <a:pt x="4" y="34"/>
                    </a:lnTo>
                    <a:lnTo>
                      <a:pt x="4" y="34"/>
                    </a:lnTo>
                    <a:lnTo>
                      <a:pt x="2" y="34"/>
                    </a:lnTo>
                    <a:lnTo>
                      <a:pt x="2" y="32"/>
                    </a:lnTo>
                    <a:lnTo>
                      <a:pt x="4" y="32"/>
                    </a:lnTo>
                    <a:lnTo>
                      <a:pt x="6" y="28"/>
                    </a:lnTo>
                    <a:lnTo>
                      <a:pt x="6" y="28"/>
                    </a:lnTo>
                    <a:lnTo>
                      <a:pt x="6" y="26"/>
                    </a:lnTo>
                    <a:lnTo>
                      <a:pt x="6" y="24"/>
                    </a:lnTo>
                    <a:lnTo>
                      <a:pt x="4" y="24"/>
                    </a:lnTo>
                    <a:lnTo>
                      <a:pt x="4" y="24"/>
                    </a:lnTo>
                    <a:lnTo>
                      <a:pt x="4" y="20"/>
                    </a:lnTo>
                    <a:lnTo>
                      <a:pt x="6" y="18"/>
                    </a:lnTo>
                    <a:lnTo>
                      <a:pt x="6" y="16"/>
                    </a:lnTo>
                    <a:lnTo>
                      <a:pt x="6" y="14"/>
                    </a:lnTo>
                    <a:lnTo>
                      <a:pt x="8" y="12"/>
                    </a:lnTo>
                    <a:lnTo>
                      <a:pt x="10" y="10"/>
                    </a:lnTo>
                    <a:lnTo>
                      <a:pt x="14" y="10"/>
                    </a:lnTo>
                    <a:lnTo>
                      <a:pt x="14" y="8"/>
                    </a:lnTo>
                    <a:lnTo>
                      <a:pt x="14" y="6"/>
                    </a:lnTo>
                    <a:lnTo>
                      <a:pt x="14" y="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70" name="Freeform 321"/>
              <p:cNvSpPr>
                <a:spLocks/>
              </p:cNvSpPr>
              <p:nvPr/>
            </p:nvSpPr>
            <p:spPr bwMode="auto">
              <a:xfrm>
                <a:off x="2485" y="867"/>
                <a:ext cx="38" cy="46"/>
              </a:xfrm>
              <a:custGeom>
                <a:avLst/>
                <a:gdLst>
                  <a:gd name="T0" fmla="*/ 14 w 38"/>
                  <a:gd name="T1" fmla="*/ 4 h 46"/>
                  <a:gd name="T2" fmla="*/ 16 w 38"/>
                  <a:gd name="T3" fmla="*/ 0 h 46"/>
                  <a:gd name="T4" fmla="*/ 20 w 38"/>
                  <a:gd name="T5" fmla="*/ 2 h 46"/>
                  <a:gd name="T6" fmla="*/ 24 w 38"/>
                  <a:gd name="T7" fmla="*/ 6 h 46"/>
                  <a:gd name="T8" fmla="*/ 32 w 38"/>
                  <a:gd name="T9" fmla="*/ 12 h 46"/>
                  <a:gd name="T10" fmla="*/ 34 w 38"/>
                  <a:gd name="T11" fmla="*/ 14 h 46"/>
                  <a:gd name="T12" fmla="*/ 36 w 38"/>
                  <a:gd name="T13" fmla="*/ 16 h 46"/>
                  <a:gd name="T14" fmla="*/ 34 w 38"/>
                  <a:gd name="T15" fmla="*/ 18 h 46"/>
                  <a:gd name="T16" fmla="*/ 34 w 38"/>
                  <a:gd name="T17" fmla="*/ 20 h 46"/>
                  <a:gd name="T18" fmla="*/ 36 w 38"/>
                  <a:gd name="T19" fmla="*/ 26 h 46"/>
                  <a:gd name="T20" fmla="*/ 38 w 38"/>
                  <a:gd name="T21" fmla="*/ 28 h 46"/>
                  <a:gd name="T22" fmla="*/ 38 w 38"/>
                  <a:gd name="T23" fmla="*/ 30 h 46"/>
                  <a:gd name="T24" fmla="*/ 38 w 38"/>
                  <a:gd name="T25" fmla="*/ 32 h 46"/>
                  <a:gd name="T26" fmla="*/ 30 w 38"/>
                  <a:gd name="T27" fmla="*/ 34 h 46"/>
                  <a:gd name="T28" fmla="*/ 24 w 38"/>
                  <a:gd name="T29" fmla="*/ 42 h 46"/>
                  <a:gd name="T30" fmla="*/ 20 w 38"/>
                  <a:gd name="T31" fmla="*/ 44 h 46"/>
                  <a:gd name="T32" fmla="*/ 18 w 38"/>
                  <a:gd name="T33" fmla="*/ 44 h 46"/>
                  <a:gd name="T34" fmla="*/ 14 w 38"/>
                  <a:gd name="T35" fmla="*/ 44 h 46"/>
                  <a:gd name="T36" fmla="*/ 10 w 38"/>
                  <a:gd name="T37" fmla="*/ 42 h 46"/>
                  <a:gd name="T38" fmla="*/ 6 w 38"/>
                  <a:gd name="T39" fmla="*/ 38 h 46"/>
                  <a:gd name="T40" fmla="*/ 6 w 38"/>
                  <a:gd name="T41" fmla="*/ 38 h 46"/>
                  <a:gd name="T42" fmla="*/ 2 w 38"/>
                  <a:gd name="T43" fmla="*/ 38 h 46"/>
                  <a:gd name="T44" fmla="*/ 0 w 38"/>
                  <a:gd name="T45" fmla="*/ 40 h 46"/>
                  <a:gd name="T46" fmla="*/ 2 w 38"/>
                  <a:gd name="T47" fmla="*/ 36 h 46"/>
                  <a:gd name="T48" fmla="*/ 4 w 38"/>
                  <a:gd name="T49" fmla="*/ 34 h 46"/>
                  <a:gd name="T50" fmla="*/ 2 w 38"/>
                  <a:gd name="T51" fmla="*/ 32 h 46"/>
                  <a:gd name="T52" fmla="*/ 6 w 38"/>
                  <a:gd name="T53" fmla="*/ 28 h 46"/>
                  <a:gd name="T54" fmla="*/ 6 w 38"/>
                  <a:gd name="T55" fmla="*/ 26 h 46"/>
                  <a:gd name="T56" fmla="*/ 4 w 38"/>
                  <a:gd name="T57" fmla="*/ 24 h 46"/>
                  <a:gd name="T58" fmla="*/ 4 w 38"/>
                  <a:gd name="T59" fmla="*/ 20 h 46"/>
                  <a:gd name="T60" fmla="*/ 6 w 38"/>
                  <a:gd name="T61" fmla="*/ 16 h 46"/>
                  <a:gd name="T62" fmla="*/ 8 w 38"/>
                  <a:gd name="T63" fmla="*/ 12 h 46"/>
                  <a:gd name="T64" fmla="*/ 14 w 38"/>
                  <a:gd name="T65" fmla="*/ 10 h 46"/>
                  <a:gd name="T66" fmla="*/ 14 w 38"/>
                  <a:gd name="T67"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46">
                    <a:moveTo>
                      <a:pt x="14" y="6"/>
                    </a:moveTo>
                    <a:lnTo>
                      <a:pt x="14" y="4"/>
                    </a:lnTo>
                    <a:lnTo>
                      <a:pt x="14" y="2"/>
                    </a:lnTo>
                    <a:lnTo>
                      <a:pt x="16" y="0"/>
                    </a:lnTo>
                    <a:lnTo>
                      <a:pt x="16" y="0"/>
                    </a:lnTo>
                    <a:lnTo>
                      <a:pt x="20" y="2"/>
                    </a:lnTo>
                    <a:lnTo>
                      <a:pt x="22" y="4"/>
                    </a:lnTo>
                    <a:lnTo>
                      <a:pt x="24" y="6"/>
                    </a:lnTo>
                    <a:lnTo>
                      <a:pt x="28" y="10"/>
                    </a:lnTo>
                    <a:lnTo>
                      <a:pt x="32" y="12"/>
                    </a:lnTo>
                    <a:lnTo>
                      <a:pt x="32" y="12"/>
                    </a:lnTo>
                    <a:lnTo>
                      <a:pt x="34" y="14"/>
                    </a:lnTo>
                    <a:lnTo>
                      <a:pt x="34" y="16"/>
                    </a:lnTo>
                    <a:lnTo>
                      <a:pt x="36" y="16"/>
                    </a:lnTo>
                    <a:lnTo>
                      <a:pt x="36" y="16"/>
                    </a:lnTo>
                    <a:lnTo>
                      <a:pt x="34" y="18"/>
                    </a:lnTo>
                    <a:lnTo>
                      <a:pt x="34" y="18"/>
                    </a:lnTo>
                    <a:lnTo>
                      <a:pt x="34" y="20"/>
                    </a:lnTo>
                    <a:lnTo>
                      <a:pt x="36" y="26"/>
                    </a:lnTo>
                    <a:lnTo>
                      <a:pt x="36" y="26"/>
                    </a:lnTo>
                    <a:lnTo>
                      <a:pt x="38" y="26"/>
                    </a:lnTo>
                    <a:lnTo>
                      <a:pt x="38" y="28"/>
                    </a:lnTo>
                    <a:lnTo>
                      <a:pt x="38" y="28"/>
                    </a:lnTo>
                    <a:lnTo>
                      <a:pt x="38" y="30"/>
                    </a:lnTo>
                    <a:lnTo>
                      <a:pt x="38" y="30"/>
                    </a:lnTo>
                    <a:lnTo>
                      <a:pt x="38" y="32"/>
                    </a:lnTo>
                    <a:lnTo>
                      <a:pt x="36" y="32"/>
                    </a:lnTo>
                    <a:lnTo>
                      <a:pt x="30" y="34"/>
                    </a:lnTo>
                    <a:lnTo>
                      <a:pt x="26" y="40"/>
                    </a:lnTo>
                    <a:lnTo>
                      <a:pt x="24" y="42"/>
                    </a:lnTo>
                    <a:lnTo>
                      <a:pt x="22" y="42"/>
                    </a:lnTo>
                    <a:lnTo>
                      <a:pt x="20" y="44"/>
                    </a:lnTo>
                    <a:lnTo>
                      <a:pt x="20" y="46"/>
                    </a:lnTo>
                    <a:lnTo>
                      <a:pt x="18" y="44"/>
                    </a:lnTo>
                    <a:lnTo>
                      <a:pt x="16" y="44"/>
                    </a:lnTo>
                    <a:lnTo>
                      <a:pt x="14" y="44"/>
                    </a:lnTo>
                    <a:lnTo>
                      <a:pt x="12" y="42"/>
                    </a:lnTo>
                    <a:lnTo>
                      <a:pt x="10" y="42"/>
                    </a:lnTo>
                    <a:lnTo>
                      <a:pt x="6" y="40"/>
                    </a:lnTo>
                    <a:lnTo>
                      <a:pt x="6" y="38"/>
                    </a:lnTo>
                    <a:lnTo>
                      <a:pt x="6" y="38"/>
                    </a:lnTo>
                    <a:lnTo>
                      <a:pt x="6" y="38"/>
                    </a:lnTo>
                    <a:lnTo>
                      <a:pt x="4" y="36"/>
                    </a:lnTo>
                    <a:lnTo>
                      <a:pt x="2" y="38"/>
                    </a:lnTo>
                    <a:lnTo>
                      <a:pt x="2" y="38"/>
                    </a:lnTo>
                    <a:lnTo>
                      <a:pt x="0" y="40"/>
                    </a:lnTo>
                    <a:lnTo>
                      <a:pt x="0" y="38"/>
                    </a:lnTo>
                    <a:lnTo>
                      <a:pt x="2" y="36"/>
                    </a:lnTo>
                    <a:lnTo>
                      <a:pt x="4" y="34"/>
                    </a:lnTo>
                    <a:lnTo>
                      <a:pt x="4" y="34"/>
                    </a:lnTo>
                    <a:lnTo>
                      <a:pt x="2" y="34"/>
                    </a:lnTo>
                    <a:lnTo>
                      <a:pt x="2" y="32"/>
                    </a:lnTo>
                    <a:lnTo>
                      <a:pt x="4" y="32"/>
                    </a:lnTo>
                    <a:lnTo>
                      <a:pt x="6" y="28"/>
                    </a:lnTo>
                    <a:lnTo>
                      <a:pt x="6" y="28"/>
                    </a:lnTo>
                    <a:lnTo>
                      <a:pt x="6" y="26"/>
                    </a:lnTo>
                    <a:lnTo>
                      <a:pt x="6" y="24"/>
                    </a:lnTo>
                    <a:lnTo>
                      <a:pt x="4" y="24"/>
                    </a:lnTo>
                    <a:lnTo>
                      <a:pt x="4" y="24"/>
                    </a:lnTo>
                    <a:lnTo>
                      <a:pt x="4" y="20"/>
                    </a:lnTo>
                    <a:lnTo>
                      <a:pt x="6" y="18"/>
                    </a:lnTo>
                    <a:lnTo>
                      <a:pt x="6" y="16"/>
                    </a:lnTo>
                    <a:lnTo>
                      <a:pt x="6" y="14"/>
                    </a:lnTo>
                    <a:lnTo>
                      <a:pt x="8" y="12"/>
                    </a:lnTo>
                    <a:lnTo>
                      <a:pt x="10" y="10"/>
                    </a:lnTo>
                    <a:lnTo>
                      <a:pt x="14" y="10"/>
                    </a:lnTo>
                    <a:lnTo>
                      <a:pt x="14" y="8"/>
                    </a:lnTo>
                    <a:lnTo>
                      <a:pt x="14" y="6"/>
                    </a:lnTo>
                    <a:lnTo>
                      <a:pt x="14" y="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71" name="Freeform 322"/>
              <p:cNvSpPr>
                <a:spLocks/>
              </p:cNvSpPr>
              <p:nvPr/>
            </p:nvSpPr>
            <p:spPr bwMode="auto">
              <a:xfrm>
                <a:off x="2501" y="901"/>
                <a:ext cx="58" cy="46"/>
              </a:xfrm>
              <a:custGeom>
                <a:avLst/>
                <a:gdLst>
                  <a:gd name="T0" fmla="*/ 10 w 58"/>
                  <a:gd name="T1" fmla="*/ 8 h 46"/>
                  <a:gd name="T2" fmla="*/ 12 w 58"/>
                  <a:gd name="T3" fmla="*/ 8 h 46"/>
                  <a:gd name="T4" fmla="*/ 12 w 58"/>
                  <a:gd name="T5" fmla="*/ 6 h 46"/>
                  <a:gd name="T6" fmla="*/ 24 w 58"/>
                  <a:gd name="T7" fmla="*/ 2 h 46"/>
                  <a:gd name="T8" fmla="*/ 26 w 58"/>
                  <a:gd name="T9" fmla="*/ 0 h 46"/>
                  <a:gd name="T10" fmla="*/ 30 w 58"/>
                  <a:gd name="T11" fmla="*/ 2 h 46"/>
                  <a:gd name="T12" fmla="*/ 34 w 58"/>
                  <a:gd name="T13" fmla="*/ 8 h 46"/>
                  <a:gd name="T14" fmla="*/ 32 w 58"/>
                  <a:gd name="T15" fmla="*/ 12 h 46"/>
                  <a:gd name="T16" fmla="*/ 28 w 58"/>
                  <a:gd name="T17" fmla="*/ 16 h 46"/>
                  <a:gd name="T18" fmla="*/ 30 w 58"/>
                  <a:gd name="T19" fmla="*/ 14 h 46"/>
                  <a:gd name="T20" fmla="*/ 32 w 58"/>
                  <a:gd name="T21" fmla="*/ 10 h 46"/>
                  <a:gd name="T22" fmla="*/ 34 w 58"/>
                  <a:gd name="T23" fmla="*/ 4 h 46"/>
                  <a:gd name="T24" fmla="*/ 32 w 58"/>
                  <a:gd name="T25" fmla="*/ 2 h 46"/>
                  <a:gd name="T26" fmla="*/ 36 w 58"/>
                  <a:gd name="T27" fmla="*/ 2 h 46"/>
                  <a:gd name="T28" fmla="*/ 38 w 58"/>
                  <a:gd name="T29" fmla="*/ 4 h 46"/>
                  <a:gd name="T30" fmla="*/ 40 w 58"/>
                  <a:gd name="T31" fmla="*/ 2 h 46"/>
                  <a:gd name="T32" fmla="*/ 46 w 58"/>
                  <a:gd name="T33" fmla="*/ 6 h 46"/>
                  <a:gd name="T34" fmla="*/ 46 w 58"/>
                  <a:gd name="T35" fmla="*/ 8 h 46"/>
                  <a:gd name="T36" fmla="*/ 48 w 58"/>
                  <a:gd name="T37" fmla="*/ 12 h 46"/>
                  <a:gd name="T38" fmla="*/ 50 w 58"/>
                  <a:gd name="T39" fmla="*/ 12 h 46"/>
                  <a:gd name="T40" fmla="*/ 50 w 58"/>
                  <a:gd name="T41" fmla="*/ 16 h 46"/>
                  <a:gd name="T42" fmla="*/ 50 w 58"/>
                  <a:gd name="T43" fmla="*/ 18 h 46"/>
                  <a:gd name="T44" fmla="*/ 52 w 58"/>
                  <a:gd name="T45" fmla="*/ 26 h 46"/>
                  <a:gd name="T46" fmla="*/ 46 w 58"/>
                  <a:gd name="T47" fmla="*/ 26 h 46"/>
                  <a:gd name="T48" fmla="*/ 52 w 58"/>
                  <a:gd name="T49" fmla="*/ 30 h 46"/>
                  <a:gd name="T50" fmla="*/ 54 w 58"/>
                  <a:gd name="T51" fmla="*/ 32 h 46"/>
                  <a:gd name="T52" fmla="*/ 56 w 58"/>
                  <a:gd name="T53" fmla="*/ 36 h 46"/>
                  <a:gd name="T54" fmla="*/ 58 w 58"/>
                  <a:gd name="T55" fmla="*/ 40 h 46"/>
                  <a:gd name="T56" fmla="*/ 56 w 58"/>
                  <a:gd name="T57" fmla="*/ 42 h 46"/>
                  <a:gd name="T58" fmla="*/ 54 w 58"/>
                  <a:gd name="T59" fmla="*/ 44 h 46"/>
                  <a:gd name="T60" fmla="*/ 44 w 58"/>
                  <a:gd name="T61" fmla="*/ 46 h 46"/>
                  <a:gd name="T62" fmla="*/ 42 w 58"/>
                  <a:gd name="T63" fmla="*/ 46 h 46"/>
                  <a:gd name="T64" fmla="*/ 38 w 58"/>
                  <a:gd name="T65" fmla="*/ 44 h 46"/>
                  <a:gd name="T66" fmla="*/ 32 w 58"/>
                  <a:gd name="T67" fmla="*/ 42 h 46"/>
                  <a:gd name="T68" fmla="*/ 28 w 58"/>
                  <a:gd name="T69" fmla="*/ 42 h 46"/>
                  <a:gd name="T70" fmla="*/ 26 w 58"/>
                  <a:gd name="T71" fmla="*/ 38 h 46"/>
                  <a:gd name="T72" fmla="*/ 22 w 58"/>
                  <a:gd name="T73" fmla="*/ 44 h 46"/>
                  <a:gd name="T74" fmla="*/ 20 w 58"/>
                  <a:gd name="T75" fmla="*/ 42 h 46"/>
                  <a:gd name="T76" fmla="*/ 16 w 58"/>
                  <a:gd name="T77" fmla="*/ 38 h 46"/>
                  <a:gd name="T78" fmla="*/ 10 w 58"/>
                  <a:gd name="T79" fmla="*/ 28 h 46"/>
                  <a:gd name="T80" fmla="*/ 8 w 58"/>
                  <a:gd name="T81" fmla="*/ 30 h 46"/>
                  <a:gd name="T82" fmla="*/ 8 w 58"/>
                  <a:gd name="T83" fmla="*/ 28 h 46"/>
                  <a:gd name="T84" fmla="*/ 6 w 58"/>
                  <a:gd name="T85" fmla="*/ 28 h 46"/>
                  <a:gd name="T86" fmla="*/ 4 w 58"/>
                  <a:gd name="T87" fmla="*/ 30 h 46"/>
                  <a:gd name="T88" fmla="*/ 4 w 58"/>
                  <a:gd name="T89" fmla="*/ 28 h 46"/>
                  <a:gd name="T90" fmla="*/ 4 w 58"/>
                  <a:gd name="T91" fmla="*/ 28 h 46"/>
                  <a:gd name="T92" fmla="*/ 6 w 58"/>
                  <a:gd name="T93" fmla="*/ 22 h 46"/>
                  <a:gd name="T94" fmla="*/ 8 w 58"/>
                  <a:gd name="T95" fmla="*/ 18 h 46"/>
                  <a:gd name="T96" fmla="*/ 10 w 58"/>
                  <a:gd name="T97" fmla="*/ 16 h 46"/>
                  <a:gd name="T98" fmla="*/ 8 w 58"/>
                  <a:gd name="T99" fmla="*/ 14 h 46"/>
                  <a:gd name="T100" fmla="*/ 8 w 58"/>
                  <a:gd name="T101"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 h="46">
                    <a:moveTo>
                      <a:pt x="10" y="8"/>
                    </a:moveTo>
                    <a:lnTo>
                      <a:pt x="10" y="8"/>
                    </a:lnTo>
                    <a:lnTo>
                      <a:pt x="10" y="6"/>
                    </a:lnTo>
                    <a:lnTo>
                      <a:pt x="12" y="8"/>
                    </a:lnTo>
                    <a:lnTo>
                      <a:pt x="14" y="8"/>
                    </a:lnTo>
                    <a:lnTo>
                      <a:pt x="12" y="6"/>
                    </a:lnTo>
                    <a:lnTo>
                      <a:pt x="14" y="4"/>
                    </a:lnTo>
                    <a:lnTo>
                      <a:pt x="24" y="2"/>
                    </a:lnTo>
                    <a:lnTo>
                      <a:pt x="24" y="0"/>
                    </a:lnTo>
                    <a:lnTo>
                      <a:pt x="26" y="0"/>
                    </a:lnTo>
                    <a:lnTo>
                      <a:pt x="28" y="2"/>
                    </a:lnTo>
                    <a:lnTo>
                      <a:pt x="30" y="2"/>
                    </a:lnTo>
                    <a:lnTo>
                      <a:pt x="32" y="4"/>
                    </a:lnTo>
                    <a:lnTo>
                      <a:pt x="34" y="8"/>
                    </a:lnTo>
                    <a:lnTo>
                      <a:pt x="30" y="10"/>
                    </a:lnTo>
                    <a:lnTo>
                      <a:pt x="32" y="12"/>
                    </a:lnTo>
                    <a:lnTo>
                      <a:pt x="30" y="12"/>
                    </a:lnTo>
                    <a:lnTo>
                      <a:pt x="28" y="16"/>
                    </a:lnTo>
                    <a:lnTo>
                      <a:pt x="30" y="16"/>
                    </a:lnTo>
                    <a:lnTo>
                      <a:pt x="30" y="14"/>
                    </a:lnTo>
                    <a:lnTo>
                      <a:pt x="32" y="14"/>
                    </a:lnTo>
                    <a:lnTo>
                      <a:pt x="32" y="10"/>
                    </a:lnTo>
                    <a:lnTo>
                      <a:pt x="34" y="8"/>
                    </a:lnTo>
                    <a:lnTo>
                      <a:pt x="34" y="4"/>
                    </a:lnTo>
                    <a:lnTo>
                      <a:pt x="34" y="4"/>
                    </a:lnTo>
                    <a:lnTo>
                      <a:pt x="32" y="2"/>
                    </a:lnTo>
                    <a:lnTo>
                      <a:pt x="34" y="2"/>
                    </a:lnTo>
                    <a:lnTo>
                      <a:pt x="36" y="2"/>
                    </a:lnTo>
                    <a:lnTo>
                      <a:pt x="36" y="2"/>
                    </a:lnTo>
                    <a:lnTo>
                      <a:pt x="38" y="4"/>
                    </a:lnTo>
                    <a:lnTo>
                      <a:pt x="40" y="2"/>
                    </a:lnTo>
                    <a:lnTo>
                      <a:pt x="40" y="2"/>
                    </a:lnTo>
                    <a:lnTo>
                      <a:pt x="42" y="4"/>
                    </a:lnTo>
                    <a:lnTo>
                      <a:pt x="46" y="6"/>
                    </a:lnTo>
                    <a:lnTo>
                      <a:pt x="46" y="8"/>
                    </a:lnTo>
                    <a:lnTo>
                      <a:pt x="46" y="8"/>
                    </a:lnTo>
                    <a:lnTo>
                      <a:pt x="48" y="10"/>
                    </a:lnTo>
                    <a:lnTo>
                      <a:pt x="48" y="12"/>
                    </a:lnTo>
                    <a:lnTo>
                      <a:pt x="50" y="12"/>
                    </a:lnTo>
                    <a:lnTo>
                      <a:pt x="50" y="12"/>
                    </a:lnTo>
                    <a:lnTo>
                      <a:pt x="48" y="14"/>
                    </a:lnTo>
                    <a:lnTo>
                      <a:pt x="50" y="16"/>
                    </a:lnTo>
                    <a:lnTo>
                      <a:pt x="48" y="18"/>
                    </a:lnTo>
                    <a:lnTo>
                      <a:pt x="50" y="18"/>
                    </a:lnTo>
                    <a:lnTo>
                      <a:pt x="50" y="20"/>
                    </a:lnTo>
                    <a:lnTo>
                      <a:pt x="52" y="26"/>
                    </a:lnTo>
                    <a:lnTo>
                      <a:pt x="52" y="28"/>
                    </a:lnTo>
                    <a:lnTo>
                      <a:pt x="46" y="26"/>
                    </a:lnTo>
                    <a:lnTo>
                      <a:pt x="48" y="28"/>
                    </a:lnTo>
                    <a:lnTo>
                      <a:pt x="52" y="30"/>
                    </a:lnTo>
                    <a:lnTo>
                      <a:pt x="52" y="30"/>
                    </a:lnTo>
                    <a:lnTo>
                      <a:pt x="54" y="32"/>
                    </a:lnTo>
                    <a:lnTo>
                      <a:pt x="56" y="34"/>
                    </a:lnTo>
                    <a:lnTo>
                      <a:pt x="56" y="36"/>
                    </a:lnTo>
                    <a:lnTo>
                      <a:pt x="56" y="38"/>
                    </a:lnTo>
                    <a:lnTo>
                      <a:pt x="58" y="40"/>
                    </a:lnTo>
                    <a:lnTo>
                      <a:pt x="56" y="42"/>
                    </a:lnTo>
                    <a:lnTo>
                      <a:pt x="56" y="42"/>
                    </a:lnTo>
                    <a:lnTo>
                      <a:pt x="56" y="44"/>
                    </a:lnTo>
                    <a:lnTo>
                      <a:pt x="54" y="44"/>
                    </a:lnTo>
                    <a:lnTo>
                      <a:pt x="52" y="46"/>
                    </a:lnTo>
                    <a:lnTo>
                      <a:pt x="44" y="46"/>
                    </a:lnTo>
                    <a:lnTo>
                      <a:pt x="44" y="46"/>
                    </a:lnTo>
                    <a:lnTo>
                      <a:pt x="42" y="46"/>
                    </a:lnTo>
                    <a:lnTo>
                      <a:pt x="38" y="44"/>
                    </a:lnTo>
                    <a:lnTo>
                      <a:pt x="38" y="44"/>
                    </a:lnTo>
                    <a:lnTo>
                      <a:pt x="32" y="44"/>
                    </a:lnTo>
                    <a:lnTo>
                      <a:pt x="32" y="42"/>
                    </a:lnTo>
                    <a:lnTo>
                      <a:pt x="30" y="42"/>
                    </a:lnTo>
                    <a:lnTo>
                      <a:pt x="28" y="42"/>
                    </a:lnTo>
                    <a:lnTo>
                      <a:pt x="28" y="42"/>
                    </a:lnTo>
                    <a:lnTo>
                      <a:pt x="26" y="38"/>
                    </a:lnTo>
                    <a:lnTo>
                      <a:pt x="24" y="40"/>
                    </a:lnTo>
                    <a:lnTo>
                      <a:pt x="22" y="44"/>
                    </a:lnTo>
                    <a:lnTo>
                      <a:pt x="22" y="42"/>
                    </a:lnTo>
                    <a:lnTo>
                      <a:pt x="20" y="42"/>
                    </a:lnTo>
                    <a:lnTo>
                      <a:pt x="18" y="40"/>
                    </a:lnTo>
                    <a:lnTo>
                      <a:pt x="16" y="38"/>
                    </a:lnTo>
                    <a:lnTo>
                      <a:pt x="14" y="38"/>
                    </a:lnTo>
                    <a:lnTo>
                      <a:pt x="10" y="28"/>
                    </a:lnTo>
                    <a:lnTo>
                      <a:pt x="10" y="28"/>
                    </a:lnTo>
                    <a:lnTo>
                      <a:pt x="8" y="30"/>
                    </a:lnTo>
                    <a:lnTo>
                      <a:pt x="8" y="28"/>
                    </a:lnTo>
                    <a:lnTo>
                      <a:pt x="8" y="28"/>
                    </a:lnTo>
                    <a:lnTo>
                      <a:pt x="6" y="30"/>
                    </a:lnTo>
                    <a:lnTo>
                      <a:pt x="6" y="28"/>
                    </a:lnTo>
                    <a:lnTo>
                      <a:pt x="4" y="28"/>
                    </a:lnTo>
                    <a:lnTo>
                      <a:pt x="4" y="30"/>
                    </a:lnTo>
                    <a:lnTo>
                      <a:pt x="4" y="30"/>
                    </a:lnTo>
                    <a:lnTo>
                      <a:pt x="4" y="28"/>
                    </a:lnTo>
                    <a:lnTo>
                      <a:pt x="0" y="28"/>
                    </a:lnTo>
                    <a:lnTo>
                      <a:pt x="4" y="28"/>
                    </a:lnTo>
                    <a:lnTo>
                      <a:pt x="6" y="22"/>
                    </a:lnTo>
                    <a:lnTo>
                      <a:pt x="6" y="22"/>
                    </a:lnTo>
                    <a:lnTo>
                      <a:pt x="6" y="20"/>
                    </a:lnTo>
                    <a:lnTo>
                      <a:pt x="8" y="18"/>
                    </a:lnTo>
                    <a:lnTo>
                      <a:pt x="10" y="16"/>
                    </a:lnTo>
                    <a:lnTo>
                      <a:pt x="10" y="16"/>
                    </a:lnTo>
                    <a:lnTo>
                      <a:pt x="8" y="16"/>
                    </a:lnTo>
                    <a:lnTo>
                      <a:pt x="8" y="14"/>
                    </a:lnTo>
                    <a:lnTo>
                      <a:pt x="8" y="12"/>
                    </a:lnTo>
                    <a:lnTo>
                      <a:pt x="8" y="10"/>
                    </a:lnTo>
                    <a:lnTo>
                      <a:pt x="10" y="8"/>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72" name="Freeform 323"/>
              <p:cNvSpPr>
                <a:spLocks/>
              </p:cNvSpPr>
              <p:nvPr/>
            </p:nvSpPr>
            <p:spPr bwMode="auto">
              <a:xfrm>
                <a:off x="2501" y="901"/>
                <a:ext cx="58" cy="46"/>
              </a:xfrm>
              <a:custGeom>
                <a:avLst/>
                <a:gdLst>
                  <a:gd name="T0" fmla="*/ 10 w 58"/>
                  <a:gd name="T1" fmla="*/ 8 h 46"/>
                  <a:gd name="T2" fmla="*/ 12 w 58"/>
                  <a:gd name="T3" fmla="*/ 8 h 46"/>
                  <a:gd name="T4" fmla="*/ 12 w 58"/>
                  <a:gd name="T5" fmla="*/ 6 h 46"/>
                  <a:gd name="T6" fmla="*/ 24 w 58"/>
                  <a:gd name="T7" fmla="*/ 2 h 46"/>
                  <a:gd name="T8" fmla="*/ 26 w 58"/>
                  <a:gd name="T9" fmla="*/ 0 h 46"/>
                  <a:gd name="T10" fmla="*/ 30 w 58"/>
                  <a:gd name="T11" fmla="*/ 2 h 46"/>
                  <a:gd name="T12" fmla="*/ 34 w 58"/>
                  <a:gd name="T13" fmla="*/ 8 h 46"/>
                  <a:gd name="T14" fmla="*/ 32 w 58"/>
                  <a:gd name="T15" fmla="*/ 12 h 46"/>
                  <a:gd name="T16" fmla="*/ 28 w 58"/>
                  <a:gd name="T17" fmla="*/ 16 h 46"/>
                  <a:gd name="T18" fmla="*/ 30 w 58"/>
                  <a:gd name="T19" fmla="*/ 14 h 46"/>
                  <a:gd name="T20" fmla="*/ 32 w 58"/>
                  <a:gd name="T21" fmla="*/ 10 h 46"/>
                  <a:gd name="T22" fmla="*/ 34 w 58"/>
                  <a:gd name="T23" fmla="*/ 4 h 46"/>
                  <a:gd name="T24" fmla="*/ 32 w 58"/>
                  <a:gd name="T25" fmla="*/ 2 h 46"/>
                  <a:gd name="T26" fmla="*/ 36 w 58"/>
                  <a:gd name="T27" fmla="*/ 2 h 46"/>
                  <a:gd name="T28" fmla="*/ 38 w 58"/>
                  <a:gd name="T29" fmla="*/ 4 h 46"/>
                  <a:gd name="T30" fmla="*/ 40 w 58"/>
                  <a:gd name="T31" fmla="*/ 2 h 46"/>
                  <a:gd name="T32" fmla="*/ 46 w 58"/>
                  <a:gd name="T33" fmla="*/ 6 h 46"/>
                  <a:gd name="T34" fmla="*/ 46 w 58"/>
                  <a:gd name="T35" fmla="*/ 8 h 46"/>
                  <a:gd name="T36" fmla="*/ 48 w 58"/>
                  <a:gd name="T37" fmla="*/ 12 h 46"/>
                  <a:gd name="T38" fmla="*/ 50 w 58"/>
                  <a:gd name="T39" fmla="*/ 12 h 46"/>
                  <a:gd name="T40" fmla="*/ 50 w 58"/>
                  <a:gd name="T41" fmla="*/ 16 h 46"/>
                  <a:gd name="T42" fmla="*/ 50 w 58"/>
                  <a:gd name="T43" fmla="*/ 18 h 46"/>
                  <a:gd name="T44" fmla="*/ 52 w 58"/>
                  <a:gd name="T45" fmla="*/ 26 h 46"/>
                  <a:gd name="T46" fmla="*/ 46 w 58"/>
                  <a:gd name="T47" fmla="*/ 26 h 46"/>
                  <a:gd name="T48" fmla="*/ 52 w 58"/>
                  <a:gd name="T49" fmla="*/ 30 h 46"/>
                  <a:gd name="T50" fmla="*/ 54 w 58"/>
                  <a:gd name="T51" fmla="*/ 32 h 46"/>
                  <a:gd name="T52" fmla="*/ 56 w 58"/>
                  <a:gd name="T53" fmla="*/ 36 h 46"/>
                  <a:gd name="T54" fmla="*/ 58 w 58"/>
                  <a:gd name="T55" fmla="*/ 40 h 46"/>
                  <a:gd name="T56" fmla="*/ 56 w 58"/>
                  <a:gd name="T57" fmla="*/ 42 h 46"/>
                  <a:gd name="T58" fmla="*/ 54 w 58"/>
                  <a:gd name="T59" fmla="*/ 44 h 46"/>
                  <a:gd name="T60" fmla="*/ 44 w 58"/>
                  <a:gd name="T61" fmla="*/ 46 h 46"/>
                  <a:gd name="T62" fmla="*/ 42 w 58"/>
                  <a:gd name="T63" fmla="*/ 46 h 46"/>
                  <a:gd name="T64" fmla="*/ 38 w 58"/>
                  <a:gd name="T65" fmla="*/ 44 h 46"/>
                  <a:gd name="T66" fmla="*/ 32 w 58"/>
                  <a:gd name="T67" fmla="*/ 42 h 46"/>
                  <a:gd name="T68" fmla="*/ 28 w 58"/>
                  <a:gd name="T69" fmla="*/ 42 h 46"/>
                  <a:gd name="T70" fmla="*/ 26 w 58"/>
                  <a:gd name="T71" fmla="*/ 38 h 46"/>
                  <a:gd name="T72" fmla="*/ 22 w 58"/>
                  <a:gd name="T73" fmla="*/ 44 h 46"/>
                  <a:gd name="T74" fmla="*/ 20 w 58"/>
                  <a:gd name="T75" fmla="*/ 42 h 46"/>
                  <a:gd name="T76" fmla="*/ 16 w 58"/>
                  <a:gd name="T77" fmla="*/ 38 h 46"/>
                  <a:gd name="T78" fmla="*/ 10 w 58"/>
                  <a:gd name="T79" fmla="*/ 28 h 46"/>
                  <a:gd name="T80" fmla="*/ 8 w 58"/>
                  <a:gd name="T81" fmla="*/ 30 h 46"/>
                  <a:gd name="T82" fmla="*/ 8 w 58"/>
                  <a:gd name="T83" fmla="*/ 28 h 46"/>
                  <a:gd name="T84" fmla="*/ 6 w 58"/>
                  <a:gd name="T85" fmla="*/ 28 h 46"/>
                  <a:gd name="T86" fmla="*/ 4 w 58"/>
                  <a:gd name="T87" fmla="*/ 30 h 46"/>
                  <a:gd name="T88" fmla="*/ 4 w 58"/>
                  <a:gd name="T89" fmla="*/ 28 h 46"/>
                  <a:gd name="T90" fmla="*/ 4 w 58"/>
                  <a:gd name="T91" fmla="*/ 28 h 46"/>
                  <a:gd name="T92" fmla="*/ 6 w 58"/>
                  <a:gd name="T93" fmla="*/ 22 h 46"/>
                  <a:gd name="T94" fmla="*/ 8 w 58"/>
                  <a:gd name="T95" fmla="*/ 18 h 46"/>
                  <a:gd name="T96" fmla="*/ 10 w 58"/>
                  <a:gd name="T97" fmla="*/ 16 h 46"/>
                  <a:gd name="T98" fmla="*/ 8 w 58"/>
                  <a:gd name="T99" fmla="*/ 14 h 46"/>
                  <a:gd name="T100" fmla="*/ 8 w 58"/>
                  <a:gd name="T101"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 h="46">
                    <a:moveTo>
                      <a:pt x="10" y="8"/>
                    </a:moveTo>
                    <a:lnTo>
                      <a:pt x="10" y="8"/>
                    </a:lnTo>
                    <a:lnTo>
                      <a:pt x="10" y="6"/>
                    </a:lnTo>
                    <a:lnTo>
                      <a:pt x="12" y="8"/>
                    </a:lnTo>
                    <a:lnTo>
                      <a:pt x="14" y="8"/>
                    </a:lnTo>
                    <a:lnTo>
                      <a:pt x="12" y="6"/>
                    </a:lnTo>
                    <a:lnTo>
                      <a:pt x="14" y="4"/>
                    </a:lnTo>
                    <a:lnTo>
                      <a:pt x="24" y="2"/>
                    </a:lnTo>
                    <a:lnTo>
                      <a:pt x="24" y="0"/>
                    </a:lnTo>
                    <a:lnTo>
                      <a:pt x="26" y="0"/>
                    </a:lnTo>
                    <a:lnTo>
                      <a:pt x="28" y="2"/>
                    </a:lnTo>
                    <a:lnTo>
                      <a:pt x="30" y="2"/>
                    </a:lnTo>
                    <a:lnTo>
                      <a:pt x="32" y="4"/>
                    </a:lnTo>
                    <a:lnTo>
                      <a:pt x="34" y="8"/>
                    </a:lnTo>
                    <a:lnTo>
                      <a:pt x="30" y="10"/>
                    </a:lnTo>
                    <a:lnTo>
                      <a:pt x="32" y="12"/>
                    </a:lnTo>
                    <a:lnTo>
                      <a:pt x="30" y="12"/>
                    </a:lnTo>
                    <a:lnTo>
                      <a:pt x="28" y="16"/>
                    </a:lnTo>
                    <a:lnTo>
                      <a:pt x="30" y="16"/>
                    </a:lnTo>
                    <a:lnTo>
                      <a:pt x="30" y="14"/>
                    </a:lnTo>
                    <a:lnTo>
                      <a:pt x="32" y="14"/>
                    </a:lnTo>
                    <a:lnTo>
                      <a:pt x="32" y="10"/>
                    </a:lnTo>
                    <a:lnTo>
                      <a:pt x="34" y="8"/>
                    </a:lnTo>
                    <a:lnTo>
                      <a:pt x="34" y="4"/>
                    </a:lnTo>
                    <a:lnTo>
                      <a:pt x="34" y="4"/>
                    </a:lnTo>
                    <a:lnTo>
                      <a:pt x="32" y="2"/>
                    </a:lnTo>
                    <a:lnTo>
                      <a:pt x="34" y="2"/>
                    </a:lnTo>
                    <a:lnTo>
                      <a:pt x="36" y="2"/>
                    </a:lnTo>
                    <a:lnTo>
                      <a:pt x="36" y="2"/>
                    </a:lnTo>
                    <a:lnTo>
                      <a:pt x="38" y="4"/>
                    </a:lnTo>
                    <a:lnTo>
                      <a:pt x="40" y="2"/>
                    </a:lnTo>
                    <a:lnTo>
                      <a:pt x="40" y="2"/>
                    </a:lnTo>
                    <a:lnTo>
                      <a:pt x="42" y="4"/>
                    </a:lnTo>
                    <a:lnTo>
                      <a:pt x="46" y="6"/>
                    </a:lnTo>
                    <a:lnTo>
                      <a:pt x="46" y="8"/>
                    </a:lnTo>
                    <a:lnTo>
                      <a:pt x="46" y="8"/>
                    </a:lnTo>
                    <a:lnTo>
                      <a:pt x="48" y="10"/>
                    </a:lnTo>
                    <a:lnTo>
                      <a:pt x="48" y="12"/>
                    </a:lnTo>
                    <a:lnTo>
                      <a:pt x="50" y="12"/>
                    </a:lnTo>
                    <a:lnTo>
                      <a:pt x="50" y="12"/>
                    </a:lnTo>
                    <a:lnTo>
                      <a:pt x="48" y="14"/>
                    </a:lnTo>
                    <a:lnTo>
                      <a:pt x="50" y="16"/>
                    </a:lnTo>
                    <a:lnTo>
                      <a:pt x="48" y="18"/>
                    </a:lnTo>
                    <a:lnTo>
                      <a:pt x="50" y="18"/>
                    </a:lnTo>
                    <a:lnTo>
                      <a:pt x="50" y="20"/>
                    </a:lnTo>
                    <a:lnTo>
                      <a:pt x="52" y="26"/>
                    </a:lnTo>
                    <a:lnTo>
                      <a:pt x="52" y="28"/>
                    </a:lnTo>
                    <a:lnTo>
                      <a:pt x="46" y="26"/>
                    </a:lnTo>
                    <a:lnTo>
                      <a:pt x="48" y="28"/>
                    </a:lnTo>
                    <a:lnTo>
                      <a:pt x="52" y="30"/>
                    </a:lnTo>
                    <a:lnTo>
                      <a:pt x="52" y="30"/>
                    </a:lnTo>
                    <a:lnTo>
                      <a:pt x="54" y="32"/>
                    </a:lnTo>
                    <a:lnTo>
                      <a:pt x="56" y="34"/>
                    </a:lnTo>
                    <a:lnTo>
                      <a:pt x="56" y="36"/>
                    </a:lnTo>
                    <a:lnTo>
                      <a:pt x="56" y="38"/>
                    </a:lnTo>
                    <a:lnTo>
                      <a:pt x="58" y="40"/>
                    </a:lnTo>
                    <a:lnTo>
                      <a:pt x="56" y="42"/>
                    </a:lnTo>
                    <a:lnTo>
                      <a:pt x="56" y="42"/>
                    </a:lnTo>
                    <a:lnTo>
                      <a:pt x="56" y="44"/>
                    </a:lnTo>
                    <a:lnTo>
                      <a:pt x="54" y="44"/>
                    </a:lnTo>
                    <a:lnTo>
                      <a:pt x="52" y="46"/>
                    </a:lnTo>
                    <a:lnTo>
                      <a:pt x="44" y="46"/>
                    </a:lnTo>
                    <a:lnTo>
                      <a:pt x="44" y="46"/>
                    </a:lnTo>
                    <a:lnTo>
                      <a:pt x="42" y="46"/>
                    </a:lnTo>
                    <a:lnTo>
                      <a:pt x="38" y="44"/>
                    </a:lnTo>
                    <a:lnTo>
                      <a:pt x="38" y="44"/>
                    </a:lnTo>
                    <a:lnTo>
                      <a:pt x="32" y="44"/>
                    </a:lnTo>
                    <a:lnTo>
                      <a:pt x="32" y="42"/>
                    </a:lnTo>
                    <a:lnTo>
                      <a:pt x="30" y="42"/>
                    </a:lnTo>
                    <a:lnTo>
                      <a:pt x="28" y="42"/>
                    </a:lnTo>
                    <a:lnTo>
                      <a:pt x="28" y="42"/>
                    </a:lnTo>
                    <a:lnTo>
                      <a:pt x="26" y="38"/>
                    </a:lnTo>
                    <a:lnTo>
                      <a:pt x="24" y="40"/>
                    </a:lnTo>
                    <a:lnTo>
                      <a:pt x="22" y="44"/>
                    </a:lnTo>
                    <a:lnTo>
                      <a:pt x="22" y="42"/>
                    </a:lnTo>
                    <a:lnTo>
                      <a:pt x="20" y="42"/>
                    </a:lnTo>
                    <a:lnTo>
                      <a:pt x="18" y="40"/>
                    </a:lnTo>
                    <a:lnTo>
                      <a:pt x="16" y="38"/>
                    </a:lnTo>
                    <a:lnTo>
                      <a:pt x="14" y="38"/>
                    </a:lnTo>
                    <a:lnTo>
                      <a:pt x="10" y="28"/>
                    </a:lnTo>
                    <a:lnTo>
                      <a:pt x="10" y="28"/>
                    </a:lnTo>
                    <a:lnTo>
                      <a:pt x="8" y="30"/>
                    </a:lnTo>
                    <a:lnTo>
                      <a:pt x="8" y="28"/>
                    </a:lnTo>
                    <a:lnTo>
                      <a:pt x="8" y="28"/>
                    </a:lnTo>
                    <a:lnTo>
                      <a:pt x="6" y="30"/>
                    </a:lnTo>
                    <a:lnTo>
                      <a:pt x="6" y="28"/>
                    </a:lnTo>
                    <a:lnTo>
                      <a:pt x="4" y="28"/>
                    </a:lnTo>
                    <a:lnTo>
                      <a:pt x="4" y="30"/>
                    </a:lnTo>
                    <a:lnTo>
                      <a:pt x="4" y="30"/>
                    </a:lnTo>
                    <a:lnTo>
                      <a:pt x="4" y="28"/>
                    </a:lnTo>
                    <a:lnTo>
                      <a:pt x="0" y="28"/>
                    </a:lnTo>
                    <a:lnTo>
                      <a:pt x="4" y="28"/>
                    </a:lnTo>
                    <a:lnTo>
                      <a:pt x="6" y="22"/>
                    </a:lnTo>
                    <a:lnTo>
                      <a:pt x="6" y="22"/>
                    </a:lnTo>
                    <a:lnTo>
                      <a:pt x="6" y="20"/>
                    </a:lnTo>
                    <a:lnTo>
                      <a:pt x="8" y="18"/>
                    </a:lnTo>
                    <a:lnTo>
                      <a:pt x="10" y="16"/>
                    </a:lnTo>
                    <a:lnTo>
                      <a:pt x="10" y="16"/>
                    </a:lnTo>
                    <a:lnTo>
                      <a:pt x="8" y="16"/>
                    </a:lnTo>
                    <a:lnTo>
                      <a:pt x="8" y="14"/>
                    </a:lnTo>
                    <a:lnTo>
                      <a:pt x="8" y="12"/>
                    </a:lnTo>
                    <a:lnTo>
                      <a:pt x="8" y="10"/>
                    </a:lnTo>
                    <a:lnTo>
                      <a:pt x="10" y="8"/>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73" name="Freeform 324"/>
              <p:cNvSpPr>
                <a:spLocks/>
              </p:cNvSpPr>
              <p:nvPr/>
            </p:nvSpPr>
            <p:spPr bwMode="auto">
              <a:xfrm>
                <a:off x="2565" y="915"/>
                <a:ext cx="42" cy="58"/>
              </a:xfrm>
              <a:custGeom>
                <a:avLst/>
                <a:gdLst>
                  <a:gd name="T0" fmla="*/ 2 w 42"/>
                  <a:gd name="T1" fmla="*/ 38 h 58"/>
                  <a:gd name="T2" fmla="*/ 2 w 42"/>
                  <a:gd name="T3" fmla="*/ 34 h 58"/>
                  <a:gd name="T4" fmla="*/ 2 w 42"/>
                  <a:gd name="T5" fmla="*/ 26 h 58"/>
                  <a:gd name="T6" fmla="*/ 6 w 42"/>
                  <a:gd name="T7" fmla="*/ 28 h 58"/>
                  <a:gd name="T8" fmla="*/ 0 w 42"/>
                  <a:gd name="T9" fmla="*/ 20 h 58"/>
                  <a:gd name="T10" fmla="*/ 2 w 42"/>
                  <a:gd name="T11" fmla="*/ 18 h 58"/>
                  <a:gd name="T12" fmla="*/ 0 w 42"/>
                  <a:gd name="T13" fmla="*/ 16 h 58"/>
                  <a:gd name="T14" fmla="*/ 2 w 42"/>
                  <a:gd name="T15" fmla="*/ 14 h 58"/>
                  <a:gd name="T16" fmla="*/ 0 w 42"/>
                  <a:gd name="T17" fmla="*/ 12 h 58"/>
                  <a:gd name="T18" fmla="*/ 2 w 42"/>
                  <a:gd name="T19" fmla="*/ 8 h 58"/>
                  <a:gd name="T20" fmla="*/ 0 w 42"/>
                  <a:gd name="T21" fmla="*/ 6 h 58"/>
                  <a:gd name="T22" fmla="*/ 6 w 42"/>
                  <a:gd name="T23" fmla="*/ 8 h 58"/>
                  <a:gd name="T24" fmla="*/ 4 w 42"/>
                  <a:gd name="T25" fmla="*/ 0 h 58"/>
                  <a:gd name="T26" fmla="*/ 10 w 42"/>
                  <a:gd name="T27" fmla="*/ 4 h 58"/>
                  <a:gd name="T28" fmla="*/ 10 w 42"/>
                  <a:gd name="T29" fmla="*/ 2 h 58"/>
                  <a:gd name="T30" fmla="*/ 12 w 42"/>
                  <a:gd name="T31" fmla="*/ 4 h 58"/>
                  <a:gd name="T32" fmla="*/ 12 w 42"/>
                  <a:gd name="T33" fmla="*/ 10 h 58"/>
                  <a:gd name="T34" fmla="*/ 14 w 42"/>
                  <a:gd name="T35" fmla="*/ 14 h 58"/>
                  <a:gd name="T36" fmla="*/ 14 w 42"/>
                  <a:gd name="T37" fmla="*/ 6 h 58"/>
                  <a:gd name="T38" fmla="*/ 16 w 42"/>
                  <a:gd name="T39" fmla="*/ 6 h 58"/>
                  <a:gd name="T40" fmla="*/ 18 w 42"/>
                  <a:gd name="T41" fmla="*/ 8 h 58"/>
                  <a:gd name="T42" fmla="*/ 18 w 42"/>
                  <a:gd name="T43" fmla="*/ 6 h 58"/>
                  <a:gd name="T44" fmla="*/ 22 w 42"/>
                  <a:gd name="T45" fmla="*/ 8 h 58"/>
                  <a:gd name="T46" fmla="*/ 24 w 42"/>
                  <a:gd name="T47" fmla="*/ 12 h 58"/>
                  <a:gd name="T48" fmla="*/ 24 w 42"/>
                  <a:gd name="T49" fmla="*/ 10 h 58"/>
                  <a:gd name="T50" fmla="*/ 28 w 42"/>
                  <a:gd name="T51" fmla="*/ 14 h 58"/>
                  <a:gd name="T52" fmla="*/ 36 w 42"/>
                  <a:gd name="T53" fmla="*/ 16 h 58"/>
                  <a:gd name="T54" fmla="*/ 40 w 42"/>
                  <a:gd name="T55" fmla="*/ 22 h 58"/>
                  <a:gd name="T56" fmla="*/ 42 w 42"/>
                  <a:gd name="T57" fmla="*/ 30 h 58"/>
                  <a:gd name="T58" fmla="*/ 40 w 42"/>
                  <a:gd name="T59" fmla="*/ 32 h 58"/>
                  <a:gd name="T60" fmla="*/ 34 w 42"/>
                  <a:gd name="T61" fmla="*/ 38 h 58"/>
                  <a:gd name="T62" fmla="*/ 30 w 42"/>
                  <a:gd name="T63" fmla="*/ 40 h 58"/>
                  <a:gd name="T64" fmla="*/ 28 w 42"/>
                  <a:gd name="T65" fmla="*/ 40 h 58"/>
                  <a:gd name="T66" fmla="*/ 28 w 42"/>
                  <a:gd name="T67" fmla="*/ 42 h 58"/>
                  <a:gd name="T68" fmla="*/ 20 w 42"/>
                  <a:gd name="T69" fmla="*/ 44 h 58"/>
                  <a:gd name="T70" fmla="*/ 18 w 42"/>
                  <a:gd name="T71" fmla="*/ 44 h 58"/>
                  <a:gd name="T72" fmla="*/ 14 w 42"/>
                  <a:gd name="T73" fmla="*/ 48 h 58"/>
                  <a:gd name="T74" fmla="*/ 14 w 42"/>
                  <a:gd name="T75" fmla="*/ 50 h 58"/>
                  <a:gd name="T76" fmla="*/ 10 w 42"/>
                  <a:gd name="T77" fmla="*/ 56 h 58"/>
                  <a:gd name="T78" fmla="*/ 4 w 42"/>
                  <a:gd name="T79" fmla="*/ 58 h 58"/>
                  <a:gd name="T80" fmla="*/ 4 w 42"/>
                  <a:gd name="T81" fmla="*/ 54 h 58"/>
                  <a:gd name="T82" fmla="*/ 2 w 42"/>
                  <a:gd name="T83" fmla="*/ 54 h 58"/>
                  <a:gd name="T84" fmla="*/ 4 w 42"/>
                  <a:gd name="T85" fmla="*/ 42 h 58"/>
                  <a:gd name="T86" fmla="*/ 2 w 42"/>
                  <a:gd name="T87"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58">
                    <a:moveTo>
                      <a:pt x="2" y="40"/>
                    </a:moveTo>
                    <a:lnTo>
                      <a:pt x="2" y="38"/>
                    </a:lnTo>
                    <a:lnTo>
                      <a:pt x="2" y="38"/>
                    </a:lnTo>
                    <a:lnTo>
                      <a:pt x="2" y="34"/>
                    </a:lnTo>
                    <a:lnTo>
                      <a:pt x="0" y="32"/>
                    </a:lnTo>
                    <a:lnTo>
                      <a:pt x="2" y="26"/>
                    </a:lnTo>
                    <a:lnTo>
                      <a:pt x="4" y="28"/>
                    </a:lnTo>
                    <a:lnTo>
                      <a:pt x="6" y="28"/>
                    </a:lnTo>
                    <a:lnTo>
                      <a:pt x="2" y="26"/>
                    </a:lnTo>
                    <a:lnTo>
                      <a:pt x="0" y="20"/>
                    </a:lnTo>
                    <a:lnTo>
                      <a:pt x="0" y="18"/>
                    </a:lnTo>
                    <a:lnTo>
                      <a:pt x="2" y="18"/>
                    </a:lnTo>
                    <a:lnTo>
                      <a:pt x="0" y="18"/>
                    </a:lnTo>
                    <a:lnTo>
                      <a:pt x="0" y="16"/>
                    </a:lnTo>
                    <a:lnTo>
                      <a:pt x="0" y="14"/>
                    </a:lnTo>
                    <a:lnTo>
                      <a:pt x="2" y="14"/>
                    </a:lnTo>
                    <a:lnTo>
                      <a:pt x="0" y="14"/>
                    </a:lnTo>
                    <a:lnTo>
                      <a:pt x="0" y="12"/>
                    </a:lnTo>
                    <a:lnTo>
                      <a:pt x="2" y="8"/>
                    </a:lnTo>
                    <a:lnTo>
                      <a:pt x="2" y="8"/>
                    </a:lnTo>
                    <a:lnTo>
                      <a:pt x="0" y="6"/>
                    </a:lnTo>
                    <a:lnTo>
                      <a:pt x="0" y="6"/>
                    </a:lnTo>
                    <a:lnTo>
                      <a:pt x="4" y="8"/>
                    </a:lnTo>
                    <a:lnTo>
                      <a:pt x="6" y="8"/>
                    </a:lnTo>
                    <a:lnTo>
                      <a:pt x="4" y="4"/>
                    </a:lnTo>
                    <a:lnTo>
                      <a:pt x="4" y="0"/>
                    </a:lnTo>
                    <a:lnTo>
                      <a:pt x="8" y="2"/>
                    </a:lnTo>
                    <a:lnTo>
                      <a:pt x="10" y="4"/>
                    </a:lnTo>
                    <a:lnTo>
                      <a:pt x="10" y="2"/>
                    </a:lnTo>
                    <a:lnTo>
                      <a:pt x="10" y="2"/>
                    </a:lnTo>
                    <a:lnTo>
                      <a:pt x="10" y="2"/>
                    </a:lnTo>
                    <a:lnTo>
                      <a:pt x="12" y="4"/>
                    </a:lnTo>
                    <a:lnTo>
                      <a:pt x="12" y="8"/>
                    </a:lnTo>
                    <a:lnTo>
                      <a:pt x="12" y="10"/>
                    </a:lnTo>
                    <a:lnTo>
                      <a:pt x="14" y="12"/>
                    </a:lnTo>
                    <a:lnTo>
                      <a:pt x="14" y="14"/>
                    </a:lnTo>
                    <a:lnTo>
                      <a:pt x="14" y="8"/>
                    </a:lnTo>
                    <a:lnTo>
                      <a:pt x="14" y="6"/>
                    </a:lnTo>
                    <a:lnTo>
                      <a:pt x="14" y="6"/>
                    </a:lnTo>
                    <a:lnTo>
                      <a:pt x="16" y="6"/>
                    </a:lnTo>
                    <a:lnTo>
                      <a:pt x="18" y="8"/>
                    </a:lnTo>
                    <a:lnTo>
                      <a:pt x="18" y="8"/>
                    </a:lnTo>
                    <a:lnTo>
                      <a:pt x="18" y="8"/>
                    </a:lnTo>
                    <a:lnTo>
                      <a:pt x="18" y="6"/>
                    </a:lnTo>
                    <a:lnTo>
                      <a:pt x="20" y="6"/>
                    </a:lnTo>
                    <a:lnTo>
                      <a:pt x="22" y="8"/>
                    </a:lnTo>
                    <a:lnTo>
                      <a:pt x="22" y="10"/>
                    </a:lnTo>
                    <a:lnTo>
                      <a:pt x="24" y="12"/>
                    </a:lnTo>
                    <a:lnTo>
                      <a:pt x="24" y="12"/>
                    </a:lnTo>
                    <a:lnTo>
                      <a:pt x="24" y="10"/>
                    </a:lnTo>
                    <a:lnTo>
                      <a:pt x="24" y="8"/>
                    </a:lnTo>
                    <a:lnTo>
                      <a:pt x="28" y="14"/>
                    </a:lnTo>
                    <a:lnTo>
                      <a:pt x="34" y="14"/>
                    </a:lnTo>
                    <a:lnTo>
                      <a:pt x="36" y="16"/>
                    </a:lnTo>
                    <a:lnTo>
                      <a:pt x="38" y="20"/>
                    </a:lnTo>
                    <a:lnTo>
                      <a:pt x="40" y="22"/>
                    </a:lnTo>
                    <a:lnTo>
                      <a:pt x="42" y="24"/>
                    </a:lnTo>
                    <a:lnTo>
                      <a:pt x="42" y="30"/>
                    </a:lnTo>
                    <a:lnTo>
                      <a:pt x="40" y="32"/>
                    </a:lnTo>
                    <a:lnTo>
                      <a:pt x="40" y="32"/>
                    </a:lnTo>
                    <a:lnTo>
                      <a:pt x="36" y="34"/>
                    </a:lnTo>
                    <a:lnTo>
                      <a:pt x="34" y="38"/>
                    </a:lnTo>
                    <a:lnTo>
                      <a:pt x="30" y="38"/>
                    </a:lnTo>
                    <a:lnTo>
                      <a:pt x="30" y="40"/>
                    </a:lnTo>
                    <a:lnTo>
                      <a:pt x="28" y="40"/>
                    </a:lnTo>
                    <a:lnTo>
                      <a:pt x="28" y="40"/>
                    </a:lnTo>
                    <a:lnTo>
                      <a:pt x="28" y="42"/>
                    </a:lnTo>
                    <a:lnTo>
                      <a:pt x="28" y="42"/>
                    </a:lnTo>
                    <a:lnTo>
                      <a:pt x="24" y="40"/>
                    </a:lnTo>
                    <a:lnTo>
                      <a:pt x="20" y="44"/>
                    </a:lnTo>
                    <a:lnTo>
                      <a:pt x="20" y="42"/>
                    </a:lnTo>
                    <a:lnTo>
                      <a:pt x="18" y="44"/>
                    </a:lnTo>
                    <a:lnTo>
                      <a:pt x="14" y="46"/>
                    </a:lnTo>
                    <a:lnTo>
                      <a:pt x="14" y="48"/>
                    </a:lnTo>
                    <a:lnTo>
                      <a:pt x="14" y="48"/>
                    </a:lnTo>
                    <a:lnTo>
                      <a:pt x="14" y="50"/>
                    </a:lnTo>
                    <a:lnTo>
                      <a:pt x="10" y="54"/>
                    </a:lnTo>
                    <a:lnTo>
                      <a:pt x="10" y="56"/>
                    </a:lnTo>
                    <a:lnTo>
                      <a:pt x="8" y="56"/>
                    </a:lnTo>
                    <a:lnTo>
                      <a:pt x="4" y="58"/>
                    </a:lnTo>
                    <a:lnTo>
                      <a:pt x="4" y="56"/>
                    </a:lnTo>
                    <a:lnTo>
                      <a:pt x="4" y="54"/>
                    </a:lnTo>
                    <a:lnTo>
                      <a:pt x="4" y="54"/>
                    </a:lnTo>
                    <a:lnTo>
                      <a:pt x="2" y="54"/>
                    </a:lnTo>
                    <a:lnTo>
                      <a:pt x="2" y="50"/>
                    </a:lnTo>
                    <a:lnTo>
                      <a:pt x="4" y="42"/>
                    </a:lnTo>
                    <a:lnTo>
                      <a:pt x="2" y="42"/>
                    </a:lnTo>
                    <a:lnTo>
                      <a:pt x="2" y="4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74" name="Freeform 325"/>
              <p:cNvSpPr>
                <a:spLocks/>
              </p:cNvSpPr>
              <p:nvPr/>
            </p:nvSpPr>
            <p:spPr bwMode="auto">
              <a:xfrm>
                <a:off x="2565" y="915"/>
                <a:ext cx="42" cy="58"/>
              </a:xfrm>
              <a:custGeom>
                <a:avLst/>
                <a:gdLst>
                  <a:gd name="T0" fmla="*/ 2 w 42"/>
                  <a:gd name="T1" fmla="*/ 38 h 58"/>
                  <a:gd name="T2" fmla="*/ 2 w 42"/>
                  <a:gd name="T3" fmla="*/ 34 h 58"/>
                  <a:gd name="T4" fmla="*/ 2 w 42"/>
                  <a:gd name="T5" fmla="*/ 26 h 58"/>
                  <a:gd name="T6" fmla="*/ 6 w 42"/>
                  <a:gd name="T7" fmla="*/ 28 h 58"/>
                  <a:gd name="T8" fmla="*/ 0 w 42"/>
                  <a:gd name="T9" fmla="*/ 20 h 58"/>
                  <a:gd name="T10" fmla="*/ 2 w 42"/>
                  <a:gd name="T11" fmla="*/ 18 h 58"/>
                  <a:gd name="T12" fmla="*/ 0 w 42"/>
                  <a:gd name="T13" fmla="*/ 16 h 58"/>
                  <a:gd name="T14" fmla="*/ 2 w 42"/>
                  <a:gd name="T15" fmla="*/ 14 h 58"/>
                  <a:gd name="T16" fmla="*/ 0 w 42"/>
                  <a:gd name="T17" fmla="*/ 12 h 58"/>
                  <a:gd name="T18" fmla="*/ 2 w 42"/>
                  <a:gd name="T19" fmla="*/ 8 h 58"/>
                  <a:gd name="T20" fmla="*/ 0 w 42"/>
                  <a:gd name="T21" fmla="*/ 6 h 58"/>
                  <a:gd name="T22" fmla="*/ 6 w 42"/>
                  <a:gd name="T23" fmla="*/ 8 h 58"/>
                  <a:gd name="T24" fmla="*/ 4 w 42"/>
                  <a:gd name="T25" fmla="*/ 0 h 58"/>
                  <a:gd name="T26" fmla="*/ 10 w 42"/>
                  <a:gd name="T27" fmla="*/ 4 h 58"/>
                  <a:gd name="T28" fmla="*/ 10 w 42"/>
                  <a:gd name="T29" fmla="*/ 2 h 58"/>
                  <a:gd name="T30" fmla="*/ 12 w 42"/>
                  <a:gd name="T31" fmla="*/ 4 h 58"/>
                  <a:gd name="T32" fmla="*/ 12 w 42"/>
                  <a:gd name="T33" fmla="*/ 10 h 58"/>
                  <a:gd name="T34" fmla="*/ 14 w 42"/>
                  <a:gd name="T35" fmla="*/ 14 h 58"/>
                  <a:gd name="T36" fmla="*/ 14 w 42"/>
                  <a:gd name="T37" fmla="*/ 6 h 58"/>
                  <a:gd name="T38" fmla="*/ 16 w 42"/>
                  <a:gd name="T39" fmla="*/ 6 h 58"/>
                  <a:gd name="T40" fmla="*/ 18 w 42"/>
                  <a:gd name="T41" fmla="*/ 8 h 58"/>
                  <a:gd name="T42" fmla="*/ 18 w 42"/>
                  <a:gd name="T43" fmla="*/ 6 h 58"/>
                  <a:gd name="T44" fmla="*/ 22 w 42"/>
                  <a:gd name="T45" fmla="*/ 8 h 58"/>
                  <a:gd name="T46" fmla="*/ 24 w 42"/>
                  <a:gd name="T47" fmla="*/ 12 h 58"/>
                  <a:gd name="T48" fmla="*/ 24 w 42"/>
                  <a:gd name="T49" fmla="*/ 10 h 58"/>
                  <a:gd name="T50" fmla="*/ 28 w 42"/>
                  <a:gd name="T51" fmla="*/ 14 h 58"/>
                  <a:gd name="T52" fmla="*/ 36 w 42"/>
                  <a:gd name="T53" fmla="*/ 16 h 58"/>
                  <a:gd name="T54" fmla="*/ 40 w 42"/>
                  <a:gd name="T55" fmla="*/ 22 h 58"/>
                  <a:gd name="T56" fmla="*/ 42 w 42"/>
                  <a:gd name="T57" fmla="*/ 30 h 58"/>
                  <a:gd name="T58" fmla="*/ 40 w 42"/>
                  <a:gd name="T59" fmla="*/ 32 h 58"/>
                  <a:gd name="T60" fmla="*/ 34 w 42"/>
                  <a:gd name="T61" fmla="*/ 38 h 58"/>
                  <a:gd name="T62" fmla="*/ 30 w 42"/>
                  <a:gd name="T63" fmla="*/ 40 h 58"/>
                  <a:gd name="T64" fmla="*/ 28 w 42"/>
                  <a:gd name="T65" fmla="*/ 40 h 58"/>
                  <a:gd name="T66" fmla="*/ 28 w 42"/>
                  <a:gd name="T67" fmla="*/ 42 h 58"/>
                  <a:gd name="T68" fmla="*/ 20 w 42"/>
                  <a:gd name="T69" fmla="*/ 44 h 58"/>
                  <a:gd name="T70" fmla="*/ 18 w 42"/>
                  <a:gd name="T71" fmla="*/ 44 h 58"/>
                  <a:gd name="T72" fmla="*/ 14 w 42"/>
                  <a:gd name="T73" fmla="*/ 48 h 58"/>
                  <a:gd name="T74" fmla="*/ 14 w 42"/>
                  <a:gd name="T75" fmla="*/ 50 h 58"/>
                  <a:gd name="T76" fmla="*/ 10 w 42"/>
                  <a:gd name="T77" fmla="*/ 56 h 58"/>
                  <a:gd name="T78" fmla="*/ 4 w 42"/>
                  <a:gd name="T79" fmla="*/ 58 h 58"/>
                  <a:gd name="T80" fmla="*/ 4 w 42"/>
                  <a:gd name="T81" fmla="*/ 54 h 58"/>
                  <a:gd name="T82" fmla="*/ 2 w 42"/>
                  <a:gd name="T83" fmla="*/ 54 h 58"/>
                  <a:gd name="T84" fmla="*/ 4 w 42"/>
                  <a:gd name="T85" fmla="*/ 42 h 58"/>
                  <a:gd name="T86" fmla="*/ 2 w 42"/>
                  <a:gd name="T87"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58">
                    <a:moveTo>
                      <a:pt x="2" y="40"/>
                    </a:moveTo>
                    <a:lnTo>
                      <a:pt x="2" y="38"/>
                    </a:lnTo>
                    <a:lnTo>
                      <a:pt x="2" y="38"/>
                    </a:lnTo>
                    <a:lnTo>
                      <a:pt x="2" y="34"/>
                    </a:lnTo>
                    <a:lnTo>
                      <a:pt x="0" y="32"/>
                    </a:lnTo>
                    <a:lnTo>
                      <a:pt x="2" y="26"/>
                    </a:lnTo>
                    <a:lnTo>
                      <a:pt x="4" y="28"/>
                    </a:lnTo>
                    <a:lnTo>
                      <a:pt x="6" y="28"/>
                    </a:lnTo>
                    <a:lnTo>
                      <a:pt x="2" y="26"/>
                    </a:lnTo>
                    <a:lnTo>
                      <a:pt x="0" y="20"/>
                    </a:lnTo>
                    <a:lnTo>
                      <a:pt x="0" y="18"/>
                    </a:lnTo>
                    <a:lnTo>
                      <a:pt x="2" y="18"/>
                    </a:lnTo>
                    <a:lnTo>
                      <a:pt x="0" y="18"/>
                    </a:lnTo>
                    <a:lnTo>
                      <a:pt x="0" y="16"/>
                    </a:lnTo>
                    <a:lnTo>
                      <a:pt x="0" y="14"/>
                    </a:lnTo>
                    <a:lnTo>
                      <a:pt x="2" y="14"/>
                    </a:lnTo>
                    <a:lnTo>
                      <a:pt x="0" y="14"/>
                    </a:lnTo>
                    <a:lnTo>
                      <a:pt x="0" y="12"/>
                    </a:lnTo>
                    <a:lnTo>
                      <a:pt x="2" y="8"/>
                    </a:lnTo>
                    <a:lnTo>
                      <a:pt x="2" y="8"/>
                    </a:lnTo>
                    <a:lnTo>
                      <a:pt x="0" y="6"/>
                    </a:lnTo>
                    <a:lnTo>
                      <a:pt x="0" y="6"/>
                    </a:lnTo>
                    <a:lnTo>
                      <a:pt x="4" y="8"/>
                    </a:lnTo>
                    <a:lnTo>
                      <a:pt x="6" y="8"/>
                    </a:lnTo>
                    <a:lnTo>
                      <a:pt x="4" y="4"/>
                    </a:lnTo>
                    <a:lnTo>
                      <a:pt x="4" y="0"/>
                    </a:lnTo>
                    <a:lnTo>
                      <a:pt x="8" y="2"/>
                    </a:lnTo>
                    <a:lnTo>
                      <a:pt x="10" y="4"/>
                    </a:lnTo>
                    <a:lnTo>
                      <a:pt x="10" y="2"/>
                    </a:lnTo>
                    <a:lnTo>
                      <a:pt x="10" y="2"/>
                    </a:lnTo>
                    <a:lnTo>
                      <a:pt x="10" y="2"/>
                    </a:lnTo>
                    <a:lnTo>
                      <a:pt x="12" y="4"/>
                    </a:lnTo>
                    <a:lnTo>
                      <a:pt x="12" y="8"/>
                    </a:lnTo>
                    <a:lnTo>
                      <a:pt x="12" y="10"/>
                    </a:lnTo>
                    <a:lnTo>
                      <a:pt x="14" y="12"/>
                    </a:lnTo>
                    <a:lnTo>
                      <a:pt x="14" y="14"/>
                    </a:lnTo>
                    <a:lnTo>
                      <a:pt x="14" y="8"/>
                    </a:lnTo>
                    <a:lnTo>
                      <a:pt x="14" y="6"/>
                    </a:lnTo>
                    <a:lnTo>
                      <a:pt x="14" y="6"/>
                    </a:lnTo>
                    <a:lnTo>
                      <a:pt x="16" y="6"/>
                    </a:lnTo>
                    <a:lnTo>
                      <a:pt x="18" y="8"/>
                    </a:lnTo>
                    <a:lnTo>
                      <a:pt x="18" y="8"/>
                    </a:lnTo>
                    <a:lnTo>
                      <a:pt x="18" y="8"/>
                    </a:lnTo>
                    <a:lnTo>
                      <a:pt x="18" y="6"/>
                    </a:lnTo>
                    <a:lnTo>
                      <a:pt x="20" y="6"/>
                    </a:lnTo>
                    <a:lnTo>
                      <a:pt x="22" y="8"/>
                    </a:lnTo>
                    <a:lnTo>
                      <a:pt x="22" y="10"/>
                    </a:lnTo>
                    <a:lnTo>
                      <a:pt x="24" y="12"/>
                    </a:lnTo>
                    <a:lnTo>
                      <a:pt x="24" y="12"/>
                    </a:lnTo>
                    <a:lnTo>
                      <a:pt x="24" y="10"/>
                    </a:lnTo>
                    <a:lnTo>
                      <a:pt x="24" y="8"/>
                    </a:lnTo>
                    <a:lnTo>
                      <a:pt x="28" y="14"/>
                    </a:lnTo>
                    <a:lnTo>
                      <a:pt x="34" y="14"/>
                    </a:lnTo>
                    <a:lnTo>
                      <a:pt x="36" y="16"/>
                    </a:lnTo>
                    <a:lnTo>
                      <a:pt x="38" y="20"/>
                    </a:lnTo>
                    <a:lnTo>
                      <a:pt x="40" y="22"/>
                    </a:lnTo>
                    <a:lnTo>
                      <a:pt x="42" y="24"/>
                    </a:lnTo>
                    <a:lnTo>
                      <a:pt x="42" y="30"/>
                    </a:lnTo>
                    <a:lnTo>
                      <a:pt x="40" y="32"/>
                    </a:lnTo>
                    <a:lnTo>
                      <a:pt x="40" y="32"/>
                    </a:lnTo>
                    <a:lnTo>
                      <a:pt x="36" y="34"/>
                    </a:lnTo>
                    <a:lnTo>
                      <a:pt x="34" y="38"/>
                    </a:lnTo>
                    <a:lnTo>
                      <a:pt x="30" y="38"/>
                    </a:lnTo>
                    <a:lnTo>
                      <a:pt x="30" y="40"/>
                    </a:lnTo>
                    <a:lnTo>
                      <a:pt x="28" y="40"/>
                    </a:lnTo>
                    <a:lnTo>
                      <a:pt x="28" y="40"/>
                    </a:lnTo>
                    <a:lnTo>
                      <a:pt x="28" y="42"/>
                    </a:lnTo>
                    <a:lnTo>
                      <a:pt x="28" y="42"/>
                    </a:lnTo>
                    <a:lnTo>
                      <a:pt x="24" y="40"/>
                    </a:lnTo>
                    <a:lnTo>
                      <a:pt x="20" y="44"/>
                    </a:lnTo>
                    <a:lnTo>
                      <a:pt x="20" y="42"/>
                    </a:lnTo>
                    <a:lnTo>
                      <a:pt x="18" y="44"/>
                    </a:lnTo>
                    <a:lnTo>
                      <a:pt x="14" y="46"/>
                    </a:lnTo>
                    <a:lnTo>
                      <a:pt x="14" y="48"/>
                    </a:lnTo>
                    <a:lnTo>
                      <a:pt x="14" y="48"/>
                    </a:lnTo>
                    <a:lnTo>
                      <a:pt x="14" y="50"/>
                    </a:lnTo>
                    <a:lnTo>
                      <a:pt x="10" y="54"/>
                    </a:lnTo>
                    <a:lnTo>
                      <a:pt x="10" y="56"/>
                    </a:lnTo>
                    <a:lnTo>
                      <a:pt x="8" y="56"/>
                    </a:lnTo>
                    <a:lnTo>
                      <a:pt x="4" y="58"/>
                    </a:lnTo>
                    <a:lnTo>
                      <a:pt x="4" y="56"/>
                    </a:lnTo>
                    <a:lnTo>
                      <a:pt x="4" y="54"/>
                    </a:lnTo>
                    <a:lnTo>
                      <a:pt x="4" y="54"/>
                    </a:lnTo>
                    <a:lnTo>
                      <a:pt x="2" y="54"/>
                    </a:lnTo>
                    <a:lnTo>
                      <a:pt x="2" y="50"/>
                    </a:lnTo>
                    <a:lnTo>
                      <a:pt x="4" y="42"/>
                    </a:lnTo>
                    <a:lnTo>
                      <a:pt x="2" y="42"/>
                    </a:lnTo>
                    <a:lnTo>
                      <a:pt x="2" y="4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75" name="Freeform 326"/>
              <p:cNvSpPr>
                <a:spLocks/>
              </p:cNvSpPr>
              <p:nvPr/>
            </p:nvSpPr>
            <p:spPr bwMode="auto">
              <a:xfrm>
                <a:off x="2923" y="907"/>
                <a:ext cx="16" cy="4"/>
              </a:xfrm>
              <a:custGeom>
                <a:avLst/>
                <a:gdLst>
                  <a:gd name="T0" fmla="*/ 10 w 16"/>
                  <a:gd name="T1" fmla="*/ 0 h 4"/>
                  <a:gd name="T2" fmla="*/ 12 w 16"/>
                  <a:gd name="T3" fmla="*/ 0 h 4"/>
                  <a:gd name="T4" fmla="*/ 12 w 16"/>
                  <a:gd name="T5" fmla="*/ 0 h 4"/>
                  <a:gd name="T6" fmla="*/ 14 w 16"/>
                  <a:gd name="T7" fmla="*/ 0 h 4"/>
                  <a:gd name="T8" fmla="*/ 16 w 16"/>
                  <a:gd name="T9" fmla="*/ 2 h 4"/>
                  <a:gd name="T10" fmla="*/ 16 w 16"/>
                  <a:gd name="T11" fmla="*/ 4 h 4"/>
                  <a:gd name="T12" fmla="*/ 12 w 16"/>
                  <a:gd name="T13" fmla="*/ 2 h 4"/>
                  <a:gd name="T14" fmla="*/ 10 w 16"/>
                  <a:gd name="T15" fmla="*/ 2 h 4"/>
                  <a:gd name="T16" fmla="*/ 6 w 16"/>
                  <a:gd name="T17" fmla="*/ 2 h 4"/>
                  <a:gd name="T18" fmla="*/ 2 w 16"/>
                  <a:gd name="T19" fmla="*/ 2 h 4"/>
                  <a:gd name="T20" fmla="*/ 0 w 16"/>
                  <a:gd name="T21" fmla="*/ 0 h 4"/>
                  <a:gd name="T22" fmla="*/ 2 w 16"/>
                  <a:gd name="T23" fmla="*/ 0 h 4"/>
                  <a:gd name="T24" fmla="*/ 10 w 16"/>
                  <a:gd name="T25" fmla="*/ 0 h 4"/>
                  <a:gd name="T26" fmla="*/ 10 w 16"/>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
                    <a:moveTo>
                      <a:pt x="10" y="0"/>
                    </a:moveTo>
                    <a:lnTo>
                      <a:pt x="12" y="0"/>
                    </a:lnTo>
                    <a:lnTo>
                      <a:pt x="12" y="0"/>
                    </a:lnTo>
                    <a:lnTo>
                      <a:pt x="14" y="0"/>
                    </a:lnTo>
                    <a:lnTo>
                      <a:pt x="16" y="2"/>
                    </a:lnTo>
                    <a:lnTo>
                      <a:pt x="16" y="4"/>
                    </a:lnTo>
                    <a:lnTo>
                      <a:pt x="12" y="2"/>
                    </a:lnTo>
                    <a:lnTo>
                      <a:pt x="10" y="2"/>
                    </a:lnTo>
                    <a:lnTo>
                      <a:pt x="6" y="2"/>
                    </a:lnTo>
                    <a:lnTo>
                      <a:pt x="2" y="2"/>
                    </a:lnTo>
                    <a:lnTo>
                      <a:pt x="0" y="0"/>
                    </a:lnTo>
                    <a:lnTo>
                      <a:pt x="2" y="0"/>
                    </a:lnTo>
                    <a:lnTo>
                      <a:pt x="10" y="0"/>
                    </a:lnTo>
                    <a:lnTo>
                      <a:pt x="1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76" name="Freeform 327"/>
              <p:cNvSpPr>
                <a:spLocks/>
              </p:cNvSpPr>
              <p:nvPr/>
            </p:nvSpPr>
            <p:spPr bwMode="auto">
              <a:xfrm>
                <a:off x="2923" y="907"/>
                <a:ext cx="16" cy="4"/>
              </a:xfrm>
              <a:custGeom>
                <a:avLst/>
                <a:gdLst>
                  <a:gd name="T0" fmla="*/ 10 w 16"/>
                  <a:gd name="T1" fmla="*/ 0 h 4"/>
                  <a:gd name="T2" fmla="*/ 12 w 16"/>
                  <a:gd name="T3" fmla="*/ 0 h 4"/>
                  <a:gd name="T4" fmla="*/ 12 w 16"/>
                  <a:gd name="T5" fmla="*/ 0 h 4"/>
                  <a:gd name="T6" fmla="*/ 14 w 16"/>
                  <a:gd name="T7" fmla="*/ 0 h 4"/>
                  <a:gd name="T8" fmla="*/ 16 w 16"/>
                  <a:gd name="T9" fmla="*/ 2 h 4"/>
                  <a:gd name="T10" fmla="*/ 16 w 16"/>
                  <a:gd name="T11" fmla="*/ 4 h 4"/>
                  <a:gd name="T12" fmla="*/ 12 w 16"/>
                  <a:gd name="T13" fmla="*/ 2 h 4"/>
                  <a:gd name="T14" fmla="*/ 10 w 16"/>
                  <a:gd name="T15" fmla="*/ 2 h 4"/>
                  <a:gd name="T16" fmla="*/ 6 w 16"/>
                  <a:gd name="T17" fmla="*/ 2 h 4"/>
                  <a:gd name="T18" fmla="*/ 2 w 16"/>
                  <a:gd name="T19" fmla="*/ 2 h 4"/>
                  <a:gd name="T20" fmla="*/ 0 w 16"/>
                  <a:gd name="T21" fmla="*/ 0 h 4"/>
                  <a:gd name="T22" fmla="*/ 2 w 16"/>
                  <a:gd name="T23" fmla="*/ 0 h 4"/>
                  <a:gd name="T24" fmla="*/ 10 w 16"/>
                  <a:gd name="T25" fmla="*/ 0 h 4"/>
                  <a:gd name="T26" fmla="*/ 10 w 16"/>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
                    <a:moveTo>
                      <a:pt x="10" y="0"/>
                    </a:moveTo>
                    <a:lnTo>
                      <a:pt x="12" y="0"/>
                    </a:lnTo>
                    <a:lnTo>
                      <a:pt x="12" y="0"/>
                    </a:lnTo>
                    <a:lnTo>
                      <a:pt x="14" y="0"/>
                    </a:lnTo>
                    <a:lnTo>
                      <a:pt x="16" y="2"/>
                    </a:lnTo>
                    <a:lnTo>
                      <a:pt x="16" y="4"/>
                    </a:lnTo>
                    <a:lnTo>
                      <a:pt x="12" y="2"/>
                    </a:lnTo>
                    <a:lnTo>
                      <a:pt x="10" y="2"/>
                    </a:lnTo>
                    <a:lnTo>
                      <a:pt x="6" y="2"/>
                    </a:lnTo>
                    <a:lnTo>
                      <a:pt x="2" y="2"/>
                    </a:lnTo>
                    <a:lnTo>
                      <a:pt x="0" y="0"/>
                    </a:lnTo>
                    <a:lnTo>
                      <a:pt x="2" y="0"/>
                    </a:lnTo>
                    <a:lnTo>
                      <a:pt x="10" y="0"/>
                    </a:lnTo>
                    <a:lnTo>
                      <a:pt x="1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77" name="Freeform 328"/>
              <p:cNvSpPr>
                <a:spLocks/>
              </p:cNvSpPr>
              <p:nvPr/>
            </p:nvSpPr>
            <p:spPr bwMode="auto">
              <a:xfrm>
                <a:off x="2871" y="869"/>
                <a:ext cx="18" cy="12"/>
              </a:xfrm>
              <a:custGeom>
                <a:avLst/>
                <a:gdLst>
                  <a:gd name="T0" fmla="*/ 12 w 18"/>
                  <a:gd name="T1" fmla="*/ 4 h 12"/>
                  <a:gd name="T2" fmla="*/ 14 w 18"/>
                  <a:gd name="T3" fmla="*/ 6 h 12"/>
                  <a:gd name="T4" fmla="*/ 14 w 18"/>
                  <a:gd name="T5" fmla="*/ 8 h 12"/>
                  <a:gd name="T6" fmla="*/ 18 w 18"/>
                  <a:gd name="T7" fmla="*/ 10 h 12"/>
                  <a:gd name="T8" fmla="*/ 18 w 18"/>
                  <a:gd name="T9" fmla="*/ 10 h 12"/>
                  <a:gd name="T10" fmla="*/ 16 w 18"/>
                  <a:gd name="T11" fmla="*/ 12 h 12"/>
                  <a:gd name="T12" fmla="*/ 14 w 18"/>
                  <a:gd name="T13" fmla="*/ 10 h 12"/>
                  <a:gd name="T14" fmla="*/ 12 w 18"/>
                  <a:gd name="T15" fmla="*/ 10 h 12"/>
                  <a:gd name="T16" fmla="*/ 12 w 18"/>
                  <a:gd name="T17" fmla="*/ 10 h 12"/>
                  <a:gd name="T18" fmla="*/ 0 w 18"/>
                  <a:gd name="T19" fmla="*/ 0 h 12"/>
                  <a:gd name="T20" fmla="*/ 2 w 18"/>
                  <a:gd name="T21" fmla="*/ 2 h 12"/>
                  <a:gd name="T22" fmla="*/ 4 w 18"/>
                  <a:gd name="T23" fmla="*/ 2 h 12"/>
                  <a:gd name="T24" fmla="*/ 8 w 18"/>
                  <a:gd name="T25" fmla="*/ 4 h 12"/>
                  <a:gd name="T26" fmla="*/ 10 w 18"/>
                  <a:gd name="T27" fmla="*/ 4 h 12"/>
                  <a:gd name="T28" fmla="*/ 10 w 18"/>
                  <a:gd name="T29" fmla="*/ 2 h 12"/>
                  <a:gd name="T30" fmla="*/ 12 w 18"/>
                  <a:gd name="T3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2">
                    <a:moveTo>
                      <a:pt x="12" y="4"/>
                    </a:moveTo>
                    <a:lnTo>
                      <a:pt x="14" y="6"/>
                    </a:lnTo>
                    <a:lnTo>
                      <a:pt x="14" y="8"/>
                    </a:lnTo>
                    <a:lnTo>
                      <a:pt x="18" y="10"/>
                    </a:lnTo>
                    <a:lnTo>
                      <a:pt x="18" y="10"/>
                    </a:lnTo>
                    <a:lnTo>
                      <a:pt x="16" y="12"/>
                    </a:lnTo>
                    <a:lnTo>
                      <a:pt x="14" y="10"/>
                    </a:lnTo>
                    <a:lnTo>
                      <a:pt x="12" y="10"/>
                    </a:lnTo>
                    <a:lnTo>
                      <a:pt x="12" y="10"/>
                    </a:lnTo>
                    <a:lnTo>
                      <a:pt x="0" y="0"/>
                    </a:lnTo>
                    <a:lnTo>
                      <a:pt x="2" y="2"/>
                    </a:lnTo>
                    <a:lnTo>
                      <a:pt x="4" y="2"/>
                    </a:lnTo>
                    <a:lnTo>
                      <a:pt x="8" y="4"/>
                    </a:lnTo>
                    <a:lnTo>
                      <a:pt x="10" y="4"/>
                    </a:lnTo>
                    <a:lnTo>
                      <a:pt x="10" y="2"/>
                    </a:lnTo>
                    <a:lnTo>
                      <a:pt x="12"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78" name="Freeform 329"/>
              <p:cNvSpPr>
                <a:spLocks/>
              </p:cNvSpPr>
              <p:nvPr/>
            </p:nvSpPr>
            <p:spPr bwMode="auto">
              <a:xfrm>
                <a:off x="2871" y="869"/>
                <a:ext cx="18" cy="12"/>
              </a:xfrm>
              <a:custGeom>
                <a:avLst/>
                <a:gdLst>
                  <a:gd name="T0" fmla="*/ 12 w 18"/>
                  <a:gd name="T1" fmla="*/ 4 h 12"/>
                  <a:gd name="T2" fmla="*/ 14 w 18"/>
                  <a:gd name="T3" fmla="*/ 6 h 12"/>
                  <a:gd name="T4" fmla="*/ 14 w 18"/>
                  <a:gd name="T5" fmla="*/ 8 h 12"/>
                  <a:gd name="T6" fmla="*/ 18 w 18"/>
                  <a:gd name="T7" fmla="*/ 10 h 12"/>
                  <a:gd name="T8" fmla="*/ 18 w 18"/>
                  <a:gd name="T9" fmla="*/ 10 h 12"/>
                  <a:gd name="T10" fmla="*/ 16 w 18"/>
                  <a:gd name="T11" fmla="*/ 12 h 12"/>
                  <a:gd name="T12" fmla="*/ 14 w 18"/>
                  <a:gd name="T13" fmla="*/ 10 h 12"/>
                  <a:gd name="T14" fmla="*/ 12 w 18"/>
                  <a:gd name="T15" fmla="*/ 10 h 12"/>
                  <a:gd name="T16" fmla="*/ 12 w 18"/>
                  <a:gd name="T17" fmla="*/ 10 h 12"/>
                  <a:gd name="T18" fmla="*/ 0 w 18"/>
                  <a:gd name="T19" fmla="*/ 0 h 12"/>
                  <a:gd name="T20" fmla="*/ 2 w 18"/>
                  <a:gd name="T21" fmla="*/ 2 h 12"/>
                  <a:gd name="T22" fmla="*/ 4 w 18"/>
                  <a:gd name="T23" fmla="*/ 2 h 12"/>
                  <a:gd name="T24" fmla="*/ 8 w 18"/>
                  <a:gd name="T25" fmla="*/ 4 h 12"/>
                  <a:gd name="T26" fmla="*/ 10 w 18"/>
                  <a:gd name="T27" fmla="*/ 4 h 12"/>
                  <a:gd name="T28" fmla="*/ 10 w 18"/>
                  <a:gd name="T29" fmla="*/ 2 h 12"/>
                  <a:gd name="T30" fmla="*/ 12 w 18"/>
                  <a:gd name="T3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2">
                    <a:moveTo>
                      <a:pt x="12" y="4"/>
                    </a:moveTo>
                    <a:lnTo>
                      <a:pt x="14" y="6"/>
                    </a:lnTo>
                    <a:lnTo>
                      <a:pt x="14" y="8"/>
                    </a:lnTo>
                    <a:lnTo>
                      <a:pt x="18" y="10"/>
                    </a:lnTo>
                    <a:lnTo>
                      <a:pt x="18" y="10"/>
                    </a:lnTo>
                    <a:lnTo>
                      <a:pt x="16" y="12"/>
                    </a:lnTo>
                    <a:lnTo>
                      <a:pt x="14" y="10"/>
                    </a:lnTo>
                    <a:lnTo>
                      <a:pt x="12" y="10"/>
                    </a:lnTo>
                    <a:lnTo>
                      <a:pt x="12" y="10"/>
                    </a:lnTo>
                    <a:lnTo>
                      <a:pt x="0" y="0"/>
                    </a:lnTo>
                    <a:lnTo>
                      <a:pt x="2" y="2"/>
                    </a:lnTo>
                    <a:lnTo>
                      <a:pt x="4" y="2"/>
                    </a:lnTo>
                    <a:lnTo>
                      <a:pt x="8" y="4"/>
                    </a:lnTo>
                    <a:lnTo>
                      <a:pt x="10" y="4"/>
                    </a:lnTo>
                    <a:lnTo>
                      <a:pt x="10" y="2"/>
                    </a:lnTo>
                    <a:lnTo>
                      <a:pt x="12"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79" name="Freeform 330"/>
              <p:cNvSpPr>
                <a:spLocks/>
              </p:cNvSpPr>
              <p:nvPr/>
            </p:nvSpPr>
            <p:spPr bwMode="auto">
              <a:xfrm>
                <a:off x="2875" y="823"/>
                <a:ext cx="68" cy="52"/>
              </a:xfrm>
              <a:custGeom>
                <a:avLst/>
                <a:gdLst>
                  <a:gd name="T0" fmla="*/ 20 w 68"/>
                  <a:gd name="T1" fmla="*/ 16 h 52"/>
                  <a:gd name="T2" fmla="*/ 22 w 68"/>
                  <a:gd name="T3" fmla="*/ 14 h 52"/>
                  <a:gd name="T4" fmla="*/ 24 w 68"/>
                  <a:gd name="T5" fmla="*/ 14 h 52"/>
                  <a:gd name="T6" fmla="*/ 26 w 68"/>
                  <a:gd name="T7" fmla="*/ 16 h 52"/>
                  <a:gd name="T8" fmla="*/ 28 w 68"/>
                  <a:gd name="T9" fmla="*/ 18 h 52"/>
                  <a:gd name="T10" fmla="*/ 30 w 68"/>
                  <a:gd name="T11" fmla="*/ 16 h 52"/>
                  <a:gd name="T12" fmla="*/ 30 w 68"/>
                  <a:gd name="T13" fmla="*/ 14 h 52"/>
                  <a:gd name="T14" fmla="*/ 32 w 68"/>
                  <a:gd name="T15" fmla="*/ 14 h 52"/>
                  <a:gd name="T16" fmla="*/ 28 w 68"/>
                  <a:gd name="T17" fmla="*/ 10 h 52"/>
                  <a:gd name="T18" fmla="*/ 18 w 68"/>
                  <a:gd name="T19" fmla="*/ 6 h 52"/>
                  <a:gd name="T20" fmla="*/ 18 w 68"/>
                  <a:gd name="T21" fmla="*/ 2 h 52"/>
                  <a:gd name="T22" fmla="*/ 34 w 68"/>
                  <a:gd name="T23" fmla="*/ 2 h 52"/>
                  <a:gd name="T24" fmla="*/ 36 w 68"/>
                  <a:gd name="T25" fmla="*/ 0 h 52"/>
                  <a:gd name="T26" fmla="*/ 48 w 68"/>
                  <a:gd name="T27" fmla="*/ 10 h 52"/>
                  <a:gd name="T28" fmla="*/ 60 w 68"/>
                  <a:gd name="T29" fmla="*/ 12 h 52"/>
                  <a:gd name="T30" fmla="*/ 66 w 68"/>
                  <a:gd name="T31" fmla="*/ 8 h 52"/>
                  <a:gd name="T32" fmla="*/ 68 w 68"/>
                  <a:gd name="T33" fmla="*/ 8 h 52"/>
                  <a:gd name="T34" fmla="*/ 64 w 68"/>
                  <a:gd name="T35" fmla="*/ 14 h 52"/>
                  <a:gd name="T36" fmla="*/ 66 w 68"/>
                  <a:gd name="T37" fmla="*/ 18 h 52"/>
                  <a:gd name="T38" fmla="*/ 60 w 68"/>
                  <a:gd name="T39" fmla="*/ 18 h 52"/>
                  <a:gd name="T40" fmla="*/ 56 w 68"/>
                  <a:gd name="T41" fmla="*/ 18 h 52"/>
                  <a:gd name="T42" fmla="*/ 56 w 68"/>
                  <a:gd name="T43" fmla="*/ 26 h 52"/>
                  <a:gd name="T44" fmla="*/ 58 w 68"/>
                  <a:gd name="T45" fmla="*/ 32 h 52"/>
                  <a:gd name="T46" fmla="*/ 56 w 68"/>
                  <a:gd name="T47" fmla="*/ 38 h 52"/>
                  <a:gd name="T48" fmla="*/ 54 w 68"/>
                  <a:gd name="T49" fmla="*/ 38 h 52"/>
                  <a:gd name="T50" fmla="*/ 52 w 68"/>
                  <a:gd name="T51" fmla="*/ 36 h 52"/>
                  <a:gd name="T52" fmla="*/ 46 w 68"/>
                  <a:gd name="T53" fmla="*/ 34 h 52"/>
                  <a:gd name="T54" fmla="*/ 48 w 68"/>
                  <a:gd name="T55" fmla="*/ 40 h 52"/>
                  <a:gd name="T56" fmla="*/ 54 w 68"/>
                  <a:gd name="T57" fmla="*/ 42 h 52"/>
                  <a:gd name="T58" fmla="*/ 54 w 68"/>
                  <a:gd name="T59" fmla="*/ 46 h 52"/>
                  <a:gd name="T60" fmla="*/ 48 w 68"/>
                  <a:gd name="T61" fmla="*/ 50 h 52"/>
                  <a:gd name="T62" fmla="*/ 36 w 68"/>
                  <a:gd name="T63" fmla="*/ 50 h 52"/>
                  <a:gd name="T64" fmla="*/ 28 w 68"/>
                  <a:gd name="T65" fmla="*/ 52 h 52"/>
                  <a:gd name="T66" fmla="*/ 20 w 68"/>
                  <a:gd name="T67" fmla="*/ 48 h 52"/>
                  <a:gd name="T68" fmla="*/ 22 w 68"/>
                  <a:gd name="T69" fmla="*/ 46 h 52"/>
                  <a:gd name="T70" fmla="*/ 20 w 68"/>
                  <a:gd name="T71" fmla="*/ 46 h 52"/>
                  <a:gd name="T72" fmla="*/ 18 w 68"/>
                  <a:gd name="T73" fmla="*/ 46 h 52"/>
                  <a:gd name="T74" fmla="*/ 16 w 68"/>
                  <a:gd name="T75" fmla="*/ 42 h 52"/>
                  <a:gd name="T76" fmla="*/ 12 w 68"/>
                  <a:gd name="T77" fmla="*/ 44 h 52"/>
                  <a:gd name="T78" fmla="*/ 14 w 68"/>
                  <a:gd name="T79" fmla="*/ 42 h 52"/>
                  <a:gd name="T80" fmla="*/ 12 w 68"/>
                  <a:gd name="T81" fmla="*/ 40 h 52"/>
                  <a:gd name="T82" fmla="*/ 8 w 68"/>
                  <a:gd name="T83" fmla="*/ 38 h 52"/>
                  <a:gd name="T84" fmla="*/ 10 w 68"/>
                  <a:gd name="T85" fmla="*/ 36 h 52"/>
                  <a:gd name="T86" fmla="*/ 6 w 68"/>
                  <a:gd name="T87" fmla="*/ 34 h 52"/>
                  <a:gd name="T88" fmla="*/ 2 w 68"/>
                  <a:gd name="T89" fmla="*/ 34 h 52"/>
                  <a:gd name="T90" fmla="*/ 2 w 68"/>
                  <a:gd name="T91" fmla="*/ 30 h 52"/>
                  <a:gd name="T92" fmla="*/ 0 w 68"/>
                  <a:gd name="T93" fmla="*/ 22 h 52"/>
                  <a:gd name="T94" fmla="*/ 0 w 68"/>
                  <a:gd name="T95" fmla="*/ 18 h 52"/>
                  <a:gd name="T96" fmla="*/ 2 w 68"/>
                  <a:gd name="T97" fmla="*/ 14 h 52"/>
                  <a:gd name="T98" fmla="*/ 6 w 68"/>
                  <a:gd name="T99" fmla="*/ 18 h 52"/>
                  <a:gd name="T100" fmla="*/ 14 w 68"/>
                  <a:gd name="T101" fmla="*/ 16 h 52"/>
                  <a:gd name="T102" fmla="*/ 16 w 68"/>
                  <a:gd name="T103" fmla="*/ 16 h 52"/>
                  <a:gd name="T104" fmla="*/ 18 w 68"/>
                  <a:gd name="T105" fmla="*/ 16 h 52"/>
                  <a:gd name="T106" fmla="*/ 20 w 68"/>
                  <a:gd name="T107"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52">
                    <a:moveTo>
                      <a:pt x="20" y="16"/>
                    </a:moveTo>
                    <a:lnTo>
                      <a:pt x="20" y="16"/>
                    </a:lnTo>
                    <a:lnTo>
                      <a:pt x="22" y="16"/>
                    </a:lnTo>
                    <a:lnTo>
                      <a:pt x="22" y="14"/>
                    </a:lnTo>
                    <a:lnTo>
                      <a:pt x="24" y="14"/>
                    </a:lnTo>
                    <a:lnTo>
                      <a:pt x="24" y="14"/>
                    </a:lnTo>
                    <a:lnTo>
                      <a:pt x="26" y="14"/>
                    </a:lnTo>
                    <a:lnTo>
                      <a:pt x="26" y="16"/>
                    </a:lnTo>
                    <a:lnTo>
                      <a:pt x="28" y="16"/>
                    </a:lnTo>
                    <a:lnTo>
                      <a:pt x="28" y="18"/>
                    </a:lnTo>
                    <a:lnTo>
                      <a:pt x="30" y="18"/>
                    </a:lnTo>
                    <a:lnTo>
                      <a:pt x="30" y="16"/>
                    </a:lnTo>
                    <a:lnTo>
                      <a:pt x="32" y="16"/>
                    </a:lnTo>
                    <a:lnTo>
                      <a:pt x="30" y="14"/>
                    </a:lnTo>
                    <a:lnTo>
                      <a:pt x="32" y="14"/>
                    </a:lnTo>
                    <a:lnTo>
                      <a:pt x="32" y="14"/>
                    </a:lnTo>
                    <a:lnTo>
                      <a:pt x="28" y="12"/>
                    </a:lnTo>
                    <a:lnTo>
                      <a:pt x="28" y="10"/>
                    </a:lnTo>
                    <a:lnTo>
                      <a:pt x="26" y="10"/>
                    </a:lnTo>
                    <a:lnTo>
                      <a:pt x="18" y="6"/>
                    </a:lnTo>
                    <a:lnTo>
                      <a:pt x="18" y="4"/>
                    </a:lnTo>
                    <a:lnTo>
                      <a:pt x="18" y="2"/>
                    </a:lnTo>
                    <a:lnTo>
                      <a:pt x="22" y="0"/>
                    </a:lnTo>
                    <a:lnTo>
                      <a:pt x="34" y="2"/>
                    </a:lnTo>
                    <a:lnTo>
                      <a:pt x="36" y="0"/>
                    </a:lnTo>
                    <a:lnTo>
                      <a:pt x="36" y="0"/>
                    </a:lnTo>
                    <a:lnTo>
                      <a:pt x="38" y="0"/>
                    </a:lnTo>
                    <a:lnTo>
                      <a:pt x="48" y="10"/>
                    </a:lnTo>
                    <a:lnTo>
                      <a:pt x="56" y="12"/>
                    </a:lnTo>
                    <a:lnTo>
                      <a:pt x="60" y="12"/>
                    </a:lnTo>
                    <a:lnTo>
                      <a:pt x="62" y="8"/>
                    </a:lnTo>
                    <a:lnTo>
                      <a:pt x="66" y="8"/>
                    </a:lnTo>
                    <a:lnTo>
                      <a:pt x="68" y="8"/>
                    </a:lnTo>
                    <a:lnTo>
                      <a:pt x="68" y="8"/>
                    </a:lnTo>
                    <a:lnTo>
                      <a:pt x="68" y="12"/>
                    </a:lnTo>
                    <a:lnTo>
                      <a:pt x="64" y="14"/>
                    </a:lnTo>
                    <a:lnTo>
                      <a:pt x="66" y="16"/>
                    </a:lnTo>
                    <a:lnTo>
                      <a:pt x="66" y="18"/>
                    </a:lnTo>
                    <a:lnTo>
                      <a:pt x="60" y="18"/>
                    </a:lnTo>
                    <a:lnTo>
                      <a:pt x="60" y="18"/>
                    </a:lnTo>
                    <a:lnTo>
                      <a:pt x="58" y="16"/>
                    </a:lnTo>
                    <a:lnTo>
                      <a:pt x="56" y="18"/>
                    </a:lnTo>
                    <a:lnTo>
                      <a:pt x="58" y="22"/>
                    </a:lnTo>
                    <a:lnTo>
                      <a:pt x="56" y="26"/>
                    </a:lnTo>
                    <a:lnTo>
                      <a:pt x="56" y="28"/>
                    </a:lnTo>
                    <a:lnTo>
                      <a:pt x="58" y="32"/>
                    </a:lnTo>
                    <a:lnTo>
                      <a:pt x="56" y="36"/>
                    </a:lnTo>
                    <a:lnTo>
                      <a:pt x="56" y="38"/>
                    </a:lnTo>
                    <a:lnTo>
                      <a:pt x="54" y="38"/>
                    </a:lnTo>
                    <a:lnTo>
                      <a:pt x="54" y="38"/>
                    </a:lnTo>
                    <a:lnTo>
                      <a:pt x="54" y="36"/>
                    </a:lnTo>
                    <a:lnTo>
                      <a:pt x="52" y="36"/>
                    </a:lnTo>
                    <a:lnTo>
                      <a:pt x="48" y="36"/>
                    </a:lnTo>
                    <a:lnTo>
                      <a:pt x="46" y="34"/>
                    </a:lnTo>
                    <a:lnTo>
                      <a:pt x="46" y="36"/>
                    </a:lnTo>
                    <a:lnTo>
                      <a:pt x="48" y="40"/>
                    </a:lnTo>
                    <a:lnTo>
                      <a:pt x="50" y="38"/>
                    </a:lnTo>
                    <a:lnTo>
                      <a:pt x="54" y="42"/>
                    </a:lnTo>
                    <a:lnTo>
                      <a:pt x="56" y="44"/>
                    </a:lnTo>
                    <a:lnTo>
                      <a:pt x="54" y="46"/>
                    </a:lnTo>
                    <a:lnTo>
                      <a:pt x="52" y="48"/>
                    </a:lnTo>
                    <a:lnTo>
                      <a:pt x="48" y="50"/>
                    </a:lnTo>
                    <a:lnTo>
                      <a:pt x="44" y="52"/>
                    </a:lnTo>
                    <a:lnTo>
                      <a:pt x="36" y="50"/>
                    </a:lnTo>
                    <a:lnTo>
                      <a:pt x="34" y="52"/>
                    </a:lnTo>
                    <a:lnTo>
                      <a:pt x="28" y="52"/>
                    </a:lnTo>
                    <a:lnTo>
                      <a:pt x="20" y="50"/>
                    </a:lnTo>
                    <a:lnTo>
                      <a:pt x="20" y="48"/>
                    </a:lnTo>
                    <a:lnTo>
                      <a:pt x="22" y="48"/>
                    </a:lnTo>
                    <a:lnTo>
                      <a:pt x="22" y="46"/>
                    </a:lnTo>
                    <a:lnTo>
                      <a:pt x="20" y="44"/>
                    </a:lnTo>
                    <a:lnTo>
                      <a:pt x="20" y="46"/>
                    </a:lnTo>
                    <a:lnTo>
                      <a:pt x="18" y="46"/>
                    </a:lnTo>
                    <a:lnTo>
                      <a:pt x="18" y="46"/>
                    </a:lnTo>
                    <a:lnTo>
                      <a:pt x="18" y="44"/>
                    </a:lnTo>
                    <a:lnTo>
                      <a:pt x="16" y="42"/>
                    </a:lnTo>
                    <a:lnTo>
                      <a:pt x="14" y="44"/>
                    </a:lnTo>
                    <a:lnTo>
                      <a:pt x="12" y="44"/>
                    </a:lnTo>
                    <a:lnTo>
                      <a:pt x="12" y="42"/>
                    </a:lnTo>
                    <a:lnTo>
                      <a:pt x="14" y="42"/>
                    </a:lnTo>
                    <a:lnTo>
                      <a:pt x="14" y="42"/>
                    </a:lnTo>
                    <a:lnTo>
                      <a:pt x="12" y="40"/>
                    </a:lnTo>
                    <a:lnTo>
                      <a:pt x="10" y="40"/>
                    </a:lnTo>
                    <a:lnTo>
                      <a:pt x="8" y="38"/>
                    </a:lnTo>
                    <a:lnTo>
                      <a:pt x="8" y="36"/>
                    </a:lnTo>
                    <a:lnTo>
                      <a:pt x="10" y="36"/>
                    </a:lnTo>
                    <a:lnTo>
                      <a:pt x="10" y="34"/>
                    </a:lnTo>
                    <a:lnTo>
                      <a:pt x="6" y="34"/>
                    </a:lnTo>
                    <a:lnTo>
                      <a:pt x="6" y="34"/>
                    </a:lnTo>
                    <a:lnTo>
                      <a:pt x="2" y="34"/>
                    </a:lnTo>
                    <a:lnTo>
                      <a:pt x="2" y="30"/>
                    </a:lnTo>
                    <a:lnTo>
                      <a:pt x="2" y="30"/>
                    </a:lnTo>
                    <a:lnTo>
                      <a:pt x="4" y="26"/>
                    </a:lnTo>
                    <a:lnTo>
                      <a:pt x="0" y="22"/>
                    </a:lnTo>
                    <a:lnTo>
                      <a:pt x="2" y="22"/>
                    </a:lnTo>
                    <a:lnTo>
                      <a:pt x="0" y="18"/>
                    </a:lnTo>
                    <a:lnTo>
                      <a:pt x="2" y="16"/>
                    </a:lnTo>
                    <a:lnTo>
                      <a:pt x="2" y="14"/>
                    </a:lnTo>
                    <a:lnTo>
                      <a:pt x="4" y="16"/>
                    </a:lnTo>
                    <a:lnTo>
                      <a:pt x="6" y="18"/>
                    </a:lnTo>
                    <a:lnTo>
                      <a:pt x="12" y="16"/>
                    </a:lnTo>
                    <a:lnTo>
                      <a:pt x="14" y="16"/>
                    </a:lnTo>
                    <a:lnTo>
                      <a:pt x="14" y="14"/>
                    </a:lnTo>
                    <a:lnTo>
                      <a:pt x="16" y="16"/>
                    </a:lnTo>
                    <a:lnTo>
                      <a:pt x="16" y="16"/>
                    </a:lnTo>
                    <a:lnTo>
                      <a:pt x="18" y="16"/>
                    </a:lnTo>
                    <a:lnTo>
                      <a:pt x="20" y="16"/>
                    </a:lnTo>
                    <a:lnTo>
                      <a:pt x="20" y="1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80" name="Freeform 331"/>
              <p:cNvSpPr>
                <a:spLocks/>
              </p:cNvSpPr>
              <p:nvPr/>
            </p:nvSpPr>
            <p:spPr bwMode="auto">
              <a:xfrm>
                <a:off x="2875" y="823"/>
                <a:ext cx="68" cy="52"/>
              </a:xfrm>
              <a:custGeom>
                <a:avLst/>
                <a:gdLst>
                  <a:gd name="T0" fmla="*/ 20 w 68"/>
                  <a:gd name="T1" fmla="*/ 16 h 52"/>
                  <a:gd name="T2" fmla="*/ 22 w 68"/>
                  <a:gd name="T3" fmla="*/ 14 h 52"/>
                  <a:gd name="T4" fmla="*/ 24 w 68"/>
                  <a:gd name="T5" fmla="*/ 14 h 52"/>
                  <a:gd name="T6" fmla="*/ 26 w 68"/>
                  <a:gd name="T7" fmla="*/ 16 h 52"/>
                  <a:gd name="T8" fmla="*/ 28 w 68"/>
                  <a:gd name="T9" fmla="*/ 18 h 52"/>
                  <a:gd name="T10" fmla="*/ 30 w 68"/>
                  <a:gd name="T11" fmla="*/ 16 h 52"/>
                  <a:gd name="T12" fmla="*/ 30 w 68"/>
                  <a:gd name="T13" fmla="*/ 14 h 52"/>
                  <a:gd name="T14" fmla="*/ 32 w 68"/>
                  <a:gd name="T15" fmla="*/ 14 h 52"/>
                  <a:gd name="T16" fmla="*/ 28 w 68"/>
                  <a:gd name="T17" fmla="*/ 10 h 52"/>
                  <a:gd name="T18" fmla="*/ 18 w 68"/>
                  <a:gd name="T19" fmla="*/ 6 h 52"/>
                  <a:gd name="T20" fmla="*/ 18 w 68"/>
                  <a:gd name="T21" fmla="*/ 2 h 52"/>
                  <a:gd name="T22" fmla="*/ 34 w 68"/>
                  <a:gd name="T23" fmla="*/ 2 h 52"/>
                  <a:gd name="T24" fmla="*/ 36 w 68"/>
                  <a:gd name="T25" fmla="*/ 0 h 52"/>
                  <a:gd name="T26" fmla="*/ 48 w 68"/>
                  <a:gd name="T27" fmla="*/ 10 h 52"/>
                  <a:gd name="T28" fmla="*/ 60 w 68"/>
                  <a:gd name="T29" fmla="*/ 12 h 52"/>
                  <a:gd name="T30" fmla="*/ 66 w 68"/>
                  <a:gd name="T31" fmla="*/ 8 h 52"/>
                  <a:gd name="T32" fmla="*/ 68 w 68"/>
                  <a:gd name="T33" fmla="*/ 8 h 52"/>
                  <a:gd name="T34" fmla="*/ 64 w 68"/>
                  <a:gd name="T35" fmla="*/ 14 h 52"/>
                  <a:gd name="T36" fmla="*/ 66 w 68"/>
                  <a:gd name="T37" fmla="*/ 18 h 52"/>
                  <a:gd name="T38" fmla="*/ 60 w 68"/>
                  <a:gd name="T39" fmla="*/ 18 h 52"/>
                  <a:gd name="T40" fmla="*/ 56 w 68"/>
                  <a:gd name="T41" fmla="*/ 18 h 52"/>
                  <a:gd name="T42" fmla="*/ 56 w 68"/>
                  <a:gd name="T43" fmla="*/ 26 h 52"/>
                  <a:gd name="T44" fmla="*/ 58 w 68"/>
                  <a:gd name="T45" fmla="*/ 32 h 52"/>
                  <a:gd name="T46" fmla="*/ 56 w 68"/>
                  <a:gd name="T47" fmla="*/ 38 h 52"/>
                  <a:gd name="T48" fmla="*/ 54 w 68"/>
                  <a:gd name="T49" fmla="*/ 38 h 52"/>
                  <a:gd name="T50" fmla="*/ 52 w 68"/>
                  <a:gd name="T51" fmla="*/ 36 h 52"/>
                  <a:gd name="T52" fmla="*/ 46 w 68"/>
                  <a:gd name="T53" fmla="*/ 34 h 52"/>
                  <a:gd name="T54" fmla="*/ 48 w 68"/>
                  <a:gd name="T55" fmla="*/ 40 h 52"/>
                  <a:gd name="T56" fmla="*/ 54 w 68"/>
                  <a:gd name="T57" fmla="*/ 42 h 52"/>
                  <a:gd name="T58" fmla="*/ 54 w 68"/>
                  <a:gd name="T59" fmla="*/ 46 h 52"/>
                  <a:gd name="T60" fmla="*/ 48 w 68"/>
                  <a:gd name="T61" fmla="*/ 50 h 52"/>
                  <a:gd name="T62" fmla="*/ 36 w 68"/>
                  <a:gd name="T63" fmla="*/ 50 h 52"/>
                  <a:gd name="T64" fmla="*/ 28 w 68"/>
                  <a:gd name="T65" fmla="*/ 52 h 52"/>
                  <a:gd name="T66" fmla="*/ 20 w 68"/>
                  <a:gd name="T67" fmla="*/ 48 h 52"/>
                  <a:gd name="T68" fmla="*/ 22 w 68"/>
                  <a:gd name="T69" fmla="*/ 46 h 52"/>
                  <a:gd name="T70" fmla="*/ 20 w 68"/>
                  <a:gd name="T71" fmla="*/ 46 h 52"/>
                  <a:gd name="T72" fmla="*/ 18 w 68"/>
                  <a:gd name="T73" fmla="*/ 46 h 52"/>
                  <a:gd name="T74" fmla="*/ 16 w 68"/>
                  <a:gd name="T75" fmla="*/ 42 h 52"/>
                  <a:gd name="T76" fmla="*/ 12 w 68"/>
                  <a:gd name="T77" fmla="*/ 44 h 52"/>
                  <a:gd name="T78" fmla="*/ 14 w 68"/>
                  <a:gd name="T79" fmla="*/ 42 h 52"/>
                  <a:gd name="T80" fmla="*/ 12 w 68"/>
                  <a:gd name="T81" fmla="*/ 40 h 52"/>
                  <a:gd name="T82" fmla="*/ 8 w 68"/>
                  <a:gd name="T83" fmla="*/ 38 h 52"/>
                  <a:gd name="T84" fmla="*/ 10 w 68"/>
                  <a:gd name="T85" fmla="*/ 36 h 52"/>
                  <a:gd name="T86" fmla="*/ 6 w 68"/>
                  <a:gd name="T87" fmla="*/ 34 h 52"/>
                  <a:gd name="T88" fmla="*/ 2 w 68"/>
                  <a:gd name="T89" fmla="*/ 34 h 52"/>
                  <a:gd name="T90" fmla="*/ 2 w 68"/>
                  <a:gd name="T91" fmla="*/ 30 h 52"/>
                  <a:gd name="T92" fmla="*/ 0 w 68"/>
                  <a:gd name="T93" fmla="*/ 22 h 52"/>
                  <a:gd name="T94" fmla="*/ 0 w 68"/>
                  <a:gd name="T95" fmla="*/ 18 h 52"/>
                  <a:gd name="T96" fmla="*/ 2 w 68"/>
                  <a:gd name="T97" fmla="*/ 14 h 52"/>
                  <a:gd name="T98" fmla="*/ 6 w 68"/>
                  <a:gd name="T99" fmla="*/ 18 h 52"/>
                  <a:gd name="T100" fmla="*/ 14 w 68"/>
                  <a:gd name="T101" fmla="*/ 16 h 52"/>
                  <a:gd name="T102" fmla="*/ 16 w 68"/>
                  <a:gd name="T103" fmla="*/ 16 h 52"/>
                  <a:gd name="T104" fmla="*/ 18 w 68"/>
                  <a:gd name="T105" fmla="*/ 16 h 52"/>
                  <a:gd name="T106" fmla="*/ 20 w 68"/>
                  <a:gd name="T107"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52">
                    <a:moveTo>
                      <a:pt x="20" y="16"/>
                    </a:moveTo>
                    <a:lnTo>
                      <a:pt x="20" y="16"/>
                    </a:lnTo>
                    <a:lnTo>
                      <a:pt x="22" y="16"/>
                    </a:lnTo>
                    <a:lnTo>
                      <a:pt x="22" y="14"/>
                    </a:lnTo>
                    <a:lnTo>
                      <a:pt x="24" y="14"/>
                    </a:lnTo>
                    <a:lnTo>
                      <a:pt x="24" y="14"/>
                    </a:lnTo>
                    <a:lnTo>
                      <a:pt x="26" y="14"/>
                    </a:lnTo>
                    <a:lnTo>
                      <a:pt x="26" y="16"/>
                    </a:lnTo>
                    <a:lnTo>
                      <a:pt x="28" y="16"/>
                    </a:lnTo>
                    <a:lnTo>
                      <a:pt x="28" y="18"/>
                    </a:lnTo>
                    <a:lnTo>
                      <a:pt x="30" y="18"/>
                    </a:lnTo>
                    <a:lnTo>
                      <a:pt x="30" y="16"/>
                    </a:lnTo>
                    <a:lnTo>
                      <a:pt x="32" y="16"/>
                    </a:lnTo>
                    <a:lnTo>
                      <a:pt x="30" y="14"/>
                    </a:lnTo>
                    <a:lnTo>
                      <a:pt x="32" y="14"/>
                    </a:lnTo>
                    <a:lnTo>
                      <a:pt x="32" y="14"/>
                    </a:lnTo>
                    <a:lnTo>
                      <a:pt x="28" y="12"/>
                    </a:lnTo>
                    <a:lnTo>
                      <a:pt x="28" y="10"/>
                    </a:lnTo>
                    <a:lnTo>
                      <a:pt x="26" y="10"/>
                    </a:lnTo>
                    <a:lnTo>
                      <a:pt x="18" y="6"/>
                    </a:lnTo>
                    <a:lnTo>
                      <a:pt x="18" y="4"/>
                    </a:lnTo>
                    <a:lnTo>
                      <a:pt x="18" y="2"/>
                    </a:lnTo>
                    <a:lnTo>
                      <a:pt x="22" y="0"/>
                    </a:lnTo>
                    <a:lnTo>
                      <a:pt x="34" y="2"/>
                    </a:lnTo>
                    <a:lnTo>
                      <a:pt x="36" y="0"/>
                    </a:lnTo>
                    <a:lnTo>
                      <a:pt x="36" y="0"/>
                    </a:lnTo>
                    <a:lnTo>
                      <a:pt x="38" y="0"/>
                    </a:lnTo>
                    <a:lnTo>
                      <a:pt x="48" y="10"/>
                    </a:lnTo>
                    <a:lnTo>
                      <a:pt x="56" y="12"/>
                    </a:lnTo>
                    <a:lnTo>
                      <a:pt x="60" y="12"/>
                    </a:lnTo>
                    <a:lnTo>
                      <a:pt x="62" y="8"/>
                    </a:lnTo>
                    <a:lnTo>
                      <a:pt x="66" y="8"/>
                    </a:lnTo>
                    <a:lnTo>
                      <a:pt x="68" y="8"/>
                    </a:lnTo>
                    <a:lnTo>
                      <a:pt x="68" y="8"/>
                    </a:lnTo>
                    <a:lnTo>
                      <a:pt x="68" y="12"/>
                    </a:lnTo>
                    <a:lnTo>
                      <a:pt x="64" y="14"/>
                    </a:lnTo>
                    <a:lnTo>
                      <a:pt x="66" y="16"/>
                    </a:lnTo>
                    <a:lnTo>
                      <a:pt x="66" y="18"/>
                    </a:lnTo>
                    <a:lnTo>
                      <a:pt x="60" y="18"/>
                    </a:lnTo>
                    <a:lnTo>
                      <a:pt x="60" y="18"/>
                    </a:lnTo>
                    <a:lnTo>
                      <a:pt x="58" y="16"/>
                    </a:lnTo>
                    <a:lnTo>
                      <a:pt x="56" y="18"/>
                    </a:lnTo>
                    <a:lnTo>
                      <a:pt x="58" y="22"/>
                    </a:lnTo>
                    <a:lnTo>
                      <a:pt x="56" y="26"/>
                    </a:lnTo>
                    <a:lnTo>
                      <a:pt x="56" y="28"/>
                    </a:lnTo>
                    <a:lnTo>
                      <a:pt x="58" y="32"/>
                    </a:lnTo>
                    <a:lnTo>
                      <a:pt x="56" y="36"/>
                    </a:lnTo>
                    <a:lnTo>
                      <a:pt x="56" y="38"/>
                    </a:lnTo>
                    <a:lnTo>
                      <a:pt x="54" y="38"/>
                    </a:lnTo>
                    <a:lnTo>
                      <a:pt x="54" y="38"/>
                    </a:lnTo>
                    <a:lnTo>
                      <a:pt x="54" y="36"/>
                    </a:lnTo>
                    <a:lnTo>
                      <a:pt x="52" y="36"/>
                    </a:lnTo>
                    <a:lnTo>
                      <a:pt x="48" y="36"/>
                    </a:lnTo>
                    <a:lnTo>
                      <a:pt x="46" y="34"/>
                    </a:lnTo>
                    <a:lnTo>
                      <a:pt x="46" y="36"/>
                    </a:lnTo>
                    <a:lnTo>
                      <a:pt x="48" y="40"/>
                    </a:lnTo>
                    <a:lnTo>
                      <a:pt x="50" y="38"/>
                    </a:lnTo>
                    <a:lnTo>
                      <a:pt x="54" y="42"/>
                    </a:lnTo>
                    <a:lnTo>
                      <a:pt x="56" y="44"/>
                    </a:lnTo>
                    <a:lnTo>
                      <a:pt x="54" y="46"/>
                    </a:lnTo>
                    <a:lnTo>
                      <a:pt x="52" y="48"/>
                    </a:lnTo>
                    <a:lnTo>
                      <a:pt x="48" y="50"/>
                    </a:lnTo>
                    <a:lnTo>
                      <a:pt x="44" y="52"/>
                    </a:lnTo>
                    <a:lnTo>
                      <a:pt x="36" y="50"/>
                    </a:lnTo>
                    <a:lnTo>
                      <a:pt x="34" y="52"/>
                    </a:lnTo>
                    <a:lnTo>
                      <a:pt x="28" y="52"/>
                    </a:lnTo>
                    <a:lnTo>
                      <a:pt x="20" y="50"/>
                    </a:lnTo>
                    <a:lnTo>
                      <a:pt x="20" y="48"/>
                    </a:lnTo>
                    <a:lnTo>
                      <a:pt x="22" y="48"/>
                    </a:lnTo>
                    <a:lnTo>
                      <a:pt x="22" y="46"/>
                    </a:lnTo>
                    <a:lnTo>
                      <a:pt x="20" y="44"/>
                    </a:lnTo>
                    <a:lnTo>
                      <a:pt x="20" y="46"/>
                    </a:lnTo>
                    <a:lnTo>
                      <a:pt x="18" y="46"/>
                    </a:lnTo>
                    <a:lnTo>
                      <a:pt x="18" y="46"/>
                    </a:lnTo>
                    <a:lnTo>
                      <a:pt x="18" y="44"/>
                    </a:lnTo>
                    <a:lnTo>
                      <a:pt x="16" y="42"/>
                    </a:lnTo>
                    <a:lnTo>
                      <a:pt x="14" y="44"/>
                    </a:lnTo>
                    <a:lnTo>
                      <a:pt x="12" y="44"/>
                    </a:lnTo>
                    <a:lnTo>
                      <a:pt x="12" y="42"/>
                    </a:lnTo>
                    <a:lnTo>
                      <a:pt x="14" y="42"/>
                    </a:lnTo>
                    <a:lnTo>
                      <a:pt x="14" y="42"/>
                    </a:lnTo>
                    <a:lnTo>
                      <a:pt x="12" y="40"/>
                    </a:lnTo>
                    <a:lnTo>
                      <a:pt x="10" y="40"/>
                    </a:lnTo>
                    <a:lnTo>
                      <a:pt x="8" y="38"/>
                    </a:lnTo>
                    <a:lnTo>
                      <a:pt x="8" y="36"/>
                    </a:lnTo>
                    <a:lnTo>
                      <a:pt x="10" y="36"/>
                    </a:lnTo>
                    <a:lnTo>
                      <a:pt x="10" y="34"/>
                    </a:lnTo>
                    <a:lnTo>
                      <a:pt x="6" y="34"/>
                    </a:lnTo>
                    <a:lnTo>
                      <a:pt x="6" y="34"/>
                    </a:lnTo>
                    <a:lnTo>
                      <a:pt x="2" y="34"/>
                    </a:lnTo>
                    <a:lnTo>
                      <a:pt x="2" y="30"/>
                    </a:lnTo>
                    <a:lnTo>
                      <a:pt x="2" y="30"/>
                    </a:lnTo>
                    <a:lnTo>
                      <a:pt x="4" y="26"/>
                    </a:lnTo>
                    <a:lnTo>
                      <a:pt x="0" y="22"/>
                    </a:lnTo>
                    <a:lnTo>
                      <a:pt x="2" y="22"/>
                    </a:lnTo>
                    <a:lnTo>
                      <a:pt x="0" y="18"/>
                    </a:lnTo>
                    <a:lnTo>
                      <a:pt x="2" y="16"/>
                    </a:lnTo>
                    <a:lnTo>
                      <a:pt x="2" y="14"/>
                    </a:lnTo>
                    <a:lnTo>
                      <a:pt x="4" y="16"/>
                    </a:lnTo>
                    <a:lnTo>
                      <a:pt x="6" y="18"/>
                    </a:lnTo>
                    <a:lnTo>
                      <a:pt x="12" y="16"/>
                    </a:lnTo>
                    <a:lnTo>
                      <a:pt x="14" y="16"/>
                    </a:lnTo>
                    <a:lnTo>
                      <a:pt x="14" y="14"/>
                    </a:lnTo>
                    <a:lnTo>
                      <a:pt x="16" y="16"/>
                    </a:lnTo>
                    <a:lnTo>
                      <a:pt x="16" y="16"/>
                    </a:lnTo>
                    <a:lnTo>
                      <a:pt x="18" y="16"/>
                    </a:lnTo>
                    <a:lnTo>
                      <a:pt x="20" y="16"/>
                    </a:lnTo>
                    <a:lnTo>
                      <a:pt x="20" y="1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81" name="Freeform 332"/>
              <p:cNvSpPr>
                <a:spLocks/>
              </p:cNvSpPr>
              <p:nvPr/>
            </p:nvSpPr>
            <p:spPr bwMode="auto">
              <a:xfrm>
                <a:off x="2891" y="803"/>
                <a:ext cx="52" cy="28"/>
              </a:xfrm>
              <a:custGeom>
                <a:avLst/>
                <a:gdLst>
                  <a:gd name="T0" fmla="*/ 0 w 52"/>
                  <a:gd name="T1" fmla="*/ 20 h 28"/>
                  <a:gd name="T2" fmla="*/ 4 w 52"/>
                  <a:gd name="T3" fmla="*/ 18 h 28"/>
                  <a:gd name="T4" fmla="*/ 16 w 52"/>
                  <a:gd name="T5" fmla="*/ 16 h 28"/>
                  <a:gd name="T6" fmla="*/ 18 w 52"/>
                  <a:gd name="T7" fmla="*/ 14 h 28"/>
                  <a:gd name="T8" fmla="*/ 18 w 52"/>
                  <a:gd name="T9" fmla="*/ 10 h 28"/>
                  <a:gd name="T10" fmla="*/ 18 w 52"/>
                  <a:gd name="T11" fmla="*/ 8 h 28"/>
                  <a:gd name="T12" fmla="*/ 22 w 52"/>
                  <a:gd name="T13" fmla="*/ 6 h 28"/>
                  <a:gd name="T14" fmla="*/ 26 w 52"/>
                  <a:gd name="T15" fmla="*/ 6 h 28"/>
                  <a:gd name="T16" fmla="*/ 36 w 52"/>
                  <a:gd name="T17" fmla="*/ 2 h 28"/>
                  <a:gd name="T18" fmla="*/ 40 w 52"/>
                  <a:gd name="T19" fmla="*/ 2 h 28"/>
                  <a:gd name="T20" fmla="*/ 40 w 52"/>
                  <a:gd name="T21" fmla="*/ 0 h 28"/>
                  <a:gd name="T22" fmla="*/ 42 w 52"/>
                  <a:gd name="T23" fmla="*/ 0 h 28"/>
                  <a:gd name="T24" fmla="*/ 40 w 52"/>
                  <a:gd name="T25" fmla="*/ 4 h 28"/>
                  <a:gd name="T26" fmla="*/ 40 w 52"/>
                  <a:gd name="T27" fmla="*/ 4 h 28"/>
                  <a:gd name="T28" fmla="*/ 40 w 52"/>
                  <a:gd name="T29" fmla="*/ 6 h 28"/>
                  <a:gd name="T30" fmla="*/ 40 w 52"/>
                  <a:gd name="T31" fmla="*/ 8 h 28"/>
                  <a:gd name="T32" fmla="*/ 42 w 52"/>
                  <a:gd name="T33" fmla="*/ 8 h 28"/>
                  <a:gd name="T34" fmla="*/ 44 w 52"/>
                  <a:gd name="T35" fmla="*/ 10 h 28"/>
                  <a:gd name="T36" fmla="*/ 48 w 52"/>
                  <a:gd name="T37" fmla="*/ 10 h 28"/>
                  <a:gd name="T38" fmla="*/ 48 w 52"/>
                  <a:gd name="T39" fmla="*/ 12 h 28"/>
                  <a:gd name="T40" fmla="*/ 50 w 52"/>
                  <a:gd name="T41" fmla="*/ 14 h 28"/>
                  <a:gd name="T42" fmla="*/ 50 w 52"/>
                  <a:gd name="T43" fmla="*/ 16 h 28"/>
                  <a:gd name="T44" fmla="*/ 52 w 52"/>
                  <a:gd name="T45" fmla="*/ 18 h 28"/>
                  <a:gd name="T46" fmla="*/ 52 w 52"/>
                  <a:gd name="T47" fmla="*/ 22 h 28"/>
                  <a:gd name="T48" fmla="*/ 50 w 52"/>
                  <a:gd name="T49" fmla="*/ 22 h 28"/>
                  <a:gd name="T50" fmla="*/ 46 w 52"/>
                  <a:gd name="T51" fmla="*/ 28 h 28"/>
                  <a:gd name="T52" fmla="*/ 42 w 52"/>
                  <a:gd name="T53" fmla="*/ 28 h 28"/>
                  <a:gd name="T54" fmla="*/ 30 w 52"/>
                  <a:gd name="T55" fmla="*/ 26 h 28"/>
                  <a:gd name="T56" fmla="*/ 20 w 52"/>
                  <a:gd name="T57" fmla="*/ 16 h 28"/>
                  <a:gd name="T58" fmla="*/ 18 w 52"/>
                  <a:gd name="T59" fmla="*/ 18 h 28"/>
                  <a:gd name="T60" fmla="*/ 16 w 52"/>
                  <a:gd name="T61" fmla="*/ 18 h 28"/>
                  <a:gd name="T62" fmla="*/ 0 w 52"/>
                  <a:gd name="T63"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8">
                    <a:moveTo>
                      <a:pt x="0" y="20"/>
                    </a:moveTo>
                    <a:lnTo>
                      <a:pt x="4" y="18"/>
                    </a:lnTo>
                    <a:lnTo>
                      <a:pt x="16" y="16"/>
                    </a:lnTo>
                    <a:lnTo>
                      <a:pt x="18" y="14"/>
                    </a:lnTo>
                    <a:lnTo>
                      <a:pt x="18" y="10"/>
                    </a:lnTo>
                    <a:lnTo>
                      <a:pt x="18" y="8"/>
                    </a:lnTo>
                    <a:lnTo>
                      <a:pt x="22" y="6"/>
                    </a:lnTo>
                    <a:lnTo>
                      <a:pt x="26" y="6"/>
                    </a:lnTo>
                    <a:lnTo>
                      <a:pt x="36" y="2"/>
                    </a:lnTo>
                    <a:lnTo>
                      <a:pt x="40" y="2"/>
                    </a:lnTo>
                    <a:lnTo>
                      <a:pt x="40" y="0"/>
                    </a:lnTo>
                    <a:lnTo>
                      <a:pt x="42" y="0"/>
                    </a:lnTo>
                    <a:lnTo>
                      <a:pt x="40" y="4"/>
                    </a:lnTo>
                    <a:lnTo>
                      <a:pt x="40" y="4"/>
                    </a:lnTo>
                    <a:lnTo>
                      <a:pt x="40" y="6"/>
                    </a:lnTo>
                    <a:lnTo>
                      <a:pt x="40" y="8"/>
                    </a:lnTo>
                    <a:lnTo>
                      <a:pt x="42" y="8"/>
                    </a:lnTo>
                    <a:lnTo>
                      <a:pt x="44" y="10"/>
                    </a:lnTo>
                    <a:lnTo>
                      <a:pt x="48" y="10"/>
                    </a:lnTo>
                    <a:lnTo>
                      <a:pt x="48" y="12"/>
                    </a:lnTo>
                    <a:lnTo>
                      <a:pt x="50" y="14"/>
                    </a:lnTo>
                    <a:lnTo>
                      <a:pt x="50" y="16"/>
                    </a:lnTo>
                    <a:lnTo>
                      <a:pt x="52" y="18"/>
                    </a:lnTo>
                    <a:lnTo>
                      <a:pt x="52" y="22"/>
                    </a:lnTo>
                    <a:lnTo>
                      <a:pt x="50" y="22"/>
                    </a:lnTo>
                    <a:lnTo>
                      <a:pt x="46" y="28"/>
                    </a:lnTo>
                    <a:lnTo>
                      <a:pt x="42" y="28"/>
                    </a:lnTo>
                    <a:lnTo>
                      <a:pt x="30" y="26"/>
                    </a:lnTo>
                    <a:lnTo>
                      <a:pt x="20" y="16"/>
                    </a:lnTo>
                    <a:lnTo>
                      <a:pt x="18" y="18"/>
                    </a:lnTo>
                    <a:lnTo>
                      <a:pt x="16" y="18"/>
                    </a:lnTo>
                    <a:lnTo>
                      <a:pt x="0" y="2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82" name="Freeform 333"/>
              <p:cNvSpPr>
                <a:spLocks/>
              </p:cNvSpPr>
              <p:nvPr/>
            </p:nvSpPr>
            <p:spPr bwMode="auto">
              <a:xfrm>
                <a:off x="2891" y="803"/>
                <a:ext cx="52" cy="28"/>
              </a:xfrm>
              <a:custGeom>
                <a:avLst/>
                <a:gdLst>
                  <a:gd name="T0" fmla="*/ 0 w 52"/>
                  <a:gd name="T1" fmla="*/ 20 h 28"/>
                  <a:gd name="T2" fmla="*/ 4 w 52"/>
                  <a:gd name="T3" fmla="*/ 18 h 28"/>
                  <a:gd name="T4" fmla="*/ 16 w 52"/>
                  <a:gd name="T5" fmla="*/ 16 h 28"/>
                  <a:gd name="T6" fmla="*/ 18 w 52"/>
                  <a:gd name="T7" fmla="*/ 14 h 28"/>
                  <a:gd name="T8" fmla="*/ 18 w 52"/>
                  <a:gd name="T9" fmla="*/ 10 h 28"/>
                  <a:gd name="T10" fmla="*/ 18 w 52"/>
                  <a:gd name="T11" fmla="*/ 8 h 28"/>
                  <a:gd name="T12" fmla="*/ 22 w 52"/>
                  <a:gd name="T13" fmla="*/ 6 h 28"/>
                  <a:gd name="T14" fmla="*/ 26 w 52"/>
                  <a:gd name="T15" fmla="*/ 6 h 28"/>
                  <a:gd name="T16" fmla="*/ 36 w 52"/>
                  <a:gd name="T17" fmla="*/ 2 h 28"/>
                  <a:gd name="T18" fmla="*/ 40 w 52"/>
                  <a:gd name="T19" fmla="*/ 2 h 28"/>
                  <a:gd name="T20" fmla="*/ 40 w 52"/>
                  <a:gd name="T21" fmla="*/ 0 h 28"/>
                  <a:gd name="T22" fmla="*/ 42 w 52"/>
                  <a:gd name="T23" fmla="*/ 0 h 28"/>
                  <a:gd name="T24" fmla="*/ 40 w 52"/>
                  <a:gd name="T25" fmla="*/ 4 h 28"/>
                  <a:gd name="T26" fmla="*/ 40 w 52"/>
                  <a:gd name="T27" fmla="*/ 4 h 28"/>
                  <a:gd name="T28" fmla="*/ 40 w 52"/>
                  <a:gd name="T29" fmla="*/ 6 h 28"/>
                  <a:gd name="T30" fmla="*/ 40 w 52"/>
                  <a:gd name="T31" fmla="*/ 8 h 28"/>
                  <a:gd name="T32" fmla="*/ 42 w 52"/>
                  <a:gd name="T33" fmla="*/ 8 h 28"/>
                  <a:gd name="T34" fmla="*/ 44 w 52"/>
                  <a:gd name="T35" fmla="*/ 10 h 28"/>
                  <a:gd name="T36" fmla="*/ 48 w 52"/>
                  <a:gd name="T37" fmla="*/ 10 h 28"/>
                  <a:gd name="T38" fmla="*/ 48 w 52"/>
                  <a:gd name="T39" fmla="*/ 12 h 28"/>
                  <a:gd name="T40" fmla="*/ 50 w 52"/>
                  <a:gd name="T41" fmla="*/ 14 h 28"/>
                  <a:gd name="T42" fmla="*/ 50 w 52"/>
                  <a:gd name="T43" fmla="*/ 16 h 28"/>
                  <a:gd name="T44" fmla="*/ 52 w 52"/>
                  <a:gd name="T45" fmla="*/ 18 h 28"/>
                  <a:gd name="T46" fmla="*/ 52 w 52"/>
                  <a:gd name="T47" fmla="*/ 22 h 28"/>
                  <a:gd name="T48" fmla="*/ 50 w 52"/>
                  <a:gd name="T49" fmla="*/ 22 h 28"/>
                  <a:gd name="T50" fmla="*/ 46 w 52"/>
                  <a:gd name="T51" fmla="*/ 28 h 28"/>
                  <a:gd name="T52" fmla="*/ 42 w 52"/>
                  <a:gd name="T53" fmla="*/ 28 h 28"/>
                  <a:gd name="T54" fmla="*/ 30 w 52"/>
                  <a:gd name="T55" fmla="*/ 26 h 28"/>
                  <a:gd name="T56" fmla="*/ 20 w 52"/>
                  <a:gd name="T57" fmla="*/ 16 h 28"/>
                  <a:gd name="T58" fmla="*/ 18 w 52"/>
                  <a:gd name="T59" fmla="*/ 18 h 28"/>
                  <a:gd name="T60" fmla="*/ 16 w 52"/>
                  <a:gd name="T61" fmla="*/ 18 h 28"/>
                  <a:gd name="T62" fmla="*/ 0 w 52"/>
                  <a:gd name="T63"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8">
                    <a:moveTo>
                      <a:pt x="0" y="20"/>
                    </a:moveTo>
                    <a:lnTo>
                      <a:pt x="4" y="18"/>
                    </a:lnTo>
                    <a:lnTo>
                      <a:pt x="16" y="16"/>
                    </a:lnTo>
                    <a:lnTo>
                      <a:pt x="18" y="14"/>
                    </a:lnTo>
                    <a:lnTo>
                      <a:pt x="18" y="10"/>
                    </a:lnTo>
                    <a:lnTo>
                      <a:pt x="18" y="8"/>
                    </a:lnTo>
                    <a:lnTo>
                      <a:pt x="22" y="6"/>
                    </a:lnTo>
                    <a:lnTo>
                      <a:pt x="26" y="6"/>
                    </a:lnTo>
                    <a:lnTo>
                      <a:pt x="36" y="2"/>
                    </a:lnTo>
                    <a:lnTo>
                      <a:pt x="40" y="2"/>
                    </a:lnTo>
                    <a:lnTo>
                      <a:pt x="40" y="0"/>
                    </a:lnTo>
                    <a:lnTo>
                      <a:pt x="42" y="0"/>
                    </a:lnTo>
                    <a:lnTo>
                      <a:pt x="40" y="4"/>
                    </a:lnTo>
                    <a:lnTo>
                      <a:pt x="40" y="4"/>
                    </a:lnTo>
                    <a:lnTo>
                      <a:pt x="40" y="6"/>
                    </a:lnTo>
                    <a:lnTo>
                      <a:pt x="40" y="8"/>
                    </a:lnTo>
                    <a:lnTo>
                      <a:pt x="42" y="8"/>
                    </a:lnTo>
                    <a:lnTo>
                      <a:pt x="44" y="10"/>
                    </a:lnTo>
                    <a:lnTo>
                      <a:pt x="48" y="10"/>
                    </a:lnTo>
                    <a:lnTo>
                      <a:pt x="48" y="12"/>
                    </a:lnTo>
                    <a:lnTo>
                      <a:pt x="50" y="14"/>
                    </a:lnTo>
                    <a:lnTo>
                      <a:pt x="50" y="16"/>
                    </a:lnTo>
                    <a:lnTo>
                      <a:pt x="52" y="18"/>
                    </a:lnTo>
                    <a:lnTo>
                      <a:pt x="52" y="22"/>
                    </a:lnTo>
                    <a:lnTo>
                      <a:pt x="50" y="22"/>
                    </a:lnTo>
                    <a:lnTo>
                      <a:pt x="46" y="28"/>
                    </a:lnTo>
                    <a:lnTo>
                      <a:pt x="42" y="28"/>
                    </a:lnTo>
                    <a:lnTo>
                      <a:pt x="30" y="26"/>
                    </a:lnTo>
                    <a:lnTo>
                      <a:pt x="20" y="16"/>
                    </a:lnTo>
                    <a:lnTo>
                      <a:pt x="18" y="18"/>
                    </a:lnTo>
                    <a:lnTo>
                      <a:pt x="16" y="18"/>
                    </a:lnTo>
                    <a:lnTo>
                      <a:pt x="0" y="2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83" name="Freeform 334"/>
              <p:cNvSpPr>
                <a:spLocks/>
              </p:cNvSpPr>
              <p:nvPr/>
            </p:nvSpPr>
            <p:spPr bwMode="auto">
              <a:xfrm>
                <a:off x="2935" y="763"/>
                <a:ext cx="44" cy="36"/>
              </a:xfrm>
              <a:custGeom>
                <a:avLst/>
                <a:gdLst>
                  <a:gd name="T0" fmla="*/ 0 w 44"/>
                  <a:gd name="T1" fmla="*/ 32 h 36"/>
                  <a:gd name="T2" fmla="*/ 0 w 44"/>
                  <a:gd name="T3" fmla="*/ 32 h 36"/>
                  <a:gd name="T4" fmla="*/ 2 w 44"/>
                  <a:gd name="T5" fmla="*/ 32 h 36"/>
                  <a:gd name="T6" fmla="*/ 4 w 44"/>
                  <a:gd name="T7" fmla="*/ 30 h 36"/>
                  <a:gd name="T8" fmla="*/ 4 w 44"/>
                  <a:gd name="T9" fmla="*/ 32 h 36"/>
                  <a:gd name="T10" fmla="*/ 8 w 44"/>
                  <a:gd name="T11" fmla="*/ 28 h 36"/>
                  <a:gd name="T12" fmla="*/ 10 w 44"/>
                  <a:gd name="T13" fmla="*/ 26 h 36"/>
                  <a:gd name="T14" fmla="*/ 10 w 44"/>
                  <a:gd name="T15" fmla="*/ 24 h 36"/>
                  <a:gd name="T16" fmla="*/ 16 w 44"/>
                  <a:gd name="T17" fmla="*/ 18 h 36"/>
                  <a:gd name="T18" fmla="*/ 16 w 44"/>
                  <a:gd name="T19" fmla="*/ 18 h 36"/>
                  <a:gd name="T20" fmla="*/ 16 w 44"/>
                  <a:gd name="T21" fmla="*/ 20 h 36"/>
                  <a:gd name="T22" fmla="*/ 18 w 44"/>
                  <a:gd name="T23" fmla="*/ 20 h 36"/>
                  <a:gd name="T24" fmla="*/ 18 w 44"/>
                  <a:gd name="T25" fmla="*/ 22 h 36"/>
                  <a:gd name="T26" fmla="*/ 20 w 44"/>
                  <a:gd name="T27" fmla="*/ 18 h 36"/>
                  <a:gd name="T28" fmla="*/ 22 w 44"/>
                  <a:gd name="T29" fmla="*/ 16 h 36"/>
                  <a:gd name="T30" fmla="*/ 22 w 44"/>
                  <a:gd name="T31" fmla="*/ 14 h 36"/>
                  <a:gd name="T32" fmla="*/ 22 w 44"/>
                  <a:gd name="T33" fmla="*/ 12 h 36"/>
                  <a:gd name="T34" fmla="*/ 24 w 44"/>
                  <a:gd name="T35" fmla="*/ 12 h 36"/>
                  <a:gd name="T36" fmla="*/ 26 w 44"/>
                  <a:gd name="T37" fmla="*/ 12 h 36"/>
                  <a:gd name="T38" fmla="*/ 26 w 44"/>
                  <a:gd name="T39" fmla="*/ 8 h 36"/>
                  <a:gd name="T40" fmla="*/ 28 w 44"/>
                  <a:gd name="T41" fmla="*/ 6 h 36"/>
                  <a:gd name="T42" fmla="*/ 30 w 44"/>
                  <a:gd name="T43" fmla="*/ 6 h 36"/>
                  <a:gd name="T44" fmla="*/ 34 w 44"/>
                  <a:gd name="T45" fmla="*/ 0 h 36"/>
                  <a:gd name="T46" fmla="*/ 36 w 44"/>
                  <a:gd name="T47" fmla="*/ 2 h 36"/>
                  <a:gd name="T48" fmla="*/ 40 w 44"/>
                  <a:gd name="T49" fmla="*/ 4 h 36"/>
                  <a:gd name="T50" fmla="*/ 42 w 44"/>
                  <a:gd name="T51" fmla="*/ 8 h 36"/>
                  <a:gd name="T52" fmla="*/ 44 w 44"/>
                  <a:gd name="T53" fmla="*/ 16 h 36"/>
                  <a:gd name="T54" fmla="*/ 44 w 44"/>
                  <a:gd name="T55" fmla="*/ 18 h 36"/>
                  <a:gd name="T56" fmla="*/ 42 w 44"/>
                  <a:gd name="T57" fmla="*/ 18 h 36"/>
                  <a:gd name="T58" fmla="*/ 42 w 44"/>
                  <a:gd name="T59" fmla="*/ 20 h 36"/>
                  <a:gd name="T60" fmla="*/ 42 w 44"/>
                  <a:gd name="T61" fmla="*/ 20 h 36"/>
                  <a:gd name="T62" fmla="*/ 40 w 44"/>
                  <a:gd name="T63" fmla="*/ 20 h 36"/>
                  <a:gd name="T64" fmla="*/ 42 w 44"/>
                  <a:gd name="T65" fmla="*/ 22 h 36"/>
                  <a:gd name="T66" fmla="*/ 40 w 44"/>
                  <a:gd name="T67" fmla="*/ 24 h 36"/>
                  <a:gd name="T68" fmla="*/ 38 w 44"/>
                  <a:gd name="T69" fmla="*/ 26 h 36"/>
                  <a:gd name="T70" fmla="*/ 36 w 44"/>
                  <a:gd name="T71" fmla="*/ 26 h 36"/>
                  <a:gd name="T72" fmla="*/ 34 w 44"/>
                  <a:gd name="T73" fmla="*/ 28 h 36"/>
                  <a:gd name="T74" fmla="*/ 32 w 44"/>
                  <a:gd name="T75" fmla="*/ 30 h 36"/>
                  <a:gd name="T76" fmla="*/ 30 w 44"/>
                  <a:gd name="T77" fmla="*/ 30 h 36"/>
                  <a:gd name="T78" fmla="*/ 28 w 44"/>
                  <a:gd name="T79" fmla="*/ 32 h 36"/>
                  <a:gd name="T80" fmla="*/ 26 w 44"/>
                  <a:gd name="T81" fmla="*/ 32 h 36"/>
                  <a:gd name="T82" fmla="*/ 24 w 44"/>
                  <a:gd name="T83" fmla="*/ 34 h 36"/>
                  <a:gd name="T84" fmla="*/ 20 w 44"/>
                  <a:gd name="T85" fmla="*/ 36 h 36"/>
                  <a:gd name="T86" fmla="*/ 16 w 44"/>
                  <a:gd name="T87" fmla="*/ 34 h 36"/>
                  <a:gd name="T88" fmla="*/ 12 w 44"/>
                  <a:gd name="T89" fmla="*/ 34 h 36"/>
                  <a:gd name="T90" fmla="*/ 8 w 44"/>
                  <a:gd name="T91" fmla="*/ 32 h 36"/>
                  <a:gd name="T92" fmla="*/ 2 w 44"/>
                  <a:gd name="T93" fmla="*/ 34 h 36"/>
                  <a:gd name="T94" fmla="*/ 0 w 44"/>
                  <a:gd name="T95" fmla="*/ 34 h 36"/>
                  <a:gd name="T96" fmla="*/ 0 w 44"/>
                  <a:gd name="T9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36">
                    <a:moveTo>
                      <a:pt x="0" y="32"/>
                    </a:moveTo>
                    <a:lnTo>
                      <a:pt x="0" y="32"/>
                    </a:lnTo>
                    <a:lnTo>
                      <a:pt x="2" y="32"/>
                    </a:lnTo>
                    <a:lnTo>
                      <a:pt x="4" y="30"/>
                    </a:lnTo>
                    <a:lnTo>
                      <a:pt x="4" y="32"/>
                    </a:lnTo>
                    <a:lnTo>
                      <a:pt x="8" y="28"/>
                    </a:lnTo>
                    <a:lnTo>
                      <a:pt x="10" y="26"/>
                    </a:lnTo>
                    <a:lnTo>
                      <a:pt x="10" y="24"/>
                    </a:lnTo>
                    <a:lnTo>
                      <a:pt x="16" y="18"/>
                    </a:lnTo>
                    <a:lnTo>
                      <a:pt x="16" y="18"/>
                    </a:lnTo>
                    <a:lnTo>
                      <a:pt x="16" y="20"/>
                    </a:lnTo>
                    <a:lnTo>
                      <a:pt x="18" y="20"/>
                    </a:lnTo>
                    <a:lnTo>
                      <a:pt x="18" y="22"/>
                    </a:lnTo>
                    <a:lnTo>
                      <a:pt x="20" y="18"/>
                    </a:lnTo>
                    <a:lnTo>
                      <a:pt x="22" y="16"/>
                    </a:lnTo>
                    <a:lnTo>
                      <a:pt x="22" y="14"/>
                    </a:lnTo>
                    <a:lnTo>
                      <a:pt x="22" y="12"/>
                    </a:lnTo>
                    <a:lnTo>
                      <a:pt x="24" y="12"/>
                    </a:lnTo>
                    <a:lnTo>
                      <a:pt x="26" y="12"/>
                    </a:lnTo>
                    <a:lnTo>
                      <a:pt x="26" y="8"/>
                    </a:lnTo>
                    <a:lnTo>
                      <a:pt x="28" y="6"/>
                    </a:lnTo>
                    <a:lnTo>
                      <a:pt x="30" y="6"/>
                    </a:lnTo>
                    <a:lnTo>
                      <a:pt x="34" y="0"/>
                    </a:lnTo>
                    <a:lnTo>
                      <a:pt x="36" y="2"/>
                    </a:lnTo>
                    <a:lnTo>
                      <a:pt x="40" y="4"/>
                    </a:lnTo>
                    <a:lnTo>
                      <a:pt x="42" y="8"/>
                    </a:lnTo>
                    <a:lnTo>
                      <a:pt x="44" y="16"/>
                    </a:lnTo>
                    <a:lnTo>
                      <a:pt x="44" y="18"/>
                    </a:lnTo>
                    <a:lnTo>
                      <a:pt x="42" y="18"/>
                    </a:lnTo>
                    <a:lnTo>
                      <a:pt x="42" y="20"/>
                    </a:lnTo>
                    <a:lnTo>
                      <a:pt x="42" y="20"/>
                    </a:lnTo>
                    <a:lnTo>
                      <a:pt x="40" y="20"/>
                    </a:lnTo>
                    <a:lnTo>
                      <a:pt x="42" y="22"/>
                    </a:lnTo>
                    <a:lnTo>
                      <a:pt x="40" y="24"/>
                    </a:lnTo>
                    <a:lnTo>
                      <a:pt x="38" y="26"/>
                    </a:lnTo>
                    <a:lnTo>
                      <a:pt x="36" y="26"/>
                    </a:lnTo>
                    <a:lnTo>
                      <a:pt x="34" y="28"/>
                    </a:lnTo>
                    <a:lnTo>
                      <a:pt x="32" y="30"/>
                    </a:lnTo>
                    <a:lnTo>
                      <a:pt x="30" y="30"/>
                    </a:lnTo>
                    <a:lnTo>
                      <a:pt x="28" y="32"/>
                    </a:lnTo>
                    <a:lnTo>
                      <a:pt x="26" y="32"/>
                    </a:lnTo>
                    <a:lnTo>
                      <a:pt x="24" y="34"/>
                    </a:lnTo>
                    <a:lnTo>
                      <a:pt x="20" y="36"/>
                    </a:lnTo>
                    <a:lnTo>
                      <a:pt x="16" y="34"/>
                    </a:lnTo>
                    <a:lnTo>
                      <a:pt x="12" y="34"/>
                    </a:lnTo>
                    <a:lnTo>
                      <a:pt x="8" y="32"/>
                    </a:lnTo>
                    <a:lnTo>
                      <a:pt x="2" y="34"/>
                    </a:lnTo>
                    <a:lnTo>
                      <a:pt x="0" y="34"/>
                    </a:lnTo>
                    <a:lnTo>
                      <a:pt x="0" y="3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84" name="Freeform 335"/>
              <p:cNvSpPr>
                <a:spLocks/>
              </p:cNvSpPr>
              <p:nvPr/>
            </p:nvSpPr>
            <p:spPr bwMode="auto">
              <a:xfrm>
                <a:off x="2935" y="763"/>
                <a:ext cx="44" cy="36"/>
              </a:xfrm>
              <a:custGeom>
                <a:avLst/>
                <a:gdLst>
                  <a:gd name="T0" fmla="*/ 0 w 44"/>
                  <a:gd name="T1" fmla="*/ 32 h 36"/>
                  <a:gd name="T2" fmla="*/ 0 w 44"/>
                  <a:gd name="T3" fmla="*/ 32 h 36"/>
                  <a:gd name="T4" fmla="*/ 2 w 44"/>
                  <a:gd name="T5" fmla="*/ 32 h 36"/>
                  <a:gd name="T6" fmla="*/ 4 w 44"/>
                  <a:gd name="T7" fmla="*/ 30 h 36"/>
                  <a:gd name="T8" fmla="*/ 4 w 44"/>
                  <a:gd name="T9" fmla="*/ 32 h 36"/>
                  <a:gd name="T10" fmla="*/ 8 w 44"/>
                  <a:gd name="T11" fmla="*/ 28 h 36"/>
                  <a:gd name="T12" fmla="*/ 10 w 44"/>
                  <a:gd name="T13" fmla="*/ 26 h 36"/>
                  <a:gd name="T14" fmla="*/ 10 w 44"/>
                  <a:gd name="T15" fmla="*/ 24 h 36"/>
                  <a:gd name="T16" fmla="*/ 16 w 44"/>
                  <a:gd name="T17" fmla="*/ 18 h 36"/>
                  <a:gd name="T18" fmla="*/ 16 w 44"/>
                  <a:gd name="T19" fmla="*/ 18 h 36"/>
                  <a:gd name="T20" fmla="*/ 16 w 44"/>
                  <a:gd name="T21" fmla="*/ 20 h 36"/>
                  <a:gd name="T22" fmla="*/ 18 w 44"/>
                  <a:gd name="T23" fmla="*/ 20 h 36"/>
                  <a:gd name="T24" fmla="*/ 18 w 44"/>
                  <a:gd name="T25" fmla="*/ 22 h 36"/>
                  <a:gd name="T26" fmla="*/ 20 w 44"/>
                  <a:gd name="T27" fmla="*/ 18 h 36"/>
                  <a:gd name="T28" fmla="*/ 22 w 44"/>
                  <a:gd name="T29" fmla="*/ 16 h 36"/>
                  <a:gd name="T30" fmla="*/ 22 w 44"/>
                  <a:gd name="T31" fmla="*/ 14 h 36"/>
                  <a:gd name="T32" fmla="*/ 22 w 44"/>
                  <a:gd name="T33" fmla="*/ 12 h 36"/>
                  <a:gd name="T34" fmla="*/ 24 w 44"/>
                  <a:gd name="T35" fmla="*/ 12 h 36"/>
                  <a:gd name="T36" fmla="*/ 26 w 44"/>
                  <a:gd name="T37" fmla="*/ 12 h 36"/>
                  <a:gd name="T38" fmla="*/ 26 w 44"/>
                  <a:gd name="T39" fmla="*/ 8 h 36"/>
                  <a:gd name="T40" fmla="*/ 28 w 44"/>
                  <a:gd name="T41" fmla="*/ 6 h 36"/>
                  <a:gd name="T42" fmla="*/ 30 w 44"/>
                  <a:gd name="T43" fmla="*/ 6 h 36"/>
                  <a:gd name="T44" fmla="*/ 34 w 44"/>
                  <a:gd name="T45" fmla="*/ 0 h 36"/>
                  <a:gd name="T46" fmla="*/ 36 w 44"/>
                  <a:gd name="T47" fmla="*/ 2 h 36"/>
                  <a:gd name="T48" fmla="*/ 40 w 44"/>
                  <a:gd name="T49" fmla="*/ 4 h 36"/>
                  <a:gd name="T50" fmla="*/ 42 w 44"/>
                  <a:gd name="T51" fmla="*/ 8 h 36"/>
                  <a:gd name="T52" fmla="*/ 44 w 44"/>
                  <a:gd name="T53" fmla="*/ 16 h 36"/>
                  <a:gd name="T54" fmla="*/ 44 w 44"/>
                  <a:gd name="T55" fmla="*/ 18 h 36"/>
                  <a:gd name="T56" fmla="*/ 42 w 44"/>
                  <a:gd name="T57" fmla="*/ 18 h 36"/>
                  <a:gd name="T58" fmla="*/ 42 w 44"/>
                  <a:gd name="T59" fmla="*/ 20 h 36"/>
                  <a:gd name="T60" fmla="*/ 42 w 44"/>
                  <a:gd name="T61" fmla="*/ 20 h 36"/>
                  <a:gd name="T62" fmla="*/ 40 w 44"/>
                  <a:gd name="T63" fmla="*/ 20 h 36"/>
                  <a:gd name="T64" fmla="*/ 42 w 44"/>
                  <a:gd name="T65" fmla="*/ 22 h 36"/>
                  <a:gd name="T66" fmla="*/ 40 w 44"/>
                  <a:gd name="T67" fmla="*/ 24 h 36"/>
                  <a:gd name="T68" fmla="*/ 38 w 44"/>
                  <a:gd name="T69" fmla="*/ 26 h 36"/>
                  <a:gd name="T70" fmla="*/ 36 w 44"/>
                  <a:gd name="T71" fmla="*/ 26 h 36"/>
                  <a:gd name="T72" fmla="*/ 34 w 44"/>
                  <a:gd name="T73" fmla="*/ 28 h 36"/>
                  <a:gd name="T74" fmla="*/ 32 w 44"/>
                  <a:gd name="T75" fmla="*/ 30 h 36"/>
                  <a:gd name="T76" fmla="*/ 30 w 44"/>
                  <a:gd name="T77" fmla="*/ 30 h 36"/>
                  <a:gd name="T78" fmla="*/ 28 w 44"/>
                  <a:gd name="T79" fmla="*/ 32 h 36"/>
                  <a:gd name="T80" fmla="*/ 26 w 44"/>
                  <a:gd name="T81" fmla="*/ 32 h 36"/>
                  <a:gd name="T82" fmla="*/ 24 w 44"/>
                  <a:gd name="T83" fmla="*/ 34 h 36"/>
                  <a:gd name="T84" fmla="*/ 20 w 44"/>
                  <a:gd name="T85" fmla="*/ 36 h 36"/>
                  <a:gd name="T86" fmla="*/ 16 w 44"/>
                  <a:gd name="T87" fmla="*/ 34 h 36"/>
                  <a:gd name="T88" fmla="*/ 12 w 44"/>
                  <a:gd name="T89" fmla="*/ 34 h 36"/>
                  <a:gd name="T90" fmla="*/ 8 w 44"/>
                  <a:gd name="T91" fmla="*/ 32 h 36"/>
                  <a:gd name="T92" fmla="*/ 2 w 44"/>
                  <a:gd name="T93" fmla="*/ 34 h 36"/>
                  <a:gd name="T94" fmla="*/ 0 w 44"/>
                  <a:gd name="T95" fmla="*/ 34 h 36"/>
                  <a:gd name="T96" fmla="*/ 0 w 44"/>
                  <a:gd name="T9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36">
                    <a:moveTo>
                      <a:pt x="0" y="32"/>
                    </a:moveTo>
                    <a:lnTo>
                      <a:pt x="0" y="32"/>
                    </a:lnTo>
                    <a:lnTo>
                      <a:pt x="2" y="32"/>
                    </a:lnTo>
                    <a:lnTo>
                      <a:pt x="4" y="30"/>
                    </a:lnTo>
                    <a:lnTo>
                      <a:pt x="4" y="32"/>
                    </a:lnTo>
                    <a:lnTo>
                      <a:pt x="8" y="28"/>
                    </a:lnTo>
                    <a:lnTo>
                      <a:pt x="10" y="26"/>
                    </a:lnTo>
                    <a:lnTo>
                      <a:pt x="10" y="24"/>
                    </a:lnTo>
                    <a:lnTo>
                      <a:pt x="16" y="18"/>
                    </a:lnTo>
                    <a:lnTo>
                      <a:pt x="16" y="18"/>
                    </a:lnTo>
                    <a:lnTo>
                      <a:pt x="16" y="20"/>
                    </a:lnTo>
                    <a:lnTo>
                      <a:pt x="18" y="20"/>
                    </a:lnTo>
                    <a:lnTo>
                      <a:pt x="18" y="22"/>
                    </a:lnTo>
                    <a:lnTo>
                      <a:pt x="20" y="18"/>
                    </a:lnTo>
                    <a:lnTo>
                      <a:pt x="22" y="16"/>
                    </a:lnTo>
                    <a:lnTo>
                      <a:pt x="22" y="14"/>
                    </a:lnTo>
                    <a:lnTo>
                      <a:pt x="22" y="12"/>
                    </a:lnTo>
                    <a:lnTo>
                      <a:pt x="24" y="12"/>
                    </a:lnTo>
                    <a:lnTo>
                      <a:pt x="26" y="12"/>
                    </a:lnTo>
                    <a:lnTo>
                      <a:pt x="26" y="8"/>
                    </a:lnTo>
                    <a:lnTo>
                      <a:pt x="28" y="6"/>
                    </a:lnTo>
                    <a:lnTo>
                      <a:pt x="30" y="6"/>
                    </a:lnTo>
                    <a:lnTo>
                      <a:pt x="34" y="0"/>
                    </a:lnTo>
                    <a:lnTo>
                      <a:pt x="36" y="2"/>
                    </a:lnTo>
                    <a:lnTo>
                      <a:pt x="40" y="4"/>
                    </a:lnTo>
                    <a:lnTo>
                      <a:pt x="42" y="8"/>
                    </a:lnTo>
                    <a:lnTo>
                      <a:pt x="44" y="16"/>
                    </a:lnTo>
                    <a:lnTo>
                      <a:pt x="44" y="18"/>
                    </a:lnTo>
                    <a:lnTo>
                      <a:pt x="42" y="18"/>
                    </a:lnTo>
                    <a:lnTo>
                      <a:pt x="42" y="20"/>
                    </a:lnTo>
                    <a:lnTo>
                      <a:pt x="42" y="20"/>
                    </a:lnTo>
                    <a:lnTo>
                      <a:pt x="40" y="20"/>
                    </a:lnTo>
                    <a:lnTo>
                      <a:pt x="42" y="22"/>
                    </a:lnTo>
                    <a:lnTo>
                      <a:pt x="40" y="24"/>
                    </a:lnTo>
                    <a:lnTo>
                      <a:pt x="38" y="26"/>
                    </a:lnTo>
                    <a:lnTo>
                      <a:pt x="36" y="26"/>
                    </a:lnTo>
                    <a:lnTo>
                      <a:pt x="34" y="28"/>
                    </a:lnTo>
                    <a:lnTo>
                      <a:pt x="32" y="30"/>
                    </a:lnTo>
                    <a:lnTo>
                      <a:pt x="30" y="30"/>
                    </a:lnTo>
                    <a:lnTo>
                      <a:pt x="28" y="32"/>
                    </a:lnTo>
                    <a:lnTo>
                      <a:pt x="26" y="32"/>
                    </a:lnTo>
                    <a:lnTo>
                      <a:pt x="24" y="34"/>
                    </a:lnTo>
                    <a:lnTo>
                      <a:pt x="20" y="36"/>
                    </a:lnTo>
                    <a:lnTo>
                      <a:pt x="16" y="34"/>
                    </a:lnTo>
                    <a:lnTo>
                      <a:pt x="12" y="34"/>
                    </a:lnTo>
                    <a:lnTo>
                      <a:pt x="8" y="32"/>
                    </a:lnTo>
                    <a:lnTo>
                      <a:pt x="2" y="34"/>
                    </a:lnTo>
                    <a:lnTo>
                      <a:pt x="0" y="34"/>
                    </a:lnTo>
                    <a:lnTo>
                      <a:pt x="0" y="3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85" name="Freeform 336"/>
              <p:cNvSpPr>
                <a:spLocks/>
              </p:cNvSpPr>
              <p:nvPr/>
            </p:nvSpPr>
            <p:spPr bwMode="auto">
              <a:xfrm>
                <a:off x="2951" y="865"/>
                <a:ext cx="14" cy="12"/>
              </a:xfrm>
              <a:custGeom>
                <a:avLst/>
                <a:gdLst>
                  <a:gd name="T0" fmla="*/ 8 w 14"/>
                  <a:gd name="T1" fmla="*/ 2 h 12"/>
                  <a:gd name="T2" fmla="*/ 6 w 14"/>
                  <a:gd name="T3" fmla="*/ 0 h 12"/>
                  <a:gd name="T4" fmla="*/ 2 w 14"/>
                  <a:gd name="T5" fmla="*/ 0 h 12"/>
                  <a:gd name="T6" fmla="*/ 0 w 14"/>
                  <a:gd name="T7" fmla="*/ 0 h 12"/>
                  <a:gd name="T8" fmla="*/ 0 w 14"/>
                  <a:gd name="T9" fmla="*/ 4 h 12"/>
                  <a:gd name="T10" fmla="*/ 2 w 14"/>
                  <a:gd name="T11" fmla="*/ 6 h 12"/>
                  <a:gd name="T12" fmla="*/ 10 w 14"/>
                  <a:gd name="T13" fmla="*/ 12 h 12"/>
                  <a:gd name="T14" fmla="*/ 14 w 14"/>
                  <a:gd name="T15" fmla="*/ 10 h 12"/>
                  <a:gd name="T16" fmla="*/ 14 w 14"/>
                  <a:gd name="T17" fmla="*/ 10 h 12"/>
                  <a:gd name="T18" fmla="*/ 12 w 14"/>
                  <a:gd name="T19" fmla="*/ 10 h 12"/>
                  <a:gd name="T20" fmla="*/ 12 w 14"/>
                  <a:gd name="T21" fmla="*/ 10 h 12"/>
                  <a:gd name="T22" fmla="*/ 12 w 14"/>
                  <a:gd name="T23" fmla="*/ 8 h 12"/>
                  <a:gd name="T24" fmla="*/ 12 w 14"/>
                  <a:gd name="T25" fmla="*/ 6 h 12"/>
                  <a:gd name="T26" fmla="*/ 12 w 14"/>
                  <a:gd name="T27" fmla="*/ 4 h 12"/>
                  <a:gd name="T28" fmla="*/ 10 w 14"/>
                  <a:gd name="T29" fmla="*/ 2 h 12"/>
                  <a:gd name="T30" fmla="*/ 10 w 14"/>
                  <a:gd name="T31" fmla="*/ 2 h 12"/>
                  <a:gd name="T32" fmla="*/ 10 w 14"/>
                  <a:gd name="T33" fmla="*/ 2 h 12"/>
                  <a:gd name="T34" fmla="*/ 8 w 14"/>
                  <a:gd name="T3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2">
                    <a:moveTo>
                      <a:pt x="8" y="2"/>
                    </a:moveTo>
                    <a:lnTo>
                      <a:pt x="6" y="0"/>
                    </a:lnTo>
                    <a:lnTo>
                      <a:pt x="2" y="0"/>
                    </a:lnTo>
                    <a:lnTo>
                      <a:pt x="0" y="0"/>
                    </a:lnTo>
                    <a:lnTo>
                      <a:pt x="0" y="4"/>
                    </a:lnTo>
                    <a:lnTo>
                      <a:pt x="2" y="6"/>
                    </a:lnTo>
                    <a:lnTo>
                      <a:pt x="10" y="12"/>
                    </a:lnTo>
                    <a:lnTo>
                      <a:pt x="14" y="10"/>
                    </a:lnTo>
                    <a:lnTo>
                      <a:pt x="14" y="10"/>
                    </a:lnTo>
                    <a:lnTo>
                      <a:pt x="12" y="10"/>
                    </a:lnTo>
                    <a:lnTo>
                      <a:pt x="12" y="10"/>
                    </a:lnTo>
                    <a:lnTo>
                      <a:pt x="12" y="8"/>
                    </a:lnTo>
                    <a:lnTo>
                      <a:pt x="12" y="6"/>
                    </a:lnTo>
                    <a:lnTo>
                      <a:pt x="12" y="4"/>
                    </a:lnTo>
                    <a:lnTo>
                      <a:pt x="10" y="2"/>
                    </a:lnTo>
                    <a:lnTo>
                      <a:pt x="10" y="2"/>
                    </a:lnTo>
                    <a:lnTo>
                      <a:pt x="10" y="2"/>
                    </a:lnTo>
                    <a:lnTo>
                      <a:pt x="8"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86" name="Freeform 337"/>
              <p:cNvSpPr>
                <a:spLocks/>
              </p:cNvSpPr>
              <p:nvPr/>
            </p:nvSpPr>
            <p:spPr bwMode="auto">
              <a:xfrm>
                <a:off x="2951" y="865"/>
                <a:ext cx="14" cy="12"/>
              </a:xfrm>
              <a:custGeom>
                <a:avLst/>
                <a:gdLst>
                  <a:gd name="T0" fmla="*/ 8 w 14"/>
                  <a:gd name="T1" fmla="*/ 2 h 12"/>
                  <a:gd name="T2" fmla="*/ 6 w 14"/>
                  <a:gd name="T3" fmla="*/ 0 h 12"/>
                  <a:gd name="T4" fmla="*/ 2 w 14"/>
                  <a:gd name="T5" fmla="*/ 0 h 12"/>
                  <a:gd name="T6" fmla="*/ 0 w 14"/>
                  <a:gd name="T7" fmla="*/ 0 h 12"/>
                  <a:gd name="T8" fmla="*/ 0 w 14"/>
                  <a:gd name="T9" fmla="*/ 4 h 12"/>
                  <a:gd name="T10" fmla="*/ 2 w 14"/>
                  <a:gd name="T11" fmla="*/ 6 h 12"/>
                  <a:gd name="T12" fmla="*/ 10 w 14"/>
                  <a:gd name="T13" fmla="*/ 12 h 12"/>
                  <a:gd name="T14" fmla="*/ 14 w 14"/>
                  <a:gd name="T15" fmla="*/ 10 h 12"/>
                  <a:gd name="T16" fmla="*/ 14 w 14"/>
                  <a:gd name="T17" fmla="*/ 10 h 12"/>
                  <a:gd name="T18" fmla="*/ 12 w 14"/>
                  <a:gd name="T19" fmla="*/ 10 h 12"/>
                  <a:gd name="T20" fmla="*/ 12 w 14"/>
                  <a:gd name="T21" fmla="*/ 10 h 12"/>
                  <a:gd name="T22" fmla="*/ 12 w 14"/>
                  <a:gd name="T23" fmla="*/ 8 h 12"/>
                  <a:gd name="T24" fmla="*/ 12 w 14"/>
                  <a:gd name="T25" fmla="*/ 6 h 12"/>
                  <a:gd name="T26" fmla="*/ 12 w 14"/>
                  <a:gd name="T27" fmla="*/ 4 h 12"/>
                  <a:gd name="T28" fmla="*/ 10 w 14"/>
                  <a:gd name="T29" fmla="*/ 2 h 12"/>
                  <a:gd name="T30" fmla="*/ 10 w 14"/>
                  <a:gd name="T31" fmla="*/ 2 h 12"/>
                  <a:gd name="T32" fmla="*/ 10 w 14"/>
                  <a:gd name="T33" fmla="*/ 2 h 12"/>
                  <a:gd name="T34" fmla="*/ 8 w 14"/>
                  <a:gd name="T3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2">
                    <a:moveTo>
                      <a:pt x="8" y="2"/>
                    </a:moveTo>
                    <a:lnTo>
                      <a:pt x="6" y="0"/>
                    </a:lnTo>
                    <a:lnTo>
                      <a:pt x="2" y="0"/>
                    </a:lnTo>
                    <a:lnTo>
                      <a:pt x="0" y="0"/>
                    </a:lnTo>
                    <a:lnTo>
                      <a:pt x="0" y="4"/>
                    </a:lnTo>
                    <a:lnTo>
                      <a:pt x="2" y="6"/>
                    </a:lnTo>
                    <a:lnTo>
                      <a:pt x="10" y="12"/>
                    </a:lnTo>
                    <a:lnTo>
                      <a:pt x="14" y="10"/>
                    </a:lnTo>
                    <a:lnTo>
                      <a:pt x="14" y="10"/>
                    </a:lnTo>
                    <a:lnTo>
                      <a:pt x="12" y="10"/>
                    </a:lnTo>
                    <a:lnTo>
                      <a:pt x="12" y="10"/>
                    </a:lnTo>
                    <a:lnTo>
                      <a:pt x="12" y="8"/>
                    </a:lnTo>
                    <a:lnTo>
                      <a:pt x="12" y="6"/>
                    </a:lnTo>
                    <a:lnTo>
                      <a:pt x="12" y="4"/>
                    </a:lnTo>
                    <a:lnTo>
                      <a:pt x="10" y="2"/>
                    </a:lnTo>
                    <a:lnTo>
                      <a:pt x="10" y="2"/>
                    </a:lnTo>
                    <a:lnTo>
                      <a:pt x="10" y="2"/>
                    </a:lnTo>
                    <a:lnTo>
                      <a:pt x="8"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87" name="Freeform 338"/>
              <p:cNvSpPr>
                <a:spLocks/>
              </p:cNvSpPr>
              <p:nvPr/>
            </p:nvSpPr>
            <p:spPr bwMode="auto">
              <a:xfrm>
                <a:off x="2967" y="857"/>
                <a:ext cx="38" cy="34"/>
              </a:xfrm>
              <a:custGeom>
                <a:avLst/>
                <a:gdLst>
                  <a:gd name="T0" fmla="*/ 2 w 38"/>
                  <a:gd name="T1" fmla="*/ 12 h 34"/>
                  <a:gd name="T2" fmla="*/ 4 w 38"/>
                  <a:gd name="T3" fmla="*/ 8 h 34"/>
                  <a:gd name="T4" fmla="*/ 6 w 38"/>
                  <a:gd name="T5" fmla="*/ 6 h 34"/>
                  <a:gd name="T6" fmla="*/ 6 w 38"/>
                  <a:gd name="T7" fmla="*/ 4 h 34"/>
                  <a:gd name="T8" fmla="*/ 10 w 38"/>
                  <a:gd name="T9" fmla="*/ 4 h 34"/>
                  <a:gd name="T10" fmla="*/ 10 w 38"/>
                  <a:gd name="T11" fmla="*/ 2 h 34"/>
                  <a:gd name="T12" fmla="*/ 16 w 38"/>
                  <a:gd name="T13" fmla="*/ 2 h 34"/>
                  <a:gd name="T14" fmla="*/ 20 w 38"/>
                  <a:gd name="T15" fmla="*/ 0 h 34"/>
                  <a:gd name="T16" fmla="*/ 30 w 38"/>
                  <a:gd name="T17" fmla="*/ 2 h 34"/>
                  <a:gd name="T18" fmla="*/ 38 w 38"/>
                  <a:gd name="T19" fmla="*/ 6 h 34"/>
                  <a:gd name="T20" fmla="*/ 36 w 38"/>
                  <a:gd name="T21" fmla="*/ 6 h 34"/>
                  <a:gd name="T22" fmla="*/ 36 w 38"/>
                  <a:gd name="T23" fmla="*/ 8 h 34"/>
                  <a:gd name="T24" fmla="*/ 34 w 38"/>
                  <a:gd name="T25" fmla="*/ 10 h 34"/>
                  <a:gd name="T26" fmla="*/ 32 w 38"/>
                  <a:gd name="T27" fmla="*/ 12 h 34"/>
                  <a:gd name="T28" fmla="*/ 30 w 38"/>
                  <a:gd name="T29" fmla="*/ 16 h 34"/>
                  <a:gd name="T30" fmla="*/ 26 w 38"/>
                  <a:gd name="T31" fmla="*/ 18 h 34"/>
                  <a:gd name="T32" fmla="*/ 24 w 38"/>
                  <a:gd name="T33" fmla="*/ 18 h 34"/>
                  <a:gd name="T34" fmla="*/ 22 w 38"/>
                  <a:gd name="T35" fmla="*/ 20 h 34"/>
                  <a:gd name="T36" fmla="*/ 20 w 38"/>
                  <a:gd name="T37" fmla="*/ 24 h 34"/>
                  <a:gd name="T38" fmla="*/ 16 w 38"/>
                  <a:gd name="T39" fmla="*/ 24 h 34"/>
                  <a:gd name="T40" fmla="*/ 14 w 38"/>
                  <a:gd name="T41" fmla="*/ 28 h 34"/>
                  <a:gd name="T42" fmla="*/ 14 w 38"/>
                  <a:gd name="T43" fmla="*/ 34 h 34"/>
                  <a:gd name="T44" fmla="*/ 12 w 38"/>
                  <a:gd name="T45" fmla="*/ 34 h 34"/>
                  <a:gd name="T46" fmla="*/ 8 w 38"/>
                  <a:gd name="T47" fmla="*/ 34 h 34"/>
                  <a:gd name="T48" fmla="*/ 8 w 38"/>
                  <a:gd name="T49" fmla="*/ 32 h 34"/>
                  <a:gd name="T50" fmla="*/ 10 w 38"/>
                  <a:gd name="T51" fmla="*/ 28 h 34"/>
                  <a:gd name="T52" fmla="*/ 4 w 38"/>
                  <a:gd name="T53" fmla="*/ 18 h 34"/>
                  <a:gd name="T54" fmla="*/ 2 w 38"/>
                  <a:gd name="T55" fmla="*/ 18 h 34"/>
                  <a:gd name="T56" fmla="*/ 0 w 38"/>
                  <a:gd name="T57" fmla="*/ 16 h 34"/>
                  <a:gd name="T58" fmla="*/ 2 w 38"/>
                  <a:gd name="T5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4">
                    <a:moveTo>
                      <a:pt x="2" y="12"/>
                    </a:moveTo>
                    <a:lnTo>
                      <a:pt x="4" y="8"/>
                    </a:lnTo>
                    <a:lnTo>
                      <a:pt x="6" y="6"/>
                    </a:lnTo>
                    <a:lnTo>
                      <a:pt x="6" y="4"/>
                    </a:lnTo>
                    <a:lnTo>
                      <a:pt x="10" y="4"/>
                    </a:lnTo>
                    <a:lnTo>
                      <a:pt x="10" y="2"/>
                    </a:lnTo>
                    <a:lnTo>
                      <a:pt x="16" y="2"/>
                    </a:lnTo>
                    <a:lnTo>
                      <a:pt x="20" y="0"/>
                    </a:lnTo>
                    <a:lnTo>
                      <a:pt x="30" y="2"/>
                    </a:lnTo>
                    <a:lnTo>
                      <a:pt x="38" y="6"/>
                    </a:lnTo>
                    <a:lnTo>
                      <a:pt x="36" y="6"/>
                    </a:lnTo>
                    <a:lnTo>
                      <a:pt x="36" y="8"/>
                    </a:lnTo>
                    <a:lnTo>
                      <a:pt x="34" y="10"/>
                    </a:lnTo>
                    <a:lnTo>
                      <a:pt x="32" y="12"/>
                    </a:lnTo>
                    <a:lnTo>
                      <a:pt x="30" y="16"/>
                    </a:lnTo>
                    <a:lnTo>
                      <a:pt x="26" y="18"/>
                    </a:lnTo>
                    <a:lnTo>
                      <a:pt x="24" y="18"/>
                    </a:lnTo>
                    <a:lnTo>
                      <a:pt x="22" y="20"/>
                    </a:lnTo>
                    <a:lnTo>
                      <a:pt x="20" y="24"/>
                    </a:lnTo>
                    <a:lnTo>
                      <a:pt x="16" y="24"/>
                    </a:lnTo>
                    <a:lnTo>
                      <a:pt x="14" y="28"/>
                    </a:lnTo>
                    <a:lnTo>
                      <a:pt x="14" y="34"/>
                    </a:lnTo>
                    <a:lnTo>
                      <a:pt x="12" y="34"/>
                    </a:lnTo>
                    <a:lnTo>
                      <a:pt x="8" y="34"/>
                    </a:lnTo>
                    <a:lnTo>
                      <a:pt x="8" y="32"/>
                    </a:lnTo>
                    <a:lnTo>
                      <a:pt x="10" y="28"/>
                    </a:lnTo>
                    <a:lnTo>
                      <a:pt x="4" y="18"/>
                    </a:lnTo>
                    <a:lnTo>
                      <a:pt x="2" y="18"/>
                    </a:lnTo>
                    <a:lnTo>
                      <a:pt x="0" y="16"/>
                    </a:lnTo>
                    <a:lnTo>
                      <a:pt x="2" y="1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88" name="Freeform 339"/>
              <p:cNvSpPr>
                <a:spLocks/>
              </p:cNvSpPr>
              <p:nvPr/>
            </p:nvSpPr>
            <p:spPr bwMode="auto">
              <a:xfrm>
                <a:off x="2967" y="857"/>
                <a:ext cx="38" cy="34"/>
              </a:xfrm>
              <a:custGeom>
                <a:avLst/>
                <a:gdLst>
                  <a:gd name="T0" fmla="*/ 2 w 38"/>
                  <a:gd name="T1" fmla="*/ 12 h 34"/>
                  <a:gd name="T2" fmla="*/ 4 w 38"/>
                  <a:gd name="T3" fmla="*/ 8 h 34"/>
                  <a:gd name="T4" fmla="*/ 6 w 38"/>
                  <a:gd name="T5" fmla="*/ 6 h 34"/>
                  <a:gd name="T6" fmla="*/ 6 w 38"/>
                  <a:gd name="T7" fmla="*/ 4 h 34"/>
                  <a:gd name="T8" fmla="*/ 10 w 38"/>
                  <a:gd name="T9" fmla="*/ 4 h 34"/>
                  <a:gd name="T10" fmla="*/ 10 w 38"/>
                  <a:gd name="T11" fmla="*/ 2 h 34"/>
                  <a:gd name="T12" fmla="*/ 16 w 38"/>
                  <a:gd name="T13" fmla="*/ 2 h 34"/>
                  <a:gd name="T14" fmla="*/ 20 w 38"/>
                  <a:gd name="T15" fmla="*/ 0 h 34"/>
                  <a:gd name="T16" fmla="*/ 30 w 38"/>
                  <a:gd name="T17" fmla="*/ 2 h 34"/>
                  <a:gd name="T18" fmla="*/ 38 w 38"/>
                  <a:gd name="T19" fmla="*/ 6 h 34"/>
                  <a:gd name="T20" fmla="*/ 36 w 38"/>
                  <a:gd name="T21" fmla="*/ 6 h 34"/>
                  <a:gd name="T22" fmla="*/ 36 w 38"/>
                  <a:gd name="T23" fmla="*/ 8 h 34"/>
                  <a:gd name="T24" fmla="*/ 34 w 38"/>
                  <a:gd name="T25" fmla="*/ 10 h 34"/>
                  <a:gd name="T26" fmla="*/ 32 w 38"/>
                  <a:gd name="T27" fmla="*/ 12 h 34"/>
                  <a:gd name="T28" fmla="*/ 30 w 38"/>
                  <a:gd name="T29" fmla="*/ 16 h 34"/>
                  <a:gd name="T30" fmla="*/ 26 w 38"/>
                  <a:gd name="T31" fmla="*/ 18 h 34"/>
                  <a:gd name="T32" fmla="*/ 24 w 38"/>
                  <a:gd name="T33" fmla="*/ 18 h 34"/>
                  <a:gd name="T34" fmla="*/ 22 w 38"/>
                  <a:gd name="T35" fmla="*/ 20 h 34"/>
                  <a:gd name="T36" fmla="*/ 20 w 38"/>
                  <a:gd name="T37" fmla="*/ 24 h 34"/>
                  <a:gd name="T38" fmla="*/ 16 w 38"/>
                  <a:gd name="T39" fmla="*/ 24 h 34"/>
                  <a:gd name="T40" fmla="*/ 14 w 38"/>
                  <a:gd name="T41" fmla="*/ 28 h 34"/>
                  <a:gd name="T42" fmla="*/ 14 w 38"/>
                  <a:gd name="T43" fmla="*/ 34 h 34"/>
                  <a:gd name="T44" fmla="*/ 12 w 38"/>
                  <a:gd name="T45" fmla="*/ 34 h 34"/>
                  <a:gd name="T46" fmla="*/ 8 w 38"/>
                  <a:gd name="T47" fmla="*/ 34 h 34"/>
                  <a:gd name="T48" fmla="*/ 8 w 38"/>
                  <a:gd name="T49" fmla="*/ 32 h 34"/>
                  <a:gd name="T50" fmla="*/ 10 w 38"/>
                  <a:gd name="T51" fmla="*/ 28 h 34"/>
                  <a:gd name="T52" fmla="*/ 4 w 38"/>
                  <a:gd name="T53" fmla="*/ 18 h 34"/>
                  <a:gd name="T54" fmla="*/ 2 w 38"/>
                  <a:gd name="T55" fmla="*/ 18 h 34"/>
                  <a:gd name="T56" fmla="*/ 0 w 38"/>
                  <a:gd name="T57" fmla="*/ 16 h 34"/>
                  <a:gd name="T58" fmla="*/ 2 w 38"/>
                  <a:gd name="T5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4">
                    <a:moveTo>
                      <a:pt x="2" y="12"/>
                    </a:moveTo>
                    <a:lnTo>
                      <a:pt x="4" y="8"/>
                    </a:lnTo>
                    <a:lnTo>
                      <a:pt x="6" y="6"/>
                    </a:lnTo>
                    <a:lnTo>
                      <a:pt x="6" y="4"/>
                    </a:lnTo>
                    <a:lnTo>
                      <a:pt x="10" y="4"/>
                    </a:lnTo>
                    <a:lnTo>
                      <a:pt x="10" y="2"/>
                    </a:lnTo>
                    <a:lnTo>
                      <a:pt x="16" y="2"/>
                    </a:lnTo>
                    <a:lnTo>
                      <a:pt x="20" y="0"/>
                    </a:lnTo>
                    <a:lnTo>
                      <a:pt x="30" y="2"/>
                    </a:lnTo>
                    <a:lnTo>
                      <a:pt x="38" y="6"/>
                    </a:lnTo>
                    <a:lnTo>
                      <a:pt x="36" y="6"/>
                    </a:lnTo>
                    <a:lnTo>
                      <a:pt x="36" y="8"/>
                    </a:lnTo>
                    <a:lnTo>
                      <a:pt x="34" y="10"/>
                    </a:lnTo>
                    <a:lnTo>
                      <a:pt x="32" y="12"/>
                    </a:lnTo>
                    <a:lnTo>
                      <a:pt x="30" y="16"/>
                    </a:lnTo>
                    <a:lnTo>
                      <a:pt x="26" y="18"/>
                    </a:lnTo>
                    <a:lnTo>
                      <a:pt x="24" y="18"/>
                    </a:lnTo>
                    <a:lnTo>
                      <a:pt x="22" y="20"/>
                    </a:lnTo>
                    <a:lnTo>
                      <a:pt x="20" y="24"/>
                    </a:lnTo>
                    <a:lnTo>
                      <a:pt x="16" y="24"/>
                    </a:lnTo>
                    <a:lnTo>
                      <a:pt x="14" y="28"/>
                    </a:lnTo>
                    <a:lnTo>
                      <a:pt x="14" y="34"/>
                    </a:lnTo>
                    <a:lnTo>
                      <a:pt x="12" y="34"/>
                    </a:lnTo>
                    <a:lnTo>
                      <a:pt x="8" y="34"/>
                    </a:lnTo>
                    <a:lnTo>
                      <a:pt x="8" y="32"/>
                    </a:lnTo>
                    <a:lnTo>
                      <a:pt x="10" y="28"/>
                    </a:lnTo>
                    <a:lnTo>
                      <a:pt x="4" y="18"/>
                    </a:lnTo>
                    <a:lnTo>
                      <a:pt x="2" y="18"/>
                    </a:lnTo>
                    <a:lnTo>
                      <a:pt x="0" y="16"/>
                    </a:lnTo>
                    <a:lnTo>
                      <a:pt x="2" y="1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89" name="Freeform 340"/>
              <p:cNvSpPr>
                <a:spLocks/>
              </p:cNvSpPr>
              <p:nvPr/>
            </p:nvSpPr>
            <p:spPr bwMode="auto">
              <a:xfrm>
                <a:off x="2187" y="839"/>
                <a:ext cx="30" cy="14"/>
              </a:xfrm>
              <a:custGeom>
                <a:avLst/>
                <a:gdLst>
                  <a:gd name="T0" fmla="*/ 14 w 30"/>
                  <a:gd name="T1" fmla="*/ 2 h 14"/>
                  <a:gd name="T2" fmla="*/ 10 w 30"/>
                  <a:gd name="T3" fmla="*/ 2 h 14"/>
                  <a:gd name="T4" fmla="*/ 8 w 30"/>
                  <a:gd name="T5" fmla="*/ 2 h 14"/>
                  <a:gd name="T6" fmla="*/ 6 w 30"/>
                  <a:gd name="T7" fmla="*/ 2 h 14"/>
                  <a:gd name="T8" fmla="*/ 4 w 30"/>
                  <a:gd name="T9" fmla="*/ 2 h 14"/>
                  <a:gd name="T10" fmla="*/ 4 w 30"/>
                  <a:gd name="T11" fmla="*/ 2 h 14"/>
                  <a:gd name="T12" fmla="*/ 2 w 30"/>
                  <a:gd name="T13" fmla="*/ 2 h 14"/>
                  <a:gd name="T14" fmla="*/ 2 w 30"/>
                  <a:gd name="T15" fmla="*/ 4 h 14"/>
                  <a:gd name="T16" fmla="*/ 2 w 30"/>
                  <a:gd name="T17" fmla="*/ 4 h 14"/>
                  <a:gd name="T18" fmla="*/ 0 w 30"/>
                  <a:gd name="T19" fmla="*/ 4 h 14"/>
                  <a:gd name="T20" fmla="*/ 0 w 30"/>
                  <a:gd name="T21" fmla="*/ 6 h 14"/>
                  <a:gd name="T22" fmla="*/ 4 w 30"/>
                  <a:gd name="T23" fmla="*/ 8 h 14"/>
                  <a:gd name="T24" fmla="*/ 4 w 30"/>
                  <a:gd name="T25" fmla="*/ 10 h 14"/>
                  <a:gd name="T26" fmla="*/ 4 w 30"/>
                  <a:gd name="T27" fmla="*/ 10 h 14"/>
                  <a:gd name="T28" fmla="*/ 6 w 30"/>
                  <a:gd name="T29" fmla="*/ 10 h 14"/>
                  <a:gd name="T30" fmla="*/ 8 w 30"/>
                  <a:gd name="T31" fmla="*/ 10 h 14"/>
                  <a:gd name="T32" fmla="*/ 8 w 30"/>
                  <a:gd name="T33" fmla="*/ 12 h 14"/>
                  <a:gd name="T34" fmla="*/ 8 w 30"/>
                  <a:gd name="T35" fmla="*/ 14 h 14"/>
                  <a:gd name="T36" fmla="*/ 10 w 30"/>
                  <a:gd name="T37" fmla="*/ 14 h 14"/>
                  <a:gd name="T38" fmla="*/ 10 w 30"/>
                  <a:gd name="T39" fmla="*/ 12 h 14"/>
                  <a:gd name="T40" fmla="*/ 10 w 30"/>
                  <a:gd name="T41" fmla="*/ 12 h 14"/>
                  <a:gd name="T42" fmla="*/ 10 w 30"/>
                  <a:gd name="T43" fmla="*/ 8 h 14"/>
                  <a:gd name="T44" fmla="*/ 12 w 30"/>
                  <a:gd name="T45" fmla="*/ 8 h 14"/>
                  <a:gd name="T46" fmla="*/ 14 w 30"/>
                  <a:gd name="T47" fmla="*/ 6 h 14"/>
                  <a:gd name="T48" fmla="*/ 16 w 30"/>
                  <a:gd name="T49" fmla="*/ 6 h 14"/>
                  <a:gd name="T50" fmla="*/ 18 w 30"/>
                  <a:gd name="T51" fmla="*/ 6 h 14"/>
                  <a:gd name="T52" fmla="*/ 24 w 30"/>
                  <a:gd name="T53" fmla="*/ 10 h 14"/>
                  <a:gd name="T54" fmla="*/ 24 w 30"/>
                  <a:gd name="T55" fmla="*/ 12 h 14"/>
                  <a:gd name="T56" fmla="*/ 26 w 30"/>
                  <a:gd name="T57" fmla="*/ 14 h 14"/>
                  <a:gd name="T58" fmla="*/ 30 w 30"/>
                  <a:gd name="T59" fmla="*/ 14 h 14"/>
                  <a:gd name="T60" fmla="*/ 26 w 30"/>
                  <a:gd name="T61" fmla="*/ 10 h 14"/>
                  <a:gd name="T62" fmla="*/ 26 w 30"/>
                  <a:gd name="T63" fmla="*/ 6 h 14"/>
                  <a:gd name="T64" fmla="*/ 22 w 30"/>
                  <a:gd name="T65" fmla="*/ 4 h 14"/>
                  <a:gd name="T66" fmla="*/ 22 w 30"/>
                  <a:gd name="T6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14">
                    <a:moveTo>
                      <a:pt x="20" y="2"/>
                    </a:moveTo>
                    <a:lnTo>
                      <a:pt x="14" y="2"/>
                    </a:lnTo>
                    <a:lnTo>
                      <a:pt x="14" y="2"/>
                    </a:lnTo>
                    <a:lnTo>
                      <a:pt x="10" y="2"/>
                    </a:lnTo>
                    <a:lnTo>
                      <a:pt x="10" y="2"/>
                    </a:lnTo>
                    <a:lnTo>
                      <a:pt x="8" y="2"/>
                    </a:lnTo>
                    <a:lnTo>
                      <a:pt x="6" y="2"/>
                    </a:lnTo>
                    <a:lnTo>
                      <a:pt x="6" y="2"/>
                    </a:lnTo>
                    <a:lnTo>
                      <a:pt x="4" y="0"/>
                    </a:lnTo>
                    <a:lnTo>
                      <a:pt x="4" y="2"/>
                    </a:lnTo>
                    <a:lnTo>
                      <a:pt x="4" y="2"/>
                    </a:lnTo>
                    <a:lnTo>
                      <a:pt x="4" y="2"/>
                    </a:lnTo>
                    <a:lnTo>
                      <a:pt x="2" y="2"/>
                    </a:lnTo>
                    <a:lnTo>
                      <a:pt x="2" y="2"/>
                    </a:lnTo>
                    <a:lnTo>
                      <a:pt x="2" y="4"/>
                    </a:lnTo>
                    <a:lnTo>
                      <a:pt x="2" y="4"/>
                    </a:lnTo>
                    <a:lnTo>
                      <a:pt x="2" y="4"/>
                    </a:lnTo>
                    <a:lnTo>
                      <a:pt x="2" y="4"/>
                    </a:lnTo>
                    <a:lnTo>
                      <a:pt x="0" y="4"/>
                    </a:lnTo>
                    <a:lnTo>
                      <a:pt x="0" y="4"/>
                    </a:lnTo>
                    <a:lnTo>
                      <a:pt x="0" y="6"/>
                    </a:lnTo>
                    <a:lnTo>
                      <a:pt x="0" y="6"/>
                    </a:lnTo>
                    <a:lnTo>
                      <a:pt x="2" y="6"/>
                    </a:lnTo>
                    <a:lnTo>
                      <a:pt x="4" y="8"/>
                    </a:lnTo>
                    <a:lnTo>
                      <a:pt x="4" y="8"/>
                    </a:lnTo>
                    <a:lnTo>
                      <a:pt x="4" y="10"/>
                    </a:lnTo>
                    <a:lnTo>
                      <a:pt x="4" y="10"/>
                    </a:lnTo>
                    <a:lnTo>
                      <a:pt x="4" y="10"/>
                    </a:lnTo>
                    <a:lnTo>
                      <a:pt x="4" y="10"/>
                    </a:lnTo>
                    <a:lnTo>
                      <a:pt x="6" y="10"/>
                    </a:lnTo>
                    <a:lnTo>
                      <a:pt x="6" y="10"/>
                    </a:lnTo>
                    <a:lnTo>
                      <a:pt x="8" y="10"/>
                    </a:lnTo>
                    <a:lnTo>
                      <a:pt x="8" y="12"/>
                    </a:lnTo>
                    <a:lnTo>
                      <a:pt x="8" y="12"/>
                    </a:lnTo>
                    <a:lnTo>
                      <a:pt x="8" y="14"/>
                    </a:lnTo>
                    <a:lnTo>
                      <a:pt x="8" y="14"/>
                    </a:lnTo>
                    <a:lnTo>
                      <a:pt x="8" y="14"/>
                    </a:lnTo>
                    <a:lnTo>
                      <a:pt x="10" y="14"/>
                    </a:lnTo>
                    <a:lnTo>
                      <a:pt x="10" y="14"/>
                    </a:lnTo>
                    <a:lnTo>
                      <a:pt x="10" y="12"/>
                    </a:lnTo>
                    <a:lnTo>
                      <a:pt x="10" y="12"/>
                    </a:lnTo>
                    <a:lnTo>
                      <a:pt x="10" y="12"/>
                    </a:lnTo>
                    <a:lnTo>
                      <a:pt x="12" y="10"/>
                    </a:lnTo>
                    <a:lnTo>
                      <a:pt x="10" y="8"/>
                    </a:lnTo>
                    <a:lnTo>
                      <a:pt x="10" y="8"/>
                    </a:lnTo>
                    <a:lnTo>
                      <a:pt x="12" y="8"/>
                    </a:lnTo>
                    <a:lnTo>
                      <a:pt x="12" y="6"/>
                    </a:lnTo>
                    <a:lnTo>
                      <a:pt x="14" y="6"/>
                    </a:lnTo>
                    <a:lnTo>
                      <a:pt x="16" y="6"/>
                    </a:lnTo>
                    <a:lnTo>
                      <a:pt x="16" y="6"/>
                    </a:lnTo>
                    <a:lnTo>
                      <a:pt x="16" y="6"/>
                    </a:lnTo>
                    <a:lnTo>
                      <a:pt x="18" y="6"/>
                    </a:lnTo>
                    <a:lnTo>
                      <a:pt x="24" y="8"/>
                    </a:lnTo>
                    <a:lnTo>
                      <a:pt x="24" y="10"/>
                    </a:lnTo>
                    <a:lnTo>
                      <a:pt x="24" y="12"/>
                    </a:lnTo>
                    <a:lnTo>
                      <a:pt x="24" y="12"/>
                    </a:lnTo>
                    <a:lnTo>
                      <a:pt x="24" y="12"/>
                    </a:lnTo>
                    <a:lnTo>
                      <a:pt x="26" y="14"/>
                    </a:lnTo>
                    <a:lnTo>
                      <a:pt x="26" y="14"/>
                    </a:lnTo>
                    <a:lnTo>
                      <a:pt x="30" y="14"/>
                    </a:lnTo>
                    <a:lnTo>
                      <a:pt x="30" y="14"/>
                    </a:lnTo>
                    <a:lnTo>
                      <a:pt x="26" y="10"/>
                    </a:lnTo>
                    <a:lnTo>
                      <a:pt x="26" y="8"/>
                    </a:lnTo>
                    <a:lnTo>
                      <a:pt x="26" y="6"/>
                    </a:lnTo>
                    <a:lnTo>
                      <a:pt x="24" y="4"/>
                    </a:lnTo>
                    <a:lnTo>
                      <a:pt x="22" y="4"/>
                    </a:lnTo>
                    <a:lnTo>
                      <a:pt x="22" y="4"/>
                    </a:lnTo>
                    <a:lnTo>
                      <a:pt x="22" y="4"/>
                    </a:lnTo>
                    <a:lnTo>
                      <a:pt x="20"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90" name="Freeform 341"/>
              <p:cNvSpPr>
                <a:spLocks/>
              </p:cNvSpPr>
              <p:nvPr/>
            </p:nvSpPr>
            <p:spPr bwMode="auto">
              <a:xfrm>
                <a:off x="2187" y="839"/>
                <a:ext cx="30" cy="14"/>
              </a:xfrm>
              <a:custGeom>
                <a:avLst/>
                <a:gdLst>
                  <a:gd name="T0" fmla="*/ 14 w 30"/>
                  <a:gd name="T1" fmla="*/ 2 h 14"/>
                  <a:gd name="T2" fmla="*/ 10 w 30"/>
                  <a:gd name="T3" fmla="*/ 2 h 14"/>
                  <a:gd name="T4" fmla="*/ 8 w 30"/>
                  <a:gd name="T5" fmla="*/ 2 h 14"/>
                  <a:gd name="T6" fmla="*/ 6 w 30"/>
                  <a:gd name="T7" fmla="*/ 2 h 14"/>
                  <a:gd name="T8" fmla="*/ 4 w 30"/>
                  <a:gd name="T9" fmla="*/ 2 h 14"/>
                  <a:gd name="T10" fmla="*/ 4 w 30"/>
                  <a:gd name="T11" fmla="*/ 2 h 14"/>
                  <a:gd name="T12" fmla="*/ 2 w 30"/>
                  <a:gd name="T13" fmla="*/ 2 h 14"/>
                  <a:gd name="T14" fmla="*/ 2 w 30"/>
                  <a:gd name="T15" fmla="*/ 4 h 14"/>
                  <a:gd name="T16" fmla="*/ 2 w 30"/>
                  <a:gd name="T17" fmla="*/ 4 h 14"/>
                  <a:gd name="T18" fmla="*/ 0 w 30"/>
                  <a:gd name="T19" fmla="*/ 4 h 14"/>
                  <a:gd name="T20" fmla="*/ 0 w 30"/>
                  <a:gd name="T21" fmla="*/ 6 h 14"/>
                  <a:gd name="T22" fmla="*/ 4 w 30"/>
                  <a:gd name="T23" fmla="*/ 8 h 14"/>
                  <a:gd name="T24" fmla="*/ 4 w 30"/>
                  <a:gd name="T25" fmla="*/ 10 h 14"/>
                  <a:gd name="T26" fmla="*/ 4 w 30"/>
                  <a:gd name="T27" fmla="*/ 10 h 14"/>
                  <a:gd name="T28" fmla="*/ 6 w 30"/>
                  <a:gd name="T29" fmla="*/ 10 h 14"/>
                  <a:gd name="T30" fmla="*/ 8 w 30"/>
                  <a:gd name="T31" fmla="*/ 10 h 14"/>
                  <a:gd name="T32" fmla="*/ 8 w 30"/>
                  <a:gd name="T33" fmla="*/ 12 h 14"/>
                  <a:gd name="T34" fmla="*/ 8 w 30"/>
                  <a:gd name="T35" fmla="*/ 14 h 14"/>
                  <a:gd name="T36" fmla="*/ 10 w 30"/>
                  <a:gd name="T37" fmla="*/ 14 h 14"/>
                  <a:gd name="T38" fmla="*/ 10 w 30"/>
                  <a:gd name="T39" fmla="*/ 12 h 14"/>
                  <a:gd name="T40" fmla="*/ 10 w 30"/>
                  <a:gd name="T41" fmla="*/ 12 h 14"/>
                  <a:gd name="T42" fmla="*/ 10 w 30"/>
                  <a:gd name="T43" fmla="*/ 8 h 14"/>
                  <a:gd name="T44" fmla="*/ 12 w 30"/>
                  <a:gd name="T45" fmla="*/ 8 h 14"/>
                  <a:gd name="T46" fmla="*/ 14 w 30"/>
                  <a:gd name="T47" fmla="*/ 6 h 14"/>
                  <a:gd name="T48" fmla="*/ 16 w 30"/>
                  <a:gd name="T49" fmla="*/ 6 h 14"/>
                  <a:gd name="T50" fmla="*/ 18 w 30"/>
                  <a:gd name="T51" fmla="*/ 6 h 14"/>
                  <a:gd name="T52" fmla="*/ 24 w 30"/>
                  <a:gd name="T53" fmla="*/ 10 h 14"/>
                  <a:gd name="T54" fmla="*/ 24 w 30"/>
                  <a:gd name="T55" fmla="*/ 12 h 14"/>
                  <a:gd name="T56" fmla="*/ 26 w 30"/>
                  <a:gd name="T57" fmla="*/ 14 h 14"/>
                  <a:gd name="T58" fmla="*/ 30 w 30"/>
                  <a:gd name="T59" fmla="*/ 14 h 14"/>
                  <a:gd name="T60" fmla="*/ 26 w 30"/>
                  <a:gd name="T61" fmla="*/ 10 h 14"/>
                  <a:gd name="T62" fmla="*/ 26 w 30"/>
                  <a:gd name="T63" fmla="*/ 6 h 14"/>
                  <a:gd name="T64" fmla="*/ 22 w 30"/>
                  <a:gd name="T65" fmla="*/ 4 h 14"/>
                  <a:gd name="T66" fmla="*/ 22 w 30"/>
                  <a:gd name="T6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14">
                    <a:moveTo>
                      <a:pt x="20" y="2"/>
                    </a:moveTo>
                    <a:lnTo>
                      <a:pt x="14" y="2"/>
                    </a:lnTo>
                    <a:lnTo>
                      <a:pt x="14" y="2"/>
                    </a:lnTo>
                    <a:lnTo>
                      <a:pt x="10" y="2"/>
                    </a:lnTo>
                    <a:lnTo>
                      <a:pt x="10" y="2"/>
                    </a:lnTo>
                    <a:lnTo>
                      <a:pt x="8" y="2"/>
                    </a:lnTo>
                    <a:lnTo>
                      <a:pt x="6" y="2"/>
                    </a:lnTo>
                    <a:lnTo>
                      <a:pt x="6" y="2"/>
                    </a:lnTo>
                    <a:lnTo>
                      <a:pt x="4" y="0"/>
                    </a:lnTo>
                    <a:lnTo>
                      <a:pt x="4" y="2"/>
                    </a:lnTo>
                    <a:lnTo>
                      <a:pt x="4" y="2"/>
                    </a:lnTo>
                    <a:lnTo>
                      <a:pt x="4" y="2"/>
                    </a:lnTo>
                    <a:lnTo>
                      <a:pt x="2" y="2"/>
                    </a:lnTo>
                    <a:lnTo>
                      <a:pt x="2" y="2"/>
                    </a:lnTo>
                    <a:lnTo>
                      <a:pt x="2" y="4"/>
                    </a:lnTo>
                    <a:lnTo>
                      <a:pt x="2" y="4"/>
                    </a:lnTo>
                    <a:lnTo>
                      <a:pt x="2" y="4"/>
                    </a:lnTo>
                    <a:lnTo>
                      <a:pt x="2" y="4"/>
                    </a:lnTo>
                    <a:lnTo>
                      <a:pt x="0" y="4"/>
                    </a:lnTo>
                    <a:lnTo>
                      <a:pt x="0" y="4"/>
                    </a:lnTo>
                    <a:lnTo>
                      <a:pt x="0" y="6"/>
                    </a:lnTo>
                    <a:lnTo>
                      <a:pt x="0" y="6"/>
                    </a:lnTo>
                    <a:lnTo>
                      <a:pt x="2" y="6"/>
                    </a:lnTo>
                    <a:lnTo>
                      <a:pt x="4" y="8"/>
                    </a:lnTo>
                    <a:lnTo>
                      <a:pt x="4" y="8"/>
                    </a:lnTo>
                    <a:lnTo>
                      <a:pt x="4" y="10"/>
                    </a:lnTo>
                    <a:lnTo>
                      <a:pt x="4" y="10"/>
                    </a:lnTo>
                    <a:lnTo>
                      <a:pt x="4" y="10"/>
                    </a:lnTo>
                    <a:lnTo>
                      <a:pt x="4" y="10"/>
                    </a:lnTo>
                    <a:lnTo>
                      <a:pt x="6" y="10"/>
                    </a:lnTo>
                    <a:lnTo>
                      <a:pt x="6" y="10"/>
                    </a:lnTo>
                    <a:lnTo>
                      <a:pt x="8" y="10"/>
                    </a:lnTo>
                    <a:lnTo>
                      <a:pt x="8" y="12"/>
                    </a:lnTo>
                    <a:lnTo>
                      <a:pt x="8" y="12"/>
                    </a:lnTo>
                    <a:lnTo>
                      <a:pt x="8" y="14"/>
                    </a:lnTo>
                    <a:lnTo>
                      <a:pt x="8" y="14"/>
                    </a:lnTo>
                    <a:lnTo>
                      <a:pt x="8" y="14"/>
                    </a:lnTo>
                    <a:lnTo>
                      <a:pt x="10" y="14"/>
                    </a:lnTo>
                    <a:lnTo>
                      <a:pt x="10" y="14"/>
                    </a:lnTo>
                    <a:lnTo>
                      <a:pt x="10" y="12"/>
                    </a:lnTo>
                    <a:lnTo>
                      <a:pt x="10" y="12"/>
                    </a:lnTo>
                    <a:lnTo>
                      <a:pt x="10" y="12"/>
                    </a:lnTo>
                    <a:lnTo>
                      <a:pt x="12" y="10"/>
                    </a:lnTo>
                    <a:lnTo>
                      <a:pt x="10" y="8"/>
                    </a:lnTo>
                    <a:lnTo>
                      <a:pt x="10" y="8"/>
                    </a:lnTo>
                    <a:lnTo>
                      <a:pt x="12" y="8"/>
                    </a:lnTo>
                    <a:lnTo>
                      <a:pt x="12" y="6"/>
                    </a:lnTo>
                    <a:lnTo>
                      <a:pt x="14" y="6"/>
                    </a:lnTo>
                    <a:lnTo>
                      <a:pt x="16" y="6"/>
                    </a:lnTo>
                    <a:lnTo>
                      <a:pt x="16" y="6"/>
                    </a:lnTo>
                    <a:lnTo>
                      <a:pt x="16" y="6"/>
                    </a:lnTo>
                    <a:lnTo>
                      <a:pt x="18" y="6"/>
                    </a:lnTo>
                    <a:lnTo>
                      <a:pt x="24" y="8"/>
                    </a:lnTo>
                    <a:lnTo>
                      <a:pt x="24" y="10"/>
                    </a:lnTo>
                    <a:lnTo>
                      <a:pt x="24" y="12"/>
                    </a:lnTo>
                    <a:lnTo>
                      <a:pt x="24" y="12"/>
                    </a:lnTo>
                    <a:lnTo>
                      <a:pt x="24" y="12"/>
                    </a:lnTo>
                    <a:lnTo>
                      <a:pt x="26" y="14"/>
                    </a:lnTo>
                    <a:lnTo>
                      <a:pt x="26" y="14"/>
                    </a:lnTo>
                    <a:lnTo>
                      <a:pt x="30" y="14"/>
                    </a:lnTo>
                    <a:lnTo>
                      <a:pt x="30" y="14"/>
                    </a:lnTo>
                    <a:lnTo>
                      <a:pt x="26" y="10"/>
                    </a:lnTo>
                    <a:lnTo>
                      <a:pt x="26" y="8"/>
                    </a:lnTo>
                    <a:lnTo>
                      <a:pt x="26" y="6"/>
                    </a:lnTo>
                    <a:lnTo>
                      <a:pt x="24" y="4"/>
                    </a:lnTo>
                    <a:lnTo>
                      <a:pt x="22" y="4"/>
                    </a:lnTo>
                    <a:lnTo>
                      <a:pt x="22" y="4"/>
                    </a:lnTo>
                    <a:lnTo>
                      <a:pt x="22" y="4"/>
                    </a:lnTo>
                    <a:lnTo>
                      <a:pt x="20"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91" name="Freeform 342"/>
              <p:cNvSpPr>
                <a:spLocks/>
              </p:cNvSpPr>
              <p:nvPr/>
            </p:nvSpPr>
            <p:spPr bwMode="auto">
              <a:xfrm>
                <a:off x="2195" y="849"/>
                <a:ext cx="36" cy="22"/>
              </a:xfrm>
              <a:custGeom>
                <a:avLst/>
                <a:gdLst>
                  <a:gd name="T0" fmla="*/ 32 w 36"/>
                  <a:gd name="T1" fmla="*/ 4 h 22"/>
                  <a:gd name="T2" fmla="*/ 34 w 36"/>
                  <a:gd name="T3" fmla="*/ 2 h 22"/>
                  <a:gd name="T4" fmla="*/ 32 w 36"/>
                  <a:gd name="T5" fmla="*/ 2 h 22"/>
                  <a:gd name="T6" fmla="*/ 28 w 36"/>
                  <a:gd name="T7" fmla="*/ 2 h 22"/>
                  <a:gd name="T8" fmla="*/ 30 w 36"/>
                  <a:gd name="T9" fmla="*/ 4 h 22"/>
                  <a:gd name="T10" fmla="*/ 26 w 36"/>
                  <a:gd name="T11" fmla="*/ 4 h 22"/>
                  <a:gd name="T12" fmla="*/ 24 w 36"/>
                  <a:gd name="T13" fmla="*/ 6 h 22"/>
                  <a:gd name="T14" fmla="*/ 24 w 36"/>
                  <a:gd name="T15" fmla="*/ 6 h 22"/>
                  <a:gd name="T16" fmla="*/ 24 w 36"/>
                  <a:gd name="T17" fmla="*/ 6 h 22"/>
                  <a:gd name="T18" fmla="*/ 22 w 36"/>
                  <a:gd name="T19" fmla="*/ 6 h 22"/>
                  <a:gd name="T20" fmla="*/ 16 w 36"/>
                  <a:gd name="T21" fmla="*/ 6 h 22"/>
                  <a:gd name="T22" fmla="*/ 14 w 36"/>
                  <a:gd name="T23" fmla="*/ 4 h 22"/>
                  <a:gd name="T24" fmla="*/ 10 w 36"/>
                  <a:gd name="T25" fmla="*/ 0 h 22"/>
                  <a:gd name="T26" fmla="*/ 6 w 36"/>
                  <a:gd name="T27" fmla="*/ 0 h 22"/>
                  <a:gd name="T28" fmla="*/ 4 w 36"/>
                  <a:gd name="T29" fmla="*/ 2 h 22"/>
                  <a:gd name="T30" fmla="*/ 8 w 36"/>
                  <a:gd name="T31" fmla="*/ 4 h 22"/>
                  <a:gd name="T32" fmla="*/ 8 w 36"/>
                  <a:gd name="T33" fmla="*/ 8 h 22"/>
                  <a:gd name="T34" fmla="*/ 8 w 36"/>
                  <a:gd name="T35" fmla="*/ 10 h 22"/>
                  <a:gd name="T36" fmla="*/ 6 w 36"/>
                  <a:gd name="T37" fmla="*/ 8 h 22"/>
                  <a:gd name="T38" fmla="*/ 4 w 36"/>
                  <a:gd name="T39" fmla="*/ 10 h 22"/>
                  <a:gd name="T40" fmla="*/ 2 w 36"/>
                  <a:gd name="T41" fmla="*/ 10 h 22"/>
                  <a:gd name="T42" fmla="*/ 0 w 36"/>
                  <a:gd name="T43" fmla="*/ 12 h 22"/>
                  <a:gd name="T44" fmla="*/ 0 w 36"/>
                  <a:gd name="T45" fmla="*/ 14 h 22"/>
                  <a:gd name="T46" fmla="*/ 0 w 36"/>
                  <a:gd name="T47" fmla="*/ 14 h 22"/>
                  <a:gd name="T48" fmla="*/ 0 w 36"/>
                  <a:gd name="T49" fmla="*/ 16 h 22"/>
                  <a:gd name="T50" fmla="*/ 4 w 36"/>
                  <a:gd name="T51" fmla="*/ 16 h 22"/>
                  <a:gd name="T52" fmla="*/ 4 w 36"/>
                  <a:gd name="T53" fmla="*/ 18 h 22"/>
                  <a:gd name="T54" fmla="*/ 2 w 36"/>
                  <a:gd name="T55" fmla="*/ 20 h 22"/>
                  <a:gd name="T56" fmla="*/ 4 w 36"/>
                  <a:gd name="T57" fmla="*/ 22 h 22"/>
                  <a:gd name="T58" fmla="*/ 4 w 36"/>
                  <a:gd name="T59" fmla="*/ 20 h 22"/>
                  <a:gd name="T60" fmla="*/ 6 w 36"/>
                  <a:gd name="T61" fmla="*/ 22 h 22"/>
                  <a:gd name="T62" fmla="*/ 6 w 36"/>
                  <a:gd name="T63" fmla="*/ 22 h 22"/>
                  <a:gd name="T64" fmla="*/ 8 w 36"/>
                  <a:gd name="T65" fmla="*/ 20 h 22"/>
                  <a:gd name="T66" fmla="*/ 8 w 36"/>
                  <a:gd name="T67" fmla="*/ 22 h 22"/>
                  <a:gd name="T68" fmla="*/ 10 w 36"/>
                  <a:gd name="T69" fmla="*/ 20 h 22"/>
                  <a:gd name="T70" fmla="*/ 12 w 36"/>
                  <a:gd name="T71" fmla="*/ 20 h 22"/>
                  <a:gd name="T72" fmla="*/ 12 w 36"/>
                  <a:gd name="T73" fmla="*/ 18 h 22"/>
                  <a:gd name="T74" fmla="*/ 14 w 36"/>
                  <a:gd name="T75" fmla="*/ 16 h 22"/>
                  <a:gd name="T76" fmla="*/ 14 w 36"/>
                  <a:gd name="T77" fmla="*/ 14 h 22"/>
                  <a:gd name="T78" fmla="*/ 18 w 36"/>
                  <a:gd name="T79" fmla="*/ 16 h 22"/>
                  <a:gd name="T80" fmla="*/ 20 w 36"/>
                  <a:gd name="T81" fmla="*/ 18 h 22"/>
                  <a:gd name="T82" fmla="*/ 22 w 36"/>
                  <a:gd name="T83" fmla="*/ 18 h 22"/>
                  <a:gd name="T84" fmla="*/ 22 w 36"/>
                  <a:gd name="T85" fmla="*/ 18 h 22"/>
                  <a:gd name="T86" fmla="*/ 24 w 36"/>
                  <a:gd name="T87" fmla="*/ 18 h 22"/>
                  <a:gd name="T88" fmla="*/ 24 w 36"/>
                  <a:gd name="T89" fmla="*/ 14 h 22"/>
                  <a:gd name="T90" fmla="*/ 26 w 36"/>
                  <a:gd name="T91" fmla="*/ 12 h 22"/>
                  <a:gd name="T92" fmla="*/ 32 w 36"/>
                  <a:gd name="T93" fmla="*/ 14 h 22"/>
                  <a:gd name="T94" fmla="*/ 34 w 36"/>
                  <a:gd name="T95" fmla="*/ 14 h 22"/>
                  <a:gd name="T96" fmla="*/ 36 w 36"/>
                  <a:gd name="T97" fmla="*/ 12 h 22"/>
                  <a:gd name="T98" fmla="*/ 34 w 36"/>
                  <a:gd name="T99" fmla="*/ 8 h 22"/>
                  <a:gd name="T100" fmla="*/ 30 w 36"/>
                  <a:gd name="T101" fmla="*/ 8 h 22"/>
                  <a:gd name="T102" fmla="*/ 36 w 36"/>
                  <a:gd name="T103" fmla="*/ 4 h 22"/>
                  <a:gd name="T104" fmla="*/ 36 w 36"/>
                  <a:gd name="T105"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2">
                    <a:moveTo>
                      <a:pt x="36" y="4"/>
                    </a:moveTo>
                    <a:lnTo>
                      <a:pt x="34" y="4"/>
                    </a:lnTo>
                    <a:lnTo>
                      <a:pt x="32" y="4"/>
                    </a:lnTo>
                    <a:lnTo>
                      <a:pt x="34" y="2"/>
                    </a:lnTo>
                    <a:lnTo>
                      <a:pt x="34" y="2"/>
                    </a:lnTo>
                    <a:lnTo>
                      <a:pt x="34" y="2"/>
                    </a:lnTo>
                    <a:lnTo>
                      <a:pt x="32" y="2"/>
                    </a:lnTo>
                    <a:lnTo>
                      <a:pt x="30" y="2"/>
                    </a:lnTo>
                    <a:lnTo>
                      <a:pt x="32" y="2"/>
                    </a:lnTo>
                    <a:lnTo>
                      <a:pt x="32" y="2"/>
                    </a:lnTo>
                    <a:lnTo>
                      <a:pt x="30" y="0"/>
                    </a:lnTo>
                    <a:lnTo>
                      <a:pt x="28" y="2"/>
                    </a:lnTo>
                    <a:lnTo>
                      <a:pt x="30" y="2"/>
                    </a:lnTo>
                    <a:lnTo>
                      <a:pt x="28" y="2"/>
                    </a:lnTo>
                    <a:lnTo>
                      <a:pt x="30" y="4"/>
                    </a:lnTo>
                    <a:lnTo>
                      <a:pt x="30" y="6"/>
                    </a:lnTo>
                    <a:lnTo>
                      <a:pt x="28" y="6"/>
                    </a:lnTo>
                    <a:lnTo>
                      <a:pt x="26" y="4"/>
                    </a:lnTo>
                    <a:lnTo>
                      <a:pt x="26" y="4"/>
                    </a:lnTo>
                    <a:lnTo>
                      <a:pt x="26" y="6"/>
                    </a:lnTo>
                    <a:lnTo>
                      <a:pt x="24" y="6"/>
                    </a:lnTo>
                    <a:lnTo>
                      <a:pt x="24" y="6"/>
                    </a:lnTo>
                    <a:lnTo>
                      <a:pt x="24" y="6"/>
                    </a:lnTo>
                    <a:lnTo>
                      <a:pt x="24" y="6"/>
                    </a:lnTo>
                    <a:lnTo>
                      <a:pt x="22" y="6"/>
                    </a:lnTo>
                    <a:lnTo>
                      <a:pt x="22" y="6"/>
                    </a:lnTo>
                    <a:lnTo>
                      <a:pt x="24" y="6"/>
                    </a:lnTo>
                    <a:lnTo>
                      <a:pt x="24" y="6"/>
                    </a:lnTo>
                    <a:lnTo>
                      <a:pt x="22" y="6"/>
                    </a:lnTo>
                    <a:lnTo>
                      <a:pt x="22" y="6"/>
                    </a:lnTo>
                    <a:lnTo>
                      <a:pt x="20" y="6"/>
                    </a:lnTo>
                    <a:lnTo>
                      <a:pt x="18" y="6"/>
                    </a:lnTo>
                    <a:lnTo>
                      <a:pt x="16" y="6"/>
                    </a:lnTo>
                    <a:lnTo>
                      <a:pt x="16" y="4"/>
                    </a:lnTo>
                    <a:lnTo>
                      <a:pt x="14" y="2"/>
                    </a:lnTo>
                    <a:lnTo>
                      <a:pt x="14" y="4"/>
                    </a:lnTo>
                    <a:lnTo>
                      <a:pt x="12" y="2"/>
                    </a:lnTo>
                    <a:lnTo>
                      <a:pt x="10" y="0"/>
                    </a:lnTo>
                    <a:lnTo>
                      <a:pt x="10" y="0"/>
                    </a:lnTo>
                    <a:lnTo>
                      <a:pt x="10" y="0"/>
                    </a:lnTo>
                    <a:lnTo>
                      <a:pt x="8" y="0"/>
                    </a:lnTo>
                    <a:lnTo>
                      <a:pt x="6" y="0"/>
                    </a:lnTo>
                    <a:lnTo>
                      <a:pt x="6" y="0"/>
                    </a:lnTo>
                    <a:lnTo>
                      <a:pt x="4" y="2"/>
                    </a:lnTo>
                    <a:lnTo>
                      <a:pt x="4" y="2"/>
                    </a:lnTo>
                    <a:lnTo>
                      <a:pt x="8" y="4"/>
                    </a:lnTo>
                    <a:lnTo>
                      <a:pt x="6" y="4"/>
                    </a:lnTo>
                    <a:lnTo>
                      <a:pt x="8" y="4"/>
                    </a:lnTo>
                    <a:lnTo>
                      <a:pt x="8" y="6"/>
                    </a:lnTo>
                    <a:lnTo>
                      <a:pt x="8" y="6"/>
                    </a:lnTo>
                    <a:lnTo>
                      <a:pt x="8" y="8"/>
                    </a:lnTo>
                    <a:lnTo>
                      <a:pt x="10" y="8"/>
                    </a:lnTo>
                    <a:lnTo>
                      <a:pt x="8" y="8"/>
                    </a:lnTo>
                    <a:lnTo>
                      <a:pt x="8" y="10"/>
                    </a:lnTo>
                    <a:lnTo>
                      <a:pt x="8" y="10"/>
                    </a:lnTo>
                    <a:lnTo>
                      <a:pt x="8" y="10"/>
                    </a:lnTo>
                    <a:lnTo>
                      <a:pt x="6" y="8"/>
                    </a:lnTo>
                    <a:lnTo>
                      <a:pt x="6" y="10"/>
                    </a:lnTo>
                    <a:lnTo>
                      <a:pt x="4" y="8"/>
                    </a:lnTo>
                    <a:lnTo>
                      <a:pt x="4" y="10"/>
                    </a:lnTo>
                    <a:lnTo>
                      <a:pt x="4" y="8"/>
                    </a:lnTo>
                    <a:lnTo>
                      <a:pt x="2" y="10"/>
                    </a:lnTo>
                    <a:lnTo>
                      <a:pt x="2" y="10"/>
                    </a:lnTo>
                    <a:lnTo>
                      <a:pt x="2" y="10"/>
                    </a:lnTo>
                    <a:lnTo>
                      <a:pt x="0" y="10"/>
                    </a:lnTo>
                    <a:lnTo>
                      <a:pt x="0" y="12"/>
                    </a:lnTo>
                    <a:lnTo>
                      <a:pt x="0" y="12"/>
                    </a:lnTo>
                    <a:lnTo>
                      <a:pt x="0" y="12"/>
                    </a:lnTo>
                    <a:lnTo>
                      <a:pt x="0" y="14"/>
                    </a:lnTo>
                    <a:lnTo>
                      <a:pt x="0" y="14"/>
                    </a:lnTo>
                    <a:lnTo>
                      <a:pt x="0" y="14"/>
                    </a:lnTo>
                    <a:lnTo>
                      <a:pt x="0" y="14"/>
                    </a:lnTo>
                    <a:lnTo>
                      <a:pt x="0" y="16"/>
                    </a:lnTo>
                    <a:lnTo>
                      <a:pt x="0" y="16"/>
                    </a:lnTo>
                    <a:lnTo>
                      <a:pt x="0" y="16"/>
                    </a:lnTo>
                    <a:lnTo>
                      <a:pt x="2" y="16"/>
                    </a:lnTo>
                    <a:lnTo>
                      <a:pt x="4" y="16"/>
                    </a:lnTo>
                    <a:lnTo>
                      <a:pt x="4" y="16"/>
                    </a:lnTo>
                    <a:lnTo>
                      <a:pt x="4" y="16"/>
                    </a:lnTo>
                    <a:lnTo>
                      <a:pt x="4" y="18"/>
                    </a:lnTo>
                    <a:lnTo>
                      <a:pt x="4" y="18"/>
                    </a:lnTo>
                    <a:lnTo>
                      <a:pt x="4" y="18"/>
                    </a:lnTo>
                    <a:lnTo>
                      <a:pt x="4" y="20"/>
                    </a:lnTo>
                    <a:lnTo>
                      <a:pt x="2" y="20"/>
                    </a:lnTo>
                    <a:lnTo>
                      <a:pt x="0" y="22"/>
                    </a:lnTo>
                    <a:lnTo>
                      <a:pt x="2" y="22"/>
                    </a:lnTo>
                    <a:lnTo>
                      <a:pt x="4" y="22"/>
                    </a:lnTo>
                    <a:lnTo>
                      <a:pt x="4" y="22"/>
                    </a:lnTo>
                    <a:lnTo>
                      <a:pt x="4" y="22"/>
                    </a:lnTo>
                    <a:lnTo>
                      <a:pt x="4" y="20"/>
                    </a:lnTo>
                    <a:lnTo>
                      <a:pt x="6" y="22"/>
                    </a:lnTo>
                    <a:lnTo>
                      <a:pt x="4" y="22"/>
                    </a:lnTo>
                    <a:lnTo>
                      <a:pt x="6" y="22"/>
                    </a:lnTo>
                    <a:lnTo>
                      <a:pt x="6" y="22"/>
                    </a:lnTo>
                    <a:lnTo>
                      <a:pt x="6" y="22"/>
                    </a:lnTo>
                    <a:lnTo>
                      <a:pt x="6" y="22"/>
                    </a:lnTo>
                    <a:lnTo>
                      <a:pt x="8" y="20"/>
                    </a:lnTo>
                    <a:lnTo>
                      <a:pt x="8" y="20"/>
                    </a:lnTo>
                    <a:lnTo>
                      <a:pt x="8" y="20"/>
                    </a:lnTo>
                    <a:lnTo>
                      <a:pt x="8" y="22"/>
                    </a:lnTo>
                    <a:lnTo>
                      <a:pt x="8" y="22"/>
                    </a:lnTo>
                    <a:lnTo>
                      <a:pt x="8" y="22"/>
                    </a:lnTo>
                    <a:lnTo>
                      <a:pt x="10" y="22"/>
                    </a:lnTo>
                    <a:lnTo>
                      <a:pt x="10" y="20"/>
                    </a:lnTo>
                    <a:lnTo>
                      <a:pt x="10" y="20"/>
                    </a:lnTo>
                    <a:lnTo>
                      <a:pt x="10" y="22"/>
                    </a:lnTo>
                    <a:lnTo>
                      <a:pt x="12" y="22"/>
                    </a:lnTo>
                    <a:lnTo>
                      <a:pt x="12" y="20"/>
                    </a:lnTo>
                    <a:lnTo>
                      <a:pt x="12" y="20"/>
                    </a:lnTo>
                    <a:lnTo>
                      <a:pt x="12" y="18"/>
                    </a:lnTo>
                    <a:lnTo>
                      <a:pt x="12" y="18"/>
                    </a:lnTo>
                    <a:lnTo>
                      <a:pt x="14" y="18"/>
                    </a:lnTo>
                    <a:lnTo>
                      <a:pt x="14" y="18"/>
                    </a:lnTo>
                    <a:lnTo>
                      <a:pt x="14" y="16"/>
                    </a:lnTo>
                    <a:lnTo>
                      <a:pt x="12" y="16"/>
                    </a:lnTo>
                    <a:lnTo>
                      <a:pt x="14" y="14"/>
                    </a:lnTo>
                    <a:lnTo>
                      <a:pt x="14" y="14"/>
                    </a:lnTo>
                    <a:lnTo>
                      <a:pt x="16" y="16"/>
                    </a:lnTo>
                    <a:lnTo>
                      <a:pt x="16" y="16"/>
                    </a:lnTo>
                    <a:lnTo>
                      <a:pt x="18" y="16"/>
                    </a:lnTo>
                    <a:lnTo>
                      <a:pt x="18" y="16"/>
                    </a:lnTo>
                    <a:lnTo>
                      <a:pt x="18" y="16"/>
                    </a:lnTo>
                    <a:lnTo>
                      <a:pt x="20" y="18"/>
                    </a:lnTo>
                    <a:lnTo>
                      <a:pt x="20" y="18"/>
                    </a:lnTo>
                    <a:lnTo>
                      <a:pt x="20" y="18"/>
                    </a:lnTo>
                    <a:lnTo>
                      <a:pt x="22" y="18"/>
                    </a:lnTo>
                    <a:lnTo>
                      <a:pt x="22" y="18"/>
                    </a:lnTo>
                    <a:lnTo>
                      <a:pt x="22" y="18"/>
                    </a:lnTo>
                    <a:lnTo>
                      <a:pt x="22" y="18"/>
                    </a:lnTo>
                    <a:lnTo>
                      <a:pt x="24" y="18"/>
                    </a:lnTo>
                    <a:lnTo>
                      <a:pt x="24" y="18"/>
                    </a:lnTo>
                    <a:lnTo>
                      <a:pt x="24" y="18"/>
                    </a:lnTo>
                    <a:lnTo>
                      <a:pt x="24" y="16"/>
                    </a:lnTo>
                    <a:lnTo>
                      <a:pt x="22" y="14"/>
                    </a:lnTo>
                    <a:lnTo>
                      <a:pt x="24" y="14"/>
                    </a:lnTo>
                    <a:lnTo>
                      <a:pt x="24" y="14"/>
                    </a:lnTo>
                    <a:lnTo>
                      <a:pt x="26" y="14"/>
                    </a:lnTo>
                    <a:lnTo>
                      <a:pt x="26" y="12"/>
                    </a:lnTo>
                    <a:lnTo>
                      <a:pt x="30" y="16"/>
                    </a:lnTo>
                    <a:lnTo>
                      <a:pt x="30" y="16"/>
                    </a:lnTo>
                    <a:lnTo>
                      <a:pt x="32" y="14"/>
                    </a:lnTo>
                    <a:lnTo>
                      <a:pt x="34" y="16"/>
                    </a:lnTo>
                    <a:lnTo>
                      <a:pt x="34" y="14"/>
                    </a:lnTo>
                    <a:lnTo>
                      <a:pt x="34" y="14"/>
                    </a:lnTo>
                    <a:lnTo>
                      <a:pt x="36" y="14"/>
                    </a:lnTo>
                    <a:lnTo>
                      <a:pt x="36" y="12"/>
                    </a:lnTo>
                    <a:lnTo>
                      <a:pt x="36" y="12"/>
                    </a:lnTo>
                    <a:lnTo>
                      <a:pt x="36" y="10"/>
                    </a:lnTo>
                    <a:lnTo>
                      <a:pt x="36" y="10"/>
                    </a:lnTo>
                    <a:lnTo>
                      <a:pt x="34" y="8"/>
                    </a:lnTo>
                    <a:lnTo>
                      <a:pt x="30" y="8"/>
                    </a:lnTo>
                    <a:lnTo>
                      <a:pt x="30" y="8"/>
                    </a:lnTo>
                    <a:lnTo>
                      <a:pt x="30" y="8"/>
                    </a:lnTo>
                    <a:lnTo>
                      <a:pt x="32" y="6"/>
                    </a:lnTo>
                    <a:lnTo>
                      <a:pt x="36" y="6"/>
                    </a:lnTo>
                    <a:lnTo>
                      <a:pt x="36" y="4"/>
                    </a:lnTo>
                    <a:lnTo>
                      <a:pt x="36" y="4"/>
                    </a:lnTo>
                    <a:lnTo>
                      <a:pt x="36" y="4"/>
                    </a:lnTo>
                    <a:lnTo>
                      <a:pt x="36"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92" name="Freeform 343"/>
              <p:cNvSpPr>
                <a:spLocks/>
              </p:cNvSpPr>
              <p:nvPr/>
            </p:nvSpPr>
            <p:spPr bwMode="auto">
              <a:xfrm>
                <a:off x="2195" y="849"/>
                <a:ext cx="36" cy="22"/>
              </a:xfrm>
              <a:custGeom>
                <a:avLst/>
                <a:gdLst>
                  <a:gd name="T0" fmla="*/ 32 w 36"/>
                  <a:gd name="T1" fmla="*/ 4 h 22"/>
                  <a:gd name="T2" fmla="*/ 34 w 36"/>
                  <a:gd name="T3" fmla="*/ 2 h 22"/>
                  <a:gd name="T4" fmla="*/ 32 w 36"/>
                  <a:gd name="T5" fmla="*/ 2 h 22"/>
                  <a:gd name="T6" fmla="*/ 28 w 36"/>
                  <a:gd name="T7" fmla="*/ 2 h 22"/>
                  <a:gd name="T8" fmla="*/ 30 w 36"/>
                  <a:gd name="T9" fmla="*/ 4 h 22"/>
                  <a:gd name="T10" fmla="*/ 26 w 36"/>
                  <a:gd name="T11" fmla="*/ 4 h 22"/>
                  <a:gd name="T12" fmla="*/ 24 w 36"/>
                  <a:gd name="T13" fmla="*/ 6 h 22"/>
                  <a:gd name="T14" fmla="*/ 24 w 36"/>
                  <a:gd name="T15" fmla="*/ 6 h 22"/>
                  <a:gd name="T16" fmla="*/ 24 w 36"/>
                  <a:gd name="T17" fmla="*/ 6 h 22"/>
                  <a:gd name="T18" fmla="*/ 22 w 36"/>
                  <a:gd name="T19" fmla="*/ 6 h 22"/>
                  <a:gd name="T20" fmla="*/ 16 w 36"/>
                  <a:gd name="T21" fmla="*/ 6 h 22"/>
                  <a:gd name="T22" fmla="*/ 14 w 36"/>
                  <a:gd name="T23" fmla="*/ 4 h 22"/>
                  <a:gd name="T24" fmla="*/ 10 w 36"/>
                  <a:gd name="T25" fmla="*/ 0 h 22"/>
                  <a:gd name="T26" fmla="*/ 6 w 36"/>
                  <a:gd name="T27" fmla="*/ 0 h 22"/>
                  <a:gd name="T28" fmla="*/ 4 w 36"/>
                  <a:gd name="T29" fmla="*/ 2 h 22"/>
                  <a:gd name="T30" fmla="*/ 8 w 36"/>
                  <a:gd name="T31" fmla="*/ 4 h 22"/>
                  <a:gd name="T32" fmla="*/ 8 w 36"/>
                  <a:gd name="T33" fmla="*/ 8 h 22"/>
                  <a:gd name="T34" fmla="*/ 8 w 36"/>
                  <a:gd name="T35" fmla="*/ 10 h 22"/>
                  <a:gd name="T36" fmla="*/ 6 w 36"/>
                  <a:gd name="T37" fmla="*/ 8 h 22"/>
                  <a:gd name="T38" fmla="*/ 4 w 36"/>
                  <a:gd name="T39" fmla="*/ 10 h 22"/>
                  <a:gd name="T40" fmla="*/ 2 w 36"/>
                  <a:gd name="T41" fmla="*/ 10 h 22"/>
                  <a:gd name="T42" fmla="*/ 0 w 36"/>
                  <a:gd name="T43" fmla="*/ 12 h 22"/>
                  <a:gd name="T44" fmla="*/ 0 w 36"/>
                  <a:gd name="T45" fmla="*/ 14 h 22"/>
                  <a:gd name="T46" fmla="*/ 0 w 36"/>
                  <a:gd name="T47" fmla="*/ 14 h 22"/>
                  <a:gd name="T48" fmla="*/ 0 w 36"/>
                  <a:gd name="T49" fmla="*/ 16 h 22"/>
                  <a:gd name="T50" fmla="*/ 4 w 36"/>
                  <a:gd name="T51" fmla="*/ 16 h 22"/>
                  <a:gd name="T52" fmla="*/ 4 w 36"/>
                  <a:gd name="T53" fmla="*/ 18 h 22"/>
                  <a:gd name="T54" fmla="*/ 2 w 36"/>
                  <a:gd name="T55" fmla="*/ 20 h 22"/>
                  <a:gd name="T56" fmla="*/ 4 w 36"/>
                  <a:gd name="T57" fmla="*/ 22 h 22"/>
                  <a:gd name="T58" fmla="*/ 4 w 36"/>
                  <a:gd name="T59" fmla="*/ 20 h 22"/>
                  <a:gd name="T60" fmla="*/ 6 w 36"/>
                  <a:gd name="T61" fmla="*/ 22 h 22"/>
                  <a:gd name="T62" fmla="*/ 6 w 36"/>
                  <a:gd name="T63" fmla="*/ 22 h 22"/>
                  <a:gd name="T64" fmla="*/ 8 w 36"/>
                  <a:gd name="T65" fmla="*/ 20 h 22"/>
                  <a:gd name="T66" fmla="*/ 8 w 36"/>
                  <a:gd name="T67" fmla="*/ 22 h 22"/>
                  <a:gd name="T68" fmla="*/ 10 w 36"/>
                  <a:gd name="T69" fmla="*/ 20 h 22"/>
                  <a:gd name="T70" fmla="*/ 12 w 36"/>
                  <a:gd name="T71" fmla="*/ 20 h 22"/>
                  <a:gd name="T72" fmla="*/ 12 w 36"/>
                  <a:gd name="T73" fmla="*/ 18 h 22"/>
                  <a:gd name="T74" fmla="*/ 14 w 36"/>
                  <a:gd name="T75" fmla="*/ 16 h 22"/>
                  <a:gd name="T76" fmla="*/ 14 w 36"/>
                  <a:gd name="T77" fmla="*/ 14 h 22"/>
                  <a:gd name="T78" fmla="*/ 18 w 36"/>
                  <a:gd name="T79" fmla="*/ 16 h 22"/>
                  <a:gd name="T80" fmla="*/ 20 w 36"/>
                  <a:gd name="T81" fmla="*/ 18 h 22"/>
                  <a:gd name="T82" fmla="*/ 22 w 36"/>
                  <a:gd name="T83" fmla="*/ 18 h 22"/>
                  <a:gd name="T84" fmla="*/ 22 w 36"/>
                  <a:gd name="T85" fmla="*/ 18 h 22"/>
                  <a:gd name="T86" fmla="*/ 24 w 36"/>
                  <a:gd name="T87" fmla="*/ 18 h 22"/>
                  <a:gd name="T88" fmla="*/ 24 w 36"/>
                  <a:gd name="T89" fmla="*/ 14 h 22"/>
                  <a:gd name="T90" fmla="*/ 26 w 36"/>
                  <a:gd name="T91" fmla="*/ 12 h 22"/>
                  <a:gd name="T92" fmla="*/ 32 w 36"/>
                  <a:gd name="T93" fmla="*/ 14 h 22"/>
                  <a:gd name="T94" fmla="*/ 34 w 36"/>
                  <a:gd name="T95" fmla="*/ 14 h 22"/>
                  <a:gd name="T96" fmla="*/ 36 w 36"/>
                  <a:gd name="T97" fmla="*/ 12 h 22"/>
                  <a:gd name="T98" fmla="*/ 34 w 36"/>
                  <a:gd name="T99" fmla="*/ 8 h 22"/>
                  <a:gd name="T100" fmla="*/ 30 w 36"/>
                  <a:gd name="T101" fmla="*/ 8 h 22"/>
                  <a:gd name="T102" fmla="*/ 36 w 36"/>
                  <a:gd name="T103" fmla="*/ 4 h 22"/>
                  <a:gd name="T104" fmla="*/ 36 w 36"/>
                  <a:gd name="T105"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2">
                    <a:moveTo>
                      <a:pt x="36" y="4"/>
                    </a:moveTo>
                    <a:lnTo>
                      <a:pt x="34" y="4"/>
                    </a:lnTo>
                    <a:lnTo>
                      <a:pt x="32" y="4"/>
                    </a:lnTo>
                    <a:lnTo>
                      <a:pt x="34" y="2"/>
                    </a:lnTo>
                    <a:lnTo>
                      <a:pt x="34" y="2"/>
                    </a:lnTo>
                    <a:lnTo>
                      <a:pt x="34" y="2"/>
                    </a:lnTo>
                    <a:lnTo>
                      <a:pt x="32" y="2"/>
                    </a:lnTo>
                    <a:lnTo>
                      <a:pt x="30" y="2"/>
                    </a:lnTo>
                    <a:lnTo>
                      <a:pt x="32" y="2"/>
                    </a:lnTo>
                    <a:lnTo>
                      <a:pt x="32" y="2"/>
                    </a:lnTo>
                    <a:lnTo>
                      <a:pt x="30" y="0"/>
                    </a:lnTo>
                    <a:lnTo>
                      <a:pt x="28" y="2"/>
                    </a:lnTo>
                    <a:lnTo>
                      <a:pt x="30" y="2"/>
                    </a:lnTo>
                    <a:lnTo>
                      <a:pt x="28" y="2"/>
                    </a:lnTo>
                    <a:lnTo>
                      <a:pt x="30" y="4"/>
                    </a:lnTo>
                    <a:lnTo>
                      <a:pt x="30" y="6"/>
                    </a:lnTo>
                    <a:lnTo>
                      <a:pt x="28" y="6"/>
                    </a:lnTo>
                    <a:lnTo>
                      <a:pt x="26" y="4"/>
                    </a:lnTo>
                    <a:lnTo>
                      <a:pt x="26" y="4"/>
                    </a:lnTo>
                    <a:lnTo>
                      <a:pt x="26" y="6"/>
                    </a:lnTo>
                    <a:lnTo>
                      <a:pt x="24" y="6"/>
                    </a:lnTo>
                    <a:lnTo>
                      <a:pt x="24" y="6"/>
                    </a:lnTo>
                    <a:lnTo>
                      <a:pt x="24" y="6"/>
                    </a:lnTo>
                    <a:lnTo>
                      <a:pt x="24" y="6"/>
                    </a:lnTo>
                    <a:lnTo>
                      <a:pt x="22" y="6"/>
                    </a:lnTo>
                    <a:lnTo>
                      <a:pt x="22" y="6"/>
                    </a:lnTo>
                    <a:lnTo>
                      <a:pt x="24" y="6"/>
                    </a:lnTo>
                    <a:lnTo>
                      <a:pt x="24" y="6"/>
                    </a:lnTo>
                    <a:lnTo>
                      <a:pt x="22" y="6"/>
                    </a:lnTo>
                    <a:lnTo>
                      <a:pt x="22" y="6"/>
                    </a:lnTo>
                    <a:lnTo>
                      <a:pt x="20" y="6"/>
                    </a:lnTo>
                    <a:lnTo>
                      <a:pt x="18" y="6"/>
                    </a:lnTo>
                    <a:lnTo>
                      <a:pt x="16" y="6"/>
                    </a:lnTo>
                    <a:lnTo>
                      <a:pt x="16" y="4"/>
                    </a:lnTo>
                    <a:lnTo>
                      <a:pt x="14" y="2"/>
                    </a:lnTo>
                    <a:lnTo>
                      <a:pt x="14" y="4"/>
                    </a:lnTo>
                    <a:lnTo>
                      <a:pt x="12" y="2"/>
                    </a:lnTo>
                    <a:lnTo>
                      <a:pt x="10" y="0"/>
                    </a:lnTo>
                    <a:lnTo>
                      <a:pt x="10" y="0"/>
                    </a:lnTo>
                    <a:lnTo>
                      <a:pt x="10" y="0"/>
                    </a:lnTo>
                    <a:lnTo>
                      <a:pt x="8" y="0"/>
                    </a:lnTo>
                    <a:lnTo>
                      <a:pt x="6" y="0"/>
                    </a:lnTo>
                    <a:lnTo>
                      <a:pt x="6" y="0"/>
                    </a:lnTo>
                    <a:lnTo>
                      <a:pt x="4" y="2"/>
                    </a:lnTo>
                    <a:lnTo>
                      <a:pt x="4" y="2"/>
                    </a:lnTo>
                    <a:lnTo>
                      <a:pt x="8" y="4"/>
                    </a:lnTo>
                    <a:lnTo>
                      <a:pt x="6" y="4"/>
                    </a:lnTo>
                    <a:lnTo>
                      <a:pt x="8" y="4"/>
                    </a:lnTo>
                    <a:lnTo>
                      <a:pt x="8" y="6"/>
                    </a:lnTo>
                    <a:lnTo>
                      <a:pt x="8" y="6"/>
                    </a:lnTo>
                    <a:lnTo>
                      <a:pt x="8" y="8"/>
                    </a:lnTo>
                    <a:lnTo>
                      <a:pt x="10" y="8"/>
                    </a:lnTo>
                    <a:lnTo>
                      <a:pt x="8" y="8"/>
                    </a:lnTo>
                    <a:lnTo>
                      <a:pt x="8" y="10"/>
                    </a:lnTo>
                    <a:lnTo>
                      <a:pt x="8" y="10"/>
                    </a:lnTo>
                    <a:lnTo>
                      <a:pt x="8" y="10"/>
                    </a:lnTo>
                    <a:lnTo>
                      <a:pt x="6" y="8"/>
                    </a:lnTo>
                    <a:lnTo>
                      <a:pt x="6" y="10"/>
                    </a:lnTo>
                    <a:lnTo>
                      <a:pt x="4" y="8"/>
                    </a:lnTo>
                    <a:lnTo>
                      <a:pt x="4" y="10"/>
                    </a:lnTo>
                    <a:lnTo>
                      <a:pt x="4" y="8"/>
                    </a:lnTo>
                    <a:lnTo>
                      <a:pt x="2" y="10"/>
                    </a:lnTo>
                    <a:lnTo>
                      <a:pt x="2" y="10"/>
                    </a:lnTo>
                    <a:lnTo>
                      <a:pt x="2" y="10"/>
                    </a:lnTo>
                    <a:lnTo>
                      <a:pt x="0" y="10"/>
                    </a:lnTo>
                    <a:lnTo>
                      <a:pt x="0" y="12"/>
                    </a:lnTo>
                    <a:lnTo>
                      <a:pt x="0" y="12"/>
                    </a:lnTo>
                    <a:lnTo>
                      <a:pt x="0" y="12"/>
                    </a:lnTo>
                    <a:lnTo>
                      <a:pt x="0" y="14"/>
                    </a:lnTo>
                    <a:lnTo>
                      <a:pt x="0" y="14"/>
                    </a:lnTo>
                    <a:lnTo>
                      <a:pt x="0" y="14"/>
                    </a:lnTo>
                    <a:lnTo>
                      <a:pt x="0" y="14"/>
                    </a:lnTo>
                    <a:lnTo>
                      <a:pt x="0" y="16"/>
                    </a:lnTo>
                    <a:lnTo>
                      <a:pt x="0" y="16"/>
                    </a:lnTo>
                    <a:lnTo>
                      <a:pt x="0" y="16"/>
                    </a:lnTo>
                    <a:lnTo>
                      <a:pt x="2" y="16"/>
                    </a:lnTo>
                    <a:lnTo>
                      <a:pt x="4" y="16"/>
                    </a:lnTo>
                    <a:lnTo>
                      <a:pt x="4" y="16"/>
                    </a:lnTo>
                    <a:lnTo>
                      <a:pt x="4" y="16"/>
                    </a:lnTo>
                    <a:lnTo>
                      <a:pt x="4" y="18"/>
                    </a:lnTo>
                    <a:lnTo>
                      <a:pt x="4" y="18"/>
                    </a:lnTo>
                    <a:lnTo>
                      <a:pt x="4" y="18"/>
                    </a:lnTo>
                    <a:lnTo>
                      <a:pt x="4" y="20"/>
                    </a:lnTo>
                    <a:lnTo>
                      <a:pt x="2" y="20"/>
                    </a:lnTo>
                    <a:lnTo>
                      <a:pt x="0" y="22"/>
                    </a:lnTo>
                    <a:lnTo>
                      <a:pt x="2" y="22"/>
                    </a:lnTo>
                    <a:lnTo>
                      <a:pt x="4" y="22"/>
                    </a:lnTo>
                    <a:lnTo>
                      <a:pt x="4" y="22"/>
                    </a:lnTo>
                    <a:lnTo>
                      <a:pt x="4" y="22"/>
                    </a:lnTo>
                    <a:lnTo>
                      <a:pt x="4" y="20"/>
                    </a:lnTo>
                    <a:lnTo>
                      <a:pt x="6" y="22"/>
                    </a:lnTo>
                    <a:lnTo>
                      <a:pt x="4" y="22"/>
                    </a:lnTo>
                    <a:lnTo>
                      <a:pt x="6" y="22"/>
                    </a:lnTo>
                    <a:lnTo>
                      <a:pt x="6" y="22"/>
                    </a:lnTo>
                    <a:lnTo>
                      <a:pt x="6" y="22"/>
                    </a:lnTo>
                    <a:lnTo>
                      <a:pt x="6" y="22"/>
                    </a:lnTo>
                    <a:lnTo>
                      <a:pt x="8" y="20"/>
                    </a:lnTo>
                    <a:lnTo>
                      <a:pt x="8" y="20"/>
                    </a:lnTo>
                    <a:lnTo>
                      <a:pt x="8" y="20"/>
                    </a:lnTo>
                    <a:lnTo>
                      <a:pt x="8" y="22"/>
                    </a:lnTo>
                    <a:lnTo>
                      <a:pt x="8" y="22"/>
                    </a:lnTo>
                    <a:lnTo>
                      <a:pt x="8" y="22"/>
                    </a:lnTo>
                    <a:lnTo>
                      <a:pt x="10" y="22"/>
                    </a:lnTo>
                    <a:lnTo>
                      <a:pt x="10" y="20"/>
                    </a:lnTo>
                    <a:lnTo>
                      <a:pt x="10" y="20"/>
                    </a:lnTo>
                    <a:lnTo>
                      <a:pt x="10" y="22"/>
                    </a:lnTo>
                    <a:lnTo>
                      <a:pt x="12" y="22"/>
                    </a:lnTo>
                    <a:lnTo>
                      <a:pt x="12" y="20"/>
                    </a:lnTo>
                    <a:lnTo>
                      <a:pt x="12" y="20"/>
                    </a:lnTo>
                    <a:lnTo>
                      <a:pt x="12" y="18"/>
                    </a:lnTo>
                    <a:lnTo>
                      <a:pt x="12" y="18"/>
                    </a:lnTo>
                    <a:lnTo>
                      <a:pt x="14" y="18"/>
                    </a:lnTo>
                    <a:lnTo>
                      <a:pt x="14" y="18"/>
                    </a:lnTo>
                    <a:lnTo>
                      <a:pt x="14" y="16"/>
                    </a:lnTo>
                    <a:lnTo>
                      <a:pt x="12" y="16"/>
                    </a:lnTo>
                    <a:lnTo>
                      <a:pt x="14" y="14"/>
                    </a:lnTo>
                    <a:lnTo>
                      <a:pt x="14" y="14"/>
                    </a:lnTo>
                    <a:lnTo>
                      <a:pt x="16" y="16"/>
                    </a:lnTo>
                    <a:lnTo>
                      <a:pt x="16" y="16"/>
                    </a:lnTo>
                    <a:lnTo>
                      <a:pt x="18" y="16"/>
                    </a:lnTo>
                    <a:lnTo>
                      <a:pt x="18" y="16"/>
                    </a:lnTo>
                    <a:lnTo>
                      <a:pt x="18" y="16"/>
                    </a:lnTo>
                    <a:lnTo>
                      <a:pt x="20" y="18"/>
                    </a:lnTo>
                    <a:lnTo>
                      <a:pt x="20" y="18"/>
                    </a:lnTo>
                    <a:lnTo>
                      <a:pt x="20" y="18"/>
                    </a:lnTo>
                    <a:lnTo>
                      <a:pt x="22" y="18"/>
                    </a:lnTo>
                    <a:lnTo>
                      <a:pt x="22" y="18"/>
                    </a:lnTo>
                    <a:lnTo>
                      <a:pt x="22" y="18"/>
                    </a:lnTo>
                    <a:lnTo>
                      <a:pt x="22" y="18"/>
                    </a:lnTo>
                    <a:lnTo>
                      <a:pt x="24" y="18"/>
                    </a:lnTo>
                    <a:lnTo>
                      <a:pt x="24" y="18"/>
                    </a:lnTo>
                    <a:lnTo>
                      <a:pt x="24" y="18"/>
                    </a:lnTo>
                    <a:lnTo>
                      <a:pt x="24" y="16"/>
                    </a:lnTo>
                    <a:lnTo>
                      <a:pt x="22" y="14"/>
                    </a:lnTo>
                    <a:lnTo>
                      <a:pt x="24" y="14"/>
                    </a:lnTo>
                    <a:lnTo>
                      <a:pt x="24" y="14"/>
                    </a:lnTo>
                    <a:lnTo>
                      <a:pt x="26" y="14"/>
                    </a:lnTo>
                    <a:lnTo>
                      <a:pt x="26" y="12"/>
                    </a:lnTo>
                    <a:lnTo>
                      <a:pt x="30" y="16"/>
                    </a:lnTo>
                    <a:lnTo>
                      <a:pt x="30" y="16"/>
                    </a:lnTo>
                    <a:lnTo>
                      <a:pt x="32" y="14"/>
                    </a:lnTo>
                    <a:lnTo>
                      <a:pt x="34" y="16"/>
                    </a:lnTo>
                    <a:lnTo>
                      <a:pt x="34" y="14"/>
                    </a:lnTo>
                    <a:lnTo>
                      <a:pt x="34" y="14"/>
                    </a:lnTo>
                    <a:lnTo>
                      <a:pt x="36" y="14"/>
                    </a:lnTo>
                    <a:lnTo>
                      <a:pt x="36" y="12"/>
                    </a:lnTo>
                    <a:lnTo>
                      <a:pt x="36" y="12"/>
                    </a:lnTo>
                    <a:lnTo>
                      <a:pt x="36" y="10"/>
                    </a:lnTo>
                    <a:lnTo>
                      <a:pt x="36" y="10"/>
                    </a:lnTo>
                    <a:lnTo>
                      <a:pt x="34" y="8"/>
                    </a:lnTo>
                    <a:lnTo>
                      <a:pt x="30" y="8"/>
                    </a:lnTo>
                    <a:lnTo>
                      <a:pt x="30" y="8"/>
                    </a:lnTo>
                    <a:lnTo>
                      <a:pt x="30" y="8"/>
                    </a:lnTo>
                    <a:lnTo>
                      <a:pt x="32" y="6"/>
                    </a:lnTo>
                    <a:lnTo>
                      <a:pt x="36" y="6"/>
                    </a:lnTo>
                    <a:lnTo>
                      <a:pt x="36" y="4"/>
                    </a:lnTo>
                    <a:lnTo>
                      <a:pt x="36" y="4"/>
                    </a:lnTo>
                    <a:lnTo>
                      <a:pt x="36" y="4"/>
                    </a:lnTo>
                    <a:lnTo>
                      <a:pt x="36"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93" name="Freeform 344"/>
              <p:cNvSpPr>
                <a:spLocks/>
              </p:cNvSpPr>
              <p:nvPr/>
            </p:nvSpPr>
            <p:spPr bwMode="auto">
              <a:xfrm>
                <a:off x="2229" y="875"/>
                <a:ext cx="8" cy="8"/>
              </a:xfrm>
              <a:custGeom>
                <a:avLst/>
                <a:gdLst>
                  <a:gd name="T0" fmla="*/ 6 w 8"/>
                  <a:gd name="T1" fmla="*/ 0 h 8"/>
                  <a:gd name="T2" fmla="*/ 6 w 8"/>
                  <a:gd name="T3" fmla="*/ 0 h 8"/>
                  <a:gd name="T4" fmla="*/ 6 w 8"/>
                  <a:gd name="T5" fmla="*/ 0 h 8"/>
                  <a:gd name="T6" fmla="*/ 8 w 8"/>
                  <a:gd name="T7" fmla="*/ 0 h 8"/>
                  <a:gd name="T8" fmla="*/ 8 w 8"/>
                  <a:gd name="T9" fmla="*/ 2 h 8"/>
                  <a:gd name="T10" fmla="*/ 8 w 8"/>
                  <a:gd name="T11" fmla="*/ 4 h 8"/>
                  <a:gd name="T12" fmla="*/ 8 w 8"/>
                  <a:gd name="T13" fmla="*/ 4 h 8"/>
                  <a:gd name="T14" fmla="*/ 8 w 8"/>
                  <a:gd name="T15" fmla="*/ 6 h 8"/>
                  <a:gd name="T16" fmla="*/ 6 w 8"/>
                  <a:gd name="T17" fmla="*/ 8 h 8"/>
                  <a:gd name="T18" fmla="*/ 6 w 8"/>
                  <a:gd name="T19" fmla="*/ 6 h 8"/>
                  <a:gd name="T20" fmla="*/ 6 w 8"/>
                  <a:gd name="T21" fmla="*/ 8 h 8"/>
                  <a:gd name="T22" fmla="*/ 4 w 8"/>
                  <a:gd name="T23" fmla="*/ 8 h 8"/>
                  <a:gd name="T24" fmla="*/ 4 w 8"/>
                  <a:gd name="T25" fmla="*/ 8 h 8"/>
                  <a:gd name="T26" fmla="*/ 2 w 8"/>
                  <a:gd name="T27" fmla="*/ 8 h 8"/>
                  <a:gd name="T28" fmla="*/ 2 w 8"/>
                  <a:gd name="T29" fmla="*/ 6 h 8"/>
                  <a:gd name="T30" fmla="*/ 2 w 8"/>
                  <a:gd name="T31" fmla="*/ 6 h 8"/>
                  <a:gd name="T32" fmla="*/ 2 w 8"/>
                  <a:gd name="T33" fmla="*/ 8 h 8"/>
                  <a:gd name="T34" fmla="*/ 0 w 8"/>
                  <a:gd name="T35" fmla="*/ 6 h 8"/>
                  <a:gd name="T36" fmla="*/ 0 w 8"/>
                  <a:gd name="T37" fmla="*/ 6 h 8"/>
                  <a:gd name="T38" fmla="*/ 0 w 8"/>
                  <a:gd name="T39" fmla="*/ 6 h 8"/>
                  <a:gd name="T40" fmla="*/ 0 w 8"/>
                  <a:gd name="T41" fmla="*/ 4 h 8"/>
                  <a:gd name="T42" fmla="*/ 0 w 8"/>
                  <a:gd name="T43" fmla="*/ 2 h 8"/>
                  <a:gd name="T44" fmla="*/ 2 w 8"/>
                  <a:gd name="T45" fmla="*/ 2 h 8"/>
                  <a:gd name="T46" fmla="*/ 4 w 8"/>
                  <a:gd name="T47" fmla="*/ 2 h 8"/>
                  <a:gd name="T48" fmla="*/ 4 w 8"/>
                  <a:gd name="T49" fmla="*/ 0 h 8"/>
                  <a:gd name="T50" fmla="*/ 4 w 8"/>
                  <a:gd name="T51" fmla="*/ 0 h 8"/>
                  <a:gd name="T52" fmla="*/ 4 w 8"/>
                  <a:gd name="T53" fmla="*/ 0 h 8"/>
                  <a:gd name="T54" fmla="*/ 6 w 8"/>
                  <a:gd name="T55" fmla="*/ 0 h 8"/>
                  <a:gd name="T56" fmla="*/ 6 w 8"/>
                  <a:gd name="T5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 h="8">
                    <a:moveTo>
                      <a:pt x="6" y="0"/>
                    </a:moveTo>
                    <a:lnTo>
                      <a:pt x="6" y="0"/>
                    </a:lnTo>
                    <a:lnTo>
                      <a:pt x="6" y="0"/>
                    </a:lnTo>
                    <a:lnTo>
                      <a:pt x="8" y="0"/>
                    </a:lnTo>
                    <a:lnTo>
                      <a:pt x="8" y="2"/>
                    </a:lnTo>
                    <a:lnTo>
                      <a:pt x="8" y="4"/>
                    </a:lnTo>
                    <a:lnTo>
                      <a:pt x="8" y="4"/>
                    </a:lnTo>
                    <a:lnTo>
                      <a:pt x="8" y="6"/>
                    </a:lnTo>
                    <a:lnTo>
                      <a:pt x="6" y="8"/>
                    </a:lnTo>
                    <a:lnTo>
                      <a:pt x="6" y="6"/>
                    </a:lnTo>
                    <a:lnTo>
                      <a:pt x="6" y="8"/>
                    </a:lnTo>
                    <a:lnTo>
                      <a:pt x="4" y="8"/>
                    </a:lnTo>
                    <a:lnTo>
                      <a:pt x="4" y="8"/>
                    </a:lnTo>
                    <a:lnTo>
                      <a:pt x="2" y="8"/>
                    </a:lnTo>
                    <a:lnTo>
                      <a:pt x="2" y="6"/>
                    </a:lnTo>
                    <a:lnTo>
                      <a:pt x="2" y="6"/>
                    </a:lnTo>
                    <a:lnTo>
                      <a:pt x="2" y="8"/>
                    </a:lnTo>
                    <a:lnTo>
                      <a:pt x="0" y="6"/>
                    </a:lnTo>
                    <a:lnTo>
                      <a:pt x="0" y="6"/>
                    </a:lnTo>
                    <a:lnTo>
                      <a:pt x="0" y="6"/>
                    </a:lnTo>
                    <a:lnTo>
                      <a:pt x="0" y="4"/>
                    </a:lnTo>
                    <a:lnTo>
                      <a:pt x="0" y="2"/>
                    </a:lnTo>
                    <a:lnTo>
                      <a:pt x="2" y="2"/>
                    </a:lnTo>
                    <a:lnTo>
                      <a:pt x="4" y="2"/>
                    </a:lnTo>
                    <a:lnTo>
                      <a:pt x="4" y="0"/>
                    </a:lnTo>
                    <a:lnTo>
                      <a:pt x="4" y="0"/>
                    </a:lnTo>
                    <a:lnTo>
                      <a:pt x="4" y="0"/>
                    </a:lnTo>
                    <a:lnTo>
                      <a:pt x="6" y="0"/>
                    </a:lnTo>
                    <a:lnTo>
                      <a:pt x="6"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94" name="Freeform 345"/>
              <p:cNvSpPr>
                <a:spLocks/>
              </p:cNvSpPr>
              <p:nvPr/>
            </p:nvSpPr>
            <p:spPr bwMode="auto">
              <a:xfrm>
                <a:off x="2229" y="875"/>
                <a:ext cx="8" cy="8"/>
              </a:xfrm>
              <a:custGeom>
                <a:avLst/>
                <a:gdLst>
                  <a:gd name="T0" fmla="*/ 6 w 8"/>
                  <a:gd name="T1" fmla="*/ 0 h 8"/>
                  <a:gd name="T2" fmla="*/ 6 w 8"/>
                  <a:gd name="T3" fmla="*/ 0 h 8"/>
                  <a:gd name="T4" fmla="*/ 6 w 8"/>
                  <a:gd name="T5" fmla="*/ 0 h 8"/>
                  <a:gd name="T6" fmla="*/ 8 w 8"/>
                  <a:gd name="T7" fmla="*/ 0 h 8"/>
                  <a:gd name="T8" fmla="*/ 8 w 8"/>
                  <a:gd name="T9" fmla="*/ 2 h 8"/>
                  <a:gd name="T10" fmla="*/ 8 w 8"/>
                  <a:gd name="T11" fmla="*/ 4 h 8"/>
                  <a:gd name="T12" fmla="*/ 8 w 8"/>
                  <a:gd name="T13" fmla="*/ 4 h 8"/>
                  <a:gd name="T14" fmla="*/ 8 w 8"/>
                  <a:gd name="T15" fmla="*/ 6 h 8"/>
                  <a:gd name="T16" fmla="*/ 6 w 8"/>
                  <a:gd name="T17" fmla="*/ 8 h 8"/>
                  <a:gd name="T18" fmla="*/ 6 w 8"/>
                  <a:gd name="T19" fmla="*/ 6 h 8"/>
                  <a:gd name="T20" fmla="*/ 6 w 8"/>
                  <a:gd name="T21" fmla="*/ 8 h 8"/>
                  <a:gd name="T22" fmla="*/ 4 w 8"/>
                  <a:gd name="T23" fmla="*/ 8 h 8"/>
                  <a:gd name="T24" fmla="*/ 4 w 8"/>
                  <a:gd name="T25" fmla="*/ 8 h 8"/>
                  <a:gd name="T26" fmla="*/ 2 w 8"/>
                  <a:gd name="T27" fmla="*/ 8 h 8"/>
                  <a:gd name="T28" fmla="*/ 2 w 8"/>
                  <a:gd name="T29" fmla="*/ 6 h 8"/>
                  <a:gd name="T30" fmla="*/ 2 w 8"/>
                  <a:gd name="T31" fmla="*/ 6 h 8"/>
                  <a:gd name="T32" fmla="*/ 2 w 8"/>
                  <a:gd name="T33" fmla="*/ 8 h 8"/>
                  <a:gd name="T34" fmla="*/ 0 w 8"/>
                  <a:gd name="T35" fmla="*/ 6 h 8"/>
                  <a:gd name="T36" fmla="*/ 0 w 8"/>
                  <a:gd name="T37" fmla="*/ 6 h 8"/>
                  <a:gd name="T38" fmla="*/ 0 w 8"/>
                  <a:gd name="T39" fmla="*/ 6 h 8"/>
                  <a:gd name="T40" fmla="*/ 0 w 8"/>
                  <a:gd name="T41" fmla="*/ 4 h 8"/>
                  <a:gd name="T42" fmla="*/ 0 w 8"/>
                  <a:gd name="T43" fmla="*/ 2 h 8"/>
                  <a:gd name="T44" fmla="*/ 2 w 8"/>
                  <a:gd name="T45" fmla="*/ 2 h 8"/>
                  <a:gd name="T46" fmla="*/ 4 w 8"/>
                  <a:gd name="T47" fmla="*/ 2 h 8"/>
                  <a:gd name="T48" fmla="*/ 4 w 8"/>
                  <a:gd name="T49" fmla="*/ 0 h 8"/>
                  <a:gd name="T50" fmla="*/ 4 w 8"/>
                  <a:gd name="T51" fmla="*/ 0 h 8"/>
                  <a:gd name="T52" fmla="*/ 4 w 8"/>
                  <a:gd name="T53" fmla="*/ 0 h 8"/>
                  <a:gd name="T54" fmla="*/ 6 w 8"/>
                  <a:gd name="T55" fmla="*/ 0 h 8"/>
                  <a:gd name="T56" fmla="*/ 6 w 8"/>
                  <a:gd name="T5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 h="8">
                    <a:moveTo>
                      <a:pt x="6" y="0"/>
                    </a:moveTo>
                    <a:lnTo>
                      <a:pt x="6" y="0"/>
                    </a:lnTo>
                    <a:lnTo>
                      <a:pt x="6" y="0"/>
                    </a:lnTo>
                    <a:lnTo>
                      <a:pt x="8" y="0"/>
                    </a:lnTo>
                    <a:lnTo>
                      <a:pt x="8" y="2"/>
                    </a:lnTo>
                    <a:lnTo>
                      <a:pt x="8" y="4"/>
                    </a:lnTo>
                    <a:lnTo>
                      <a:pt x="8" y="4"/>
                    </a:lnTo>
                    <a:lnTo>
                      <a:pt x="8" y="6"/>
                    </a:lnTo>
                    <a:lnTo>
                      <a:pt x="6" y="8"/>
                    </a:lnTo>
                    <a:lnTo>
                      <a:pt x="6" y="6"/>
                    </a:lnTo>
                    <a:lnTo>
                      <a:pt x="6" y="8"/>
                    </a:lnTo>
                    <a:lnTo>
                      <a:pt x="4" y="8"/>
                    </a:lnTo>
                    <a:lnTo>
                      <a:pt x="4" y="8"/>
                    </a:lnTo>
                    <a:lnTo>
                      <a:pt x="2" y="8"/>
                    </a:lnTo>
                    <a:lnTo>
                      <a:pt x="2" y="6"/>
                    </a:lnTo>
                    <a:lnTo>
                      <a:pt x="2" y="6"/>
                    </a:lnTo>
                    <a:lnTo>
                      <a:pt x="2" y="8"/>
                    </a:lnTo>
                    <a:lnTo>
                      <a:pt x="0" y="6"/>
                    </a:lnTo>
                    <a:lnTo>
                      <a:pt x="0" y="6"/>
                    </a:lnTo>
                    <a:lnTo>
                      <a:pt x="0" y="6"/>
                    </a:lnTo>
                    <a:lnTo>
                      <a:pt x="0" y="4"/>
                    </a:lnTo>
                    <a:lnTo>
                      <a:pt x="0" y="2"/>
                    </a:lnTo>
                    <a:lnTo>
                      <a:pt x="2" y="2"/>
                    </a:lnTo>
                    <a:lnTo>
                      <a:pt x="4" y="2"/>
                    </a:lnTo>
                    <a:lnTo>
                      <a:pt x="4" y="0"/>
                    </a:lnTo>
                    <a:lnTo>
                      <a:pt x="4" y="0"/>
                    </a:lnTo>
                    <a:lnTo>
                      <a:pt x="4" y="0"/>
                    </a:lnTo>
                    <a:lnTo>
                      <a:pt x="6" y="0"/>
                    </a:lnTo>
                    <a:lnTo>
                      <a:pt x="6"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95" name="Freeform 346"/>
              <p:cNvSpPr>
                <a:spLocks/>
              </p:cNvSpPr>
              <p:nvPr/>
            </p:nvSpPr>
            <p:spPr bwMode="auto">
              <a:xfrm>
                <a:off x="2247" y="883"/>
                <a:ext cx="12" cy="10"/>
              </a:xfrm>
              <a:custGeom>
                <a:avLst/>
                <a:gdLst>
                  <a:gd name="T0" fmla="*/ 10 w 12"/>
                  <a:gd name="T1" fmla="*/ 2 h 10"/>
                  <a:gd name="T2" fmla="*/ 10 w 12"/>
                  <a:gd name="T3" fmla="*/ 0 h 10"/>
                  <a:gd name="T4" fmla="*/ 10 w 12"/>
                  <a:gd name="T5" fmla="*/ 2 h 10"/>
                  <a:gd name="T6" fmla="*/ 10 w 12"/>
                  <a:gd name="T7" fmla="*/ 2 h 10"/>
                  <a:gd name="T8" fmla="*/ 8 w 12"/>
                  <a:gd name="T9" fmla="*/ 2 h 10"/>
                  <a:gd name="T10" fmla="*/ 8 w 12"/>
                  <a:gd name="T11" fmla="*/ 2 h 10"/>
                  <a:gd name="T12" fmla="*/ 4 w 12"/>
                  <a:gd name="T13" fmla="*/ 0 h 10"/>
                  <a:gd name="T14" fmla="*/ 4 w 12"/>
                  <a:gd name="T15" fmla="*/ 2 h 10"/>
                  <a:gd name="T16" fmla="*/ 4 w 12"/>
                  <a:gd name="T17" fmla="*/ 2 h 10"/>
                  <a:gd name="T18" fmla="*/ 4 w 12"/>
                  <a:gd name="T19" fmla="*/ 2 h 10"/>
                  <a:gd name="T20" fmla="*/ 4 w 12"/>
                  <a:gd name="T21" fmla="*/ 4 h 10"/>
                  <a:gd name="T22" fmla="*/ 2 w 12"/>
                  <a:gd name="T23" fmla="*/ 4 h 10"/>
                  <a:gd name="T24" fmla="*/ 2 w 12"/>
                  <a:gd name="T25" fmla="*/ 6 h 10"/>
                  <a:gd name="T26" fmla="*/ 0 w 12"/>
                  <a:gd name="T27" fmla="*/ 8 h 10"/>
                  <a:gd name="T28" fmla="*/ 0 w 12"/>
                  <a:gd name="T29" fmla="*/ 8 h 10"/>
                  <a:gd name="T30" fmla="*/ 2 w 12"/>
                  <a:gd name="T31" fmla="*/ 8 h 10"/>
                  <a:gd name="T32" fmla="*/ 2 w 12"/>
                  <a:gd name="T33" fmla="*/ 8 h 10"/>
                  <a:gd name="T34" fmla="*/ 4 w 12"/>
                  <a:gd name="T35" fmla="*/ 8 h 10"/>
                  <a:gd name="T36" fmla="*/ 4 w 12"/>
                  <a:gd name="T37" fmla="*/ 10 h 10"/>
                  <a:gd name="T38" fmla="*/ 4 w 12"/>
                  <a:gd name="T39" fmla="*/ 10 h 10"/>
                  <a:gd name="T40" fmla="*/ 6 w 12"/>
                  <a:gd name="T41" fmla="*/ 10 h 10"/>
                  <a:gd name="T42" fmla="*/ 6 w 12"/>
                  <a:gd name="T43" fmla="*/ 10 h 10"/>
                  <a:gd name="T44" fmla="*/ 8 w 12"/>
                  <a:gd name="T45" fmla="*/ 10 h 10"/>
                  <a:gd name="T46" fmla="*/ 8 w 12"/>
                  <a:gd name="T47" fmla="*/ 10 h 10"/>
                  <a:gd name="T48" fmla="*/ 8 w 12"/>
                  <a:gd name="T49" fmla="*/ 8 h 10"/>
                  <a:gd name="T50" fmla="*/ 8 w 12"/>
                  <a:gd name="T51" fmla="*/ 8 h 10"/>
                  <a:gd name="T52" fmla="*/ 8 w 12"/>
                  <a:gd name="T53" fmla="*/ 8 h 10"/>
                  <a:gd name="T54" fmla="*/ 8 w 12"/>
                  <a:gd name="T55" fmla="*/ 8 h 10"/>
                  <a:gd name="T56" fmla="*/ 10 w 12"/>
                  <a:gd name="T57" fmla="*/ 6 h 10"/>
                  <a:gd name="T58" fmla="*/ 10 w 12"/>
                  <a:gd name="T59" fmla="*/ 6 h 10"/>
                  <a:gd name="T60" fmla="*/ 12 w 12"/>
                  <a:gd name="T61" fmla="*/ 6 h 10"/>
                  <a:gd name="T62" fmla="*/ 12 w 12"/>
                  <a:gd name="T63" fmla="*/ 4 h 10"/>
                  <a:gd name="T64" fmla="*/ 12 w 12"/>
                  <a:gd name="T65" fmla="*/ 4 h 10"/>
                  <a:gd name="T66" fmla="*/ 12 w 12"/>
                  <a:gd name="T67" fmla="*/ 4 h 10"/>
                  <a:gd name="T68" fmla="*/ 12 w 12"/>
                  <a:gd name="T69" fmla="*/ 2 h 10"/>
                  <a:gd name="T70" fmla="*/ 12 w 12"/>
                  <a:gd name="T71" fmla="*/ 0 h 10"/>
                  <a:gd name="T72" fmla="*/ 10 w 12"/>
                  <a:gd name="T7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10">
                    <a:moveTo>
                      <a:pt x="10" y="2"/>
                    </a:moveTo>
                    <a:lnTo>
                      <a:pt x="10" y="0"/>
                    </a:lnTo>
                    <a:lnTo>
                      <a:pt x="10" y="2"/>
                    </a:lnTo>
                    <a:lnTo>
                      <a:pt x="10" y="2"/>
                    </a:lnTo>
                    <a:lnTo>
                      <a:pt x="8" y="2"/>
                    </a:lnTo>
                    <a:lnTo>
                      <a:pt x="8" y="2"/>
                    </a:lnTo>
                    <a:lnTo>
                      <a:pt x="4" y="0"/>
                    </a:lnTo>
                    <a:lnTo>
                      <a:pt x="4" y="2"/>
                    </a:lnTo>
                    <a:lnTo>
                      <a:pt x="4" y="2"/>
                    </a:lnTo>
                    <a:lnTo>
                      <a:pt x="4" y="2"/>
                    </a:lnTo>
                    <a:lnTo>
                      <a:pt x="4" y="4"/>
                    </a:lnTo>
                    <a:lnTo>
                      <a:pt x="2" y="4"/>
                    </a:lnTo>
                    <a:lnTo>
                      <a:pt x="2" y="6"/>
                    </a:lnTo>
                    <a:lnTo>
                      <a:pt x="0" y="8"/>
                    </a:lnTo>
                    <a:lnTo>
                      <a:pt x="0" y="8"/>
                    </a:lnTo>
                    <a:lnTo>
                      <a:pt x="2" y="8"/>
                    </a:lnTo>
                    <a:lnTo>
                      <a:pt x="2" y="8"/>
                    </a:lnTo>
                    <a:lnTo>
                      <a:pt x="4" y="8"/>
                    </a:lnTo>
                    <a:lnTo>
                      <a:pt x="4" y="10"/>
                    </a:lnTo>
                    <a:lnTo>
                      <a:pt x="4" y="10"/>
                    </a:lnTo>
                    <a:lnTo>
                      <a:pt x="6" y="10"/>
                    </a:lnTo>
                    <a:lnTo>
                      <a:pt x="6" y="10"/>
                    </a:lnTo>
                    <a:lnTo>
                      <a:pt x="8" y="10"/>
                    </a:lnTo>
                    <a:lnTo>
                      <a:pt x="8" y="10"/>
                    </a:lnTo>
                    <a:lnTo>
                      <a:pt x="8" y="8"/>
                    </a:lnTo>
                    <a:lnTo>
                      <a:pt x="8" y="8"/>
                    </a:lnTo>
                    <a:lnTo>
                      <a:pt x="8" y="8"/>
                    </a:lnTo>
                    <a:lnTo>
                      <a:pt x="8" y="8"/>
                    </a:lnTo>
                    <a:lnTo>
                      <a:pt x="10" y="6"/>
                    </a:lnTo>
                    <a:lnTo>
                      <a:pt x="10" y="6"/>
                    </a:lnTo>
                    <a:lnTo>
                      <a:pt x="12" y="6"/>
                    </a:lnTo>
                    <a:lnTo>
                      <a:pt x="12" y="4"/>
                    </a:lnTo>
                    <a:lnTo>
                      <a:pt x="12" y="4"/>
                    </a:lnTo>
                    <a:lnTo>
                      <a:pt x="12" y="4"/>
                    </a:lnTo>
                    <a:lnTo>
                      <a:pt x="12" y="2"/>
                    </a:lnTo>
                    <a:lnTo>
                      <a:pt x="12" y="0"/>
                    </a:lnTo>
                    <a:lnTo>
                      <a:pt x="10"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96" name="Freeform 347"/>
              <p:cNvSpPr>
                <a:spLocks/>
              </p:cNvSpPr>
              <p:nvPr/>
            </p:nvSpPr>
            <p:spPr bwMode="auto">
              <a:xfrm>
                <a:off x="2247" y="883"/>
                <a:ext cx="12" cy="10"/>
              </a:xfrm>
              <a:custGeom>
                <a:avLst/>
                <a:gdLst>
                  <a:gd name="T0" fmla="*/ 10 w 12"/>
                  <a:gd name="T1" fmla="*/ 2 h 10"/>
                  <a:gd name="T2" fmla="*/ 10 w 12"/>
                  <a:gd name="T3" fmla="*/ 0 h 10"/>
                  <a:gd name="T4" fmla="*/ 10 w 12"/>
                  <a:gd name="T5" fmla="*/ 2 h 10"/>
                  <a:gd name="T6" fmla="*/ 10 w 12"/>
                  <a:gd name="T7" fmla="*/ 2 h 10"/>
                  <a:gd name="T8" fmla="*/ 8 w 12"/>
                  <a:gd name="T9" fmla="*/ 2 h 10"/>
                  <a:gd name="T10" fmla="*/ 8 w 12"/>
                  <a:gd name="T11" fmla="*/ 2 h 10"/>
                  <a:gd name="T12" fmla="*/ 4 w 12"/>
                  <a:gd name="T13" fmla="*/ 0 h 10"/>
                  <a:gd name="T14" fmla="*/ 4 w 12"/>
                  <a:gd name="T15" fmla="*/ 2 h 10"/>
                  <a:gd name="T16" fmla="*/ 4 w 12"/>
                  <a:gd name="T17" fmla="*/ 2 h 10"/>
                  <a:gd name="T18" fmla="*/ 4 w 12"/>
                  <a:gd name="T19" fmla="*/ 2 h 10"/>
                  <a:gd name="T20" fmla="*/ 4 w 12"/>
                  <a:gd name="T21" fmla="*/ 4 h 10"/>
                  <a:gd name="T22" fmla="*/ 2 w 12"/>
                  <a:gd name="T23" fmla="*/ 4 h 10"/>
                  <a:gd name="T24" fmla="*/ 2 w 12"/>
                  <a:gd name="T25" fmla="*/ 6 h 10"/>
                  <a:gd name="T26" fmla="*/ 0 w 12"/>
                  <a:gd name="T27" fmla="*/ 8 h 10"/>
                  <a:gd name="T28" fmla="*/ 0 w 12"/>
                  <a:gd name="T29" fmla="*/ 8 h 10"/>
                  <a:gd name="T30" fmla="*/ 2 w 12"/>
                  <a:gd name="T31" fmla="*/ 8 h 10"/>
                  <a:gd name="T32" fmla="*/ 2 w 12"/>
                  <a:gd name="T33" fmla="*/ 8 h 10"/>
                  <a:gd name="T34" fmla="*/ 4 w 12"/>
                  <a:gd name="T35" fmla="*/ 8 h 10"/>
                  <a:gd name="T36" fmla="*/ 4 w 12"/>
                  <a:gd name="T37" fmla="*/ 10 h 10"/>
                  <a:gd name="T38" fmla="*/ 4 w 12"/>
                  <a:gd name="T39" fmla="*/ 10 h 10"/>
                  <a:gd name="T40" fmla="*/ 6 w 12"/>
                  <a:gd name="T41" fmla="*/ 10 h 10"/>
                  <a:gd name="T42" fmla="*/ 6 w 12"/>
                  <a:gd name="T43" fmla="*/ 10 h 10"/>
                  <a:gd name="T44" fmla="*/ 8 w 12"/>
                  <a:gd name="T45" fmla="*/ 10 h 10"/>
                  <a:gd name="T46" fmla="*/ 8 w 12"/>
                  <a:gd name="T47" fmla="*/ 10 h 10"/>
                  <a:gd name="T48" fmla="*/ 8 w 12"/>
                  <a:gd name="T49" fmla="*/ 8 h 10"/>
                  <a:gd name="T50" fmla="*/ 8 w 12"/>
                  <a:gd name="T51" fmla="*/ 8 h 10"/>
                  <a:gd name="T52" fmla="*/ 8 w 12"/>
                  <a:gd name="T53" fmla="*/ 8 h 10"/>
                  <a:gd name="T54" fmla="*/ 8 w 12"/>
                  <a:gd name="T55" fmla="*/ 8 h 10"/>
                  <a:gd name="T56" fmla="*/ 10 w 12"/>
                  <a:gd name="T57" fmla="*/ 6 h 10"/>
                  <a:gd name="T58" fmla="*/ 10 w 12"/>
                  <a:gd name="T59" fmla="*/ 6 h 10"/>
                  <a:gd name="T60" fmla="*/ 12 w 12"/>
                  <a:gd name="T61" fmla="*/ 6 h 10"/>
                  <a:gd name="T62" fmla="*/ 12 w 12"/>
                  <a:gd name="T63" fmla="*/ 4 h 10"/>
                  <a:gd name="T64" fmla="*/ 12 w 12"/>
                  <a:gd name="T65" fmla="*/ 4 h 10"/>
                  <a:gd name="T66" fmla="*/ 12 w 12"/>
                  <a:gd name="T67" fmla="*/ 4 h 10"/>
                  <a:gd name="T68" fmla="*/ 12 w 12"/>
                  <a:gd name="T69" fmla="*/ 2 h 10"/>
                  <a:gd name="T70" fmla="*/ 12 w 12"/>
                  <a:gd name="T71" fmla="*/ 0 h 10"/>
                  <a:gd name="T72" fmla="*/ 10 w 12"/>
                  <a:gd name="T7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10">
                    <a:moveTo>
                      <a:pt x="10" y="2"/>
                    </a:moveTo>
                    <a:lnTo>
                      <a:pt x="10" y="0"/>
                    </a:lnTo>
                    <a:lnTo>
                      <a:pt x="10" y="2"/>
                    </a:lnTo>
                    <a:lnTo>
                      <a:pt x="10" y="2"/>
                    </a:lnTo>
                    <a:lnTo>
                      <a:pt x="8" y="2"/>
                    </a:lnTo>
                    <a:lnTo>
                      <a:pt x="8" y="2"/>
                    </a:lnTo>
                    <a:lnTo>
                      <a:pt x="4" y="0"/>
                    </a:lnTo>
                    <a:lnTo>
                      <a:pt x="4" y="2"/>
                    </a:lnTo>
                    <a:lnTo>
                      <a:pt x="4" y="2"/>
                    </a:lnTo>
                    <a:lnTo>
                      <a:pt x="4" y="2"/>
                    </a:lnTo>
                    <a:lnTo>
                      <a:pt x="4" y="4"/>
                    </a:lnTo>
                    <a:lnTo>
                      <a:pt x="2" y="4"/>
                    </a:lnTo>
                    <a:lnTo>
                      <a:pt x="2" y="6"/>
                    </a:lnTo>
                    <a:lnTo>
                      <a:pt x="0" y="8"/>
                    </a:lnTo>
                    <a:lnTo>
                      <a:pt x="0" y="8"/>
                    </a:lnTo>
                    <a:lnTo>
                      <a:pt x="2" y="8"/>
                    </a:lnTo>
                    <a:lnTo>
                      <a:pt x="2" y="8"/>
                    </a:lnTo>
                    <a:lnTo>
                      <a:pt x="4" y="8"/>
                    </a:lnTo>
                    <a:lnTo>
                      <a:pt x="4" y="10"/>
                    </a:lnTo>
                    <a:lnTo>
                      <a:pt x="4" y="10"/>
                    </a:lnTo>
                    <a:lnTo>
                      <a:pt x="6" y="10"/>
                    </a:lnTo>
                    <a:lnTo>
                      <a:pt x="6" y="10"/>
                    </a:lnTo>
                    <a:lnTo>
                      <a:pt x="8" y="10"/>
                    </a:lnTo>
                    <a:lnTo>
                      <a:pt x="8" y="10"/>
                    </a:lnTo>
                    <a:lnTo>
                      <a:pt x="8" y="8"/>
                    </a:lnTo>
                    <a:lnTo>
                      <a:pt x="8" y="8"/>
                    </a:lnTo>
                    <a:lnTo>
                      <a:pt x="8" y="8"/>
                    </a:lnTo>
                    <a:lnTo>
                      <a:pt x="8" y="8"/>
                    </a:lnTo>
                    <a:lnTo>
                      <a:pt x="10" y="6"/>
                    </a:lnTo>
                    <a:lnTo>
                      <a:pt x="10" y="6"/>
                    </a:lnTo>
                    <a:lnTo>
                      <a:pt x="12" y="6"/>
                    </a:lnTo>
                    <a:lnTo>
                      <a:pt x="12" y="4"/>
                    </a:lnTo>
                    <a:lnTo>
                      <a:pt x="12" y="4"/>
                    </a:lnTo>
                    <a:lnTo>
                      <a:pt x="12" y="4"/>
                    </a:lnTo>
                    <a:lnTo>
                      <a:pt x="12" y="2"/>
                    </a:lnTo>
                    <a:lnTo>
                      <a:pt x="12" y="0"/>
                    </a:lnTo>
                    <a:lnTo>
                      <a:pt x="10"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97" name="Freeform 348"/>
              <p:cNvSpPr>
                <a:spLocks/>
              </p:cNvSpPr>
              <p:nvPr/>
            </p:nvSpPr>
            <p:spPr bwMode="auto">
              <a:xfrm>
                <a:off x="2257" y="881"/>
                <a:ext cx="16" cy="14"/>
              </a:xfrm>
              <a:custGeom>
                <a:avLst/>
                <a:gdLst>
                  <a:gd name="T0" fmla="*/ 10 w 16"/>
                  <a:gd name="T1" fmla="*/ 2 h 14"/>
                  <a:gd name="T2" fmla="*/ 10 w 16"/>
                  <a:gd name="T3" fmla="*/ 2 h 14"/>
                  <a:gd name="T4" fmla="*/ 10 w 16"/>
                  <a:gd name="T5" fmla="*/ 2 h 14"/>
                  <a:gd name="T6" fmla="*/ 8 w 16"/>
                  <a:gd name="T7" fmla="*/ 2 h 14"/>
                  <a:gd name="T8" fmla="*/ 6 w 16"/>
                  <a:gd name="T9" fmla="*/ 2 h 14"/>
                  <a:gd name="T10" fmla="*/ 6 w 16"/>
                  <a:gd name="T11" fmla="*/ 0 h 14"/>
                  <a:gd name="T12" fmla="*/ 4 w 16"/>
                  <a:gd name="T13" fmla="*/ 0 h 14"/>
                  <a:gd name="T14" fmla="*/ 4 w 16"/>
                  <a:gd name="T15" fmla="*/ 0 h 14"/>
                  <a:gd name="T16" fmla="*/ 4 w 16"/>
                  <a:gd name="T17" fmla="*/ 2 h 14"/>
                  <a:gd name="T18" fmla="*/ 4 w 16"/>
                  <a:gd name="T19" fmla="*/ 2 h 14"/>
                  <a:gd name="T20" fmla="*/ 4 w 16"/>
                  <a:gd name="T21" fmla="*/ 4 h 14"/>
                  <a:gd name="T22" fmla="*/ 4 w 16"/>
                  <a:gd name="T23" fmla="*/ 6 h 14"/>
                  <a:gd name="T24" fmla="*/ 4 w 16"/>
                  <a:gd name="T25" fmla="*/ 6 h 14"/>
                  <a:gd name="T26" fmla="*/ 2 w 16"/>
                  <a:gd name="T27" fmla="*/ 8 h 14"/>
                  <a:gd name="T28" fmla="*/ 2 w 16"/>
                  <a:gd name="T29" fmla="*/ 8 h 14"/>
                  <a:gd name="T30" fmla="*/ 2 w 16"/>
                  <a:gd name="T31" fmla="*/ 8 h 14"/>
                  <a:gd name="T32" fmla="*/ 2 w 16"/>
                  <a:gd name="T33" fmla="*/ 8 h 14"/>
                  <a:gd name="T34" fmla="*/ 2 w 16"/>
                  <a:gd name="T35" fmla="*/ 8 h 14"/>
                  <a:gd name="T36" fmla="*/ 0 w 16"/>
                  <a:gd name="T37" fmla="*/ 10 h 14"/>
                  <a:gd name="T38" fmla="*/ 2 w 16"/>
                  <a:gd name="T39" fmla="*/ 12 h 14"/>
                  <a:gd name="T40" fmla="*/ 2 w 16"/>
                  <a:gd name="T41" fmla="*/ 14 h 14"/>
                  <a:gd name="T42" fmla="*/ 4 w 16"/>
                  <a:gd name="T43" fmla="*/ 14 h 14"/>
                  <a:gd name="T44" fmla="*/ 4 w 16"/>
                  <a:gd name="T45" fmla="*/ 14 h 14"/>
                  <a:gd name="T46" fmla="*/ 4 w 16"/>
                  <a:gd name="T47" fmla="*/ 12 h 14"/>
                  <a:gd name="T48" fmla="*/ 4 w 16"/>
                  <a:gd name="T49" fmla="*/ 12 h 14"/>
                  <a:gd name="T50" fmla="*/ 4 w 16"/>
                  <a:gd name="T51" fmla="*/ 10 h 14"/>
                  <a:gd name="T52" fmla="*/ 6 w 16"/>
                  <a:gd name="T53" fmla="*/ 10 h 14"/>
                  <a:gd name="T54" fmla="*/ 10 w 16"/>
                  <a:gd name="T55" fmla="*/ 8 h 14"/>
                  <a:gd name="T56" fmla="*/ 14 w 16"/>
                  <a:gd name="T57" fmla="*/ 8 h 14"/>
                  <a:gd name="T58" fmla="*/ 14 w 16"/>
                  <a:gd name="T59" fmla="*/ 10 h 14"/>
                  <a:gd name="T60" fmla="*/ 14 w 16"/>
                  <a:gd name="T61" fmla="*/ 10 h 14"/>
                  <a:gd name="T62" fmla="*/ 16 w 16"/>
                  <a:gd name="T63" fmla="*/ 8 h 14"/>
                  <a:gd name="T64" fmla="*/ 16 w 16"/>
                  <a:gd name="T65" fmla="*/ 8 h 14"/>
                  <a:gd name="T66" fmla="*/ 12 w 16"/>
                  <a:gd name="T67" fmla="*/ 4 h 14"/>
                  <a:gd name="T68" fmla="*/ 12 w 16"/>
                  <a:gd name="T69" fmla="*/ 4 h 14"/>
                  <a:gd name="T70" fmla="*/ 10 w 16"/>
                  <a:gd name="T71"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14">
                    <a:moveTo>
                      <a:pt x="10" y="2"/>
                    </a:moveTo>
                    <a:lnTo>
                      <a:pt x="10" y="2"/>
                    </a:lnTo>
                    <a:lnTo>
                      <a:pt x="10" y="2"/>
                    </a:lnTo>
                    <a:lnTo>
                      <a:pt x="8" y="2"/>
                    </a:lnTo>
                    <a:lnTo>
                      <a:pt x="6" y="2"/>
                    </a:lnTo>
                    <a:lnTo>
                      <a:pt x="6" y="0"/>
                    </a:lnTo>
                    <a:lnTo>
                      <a:pt x="4" y="0"/>
                    </a:lnTo>
                    <a:lnTo>
                      <a:pt x="4" y="0"/>
                    </a:lnTo>
                    <a:lnTo>
                      <a:pt x="4" y="2"/>
                    </a:lnTo>
                    <a:lnTo>
                      <a:pt x="4" y="2"/>
                    </a:lnTo>
                    <a:lnTo>
                      <a:pt x="4" y="4"/>
                    </a:lnTo>
                    <a:lnTo>
                      <a:pt x="4" y="6"/>
                    </a:lnTo>
                    <a:lnTo>
                      <a:pt x="4" y="6"/>
                    </a:lnTo>
                    <a:lnTo>
                      <a:pt x="2" y="8"/>
                    </a:lnTo>
                    <a:lnTo>
                      <a:pt x="2" y="8"/>
                    </a:lnTo>
                    <a:lnTo>
                      <a:pt x="2" y="8"/>
                    </a:lnTo>
                    <a:lnTo>
                      <a:pt x="2" y="8"/>
                    </a:lnTo>
                    <a:lnTo>
                      <a:pt x="2" y="8"/>
                    </a:lnTo>
                    <a:lnTo>
                      <a:pt x="0" y="10"/>
                    </a:lnTo>
                    <a:lnTo>
                      <a:pt x="2" y="12"/>
                    </a:lnTo>
                    <a:lnTo>
                      <a:pt x="2" y="14"/>
                    </a:lnTo>
                    <a:lnTo>
                      <a:pt x="4" y="14"/>
                    </a:lnTo>
                    <a:lnTo>
                      <a:pt x="4" y="14"/>
                    </a:lnTo>
                    <a:lnTo>
                      <a:pt x="4" y="12"/>
                    </a:lnTo>
                    <a:lnTo>
                      <a:pt x="4" y="12"/>
                    </a:lnTo>
                    <a:lnTo>
                      <a:pt x="4" y="10"/>
                    </a:lnTo>
                    <a:lnTo>
                      <a:pt x="6" y="10"/>
                    </a:lnTo>
                    <a:lnTo>
                      <a:pt x="10" y="8"/>
                    </a:lnTo>
                    <a:lnTo>
                      <a:pt x="14" y="8"/>
                    </a:lnTo>
                    <a:lnTo>
                      <a:pt x="14" y="10"/>
                    </a:lnTo>
                    <a:lnTo>
                      <a:pt x="14" y="10"/>
                    </a:lnTo>
                    <a:lnTo>
                      <a:pt x="16" y="8"/>
                    </a:lnTo>
                    <a:lnTo>
                      <a:pt x="16" y="8"/>
                    </a:lnTo>
                    <a:lnTo>
                      <a:pt x="12" y="4"/>
                    </a:lnTo>
                    <a:lnTo>
                      <a:pt x="12" y="4"/>
                    </a:lnTo>
                    <a:lnTo>
                      <a:pt x="10"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798" name="Freeform 349"/>
              <p:cNvSpPr>
                <a:spLocks/>
              </p:cNvSpPr>
              <p:nvPr/>
            </p:nvSpPr>
            <p:spPr bwMode="auto">
              <a:xfrm>
                <a:off x="2257" y="881"/>
                <a:ext cx="16" cy="14"/>
              </a:xfrm>
              <a:custGeom>
                <a:avLst/>
                <a:gdLst>
                  <a:gd name="T0" fmla="*/ 10 w 16"/>
                  <a:gd name="T1" fmla="*/ 2 h 14"/>
                  <a:gd name="T2" fmla="*/ 10 w 16"/>
                  <a:gd name="T3" fmla="*/ 2 h 14"/>
                  <a:gd name="T4" fmla="*/ 10 w 16"/>
                  <a:gd name="T5" fmla="*/ 2 h 14"/>
                  <a:gd name="T6" fmla="*/ 8 w 16"/>
                  <a:gd name="T7" fmla="*/ 2 h 14"/>
                  <a:gd name="T8" fmla="*/ 6 w 16"/>
                  <a:gd name="T9" fmla="*/ 2 h 14"/>
                  <a:gd name="T10" fmla="*/ 6 w 16"/>
                  <a:gd name="T11" fmla="*/ 0 h 14"/>
                  <a:gd name="T12" fmla="*/ 4 w 16"/>
                  <a:gd name="T13" fmla="*/ 0 h 14"/>
                  <a:gd name="T14" fmla="*/ 4 w 16"/>
                  <a:gd name="T15" fmla="*/ 0 h 14"/>
                  <a:gd name="T16" fmla="*/ 4 w 16"/>
                  <a:gd name="T17" fmla="*/ 2 h 14"/>
                  <a:gd name="T18" fmla="*/ 4 w 16"/>
                  <a:gd name="T19" fmla="*/ 2 h 14"/>
                  <a:gd name="T20" fmla="*/ 4 w 16"/>
                  <a:gd name="T21" fmla="*/ 4 h 14"/>
                  <a:gd name="T22" fmla="*/ 4 w 16"/>
                  <a:gd name="T23" fmla="*/ 6 h 14"/>
                  <a:gd name="T24" fmla="*/ 4 w 16"/>
                  <a:gd name="T25" fmla="*/ 6 h 14"/>
                  <a:gd name="T26" fmla="*/ 2 w 16"/>
                  <a:gd name="T27" fmla="*/ 8 h 14"/>
                  <a:gd name="T28" fmla="*/ 2 w 16"/>
                  <a:gd name="T29" fmla="*/ 8 h 14"/>
                  <a:gd name="T30" fmla="*/ 2 w 16"/>
                  <a:gd name="T31" fmla="*/ 8 h 14"/>
                  <a:gd name="T32" fmla="*/ 2 w 16"/>
                  <a:gd name="T33" fmla="*/ 8 h 14"/>
                  <a:gd name="T34" fmla="*/ 2 w 16"/>
                  <a:gd name="T35" fmla="*/ 8 h 14"/>
                  <a:gd name="T36" fmla="*/ 0 w 16"/>
                  <a:gd name="T37" fmla="*/ 10 h 14"/>
                  <a:gd name="T38" fmla="*/ 2 w 16"/>
                  <a:gd name="T39" fmla="*/ 12 h 14"/>
                  <a:gd name="T40" fmla="*/ 2 w 16"/>
                  <a:gd name="T41" fmla="*/ 14 h 14"/>
                  <a:gd name="T42" fmla="*/ 4 w 16"/>
                  <a:gd name="T43" fmla="*/ 14 h 14"/>
                  <a:gd name="T44" fmla="*/ 4 w 16"/>
                  <a:gd name="T45" fmla="*/ 14 h 14"/>
                  <a:gd name="T46" fmla="*/ 4 w 16"/>
                  <a:gd name="T47" fmla="*/ 12 h 14"/>
                  <a:gd name="T48" fmla="*/ 4 w 16"/>
                  <a:gd name="T49" fmla="*/ 12 h 14"/>
                  <a:gd name="T50" fmla="*/ 4 w 16"/>
                  <a:gd name="T51" fmla="*/ 10 h 14"/>
                  <a:gd name="T52" fmla="*/ 6 w 16"/>
                  <a:gd name="T53" fmla="*/ 10 h 14"/>
                  <a:gd name="T54" fmla="*/ 10 w 16"/>
                  <a:gd name="T55" fmla="*/ 8 h 14"/>
                  <a:gd name="T56" fmla="*/ 14 w 16"/>
                  <a:gd name="T57" fmla="*/ 8 h 14"/>
                  <a:gd name="T58" fmla="*/ 14 w 16"/>
                  <a:gd name="T59" fmla="*/ 10 h 14"/>
                  <a:gd name="T60" fmla="*/ 14 w 16"/>
                  <a:gd name="T61" fmla="*/ 10 h 14"/>
                  <a:gd name="T62" fmla="*/ 16 w 16"/>
                  <a:gd name="T63" fmla="*/ 8 h 14"/>
                  <a:gd name="T64" fmla="*/ 16 w 16"/>
                  <a:gd name="T65" fmla="*/ 8 h 14"/>
                  <a:gd name="T66" fmla="*/ 12 w 16"/>
                  <a:gd name="T67" fmla="*/ 4 h 14"/>
                  <a:gd name="T68" fmla="*/ 12 w 16"/>
                  <a:gd name="T69" fmla="*/ 4 h 14"/>
                  <a:gd name="T70" fmla="*/ 10 w 16"/>
                  <a:gd name="T71"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14">
                    <a:moveTo>
                      <a:pt x="10" y="2"/>
                    </a:moveTo>
                    <a:lnTo>
                      <a:pt x="10" y="2"/>
                    </a:lnTo>
                    <a:lnTo>
                      <a:pt x="10" y="2"/>
                    </a:lnTo>
                    <a:lnTo>
                      <a:pt x="8" y="2"/>
                    </a:lnTo>
                    <a:lnTo>
                      <a:pt x="6" y="2"/>
                    </a:lnTo>
                    <a:lnTo>
                      <a:pt x="6" y="0"/>
                    </a:lnTo>
                    <a:lnTo>
                      <a:pt x="4" y="0"/>
                    </a:lnTo>
                    <a:lnTo>
                      <a:pt x="4" y="0"/>
                    </a:lnTo>
                    <a:lnTo>
                      <a:pt x="4" y="2"/>
                    </a:lnTo>
                    <a:lnTo>
                      <a:pt x="4" y="2"/>
                    </a:lnTo>
                    <a:lnTo>
                      <a:pt x="4" y="4"/>
                    </a:lnTo>
                    <a:lnTo>
                      <a:pt x="4" y="6"/>
                    </a:lnTo>
                    <a:lnTo>
                      <a:pt x="4" y="6"/>
                    </a:lnTo>
                    <a:lnTo>
                      <a:pt x="2" y="8"/>
                    </a:lnTo>
                    <a:lnTo>
                      <a:pt x="2" y="8"/>
                    </a:lnTo>
                    <a:lnTo>
                      <a:pt x="2" y="8"/>
                    </a:lnTo>
                    <a:lnTo>
                      <a:pt x="2" y="8"/>
                    </a:lnTo>
                    <a:lnTo>
                      <a:pt x="2" y="8"/>
                    </a:lnTo>
                    <a:lnTo>
                      <a:pt x="0" y="10"/>
                    </a:lnTo>
                    <a:lnTo>
                      <a:pt x="2" y="12"/>
                    </a:lnTo>
                    <a:lnTo>
                      <a:pt x="2" y="14"/>
                    </a:lnTo>
                    <a:lnTo>
                      <a:pt x="4" y="14"/>
                    </a:lnTo>
                    <a:lnTo>
                      <a:pt x="4" y="14"/>
                    </a:lnTo>
                    <a:lnTo>
                      <a:pt x="4" y="12"/>
                    </a:lnTo>
                    <a:lnTo>
                      <a:pt x="4" y="12"/>
                    </a:lnTo>
                    <a:lnTo>
                      <a:pt x="4" y="10"/>
                    </a:lnTo>
                    <a:lnTo>
                      <a:pt x="6" y="10"/>
                    </a:lnTo>
                    <a:lnTo>
                      <a:pt x="10" y="8"/>
                    </a:lnTo>
                    <a:lnTo>
                      <a:pt x="14" y="8"/>
                    </a:lnTo>
                    <a:lnTo>
                      <a:pt x="14" y="10"/>
                    </a:lnTo>
                    <a:lnTo>
                      <a:pt x="14" y="10"/>
                    </a:lnTo>
                    <a:lnTo>
                      <a:pt x="16" y="8"/>
                    </a:lnTo>
                    <a:lnTo>
                      <a:pt x="16" y="8"/>
                    </a:lnTo>
                    <a:lnTo>
                      <a:pt x="12" y="4"/>
                    </a:lnTo>
                    <a:lnTo>
                      <a:pt x="12" y="4"/>
                    </a:lnTo>
                    <a:lnTo>
                      <a:pt x="10"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799" name="Freeform 350"/>
              <p:cNvSpPr>
                <a:spLocks/>
              </p:cNvSpPr>
              <p:nvPr/>
            </p:nvSpPr>
            <p:spPr bwMode="auto">
              <a:xfrm>
                <a:off x="2265" y="899"/>
                <a:ext cx="8" cy="6"/>
              </a:xfrm>
              <a:custGeom>
                <a:avLst/>
                <a:gdLst>
                  <a:gd name="T0" fmla="*/ 4 w 8"/>
                  <a:gd name="T1" fmla="*/ 0 h 6"/>
                  <a:gd name="T2" fmla="*/ 4 w 8"/>
                  <a:gd name="T3" fmla="*/ 0 h 6"/>
                  <a:gd name="T4" fmla="*/ 0 w 8"/>
                  <a:gd name="T5" fmla="*/ 0 h 6"/>
                  <a:gd name="T6" fmla="*/ 0 w 8"/>
                  <a:gd name="T7" fmla="*/ 2 h 6"/>
                  <a:gd name="T8" fmla="*/ 0 w 8"/>
                  <a:gd name="T9" fmla="*/ 2 h 6"/>
                  <a:gd name="T10" fmla="*/ 0 w 8"/>
                  <a:gd name="T11" fmla="*/ 4 h 6"/>
                  <a:gd name="T12" fmla="*/ 0 w 8"/>
                  <a:gd name="T13" fmla="*/ 4 h 6"/>
                  <a:gd name="T14" fmla="*/ 2 w 8"/>
                  <a:gd name="T15" fmla="*/ 4 h 6"/>
                  <a:gd name="T16" fmla="*/ 2 w 8"/>
                  <a:gd name="T17" fmla="*/ 4 h 6"/>
                  <a:gd name="T18" fmla="*/ 2 w 8"/>
                  <a:gd name="T19" fmla="*/ 4 h 6"/>
                  <a:gd name="T20" fmla="*/ 2 w 8"/>
                  <a:gd name="T21" fmla="*/ 6 h 6"/>
                  <a:gd name="T22" fmla="*/ 2 w 8"/>
                  <a:gd name="T23" fmla="*/ 6 h 6"/>
                  <a:gd name="T24" fmla="*/ 4 w 8"/>
                  <a:gd name="T25" fmla="*/ 6 h 6"/>
                  <a:gd name="T26" fmla="*/ 4 w 8"/>
                  <a:gd name="T27" fmla="*/ 4 h 6"/>
                  <a:gd name="T28" fmla="*/ 6 w 8"/>
                  <a:gd name="T29" fmla="*/ 6 h 6"/>
                  <a:gd name="T30" fmla="*/ 6 w 8"/>
                  <a:gd name="T31" fmla="*/ 4 h 6"/>
                  <a:gd name="T32" fmla="*/ 6 w 8"/>
                  <a:gd name="T33" fmla="*/ 4 h 6"/>
                  <a:gd name="T34" fmla="*/ 8 w 8"/>
                  <a:gd name="T35" fmla="*/ 2 h 6"/>
                  <a:gd name="T36" fmla="*/ 4 w 8"/>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6">
                    <a:moveTo>
                      <a:pt x="4" y="0"/>
                    </a:moveTo>
                    <a:lnTo>
                      <a:pt x="4" y="0"/>
                    </a:lnTo>
                    <a:lnTo>
                      <a:pt x="0" y="0"/>
                    </a:lnTo>
                    <a:lnTo>
                      <a:pt x="0" y="2"/>
                    </a:lnTo>
                    <a:lnTo>
                      <a:pt x="0" y="2"/>
                    </a:lnTo>
                    <a:lnTo>
                      <a:pt x="0" y="4"/>
                    </a:lnTo>
                    <a:lnTo>
                      <a:pt x="0" y="4"/>
                    </a:lnTo>
                    <a:lnTo>
                      <a:pt x="2" y="4"/>
                    </a:lnTo>
                    <a:lnTo>
                      <a:pt x="2" y="4"/>
                    </a:lnTo>
                    <a:lnTo>
                      <a:pt x="2" y="4"/>
                    </a:lnTo>
                    <a:lnTo>
                      <a:pt x="2" y="6"/>
                    </a:lnTo>
                    <a:lnTo>
                      <a:pt x="2" y="6"/>
                    </a:lnTo>
                    <a:lnTo>
                      <a:pt x="4" y="6"/>
                    </a:lnTo>
                    <a:lnTo>
                      <a:pt x="4" y="4"/>
                    </a:lnTo>
                    <a:lnTo>
                      <a:pt x="6" y="6"/>
                    </a:lnTo>
                    <a:lnTo>
                      <a:pt x="6" y="4"/>
                    </a:lnTo>
                    <a:lnTo>
                      <a:pt x="6" y="4"/>
                    </a:lnTo>
                    <a:lnTo>
                      <a:pt x="8" y="2"/>
                    </a:lnTo>
                    <a:lnTo>
                      <a:pt x="4"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00" name="Freeform 351"/>
              <p:cNvSpPr>
                <a:spLocks/>
              </p:cNvSpPr>
              <p:nvPr/>
            </p:nvSpPr>
            <p:spPr bwMode="auto">
              <a:xfrm>
                <a:off x="2265" y="899"/>
                <a:ext cx="8" cy="6"/>
              </a:xfrm>
              <a:custGeom>
                <a:avLst/>
                <a:gdLst>
                  <a:gd name="T0" fmla="*/ 4 w 8"/>
                  <a:gd name="T1" fmla="*/ 0 h 6"/>
                  <a:gd name="T2" fmla="*/ 4 w 8"/>
                  <a:gd name="T3" fmla="*/ 0 h 6"/>
                  <a:gd name="T4" fmla="*/ 0 w 8"/>
                  <a:gd name="T5" fmla="*/ 0 h 6"/>
                  <a:gd name="T6" fmla="*/ 0 w 8"/>
                  <a:gd name="T7" fmla="*/ 2 h 6"/>
                  <a:gd name="T8" fmla="*/ 0 w 8"/>
                  <a:gd name="T9" fmla="*/ 2 h 6"/>
                  <a:gd name="T10" fmla="*/ 0 w 8"/>
                  <a:gd name="T11" fmla="*/ 4 h 6"/>
                  <a:gd name="T12" fmla="*/ 0 w 8"/>
                  <a:gd name="T13" fmla="*/ 4 h 6"/>
                  <a:gd name="T14" fmla="*/ 2 w 8"/>
                  <a:gd name="T15" fmla="*/ 4 h 6"/>
                  <a:gd name="T16" fmla="*/ 2 w 8"/>
                  <a:gd name="T17" fmla="*/ 4 h 6"/>
                  <a:gd name="T18" fmla="*/ 2 w 8"/>
                  <a:gd name="T19" fmla="*/ 4 h 6"/>
                  <a:gd name="T20" fmla="*/ 2 w 8"/>
                  <a:gd name="T21" fmla="*/ 6 h 6"/>
                  <a:gd name="T22" fmla="*/ 2 w 8"/>
                  <a:gd name="T23" fmla="*/ 6 h 6"/>
                  <a:gd name="T24" fmla="*/ 4 w 8"/>
                  <a:gd name="T25" fmla="*/ 6 h 6"/>
                  <a:gd name="T26" fmla="*/ 4 w 8"/>
                  <a:gd name="T27" fmla="*/ 4 h 6"/>
                  <a:gd name="T28" fmla="*/ 6 w 8"/>
                  <a:gd name="T29" fmla="*/ 6 h 6"/>
                  <a:gd name="T30" fmla="*/ 6 w 8"/>
                  <a:gd name="T31" fmla="*/ 4 h 6"/>
                  <a:gd name="T32" fmla="*/ 6 w 8"/>
                  <a:gd name="T33" fmla="*/ 4 h 6"/>
                  <a:gd name="T34" fmla="*/ 8 w 8"/>
                  <a:gd name="T35" fmla="*/ 2 h 6"/>
                  <a:gd name="T36" fmla="*/ 4 w 8"/>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6">
                    <a:moveTo>
                      <a:pt x="4" y="0"/>
                    </a:moveTo>
                    <a:lnTo>
                      <a:pt x="4" y="0"/>
                    </a:lnTo>
                    <a:lnTo>
                      <a:pt x="0" y="0"/>
                    </a:lnTo>
                    <a:lnTo>
                      <a:pt x="0" y="2"/>
                    </a:lnTo>
                    <a:lnTo>
                      <a:pt x="0" y="2"/>
                    </a:lnTo>
                    <a:lnTo>
                      <a:pt x="0" y="4"/>
                    </a:lnTo>
                    <a:lnTo>
                      <a:pt x="0" y="4"/>
                    </a:lnTo>
                    <a:lnTo>
                      <a:pt x="2" y="4"/>
                    </a:lnTo>
                    <a:lnTo>
                      <a:pt x="2" y="4"/>
                    </a:lnTo>
                    <a:lnTo>
                      <a:pt x="2" y="4"/>
                    </a:lnTo>
                    <a:lnTo>
                      <a:pt x="2" y="6"/>
                    </a:lnTo>
                    <a:lnTo>
                      <a:pt x="2" y="6"/>
                    </a:lnTo>
                    <a:lnTo>
                      <a:pt x="4" y="6"/>
                    </a:lnTo>
                    <a:lnTo>
                      <a:pt x="4" y="4"/>
                    </a:lnTo>
                    <a:lnTo>
                      <a:pt x="6" y="6"/>
                    </a:lnTo>
                    <a:lnTo>
                      <a:pt x="6" y="4"/>
                    </a:lnTo>
                    <a:lnTo>
                      <a:pt x="6" y="4"/>
                    </a:lnTo>
                    <a:lnTo>
                      <a:pt x="8" y="2"/>
                    </a:lnTo>
                    <a:lnTo>
                      <a:pt x="4"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01" name="Freeform 352"/>
              <p:cNvSpPr>
                <a:spLocks/>
              </p:cNvSpPr>
              <p:nvPr/>
            </p:nvSpPr>
            <p:spPr bwMode="auto">
              <a:xfrm>
                <a:off x="2275" y="875"/>
                <a:ext cx="22" cy="18"/>
              </a:xfrm>
              <a:custGeom>
                <a:avLst/>
                <a:gdLst>
                  <a:gd name="T0" fmla="*/ 12 w 22"/>
                  <a:gd name="T1" fmla="*/ 2 h 18"/>
                  <a:gd name="T2" fmla="*/ 8 w 22"/>
                  <a:gd name="T3" fmla="*/ 0 h 18"/>
                  <a:gd name="T4" fmla="*/ 6 w 22"/>
                  <a:gd name="T5" fmla="*/ 0 h 18"/>
                  <a:gd name="T6" fmla="*/ 6 w 22"/>
                  <a:gd name="T7" fmla="*/ 0 h 18"/>
                  <a:gd name="T8" fmla="*/ 6 w 22"/>
                  <a:gd name="T9" fmla="*/ 2 h 18"/>
                  <a:gd name="T10" fmla="*/ 4 w 22"/>
                  <a:gd name="T11" fmla="*/ 4 h 18"/>
                  <a:gd name="T12" fmla="*/ 2 w 22"/>
                  <a:gd name="T13" fmla="*/ 4 h 18"/>
                  <a:gd name="T14" fmla="*/ 0 w 22"/>
                  <a:gd name="T15" fmla="*/ 8 h 18"/>
                  <a:gd name="T16" fmla="*/ 2 w 22"/>
                  <a:gd name="T17" fmla="*/ 8 h 18"/>
                  <a:gd name="T18" fmla="*/ 0 w 22"/>
                  <a:gd name="T19" fmla="*/ 12 h 18"/>
                  <a:gd name="T20" fmla="*/ 2 w 22"/>
                  <a:gd name="T21" fmla="*/ 12 h 18"/>
                  <a:gd name="T22" fmla="*/ 0 w 22"/>
                  <a:gd name="T23" fmla="*/ 12 h 18"/>
                  <a:gd name="T24" fmla="*/ 2 w 22"/>
                  <a:gd name="T25" fmla="*/ 14 h 18"/>
                  <a:gd name="T26" fmla="*/ 4 w 22"/>
                  <a:gd name="T27" fmla="*/ 14 h 18"/>
                  <a:gd name="T28" fmla="*/ 6 w 22"/>
                  <a:gd name="T29" fmla="*/ 14 h 18"/>
                  <a:gd name="T30" fmla="*/ 6 w 22"/>
                  <a:gd name="T31" fmla="*/ 14 h 18"/>
                  <a:gd name="T32" fmla="*/ 6 w 22"/>
                  <a:gd name="T33" fmla="*/ 14 h 18"/>
                  <a:gd name="T34" fmla="*/ 8 w 22"/>
                  <a:gd name="T35" fmla="*/ 16 h 18"/>
                  <a:gd name="T36" fmla="*/ 10 w 22"/>
                  <a:gd name="T37" fmla="*/ 16 h 18"/>
                  <a:gd name="T38" fmla="*/ 10 w 22"/>
                  <a:gd name="T39" fmla="*/ 18 h 18"/>
                  <a:gd name="T40" fmla="*/ 14 w 22"/>
                  <a:gd name="T41" fmla="*/ 16 h 18"/>
                  <a:gd name="T42" fmla="*/ 14 w 22"/>
                  <a:gd name="T43" fmla="*/ 12 h 18"/>
                  <a:gd name="T44" fmla="*/ 14 w 22"/>
                  <a:gd name="T45" fmla="*/ 10 h 18"/>
                  <a:gd name="T46" fmla="*/ 14 w 22"/>
                  <a:gd name="T47" fmla="*/ 10 h 18"/>
                  <a:gd name="T48" fmla="*/ 14 w 22"/>
                  <a:gd name="T49" fmla="*/ 8 h 18"/>
                  <a:gd name="T50" fmla="*/ 14 w 22"/>
                  <a:gd name="T51" fmla="*/ 8 h 18"/>
                  <a:gd name="T52" fmla="*/ 16 w 22"/>
                  <a:gd name="T53" fmla="*/ 6 h 18"/>
                  <a:gd name="T54" fmla="*/ 18 w 22"/>
                  <a:gd name="T55" fmla="*/ 6 h 18"/>
                  <a:gd name="T56" fmla="*/ 20 w 22"/>
                  <a:gd name="T57" fmla="*/ 8 h 18"/>
                  <a:gd name="T58" fmla="*/ 22 w 22"/>
                  <a:gd name="T59" fmla="*/ 8 h 18"/>
                  <a:gd name="T60" fmla="*/ 22 w 22"/>
                  <a:gd name="T61" fmla="*/ 6 h 18"/>
                  <a:gd name="T62" fmla="*/ 22 w 22"/>
                  <a:gd name="T63" fmla="*/ 6 h 18"/>
                  <a:gd name="T64" fmla="*/ 22 w 22"/>
                  <a:gd name="T65" fmla="*/ 4 h 18"/>
                  <a:gd name="T66" fmla="*/ 22 w 22"/>
                  <a:gd name="T67" fmla="*/ 2 h 18"/>
                  <a:gd name="T68" fmla="*/ 22 w 22"/>
                  <a:gd name="T69" fmla="*/ 2 h 18"/>
                  <a:gd name="T70" fmla="*/ 22 w 22"/>
                  <a:gd name="T71" fmla="*/ 0 h 18"/>
                  <a:gd name="T72" fmla="*/ 20 w 22"/>
                  <a:gd name="T73" fmla="*/ 0 h 18"/>
                  <a:gd name="T74" fmla="*/ 20 w 22"/>
                  <a:gd name="T75" fmla="*/ 2 h 18"/>
                  <a:gd name="T76" fmla="*/ 16 w 22"/>
                  <a:gd name="T77" fmla="*/ 2 h 18"/>
                  <a:gd name="T78" fmla="*/ 14 w 22"/>
                  <a:gd name="T79" fmla="*/ 2 h 18"/>
                  <a:gd name="T80" fmla="*/ 14 w 22"/>
                  <a:gd name="T81" fmla="*/ 2 h 18"/>
                  <a:gd name="T82" fmla="*/ 12 w 22"/>
                  <a:gd name="T8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8">
                    <a:moveTo>
                      <a:pt x="12" y="2"/>
                    </a:moveTo>
                    <a:lnTo>
                      <a:pt x="8" y="0"/>
                    </a:lnTo>
                    <a:lnTo>
                      <a:pt x="6" y="0"/>
                    </a:lnTo>
                    <a:lnTo>
                      <a:pt x="6" y="0"/>
                    </a:lnTo>
                    <a:lnTo>
                      <a:pt x="6" y="2"/>
                    </a:lnTo>
                    <a:lnTo>
                      <a:pt x="4" y="4"/>
                    </a:lnTo>
                    <a:lnTo>
                      <a:pt x="2" y="4"/>
                    </a:lnTo>
                    <a:lnTo>
                      <a:pt x="0" y="8"/>
                    </a:lnTo>
                    <a:lnTo>
                      <a:pt x="2" y="8"/>
                    </a:lnTo>
                    <a:lnTo>
                      <a:pt x="0" y="12"/>
                    </a:lnTo>
                    <a:lnTo>
                      <a:pt x="2" y="12"/>
                    </a:lnTo>
                    <a:lnTo>
                      <a:pt x="0" y="12"/>
                    </a:lnTo>
                    <a:lnTo>
                      <a:pt x="2" y="14"/>
                    </a:lnTo>
                    <a:lnTo>
                      <a:pt x="4" y="14"/>
                    </a:lnTo>
                    <a:lnTo>
                      <a:pt x="6" y="14"/>
                    </a:lnTo>
                    <a:lnTo>
                      <a:pt x="6" y="14"/>
                    </a:lnTo>
                    <a:lnTo>
                      <a:pt x="6" y="14"/>
                    </a:lnTo>
                    <a:lnTo>
                      <a:pt x="8" y="16"/>
                    </a:lnTo>
                    <a:lnTo>
                      <a:pt x="10" y="16"/>
                    </a:lnTo>
                    <a:lnTo>
                      <a:pt x="10" y="18"/>
                    </a:lnTo>
                    <a:lnTo>
                      <a:pt x="14" y="16"/>
                    </a:lnTo>
                    <a:lnTo>
                      <a:pt x="14" y="12"/>
                    </a:lnTo>
                    <a:lnTo>
                      <a:pt x="14" y="10"/>
                    </a:lnTo>
                    <a:lnTo>
                      <a:pt x="14" y="10"/>
                    </a:lnTo>
                    <a:lnTo>
                      <a:pt x="14" y="8"/>
                    </a:lnTo>
                    <a:lnTo>
                      <a:pt x="14" y="8"/>
                    </a:lnTo>
                    <a:lnTo>
                      <a:pt x="16" y="6"/>
                    </a:lnTo>
                    <a:lnTo>
                      <a:pt x="18" y="6"/>
                    </a:lnTo>
                    <a:lnTo>
                      <a:pt x="20" y="8"/>
                    </a:lnTo>
                    <a:lnTo>
                      <a:pt x="22" y="8"/>
                    </a:lnTo>
                    <a:lnTo>
                      <a:pt x="22" y="6"/>
                    </a:lnTo>
                    <a:lnTo>
                      <a:pt x="22" y="6"/>
                    </a:lnTo>
                    <a:lnTo>
                      <a:pt x="22" y="4"/>
                    </a:lnTo>
                    <a:lnTo>
                      <a:pt x="22" y="2"/>
                    </a:lnTo>
                    <a:lnTo>
                      <a:pt x="22" y="2"/>
                    </a:lnTo>
                    <a:lnTo>
                      <a:pt x="22" y="0"/>
                    </a:lnTo>
                    <a:lnTo>
                      <a:pt x="20" y="0"/>
                    </a:lnTo>
                    <a:lnTo>
                      <a:pt x="20" y="2"/>
                    </a:lnTo>
                    <a:lnTo>
                      <a:pt x="16" y="2"/>
                    </a:lnTo>
                    <a:lnTo>
                      <a:pt x="14" y="2"/>
                    </a:lnTo>
                    <a:lnTo>
                      <a:pt x="14" y="2"/>
                    </a:lnTo>
                    <a:lnTo>
                      <a:pt x="1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02" name="Freeform 353"/>
              <p:cNvSpPr>
                <a:spLocks/>
              </p:cNvSpPr>
              <p:nvPr/>
            </p:nvSpPr>
            <p:spPr bwMode="auto">
              <a:xfrm>
                <a:off x="2275" y="875"/>
                <a:ext cx="22" cy="18"/>
              </a:xfrm>
              <a:custGeom>
                <a:avLst/>
                <a:gdLst>
                  <a:gd name="T0" fmla="*/ 12 w 22"/>
                  <a:gd name="T1" fmla="*/ 2 h 18"/>
                  <a:gd name="T2" fmla="*/ 8 w 22"/>
                  <a:gd name="T3" fmla="*/ 0 h 18"/>
                  <a:gd name="T4" fmla="*/ 6 w 22"/>
                  <a:gd name="T5" fmla="*/ 0 h 18"/>
                  <a:gd name="T6" fmla="*/ 6 w 22"/>
                  <a:gd name="T7" fmla="*/ 0 h 18"/>
                  <a:gd name="T8" fmla="*/ 6 w 22"/>
                  <a:gd name="T9" fmla="*/ 2 h 18"/>
                  <a:gd name="T10" fmla="*/ 4 w 22"/>
                  <a:gd name="T11" fmla="*/ 4 h 18"/>
                  <a:gd name="T12" fmla="*/ 2 w 22"/>
                  <a:gd name="T13" fmla="*/ 4 h 18"/>
                  <a:gd name="T14" fmla="*/ 0 w 22"/>
                  <a:gd name="T15" fmla="*/ 8 h 18"/>
                  <a:gd name="T16" fmla="*/ 2 w 22"/>
                  <a:gd name="T17" fmla="*/ 8 h 18"/>
                  <a:gd name="T18" fmla="*/ 0 w 22"/>
                  <a:gd name="T19" fmla="*/ 12 h 18"/>
                  <a:gd name="T20" fmla="*/ 2 w 22"/>
                  <a:gd name="T21" fmla="*/ 12 h 18"/>
                  <a:gd name="T22" fmla="*/ 0 w 22"/>
                  <a:gd name="T23" fmla="*/ 12 h 18"/>
                  <a:gd name="T24" fmla="*/ 2 w 22"/>
                  <a:gd name="T25" fmla="*/ 14 h 18"/>
                  <a:gd name="T26" fmla="*/ 4 w 22"/>
                  <a:gd name="T27" fmla="*/ 14 h 18"/>
                  <a:gd name="T28" fmla="*/ 6 w 22"/>
                  <a:gd name="T29" fmla="*/ 14 h 18"/>
                  <a:gd name="T30" fmla="*/ 6 w 22"/>
                  <a:gd name="T31" fmla="*/ 14 h 18"/>
                  <a:gd name="T32" fmla="*/ 6 w 22"/>
                  <a:gd name="T33" fmla="*/ 14 h 18"/>
                  <a:gd name="T34" fmla="*/ 8 w 22"/>
                  <a:gd name="T35" fmla="*/ 16 h 18"/>
                  <a:gd name="T36" fmla="*/ 10 w 22"/>
                  <a:gd name="T37" fmla="*/ 16 h 18"/>
                  <a:gd name="T38" fmla="*/ 10 w 22"/>
                  <a:gd name="T39" fmla="*/ 18 h 18"/>
                  <a:gd name="T40" fmla="*/ 14 w 22"/>
                  <a:gd name="T41" fmla="*/ 16 h 18"/>
                  <a:gd name="T42" fmla="*/ 14 w 22"/>
                  <a:gd name="T43" fmla="*/ 12 h 18"/>
                  <a:gd name="T44" fmla="*/ 14 w 22"/>
                  <a:gd name="T45" fmla="*/ 10 h 18"/>
                  <a:gd name="T46" fmla="*/ 14 w 22"/>
                  <a:gd name="T47" fmla="*/ 10 h 18"/>
                  <a:gd name="T48" fmla="*/ 14 w 22"/>
                  <a:gd name="T49" fmla="*/ 8 h 18"/>
                  <a:gd name="T50" fmla="*/ 14 w 22"/>
                  <a:gd name="T51" fmla="*/ 8 h 18"/>
                  <a:gd name="T52" fmla="*/ 16 w 22"/>
                  <a:gd name="T53" fmla="*/ 6 h 18"/>
                  <a:gd name="T54" fmla="*/ 18 w 22"/>
                  <a:gd name="T55" fmla="*/ 6 h 18"/>
                  <a:gd name="T56" fmla="*/ 20 w 22"/>
                  <a:gd name="T57" fmla="*/ 8 h 18"/>
                  <a:gd name="T58" fmla="*/ 22 w 22"/>
                  <a:gd name="T59" fmla="*/ 8 h 18"/>
                  <a:gd name="T60" fmla="*/ 22 w 22"/>
                  <a:gd name="T61" fmla="*/ 6 h 18"/>
                  <a:gd name="T62" fmla="*/ 22 w 22"/>
                  <a:gd name="T63" fmla="*/ 6 h 18"/>
                  <a:gd name="T64" fmla="*/ 22 w 22"/>
                  <a:gd name="T65" fmla="*/ 4 h 18"/>
                  <a:gd name="T66" fmla="*/ 22 w 22"/>
                  <a:gd name="T67" fmla="*/ 2 h 18"/>
                  <a:gd name="T68" fmla="*/ 22 w 22"/>
                  <a:gd name="T69" fmla="*/ 2 h 18"/>
                  <a:gd name="T70" fmla="*/ 22 w 22"/>
                  <a:gd name="T71" fmla="*/ 0 h 18"/>
                  <a:gd name="T72" fmla="*/ 20 w 22"/>
                  <a:gd name="T73" fmla="*/ 0 h 18"/>
                  <a:gd name="T74" fmla="*/ 20 w 22"/>
                  <a:gd name="T75" fmla="*/ 2 h 18"/>
                  <a:gd name="T76" fmla="*/ 16 w 22"/>
                  <a:gd name="T77" fmla="*/ 2 h 18"/>
                  <a:gd name="T78" fmla="*/ 14 w 22"/>
                  <a:gd name="T79" fmla="*/ 2 h 18"/>
                  <a:gd name="T80" fmla="*/ 14 w 22"/>
                  <a:gd name="T81" fmla="*/ 2 h 18"/>
                  <a:gd name="T82" fmla="*/ 12 w 22"/>
                  <a:gd name="T8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8">
                    <a:moveTo>
                      <a:pt x="12" y="2"/>
                    </a:moveTo>
                    <a:lnTo>
                      <a:pt x="8" y="0"/>
                    </a:lnTo>
                    <a:lnTo>
                      <a:pt x="6" y="0"/>
                    </a:lnTo>
                    <a:lnTo>
                      <a:pt x="6" y="0"/>
                    </a:lnTo>
                    <a:lnTo>
                      <a:pt x="6" y="2"/>
                    </a:lnTo>
                    <a:lnTo>
                      <a:pt x="4" y="4"/>
                    </a:lnTo>
                    <a:lnTo>
                      <a:pt x="2" y="4"/>
                    </a:lnTo>
                    <a:lnTo>
                      <a:pt x="0" y="8"/>
                    </a:lnTo>
                    <a:lnTo>
                      <a:pt x="2" y="8"/>
                    </a:lnTo>
                    <a:lnTo>
                      <a:pt x="0" y="12"/>
                    </a:lnTo>
                    <a:lnTo>
                      <a:pt x="2" y="12"/>
                    </a:lnTo>
                    <a:lnTo>
                      <a:pt x="0" y="12"/>
                    </a:lnTo>
                    <a:lnTo>
                      <a:pt x="2" y="14"/>
                    </a:lnTo>
                    <a:lnTo>
                      <a:pt x="4" y="14"/>
                    </a:lnTo>
                    <a:lnTo>
                      <a:pt x="6" y="14"/>
                    </a:lnTo>
                    <a:lnTo>
                      <a:pt x="6" y="14"/>
                    </a:lnTo>
                    <a:lnTo>
                      <a:pt x="6" y="14"/>
                    </a:lnTo>
                    <a:lnTo>
                      <a:pt x="8" y="16"/>
                    </a:lnTo>
                    <a:lnTo>
                      <a:pt x="10" y="16"/>
                    </a:lnTo>
                    <a:lnTo>
                      <a:pt x="10" y="18"/>
                    </a:lnTo>
                    <a:lnTo>
                      <a:pt x="14" y="16"/>
                    </a:lnTo>
                    <a:lnTo>
                      <a:pt x="14" y="12"/>
                    </a:lnTo>
                    <a:lnTo>
                      <a:pt x="14" y="10"/>
                    </a:lnTo>
                    <a:lnTo>
                      <a:pt x="14" y="10"/>
                    </a:lnTo>
                    <a:lnTo>
                      <a:pt x="14" y="8"/>
                    </a:lnTo>
                    <a:lnTo>
                      <a:pt x="14" y="8"/>
                    </a:lnTo>
                    <a:lnTo>
                      <a:pt x="16" y="6"/>
                    </a:lnTo>
                    <a:lnTo>
                      <a:pt x="18" y="6"/>
                    </a:lnTo>
                    <a:lnTo>
                      <a:pt x="20" y="8"/>
                    </a:lnTo>
                    <a:lnTo>
                      <a:pt x="22" y="8"/>
                    </a:lnTo>
                    <a:lnTo>
                      <a:pt x="22" y="6"/>
                    </a:lnTo>
                    <a:lnTo>
                      <a:pt x="22" y="6"/>
                    </a:lnTo>
                    <a:lnTo>
                      <a:pt x="22" y="4"/>
                    </a:lnTo>
                    <a:lnTo>
                      <a:pt x="22" y="2"/>
                    </a:lnTo>
                    <a:lnTo>
                      <a:pt x="22" y="2"/>
                    </a:lnTo>
                    <a:lnTo>
                      <a:pt x="22" y="0"/>
                    </a:lnTo>
                    <a:lnTo>
                      <a:pt x="20" y="0"/>
                    </a:lnTo>
                    <a:lnTo>
                      <a:pt x="20" y="2"/>
                    </a:lnTo>
                    <a:lnTo>
                      <a:pt x="16" y="2"/>
                    </a:lnTo>
                    <a:lnTo>
                      <a:pt x="14" y="2"/>
                    </a:lnTo>
                    <a:lnTo>
                      <a:pt x="14" y="2"/>
                    </a:lnTo>
                    <a:lnTo>
                      <a:pt x="1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03" name="Freeform 354"/>
              <p:cNvSpPr>
                <a:spLocks/>
              </p:cNvSpPr>
              <p:nvPr/>
            </p:nvSpPr>
            <p:spPr bwMode="auto">
              <a:xfrm>
                <a:off x="2287" y="867"/>
                <a:ext cx="8" cy="8"/>
              </a:xfrm>
              <a:custGeom>
                <a:avLst/>
                <a:gdLst>
                  <a:gd name="T0" fmla="*/ 6 w 8"/>
                  <a:gd name="T1" fmla="*/ 0 h 8"/>
                  <a:gd name="T2" fmla="*/ 6 w 8"/>
                  <a:gd name="T3" fmla="*/ 2 h 8"/>
                  <a:gd name="T4" fmla="*/ 2 w 8"/>
                  <a:gd name="T5" fmla="*/ 2 h 8"/>
                  <a:gd name="T6" fmla="*/ 0 w 8"/>
                  <a:gd name="T7" fmla="*/ 2 h 8"/>
                  <a:gd name="T8" fmla="*/ 0 w 8"/>
                  <a:gd name="T9" fmla="*/ 4 h 8"/>
                  <a:gd name="T10" fmla="*/ 0 w 8"/>
                  <a:gd name="T11" fmla="*/ 6 h 8"/>
                  <a:gd name="T12" fmla="*/ 2 w 8"/>
                  <a:gd name="T13" fmla="*/ 6 h 8"/>
                  <a:gd name="T14" fmla="*/ 2 w 8"/>
                  <a:gd name="T15" fmla="*/ 8 h 8"/>
                  <a:gd name="T16" fmla="*/ 6 w 8"/>
                  <a:gd name="T17" fmla="*/ 8 h 8"/>
                  <a:gd name="T18" fmla="*/ 8 w 8"/>
                  <a:gd name="T19" fmla="*/ 6 h 8"/>
                  <a:gd name="T20" fmla="*/ 8 w 8"/>
                  <a:gd name="T21" fmla="*/ 4 h 8"/>
                  <a:gd name="T22" fmla="*/ 6 w 8"/>
                  <a:gd name="T23" fmla="*/ 4 h 8"/>
                  <a:gd name="T24" fmla="*/ 8 w 8"/>
                  <a:gd name="T25" fmla="*/ 2 h 8"/>
                  <a:gd name="T26" fmla="*/ 8 w 8"/>
                  <a:gd name="T27" fmla="*/ 4 h 8"/>
                  <a:gd name="T28" fmla="*/ 8 w 8"/>
                  <a:gd name="T29" fmla="*/ 2 h 8"/>
                  <a:gd name="T30" fmla="*/ 6 w 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8">
                    <a:moveTo>
                      <a:pt x="6" y="0"/>
                    </a:moveTo>
                    <a:lnTo>
                      <a:pt x="6" y="2"/>
                    </a:lnTo>
                    <a:lnTo>
                      <a:pt x="2" y="2"/>
                    </a:lnTo>
                    <a:lnTo>
                      <a:pt x="0" y="2"/>
                    </a:lnTo>
                    <a:lnTo>
                      <a:pt x="0" y="4"/>
                    </a:lnTo>
                    <a:lnTo>
                      <a:pt x="0" y="6"/>
                    </a:lnTo>
                    <a:lnTo>
                      <a:pt x="2" y="6"/>
                    </a:lnTo>
                    <a:lnTo>
                      <a:pt x="2" y="8"/>
                    </a:lnTo>
                    <a:lnTo>
                      <a:pt x="6" y="8"/>
                    </a:lnTo>
                    <a:lnTo>
                      <a:pt x="8" y="6"/>
                    </a:lnTo>
                    <a:lnTo>
                      <a:pt x="8" y="4"/>
                    </a:lnTo>
                    <a:lnTo>
                      <a:pt x="6" y="4"/>
                    </a:lnTo>
                    <a:lnTo>
                      <a:pt x="8" y="2"/>
                    </a:lnTo>
                    <a:lnTo>
                      <a:pt x="8" y="4"/>
                    </a:lnTo>
                    <a:lnTo>
                      <a:pt x="8" y="2"/>
                    </a:lnTo>
                    <a:lnTo>
                      <a:pt x="6"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04" name="Freeform 355"/>
              <p:cNvSpPr>
                <a:spLocks/>
              </p:cNvSpPr>
              <p:nvPr/>
            </p:nvSpPr>
            <p:spPr bwMode="auto">
              <a:xfrm>
                <a:off x="2287" y="867"/>
                <a:ext cx="8" cy="8"/>
              </a:xfrm>
              <a:custGeom>
                <a:avLst/>
                <a:gdLst>
                  <a:gd name="T0" fmla="*/ 6 w 8"/>
                  <a:gd name="T1" fmla="*/ 0 h 8"/>
                  <a:gd name="T2" fmla="*/ 6 w 8"/>
                  <a:gd name="T3" fmla="*/ 2 h 8"/>
                  <a:gd name="T4" fmla="*/ 2 w 8"/>
                  <a:gd name="T5" fmla="*/ 2 h 8"/>
                  <a:gd name="T6" fmla="*/ 0 w 8"/>
                  <a:gd name="T7" fmla="*/ 2 h 8"/>
                  <a:gd name="T8" fmla="*/ 0 w 8"/>
                  <a:gd name="T9" fmla="*/ 4 h 8"/>
                  <a:gd name="T10" fmla="*/ 0 w 8"/>
                  <a:gd name="T11" fmla="*/ 6 h 8"/>
                  <a:gd name="T12" fmla="*/ 2 w 8"/>
                  <a:gd name="T13" fmla="*/ 6 h 8"/>
                  <a:gd name="T14" fmla="*/ 2 w 8"/>
                  <a:gd name="T15" fmla="*/ 8 h 8"/>
                  <a:gd name="T16" fmla="*/ 6 w 8"/>
                  <a:gd name="T17" fmla="*/ 8 h 8"/>
                  <a:gd name="T18" fmla="*/ 8 w 8"/>
                  <a:gd name="T19" fmla="*/ 6 h 8"/>
                  <a:gd name="T20" fmla="*/ 8 w 8"/>
                  <a:gd name="T21" fmla="*/ 4 h 8"/>
                  <a:gd name="T22" fmla="*/ 6 w 8"/>
                  <a:gd name="T23" fmla="*/ 4 h 8"/>
                  <a:gd name="T24" fmla="*/ 8 w 8"/>
                  <a:gd name="T25" fmla="*/ 2 h 8"/>
                  <a:gd name="T26" fmla="*/ 8 w 8"/>
                  <a:gd name="T27" fmla="*/ 4 h 8"/>
                  <a:gd name="T28" fmla="*/ 8 w 8"/>
                  <a:gd name="T29" fmla="*/ 2 h 8"/>
                  <a:gd name="T30" fmla="*/ 6 w 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8">
                    <a:moveTo>
                      <a:pt x="6" y="0"/>
                    </a:moveTo>
                    <a:lnTo>
                      <a:pt x="6" y="2"/>
                    </a:lnTo>
                    <a:lnTo>
                      <a:pt x="2" y="2"/>
                    </a:lnTo>
                    <a:lnTo>
                      <a:pt x="0" y="2"/>
                    </a:lnTo>
                    <a:lnTo>
                      <a:pt x="0" y="4"/>
                    </a:lnTo>
                    <a:lnTo>
                      <a:pt x="0" y="6"/>
                    </a:lnTo>
                    <a:lnTo>
                      <a:pt x="2" y="6"/>
                    </a:lnTo>
                    <a:lnTo>
                      <a:pt x="2" y="8"/>
                    </a:lnTo>
                    <a:lnTo>
                      <a:pt x="6" y="8"/>
                    </a:lnTo>
                    <a:lnTo>
                      <a:pt x="8" y="6"/>
                    </a:lnTo>
                    <a:lnTo>
                      <a:pt x="8" y="4"/>
                    </a:lnTo>
                    <a:lnTo>
                      <a:pt x="6" y="4"/>
                    </a:lnTo>
                    <a:lnTo>
                      <a:pt x="8" y="2"/>
                    </a:lnTo>
                    <a:lnTo>
                      <a:pt x="8" y="4"/>
                    </a:lnTo>
                    <a:lnTo>
                      <a:pt x="8" y="2"/>
                    </a:lnTo>
                    <a:lnTo>
                      <a:pt x="6"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05" name="Freeform 356"/>
              <p:cNvSpPr>
                <a:spLocks/>
              </p:cNvSpPr>
              <p:nvPr/>
            </p:nvSpPr>
            <p:spPr bwMode="auto">
              <a:xfrm>
                <a:off x="2301" y="861"/>
                <a:ext cx="18" cy="22"/>
              </a:xfrm>
              <a:custGeom>
                <a:avLst/>
                <a:gdLst>
                  <a:gd name="T0" fmla="*/ 10 w 18"/>
                  <a:gd name="T1" fmla="*/ 4 h 22"/>
                  <a:gd name="T2" fmla="*/ 2 w 18"/>
                  <a:gd name="T3" fmla="*/ 8 h 22"/>
                  <a:gd name="T4" fmla="*/ 2 w 18"/>
                  <a:gd name="T5" fmla="*/ 8 h 22"/>
                  <a:gd name="T6" fmla="*/ 2 w 18"/>
                  <a:gd name="T7" fmla="*/ 8 h 22"/>
                  <a:gd name="T8" fmla="*/ 2 w 18"/>
                  <a:gd name="T9" fmla="*/ 10 h 22"/>
                  <a:gd name="T10" fmla="*/ 2 w 18"/>
                  <a:gd name="T11" fmla="*/ 10 h 22"/>
                  <a:gd name="T12" fmla="*/ 2 w 18"/>
                  <a:gd name="T13" fmla="*/ 12 h 22"/>
                  <a:gd name="T14" fmla="*/ 0 w 18"/>
                  <a:gd name="T15" fmla="*/ 12 h 22"/>
                  <a:gd name="T16" fmla="*/ 0 w 18"/>
                  <a:gd name="T17" fmla="*/ 12 h 22"/>
                  <a:gd name="T18" fmla="*/ 0 w 18"/>
                  <a:gd name="T19" fmla="*/ 14 h 22"/>
                  <a:gd name="T20" fmla="*/ 2 w 18"/>
                  <a:gd name="T21" fmla="*/ 18 h 22"/>
                  <a:gd name="T22" fmla="*/ 2 w 18"/>
                  <a:gd name="T23" fmla="*/ 18 h 22"/>
                  <a:gd name="T24" fmla="*/ 2 w 18"/>
                  <a:gd name="T25" fmla="*/ 20 h 22"/>
                  <a:gd name="T26" fmla="*/ 2 w 18"/>
                  <a:gd name="T27" fmla="*/ 22 h 22"/>
                  <a:gd name="T28" fmla="*/ 4 w 18"/>
                  <a:gd name="T29" fmla="*/ 20 h 22"/>
                  <a:gd name="T30" fmla="*/ 6 w 18"/>
                  <a:gd name="T31" fmla="*/ 20 h 22"/>
                  <a:gd name="T32" fmla="*/ 6 w 18"/>
                  <a:gd name="T33" fmla="*/ 20 h 22"/>
                  <a:gd name="T34" fmla="*/ 6 w 18"/>
                  <a:gd name="T35" fmla="*/ 18 h 22"/>
                  <a:gd name="T36" fmla="*/ 6 w 18"/>
                  <a:gd name="T37" fmla="*/ 18 h 22"/>
                  <a:gd name="T38" fmla="*/ 8 w 18"/>
                  <a:gd name="T39" fmla="*/ 18 h 22"/>
                  <a:gd name="T40" fmla="*/ 8 w 18"/>
                  <a:gd name="T41" fmla="*/ 16 h 22"/>
                  <a:gd name="T42" fmla="*/ 10 w 18"/>
                  <a:gd name="T43" fmla="*/ 16 h 22"/>
                  <a:gd name="T44" fmla="*/ 14 w 18"/>
                  <a:gd name="T45" fmla="*/ 16 h 22"/>
                  <a:gd name="T46" fmla="*/ 16 w 18"/>
                  <a:gd name="T47" fmla="*/ 16 h 22"/>
                  <a:gd name="T48" fmla="*/ 16 w 18"/>
                  <a:gd name="T49" fmla="*/ 16 h 22"/>
                  <a:gd name="T50" fmla="*/ 18 w 18"/>
                  <a:gd name="T51" fmla="*/ 16 h 22"/>
                  <a:gd name="T52" fmla="*/ 16 w 18"/>
                  <a:gd name="T53" fmla="*/ 14 h 22"/>
                  <a:gd name="T54" fmla="*/ 18 w 18"/>
                  <a:gd name="T55" fmla="*/ 12 h 22"/>
                  <a:gd name="T56" fmla="*/ 16 w 18"/>
                  <a:gd name="T57" fmla="*/ 12 h 22"/>
                  <a:gd name="T58" fmla="*/ 16 w 18"/>
                  <a:gd name="T59" fmla="*/ 10 h 22"/>
                  <a:gd name="T60" fmla="*/ 16 w 18"/>
                  <a:gd name="T61" fmla="*/ 8 h 22"/>
                  <a:gd name="T62" fmla="*/ 16 w 18"/>
                  <a:gd name="T63" fmla="*/ 6 h 22"/>
                  <a:gd name="T64" fmla="*/ 18 w 18"/>
                  <a:gd name="T65" fmla="*/ 4 h 22"/>
                  <a:gd name="T66" fmla="*/ 18 w 18"/>
                  <a:gd name="T67" fmla="*/ 4 h 22"/>
                  <a:gd name="T68" fmla="*/ 18 w 18"/>
                  <a:gd name="T69" fmla="*/ 2 h 22"/>
                  <a:gd name="T70" fmla="*/ 16 w 18"/>
                  <a:gd name="T71" fmla="*/ 2 h 22"/>
                  <a:gd name="T72" fmla="*/ 16 w 18"/>
                  <a:gd name="T73" fmla="*/ 2 h 22"/>
                  <a:gd name="T74" fmla="*/ 14 w 18"/>
                  <a:gd name="T75" fmla="*/ 0 h 22"/>
                  <a:gd name="T76" fmla="*/ 10 w 18"/>
                  <a:gd name="T77" fmla="*/ 4 h 22"/>
                  <a:gd name="T78" fmla="*/ 10 w 18"/>
                  <a:gd name="T7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22">
                    <a:moveTo>
                      <a:pt x="10" y="4"/>
                    </a:moveTo>
                    <a:lnTo>
                      <a:pt x="2" y="8"/>
                    </a:lnTo>
                    <a:lnTo>
                      <a:pt x="2" y="8"/>
                    </a:lnTo>
                    <a:lnTo>
                      <a:pt x="2" y="8"/>
                    </a:lnTo>
                    <a:lnTo>
                      <a:pt x="2" y="10"/>
                    </a:lnTo>
                    <a:lnTo>
                      <a:pt x="2" y="10"/>
                    </a:lnTo>
                    <a:lnTo>
                      <a:pt x="2" y="12"/>
                    </a:lnTo>
                    <a:lnTo>
                      <a:pt x="0" y="12"/>
                    </a:lnTo>
                    <a:lnTo>
                      <a:pt x="0" y="12"/>
                    </a:lnTo>
                    <a:lnTo>
                      <a:pt x="0" y="14"/>
                    </a:lnTo>
                    <a:lnTo>
                      <a:pt x="2" y="18"/>
                    </a:lnTo>
                    <a:lnTo>
                      <a:pt x="2" y="18"/>
                    </a:lnTo>
                    <a:lnTo>
                      <a:pt x="2" y="20"/>
                    </a:lnTo>
                    <a:lnTo>
                      <a:pt x="2" y="22"/>
                    </a:lnTo>
                    <a:lnTo>
                      <a:pt x="4" y="20"/>
                    </a:lnTo>
                    <a:lnTo>
                      <a:pt x="6" y="20"/>
                    </a:lnTo>
                    <a:lnTo>
                      <a:pt x="6" y="20"/>
                    </a:lnTo>
                    <a:lnTo>
                      <a:pt x="6" y="18"/>
                    </a:lnTo>
                    <a:lnTo>
                      <a:pt x="6" y="18"/>
                    </a:lnTo>
                    <a:lnTo>
                      <a:pt x="8" y="18"/>
                    </a:lnTo>
                    <a:lnTo>
                      <a:pt x="8" y="16"/>
                    </a:lnTo>
                    <a:lnTo>
                      <a:pt x="10" y="16"/>
                    </a:lnTo>
                    <a:lnTo>
                      <a:pt x="14" y="16"/>
                    </a:lnTo>
                    <a:lnTo>
                      <a:pt x="16" y="16"/>
                    </a:lnTo>
                    <a:lnTo>
                      <a:pt x="16" y="16"/>
                    </a:lnTo>
                    <a:lnTo>
                      <a:pt x="18" y="16"/>
                    </a:lnTo>
                    <a:lnTo>
                      <a:pt x="16" y="14"/>
                    </a:lnTo>
                    <a:lnTo>
                      <a:pt x="18" y="12"/>
                    </a:lnTo>
                    <a:lnTo>
                      <a:pt x="16" y="12"/>
                    </a:lnTo>
                    <a:lnTo>
                      <a:pt x="16" y="10"/>
                    </a:lnTo>
                    <a:lnTo>
                      <a:pt x="16" y="8"/>
                    </a:lnTo>
                    <a:lnTo>
                      <a:pt x="16" y="6"/>
                    </a:lnTo>
                    <a:lnTo>
                      <a:pt x="18" y="4"/>
                    </a:lnTo>
                    <a:lnTo>
                      <a:pt x="18" y="4"/>
                    </a:lnTo>
                    <a:lnTo>
                      <a:pt x="18" y="2"/>
                    </a:lnTo>
                    <a:lnTo>
                      <a:pt x="16" y="2"/>
                    </a:lnTo>
                    <a:lnTo>
                      <a:pt x="16" y="2"/>
                    </a:lnTo>
                    <a:lnTo>
                      <a:pt x="14" y="0"/>
                    </a:lnTo>
                    <a:lnTo>
                      <a:pt x="10" y="4"/>
                    </a:lnTo>
                    <a:lnTo>
                      <a:pt x="10"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06" name="Freeform 357"/>
              <p:cNvSpPr>
                <a:spLocks/>
              </p:cNvSpPr>
              <p:nvPr/>
            </p:nvSpPr>
            <p:spPr bwMode="auto">
              <a:xfrm>
                <a:off x="2301" y="861"/>
                <a:ext cx="18" cy="22"/>
              </a:xfrm>
              <a:custGeom>
                <a:avLst/>
                <a:gdLst>
                  <a:gd name="T0" fmla="*/ 10 w 18"/>
                  <a:gd name="T1" fmla="*/ 4 h 22"/>
                  <a:gd name="T2" fmla="*/ 2 w 18"/>
                  <a:gd name="T3" fmla="*/ 8 h 22"/>
                  <a:gd name="T4" fmla="*/ 2 w 18"/>
                  <a:gd name="T5" fmla="*/ 8 h 22"/>
                  <a:gd name="T6" fmla="*/ 2 w 18"/>
                  <a:gd name="T7" fmla="*/ 8 h 22"/>
                  <a:gd name="T8" fmla="*/ 2 w 18"/>
                  <a:gd name="T9" fmla="*/ 10 h 22"/>
                  <a:gd name="T10" fmla="*/ 2 w 18"/>
                  <a:gd name="T11" fmla="*/ 10 h 22"/>
                  <a:gd name="T12" fmla="*/ 2 w 18"/>
                  <a:gd name="T13" fmla="*/ 12 h 22"/>
                  <a:gd name="T14" fmla="*/ 0 w 18"/>
                  <a:gd name="T15" fmla="*/ 12 h 22"/>
                  <a:gd name="T16" fmla="*/ 0 w 18"/>
                  <a:gd name="T17" fmla="*/ 12 h 22"/>
                  <a:gd name="T18" fmla="*/ 0 w 18"/>
                  <a:gd name="T19" fmla="*/ 14 h 22"/>
                  <a:gd name="T20" fmla="*/ 2 w 18"/>
                  <a:gd name="T21" fmla="*/ 18 h 22"/>
                  <a:gd name="T22" fmla="*/ 2 w 18"/>
                  <a:gd name="T23" fmla="*/ 18 h 22"/>
                  <a:gd name="T24" fmla="*/ 2 w 18"/>
                  <a:gd name="T25" fmla="*/ 20 h 22"/>
                  <a:gd name="T26" fmla="*/ 2 w 18"/>
                  <a:gd name="T27" fmla="*/ 22 h 22"/>
                  <a:gd name="T28" fmla="*/ 4 w 18"/>
                  <a:gd name="T29" fmla="*/ 20 h 22"/>
                  <a:gd name="T30" fmla="*/ 6 w 18"/>
                  <a:gd name="T31" fmla="*/ 20 h 22"/>
                  <a:gd name="T32" fmla="*/ 6 w 18"/>
                  <a:gd name="T33" fmla="*/ 20 h 22"/>
                  <a:gd name="T34" fmla="*/ 6 w 18"/>
                  <a:gd name="T35" fmla="*/ 18 h 22"/>
                  <a:gd name="T36" fmla="*/ 6 w 18"/>
                  <a:gd name="T37" fmla="*/ 18 h 22"/>
                  <a:gd name="T38" fmla="*/ 8 w 18"/>
                  <a:gd name="T39" fmla="*/ 18 h 22"/>
                  <a:gd name="T40" fmla="*/ 8 w 18"/>
                  <a:gd name="T41" fmla="*/ 16 h 22"/>
                  <a:gd name="T42" fmla="*/ 10 w 18"/>
                  <a:gd name="T43" fmla="*/ 16 h 22"/>
                  <a:gd name="T44" fmla="*/ 14 w 18"/>
                  <a:gd name="T45" fmla="*/ 16 h 22"/>
                  <a:gd name="T46" fmla="*/ 16 w 18"/>
                  <a:gd name="T47" fmla="*/ 16 h 22"/>
                  <a:gd name="T48" fmla="*/ 16 w 18"/>
                  <a:gd name="T49" fmla="*/ 16 h 22"/>
                  <a:gd name="T50" fmla="*/ 18 w 18"/>
                  <a:gd name="T51" fmla="*/ 16 h 22"/>
                  <a:gd name="T52" fmla="*/ 16 w 18"/>
                  <a:gd name="T53" fmla="*/ 14 h 22"/>
                  <a:gd name="T54" fmla="*/ 18 w 18"/>
                  <a:gd name="T55" fmla="*/ 12 h 22"/>
                  <a:gd name="T56" fmla="*/ 16 w 18"/>
                  <a:gd name="T57" fmla="*/ 12 h 22"/>
                  <a:gd name="T58" fmla="*/ 16 w 18"/>
                  <a:gd name="T59" fmla="*/ 10 h 22"/>
                  <a:gd name="T60" fmla="*/ 16 w 18"/>
                  <a:gd name="T61" fmla="*/ 8 h 22"/>
                  <a:gd name="T62" fmla="*/ 16 w 18"/>
                  <a:gd name="T63" fmla="*/ 6 h 22"/>
                  <a:gd name="T64" fmla="*/ 18 w 18"/>
                  <a:gd name="T65" fmla="*/ 4 h 22"/>
                  <a:gd name="T66" fmla="*/ 18 w 18"/>
                  <a:gd name="T67" fmla="*/ 4 h 22"/>
                  <a:gd name="T68" fmla="*/ 18 w 18"/>
                  <a:gd name="T69" fmla="*/ 2 h 22"/>
                  <a:gd name="T70" fmla="*/ 16 w 18"/>
                  <a:gd name="T71" fmla="*/ 2 h 22"/>
                  <a:gd name="T72" fmla="*/ 16 w 18"/>
                  <a:gd name="T73" fmla="*/ 2 h 22"/>
                  <a:gd name="T74" fmla="*/ 14 w 18"/>
                  <a:gd name="T75" fmla="*/ 0 h 22"/>
                  <a:gd name="T76" fmla="*/ 10 w 18"/>
                  <a:gd name="T77" fmla="*/ 4 h 22"/>
                  <a:gd name="T78" fmla="*/ 10 w 18"/>
                  <a:gd name="T7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22">
                    <a:moveTo>
                      <a:pt x="10" y="4"/>
                    </a:moveTo>
                    <a:lnTo>
                      <a:pt x="2" y="8"/>
                    </a:lnTo>
                    <a:lnTo>
                      <a:pt x="2" y="8"/>
                    </a:lnTo>
                    <a:lnTo>
                      <a:pt x="2" y="8"/>
                    </a:lnTo>
                    <a:lnTo>
                      <a:pt x="2" y="10"/>
                    </a:lnTo>
                    <a:lnTo>
                      <a:pt x="2" y="10"/>
                    </a:lnTo>
                    <a:lnTo>
                      <a:pt x="2" y="12"/>
                    </a:lnTo>
                    <a:lnTo>
                      <a:pt x="0" y="12"/>
                    </a:lnTo>
                    <a:lnTo>
                      <a:pt x="0" y="12"/>
                    </a:lnTo>
                    <a:lnTo>
                      <a:pt x="0" y="14"/>
                    </a:lnTo>
                    <a:lnTo>
                      <a:pt x="2" y="18"/>
                    </a:lnTo>
                    <a:lnTo>
                      <a:pt x="2" y="18"/>
                    </a:lnTo>
                    <a:lnTo>
                      <a:pt x="2" y="20"/>
                    </a:lnTo>
                    <a:lnTo>
                      <a:pt x="2" y="22"/>
                    </a:lnTo>
                    <a:lnTo>
                      <a:pt x="4" y="20"/>
                    </a:lnTo>
                    <a:lnTo>
                      <a:pt x="6" y="20"/>
                    </a:lnTo>
                    <a:lnTo>
                      <a:pt x="6" y="20"/>
                    </a:lnTo>
                    <a:lnTo>
                      <a:pt x="6" y="18"/>
                    </a:lnTo>
                    <a:lnTo>
                      <a:pt x="6" y="18"/>
                    </a:lnTo>
                    <a:lnTo>
                      <a:pt x="8" y="18"/>
                    </a:lnTo>
                    <a:lnTo>
                      <a:pt x="8" y="16"/>
                    </a:lnTo>
                    <a:lnTo>
                      <a:pt x="10" y="16"/>
                    </a:lnTo>
                    <a:lnTo>
                      <a:pt x="14" y="16"/>
                    </a:lnTo>
                    <a:lnTo>
                      <a:pt x="16" y="16"/>
                    </a:lnTo>
                    <a:lnTo>
                      <a:pt x="16" y="16"/>
                    </a:lnTo>
                    <a:lnTo>
                      <a:pt x="18" y="16"/>
                    </a:lnTo>
                    <a:lnTo>
                      <a:pt x="16" y="14"/>
                    </a:lnTo>
                    <a:lnTo>
                      <a:pt x="18" y="12"/>
                    </a:lnTo>
                    <a:lnTo>
                      <a:pt x="16" y="12"/>
                    </a:lnTo>
                    <a:lnTo>
                      <a:pt x="16" y="10"/>
                    </a:lnTo>
                    <a:lnTo>
                      <a:pt x="16" y="8"/>
                    </a:lnTo>
                    <a:lnTo>
                      <a:pt x="16" y="6"/>
                    </a:lnTo>
                    <a:lnTo>
                      <a:pt x="18" y="4"/>
                    </a:lnTo>
                    <a:lnTo>
                      <a:pt x="18" y="4"/>
                    </a:lnTo>
                    <a:lnTo>
                      <a:pt x="18" y="2"/>
                    </a:lnTo>
                    <a:lnTo>
                      <a:pt x="16" y="2"/>
                    </a:lnTo>
                    <a:lnTo>
                      <a:pt x="16" y="2"/>
                    </a:lnTo>
                    <a:lnTo>
                      <a:pt x="14" y="0"/>
                    </a:lnTo>
                    <a:lnTo>
                      <a:pt x="10" y="4"/>
                    </a:lnTo>
                    <a:lnTo>
                      <a:pt x="10"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07" name="Freeform 358"/>
              <p:cNvSpPr>
                <a:spLocks/>
              </p:cNvSpPr>
              <p:nvPr/>
            </p:nvSpPr>
            <p:spPr bwMode="auto">
              <a:xfrm>
                <a:off x="2307" y="847"/>
                <a:ext cx="8" cy="6"/>
              </a:xfrm>
              <a:custGeom>
                <a:avLst/>
                <a:gdLst>
                  <a:gd name="T0" fmla="*/ 8 w 8"/>
                  <a:gd name="T1" fmla="*/ 4 h 6"/>
                  <a:gd name="T2" fmla="*/ 8 w 8"/>
                  <a:gd name="T3" fmla="*/ 4 h 6"/>
                  <a:gd name="T4" fmla="*/ 8 w 8"/>
                  <a:gd name="T5" fmla="*/ 4 h 6"/>
                  <a:gd name="T6" fmla="*/ 6 w 8"/>
                  <a:gd name="T7" fmla="*/ 6 h 6"/>
                  <a:gd name="T8" fmla="*/ 4 w 8"/>
                  <a:gd name="T9" fmla="*/ 6 h 6"/>
                  <a:gd name="T10" fmla="*/ 4 w 8"/>
                  <a:gd name="T11" fmla="*/ 4 h 6"/>
                  <a:gd name="T12" fmla="*/ 2 w 8"/>
                  <a:gd name="T13" fmla="*/ 2 h 6"/>
                  <a:gd name="T14" fmla="*/ 0 w 8"/>
                  <a:gd name="T15" fmla="*/ 2 h 6"/>
                  <a:gd name="T16" fmla="*/ 0 w 8"/>
                  <a:gd name="T17" fmla="*/ 2 h 6"/>
                  <a:gd name="T18" fmla="*/ 0 w 8"/>
                  <a:gd name="T19" fmla="*/ 2 h 6"/>
                  <a:gd name="T20" fmla="*/ 2 w 8"/>
                  <a:gd name="T21" fmla="*/ 0 h 6"/>
                  <a:gd name="T22" fmla="*/ 2 w 8"/>
                  <a:gd name="T23" fmla="*/ 0 h 6"/>
                  <a:gd name="T24" fmla="*/ 2 w 8"/>
                  <a:gd name="T25" fmla="*/ 2 h 6"/>
                  <a:gd name="T26" fmla="*/ 4 w 8"/>
                  <a:gd name="T27" fmla="*/ 2 h 6"/>
                  <a:gd name="T28" fmla="*/ 4 w 8"/>
                  <a:gd name="T29" fmla="*/ 2 h 6"/>
                  <a:gd name="T30" fmla="*/ 6 w 8"/>
                  <a:gd name="T31" fmla="*/ 0 h 6"/>
                  <a:gd name="T32" fmla="*/ 6 w 8"/>
                  <a:gd name="T33" fmla="*/ 2 h 6"/>
                  <a:gd name="T34" fmla="*/ 6 w 8"/>
                  <a:gd name="T35" fmla="*/ 2 h 6"/>
                  <a:gd name="T36" fmla="*/ 8 w 8"/>
                  <a:gd name="T3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6">
                    <a:moveTo>
                      <a:pt x="8" y="4"/>
                    </a:moveTo>
                    <a:lnTo>
                      <a:pt x="8" y="4"/>
                    </a:lnTo>
                    <a:lnTo>
                      <a:pt x="8" y="4"/>
                    </a:lnTo>
                    <a:lnTo>
                      <a:pt x="6" y="6"/>
                    </a:lnTo>
                    <a:lnTo>
                      <a:pt x="4" y="6"/>
                    </a:lnTo>
                    <a:lnTo>
                      <a:pt x="4" y="4"/>
                    </a:lnTo>
                    <a:lnTo>
                      <a:pt x="2" y="2"/>
                    </a:lnTo>
                    <a:lnTo>
                      <a:pt x="0" y="2"/>
                    </a:lnTo>
                    <a:lnTo>
                      <a:pt x="0" y="2"/>
                    </a:lnTo>
                    <a:lnTo>
                      <a:pt x="0" y="2"/>
                    </a:lnTo>
                    <a:lnTo>
                      <a:pt x="2" y="0"/>
                    </a:lnTo>
                    <a:lnTo>
                      <a:pt x="2" y="0"/>
                    </a:lnTo>
                    <a:lnTo>
                      <a:pt x="2" y="2"/>
                    </a:lnTo>
                    <a:lnTo>
                      <a:pt x="4" y="2"/>
                    </a:lnTo>
                    <a:lnTo>
                      <a:pt x="4" y="2"/>
                    </a:lnTo>
                    <a:lnTo>
                      <a:pt x="6" y="0"/>
                    </a:lnTo>
                    <a:lnTo>
                      <a:pt x="6" y="2"/>
                    </a:lnTo>
                    <a:lnTo>
                      <a:pt x="6" y="2"/>
                    </a:lnTo>
                    <a:lnTo>
                      <a:pt x="8"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08" name="Freeform 359"/>
              <p:cNvSpPr>
                <a:spLocks/>
              </p:cNvSpPr>
              <p:nvPr/>
            </p:nvSpPr>
            <p:spPr bwMode="auto">
              <a:xfrm>
                <a:off x="2307" y="847"/>
                <a:ext cx="8" cy="6"/>
              </a:xfrm>
              <a:custGeom>
                <a:avLst/>
                <a:gdLst>
                  <a:gd name="T0" fmla="*/ 8 w 8"/>
                  <a:gd name="T1" fmla="*/ 4 h 6"/>
                  <a:gd name="T2" fmla="*/ 8 w 8"/>
                  <a:gd name="T3" fmla="*/ 4 h 6"/>
                  <a:gd name="T4" fmla="*/ 8 w 8"/>
                  <a:gd name="T5" fmla="*/ 4 h 6"/>
                  <a:gd name="T6" fmla="*/ 6 w 8"/>
                  <a:gd name="T7" fmla="*/ 6 h 6"/>
                  <a:gd name="T8" fmla="*/ 4 w 8"/>
                  <a:gd name="T9" fmla="*/ 6 h 6"/>
                  <a:gd name="T10" fmla="*/ 4 w 8"/>
                  <a:gd name="T11" fmla="*/ 4 h 6"/>
                  <a:gd name="T12" fmla="*/ 2 w 8"/>
                  <a:gd name="T13" fmla="*/ 2 h 6"/>
                  <a:gd name="T14" fmla="*/ 0 w 8"/>
                  <a:gd name="T15" fmla="*/ 2 h 6"/>
                  <a:gd name="T16" fmla="*/ 0 w 8"/>
                  <a:gd name="T17" fmla="*/ 2 h 6"/>
                  <a:gd name="T18" fmla="*/ 0 w 8"/>
                  <a:gd name="T19" fmla="*/ 2 h 6"/>
                  <a:gd name="T20" fmla="*/ 2 w 8"/>
                  <a:gd name="T21" fmla="*/ 0 h 6"/>
                  <a:gd name="T22" fmla="*/ 2 w 8"/>
                  <a:gd name="T23" fmla="*/ 0 h 6"/>
                  <a:gd name="T24" fmla="*/ 2 w 8"/>
                  <a:gd name="T25" fmla="*/ 2 h 6"/>
                  <a:gd name="T26" fmla="*/ 4 w 8"/>
                  <a:gd name="T27" fmla="*/ 2 h 6"/>
                  <a:gd name="T28" fmla="*/ 4 w 8"/>
                  <a:gd name="T29" fmla="*/ 2 h 6"/>
                  <a:gd name="T30" fmla="*/ 6 w 8"/>
                  <a:gd name="T31" fmla="*/ 0 h 6"/>
                  <a:gd name="T32" fmla="*/ 6 w 8"/>
                  <a:gd name="T33" fmla="*/ 2 h 6"/>
                  <a:gd name="T34" fmla="*/ 6 w 8"/>
                  <a:gd name="T35" fmla="*/ 2 h 6"/>
                  <a:gd name="T36" fmla="*/ 8 w 8"/>
                  <a:gd name="T3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6">
                    <a:moveTo>
                      <a:pt x="8" y="4"/>
                    </a:moveTo>
                    <a:lnTo>
                      <a:pt x="8" y="4"/>
                    </a:lnTo>
                    <a:lnTo>
                      <a:pt x="8" y="4"/>
                    </a:lnTo>
                    <a:lnTo>
                      <a:pt x="6" y="6"/>
                    </a:lnTo>
                    <a:lnTo>
                      <a:pt x="4" y="6"/>
                    </a:lnTo>
                    <a:lnTo>
                      <a:pt x="4" y="4"/>
                    </a:lnTo>
                    <a:lnTo>
                      <a:pt x="2" y="2"/>
                    </a:lnTo>
                    <a:lnTo>
                      <a:pt x="0" y="2"/>
                    </a:lnTo>
                    <a:lnTo>
                      <a:pt x="0" y="2"/>
                    </a:lnTo>
                    <a:lnTo>
                      <a:pt x="0" y="2"/>
                    </a:lnTo>
                    <a:lnTo>
                      <a:pt x="2" y="0"/>
                    </a:lnTo>
                    <a:lnTo>
                      <a:pt x="2" y="0"/>
                    </a:lnTo>
                    <a:lnTo>
                      <a:pt x="2" y="2"/>
                    </a:lnTo>
                    <a:lnTo>
                      <a:pt x="4" y="2"/>
                    </a:lnTo>
                    <a:lnTo>
                      <a:pt x="4" y="2"/>
                    </a:lnTo>
                    <a:lnTo>
                      <a:pt x="6" y="0"/>
                    </a:lnTo>
                    <a:lnTo>
                      <a:pt x="6" y="2"/>
                    </a:lnTo>
                    <a:lnTo>
                      <a:pt x="6" y="2"/>
                    </a:lnTo>
                    <a:lnTo>
                      <a:pt x="8"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09" name="Freeform 360"/>
              <p:cNvSpPr>
                <a:spLocks/>
              </p:cNvSpPr>
              <p:nvPr/>
            </p:nvSpPr>
            <p:spPr bwMode="auto">
              <a:xfrm>
                <a:off x="2283" y="839"/>
                <a:ext cx="6" cy="6"/>
              </a:xfrm>
              <a:custGeom>
                <a:avLst/>
                <a:gdLst>
                  <a:gd name="T0" fmla="*/ 4 w 6"/>
                  <a:gd name="T1" fmla="*/ 0 h 6"/>
                  <a:gd name="T2" fmla="*/ 2 w 6"/>
                  <a:gd name="T3" fmla="*/ 0 h 6"/>
                  <a:gd name="T4" fmla="*/ 2 w 6"/>
                  <a:gd name="T5" fmla="*/ 0 h 6"/>
                  <a:gd name="T6" fmla="*/ 0 w 6"/>
                  <a:gd name="T7" fmla="*/ 0 h 6"/>
                  <a:gd name="T8" fmla="*/ 0 w 6"/>
                  <a:gd name="T9" fmla="*/ 2 h 6"/>
                  <a:gd name="T10" fmla="*/ 0 w 6"/>
                  <a:gd name="T11" fmla="*/ 2 h 6"/>
                  <a:gd name="T12" fmla="*/ 0 w 6"/>
                  <a:gd name="T13" fmla="*/ 2 h 6"/>
                  <a:gd name="T14" fmla="*/ 0 w 6"/>
                  <a:gd name="T15" fmla="*/ 4 h 6"/>
                  <a:gd name="T16" fmla="*/ 4 w 6"/>
                  <a:gd name="T17" fmla="*/ 6 h 6"/>
                  <a:gd name="T18" fmla="*/ 6 w 6"/>
                  <a:gd name="T19" fmla="*/ 4 h 6"/>
                  <a:gd name="T20" fmla="*/ 6 w 6"/>
                  <a:gd name="T21" fmla="*/ 2 h 6"/>
                  <a:gd name="T22" fmla="*/ 6 w 6"/>
                  <a:gd name="T23" fmla="*/ 0 h 6"/>
                  <a:gd name="T24" fmla="*/ 4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4" y="0"/>
                    </a:moveTo>
                    <a:lnTo>
                      <a:pt x="2" y="0"/>
                    </a:lnTo>
                    <a:lnTo>
                      <a:pt x="2" y="0"/>
                    </a:lnTo>
                    <a:lnTo>
                      <a:pt x="0" y="0"/>
                    </a:lnTo>
                    <a:lnTo>
                      <a:pt x="0" y="2"/>
                    </a:lnTo>
                    <a:lnTo>
                      <a:pt x="0" y="2"/>
                    </a:lnTo>
                    <a:lnTo>
                      <a:pt x="0" y="2"/>
                    </a:lnTo>
                    <a:lnTo>
                      <a:pt x="0" y="4"/>
                    </a:lnTo>
                    <a:lnTo>
                      <a:pt x="4" y="6"/>
                    </a:lnTo>
                    <a:lnTo>
                      <a:pt x="6" y="4"/>
                    </a:lnTo>
                    <a:lnTo>
                      <a:pt x="6" y="2"/>
                    </a:lnTo>
                    <a:lnTo>
                      <a:pt x="6" y="0"/>
                    </a:lnTo>
                    <a:lnTo>
                      <a:pt x="4"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10" name="Freeform 361"/>
              <p:cNvSpPr>
                <a:spLocks/>
              </p:cNvSpPr>
              <p:nvPr/>
            </p:nvSpPr>
            <p:spPr bwMode="auto">
              <a:xfrm>
                <a:off x="2283" y="839"/>
                <a:ext cx="6" cy="6"/>
              </a:xfrm>
              <a:custGeom>
                <a:avLst/>
                <a:gdLst>
                  <a:gd name="T0" fmla="*/ 4 w 6"/>
                  <a:gd name="T1" fmla="*/ 0 h 6"/>
                  <a:gd name="T2" fmla="*/ 2 w 6"/>
                  <a:gd name="T3" fmla="*/ 0 h 6"/>
                  <a:gd name="T4" fmla="*/ 2 w 6"/>
                  <a:gd name="T5" fmla="*/ 0 h 6"/>
                  <a:gd name="T6" fmla="*/ 0 w 6"/>
                  <a:gd name="T7" fmla="*/ 0 h 6"/>
                  <a:gd name="T8" fmla="*/ 0 w 6"/>
                  <a:gd name="T9" fmla="*/ 2 h 6"/>
                  <a:gd name="T10" fmla="*/ 0 w 6"/>
                  <a:gd name="T11" fmla="*/ 2 h 6"/>
                  <a:gd name="T12" fmla="*/ 0 w 6"/>
                  <a:gd name="T13" fmla="*/ 2 h 6"/>
                  <a:gd name="T14" fmla="*/ 0 w 6"/>
                  <a:gd name="T15" fmla="*/ 4 h 6"/>
                  <a:gd name="T16" fmla="*/ 4 w 6"/>
                  <a:gd name="T17" fmla="*/ 6 h 6"/>
                  <a:gd name="T18" fmla="*/ 6 w 6"/>
                  <a:gd name="T19" fmla="*/ 4 h 6"/>
                  <a:gd name="T20" fmla="*/ 6 w 6"/>
                  <a:gd name="T21" fmla="*/ 2 h 6"/>
                  <a:gd name="T22" fmla="*/ 6 w 6"/>
                  <a:gd name="T23" fmla="*/ 0 h 6"/>
                  <a:gd name="T24" fmla="*/ 4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4" y="0"/>
                    </a:moveTo>
                    <a:lnTo>
                      <a:pt x="2" y="0"/>
                    </a:lnTo>
                    <a:lnTo>
                      <a:pt x="2" y="0"/>
                    </a:lnTo>
                    <a:lnTo>
                      <a:pt x="0" y="0"/>
                    </a:lnTo>
                    <a:lnTo>
                      <a:pt x="0" y="2"/>
                    </a:lnTo>
                    <a:lnTo>
                      <a:pt x="0" y="2"/>
                    </a:lnTo>
                    <a:lnTo>
                      <a:pt x="0" y="2"/>
                    </a:lnTo>
                    <a:lnTo>
                      <a:pt x="0" y="4"/>
                    </a:lnTo>
                    <a:lnTo>
                      <a:pt x="4" y="6"/>
                    </a:lnTo>
                    <a:lnTo>
                      <a:pt x="6" y="4"/>
                    </a:lnTo>
                    <a:lnTo>
                      <a:pt x="6" y="2"/>
                    </a:lnTo>
                    <a:lnTo>
                      <a:pt x="6" y="0"/>
                    </a:lnTo>
                    <a:lnTo>
                      <a:pt x="4"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11" name="Freeform 362"/>
              <p:cNvSpPr>
                <a:spLocks/>
              </p:cNvSpPr>
              <p:nvPr/>
            </p:nvSpPr>
            <p:spPr bwMode="auto">
              <a:xfrm>
                <a:off x="2273" y="845"/>
                <a:ext cx="10" cy="8"/>
              </a:xfrm>
              <a:custGeom>
                <a:avLst/>
                <a:gdLst>
                  <a:gd name="T0" fmla="*/ 6 w 10"/>
                  <a:gd name="T1" fmla="*/ 2 h 8"/>
                  <a:gd name="T2" fmla="*/ 6 w 10"/>
                  <a:gd name="T3" fmla="*/ 0 h 8"/>
                  <a:gd name="T4" fmla="*/ 2 w 10"/>
                  <a:gd name="T5" fmla="*/ 2 h 8"/>
                  <a:gd name="T6" fmla="*/ 0 w 10"/>
                  <a:gd name="T7" fmla="*/ 2 h 8"/>
                  <a:gd name="T8" fmla="*/ 0 w 10"/>
                  <a:gd name="T9" fmla="*/ 4 h 8"/>
                  <a:gd name="T10" fmla="*/ 4 w 10"/>
                  <a:gd name="T11" fmla="*/ 6 h 8"/>
                  <a:gd name="T12" fmla="*/ 4 w 10"/>
                  <a:gd name="T13" fmla="*/ 6 h 8"/>
                  <a:gd name="T14" fmla="*/ 4 w 10"/>
                  <a:gd name="T15" fmla="*/ 8 h 8"/>
                  <a:gd name="T16" fmla="*/ 4 w 10"/>
                  <a:gd name="T17" fmla="*/ 8 h 8"/>
                  <a:gd name="T18" fmla="*/ 8 w 10"/>
                  <a:gd name="T19" fmla="*/ 8 h 8"/>
                  <a:gd name="T20" fmla="*/ 10 w 10"/>
                  <a:gd name="T21" fmla="*/ 6 h 8"/>
                  <a:gd name="T22" fmla="*/ 8 w 10"/>
                  <a:gd name="T23" fmla="*/ 6 h 8"/>
                  <a:gd name="T24" fmla="*/ 8 w 10"/>
                  <a:gd name="T25" fmla="*/ 2 h 8"/>
                  <a:gd name="T26" fmla="*/ 6 w 10"/>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8">
                    <a:moveTo>
                      <a:pt x="6" y="2"/>
                    </a:moveTo>
                    <a:lnTo>
                      <a:pt x="6" y="0"/>
                    </a:lnTo>
                    <a:lnTo>
                      <a:pt x="2" y="2"/>
                    </a:lnTo>
                    <a:lnTo>
                      <a:pt x="0" y="2"/>
                    </a:lnTo>
                    <a:lnTo>
                      <a:pt x="0" y="4"/>
                    </a:lnTo>
                    <a:lnTo>
                      <a:pt x="4" y="6"/>
                    </a:lnTo>
                    <a:lnTo>
                      <a:pt x="4" y="6"/>
                    </a:lnTo>
                    <a:lnTo>
                      <a:pt x="4" y="8"/>
                    </a:lnTo>
                    <a:lnTo>
                      <a:pt x="4" y="8"/>
                    </a:lnTo>
                    <a:lnTo>
                      <a:pt x="8" y="8"/>
                    </a:lnTo>
                    <a:lnTo>
                      <a:pt x="10" y="6"/>
                    </a:lnTo>
                    <a:lnTo>
                      <a:pt x="8" y="6"/>
                    </a:lnTo>
                    <a:lnTo>
                      <a:pt x="8" y="2"/>
                    </a:lnTo>
                    <a:lnTo>
                      <a:pt x="6"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12" name="Freeform 363"/>
              <p:cNvSpPr>
                <a:spLocks/>
              </p:cNvSpPr>
              <p:nvPr/>
            </p:nvSpPr>
            <p:spPr bwMode="auto">
              <a:xfrm>
                <a:off x="2273" y="845"/>
                <a:ext cx="10" cy="8"/>
              </a:xfrm>
              <a:custGeom>
                <a:avLst/>
                <a:gdLst>
                  <a:gd name="T0" fmla="*/ 6 w 10"/>
                  <a:gd name="T1" fmla="*/ 2 h 8"/>
                  <a:gd name="T2" fmla="*/ 6 w 10"/>
                  <a:gd name="T3" fmla="*/ 0 h 8"/>
                  <a:gd name="T4" fmla="*/ 2 w 10"/>
                  <a:gd name="T5" fmla="*/ 2 h 8"/>
                  <a:gd name="T6" fmla="*/ 0 w 10"/>
                  <a:gd name="T7" fmla="*/ 2 h 8"/>
                  <a:gd name="T8" fmla="*/ 0 w 10"/>
                  <a:gd name="T9" fmla="*/ 4 h 8"/>
                  <a:gd name="T10" fmla="*/ 4 w 10"/>
                  <a:gd name="T11" fmla="*/ 6 h 8"/>
                  <a:gd name="T12" fmla="*/ 4 w 10"/>
                  <a:gd name="T13" fmla="*/ 6 h 8"/>
                  <a:gd name="T14" fmla="*/ 4 w 10"/>
                  <a:gd name="T15" fmla="*/ 8 h 8"/>
                  <a:gd name="T16" fmla="*/ 4 w 10"/>
                  <a:gd name="T17" fmla="*/ 8 h 8"/>
                  <a:gd name="T18" fmla="*/ 8 w 10"/>
                  <a:gd name="T19" fmla="*/ 8 h 8"/>
                  <a:gd name="T20" fmla="*/ 10 w 10"/>
                  <a:gd name="T21" fmla="*/ 6 h 8"/>
                  <a:gd name="T22" fmla="*/ 8 w 10"/>
                  <a:gd name="T23" fmla="*/ 6 h 8"/>
                  <a:gd name="T24" fmla="*/ 8 w 10"/>
                  <a:gd name="T25" fmla="*/ 2 h 8"/>
                  <a:gd name="T26" fmla="*/ 6 w 10"/>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8">
                    <a:moveTo>
                      <a:pt x="6" y="2"/>
                    </a:moveTo>
                    <a:lnTo>
                      <a:pt x="6" y="0"/>
                    </a:lnTo>
                    <a:lnTo>
                      <a:pt x="2" y="2"/>
                    </a:lnTo>
                    <a:lnTo>
                      <a:pt x="0" y="2"/>
                    </a:lnTo>
                    <a:lnTo>
                      <a:pt x="0" y="4"/>
                    </a:lnTo>
                    <a:lnTo>
                      <a:pt x="4" y="6"/>
                    </a:lnTo>
                    <a:lnTo>
                      <a:pt x="4" y="6"/>
                    </a:lnTo>
                    <a:lnTo>
                      <a:pt x="4" y="8"/>
                    </a:lnTo>
                    <a:lnTo>
                      <a:pt x="4" y="8"/>
                    </a:lnTo>
                    <a:lnTo>
                      <a:pt x="8" y="8"/>
                    </a:lnTo>
                    <a:lnTo>
                      <a:pt x="10" y="6"/>
                    </a:lnTo>
                    <a:lnTo>
                      <a:pt x="8" y="6"/>
                    </a:lnTo>
                    <a:lnTo>
                      <a:pt x="8" y="2"/>
                    </a:lnTo>
                    <a:lnTo>
                      <a:pt x="6"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13" name="Freeform 364"/>
              <p:cNvSpPr>
                <a:spLocks/>
              </p:cNvSpPr>
              <p:nvPr/>
            </p:nvSpPr>
            <p:spPr bwMode="auto">
              <a:xfrm>
                <a:off x="2263" y="849"/>
                <a:ext cx="14" cy="8"/>
              </a:xfrm>
              <a:custGeom>
                <a:avLst/>
                <a:gdLst>
                  <a:gd name="T0" fmla="*/ 8 w 14"/>
                  <a:gd name="T1" fmla="*/ 0 h 8"/>
                  <a:gd name="T2" fmla="*/ 8 w 14"/>
                  <a:gd name="T3" fmla="*/ 0 h 8"/>
                  <a:gd name="T4" fmla="*/ 6 w 14"/>
                  <a:gd name="T5" fmla="*/ 2 h 8"/>
                  <a:gd name="T6" fmla="*/ 6 w 14"/>
                  <a:gd name="T7" fmla="*/ 2 h 8"/>
                  <a:gd name="T8" fmla="*/ 6 w 14"/>
                  <a:gd name="T9" fmla="*/ 2 h 8"/>
                  <a:gd name="T10" fmla="*/ 6 w 14"/>
                  <a:gd name="T11" fmla="*/ 4 h 8"/>
                  <a:gd name="T12" fmla="*/ 6 w 14"/>
                  <a:gd name="T13" fmla="*/ 4 h 8"/>
                  <a:gd name="T14" fmla="*/ 6 w 14"/>
                  <a:gd name="T15" fmla="*/ 4 h 8"/>
                  <a:gd name="T16" fmla="*/ 6 w 14"/>
                  <a:gd name="T17" fmla="*/ 6 h 8"/>
                  <a:gd name="T18" fmla="*/ 4 w 14"/>
                  <a:gd name="T19" fmla="*/ 6 h 8"/>
                  <a:gd name="T20" fmla="*/ 4 w 14"/>
                  <a:gd name="T21" fmla="*/ 4 h 8"/>
                  <a:gd name="T22" fmla="*/ 4 w 14"/>
                  <a:gd name="T23" fmla="*/ 4 h 8"/>
                  <a:gd name="T24" fmla="*/ 4 w 14"/>
                  <a:gd name="T25" fmla="*/ 4 h 8"/>
                  <a:gd name="T26" fmla="*/ 2 w 14"/>
                  <a:gd name="T27" fmla="*/ 4 h 8"/>
                  <a:gd name="T28" fmla="*/ 2 w 14"/>
                  <a:gd name="T29" fmla="*/ 2 h 8"/>
                  <a:gd name="T30" fmla="*/ 0 w 14"/>
                  <a:gd name="T31" fmla="*/ 2 h 8"/>
                  <a:gd name="T32" fmla="*/ 0 w 14"/>
                  <a:gd name="T33" fmla="*/ 2 h 8"/>
                  <a:gd name="T34" fmla="*/ 0 w 14"/>
                  <a:gd name="T35" fmla="*/ 4 h 8"/>
                  <a:gd name="T36" fmla="*/ 0 w 14"/>
                  <a:gd name="T37" fmla="*/ 4 h 8"/>
                  <a:gd name="T38" fmla="*/ 0 w 14"/>
                  <a:gd name="T39" fmla="*/ 6 h 8"/>
                  <a:gd name="T40" fmla="*/ 4 w 14"/>
                  <a:gd name="T41" fmla="*/ 6 h 8"/>
                  <a:gd name="T42" fmla="*/ 4 w 14"/>
                  <a:gd name="T43" fmla="*/ 6 h 8"/>
                  <a:gd name="T44" fmla="*/ 4 w 14"/>
                  <a:gd name="T45" fmla="*/ 6 h 8"/>
                  <a:gd name="T46" fmla="*/ 4 w 14"/>
                  <a:gd name="T47" fmla="*/ 8 h 8"/>
                  <a:gd name="T48" fmla="*/ 6 w 14"/>
                  <a:gd name="T49" fmla="*/ 8 h 8"/>
                  <a:gd name="T50" fmla="*/ 6 w 14"/>
                  <a:gd name="T51" fmla="*/ 6 h 8"/>
                  <a:gd name="T52" fmla="*/ 6 w 14"/>
                  <a:gd name="T53" fmla="*/ 6 h 8"/>
                  <a:gd name="T54" fmla="*/ 8 w 14"/>
                  <a:gd name="T55" fmla="*/ 6 h 8"/>
                  <a:gd name="T56" fmla="*/ 8 w 14"/>
                  <a:gd name="T57" fmla="*/ 6 h 8"/>
                  <a:gd name="T58" fmla="*/ 10 w 14"/>
                  <a:gd name="T59" fmla="*/ 6 h 8"/>
                  <a:gd name="T60" fmla="*/ 12 w 14"/>
                  <a:gd name="T61" fmla="*/ 6 h 8"/>
                  <a:gd name="T62" fmla="*/ 14 w 14"/>
                  <a:gd name="T63" fmla="*/ 6 h 8"/>
                  <a:gd name="T64" fmla="*/ 14 w 14"/>
                  <a:gd name="T65" fmla="*/ 6 h 8"/>
                  <a:gd name="T66" fmla="*/ 14 w 14"/>
                  <a:gd name="T67" fmla="*/ 4 h 8"/>
                  <a:gd name="T68" fmla="*/ 14 w 14"/>
                  <a:gd name="T69" fmla="*/ 4 h 8"/>
                  <a:gd name="T70" fmla="*/ 12 w 14"/>
                  <a:gd name="T71" fmla="*/ 4 h 8"/>
                  <a:gd name="T72" fmla="*/ 12 w 14"/>
                  <a:gd name="T73" fmla="*/ 4 h 8"/>
                  <a:gd name="T74" fmla="*/ 12 w 14"/>
                  <a:gd name="T75" fmla="*/ 4 h 8"/>
                  <a:gd name="T76" fmla="*/ 12 w 14"/>
                  <a:gd name="T77" fmla="*/ 4 h 8"/>
                  <a:gd name="T78" fmla="*/ 10 w 14"/>
                  <a:gd name="T79" fmla="*/ 2 h 8"/>
                  <a:gd name="T80" fmla="*/ 10 w 14"/>
                  <a:gd name="T81" fmla="*/ 0 h 8"/>
                  <a:gd name="T82" fmla="*/ 8 w 14"/>
                  <a:gd name="T8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 h="8">
                    <a:moveTo>
                      <a:pt x="8" y="0"/>
                    </a:moveTo>
                    <a:lnTo>
                      <a:pt x="8" y="0"/>
                    </a:lnTo>
                    <a:lnTo>
                      <a:pt x="6" y="2"/>
                    </a:lnTo>
                    <a:lnTo>
                      <a:pt x="6" y="2"/>
                    </a:lnTo>
                    <a:lnTo>
                      <a:pt x="6" y="2"/>
                    </a:lnTo>
                    <a:lnTo>
                      <a:pt x="6" y="4"/>
                    </a:lnTo>
                    <a:lnTo>
                      <a:pt x="6" y="4"/>
                    </a:lnTo>
                    <a:lnTo>
                      <a:pt x="6" y="4"/>
                    </a:lnTo>
                    <a:lnTo>
                      <a:pt x="6" y="6"/>
                    </a:lnTo>
                    <a:lnTo>
                      <a:pt x="4" y="6"/>
                    </a:lnTo>
                    <a:lnTo>
                      <a:pt x="4" y="4"/>
                    </a:lnTo>
                    <a:lnTo>
                      <a:pt x="4" y="4"/>
                    </a:lnTo>
                    <a:lnTo>
                      <a:pt x="4" y="4"/>
                    </a:lnTo>
                    <a:lnTo>
                      <a:pt x="2" y="4"/>
                    </a:lnTo>
                    <a:lnTo>
                      <a:pt x="2" y="2"/>
                    </a:lnTo>
                    <a:lnTo>
                      <a:pt x="0" y="2"/>
                    </a:lnTo>
                    <a:lnTo>
                      <a:pt x="0" y="2"/>
                    </a:lnTo>
                    <a:lnTo>
                      <a:pt x="0" y="4"/>
                    </a:lnTo>
                    <a:lnTo>
                      <a:pt x="0" y="4"/>
                    </a:lnTo>
                    <a:lnTo>
                      <a:pt x="0" y="6"/>
                    </a:lnTo>
                    <a:lnTo>
                      <a:pt x="4" y="6"/>
                    </a:lnTo>
                    <a:lnTo>
                      <a:pt x="4" y="6"/>
                    </a:lnTo>
                    <a:lnTo>
                      <a:pt x="4" y="6"/>
                    </a:lnTo>
                    <a:lnTo>
                      <a:pt x="4" y="8"/>
                    </a:lnTo>
                    <a:lnTo>
                      <a:pt x="6" y="8"/>
                    </a:lnTo>
                    <a:lnTo>
                      <a:pt x="6" y="6"/>
                    </a:lnTo>
                    <a:lnTo>
                      <a:pt x="6" y="6"/>
                    </a:lnTo>
                    <a:lnTo>
                      <a:pt x="8" y="6"/>
                    </a:lnTo>
                    <a:lnTo>
                      <a:pt x="8" y="6"/>
                    </a:lnTo>
                    <a:lnTo>
                      <a:pt x="10" y="6"/>
                    </a:lnTo>
                    <a:lnTo>
                      <a:pt x="12" y="6"/>
                    </a:lnTo>
                    <a:lnTo>
                      <a:pt x="14" y="6"/>
                    </a:lnTo>
                    <a:lnTo>
                      <a:pt x="14" y="6"/>
                    </a:lnTo>
                    <a:lnTo>
                      <a:pt x="14" y="4"/>
                    </a:lnTo>
                    <a:lnTo>
                      <a:pt x="14" y="4"/>
                    </a:lnTo>
                    <a:lnTo>
                      <a:pt x="12" y="4"/>
                    </a:lnTo>
                    <a:lnTo>
                      <a:pt x="12" y="4"/>
                    </a:lnTo>
                    <a:lnTo>
                      <a:pt x="12" y="4"/>
                    </a:lnTo>
                    <a:lnTo>
                      <a:pt x="12" y="4"/>
                    </a:lnTo>
                    <a:lnTo>
                      <a:pt x="10" y="2"/>
                    </a:lnTo>
                    <a:lnTo>
                      <a:pt x="10" y="0"/>
                    </a:lnTo>
                    <a:lnTo>
                      <a:pt x="8"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14" name="Freeform 365"/>
              <p:cNvSpPr>
                <a:spLocks/>
              </p:cNvSpPr>
              <p:nvPr/>
            </p:nvSpPr>
            <p:spPr bwMode="auto">
              <a:xfrm>
                <a:off x="2263" y="849"/>
                <a:ext cx="14" cy="8"/>
              </a:xfrm>
              <a:custGeom>
                <a:avLst/>
                <a:gdLst>
                  <a:gd name="T0" fmla="*/ 8 w 14"/>
                  <a:gd name="T1" fmla="*/ 0 h 8"/>
                  <a:gd name="T2" fmla="*/ 8 w 14"/>
                  <a:gd name="T3" fmla="*/ 0 h 8"/>
                  <a:gd name="T4" fmla="*/ 6 w 14"/>
                  <a:gd name="T5" fmla="*/ 2 h 8"/>
                  <a:gd name="T6" fmla="*/ 6 w 14"/>
                  <a:gd name="T7" fmla="*/ 2 h 8"/>
                  <a:gd name="T8" fmla="*/ 6 w 14"/>
                  <a:gd name="T9" fmla="*/ 2 h 8"/>
                  <a:gd name="T10" fmla="*/ 6 w 14"/>
                  <a:gd name="T11" fmla="*/ 4 h 8"/>
                  <a:gd name="T12" fmla="*/ 6 w 14"/>
                  <a:gd name="T13" fmla="*/ 4 h 8"/>
                  <a:gd name="T14" fmla="*/ 6 w 14"/>
                  <a:gd name="T15" fmla="*/ 4 h 8"/>
                  <a:gd name="T16" fmla="*/ 6 w 14"/>
                  <a:gd name="T17" fmla="*/ 6 h 8"/>
                  <a:gd name="T18" fmla="*/ 4 w 14"/>
                  <a:gd name="T19" fmla="*/ 6 h 8"/>
                  <a:gd name="T20" fmla="*/ 4 w 14"/>
                  <a:gd name="T21" fmla="*/ 4 h 8"/>
                  <a:gd name="T22" fmla="*/ 4 w 14"/>
                  <a:gd name="T23" fmla="*/ 4 h 8"/>
                  <a:gd name="T24" fmla="*/ 4 w 14"/>
                  <a:gd name="T25" fmla="*/ 4 h 8"/>
                  <a:gd name="T26" fmla="*/ 2 w 14"/>
                  <a:gd name="T27" fmla="*/ 4 h 8"/>
                  <a:gd name="T28" fmla="*/ 2 w 14"/>
                  <a:gd name="T29" fmla="*/ 2 h 8"/>
                  <a:gd name="T30" fmla="*/ 0 w 14"/>
                  <a:gd name="T31" fmla="*/ 2 h 8"/>
                  <a:gd name="T32" fmla="*/ 0 w 14"/>
                  <a:gd name="T33" fmla="*/ 2 h 8"/>
                  <a:gd name="T34" fmla="*/ 0 w 14"/>
                  <a:gd name="T35" fmla="*/ 4 h 8"/>
                  <a:gd name="T36" fmla="*/ 0 w 14"/>
                  <a:gd name="T37" fmla="*/ 4 h 8"/>
                  <a:gd name="T38" fmla="*/ 0 w 14"/>
                  <a:gd name="T39" fmla="*/ 6 h 8"/>
                  <a:gd name="T40" fmla="*/ 4 w 14"/>
                  <a:gd name="T41" fmla="*/ 6 h 8"/>
                  <a:gd name="T42" fmla="*/ 4 w 14"/>
                  <a:gd name="T43" fmla="*/ 6 h 8"/>
                  <a:gd name="T44" fmla="*/ 4 w 14"/>
                  <a:gd name="T45" fmla="*/ 6 h 8"/>
                  <a:gd name="T46" fmla="*/ 4 w 14"/>
                  <a:gd name="T47" fmla="*/ 8 h 8"/>
                  <a:gd name="T48" fmla="*/ 6 w 14"/>
                  <a:gd name="T49" fmla="*/ 8 h 8"/>
                  <a:gd name="T50" fmla="*/ 6 w 14"/>
                  <a:gd name="T51" fmla="*/ 6 h 8"/>
                  <a:gd name="T52" fmla="*/ 6 w 14"/>
                  <a:gd name="T53" fmla="*/ 6 h 8"/>
                  <a:gd name="T54" fmla="*/ 8 w 14"/>
                  <a:gd name="T55" fmla="*/ 6 h 8"/>
                  <a:gd name="T56" fmla="*/ 8 w 14"/>
                  <a:gd name="T57" fmla="*/ 6 h 8"/>
                  <a:gd name="T58" fmla="*/ 10 w 14"/>
                  <a:gd name="T59" fmla="*/ 6 h 8"/>
                  <a:gd name="T60" fmla="*/ 12 w 14"/>
                  <a:gd name="T61" fmla="*/ 6 h 8"/>
                  <a:gd name="T62" fmla="*/ 14 w 14"/>
                  <a:gd name="T63" fmla="*/ 6 h 8"/>
                  <a:gd name="T64" fmla="*/ 14 w 14"/>
                  <a:gd name="T65" fmla="*/ 6 h 8"/>
                  <a:gd name="T66" fmla="*/ 14 w 14"/>
                  <a:gd name="T67" fmla="*/ 4 h 8"/>
                  <a:gd name="T68" fmla="*/ 14 w 14"/>
                  <a:gd name="T69" fmla="*/ 4 h 8"/>
                  <a:gd name="T70" fmla="*/ 12 w 14"/>
                  <a:gd name="T71" fmla="*/ 4 h 8"/>
                  <a:gd name="T72" fmla="*/ 12 w 14"/>
                  <a:gd name="T73" fmla="*/ 4 h 8"/>
                  <a:gd name="T74" fmla="*/ 12 w 14"/>
                  <a:gd name="T75" fmla="*/ 4 h 8"/>
                  <a:gd name="T76" fmla="*/ 12 w 14"/>
                  <a:gd name="T77" fmla="*/ 4 h 8"/>
                  <a:gd name="T78" fmla="*/ 10 w 14"/>
                  <a:gd name="T79" fmla="*/ 2 h 8"/>
                  <a:gd name="T80" fmla="*/ 10 w 14"/>
                  <a:gd name="T81" fmla="*/ 0 h 8"/>
                  <a:gd name="T82" fmla="*/ 8 w 14"/>
                  <a:gd name="T8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 h="8">
                    <a:moveTo>
                      <a:pt x="8" y="0"/>
                    </a:moveTo>
                    <a:lnTo>
                      <a:pt x="8" y="0"/>
                    </a:lnTo>
                    <a:lnTo>
                      <a:pt x="6" y="2"/>
                    </a:lnTo>
                    <a:lnTo>
                      <a:pt x="6" y="2"/>
                    </a:lnTo>
                    <a:lnTo>
                      <a:pt x="6" y="2"/>
                    </a:lnTo>
                    <a:lnTo>
                      <a:pt x="6" y="4"/>
                    </a:lnTo>
                    <a:lnTo>
                      <a:pt x="6" y="4"/>
                    </a:lnTo>
                    <a:lnTo>
                      <a:pt x="6" y="4"/>
                    </a:lnTo>
                    <a:lnTo>
                      <a:pt x="6" y="6"/>
                    </a:lnTo>
                    <a:lnTo>
                      <a:pt x="4" y="6"/>
                    </a:lnTo>
                    <a:lnTo>
                      <a:pt x="4" y="4"/>
                    </a:lnTo>
                    <a:lnTo>
                      <a:pt x="4" y="4"/>
                    </a:lnTo>
                    <a:lnTo>
                      <a:pt x="4" y="4"/>
                    </a:lnTo>
                    <a:lnTo>
                      <a:pt x="2" y="4"/>
                    </a:lnTo>
                    <a:lnTo>
                      <a:pt x="2" y="2"/>
                    </a:lnTo>
                    <a:lnTo>
                      <a:pt x="0" y="2"/>
                    </a:lnTo>
                    <a:lnTo>
                      <a:pt x="0" y="2"/>
                    </a:lnTo>
                    <a:lnTo>
                      <a:pt x="0" y="4"/>
                    </a:lnTo>
                    <a:lnTo>
                      <a:pt x="0" y="4"/>
                    </a:lnTo>
                    <a:lnTo>
                      <a:pt x="0" y="6"/>
                    </a:lnTo>
                    <a:lnTo>
                      <a:pt x="4" y="6"/>
                    </a:lnTo>
                    <a:lnTo>
                      <a:pt x="4" y="6"/>
                    </a:lnTo>
                    <a:lnTo>
                      <a:pt x="4" y="6"/>
                    </a:lnTo>
                    <a:lnTo>
                      <a:pt x="4" y="8"/>
                    </a:lnTo>
                    <a:lnTo>
                      <a:pt x="6" y="8"/>
                    </a:lnTo>
                    <a:lnTo>
                      <a:pt x="6" y="6"/>
                    </a:lnTo>
                    <a:lnTo>
                      <a:pt x="6" y="6"/>
                    </a:lnTo>
                    <a:lnTo>
                      <a:pt x="8" y="6"/>
                    </a:lnTo>
                    <a:lnTo>
                      <a:pt x="8" y="6"/>
                    </a:lnTo>
                    <a:lnTo>
                      <a:pt x="10" y="6"/>
                    </a:lnTo>
                    <a:lnTo>
                      <a:pt x="12" y="6"/>
                    </a:lnTo>
                    <a:lnTo>
                      <a:pt x="14" y="6"/>
                    </a:lnTo>
                    <a:lnTo>
                      <a:pt x="14" y="6"/>
                    </a:lnTo>
                    <a:lnTo>
                      <a:pt x="14" y="4"/>
                    </a:lnTo>
                    <a:lnTo>
                      <a:pt x="14" y="4"/>
                    </a:lnTo>
                    <a:lnTo>
                      <a:pt x="12" y="4"/>
                    </a:lnTo>
                    <a:lnTo>
                      <a:pt x="12" y="4"/>
                    </a:lnTo>
                    <a:lnTo>
                      <a:pt x="12" y="4"/>
                    </a:lnTo>
                    <a:lnTo>
                      <a:pt x="12" y="4"/>
                    </a:lnTo>
                    <a:lnTo>
                      <a:pt x="10" y="2"/>
                    </a:lnTo>
                    <a:lnTo>
                      <a:pt x="10" y="0"/>
                    </a:lnTo>
                    <a:lnTo>
                      <a:pt x="8"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15" name="Freeform 366"/>
              <p:cNvSpPr>
                <a:spLocks/>
              </p:cNvSpPr>
              <p:nvPr/>
            </p:nvSpPr>
            <p:spPr bwMode="auto">
              <a:xfrm>
                <a:off x="2269" y="871"/>
                <a:ext cx="8" cy="4"/>
              </a:xfrm>
              <a:custGeom>
                <a:avLst/>
                <a:gdLst>
                  <a:gd name="T0" fmla="*/ 8 w 8"/>
                  <a:gd name="T1" fmla="*/ 0 h 4"/>
                  <a:gd name="T2" fmla="*/ 8 w 8"/>
                  <a:gd name="T3" fmla="*/ 0 h 4"/>
                  <a:gd name="T4" fmla="*/ 8 w 8"/>
                  <a:gd name="T5" fmla="*/ 0 h 4"/>
                  <a:gd name="T6" fmla="*/ 8 w 8"/>
                  <a:gd name="T7" fmla="*/ 0 h 4"/>
                  <a:gd name="T8" fmla="*/ 8 w 8"/>
                  <a:gd name="T9" fmla="*/ 2 h 4"/>
                  <a:gd name="T10" fmla="*/ 8 w 8"/>
                  <a:gd name="T11" fmla="*/ 2 h 4"/>
                  <a:gd name="T12" fmla="*/ 4 w 8"/>
                  <a:gd name="T13" fmla="*/ 4 h 4"/>
                  <a:gd name="T14" fmla="*/ 2 w 8"/>
                  <a:gd name="T15" fmla="*/ 2 h 4"/>
                  <a:gd name="T16" fmla="*/ 0 w 8"/>
                  <a:gd name="T17" fmla="*/ 0 h 4"/>
                  <a:gd name="T18" fmla="*/ 4 w 8"/>
                  <a:gd name="T19" fmla="*/ 0 h 4"/>
                  <a:gd name="T20" fmla="*/ 4 w 8"/>
                  <a:gd name="T21" fmla="*/ 0 h 4"/>
                  <a:gd name="T22" fmla="*/ 6 w 8"/>
                  <a:gd name="T23" fmla="*/ 0 h 4"/>
                  <a:gd name="T24" fmla="*/ 8 w 8"/>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
                    <a:moveTo>
                      <a:pt x="8" y="0"/>
                    </a:moveTo>
                    <a:lnTo>
                      <a:pt x="8" y="0"/>
                    </a:lnTo>
                    <a:lnTo>
                      <a:pt x="8" y="0"/>
                    </a:lnTo>
                    <a:lnTo>
                      <a:pt x="8" y="0"/>
                    </a:lnTo>
                    <a:lnTo>
                      <a:pt x="8" y="2"/>
                    </a:lnTo>
                    <a:lnTo>
                      <a:pt x="8" y="2"/>
                    </a:lnTo>
                    <a:lnTo>
                      <a:pt x="4" y="4"/>
                    </a:lnTo>
                    <a:lnTo>
                      <a:pt x="2" y="2"/>
                    </a:lnTo>
                    <a:lnTo>
                      <a:pt x="0" y="0"/>
                    </a:lnTo>
                    <a:lnTo>
                      <a:pt x="4" y="0"/>
                    </a:lnTo>
                    <a:lnTo>
                      <a:pt x="4" y="0"/>
                    </a:lnTo>
                    <a:lnTo>
                      <a:pt x="6" y="0"/>
                    </a:lnTo>
                    <a:lnTo>
                      <a:pt x="8"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16" name="Freeform 367"/>
              <p:cNvSpPr>
                <a:spLocks/>
              </p:cNvSpPr>
              <p:nvPr/>
            </p:nvSpPr>
            <p:spPr bwMode="auto">
              <a:xfrm>
                <a:off x="2269" y="871"/>
                <a:ext cx="8" cy="4"/>
              </a:xfrm>
              <a:custGeom>
                <a:avLst/>
                <a:gdLst>
                  <a:gd name="T0" fmla="*/ 8 w 8"/>
                  <a:gd name="T1" fmla="*/ 0 h 4"/>
                  <a:gd name="T2" fmla="*/ 8 w 8"/>
                  <a:gd name="T3" fmla="*/ 0 h 4"/>
                  <a:gd name="T4" fmla="*/ 8 w 8"/>
                  <a:gd name="T5" fmla="*/ 0 h 4"/>
                  <a:gd name="T6" fmla="*/ 8 w 8"/>
                  <a:gd name="T7" fmla="*/ 0 h 4"/>
                  <a:gd name="T8" fmla="*/ 8 w 8"/>
                  <a:gd name="T9" fmla="*/ 2 h 4"/>
                  <a:gd name="T10" fmla="*/ 8 w 8"/>
                  <a:gd name="T11" fmla="*/ 2 h 4"/>
                  <a:gd name="T12" fmla="*/ 4 w 8"/>
                  <a:gd name="T13" fmla="*/ 4 h 4"/>
                  <a:gd name="T14" fmla="*/ 2 w 8"/>
                  <a:gd name="T15" fmla="*/ 2 h 4"/>
                  <a:gd name="T16" fmla="*/ 0 w 8"/>
                  <a:gd name="T17" fmla="*/ 0 h 4"/>
                  <a:gd name="T18" fmla="*/ 4 w 8"/>
                  <a:gd name="T19" fmla="*/ 0 h 4"/>
                  <a:gd name="T20" fmla="*/ 4 w 8"/>
                  <a:gd name="T21" fmla="*/ 0 h 4"/>
                  <a:gd name="T22" fmla="*/ 6 w 8"/>
                  <a:gd name="T23" fmla="*/ 0 h 4"/>
                  <a:gd name="T24" fmla="*/ 8 w 8"/>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
                    <a:moveTo>
                      <a:pt x="8" y="0"/>
                    </a:moveTo>
                    <a:lnTo>
                      <a:pt x="8" y="0"/>
                    </a:lnTo>
                    <a:lnTo>
                      <a:pt x="8" y="0"/>
                    </a:lnTo>
                    <a:lnTo>
                      <a:pt x="8" y="0"/>
                    </a:lnTo>
                    <a:lnTo>
                      <a:pt x="8" y="2"/>
                    </a:lnTo>
                    <a:lnTo>
                      <a:pt x="8" y="2"/>
                    </a:lnTo>
                    <a:lnTo>
                      <a:pt x="4" y="4"/>
                    </a:lnTo>
                    <a:lnTo>
                      <a:pt x="2" y="2"/>
                    </a:lnTo>
                    <a:lnTo>
                      <a:pt x="0" y="0"/>
                    </a:lnTo>
                    <a:lnTo>
                      <a:pt x="4" y="0"/>
                    </a:lnTo>
                    <a:lnTo>
                      <a:pt x="4" y="0"/>
                    </a:lnTo>
                    <a:lnTo>
                      <a:pt x="6" y="0"/>
                    </a:lnTo>
                    <a:lnTo>
                      <a:pt x="8"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17" name="Freeform 368"/>
              <p:cNvSpPr>
                <a:spLocks/>
              </p:cNvSpPr>
              <p:nvPr/>
            </p:nvSpPr>
            <p:spPr bwMode="auto">
              <a:xfrm>
                <a:off x="2255" y="869"/>
                <a:ext cx="8" cy="6"/>
              </a:xfrm>
              <a:custGeom>
                <a:avLst/>
                <a:gdLst>
                  <a:gd name="T0" fmla="*/ 4 w 8"/>
                  <a:gd name="T1" fmla="*/ 0 h 6"/>
                  <a:gd name="T2" fmla="*/ 4 w 8"/>
                  <a:gd name="T3" fmla="*/ 2 h 6"/>
                  <a:gd name="T4" fmla="*/ 2 w 8"/>
                  <a:gd name="T5" fmla="*/ 0 h 6"/>
                  <a:gd name="T6" fmla="*/ 2 w 8"/>
                  <a:gd name="T7" fmla="*/ 0 h 6"/>
                  <a:gd name="T8" fmla="*/ 0 w 8"/>
                  <a:gd name="T9" fmla="*/ 0 h 6"/>
                  <a:gd name="T10" fmla="*/ 0 w 8"/>
                  <a:gd name="T11" fmla="*/ 2 h 6"/>
                  <a:gd name="T12" fmla="*/ 0 w 8"/>
                  <a:gd name="T13" fmla="*/ 2 h 6"/>
                  <a:gd name="T14" fmla="*/ 0 w 8"/>
                  <a:gd name="T15" fmla="*/ 2 h 6"/>
                  <a:gd name="T16" fmla="*/ 0 w 8"/>
                  <a:gd name="T17" fmla="*/ 2 h 6"/>
                  <a:gd name="T18" fmla="*/ 0 w 8"/>
                  <a:gd name="T19" fmla="*/ 2 h 6"/>
                  <a:gd name="T20" fmla="*/ 0 w 8"/>
                  <a:gd name="T21" fmla="*/ 4 h 6"/>
                  <a:gd name="T22" fmla="*/ 0 w 8"/>
                  <a:gd name="T23" fmla="*/ 4 h 6"/>
                  <a:gd name="T24" fmla="*/ 4 w 8"/>
                  <a:gd name="T25" fmla="*/ 4 h 6"/>
                  <a:gd name="T26" fmla="*/ 4 w 8"/>
                  <a:gd name="T27" fmla="*/ 6 h 6"/>
                  <a:gd name="T28" fmla="*/ 6 w 8"/>
                  <a:gd name="T29" fmla="*/ 6 h 6"/>
                  <a:gd name="T30" fmla="*/ 8 w 8"/>
                  <a:gd name="T31" fmla="*/ 6 h 6"/>
                  <a:gd name="T32" fmla="*/ 8 w 8"/>
                  <a:gd name="T33" fmla="*/ 4 h 6"/>
                  <a:gd name="T34" fmla="*/ 8 w 8"/>
                  <a:gd name="T35" fmla="*/ 4 h 6"/>
                  <a:gd name="T36" fmla="*/ 8 w 8"/>
                  <a:gd name="T37" fmla="*/ 4 h 6"/>
                  <a:gd name="T38" fmla="*/ 8 w 8"/>
                  <a:gd name="T39" fmla="*/ 2 h 6"/>
                  <a:gd name="T40" fmla="*/ 6 w 8"/>
                  <a:gd name="T41" fmla="*/ 2 h 6"/>
                  <a:gd name="T42" fmla="*/ 4 w 8"/>
                  <a:gd name="T4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6">
                    <a:moveTo>
                      <a:pt x="4" y="0"/>
                    </a:moveTo>
                    <a:lnTo>
                      <a:pt x="4" y="2"/>
                    </a:lnTo>
                    <a:lnTo>
                      <a:pt x="2" y="0"/>
                    </a:lnTo>
                    <a:lnTo>
                      <a:pt x="2" y="0"/>
                    </a:lnTo>
                    <a:lnTo>
                      <a:pt x="0" y="0"/>
                    </a:lnTo>
                    <a:lnTo>
                      <a:pt x="0" y="2"/>
                    </a:lnTo>
                    <a:lnTo>
                      <a:pt x="0" y="2"/>
                    </a:lnTo>
                    <a:lnTo>
                      <a:pt x="0" y="2"/>
                    </a:lnTo>
                    <a:lnTo>
                      <a:pt x="0" y="2"/>
                    </a:lnTo>
                    <a:lnTo>
                      <a:pt x="0" y="2"/>
                    </a:lnTo>
                    <a:lnTo>
                      <a:pt x="0" y="4"/>
                    </a:lnTo>
                    <a:lnTo>
                      <a:pt x="0" y="4"/>
                    </a:lnTo>
                    <a:lnTo>
                      <a:pt x="4" y="4"/>
                    </a:lnTo>
                    <a:lnTo>
                      <a:pt x="4" y="6"/>
                    </a:lnTo>
                    <a:lnTo>
                      <a:pt x="6" y="6"/>
                    </a:lnTo>
                    <a:lnTo>
                      <a:pt x="8" y="6"/>
                    </a:lnTo>
                    <a:lnTo>
                      <a:pt x="8" y="4"/>
                    </a:lnTo>
                    <a:lnTo>
                      <a:pt x="8" y="4"/>
                    </a:lnTo>
                    <a:lnTo>
                      <a:pt x="8" y="4"/>
                    </a:lnTo>
                    <a:lnTo>
                      <a:pt x="8" y="2"/>
                    </a:lnTo>
                    <a:lnTo>
                      <a:pt x="6" y="2"/>
                    </a:lnTo>
                    <a:lnTo>
                      <a:pt x="4"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18" name="Freeform 369"/>
              <p:cNvSpPr>
                <a:spLocks/>
              </p:cNvSpPr>
              <p:nvPr/>
            </p:nvSpPr>
            <p:spPr bwMode="auto">
              <a:xfrm>
                <a:off x="2255" y="869"/>
                <a:ext cx="8" cy="6"/>
              </a:xfrm>
              <a:custGeom>
                <a:avLst/>
                <a:gdLst>
                  <a:gd name="T0" fmla="*/ 4 w 8"/>
                  <a:gd name="T1" fmla="*/ 0 h 6"/>
                  <a:gd name="T2" fmla="*/ 4 w 8"/>
                  <a:gd name="T3" fmla="*/ 2 h 6"/>
                  <a:gd name="T4" fmla="*/ 2 w 8"/>
                  <a:gd name="T5" fmla="*/ 0 h 6"/>
                  <a:gd name="T6" fmla="*/ 2 w 8"/>
                  <a:gd name="T7" fmla="*/ 0 h 6"/>
                  <a:gd name="T8" fmla="*/ 0 w 8"/>
                  <a:gd name="T9" fmla="*/ 0 h 6"/>
                  <a:gd name="T10" fmla="*/ 0 w 8"/>
                  <a:gd name="T11" fmla="*/ 2 h 6"/>
                  <a:gd name="T12" fmla="*/ 0 w 8"/>
                  <a:gd name="T13" fmla="*/ 2 h 6"/>
                  <a:gd name="T14" fmla="*/ 0 w 8"/>
                  <a:gd name="T15" fmla="*/ 2 h 6"/>
                  <a:gd name="T16" fmla="*/ 0 w 8"/>
                  <a:gd name="T17" fmla="*/ 2 h 6"/>
                  <a:gd name="T18" fmla="*/ 0 w 8"/>
                  <a:gd name="T19" fmla="*/ 2 h 6"/>
                  <a:gd name="T20" fmla="*/ 0 w 8"/>
                  <a:gd name="T21" fmla="*/ 4 h 6"/>
                  <a:gd name="T22" fmla="*/ 0 w 8"/>
                  <a:gd name="T23" fmla="*/ 4 h 6"/>
                  <a:gd name="T24" fmla="*/ 4 w 8"/>
                  <a:gd name="T25" fmla="*/ 4 h 6"/>
                  <a:gd name="T26" fmla="*/ 4 w 8"/>
                  <a:gd name="T27" fmla="*/ 6 h 6"/>
                  <a:gd name="T28" fmla="*/ 6 w 8"/>
                  <a:gd name="T29" fmla="*/ 6 h 6"/>
                  <a:gd name="T30" fmla="*/ 8 w 8"/>
                  <a:gd name="T31" fmla="*/ 6 h 6"/>
                  <a:gd name="T32" fmla="*/ 8 w 8"/>
                  <a:gd name="T33" fmla="*/ 4 h 6"/>
                  <a:gd name="T34" fmla="*/ 8 w 8"/>
                  <a:gd name="T35" fmla="*/ 4 h 6"/>
                  <a:gd name="T36" fmla="*/ 8 w 8"/>
                  <a:gd name="T37" fmla="*/ 4 h 6"/>
                  <a:gd name="T38" fmla="*/ 8 w 8"/>
                  <a:gd name="T39" fmla="*/ 2 h 6"/>
                  <a:gd name="T40" fmla="*/ 6 w 8"/>
                  <a:gd name="T41" fmla="*/ 2 h 6"/>
                  <a:gd name="T42" fmla="*/ 4 w 8"/>
                  <a:gd name="T4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6">
                    <a:moveTo>
                      <a:pt x="4" y="0"/>
                    </a:moveTo>
                    <a:lnTo>
                      <a:pt x="4" y="2"/>
                    </a:lnTo>
                    <a:lnTo>
                      <a:pt x="2" y="0"/>
                    </a:lnTo>
                    <a:lnTo>
                      <a:pt x="2" y="0"/>
                    </a:lnTo>
                    <a:lnTo>
                      <a:pt x="0" y="0"/>
                    </a:lnTo>
                    <a:lnTo>
                      <a:pt x="0" y="2"/>
                    </a:lnTo>
                    <a:lnTo>
                      <a:pt x="0" y="2"/>
                    </a:lnTo>
                    <a:lnTo>
                      <a:pt x="0" y="2"/>
                    </a:lnTo>
                    <a:lnTo>
                      <a:pt x="0" y="2"/>
                    </a:lnTo>
                    <a:lnTo>
                      <a:pt x="0" y="2"/>
                    </a:lnTo>
                    <a:lnTo>
                      <a:pt x="0" y="4"/>
                    </a:lnTo>
                    <a:lnTo>
                      <a:pt x="0" y="4"/>
                    </a:lnTo>
                    <a:lnTo>
                      <a:pt x="4" y="4"/>
                    </a:lnTo>
                    <a:lnTo>
                      <a:pt x="4" y="6"/>
                    </a:lnTo>
                    <a:lnTo>
                      <a:pt x="6" y="6"/>
                    </a:lnTo>
                    <a:lnTo>
                      <a:pt x="8" y="6"/>
                    </a:lnTo>
                    <a:lnTo>
                      <a:pt x="8" y="4"/>
                    </a:lnTo>
                    <a:lnTo>
                      <a:pt x="8" y="4"/>
                    </a:lnTo>
                    <a:lnTo>
                      <a:pt x="8" y="4"/>
                    </a:lnTo>
                    <a:lnTo>
                      <a:pt x="8" y="2"/>
                    </a:lnTo>
                    <a:lnTo>
                      <a:pt x="6" y="2"/>
                    </a:lnTo>
                    <a:lnTo>
                      <a:pt x="4"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19" name="Freeform 370"/>
              <p:cNvSpPr>
                <a:spLocks/>
              </p:cNvSpPr>
              <p:nvPr/>
            </p:nvSpPr>
            <p:spPr bwMode="auto">
              <a:xfrm>
                <a:off x="2247" y="861"/>
                <a:ext cx="12" cy="8"/>
              </a:xfrm>
              <a:custGeom>
                <a:avLst/>
                <a:gdLst>
                  <a:gd name="T0" fmla="*/ 6 w 12"/>
                  <a:gd name="T1" fmla="*/ 0 h 8"/>
                  <a:gd name="T2" fmla="*/ 2 w 12"/>
                  <a:gd name="T3" fmla="*/ 0 h 8"/>
                  <a:gd name="T4" fmla="*/ 2 w 12"/>
                  <a:gd name="T5" fmla="*/ 2 h 8"/>
                  <a:gd name="T6" fmla="*/ 0 w 12"/>
                  <a:gd name="T7" fmla="*/ 2 h 8"/>
                  <a:gd name="T8" fmla="*/ 4 w 12"/>
                  <a:gd name="T9" fmla="*/ 4 h 8"/>
                  <a:gd name="T10" fmla="*/ 4 w 12"/>
                  <a:gd name="T11" fmla="*/ 4 h 8"/>
                  <a:gd name="T12" fmla="*/ 2 w 12"/>
                  <a:gd name="T13" fmla="*/ 6 h 8"/>
                  <a:gd name="T14" fmla="*/ 4 w 12"/>
                  <a:gd name="T15" fmla="*/ 6 h 8"/>
                  <a:gd name="T16" fmla="*/ 6 w 12"/>
                  <a:gd name="T17" fmla="*/ 6 h 8"/>
                  <a:gd name="T18" fmla="*/ 6 w 12"/>
                  <a:gd name="T19" fmla="*/ 8 h 8"/>
                  <a:gd name="T20" fmla="*/ 8 w 12"/>
                  <a:gd name="T21" fmla="*/ 8 h 8"/>
                  <a:gd name="T22" fmla="*/ 10 w 12"/>
                  <a:gd name="T23" fmla="*/ 8 h 8"/>
                  <a:gd name="T24" fmla="*/ 12 w 12"/>
                  <a:gd name="T25" fmla="*/ 6 h 8"/>
                  <a:gd name="T26" fmla="*/ 10 w 12"/>
                  <a:gd name="T27" fmla="*/ 6 h 8"/>
                  <a:gd name="T28" fmla="*/ 10 w 12"/>
                  <a:gd name="T29" fmla="*/ 6 h 8"/>
                  <a:gd name="T30" fmla="*/ 10 w 12"/>
                  <a:gd name="T31" fmla="*/ 6 h 8"/>
                  <a:gd name="T32" fmla="*/ 8 w 12"/>
                  <a:gd name="T33" fmla="*/ 4 h 8"/>
                  <a:gd name="T34" fmla="*/ 10 w 12"/>
                  <a:gd name="T35" fmla="*/ 4 h 8"/>
                  <a:gd name="T36" fmla="*/ 10 w 12"/>
                  <a:gd name="T37" fmla="*/ 4 h 8"/>
                  <a:gd name="T38" fmla="*/ 10 w 12"/>
                  <a:gd name="T39" fmla="*/ 4 h 8"/>
                  <a:gd name="T40" fmla="*/ 6 w 12"/>
                  <a:gd name="T41" fmla="*/ 4 h 8"/>
                  <a:gd name="T42" fmla="*/ 8 w 12"/>
                  <a:gd name="T43" fmla="*/ 2 h 8"/>
                  <a:gd name="T44" fmla="*/ 8 w 12"/>
                  <a:gd name="T45" fmla="*/ 2 h 8"/>
                  <a:gd name="T46" fmla="*/ 8 w 12"/>
                  <a:gd name="T47" fmla="*/ 2 h 8"/>
                  <a:gd name="T48" fmla="*/ 6 w 12"/>
                  <a:gd name="T4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8">
                    <a:moveTo>
                      <a:pt x="6" y="0"/>
                    </a:moveTo>
                    <a:lnTo>
                      <a:pt x="2" y="0"/>
                    </a:lnTo>
                    <a:lnTo>
                      <a:pt x="2" y="2"/>
                    </a:lnTo>
                    <a:lnTo>
                      <a:pt x="0" y="2"/>
                    </a:lnTo>
                    <a:lnTo>
                      <a:pt x="4" y="4"/>
                    </a:lnTo>
                    <a:lnTo>
                      <a:pt x="4" y="4"/>
                    </a:lnTo>
                    <a:lnTo>
                      <a:pt x="2" y="6"/>
                    </a:lnTo>
                    <a:lnTo>
                      <a:pt x="4" y="6"/>
                    </a:lnTo>
                    <a:lnTo>
                      <a:pt x="6" y="6"/>
                    </a:lnTo>
                    <a:lnTo>
                      <a:pt x="6" y="8"/>
                    </a:lnTo>
                    <a:lnTo>
                      <a:pt x="8" y="8"/>
                    </a:lnTo>
                    <a:lnTo>
                      <a:pt x="10" y="8"/>
                    </a:lnTo>
                    <a:lnTo>
                      <a:pt x="12" y="6"/>
                    </a:lnTo>
                    <a:lnTo>
                      <a:pt x="10" y="6"/>
                    </a:lnTo>
                    <a:lnTo>
                      <a:pt x="10" y="6"/>
                    </a:lnTo>
                    <a:lnTo>
                      <a:pt x="10" y="6"/>
                    </a:lnTo>
                    <a:lnTo>
                      <a:pt x="8" y="4"/>
                    </a:lnTo>
                    <a:lnTo>
                      <a:pt x="10" y="4"/>
                    </a:lnTo>
                    <a:lnTo>
                      <a:pt x="10" y="4"/>
                    </a:lnTo>
                    <a:lnTo>
                      <a:pt x="10" y="4"/>
                    </a:lnTo>
                    <a:lnTo>
                      <a:pt x="6" y="4"/>
                    </a:lnTo>
                    <a:lnTo>
                      <a:pt x="8" y="2"/>
                    </a:lnTo>
                    <a:lnTo>
                      <a:pt x="8" y="2"/>
                    </a:lnTo>
                    <a:lnTo>
                      <a:pt x="8" y="2"/>
                    </a:lnTo>
                    <a:lnTo>
                      <a:pt x="6"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20" name="Freeform 371"/>
              <p:cNvSpPr>
                <a:spLocks/>
              </p:cNvSpPr>
              <p:nvPr/>
            </p:nvSpPr>
            <p:spPr bwMode="auto">
              <a:xfrm>
                <a:off x="2247" y="861"/>
                <a:ext cx="12" cy="8"/>
              </a:xfrm>
              <a:custGeom>
                <a:avLst/>
                <a:gdLst>
                  <a:gd name="T0" fmla="*/ 6 w 12"/>
                  <a:gd name="T1" fmla="*/ 0 h 8"/>
                  <a:gd name="T2" fmla="*/ 2 w 12"/>
                  <a:gd name="T3" fmla="*/ 0 h 8"/>
                  <a:gd name="T4" fmla="*/ 2 w 12"/>
                  <a:gd name="T5" fmla="*/ 2 h 8"/>
                  <a:gd name="T6" fmla="*/ 0 w 12"/>
                  <a:gd name="T7" fmla="*/ 2 h 8"/>
                  <a:gd name="T8" fmla="*/ 4 w 12"/>
                  <a:gd name="T9" fmla="*/ 4 h 8"/>
                  <a:gd name="T10" fmla="*/ 4 w 12"/>
                  <a:gd name="T11" fmla="*/ 4 h 8"/>
                  <a:gd name="T12" fmla="*/ 2 w 12"/>
                  <a:gd name="T13" fmla="*/ 6 h 8"/>
                  <a:gd name="T14" fmla="*/ 4 w 12"/>
                  <a:gd name="T15" fmla="*/ 6 h 8"/>
                  <a:gd name="T16" fmla="*/ 6 w 12"/>
                  <a:gd name="T17" fmla="*/ 6 h 8"/>
                  <a:gd name="T18" fmla="*/ 6 w 12"/>
                  <a:gd name="T19" fmla="*/ 8 h 8"/>
                  <a:gd name="T20" fmla="*/ 8 w 12"/>
                  <a:gd name="T21" fmla="*/ 8 h 8"/>
                  <a:gd name="T22" fmla="*/ 10 w 12"/>
                  <a:gd name="T23" fmla="*/ 8 h 8"/>
                  <a:gd name="T24" fmla="*/ 12 w 12"/>
                  <a:gd name="T25" fmla="*/ 6 h 8"/>
                  <a:gd name="T26" fmla="*/ 10 w 12"/>
                  <a:gd name="T27" fmla="*/ 6 h 8"/>
                  <a:gd name="T28" fmla="*/ 10 w 12"/>
                  <a:gd name="T29" fmla="*/ 6 h 8"/>
                  <a:gd name="T30" fmla="*/ 10 w 12"/>
                  <a:gd name="T31" fmla="*/ 6 h 8"/>
                  <a:gd name="T32" fmla="*/ 8 w 12"/>
                  <a:gd name="T33" fmla="*/ 4 h 8"/>
                  <a:gd name="T34" fmla="*/ 10 w 12"/>
                  <a:gd name="T35" fmla="*/ 4 h 8"/>
                  <a:gd name="T36" fmla="*/ 10 w 12"/>
                  <a:gd name="T37" fmla="*/ 4 h 8"/>
                  <a:gd name="T38" fmla="*/ 10 w 12"/>
                  <a:gd name="T39" fmla="*/ 4 h 8"/>
                  <a:gd name="T40" fmla="*/ 6 w 12"/>
                  <a:gd name="T41" fmla="*/ 4 h 8"/>
                  <a:gd name="T42" fmla="*/ 8 w 12"/>
                  <a:gd name="T43" fmla="*/ 2 h 8"/>
                  <a:gd name="T44" fmla="*/ 8 w 12"/>
                  <a:gd name="T45" fmla="*/ 2 h 8"/>
                  <a:gd name="T46" fmla="*/ 8 w 12"/>
                  <a:gd name="T47" fmla="*/ 2 h 8"/>
                  <a:gd name="T48" fmla="*/ 6 w 12"/>
                  <a:gd name="T4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8">
                    <a:moveTo>
                      <a:pt x="6" y="0"/>
                    </a:moveTo>
                    <a:lnTo>
                      <a:pt x="2" y="0"/>
                    </a:lnTo>
                    <a:lnTo>
                      <a:pt x="2" y="2"/>
                    </a:lnTo>
                    <a:lnTo>
                      <a:pt x="0" y="2"/>
                    </a:lnTo>
                    <a:lnTo>
                      <a:pt x="4" y="4"/>
                    </a:lnTo>
                    <a:lnTo>
                      <a:pt x="4" y="4"/>
                    </a:lnTo>
                    <a:lnTo>
                      <a:pt x="2" y="6"/>
                    </a:lnTo>
                    <a:lnTo>
                      <a:pt x="4" y="6"/>
                    </a:lnTo>
                    <a:lnTo>
                      <a:pt x="6" y="6"/>
                    </a:lnTo>
                    <a:lnTo>
                      <a:pt x="6" y="8"/>
                    </a:lnTo>
                    <a:lnTo>
                      <a:pt x="8" y="8"/>
                    </a:lnTo>
                    <a:lnTo>
                      <a:pt x="10" y="8"/>
                    </a:lnTo>
                    <a:lnTo>
                      <a:pt x="12" y="6"/>
                    </a:lnTo>
                    <a:lnTo>
                      <a:pt x="10" y="6"/>
                    </a:lnTo>
                    <a:lnTo>
                      <a:pt x="10" y="6"/>
                    </a:lnTo>
                    <a:lnTo>
                      <a:pt x="10" y="6"/>
                    </a:lnTo>
                    <a:lnTo>
                      <a:pt x="8" y="4"/>
                    </a:lnTo>
                    <a:lnTo>
                      <a:pt x="10" y="4"/>
                    </a:lnTo>
                    <a:lnTo>
                      <a:pt x="10" y="4"/>
                    </a:lnTo>
                    <a:lnTo>
                      <a:pt x="10" y="4"/>
                    </a:lnTo>
                    <a:lnTo>
                      <a:pt x="6" y="4"/>
                    </a:lnTo>
                    <a:lnTo>
                      <a:pt x="8" y="2"/>
                    </a:lnTo>
                    <a:lnTo>
                      <a:pt x="8" y="2"/>
                    </a:lnTo>
                    <a:lnTo>
                      <a:pt x="8" y="2"/>
                    </a:lnTo>
                    <a:lnTo>
                      <a:pt x="6"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21" name="Freeform 372"/>
              <p:cNvSpPr>
                <a:spLocks/>
              </p:cNvSpPr>
              <p:nvPr/>
            </p:nvSpPr>
            <p:spPr bwMode="auto">
              <a:xfrm>
                <a:off x="2253" y="857"/>
                <a:ext cx="16" cy="18"/>
              </a:xfrm>
              <a:custGeom>
                <a:avLst/>
                <a:gdLst>
                  <a:gd name="T0" fmla="*/ 8 w 16"/>
                  <a:gd name="T1" fmla="*/ 4 h 18"/>
                  <a:gd name="T2" fmla="*/ 8 w 16"/>
                  <a:gd name="T3" fmla="*/ 2 h 18"/>
                  <a:gd name="T4" fmla="*/ 6 w 16"/>
                  <a:gd name="T5" fmla="*/ 0 h 18"/>
                  <a:gd name="T6" fmla="*/ 4 w 16"/>
                  <a:gd name="T7" fmla="*/ 0 h 18"/>
                  <a:gd name="T8" fmla="*/ 2 w 16"/>
                  <a:gd name="T9" fmla="*/ 0 h 18"/>
                  <a:gd name="T10" fmla="*/ 2 w 16"/>
                  <a:gd name="T11" fmla="*/ 0 h 18"/>
                  <a:gd name="T12" fmla="*/ 0 w 16"/>
                  <a:gd name="T13" fmla="*/ 0 h 18"/>
                  <a:gd name="T14" fmla="*/ 0 w 16"/>
                  <a:gd name="T15" fmla="*/ 0 h 18"/>
                  <a:gd name="T16" fmla="*/ 2 w 16"/>
                  <a:gd name="T17" fmla="*/ 2 h 18"/>
                  <a:gd name="T18" fmla="*/ 2 w 16"/>
                  <a:gd name="T19" fmla="*/ 2 h 18"/>
                  <a:gd name="T20" fmla="*/ 2 w 16"/>
                  <a:gd name="T21" fmla="*/ 4 h 18"/>
                  <a:gd name="T22" fmla="*/ 4 w 16"/>
                  <a:gd name="T23" fmla="*/ 4 h 18"/>
                  <a:gd name="T24" fmla="*/ 4 w 16"/>
                  <a:gd name="T25" fmla="*/ 6 h 18"/>
                  <a:gd name="T26" fmla="*/ 4 w 16"/>
                  <a:gd name="T27" fmla="*/ 6 h 18"/>
                  <a:gd name="T28" fmla="*/ 4 w 16"/>
                  <a:gd name="T29" fmla="*/ 6 h 18"/>
                  <a:gd name="T30" fmla="*/ 6 w 16"/>
                  <a:gd name="T31" fmla="*/ 6 h 18"/>
                  <a:gd name="T32" fmla="*/ 6 w 16"/>
                  <a:gd name="T33" fmla="*/ 8 h 18"/>
                  <a:gd name="T34" fmla="*/ 6 w 16"/>
                  <a:gd name="T35" fmla="*/ 10 h 18"/>
                  <a:gd name="T36" fmla="*/ 8 w 16"/>
                  <a:gd name="T37" fmla="*/ 12 h 18"/>
                  <a:gd name="T38" fmla="*/ 10 w 16"/>
                  <a:gd name="T39" fmla="*/ 12 h 18"/>
                  <a:gd name="T40" fmla="*/ 10 w 16"/>
                  <a:gd name="T41" fmla="*/ 12 h 18"/>
                  <a:gd name="T42" fmla="*/ 10 w 16"/>
                  <a:gd name="T43" fmla="*/ 14 h 18"/>
                  <a:gd name="T44" fmla="*/ 10 w 16"/>
                  <a:gd name="T45" fmla="*/ 14 h 18"/>
                  <a:gd name="T46" fmla="*/ 10 w 16"/>
                  <a:gd name="T47" fmla="*/ 14 h 18"/>
                  <a:gd name="T48" fmla="*/ 10 w 16"/>
                  <a:gd name="T49" fmla="*/ 16 h 18"/>
                  <a:gd name="T50" fmla="*/ 10 w 16"/>
                  <a:gd name="T51" fmla="*/ 16 h 18"/>
                  <a:gd name="T52" fmla="*/ 10 w 16"/>
                  <a:gd name="T53" fmla="*/ 16 h 18"/>
                  <a:gd name="T54" fmla="*/ 14 w 16"/>
                  <a:gd name="T55" fmla="*/ 18 h 18"/>
                  <a:gd name="T56" fmla="*/ 16 w 16"/>
                  <a:gd name="T57" fmla="*/ 16 h 18"/>
                  <a:gd name="T58" fmla="*/ 16 w 16"/>
                  <a:gd name="T59" fmla="*/ 14 h 18"/>
                  <a:gd name="T60" fmla="*/ 16 w 16"/>
                  <a:gd name="T61" fmla="*/ 14 h 18"/>
                  <a:gd name="T62" fmla="*/ 16 w 16"/>
                  <a:gd name="T63" fmla="*/ 12 h 18"/>
                  <a:gd name="T64" fmla="*/ 12 w 16"/>
                  <a:gd name="T65" fmla="*/ 8 h 18"/>
                  <a:gd name="T66" fmla="*/ 10 w 16"/>
                  <a:gd name="T67" fmla="*/ 6 h 18"/>
                  <a:gd name="T68" fmla="*/ 10 w 16"/>
                  <a:gd name="T69" fmla="*/ 6 h 18"/>
                  <a:gd name="T70" fmla="*/ 12 w 16"/>
                  <a:gd name="T71" fmla="*/ 6 h 18"/>
                  <a:gd name="T72" fmla="*/ 10 w 16"/>
                  <a:gd name="T73" fmla="*/ 4 h 18"/>
                  <a:gd name="T74" fmla="*/ 8 w 16"/>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 h="18">
                    <a:moveTo>
                      <a:pt x="8" y="4"/>
                    </a:moveTo>
                    <a:lnTo>
                      <a:pt x="8" y="2"/>
                    </a:lnTo>
                    <a:lnTo>
                      <a:pt x="6" y="0"/>
                    </a:lnTo>
                    <a:lnTo>
                      <a:pt x="4" y="0"/>
                    </a:lnTo>
                    <a:lnTo>
                      <a:pt x="2" y="0"/>
                    </a:lnTo>
                    <a:lnTo>
                      <a:pt x="2" y="0"/>
                    </a:lnTo>
                    <a:lnTo>
                      <a:pt x="0" y="0"/>
                    </a:lnTo>
                    <a:lnTo>
                      <a:pt x="0" y="0"/>
                    </a:lnTo>
                    <a:lnTo>
                      <a:pt x="2" y="2"/>
                    </a:lnTo>
                    <a:lnTo>
                      <a:pt x="2" y="2"/>
                    </a:lnTo>
                    <a:lnTo>
                      <a:pt x="2" y="4"/>
                    </a:lnTo>
                    <a:lnTo>
                      <a:pt x="4" y="4"/>
                    </a:lnTo>
                    <a:lnTo>
                      <a:pt x="4" y="6"/>
                    </a:lnTo>
                    <a:lnTo>
                      <a:pt x="4" y="6"/>
                    </a:lnTo>
                    <a:lnTo>
                      <a:pt x="4" y="6"/>
                    </a:lnTo>
                    <a:lnTo>
                      <a:pt x="6" y="6"/>
                    </a:lnTo>
                    <a:lnTo>
                      <a:pt x="6" y="8"/>
                    </a:lnTo>
                    <a:lnTo>
                      <a:pt x="6" y="10"/>
                    </a:lnTo>
                    <a:lnTo>
                      <a:pt x="8" y="12"/>
                    </a:lnTo>
                    <a:lnTo>
                      <a:pt x="10" y="12"/>
                    </a:lnTo>
                    <a:lnTo>
                      <a:pt x="10" y="12"/>
                    </a:lnTo>
                    <a:lnTo>
                      <a:pt x="10" y="14"/>
                    </a:lnTo>
                    <a:lnTo>
                      <a:pt x="10" y="14"/>
                    </a:lnTo>
                    <a:lnTo>
                      <a:pt x="10" y="14"/>
                    </a:lnTo>
                    <a:lnTo>
                      <a:pt x="10" y="16"/>
                    </a:lnTo>
                    <a:lnTo>
                      <a:pt x="10" y="16"/>
                    </a:lnTo>
                    <a:lnTo>
                      <a:pt x="10" y="16"/>
                    </a:lnTo>
                    <a:lnTo>
                      <a:pt x="14" y="18"/>
                    </a:lnTo>
                    <a:lnTo>
                      <a:pt x="16" y="16"/>
                    </a:lnTo>
                    <a:lnTo>
                      <a:pt x="16" y="14"/>
                    </a:lnTo>
                    <a:lnTo>
                      <a:pt x="16" y="14"/>
                    </a:lnTo>
                    <a:lnTo>
                      <a:pt x="16" y="12"/>
                    </a:lnTo>
                    <a:lnTo>
                      <a:pt x="12" y="8"/>
                    </a:lnTo>
                    <a:lnTo>
                      <a:pt x="10" y="6"/>
                    </a:lnTo>
                    <a:lnTo>
                      <a:pt x="10" y="6"/>
                    </a:lnTo>
                    <a:lnTo>
                      <a:pt x="12" y="6"/>
                    </a:lnTo>
                    <a:lnTo>
                      <a:pt x="10" y="4"/>
                    </a:lnTo>
                    <a:lnTo>
                      <a:pt x="8"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22" name="Freeform 373"/>
              <p:cNvSpPr>
                <a:spLocks/>
              </p:cNvSpPr>
              <p:nvPr/>
            </p:nvSpPr>
            <p:spPr bwMode="auto">
              <a:xfrm>
                <a:off x="2253" y="857"/>
                <a:ext cx="16" cy="18"/>
              </a:xfrm>
              <a:custGeom>
                <a:avLst/>
                <a:gdLst>
                  <a:gd name="T0" fmla="*/ 8 w 16"/>
                  <a:gd name="T1" fmla="*/ 4 h 18"/>
                  <a:gd name="T2" fmla="*/ 8 w 16"/>
                  <a:gd name="T3" fmla="*/ 2 h 18"/>
                  <a:gd name="T4" fmla="*/ 6 w 16"/>
                  <a:gd name="T5" fmla="*/ 0 h 18"/>
                  <a:gd name="T6" fmla="*/ 4 w 16"/>
                  <a:gd name="T7" fmla="*/ 0 h 18"/>
                  <a:gd name="T8" fmla="*/ 2 w 16"/>
                  <a:gd name="T9" fmla="*/ 0 h 18"/>
                  <a:gd name="T10" fmla="*/ 2 w 16"/>
                  <a:gd name="T11" fmla="*/ 0 h 18"/>
                  <a:gd name="T12" fmla="*/ 0 w 16"/>
                  <a:gd name="T13" fmla="*/ 0 h 18"/>
                  <a:gd name="T14" fmla="*/ 0 w 16"/>
                  <a:gd name="T15" fmla="*/ 0 h 18"/>
                  <a:gd name="T16" fmla="*/ 2 w 16"/>
                  <a:gd name="T17" fmla="*/ 2 h 18"/>
                  <a:gd name="T18" fmla="*/ 2 w 16"/>
                  <a:gd name="T19" fmla="*/ 2 h 18"/>
                  <a:gd name="T20" fmla="*/ 2 w 16"/>
                  <a:gd name="T21" fmla="*/ 4 h 18"/>
                  <a:gd name="T22" fmla="*/ 4 w 16"/>
                  <a:gd name="T23" fmla="*/ 4 h 18"/>
                  <a:gd name="T24" fmla="*/ 4 w 16"/>
                  <a:gd name="T25" fmla="*/ 6 h 18"/>
                  <a:gd name="T26" fmla="*/ 4 w 16"/>
                  <a:gd name="T27" fmla="*/ 6 h 18"/>
                  <a:gd name="T28" fmla="*/ 4 w 16"/>
                  <a:gd name="T29" fmla="*/ 6 h 18"/>
                  <a:gd name="T30" fmla="*/ 6 w 16"/>
                  <a:gd name="T31" fmla="*/ 6 h 18"/>
                  <a:gd name="T32" fmla="*/ 6 w 16"/>
                  <a:gd name="T33" fmla="*/ 8 h 18"/>
                  <a:gd name="T34" fmla="*/ 6 w 16"/>
                  <a:gd name="T35" fmla="*/ 10 h 18"/>
                  <a:gd name="T36" fmla="*/ 8 w 16"/>
                  <a:gd name="T37" fmla="*/ 12 h 18"/>
                  <a:gd name="T38" fmla="*/ 10 w 16"/>
                  <a:gd name="T39" fmla="*/ 12 h 18"/>
                  <a:gd name="T40" fmla="*/ 10 w 16"/>
                  <a:gd name="T41" fmla="*/ 12 h 18"/>
                  <a:gd name="T42" fmla="*/ 10 w 16"/>
                  <a:gd name="T43" fmla="*/ 14 h 18"/>
                  <a:gd name="T44" fmla="*/ 10 w 16"/>
                  <a:gd name="T45" fmla="*/ 14 h 18"/>
                  <a:gd name="T46" fmla="*/ 10 w 16"/>
                  <a:gd name="T47" fmla="*/ 14 h 18"/>
                  <a:gd name="T48" fmla="*/ 10 w 16"/>
                  <a:gd name="T49" fmla="*/ 16 h 18"/>
                  <a:gd name="T50" fmla="*/ 10 w 16"/>
                  <a:gd name="T51" fmla="*/ 16 h 18"/>
                  <a:gd name="T52" fmla="*/ 10 w 16"/>
                  <a:gd name="T53" fmla="*/ 16 h 18"/>
                  <a:gd name="T54" fmla="*/ 14 w 16"/>
                  <a:gd name="T55" fmla="*/ 18 h 18"/>
                  <a:gd name="T56" fmla="*/ 16 w 16"/>
                  <a:gd name="T57" fmla="*/ 16 h 18"/>
                  <a:gd name="T58" fmla="*/ 16 w 16"/>
                  <a:gd name="T59" fmla="*/ 14 h 18"/>
                  <a:gd name="T60" fmla="*/ 16 w 16"/>
                  <a:gd name="T61" fmla="*/ 14 h 18"/>
                  <a:gd name="T62" fmla="*/ 16 w 16"/>
                  <a:gd name="T63" fmla="*/ 12 h 18"/>
                  <a:gd name="T64" fmla="*/ 12 w 16"/>
                  <a:gd name="T65" fmla="*/ 8 h 18"/>
                  <a:gd name="T66" fmla="*/ 10 w 16"/>
                  <a:gd name="T67" fmla="*/ 6 h 18"/>
                  <a:gd name="T68" fmla="*/ 10 w 16"/>
                  <a:gd name="T69" fmla="*/ 6 h 18"/>
                  <a:gd name="T70" fmla="*/ 12 w 16"/>
                  <a:gd name="T71" fmla="*/ 6 h 18"/>
                  <a:gd name="T72" fmla="*/ 10 w 16"/>
                  <a:gd name="T73" fmla="*/ 4 h 18"/>
                  <a:gd name="T74" fmla="*/ 8 w 16"/>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 h="18">
                    <a:moveTo>
                      <a:pt x="8" y="4"/>
                    </a:moveTo>
                    <a:lnTo>
                      <a:pt x="8" y="2"/>
                    </a:lnTo>
                    <a:lnTo>
                      <a:pt x="6" y="0"/>
                    </a:lnTo>
                    <a:lnTo>
                      <a:pt x="4" y="0"/>
                    </a:lnTo>
                    <a:lnTo>
                      <a:pt x="2" y="0"/>
                    </a:lnTo>
                    <a:lnTo>
                      <a:pt x="2" y="0"/>
                    </a:lnTo>
                    <a:lnTo>
                      <a:pt x="0" y="0"/>
                    </a:lnTo>
                    <a:lnTo>
                      <a:pt x="0" y="0"/>
                    </a:lnTo>
                    <a:lnTo>
                      <a:pt x="2" y="2"/>
                    </a:lnTo>
                    <a:lnTo>
                      <a:pt x="2" y="2"/>
                    </a:lnTo>
                    <a:lnTo>
                      <a:pt x="2" y="4"/>
                    </a:lnTo>
                    <a:lnTo>
                      <a:pt x="4" y="4"/>
                    </a:lnTo>
                    <a:lnTo>
                      <a:pt x="4" y="6"/>
                    </a:lnTo>
                    <a:lnTo>
                      <a:pt x="4" y="6"/>
                    </a:lnTo>
                    <a:lnTo>
                      <a:pt x="4" y="6"/>
                    </a:lnTo>
                    <a:lnTo>
                      <a:pt x="6" y="6"/>
                    </a:lnTo>
                    <a:lnTo>
                      <a:pt x="6" y="8"/>
                    </a:lnTo>
                    <a:lnTo>
                      <a:pt x="6" y="10"/>
                    </a:lnTo>
                    <a:lnTo>
                      <a:pt x="8" y="12"/>
                    </a:lnTo>
                    <a:lnTo>
                      <a:pt x="10" y="12"/>
                    </a:lnTo>
                    <a:lnTo>
                      <a:pt x="10" y="12"/>
                    </a:lnTo>
                    <a:lnTo>
                      <a:pt x="10" y="14"/>
                    </a:lnTo>
                    <a:lnTo>
                      <a:pt x="10" y="14"/>
                    </a:lnTo>
                    <a:lnTo>
                      <a:pt x="10" y="14"/>
                    </a:lnTo>
                    <a:lnTo>
                      <a:pt x="10" y="16"/>
                    </a:lnTo>
                    <a:lnTo>
                      <a:pt x="10" y="16"/>
                    </a:lnTo>
                    <a:lnTo>
                      <a:pt x="10" y="16"/>
                    </a:lnTo>
                    <a:lnTo>
                      <a:pt x="14" y="18"/>
                    </a:lnTo>
                    <a:lnTo>
                      <a:pt x="16" y="16"/>
                    </a:lnTo>
                    <a:lnTo>
                      <a:pt x="16" y="14"/>
                    </a:lnTo>
                    <a:lnTo>
                      <a:pt x="16" y="14"/>
                    </a:lnTo>
                    <a:lnTo>
                      <a:pt x="16" y="12"/>
                    </a:lnTo>
                    <a:lnTo>
                      <a:pt x="12" y="8"/>
                    </a:lnTo>
                    <a:lnTo>
                      <a:pt x="10" y="6"/>
                    </a:lnTo>
                    <a:lnTo>
                      <a:pt x="10" y="6"/>
                    </a:lnTo>
                    <a:lnTo>
                      <a:pt x="12" y="6"/>
                    </a:lnTo>
                    <a:lnTo>
                      <a:pt x="10" y="4"/>
                    </a:lnTo>
                    <a:lnTo>
                      <a:pt x="8"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23" name="Freeform 374"/>
              <p:cNvSpPr>
                <a:spLocks/>
              </p:cNvSpPr>
              <p:nvPr/>
            </p:nvSpPr>
            <p:spPr bwMode="auto">
              <a:xfrm>
                <a:off x="2265" y="859"/>
                <a:ext cx="8" cy="12"/>
              </a:xfrm>
              <a:custGeom>
                <a:avLst/>
                <a:gdLst>
                  <a:gd name="T0" fmla="*/ 4 w 8"/>
                  <a:gd name="T1" fmla="*/ 2 h 12"/>
                  <a:gd name="T2" fmla="*/ 2 w 8"/>
                  <a:gd name="T3" fmla="*/ 2 h 12"/>
                  <a:gd name="T4" fmla="*/ 2 w 8"/>
                  <a:gd name="T5" fmla="*/ 0 h 12"/>
                  <a:gd name="T6" fmla="*/ 0 w 8"/>
                  <a:gd name="T7" fmla="*/ 0 h 12"/>
                  <a:gd name="T8" fmla="*/ 0 w 8"/>
                  <a:gd name="T9" fmla="*/ 0 h 12"/>
                  <a:gd name="T10" fmla="*/ 0 w 8"/>
                  <a:gd name="T11" fmla="*/ 0 h 12"/>
                  <a:gd name="T12" fmla="*/ 0 w 8"/>
                  <a:gd name="T13" fmla="*/ 0 h 12"/>
                  <a:gd name="T14" fmla="*/ 2 w 8"/>
                  <a:gd name="T15" fmla="*/ 6 h 12"/>
                  <a:gd name="T16" fmla="*/ 4 w 8"/>
                  <a:gd name="T17" fmla="*/ 10 h 12"/>
                  <a:gd name="T18" fmla="*/ 4 w 8"/>
                  <a:gd name="T19" fmla="*/ 10 h 12"/>
                  <a:gd name="T20" fmla="*/ 4 w 8"/>
                  <a:gd name="T21" fmla="*/ 12 h 12"/>
                  <a:gd name="T22" fmla="*/ 6 w 8"/>
                  <a:gd name="T23" fmla="*/ 12 h 12"/>
                  <a:gd name="T24" fmla="*/ 8 w 8"/>
                  <a:gd name="T25" fmla="*/ 10 h 12"/>
                  <a:gd name="T26" fmla="*/ 8 w 8"/>
                  <a:gd name="T27" fmla="*/ 10 h 12"/>
                  <a:gd name="T28" fmla="*/ 6 w 8"/>
                  <a:gd name="T29" fmla="*/ 8 h 12"/>
                  <a:gd name="T30" fmla="*/ 6 w 8"/>
                  <a:gd name="T31" fmla="*/ 8 h 12"/>
                  <a:gd name="T32" fmla="*/ 4 w 8"/>
                  <a:gd name="T3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2">
                    <a:moveTo>
                      <a:pt x="4" y="2"/>
                    </a:moveTo>
                    <a:lnTo>
                      <a:pt x="2" y="2"/>
                    </a:lnTo>
                    <a:lnTo>
                      <a:pt x="2" y="0"/>
                    </a:lnTo>
                    <a:lnTo>
                      <a:pt x="0" y="0"/>
                    </a:lnTo>
                    <a:lnTo>
                      <a:pt x="0" y="0"/>
                    </a:lnTo>
                    <a:lnTo>
                      <a:pt x="0" y="0"/>
                    </a:lnTo>
                    <a:lnTo>
                      <a:pt x="0" y="0"/>
                    </a:lnTo>
                    <a:lnTo>
                      <a:pt x="2" y="6"/>
                    </a:lnTo>
                    <a:lnTo>
                      <a:pt x="4" y="10"/>
                    </a:lnTo>
                    <a:lnTo>
                      <a:pt x="4" y="10"/>
                    </a:lnTo>
                    <a:lnTo>
                      <a:pt x="4" y="12"/>
                    </a:lnTo>
                    <a:lnTo>
                      <a:pt x="6" y="12"/>
                    </a:lnTo>
                    <a:lnTo>
                      <a:pt x="8" y="10"/>
                    </a:lnTo>
                    <a:lnTo>
                      <a:pt x="8" y="10"/>
                    </a:lnTo>
                    <a:lnTo>
                      <a:pt x="6" y="8"/>
                    </a:lnTo>
                    <a:lnTo>
                      <a:pt x="6" y="8"/>
                    </a:lnTo>
                    <a:lnTo>
                      <a:pt x="4"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24" name="Freeform 375"/>
              <p:cNvSpPr>
                <a:spLocks/>
              </p:cNvSpPr>
              <p:nvPr/>
            </p:nvSpPr>
            <p:spPr bwMode="auto">
              <a:xfrm>
                <a:off x="2265" y="859"/>
                <a:ext cx="8" cy="12"/>
              </a:xfrm>
              <a:custGeom>
                <a:avLst/>
                <a:gdLst>
                  <a:gd name="T0" fmla="*/ 4 w 8"/>
                  <a:gd name="T1" fmla="*/ 2 h 12"/>
                  <a:gd name="T2" fmla="*/ 2 w 8"/>
                  <a:gd name="T3" fmla="*/ 2 h 12"/>
                  <a:gd name="T4" fmla="*/ 2 w 8"/>
                  <a:gd name="T5" fmla="*/ 0 h 12"/>
                  <a:gd name="T6" fmla="*/ 0 w 8"/>
                  <a:gd name="T7" fmla="*/ 0 h 12"/>
                  <a:gd name="T8" fmla="*/ 0 w 8"/>
                  <a:gd name="T9" fmla="*/ 0 h 12"/>
                  <a:gd name="T10" fmla="*/ 0 w 8"/>
                  <a:gd name="T11" fmla="*/ 0 h 12"/>
                  <a:gd name="T12" fmla="*/ 0 w 8"/>
                  <a:gd name="T13" fmla="*/ 0 h 12"/>
                  <a:gd name="T14" fmla="*/ 2 w 8"/>
                  <a:gd name="T15" fmla="*/ 6 h 12"/>
                  <a:gd name="T16" fmla="*/ 4 w 8"/>
                  <a:gd name="T17" fmla="*/ 10 h 12"/>
                  <a:gd name="T18" fmla="*/ 4 w 8"/>
                  <a:gd name="T19" fmla="*/ 10 h 12"/>
                  <a:gd name="T20" fmla="*/ 4 w 8"/>
                  <a:gd name="T21" fmla="*/ 12 h 12"/>
                  <a:gd name="T22" fmla="*/ 6 w 8"/>
                  <a:gd name="T23" fmla="*/ 12 h 12"/>
                  <a:gd name="T24" fmla="*/ 8 w 8"/>
                  <a:gd name="T25" fmla="*/ 10 h 12"/>
                  <a:gd name="T26" fmla="*/ 8 w 8"/>
                  <a:gd name="T27" fmla="*/ 10 h 12"/>
                  <a:gd name="T28" fmla="*/ 6 w 8"/>
                  <a:gd name="T29" fmla="*/ 8 h 12"/>
                  <a:gd name="T30" fmla="*/ 6 w 8"/>
                  <a:gd name="T31" fmla="*/ 8 h 12"/>
                  <a:gd name="T32" fmla="*/ 4 w 8"/>
                  <a:gd name="T3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2">
                    <a:moveTo>
                      <a:pt x="4" y="2"/>
                    </a:moveTo>
                    <a:lnTo>
                      <a:pt x="2" y="2"/>
                    </a:lnTo>
                    <a:lnTo>
                      <a:pt x="2" y="0"/>
                    </a:lnTo>
                    <a:lnTo>
                      <a:pt x="0" y="0"/>
                    </a:lnTo>
                    <a:lnTo>
                      <a:pt x="0" y="0"/>
                    </a:lnTo>
                    <a:lnTo>
                      <a:pt x="0" y="0"/>
                    </a:lnTo>
                    <a:lnTo>
                      <a:pt x="0" y="0"/>
                    </a:lnTo>
                    <a:lnTo>
                      <a:pt x="2" y="6"/>
                    </a:lnTo>
                    <a:lnTo>
                      <a:pt x="4" y="10"/>
                    </a:lnTo>
                    <a:lnTo>
                      <a:pt x="4" y="10"/>
                    </a:lnTo>
                    <a:lnTo>
                      <a:pt x="4" y="12"/>
                    </a:lnTo>
                    <a:lnTo>
                      <a:pt x="6" y="12"/>
                    </a:lnTo>
                    <a:lnTo>
                      <a:pt x="8" y="10"/>
                    </a:lnTo>
                    <a:lnTo>
                      <a:pt x="8" y="10"/>
                    </a:lnTo>
                    <a:lnTo>
                      <a:pt x="6" y="8"/>
                    </a:lnTo>
                    <a:lnTo>
                      <a:pt x="6" y="8"/>
                    </a:lnTo>
                    <a:lnTo>
                      <a:pt x="4"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25" name="Freeform 376"/>
              <p:cNvSpPr>
                <a:spLocks/>
              </p:cNvSpPr>
              <p:nvPr/>
            </p:nvSpPr>
            <p:spPr bwMode="auto">
              <a:xfrm>
                <a:off x="2079" y="1103"/>
                <a:ext cx="76" cy="104"/>
              </a:xfrm>
              <a:custGeom>
                <a:avLst/>
                <a:gdLst>
                  <a:gd name="T0" fmla="*/ 54 w 76"/>
                  <a:gd name="T1" fmla="*/ 4 h 104"/>
                  <a:gd name="T2" fmla="*/ 66 w 76"/>
                  <a:gd name="T3" fmla="*/ 2 h 104"/>
                  <a:gd name="T4" fmla="*/ 70 w 76"/>
                  <a:gd name="T5" fmla="*/ 8 h 104"/>
                  <a:gd name="T6" fmla="*/ 76 w 76"/>
                  <a:gd name="T7" fmla="*/ 16 h 104"/>
                  <a:gd name="T8" fmla="*/ 74 w 76"/>
                  <a:gd name="T9" fmla="*/ 20 h 104"/>
                  <a:gd name="T10" fmla="*/ 66 w 76"/>
                  <a:gd name="T11" fmla="*/ 20 h 104"/>
                  <a:gd name="T12" fmla="*/ 72 w 76"/>
                  <a:gd name="T13" fmla="*/ 24 h 104"/>
                  <a:gd name="T14" fmla="*/ 66 w 76"/>
                  <a:gd name="T15" fmla="*/ 26 h 104"/>
                  <a:gd name="T16" fmla="*/ 64 w 76"/>
                  <a:gd name="T17" fmla="*/ 26 h 104"/>
                  <a:gd name="T18" fmla="*/ 60 w 76"/>
                  <a:gd name="T19" fmla="*/ 32 h 104"/>
                  <a:gd name="T20" fmla="*/ 58 w 76"/>
                  <a:gd name="T21" fmla="*/ 34 h 104"/>
                  <a:gd name="T22" fmla="*/ 52 w 76"/>
                  <a:gd name="T23" fmla="*/ 42 h 104"/>
                  <a:gd name="T24" fmla="*/ 48 w 76"/>
                  <a:gd name="T25" fmla="*/ 50 h 104"/>
                  <a:gd name="T26" fmla="*/ 44 w 76"/>
                  <a:gd name="T27" fmla="*/ 66 h 104"/>
                  <a:gd name="T28" fmla="*/ 48 w 76"/>
                  <a:gd name="T29" fmla="*/ 90 h 104"/>
                  <a:gd name="T30" fmla="*/ 56 w 76"/>
                  <a:gd name="T31" fmla="*/ 98 h 104"/>
                  <a:gd name="T32" fmla="*/ 54 w 76"/>
                  <a:gd name="T33" fmla="*/ 102 h 104"/>
                  <a:gd name="T34" fmla="*/ 46 w 76"/>
                  <a:gd name="T35" fmla="*/ 100 h 104"/>
                  <a:gd name="T36" fmla="*/ 48 w 76"/>
                  <a:gd name="T37" fmla="*/ 104 h 104"/>
                  <a:gd name="T38" fmla="*/ 44 w 76"/>
                  <a:gd name="T39" fmla="*/ 98 h 104"/>
                  <a:gd name="T40" fmla="*/ 40 w 76"/>
                  <a:gd name="T41" fmla="*/ 94 h 104"/>
                  <a:gd name="T42" fmla="*/ 40 w 76"/>
                  <a:gd name="T43" fmla="*/ 98 h 104"/>
                  <a:gd name="T44" fmla="*/ 38 w 76"/>
                  <a:gd name="T45" fmla="*/ 100 h 104"/>
                  <a:gd name="T46" fmla="*/ 34 w 76"/>
                  <a:gd name="T47" fmla="*/ 98 h 104"/>
                  <a:gd name="T48" fmla="*/ 32 w 76"/>
                  <a:gd name="T49" fmla="*/ 94 h 104"/>
                  <a:gd name="T50" fmla="*/ 28 w 76"/>
                  <a:gd name="T51" fmla="*/ 92 h 104"/>
                  <a:gd name="T52" fmla="*/ 26 w 76"/>
                  <a:gd name="T53" fmla="*/ 94 h 104"/>
                  <a:gd name="T54" fmla="*/ 24 w 76"/>
                  <a:gd name="T55" fmla="*/ 88 h 104"/>
                  <a:gd name="T56" fmla="*/ 16 w 76"/>
                  <a:gd name="T57" fmla="*/ 86 h 104"/>
                  <a:gd name="T58" fmla="*/ 14 w 76"/>
                  <a:gd name="T59" fmla="*/ 82 h 104"/>
                  <a:gd name="T60" fmla="*/ 14 w 76"/>
                  <a:gd name="T61" fmla="*/ 76 h 104"/>
                  <a:gd name="T62" fmla="*/ 16 w 76"/>
                  <a:gd name="T63" fmla="*/ 76 h 104"/>
                  <a:gd name="T64" fmla="*/ 20 w 76"/>
                  <a:gd name="T65" fmla="*/ 74 h 104"/>
                  <a:gd name="T66" fmla="*/ 20 w 76"/>
                  <a:gd name="T67" fmla="*/ 72 h 104"/>
                  <a:gd name="T68" fmla="*/ 18 w 76"/>
                  <a:gd name="T69" fmla="*/ 68 h 104"/>
                  <a:gd name="T70" fmla="*/ 18 w 76"/>
                  <a:gd name="T71" fmla="*/ 66 h 104"/>
                  <a:gd name="T72" fmla="*/ 20 w 76"/>
                  <a:gd name="T73" fmla="*/ 60 h 104"/>
                  <a:gd name="T74" fmla="*/ 18 w 76"/>
                  <a:gd name="T75" fmla="*/ 60 h 104"/>
                  <a:gd name="T76" fmla="*/ 14 w 76"/>
                  <a:gd name="T77" fmla="*/ 56 h 104"/>
                  <a:gd name="T78" fmla="*/ 10 w 76"/>
                  <a:gd name="T79" fmla="*/ 56 h 104"/>
                  <a:gd name="T80" fmla="*/ 8 w 76"/>
                  <a:gd name="T81" fmla="*/ 52 h 104"/>
                  <a:gd name="T82" fmla="*/ 6 w 76"/>
                  <a:gd name="T83" fmla="*/ 50 h 104"/>
                  <a:gd name="T84" fmla="*/ 2 w 76"/>
                  <a:gd name="T85" fmla="*/ 50 h 104"/>
                  <a:gd name="T86" fmla="*/ 6 w 76"/>
                  <a:gd name="T87" fmla="*/ 32 h 104"/>
                  <a:gd name="T88" fmla="*/ 12 w 76"/>
                  <a:gd name="T89" fmla="*/ 32 h 104"/>
                  <a:gd name="T90" fmla="*/ 14 w 76"/>
                  <a:gd name="T91" fmla="*/ 34 h 104"/>
                  <a:gd name="T92" fmla="*/ 18 w 76"/>
                  <a:gd name="T93" fmla="*/ 32 h 104"/>
                  <a:gd name="T94" fmla="*/ 22 w 76"/>
                  <a:gd name="T95" fmla="*/ 28 h 104"/>
                  <a:gd name="T96" fmla="*/ 26 w 76"/>
                  <a:gd name="T97" fmla="*/ 24 h 104"/>
                  <a:gd name="T98" fmla="*/ 30 w 76"/>
                  <a:gd name="T99" fmla="*/ 22 h 104"/>
                  <a:gd name="T100" fmla="*/ 28 w 76"/>
                  <a:gd name="T101" fmla="*/ 20 h 104"/>
                  <a:gd name="T102" fmla="*/ 26 w 76"/>
                  <a:gd name="T103" fmla="*/ 14 h 104"/>
                  <a:gd name="T104" fmla="*/ 36 w 76"/>
                  <a:gd name="T105" fmla="*/ 10 h 104"/>
                  <a:gd name="T106" fmla="*/ 38 w 76"/>
                  <a:gd name="T107" fmla="*/ 10 h 104"/>
                  <a:gd name="T108" fmla="*/ 40 w 76"/>
                  <a:gd name="T109" fmla="*/ 8 h 104"/>
                  <a:gd name="T110" fmla="*/ 40 w 76"/>
                  <a:gd name="T111"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 h="104">
                    <a:moveTo>
                      <a:pt x="50" y="0"/>
                    </a:moveTo>
                    <a:lnTo>
                      <a:pt x="50" y="0"/>
                    </a:lnTo>
                    <a:lnTo>
                      <a:pt x="54" y="4"/>
                    </a:lnTo>
                    <a:lnTo>
                      <a:pt x="58" y="2"/>
                    </a:lnTo>
                    <a:lnTo>
                      <a:pt x="62" y="2"/>
                    </a:lnTo>
                    <a:lnTo>
                      <a:pt x="66" y="2"/>
                    </a:lnTo>
                    <a:lnTo>
                      <a:pt x="66" y="6"/>
                    </a:lnTo>
                    <a:lnTo>
                      <a:pt x="68" y="6"/>
                    </a:lnTo>
                    <a:lnTo>
                      <a:pt x="70" y="8"/>
                    </a:lnTo>
                    <a:lnTo>
                      <a:pt x="74" y="12"/>
                    </a:lnTo>
                    <a:lnTo>
                      <a:pt x="76" y="14"/>
                    </a:lnTo>
                    <a:lnTo>
                      <a:pt x="76" y="16"/>
                    </a:lnTo>
                    <a:lnTo>
                      <a:pt x="76" y="18"/>
                    </a:lnTo>
                    <a:lnTo>
                      <a:pt x="70" y="18"/>
                    </a:lnTo>
                    <a:lnTo>
                      <a:pt x="74" y="20"/>
                    </a:lnTo>
                    <a:lnTo>
                      <a:pt x="72" y="20"/>
                    </a:lnTo>
                    <a:lnTo>
                      <a:pt x="70" y="20"/>
                    </a:lnTo>
                    <a:lnTo>
                      <a:pt x="66" y="20"/>
                    </a:lnTo>
                    <a:lnTo>
                      <a:pt x="68" y="22"/>
                    </a:lnTo>
                    <a:lnTo>
                      <a:pt x="72" y="22"/>
                    </a:lnTo>
                    <a:lnTo>
                      <a:pt x="72" y="24"/>
                    </a:lnTo>
                    <a:lnTo>
                      <a:pt x="70" y="26"/>
                    </a:lnTo>
                    <a:lnTo>
                      <a:pt x="68" y="26"/>
                    </a:lnTo>
                    <a:lnTo>
                      <a:pt x="66" y="26"/>
                    </a:lnTo>
                    <a:lnTo>
                      <a:pt x="62" y="24"/>
                    </a:lnTo>
                    <a:lnTo>
                      <a:pt x="60" y="26"/>
                    </a:lnTo>
                    <a:lnTo>
                      <a:pt x="64" y="26"/>
                    </a:lnTo>
                    <a:lnTo>
                      <a:pt x="64" y="28"/>
                    </a:lnTo>
                    <a:lnTo>
                      <a:pt x="62" y="30"/>
                    </a:lnTo>
                    <a:lnTo>
                      <a:pt x="60" y="32"/>
                    </a:lnTo>
                    <a:lnTo>
                      <a:pt x="58" y="32"/>
                    </a:lnTo>
                    <a:lnTo>
                      <a:pt x="58" y="32"/>
                    </a:lnTo>
                    <a:lnTo>
                      <a:pt x="58" y="34"/>
                    </a:lnTo>
                    <a:lnTo>
                      <a:pt x="56" y="36"/>
                    </a:lnTo>
                    <a:lnTo>
                      <a:pt x="56" y="36"/>
                    </a:lnTo>
                    <a:lnTo>
                      <a:pt x="52" y="42"/>
                    </a:lnTo>
                    <a:lnTo>
                      <a:pt x="52" y="44"/>
                    </a:lnTo>
                    <a:lnTo>
                      <a:pt x="52" y="46"/>
                    </a:lnTo>
                    <a:lnTo>
                      <a:pt x="48" y="50"/>
                    </a:lnTo>
                    <a:lnTo>
                      <a:pt x="48" y="52"/>
                    </a:lnTo>
                    <a:lnTo>
                      <a:pt x="48" y="52"/>
                    </a:lnTo>
                    <a:lnTo>
                      <a:pt x="44" y="66"/>
                    </a:lnTo>
                    <a:lnTo>
                      <a:pt x="46" y="74"/>
                    </a:lnTo>
                    <a:lnTo>
                      <a:pt x="46" y="78"/>
                    </a:lnTo>
                    <a:lnTo>
                      <a:pt x="48" y="90"/>
                    </a:lnTo>
                    <a:lnTo>
                      <a:pt x="50" y="90"/>
                    </a:lnTo>
                    <a:lnTo>
                      <a:pt x="54" y="96"/>
                    </a:lnTo>
                    <a:lnTo>
                      <a:pt x="56" y="98"/>
                    </a:lnTo>
                    <a:lnTo>
                      <a:pt x="56" y="100"/>
                    </a:lnTo>
                    <a:lnTo>
                      <a:pt x="56" y="100"/>
                    </a:lnTo>
                    <a:lnTo>
                      <a:pt x="54" y="102"/>
                    </a:lnTo>
                    <a:lnTo>
                      <a:pt x="52" y="102"/>
                    </a:lnTo>
                    <a:lnTo>
                      <a:pt x="48" y="100"/>
                    </a:lnTo>
                    <a:lnTo>
                      <a:pt x="46" y="100"/>
                    </a:lnTo>
                    <a:lnTo>
                      <a:pt x="50" y="104"/>
                    </a:lnTo>
                    <a:lnTo>
                      <a:pt x="48" y="104"/>
                    </a:lnTo>
                    <a:lnTo>
                      <a:pt x="48" y="104"/>
                    </a:lnTo>
                    <a:lnTo>
                      <a:pt x="46" y="104"/>
                    </a:lnTo>
                    <a:lnTo>
                      <a:pt x="44" y="98"/>
                    </a:lnTo>
                    <a:lnTo>
                      <a:pt x="44" y="98"/>
                    </a:lnTo>
                    <a:lnTo>
                      <a:pt x="46" y="96"/>
                    </a:lnTo>
                    <a:lnTo>
                      <a:pt x="42" y="96"/>
                    </a:lnTo>
                    <a:lnTo>
                      <a:pt x="40" y="94"/>
                    </a:lnTo>
                    <a:lnTo>
                      <a:pt x="40" y="96"/>
                    </a:lnTo>
                    <a:lnTo>
                      <a:pt x="38" y="98"/>
                    </a:lnTo>
                    <a:lnTo>
                      <a:pt x="40" y="98"/>
                    </a:lnTo>
                    <a:lnTo>
                      <a:pt x="42" y="98"/>
                    </a:lnTo>
                    <a:lnTo>
                      <a:pt x="40" y="100"/>
                    </a:lnTo>
                    <a:lnTo>
                      <a:pt x="38" y="100"/>
                    </a:lnTo>
                    <a:lnTo>
                      <a:pt x="36" y="96"/>
                    </a:lnTo>
                    <a:lnTo>
                      <a:pt x="34" y="96"/>
                    </a:lnTo>
                    <a:lnTo>
                      <a:pt x="34" y="98"/>
                    </a:lnTo>
                    <a:lnTo>
                      <a:pt x="34" y="96"/>
                    </a:lnTo>
                    <a:lnTo>
                      <a:pt x="34" y="94"/>
                    </a:lnTo>
                    <a:lnTo>
                      <a:pt x="32" y="94"/>
                    </a:lnTo>
                    <a:lnTo>
                      <a:pt x="30" y="92"/>
                    </a:lnTo>
                    <a:lnTo>
                      <a:pt x="28" y="94"/>
                    </a:lnTo>
                    <a:lnTo>
                      <a:pt x="28" y="92"/>
                    </a:lnTo>
                    <a:lnTo>
                      <a:pt x="28" y="94"/>
                    </a:lnTo>
                    <a:lnTo>
                      <a:pt x="26" y="96"/>
                    </a:lnTo>
                    <a:lnTo>
                      <a:pt x="26" y="94"/>
                    </a:lnTo>
                    <a:lnTo>
                      <a:pt x="22" y="90"/>
                    </a:lnTo>
                    <a:lnTo>
                      <a:pt x="22" y="88"/>
                    </a:lnTo>
                    <a:lnTo>
                      <a:pt x="24" y="88"/>
                    </a:lnTo>
                    <a:lnTo>
                      <a:pt x="24" y="88"/>
                    </a:lnTo>
                    <a:lnTo>
                      <a:pt x="22" y="86"/>
                    </a:lnTo>
                    <a:lnTo>
                      <a:pt x="16" y="86"/>
                    </a:lnTo>
                    <a:lnTo>
                      <a:pt x="14" y="84"/>
                    </a:lnTo>
                    <a:lnTo>
                      <a:pt x="14" y="82"/>
                    </a:lnTo>
                    <a:lnTo>
                      <a:pt x="14" y="82"/>
                    </a:lnTo>
                    <a:lnTo>
                      <a:pt x="12" y="82"/>
                    </a:lnTo>
                    <a:lnTo>
                      <a:pt x="12" y="80"/>
                    </a:lnTo>
                    <a:lnTo>
                      <a:pt x="14" y="76"/>
                    </a:lnTo>
                    <a:lnTo>
                      <a:pt x="14" y="74"/>
                    </a:lnTo>
                    <a:lnTo>
                      <a:pt x="16" y="74"/>
                    </a:lnTo>
                    <a:lnTo>
                      <a:pt x="16" y="76"/>
                    </a:lnTo>
                    <a:lnTo>
                      <a:pt x="18" y="74"/>
                    </a:lnTo>
                    <a:lnTo>
                      <a:pt x="18" y="72"/>
                    </a:lnTo>
                    <a:lnTo>
                      <a:pt x="20" y="74"/>
                    </a:lnTo>
                    <a:lnTo>
                      <a:pt x="22" y="74"/>
                    </a:lnTo>
                    <a:lnTo>
                      <a:pt x="22" y="74"/>
                    </a:lnTo>
                    <a:lnTo>
                      <a:pt x="20" y="72"/>
                    </a:lnTo>
                    <a:lnTo>
                      <a:pt x="22" y="72"/>
                    </a:lnTo>
                    <a:lnTo>
                      <a:pt x="20" y="70"/>
                    </a:lnTo>
                    <a:lnTo>
                      <a:pt x="18" y="68"/>
                    </a:lnTo>
                    <a:lnTo>
                      <a:pt x="16" y="66"/>
                    </a:lnTo>
                    <a:lnTo>
                      <a:pt x="16" y="64"/>
                    </a:lnTo>
                    <a:lnTo>
                      <a:pt x="18" y="66"/>
                    </a:lnTo>
                    <a:lnTo>
                      <a:pt x="18" y="64"/>
                    </a:lnTo>
                    <a:lnTo>
                      <a:pt x="24" y="60"/>
                    </a:lnTo>
                    <a:lnTo>
                      <a:pt x="20" y="60"/>
                    </a:lnTo>
                    <a:lnTo>
                      <a:pt x="16" y="64"/>
                    </a:lnTo>
                    <a:lnTo>
                      <a:pt x="16" y="62"/>
                    </a:lnTo>
                    <a:lnTo>
                      <a:pt x="18" y="60"/>
                    </a:lnTo>
                    <a:lnTo>
                      <a:pt x="20" y="56"/>
                    </a:lnTo>
                    <a:lnTo>
                      <a:pt x="16" y="58"/>
                    </a:lnTo>
                    <a:lnTo>
                      <a:pt x="14" y="56"/>
                    </a:lnTo>
                    <a:lnTo>
                      <a:pt x="14" y="56"/>
                    </a:lnTo>
                    <a:lnTo>
                      <a:pt x="12" y="56"/>
                    </a:lnTo>
                    <a:lnTo>
                      <a:pt x="10" y="56"/>
                    </a:lnTo>
                    <a:lnTo>
                      <a:pt x="12" y="50"/>
                    </a:lnTo>
                    <a:lnTo>
                      <a:pt x="12" y="48"/>
                    </a:lnTo>
                    <a:lnTo>
                      <a:pt x="8" y="52"/>
                    </a:lnTo>
                    <a:lnTo>
                      <a:pt x="8" y="54"/>
                    </a:lnTo>
                    <a:lnTo>
                      <a:pt x="8" y="50"/>
                    </a:lnTo>
                    <a:lnTo>
                      <a:pt x="6" y="50"/>
                    </a:lnTo>
                    <a:lnTo>
                      <a:pt x="6" y="52"/>
                    </a:lnTo>
                    <a:lnTo>
                      <a:pt x="2" y="50"/>
                    </a:lnTo>
                    <a:lnTo>
                      <a:pt x="2" y="50"/>
                    </a:lnTo>
                    <a:lnTo>
                      <a:pt x="0" y="48"/>
                    </a:lnTo>
                    <a:lnTo>
                      <a:pt x="0" y="42"/>
                    </a:lnTo>
                    <a:lnTo>
                      <a:pt x="6" y="32"/>
                    </a:lnTo>
                    <a:lnTo>
                      <a:pt x="8" y="30"/>
                    </a:lnTo>
                    <a:lnTo>
                      <a:pt x="12" y="30"/>
                    </a:lnTo>
                    <a:lnTo>
                      <a:pt x="12" y="32"/>
                    </a:lnTo>
                    <a:lnTo>
                      <a:pt x="14" y="32"/>
                    </a:lnTo>
                    <a:lnTo>
                      <a:pt x="16" y="32"/>
                    </a:lnTo>
                    <a:lnTo>
                      <a:pt x="14" y="34"/>
                    </a:lnTo>
                    <a:lnTo>
                      <a:pt x="14" y="34"/>
                    </a:lnTo>
                    <a:lnTo>
                      <a:pt x="18" y="32"/>
                    </a:lnTo>
                    <a:lnTo>
                      <a:pt x="18" y="32"/>
                    </a:lnTo>
                    <a:lnTo>
                      <a:pt x="20" y="28"/>
                    </a:lnTo>
                    <a:lnTo>
                      <a:pt x="22" y="28"/>
                    </a:lnTo>
                    <a:lnTo>
                      <a:pt x="22" y="28"/>
                    </a:lnTo>
                    <a:lnTo>
                      <a:pt x="24" y="26"/>
                    </a:lnTo>
                    <a:lnTo>
                      <a:pt x="24" y="26"/>
                    </a:lnTo>
                    <a:lnTo>
                      <a:pt x="26" y="24"/>
                    </a:lnTo>
                    <a:lnTo>
                      <a:pt x="28" y="24"/>
                    </a:lnTo>
                    <a:lnTo>
                      <a:pt x="28" y="22"/>
                    </a:lnTo>
                    <a:lnTo>
                      <a:pt x="30" y="22"/>
                    </a:lnTo>
                    <a:lnTo>
                      <a:pt x="32" y="20"/>
                    </a:lnTo>
                    <a:lnTo>
                      <a:pt x="28" y="20"/>
                    </a:lnTo>
                    <a:lnTo>
                      <a:pt x="28" y="20"/>
                    </a:lnTo>
                    <a:lnTo>
                      <a:pt x="30" y="18"/>
                    </a:lnTo>
                    <a:lnTo>
                      <a:pt x="28" y="18"/>
                    </a:lnTo>
                    <a:lnTo>
                      <a:pt x="26" y="14"/>
                    </a:lnTo>
                    <a:lnTo>
                      <a:pt x="28" y="12"/>
                    </a:lnTo>
                    <a:lnTo>
                      <a:pt x="34" y="10"/>
                    </a:lnTo>
                    <a:lnTo>
                      <a:pt x="36" y="10"/>
                    </a:lnTo>
                    <a:lnTo>
                      <a:pt x="38" y="12"/>
                    </a:lnTo>
                    <a:lnTo>
                      <a:pt x="40" y="10"/>
                    </a:lnTo>
                    <a:lnTo>
                      <a:pt x="38" y="10"/>
                    </a:lnTo>
                    <a:lnTo>
                      <a:pt x="38" y="8"/>
                    </a:lnTo>
                    <a:lnTo>
                      <a:pt x="40" y="8"/>
                    </a:lnTo>
                    <a:lnTo>
                      <a:pt x="40" y="8"/>
                    </a:lnTo>
                    <a:lnTo>
                      <a:pt x="40" y="6"/>
                    </a:lnTo>
                    <a:lnTo>
                      <a:pt x="40" y="6"/>
                    </a:lnTo>
                    <a:lnTo>
                      <a:pt x="40" y="4"/>
                    </a:lnTo>
                    <a:lnTo>
                      <a:pt x="46" y="2"/>
                    </a:lnTo>
                    <a:lnTo>
                      <a:pt x="5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26" name="Freeform 377"/>
              <p:cNvSpPr>
                <a:spLocks/>
              </p:cNvSpPr>
              <p:nvPr/>
            </p:nvSpPr>
            <p:spPr bwMode="auto">
              <a:xfrm>
                <a:off x="2079" y="1103"/>
                <a:ext cx="76" cy="104"/>
              </a:xfrm>
              <a:custGeom>
                <a:avLst/>
                <a:gdLst>
                  <a:gd name="T0" fmla="*/ 54 w 76"/>
                  <a:gd name="T1" fmla="*/ 4 h 104"/>
                  <a:gd name="T2" fmla="*/ 66 w 76"/>
                  <a:gd name="T3" fmla="*/ 2 h 104"/>
                  <a:gd name="T4" fmla="*/ 70 w 76"/>
                  <a:gd name="T5" fmla="*/ 8 h 104"/>
                  <a:gd name="T6" fmla="*/ 76 w 76"/>
                  <a:gd name="T7" fmla="*/ 16 h 104"/>
                  <a:gd name="T8" fmla="*/ 74 w 76"/>
                  <a:gd name="T9" fmla="*/ 20 h 104"/>
                  <a:gd name="T10" fmla="*/ 66 w 76"/>
                  <a:gd name="T11" fmla="*/ 20 h 104"/>
                  <a:gd name="T12" fmla="*/ 72 w 76"/>
                  <a:gd name="T13" fmla="*/ 24 h 104"/>
                  <a:gd name="T14" fmla="*/ 66 w 76"/>
                  <a:gd name="T15" fmla="*/ 26 h 104"/>
                  <a:gd name="T16" fmla="*/ 64 w 76"/>
                  <a:gd name="T17" fmla="*/ 26 h 104"/>
                  <a:gd name="T18" fmla="*/ 60 w 76"/>
                  <a:gd name="T19" fmla="*/ 32 h 104"/>
                  <a:gd name="T20" fmla="*/ 58 w 76"/>
                  <a:gd name="T21" fmla="*/ 34 h 104"/>
                  <a:gd name="T22" fmla="*/ 52 w 76"/>
                  <a:gd name="T23" fmla="*/ 42 h 104"/>
                  <a:gd name="T24" fmla="*/ 48 w 76"/>
                  <a:gd name="T25" fmla="*/ 50 h 104"/>
                  <a:gd name="T26" fmla="*/ 44 w 76"/>
                  <a:gd name="T27" fmla="*/ 66 h 104"/>
                  <a:gd name="T28" fmla="*/ 48 w 76"/>
                  <a:gd name="T29" fmla="*/ 90 h 104"/>
                  <a:gd name="T30" fmla="*/ 56 w 76"/>
                  <a:gd name="T31" fmla="*/ 98 h 104"/>
                  <a:gd name="T32" fmla="*/ 54 w 76"/>
                  <a:gd name="T33" fmla="*/ 102 h 104"/>
                  <a:gd name="T34" fmla="*/ 46 w 76"/>
                  <a:gd name="T35" fmla="*/ 100 h 104"/>
                  <a:gd name="T36" fmla="*/ 48 w 76"/>
                  <a:gd name="T37" fmla="*/ 104 h 104"/>
                  <a:gd name="T38" fmla="*/ 44 w 76"/>
                  <a:gd name="T39" fmla="*/ 98 h 104"/>
                  <a:gd name="T40" fmla="*/ 40 w 76"/>
                  <a:gd name="T41" fmla="*/ 94 h 104"/>
                  <a:gd name="T42" fmla="*/ 40 w 76"/>
                  <a:gd name="T43" fmla="*/ 98 h 104"/>
                  <a:gd name="T44" fmla="*/ 38 w 76"/>
                  <a:gd name="T45" fmla="*/ 100 h 104"/>
                  <a:gd name="T46" fmla="*/ 34 w 76"/>
                  <a:gd name="T47" fmla="*/ 98 h 104"/>
                  <a:gd name="T48" fmla="*/ 32 w 76"/>
                  <a:gd name="T49" fmla="*/ 94 h 104"/>
                  <a:gd name="T50" fmla="*/ 28 w 76"/>
                  <a:gd name="T51" fmla="*/ 92 h 104"/>
                  <a:gd name="T52" fmla="*/ 26 w 76"/>
                  <a:gd name="T53" fmla="*/ 94 h 104"/>
                  <a:gd name="T54" fmla="*/ 24 w 76"/>
                  <a:gd name="T55" fmla="*/ 88 h 104"/>
                  <a:gd name="T56" fmla="*/ 16 w 76"/>
                  <a:gd name="T57" fmla="*/ 86 h 104"/>
                  <a:gd name="T58" fmla="*/ 14 w 76"/>
                  <a:gd name="T59" fmla="*/ 82 h 104"/>
                  <a:gd name="T60" fmla="*/ 14 w 76"/>
                  <a:gd name="T61" fmla="*/ 76 h 104"/>
                  <a:gd name="T62" fmla="*/ 16 w 76"/>
                  <a:gd name="T63" fmla="*/ 76 h 104"/>
                  <a:gd name="T64" fmla="*/ 20 w 76"/>
                  <a:gd name="T65" fmla="*/ 74 h 104"/>
                  <a:gd name="T66" fmla="*/ 20 w 76"/>
                  <a:gd name="T67" fmla="*/ 72 h 104"/>
                  <a:gd name="T68" fmla="*/ 18 w 76"/>
                  <a:gd name="T69" fmla="*/ 68 h 104"/>
                  <a:gd name="T70" fmla="*/ 18 w 76"/>
                  <a:gd name="T71" fmla="*/ 66 h 104"/>
                  <a:gd name="T72" fmla="*/ 20 w 76"/>
                  <a:gd name="T73" fmla="*/ 60 h 104"/>
                  <a:gd name="T74" fmla="*/ 18 w 76"/>
                  <a:gd name="T75" fmla="*/ 60 h 104"/>
                  <a:gd name="T76" fmla="*/ 14 w 76"/>
                  <a:gd name="T77" fmla="*/ 56 h 104"/>
                  <a:gd name="T78" fmla="*/ 10 w 76"/>
                  <a:gd name="T79" fmla="*/ 56 h 104"/>
                  <a:gd name="T80" fmla="*/ 8 w 76"/>
                  <a:gd name="T81" fmla="*/ 52 h 104"/>
                  <a:gd name="T82" fmla="*/ 6 w 76"/>
                  <a:gd name="T83" fmla="*/ 50 h 104"/>
                  <a:gd name="T84" fmla="*/ 2 w 76"/>
                  <a:gd name="T85" fmla="*/ 50 h 104"/>
                  <a:gd name="T86" fmla="*/ 6 w 76"/>
                  <a:gd name="T87" fmla="*/ 32 h 104"/>
                  <a:gd name="T88" fmla="*/ 12 w 76"/>
                  <a:gd name="T89" fmla="*/ 32 h 104"/>
                  <a:gd name="T90" fmla="*/ 14 w 76"/>
                  <a:gd name="T91" fmla="*/ 34 h 104"/>
                  <a:gd name="T92" fmla="*/ 18 w 76"/>
                  <a:gd name="T93" fmla="*/ 32 h 104"/>
                  <a:gd name="T94" fmla="*/ 22 w 76"/>
                  <a:gd name="T95" fmla="*/ 28 h 104"/>
                  <a:gd name="T96" fmla="*/ 26 w 76"/>
                  <a:gd name="T97" fmla="*/ 24 h 104"/>
                  <a:gd name="T98" fmla="*/ 30 w 76"/>
                  <a:gd name="T99" fmla="*/ 22 h 104"/>
                  <a:gd name="T100" fmla="*/ 28 w 76"/>
                  <a:gd name="T101" fmla="*/ 20 h 104"/>
                  <a:gd name="T102" fmla="*/ 26 w 76"/>
                  <a:gd name="T103" fmla="*/ 14 h 104"/>
                  <a:gd name="T104" fmla="*/ 36 w 76"/>
                  <a:gd name="T105" fmla="*/ 10 h 104"/>
                  <a:gd name="T106" fmla="*/ 38 w 76"/>
                  <a:gd name="T107" fmla="*/ 10 h 104"/>
                  <a:gd name="T108" fmla="*/ 40 w 76"/>
                  <a:gd name="T109" fmla="*/ 8 h 104"/>
                  <a:gd name="T110" fmla="*/ 40 w 76"/>
                  <a:gd name="T111"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 h="104">
                    <a:moveTo>
                      <a:pt x="50" y="0"/>
                    </a:moveTo>
                    <a:lnTo>
                      <a:pt x="50" y="0"/>
                    </a:lnTo>
                    <a:lnTo>
                      <a:pt x="54" y="4"/>
                    </a:lnTo>
                    <a:lnTo>
                      <a:pt x="58" y="2"/>
                    </a:lnTo>
                    <a:lnTo>
                      <a:pt x="62" y="2"/>
                    </a:lnTo>
                    <a:lnTo>
                      <a:pt x="66" y="2"/>
                    </a:lnTo>
                    <a:lnTo>
                      <a:pt x="66" y="6"/>
                    </a:lnTo>
                    <a:lnTo>
                      <a:pt x="68" y="6"/>
                    </a:lnTo>
                    <a:lnTo>
                      <a:pt x="70" y="8"/>
                    </a:lnTo>
                    <a:lnTo>
                      <a:pt x="74" y="12"/>
                    </a:lnTo>
                    <a:lnTo>
                      <a:pt x="76" y="14"/>
                    </a:lnTo>
                    <a:lnTo>
                      <a:pt x="76" y="16"/>
                    </a:lnTo>
                    <a:lnTo>
                      <a:pt x="76" y="18"/>
                    </a:lnTo>
                    <a:lnTo>
                      <a:pt x="70" y="18"/>
                    </a:lnTo>
                    <a:lnTo>
                      <a:pt x="74" y="20"/>
                    </a:lnTo>
                    <a:lnTo>
                      <a:pt x="72" y="20"/>
                    </a:lnTo>
                    <a:lnTo>
                      <a:pt x="70" y="20"/>
                    </a:lnTo>
                    <a:lnTo>
                      <a:pt x="66" y="20"/>
                    </a:lnTo>
                    <a:lnTo>
                      <a:pt x="68" y="22"/>
                    </a:lnTo>
                    <a:lnTo>
                      <a:pt x="72" y="22"/>
                    </a:lnTo>
                    <a:lnTo>
                      <a:pt x="72" y="24"/>
                    </a:lnTo>
                    <a:lnTo>
                      <a:pt x="70" y="26"/>
                    </a:lnTo>
                    <a:lnTo>
                      <a:pt x="68" y="26"/>
                    </a:lnTo>
                    <a:lnTo>
                      <a:pt x="66" y="26"/>
                    </a:lnTo>
                    <a:lnTo>
                      <a:pt x="62" y="24"/>
                    </a:lnTo>
                    <a:lnTo>
                      <a:pt x="60" y="26"/>
                    </a:lnTo>
                    <a:lnTo>
                      <a:pt x="64" y="26"/>
                    </a:lnTo>
                    <a:lnTo>
                      <a:pt x="64" y="28"/>
                    </a:lnTo>
                    <a:lnTo>
                      <a:pt x="62" y="30"/>
                    </a:lnTo>
                    <a:lnTo>
                      <a:pt x="60" y="32"/>
                    </a:lnTo>
                    <a:lnTo>
                      <a:pt x="58" y="32"/>
                    </a:lnTo>
                    <a:lnTo>
                      <a:pt x="58" y="32"/>
                    </a:lnTo>
                    <a:lnTo>
                      <a:pt x="58" y="34"/>
                    </a:lnTo>
                    <a:lnTo>
                      <a:pt x="56" y="36"/>
                    </a:lnTo>
                    <a:lnTo>
                      <a:pt x="56" y="36"/>
                    </a:lnTo>
                    <a:lnTo>
                      <a:pt x="52" y="42"/>
                    </a:lnTo>
                    <a:lnTo>
                      <a:pt x="52" y="44"/>
                    </a:lnTo>
                    <a:lnTo>
                      <a:pt x="52" y="46"/>
                    </a:lnTo>
                    <a:lnTo>
                      <a:pt x="48" y="50"/>
                    </a:lnTo>
                    <a:lnTo>
                      <a:pt x="48" y="52"/>
                    </a:lnTo>
                    <a:lnTo>
                      <a:pt x="48" y="52"/>
                    </a:lnTo>
                    <a:lnTo>
                      <a:pt x="44" y="66"/>
                    </a:lnTo>
                    <a:lnTo>
                      <a:pt x="46" y="74"/>
                    </a:lnTo>
                    <a:lnTo>
                      <a:pt x="46" y="78"/>
                    </a:lnTo>
                    <a:lnTo>
                      <a:pt x="48" y="90"/>
                    </a:lnTo>
                    <a:lnTo>
                      <a:pt x="50" y="90"/>
                    </a:lnTo>
                    <a:lnTo>
                      <a:pt x="54" y="96"/>
                    </a:lnTo>
                    <a:lnTo>
                      <a:pt x="56" y="98"/>
                    </a:lnTo>
                    <a:lnTo>
                      <a:pt x="56" y="100"/>
                    </a:lnTo>
                    <a:lnTo>
                      <a:pt x="56" y="100"/>
                    </a:lnTo>
                    <a:lnTo>
                      <a:pt x="54" y="102"/>
                    </a:lnTo>
                    <a:lnTo>
                      <a:pt x="52" y="102"/>
                    </a:lnTo>
                    <a:lnTo>
                      <a:pt x="48" y="100"/>
                    </a:lnTo>
                    <a:lnTo>
                      <a:pt x="46" y="100"/>
                    </a:lnTo>
                    <a:lnTo>
                      <a:pt x="50" y="104"/>
                    </a:lnTo>
                    <a:lnTo>
                      <a:pt x="48" y="104"/>
                    </a:lnTo>
                    <a:lnTo>
                      <a:pt x="48" y="104"/>
                    </a:lnTo>
                    <a:lnTo>
                      <a:pt x="46" y="104"/>
                    </a:lnTo>
                    <a:lnTo>
                      <a:pt x="44" y="98"/>
                    </a:lnTo>
                    <a:lnTo>
                      <a:pt x="44" y="98"/>
                    </a:lnTo>
                    <a:lnTo>
                      <a:pt x="46" y="96"/>
                    </a:lnTo>
                    <a:lnTo>
                      <a:pt x="42" y="96"/>
                    </a:lnTo>
                    <a:lnTo>
                      <a:pt x="40" y="94"/>
                    </a:lnTo>
                    <a:lnTo>
                      <a:pt x="40" y="96"/>
                    </a:lnTo>
                    <a:lnTo>
                      <a:pt x="38" y="98"/>
                    </a:lnTo>
                    <a:lnTo>
                      <a:pt x="40" y="98"/>
                    </a:lnTo>
                    <a:lnTo>
                      <a:pt x="42" y="98"/>
                    </a:lnTo>
                    <a:lnTo>
                      <a:pt x="40" y="100"/>
                    </a:lnTo>
                    <a:lnTo>
                      <a:pt x="38" y="100"/>
                    </a:lnTo>
                    <a:lnTo>
                      <a:pt x="36" y="96"/>
                    </a:lnTo>
                    <a:lnTo>
                      <a:pt x="34" y="96"/>
                    </a:lnTo>
                    <a:lnTo>
                      <a:pt x="34" y="98"/>
                    </a:lnTo>
                    <a:lnTo>
                      <a:pt x="34" y="96"/>
                    </a:lnTo>
                    <a:lnTo>
                      <a:pt x="34" y="94"/>
                    </a:lnTo>
                    <a:lnTo>
                      <a:pt x="32" y="94"/>
                    </a:lnTo>
                    <a:lnTo>
                      <a:pt x="30" y="92"/>
                    </a:lnTo>
                    <a:lnTo>
                      <a:pt x="28" y="94"/>
                    </a:lnTo>
                    <a:lnTo>
                      <a:pt x="28" y="92"/>
                    </a:lnTo>
                    <a:lnTo>
                      <a:pt x="28" y="94"/>
                    </a:lnTo>
                    <a:lnTo>
                      <a:pt x="26" y="96"/>
                    </a:lnTo>
                    <a:lnTo>
                      <a:pt x="26" y="94"/>
                    </a:lnTo>
                    <a:lnTo>
                      <a:pt x="22" y="90"/>
                    </a:lnTo>
                    <a:lnTo>
                      <a:pt x="22" y="88"/>
                    </a:lnTo>
                    <a:lnTo>
                      <a:pt x="24" y="88"/>
                    </a:lnTo>
                    <a:lnTo>
                      <a:pt x="24" y="88"/>
                    </a:lnTo>
                    <a:lnTo>
                      <a:pt x="22" y="86"/>
                    </a:lnTo>
                    <a:lnTo>
                      <a:pt x="16" y="86"/>
                    </a:lnTo>
                    <a:lnTo>
                      <a:pt x="14" y="84"/>
                    </a:lnTo>
                    <a:lnTo>
                      <a:pt x="14" y="82"/>
                    </a:lnTo>
                    <a:lnTo>
                      <a:pt x="14" y="82"/>
                    </a:lnTo>
                    <a:lnTo>
                      <a:pt x="12" y="82"/>
                    </a:lnTo>
                    <a:lnTo>
                      <a:pt x="12" y="80"/>
                    </a:lnTo>
                    <a:lnTo>
                      <a:pt x="14" y="76"/>
                    </a:lnTo>
                    <a:lnTo>
                      <a:pt x="14" y="74"/>
                    </a:lnTo>
                    <a:lnTo>
                      <a:pt x="16" y="74"/>
                    </a:lnTo>
                    <a:lnTo>
                      <a:pt x="16" y="76"/>
                    </a:lnTo>
                    <a:lnTo>
                      <a:pt x="18" y="74"/>
                    </a:lnTo>
                    <a:lnTo>
                      <a:pt x="18" y="72"/>
                    </a:lnTo>
                    <a:lnTo>
                      <a:pt x="20" y="74"/>
                    </a:lnTo>
                    <a:lnTo>
                      <a:pt x="22" y="74"/>
                    </a:lnTo>
                    <a:lnTo>
                      <a:pt x="22" y="74"/>
                    </a:lnTo>
                    <a:lnTo>
                      <a:pt x="20" y="72"/>
                    </a:lnTo>
                    <a:lnTo>
                      <a:pt x="22" y="72"/>
                    </a:lnTo>
                    <a:lnTo>
                      <a:pt x="20" y="70"/>
                    </a:lnTo>
                    <a:lnTo>
                      <a:pt x="18" y="68"/>
                    </a:lnTo>
                    <a:lnTo>
                      <a:pt x="16" y="66"/>
                    </a:lnTo>
                    <a:lnTo>
                      <a:pt x="16" y="64"/>
                    </a:lnTo>
                    <a:lnTo>
                      <a:pt x="18" y="66"/>
                    </a:lnTo>
                    <a:lnTo>
                      <a:pt x="18" y="64"/>
                    </a:lnTo>
                    <a:lnTo>
                      <a:pt x="24" y="60"/>
                    </a:lnTo>
                    <a:lnTo>
                      <a:pt x="20" y="60"/>
                    </a:lnTo>
                    <a:lnTo>
                      <a:pt x="16" y="64"/>
                    </a:lnTo>
                    <a:lnTo>
                      <a:pt x="16" y="62"/>
                    </a:lnTo>
                    <a:lnTo>
                      <a:pt x="18" y="60"/>
                    </a:lnTo>
                    <a:lnTo>
                      <a:pt x="20" y="56"/>
                    </a:lnTo>
                    <a:lnTo>
                      <a:pt x="16" y="58"/>
                    </a:lnTo>
                    <a:lnTo>
                      <a:pt x="14" y="56"/>
                    </a:lnTo>
                    <a:lnTo>
                      <a:pt x="14" y="56"/>
                    </a:lnTo>
                    <a:lnTo>
                      <a:pt x="12" y="56"/>
                    </a:lnTo>
                    <a:lnTo>
                      <a:pt x="10" y="56"/>
                    </a:lnTo>
                    <a:lnTo>
                      <a:pt x="12" y="50"/>
                    </a:lnTo>
                    <a:lnTo>
                      <a:pt x="12" y="48"/>
                    </a:lnTo>
                    <a:lnTo>
                      <a:pt x="8" y="52"/>
                    </a:lnTo>
                    <a:lnTo>
                      <a:pt x="8" y="54"/>
                    </a:lnTo>
                    <a:lnTo>
                      <a:pt x="8" y="50"/>
                    </a:lnTo>
                    <a:lnTo>
                      <a:pt x="6" y="50"/>
                    </a:lnTo>
                    <a:lnTo>
                      <a:pt x="6" y="52"/>
                    </a:lnTo>
                    <a:lnTo>
                      <a:pt x="2" y="50"/>
                    </a:lnTo>
                    <a:lnTo>
                      <a:pt x="2" y="50"/>
                    </a:lnTo>
                    <a:lnTo>
                      <a:pt x="0" y="48"/>
                    </a:lnTo>
                    <a:lnTo>
                      <a:pt x="0" y="42"/>
                    </a:lnTo>
                    <a:lnTo>
                      <a:pt x="6" y="32"/>
                    </a:lnTo>
                    <a:lnTo>
                      <a:pt x="8" y="30"/>
                    </a:lnTo>
                    <a:lnTo>
                      <a:pt x="12" y="30"/>
                    </a:lnTo>
                    <a:lnTo>
                      <a:pt x="12" y="32"/>
                    </a:lnTo>
                    <a:lnTo>
                      <a:pt x="14" y="32"/>
                    </a:lnTo>
                    <a:lnTo>
                      <a:pt x="16" y="32"/>
                    </a:lnTo>
                    <a:lnTo>
                      <a:pt x="14" y="34"/>
                    </a:lnTo>
                    <a:lnTo>
                      <a:pt x="14" y="34"/>
                    </a:lnTo>
                    <a:lnTo>
                      <a:pt x="18" y="32"/>
                    </a:lnTo>
                    <a:lnTo>
                      <a:pt x="18" y="32"/>
                    </a:lnTo>
                    <a:lnTo>
                      <a:pt x="20" y="28"/>
                    </a:lnTo>
                    <a:lnTo>
                      <a:pt x="22" y="28"/>
                    </a:lnTo>
                    <a:lnTo>
                      <a:pt x="22" y="28"/>
                    </a:lnTo>
                    <a:lnTo>
                      <a:pt x="24" y="26"/>
                    </a:lnTo>
                    <a:lnTo>
                      <a:pt x="24" y="26"/>
                    </a:lnTo>
                    <a:lnTo>
                      <a:pt x="26" y="24"/>
                    </a:lnTo>
                    <a:lnTo>
                      <a:pt x="28" y="24"/>
                    </a:lnTo>
                    <a:lnTo>
                      <a:pt x="28" y="22"/>
                    </a:lnTo>
                    <a:lnTo>
                      <a:pt x="30" y="22"/>
                    </a:lnTo>
                    <a:lnTo>
                      <a:pt x="32" y="20"/>
                    </a:lnTo>
                    <a:lnTo>
                      <a:pt x="28" y="20"/>
                    </a:lnTo>
                    <a:lnTo>
                      <a:pt x="28" y="20"/>
                    </a:lnTo>
                    <a:lnTo>
                      <a:pt x="30" y="18"/>
                    </a:lnTo>
                    <a:lnTo>
                      <a:pt x="28" y="18"/>
                    </a:lnTo>
                    <a:lnTo>
                      <a:pt x="26" y="14"/>
                    </a:lnTo>
                    <a:lnTo>
                      <a:pt x="28" y="12"/>
                    </a:lnTo>
                    <a:lnTo>
                      <a:pt x="34" y="10"/>
                    </a:lnTo>
                    <a:lnTo>
                      <a:pt x="36" y="10"/>
                    </a:lnTo>
                    <a:lnTo>
                      <a:pt x="38" y="12"/>
                    </a:lnTo>
                    <a:lnTo>
                      <a:pt x="40" y="10"/>
                    </a:lnTo>
                    <a:lnTo>
                      <a:pt x="38" y="10"/>
                    </a:lnTo>
                    <a:lnTo>
                      <a:pt x="38" y="8"/>
                    </a:lnTo>
                    <a:lnTo>
                      <a:pt x="40" y="8"/>
                    </a:lnTo>
                    <a:lnTo>
                      <a:pt x="40" y="8"/>
                    </a:lnTo>
                    <a:lnTo>
                      <a:pt x="40" y="6"/>
                    </a:lnTo>
                    <a:lnTo>
                      <a:pt x="40" y="6"/>
                    </a:lnTo>
                    <a:lnTo>
                      <a:pt x="40" y="4"/>
                    </a:lnTo>
                    <a:lnTo>
                      <a:pt x="46" y="2"/>
                    </a:lnTo>
                    <a:lnTo>
                      <a:pt x="5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27" name="Freeform 378"/>
              <p:cNvSpPr>
                <a:spLocks/>
              </p:cNvSpPr>
              <p:nvPr/>
            </p:nvSpPr>
            <p:spPr bwMode="auto">
              <a:xfrm>
                <a:off x="2133" y="1019"/>
                <a:ext cx="182" cy="98"/>
              </a:xfrm>
              <a:custGeom>
                <a:avLst/>
                <a:gdLst>
                  <a:gd name="T0" fmla="*/ 10 w 182"/>
                  <a:gd name="T1" fmla="*/ 66 h 98"/>
                  <a:gd name="T2" fmla="*/ 24 w 182"/>
                  <a:gd name="T3" fmla="*/ 64 h 98"/>
                  <a:gd name="T4" fmla="*/ 24 w 182"/>
                  <a:gd name="T5" fmla="*/ 62 h 98"/>
                  <a:gd name="T6" fmla="*/ 26 w 182"/>
                  <a:gd name="T7" fmla="*/ 56 h 98"/>
                  <a:gd name="T8" fmla="*/ 32 w 182"/>
                  <a:gd name="T9" fmla="*/ 54 h 98"/>
                  <a:gd name="T10" fmla="*/ 40 w 182"/>
                  <a:gd name="T11" fmla="*/ 48 h 98"/>
                  <a:gd name="T12" fmla="*/ 42 w 182"/>
                  <a:gd name="T13" fmla="*/ 46 h 98"/>
                  <a:gd name="T14" fmla="*/ 42 w 182"/>
                  <a:gd name="T15" fmla="*/ 40 h 98"/>
                  <a:gd name="T16" fmla="*/ 40 w 182"/>
                  <a:gd name="T17" fmla="*/ 36 h 98"/>
                  <a:gd name="T18" fmla="*/ 46 w 182"/>
                  <a:gd name="T19" fmla="*/ 32 h 98"/>
                  <a:gd name="T20" fmla="*/ 54 w 182"/>
                  <a:gd name="T21" fmla="*/ 32 h 98"/>
                  <a:gd name="T22" fmla="*/ 68 w 182"/>
                  <a:gd name="T23" fmla="*/ 28 h 98"/>
                  <a:gd name="T24" fmla="*/ 76 w 182"/>
                  <a:gd name="T25" fmla="*/ 24 h 98"/>
                  <a:gd name="T26" fmla="*/ 94 w 182"/>
                  <a:gd name="T27" fmla="*/ 14 h 98"/>
                  <a:gd name="T28" fmla="*/ 100 w 182"/>
                  <a:gd name="T29" fmla="*/ 18 h 98"/>
                  <a:gd name="T30" fmla="*/ 106 w 182"/>
                  <a:gd name="T31" fmla="*/ 10 h 98"/>
                  <a:gd name="T32" fmla="*/ 110 w 182"/>
                  <a:gd name="T33" fmla="*/ 10 h 98"/>
                  <a:gd name="T34" fmla="*/ 122 w 182"/>
                  <a:gd name="T35" fmla="*/ 18 h 98"/>
                  <a:gd name="T36" fmla="*/ 134 w 182"/>
                  <a:gd name="T37" fmla="*/ 16 h 98"/>
                  <a:gd name="T38" fmla="*/ 142 w 182"/>
                  <a:gd name="T39" fmla="*/ 14 h 98"/>
                  <a:gd name="T40" fmla="*/ 152 w 182"/>
                  <a:gd name="T41" fmla="*/ 12 h 98"/>
                  <a:gd name="T42" fmla="*/ 160 w 182"/>
                  <a:gd name="T43" fmla="*/ 4 h 98"/>
                  <a:gd name="T44" fmla="*/ 174 w 182"/>
                  <a:gd name="T45" fmla="*/ 0 h 98"/>
                  <a:gd name="T46" fmla="*/ 180 w 182"/>
                  <a:gd name="T47" fmla="*/ 8 h 98"/>
                  <a:gd name="T48" fmla="*/ 180 w 182"/>
                  <a:gd name="T49" fmla="*/ 18 h 98"/>
                  <a:gd name="T50" fmla="*/ 170 w 182"/>
                  <a:gd name="T51" fmla="*/ 28 h 98"/>
                  <a:gd name="T52" fmla="*/ 154 w 182"/>
                  <a:gd name="T53" fmla="*/ 32 h 98"/>
                  <a:gd name="T54" fmla="*/ 142 w 182"/>
                  <a:gd name="T55" fmla="*/ 34 h 98"/>
                  <a:gd name="T56" fmla="*/ 124 w 182"/>
                  <a:gd name="T57" fmla="*/ 38 h 98"/>
                  <a:gd name="T58" fmla="*/ 122 w 182"/>
                  <a:gd name="T59" fmla="*/ 40 h 98"/>
                  <a:gd name="T60" fmla="*/ 96 w 182"/>
                  <a:gd name="T61" fmla="*/ 52 h 98"/>
                  <a:gd name="T62" fmla="*/ 88 w 182"/>
                  <a:gd name="T63" fmla="*/ 50 h 98"/>
                  <a:gd name="T64" fmla="*/ 82 w 182"/>
                  <a:gd name="T65" fmla="*/ 58 h 98"/>
                  <a:gd name="T66" fmla="*/ 74 w 182"/>
                  <a:gd name="T67" fmla="*/ 58 h 98"/>
                  <a:gd name="T68" fmla="*/ 68 w 182"/>
                  <a:gd name="T69" fmla="*/ 60 h 98"/>
                  <a:gd name="T70" fmla="*/ 66 w 182"/>
                  <a:gd name="T71" fmla="*/ 62 h 98"/>
                  <a:gd name="T72" fmla="*/ 64 w 182"/>
                  <a:gd name="T73" fmla="*/ 66 h 98"/>
                  <a:gd name="T74" fmla="*/ 60 w 182"/>
                  <a:gd name="T75" fmla="*/ 72 h 98"/>
                  <a:gd name="T76" fmla="*/ 56 w 182"/>
                  <a:gd name="T77" fmla="*/ 74 h 98"/>
                  <a:gd name="T78" fmla="*/ 52 w 182"/>
                  <a:gd name="T79" fmla="*/ 78 h 98"/>
                  <a:gd name="T80" fmla="*/ 46 w 182"/>
                  <a:gd name="T81" fmla="*/ 70 h 98"/>
                  <a:gd name="T82" fmla="*/ 46 w 182"/>
                  <a:gd name="T83" fmla="*/ 78 h 98"/>
                  <a:gd name="T84" fmla="*/ 42 w 182"/>
                  <a:gd name="T85" fmla="*/ 84 h 98"/>
                  <a:gd name="T86" fmla="*/ 38 w 182"/>
                  <a:gd name="T87" fmla="*/ 82 h 98"/>
                  <a:gd name="T88" fmla="*/ 36 w 182"/>
                  <a:gd name="T89" fmla="*/ 90 h 98"/>
                  <a:gd name="T90" fmla="*/ 34 w 182"/>
                  <a:gd name="T91" fmla="*/ 92 h 98"/>
                  <a:gd name="T92" fmla="*/ 26 w 182"/>
                  <a:gd name="T93" fmla="*/ 98 h 98"/>
                  <a:gd name="T94" fmla="*/ 14 w 182"/>
                  <a:gd name="T95" fmla="*/ 90 h 98"/>
                  <a:gd name="T96" fmla="*/ 4 w 182"/>
                  <a:gd name="T97" fmla="*/ 84 h 98"/>
                  <a:gd name="T98" fmla="*/ 12 w 182"/>
                  <a:gd name="T99" fmla="*/ 78 h 98"/>
                  <a:gd name="T100" fmla="*/ 10 w 182"/>
                  <a:gd name="T101" fmla="*/ 76 h 98"/>
                  <a:gd name="T102" fmla="*/ 2 w 182"/>
                  <a:gd name="T103" fmla="*/ 6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2" h="98">
                    <a:moveTo>
                      <a:pt x="2" y="68"/>
                    </a:moveTo>
                    <a:lnTo>
                      <a:pt x="4" y="68"/>
                    </a:lnTo>
                    <a:lnTo>
                      <a:pt x="4" y="68"/>
                    </a:lnTo>
                    <a:lnTo>
                      <a:pt x="6" y="70"/>
                    </a:lnTo>
                    <a:lnTo>
                      <a:pt x="10" y="66"/>
                    </a:lnTo>
                    <a:lnTo>
                      <a:pt x="16" y="68"/>
                    </a:lnTo>
                    <a:lnTo>
                      <a:pt x="16" y="66"/>
                    </a:lnTo>
                    <a:lnTo>
                      <a:pt x="18" y="64"/>
                    </a:lnTo>
                    <a:lnTo>
                      <a:pt x="22" y="62"/>
                    </a:lnTo>
                    <a:lnTo>
                      <a:pt x="24" y="64"/>
                    </a:lnTo>
                    <a:lnTo>
                      <a:pt x="26" y="66"/>
                    </a:lnTo>
                    <a:lnTo>
                      <a:pt x="28" y="68"/>
                    </a:lnTo>
                    <a:lnTo>
                      <a:pt x="30" y="70"/>
                    </a:lnTo>
                    <a:lnTo>
                      <a:pt x="30" y="68"/>
                    </a:lnTo>
                    <a:lnTo>
                      <a:pt x="24" y="62"/>
                    </a:lnTo>
                    <a:lnTo>
                      <a:pt x="24" y="60"/>
                    </a:lnTo>
                    <a:lnTo>
                      <a:pt x="24" y="60"/>
                    </a:lnTo>
                    <a:lnTo>
                      <a:pt x="28" y="62"/>
                    </a:lnTo>
                    <a:lnTo>
                      <a:pt x="30" y="60"/>
                    </a:lnTo>
                    <a:lnTo>
                      <a:pt x="26" y="56"/>
                    </a:lnTo>
                    <a:lnTo>
                      <a:pt x="28" y="54"/>
                    </a:lnTo>
                    <a:lnTo>
                      <a:pt x="34" y="56"/>
                    </a:lnTo>
                    <a:lnTo>
                      <a:pt x="36" y="56"/>
                    </a:lnTo>
                    <a:lnTo>
                      <a:pt x="34" y="54"/>
                    </a:lnTo>
                    <a:lnTo>
                      <a:pt x="32" y="54"/>
                    </a:lnTo>
                    <a:lnTo>
                      <a:pt x="32" y="50"/>
                    </a:lnTo>
                    <a:lnTo>
                      <a:pt x="34" y="48"/>
                    </a:lnTo>
                    <a:lnTo>
                      <a:pt x="34" y="48"/>
                    </a:lnTo>
                    <a:lnTo>
                      <a:pt x="34" y="50"/>
                    </a:lnTo>
                    <a:lnTo>
                      <a:pt x="40" y="48"/>
                    </a:lnTo>
                    <a:lnTo>
                      <a:pt x="42" y="50"/>
                    </a:lnTo>
                    <a:lnTo>
                      <a:pt x="46" y="50"/>
                    </a:lnTo>
                    <a:lnTo>
                      <a:pt x="44" y="50"/>
                    </a:lnTo>
                    <a:lnTo>
                      <a:pt x="42" y="48"/>
                    </a:lnTo>
                    <a:lnTo>
                      <a:pt x="42" y="46"/>
                    </a:lnTo>
                    <a:lnTo>
                      <a:pt x="40" y="46"/>
                    </a:lnTo>
                    <a:lnTo>
                      <a:pt x="36" y="44"/>
                    </a:lnTo>
                    <a:lnTo>
                      <a:pt x="36" y="44"/>
                    </a:lnTo>
                    <a:lnTo>
                      <a:pt x="38" y="42"/>
                    </a:lnTo>
                    <a:lnTo>
                      <a:pt x="42" y="40"/>
                    </a:lnTo>
                    <a:lnTo>
                      <a:pt x="42" y="38"/>
                    </a:lnTo>
                    <a:lnTo>
                      <a:pt x="42" y="38"/>
                    </a:lnTo>
                    <a:lnTo>
                      <a:pt x="42" y="36"/>
                    </a:lnTo>
                    <a:lnTo>
                      <a:pt x="38" y="38"/>
                    </a:lnTo>
                    <a:lnTo>
                      <a:pt x="40" y="36"/>
                    </a:lnTo>
                    <a:lnTo>
                      <a:pt x="38" y="34"/>
                    </a:lnTo>
                    <a:lnTo>
                      <a:pt x="40" y="34"/>
                    </a:lnTo>
                    <a:lnTo>
                      <a:pt x="40" y="32"/>
                    </a:lnTo>
                    <a:lnTo>
                      <a:pt x="42" y="30"/>
                    </a:lnTo>
                    <a:lnTo>
                      <a:pt x="46" y="32"/>
                    </a:lnTo>
                    <a:lnTo>
                      <a:pt x="44" y="34"/>
                    </a:lnTo>
                    <a:lnTo>
                      <a:pt x="46" y="36"/>
                    </a:lnTo>
                    <a:lnTo>
                      <a:pt x="50" y="36"/>
                    </a:lnTo>
                    <a:lnTo>
                      <a:pt x="52" y="34"/>
                    </a:lnTo>
                    <a:lnTo>
                      <a:pt x="54" y="32"/>
                    </a:lnTo>
                    <a:lnTo>
                      <a:pt x="58" y="30"/>
                    </a:lnTo>
                    <a:lnTo>
                      <a:pt x="62" y="34"/>
                    </a:lnTo>
                    <a:lnTo>
                      <a:pt x="66" y="32"/>
                    </a:lnTo>
                    <a:lnTo>
                      <a:pt x="68" y="30"/>
                    </a:lnTo>
                    <a:lnTo>
                      <a:pt x="68" y="28"/>
                    </a:lnTo>
                    <a:lnTo>
                      <a:pt x="70" y="26"/>
                    </a:lnTo>
                    <a:lnTo>
                      <a:pt x="70" y="26"/>
                    </a:lnTo>
                    <a:lnTo>
                      <a:pt x="72" y="24"/>
                    </a:lnTo>
                    <a:lnTo>
                      <a:pt x="74" y="24"/>
                    </a:lnTo>
                    <a:lnTo>
                      <a:pt x="76" y="24"/>
                    </a:lnTo>
                    <a:lnTo>
                      <a:pt x="76" y="24"/>
                    </a:lnTo>
                    <a:lnTo>
                      <a:pt x="78" y="20"/>
                    </a:lnTo>
                    <a:lnTo>
                      <a:pt x="90" y="18"/>
                    </a:lnTo>
                    <a:lnTo>
                      <a:pt x="92" y="18"/>
                    </a:lnTo>
                    <a:lnTo>
                      <a:pt x="94" y="14"/>
                    </a:lnTo>
                    <a:lnTo>
                      <a:pt x="100" y="14"/>
                    </a:lnTo>
                    <a:lnTo>
                      <a:pt x="102" y="14"/>
                    </a:lnTo>
                    <a:lnTo>
                      <a:pt x="98" y="18"/>
                    </a:lnTo>
                    <a:lnTo>
                      <a:pt x="100" y="20"/>
                    </a:lnTo>
                    <a:lnTo>
                      <a:pt x="100" y="18"/>
                    </a:lnTo>
                    <a:lnTo>
                      <a:pt x="104" y="18"/>
                    </a:lnTo>
                    <a:lnTo>
                      <a:pt x="106" y="16"/>
                    </a:lnTo>
                    <a:lnTo>
                      <a:pt x="104" y="14"/>
                    </a:lnTo>
                    <a:lnTo>
                      <a:pt x="104" y="14"/>
                    </a:lnTo>
                    <a:lnTo>
                      <a:pt x="106" y="10"/>
                    </a:lnTo>
                    <a:lnTo>
                      <a:pt x="106" y="12"/>
                    </a:lnTo>
                    <a:lnTo>
                      <a:pt x="108" y="10"/>
                    </a:lnTo>
                    <a:lnTo>
                      <a:pt x="106" y="10"/>
                    </a:lnTo>
                    <a:lnTo>
                      <a:pt x="110" y="10"/>
                    </a:lnTo>
                    <a:lnTo>
                      <a:pt x="110" y="10"/>
                    </a:lnTo>
                    <a:lnTo>
                      <a:pt x="118" y="14"/>
                    </a:lnTo>
                    <a:lnTo>
                      <a:pt x="116" y="16"/>
                    </a:lnTo>
                    <a:lnTo>
                      <a:pt x="118" y="18"/>
                    </a:lnTo>
                    <a:lnTo>
                      <a:pt x="120" y="16"/>
                    </a:lnTo>
                    <a:lnTo>
                      <a:pt x="122" y="18"/>
                    </a:lnTo>
                    <a:lnTo>
                      <a:pt x="130" y="14"/>
                    </a:lnTo>
                    <a:lnTo>
                      <a:pt x="132" y="16"/>
                    </a:lnTo>
                    <a:lnTo>
                      <a:pt x="132" y="16"/>
                    </a:lnTo>
                    <a:lnTo>
                      <a:pt x="132" y="16"/>
                    </a:lnTo>
                    <a:lnTo>
                      <a:pt x="134" y="16"/>
                    </a:lnTo>
                    <a:lnTo>
                      <a:pt x="136" y="16"/>
                    </a:lnTo>
                    <a:lnTo>
                      <a:pt x="136" y="16"/>
                    </a:lnTo>
                    <a:lnTo>
                      <a:pt x="138" y="16"/>
                    </a:lnTo>
                    <a:lnTo>
                      <a:pt x="138" y="16"/>
                    </a:lnTo>
                    <a:lnTo>
                      <a:pt x="142" y="14"/>
                    </a:lnTo>
                    <a:lnTo>
                      <a:pt x="146" y="14"/>
                    </a:lnTo>
                    <a:lnTo>
                      <a:pt x="148" y="12"/>
                    </a:lnTo>
                    <a:lnTo>
                      <a:pt x="150" y="12"/>
                    </a:lnTo>
                    <a:lnTo>
                      <a:pt x="150" y="12"/>
                    </a:lnTo>
                    <a:lnTo>
                      <a:pt x="152" y="12"/>
                    </a:lnTo>
                    <a:lnTo>
                      <a:pt x="152" y="8"/>
                    </a:lnTo>
                    <a:lnTo>
                      <a:pt x="154" y="6"/>
                    </a:lnTo>
                    <a:lnTo>
                      <a:pt x="156" y="4"/>
                    </a:lnTo>
                    <a:lnTo>
                      <a:pt x="158" y="4"/>
                    </a:lnTo>
                    <a:lnTo>
                      <a:pt x="160" y="4"/>
                    </a:lnTo>
                    <a:lnTo>
                      <a:pt x="162" y="2"/>
                    </a:lnTo>
                    <a:lnTo>
                      <a:pt x="162" y="0"/>
                    </a:lnTo>
                    <a:lnTo>
                      <a:pt x="164" y="2"/>
                    </a:lnTo>
                    <a:lnTo>
                      <a:pt x="168" y="0"/>
                    </a:lnTo>
                    <a:lnTo>
                      <a:pt x="174" y="0"/>
                    </a:lnTo>
                    <a:lnTo>
                      <a:pt x="178" y="4"/>
                    </a:lnTo>
                    <a:lnTo>
                      <a:pt x="180" y="4"/>
                    </a:lnTo>
                    <a:lnTo>
                      <a:pt x="180" y="6"/>
                    </a:lnTo>
                    <a:lnTo>
                      <a:pt x="182" y="8"/>
                    </a:lnTo>
                    <a:lnTo>
                      <a:pt x="180" y="8"/>
                    </a:lnTo>
                    <a:lnTo>
                      <a:pt x="182" y="14"/>
                    </a:lnTo>
                    <a:lnTo>
                      <a:pt x="182" y="16"/>
                    </a:lnTo>
                    <a:lnTo>
                      <a:pt x="180" y="16"/>
                    </a:lnTo>
                    <a:lnTo>
                      <a:pt x="178" y="18"/>
                    </a:lnTo>
                    <a:lnTo>
                      <a:pt x="180" y="18"/>
                    </a:lnTo>
                    <a:lnTo>
                      <a:pt x="180" y="20"/>
                    </a:lnTo>
                    <a:lnTo>
                      <a:pt x="178" y="20"/>
                    </a:lnTo>
                    <a:lnTo>
                      <a:pt x="172" y="28"/>
                    </a:lnTo>
                    <a:lnTo>
                      <a:pt x="172" y="30"/>
                    </a:lnTo>
                    <a:lnTo>
                      <a:pt x="170" y="28"/>
                    </a:lnTo>
                    <a:lnTo>
                      <a:pt x="168" y="28"/>
                    </a:lnTo>
                    <a:lnTo>
                      <a:pt x="166" y="28"/>
                    </a:lnTo>
                    <a:lnTo>
                      <a:pt x="160" y="32"/>
                    </a:lnTo>
                    <a:lnTo>
                      <a:pt x="156" y="32"/>
                    </a:lnTo>
                    <a:lnTo>
                      <a:pt x="154" y="32"/>
                    </a:lnTo>
                    <a:lnTo>
                      <a:pt x="150" y="32"/>
                    </a:lnTo>
                    <a:lnTo>
                      <a:pt x="148" y="32"/>
                    </a:lnTo>
                    <a:lnTo>
                      <a:pt x="144" y="32"/>
                    </a:lnTo>
                    <a:lnTo>
                      <a:pt x="142" y="34"/>
                    </a:lnTo>
                    <a:lnTo>
                      <a:pt x="142" y="34"/>
                    </a:lnTo>
                    <a:lnTo>
                      <a:pt x="140" y="36"/>
                    </a:lnTo>
                    <a:lnTo>
                      <a:pt x="138" y="34"/>
                    </a:lnTo>
                    <a:lnTo>
                      <a:pt x="136" y="36"/>
                    </a:lnTo>
                    <a:lnTo>
                      <a:pt x="126" y="40"/>
                    </a:lnTo>
                    <a:lnTo>
                      <a:pt x="124" y="38"/>
                    </a:lnTo>
                    <a:lnTo>
                      <a:pt x="124" y="36"/>
                    </a:lnTo>
                    <a:lnTo>
                      <a:pt x="122" y="36"/>
                    </a:lnTo>
                    <a:lnTo>
                      <a:pt x="122" y="38"/>
                    </a:lnTo>
                    <a:lnTo>
                      <a:pt x="122" y="38"/>
                    </a:lnTo>
                    <a:lnTo>
                      <a:pt x="122" y="40"/>
                    </a:lnTo>
                    <a:lnTo>
                      <a:pt x="114" y="42"/>
                    </a:lnTo>
                    <a:lnTo>
                      <a:pt x="110" y="42"/>
                    </a:lnTo>
                    <a:lnTo>
                      <a:pt x="108" y="44"/>
                    </a:lnTo>
                    <a:lnTo>
                      <a:pt x="108" y="44"/>
                    </a:lnTo>
                    <a:lnTo>
                      <a:pt x="96" y="52"/>
                    </a:lnTo>
                    <a:lnTo>
                      <a:pt x="92" y="52"/>
                    </a:lnTo>
                    <a:lnTo>
                      <a:pt x="90" y="52"/>
                    </a:lnTo>
                    <a:lnTo>
                      <a:pt x="90" y="50"/>
                    </a:lnTo>
                    <a:lnTo>
                      <a:pt x="88" y="50"/>
                    </a:lnTo>
                    <a:lnTo>
                      <a:pt x="88" y="50"/>
                    </a:lnTo>
                    <a:lnTo>
                      <a:pt x="86" y="52"/>
                    </a:lnTo>
                    <a:lnTo>
                      <a:pt x="86" y="52"/>
                    </a:lnTo>
                    <a:lnTo>
                      <a:pt x="88" y="54"/>
                    </a:lnTo>
                    <a:lnTo>
                      <a:pt x="88" y="56"/>
                    </a:lnTo>
                    <a:lnTo>
                      <a:pt x="82" y="58"/>
                    </a:lnTo>
                    <a:lnTo>
                      <a:pt x="82" y="60"/>
                    </a:lnTo>
                    <a:lnTo>
                      <a:pt x="80" y="62"/>
                    </a:lnTo>
                    <a:lnTo>
                      <a:pt x="76" y="60"/>
                    </a:lnTo>
                    <a:lnTo>
                      <a:pt x="76" y="58"/>
                    </a:lnTo>
                    <a:lnTo>
                      <a:pt x="74" y="58"/>
                    </a:lnTo>
                    <a:lnTo>
                      <a:pt x="74" y="58"/>
                    </a:lnTo>
                    <a:lnTo>
                      <a:pt x="74" y="62"/>
                    </a:lnTo>
                    <a:lnTo>
                      <a:pt x="76" y="66"/>
                    </a:lnTo>
                    <a:lnTo>
                      <a:pt x="70" y="60"/>
                    </a:lnTo>
                    <a:lnTo>
                      <a:pt x="68" y="60"/>
                    </a:lnTo>
                    <a:lnTo>
                      <a:pt x="68" y="60"/>
                    </a:lnTo>
                    <a:lnTo>
                      <a:pt x="68" y="62"/>
                    </a:lnTo>
                    <a:lnTo>
                      <a:pt x="68" y="64"/>
                    </a:lnTo>
                    <a:lnTo>
                      <a:pt x="68" y="64"/>
                    </a:lnTo>
                    <a:lnTo>
                      <a:pt x="66" y="62"/>
                    </a:lnTo>
                    <a:lnTo>
                      <a:pt x="66" y="64"/>
                    </a:lnTo>
                    <a:lnTo>
                      <a:pt x="66" y="66"/>
                    </a:lnTo>
                    <a:lnTo>
                      <a:pt x="66" y="68"/>
                    </a:lnTo>
                    <a:lnTo>
                      <a:pt x="64" y="68"/>
                    </a:lnTo>
                    <a:lnTo>
                      <a:pt x="64" y="66"/>
                    </a:lnTo>
                    <a:lnTo>
                      <a:pt x="60" y="60"/>
                    </a:lnTo>
                    <a:lnTo>
                      <a:pt x="58" y="62"/>
                    </a:lnTo>
                    <a:lnTo>
                      <a:pt x="60" y="64"/>
                    </a:lnTo>
                    <a:lnTo>
                      <a:pt x="60" y="70"/>
                    </a:lnTo>
                    <a:lnTo>
                      <a:pt x="60" y="72"/>
                    </a:lnTo>
                    <a:lnTo>
                      <a:pt x="60" y="72"/>
                    </a:lnTo>
                    <a:lnTo>
                      <a:pt x="58" y="74"/>
                    </a:lnTo>
                    <a:lnTo>
                      <a:pt x="58" y="72"/>
                    </a:lnTo>
                    <a:lnTo>
                      <a:pt x="56" y="72"/>
                    </a:lnTo>
                    <a:lnTo>
                      <a:pt x="56" y="74"/>
                    </a:lnTo>
                    <a:lnTo>
                      <a:pt x="56" y="76"/>
                    </a:lnTo>
                    <a:lnTo>
                      <a:pt x="56" y="76"/>
                    </a:lnTo>
                    <a:lnTo>
                      <a:pt x="54" y="74"/>
                    </a:lnTo>
                    <a:lnTo>
                      <a:pt x="52" y="76"/>
                    </a:lnTo>
                    <a:lnTo>
                      <a:pt x="52" y="78"/>
                    </a:lnTo>
                    <a:lnTo>
                      <a:pt x="50" y="78"/>
                    </a:lnTo>
                    <a:lnTo>
                      <a:pt x="50" y="76"/>
                    </a:lnTo>
                    <a:lnTo>
                      <a:pt x="50" y="76"/>
                    </a:lnTo>
                    <a:lnTo>
                      <a:pt x="48" y="68"/>
                    </a:lnTo>
                    <a:lnTo>
                      <a:pt x="46" y="70"/>
                    </a:lnTo>
                    <a:lnTo>
                      <a:pt x="46" y="72"/>
                    </a:lnTo>
                    <a:lnTo>
                      <a:pt x="44" y="74"/>
                    </a:lnTo>
                    <a:lnTo>
                      <a:pt x="46" y="76"/>
                    </a:lnTo>
                    <a:lnTo>
                      <a:pt x="46" y="76"/>
                    </a:lnTo>
                    <a:lnTo>
                      <a:pt x="46" y="78"/>
                    </a:lnTo>
                    <a:lnTo>
                      <a:pt x="48" y="80"/>
                    </a:lnTo>
                    <a:lnTo>
                      <a:pt x="46" y="80"/>
                    </a:lnTo>
                    <a:lnTo>
                      <a:pt x="46" y="82"/>
                    </a:lnTo>
                    <a:lnTo>
                      <a:pt x="44" y="86"/>
                    </a:lnTo>
                    <a:lnTo>
                      <a:pt x="42" y="84"/>
                    </a:lnTo>
                    <a:lnTo>
                      <a:pt x="42" y="82"/>
                    </a:lnTo>
                    <a:lnTo>
                      <a:pt x="36" y="78"/>
                    </a:lnTo>
                    <a:lnTo>
                      <a:pt x="36" y="78"/>
                    </a:lnTo>
                    <a:lnTo>
                      <a:pt x="36" y="80"/>
                    </a:lnTo>
                    <a:lnTo>
                      <a:pt x="38" y="82"/>
                    </a:lnTo>
                    <a:lnTo>
                      <a:pt x="40" y="86"/>
                    </a:lnTo>
                    <a:lnTo>
                      <a:pt x="40" y="88"/>
                    </a:lnTo>
                    <a:lnTo>
                      <a:pt x="38" y="90"/>
                    </a:lnTo>
                    <a:lnTo>
                      <a:pt x="38" y="90"/>
                    </a:lnTo>
                    <a:lnTo>
                      <a:pt x="36" y="90"/>
                    </a:lnTo>
                    <a:lnTo>
                      <a:pt x="36" y="88"/>
                    </a:lnTo>
                    <a:lnTo>
                      <a:pt x="36" y="86"/>
                    </a:lnTo>
                    <a:lnTo>
                      <a:pt x="34" y="84"/>
                    </a:lnTo>
                    <a:lnTo>
                      <a:pt x="34" y="90"/>
                    </a:lnTo>
                    <a:lnTo>
                      <a:pt x="34" y="92"/>
                    </a:lnTo>
                    <a:lnTo>
                      <a:pt x="34" y="94"/>
                    </a:lnTo>
                    <a:lnTo>
                      <a:pt x="32" y="94"/>
                    </a:lnTo>
                    <a:lnTo>
                      <a:pt x="30" y="96"/>
                    </a:lnTo>
                    <a:lnTo>
                      <a:pt x="28" y="96"/>
                    </a:lnTo>
                    <a:lnTo>
                      <a:pt x="26" y="98"/>
                    </a:lnTo>
                    <a:lnTo>
                      <a:pt x="24" y="96"/>
                    </a:lnTo>
                    <a:lnTo>
                      <a:pt x="24" y="96"/>
                    </a:lnTo>
                    <a:lnTo>
                      <a:pt x="20" y="94"/>
                    </a:lnTo>
                    <a:lnTo>
                      <a:pt x="18" y="90"/>
                    </a:lnTo>
                    <a:lnTo>
                      <a:pt x="14" y="90"/>
                    </a:lnTo>
                    <a:lnTo>
                      <a:pt x="12" y="86"/>
                    </a:lnTo>
                    <a:lnTo>
                      <a:pt x="8" y="84"/>
                    </a:lnTo>
                    <a:lnTo>
                      <a:pt x="4" y="86"/>
                    </a:lnTo>
                    <a:lnTo>
                      <a:pt x="0" y="84"/>
                    </a:lnTo>
                    <a:lnTo>
                      <a:pt x="4" y="84"/>
                    </a:lnTo>
                    <a:lnTo>
                      <a:pt x="4" y="82"/>
                    </a:lnTo>
                    <a:lnTo>
                      <a:pt x="4" y="82"/>
                    </a:lnTo>
                    <a:lnTo>
                      <a:pt x="4" y="80"/>
                    </a:lnTo>
                    <a:lnTo>
                      <a:pt x="10" y="78"/>
                    </a:lnTo>
                    <a:lnTo>
                      <a:pt x="12" y="78"/>
                    </a:lnTo>
                    <a:lnTo>
                      <a:pt x="16" y="78"/>
                    </a:lnTo>
                    <a:lnTo>
                      <a:pt x="16" y="76"/>
                    </a:lnTo>
                    <a:lnTo>
                      <a:pt x="14" y="76"/>
                    </a:lnTo>
                    <a:lnTo>
                      <a:pt x="14" y="76"/>
                    </a:lnTo>
                    <a:lnTo>
                      <a:pt x="10" y="76"/>
                    </a:lnTo>
                    <a:lnTo>
                      <a:pt x="8" y="78"/>
                    </a:lnTo>
                    <a:lnTo>
                      <a:pt x="4" y="76"/>
                    </a:lnTo>
                    <a:lnTo>
                      <a:pt x="4" y="74"/>
                    </a:lnTo>
                    <a:lnTo>
                      <a:pt x="2" y="72"/>
                    </a:lnTo>
                    <a:lnTo>
                      <a:pt x="2" y="68"/>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28" name="Freeform 379"/>
              <p:cNvSpPr>
                <a:spLocks/>
              </p:cNvSpPr>
              <p:nvPr/>
            </p:nvSpPr>
            <p:spPr bwMode="auto">
              <a:xfrm>
                <a:off x="2133" y="1019"/>
                <a:ext cx="182" cy="98"/>
              </a:xfrm>
              <a:custGeom>
                <a:avLst/>
                <a:gdLst>
                  <a:gd name="T0" fmla="*/ 10 w 182"/>
                  <a:gd name="T1" fmla="*/ 66 h 98"/>
                  <a:gd name="T2" fmla="*/ 24 w 182"/>
                  <a:gd name="T3" fmla="*/ 64 h 98"/>
                  <a:gd name="T4" fmla="*/ 24 w 182"/>
                  <a:gd name="T5" fmla="*/ 62 h 98"/>
                  <a:gd name="T6" fmla="*/ 26 w 182"/>
                  <a:gd name="T7" fmla="*/ 56 h 98"/>
                  <a:gd name="T8" fmla="*/ 32 w 182"/>
                  <a:gd name="T9" fmla="*/ 54 h 98"/>
                  <a:gd name="T10" fmla="*/ 40 w 182"/>
                  <a:gd name="T11" fmla="*/ 48 h 98"/>
                  <a:gd name="T12" fmla="*/ 42 w 182"/>
                  <a:gd name="T13" fmla="*/ 46 h 98"/>
                  <a:gd name="T14" fmla="*/ 42 w 182"/>
                  <a:gd name="T15" fmla="*/ 40 h 98"/>
                  <a:gd name="T16" fmla="*/ 40 w 182"/>
                  <a:gd name="T17" fmla="*/ 36 h 98"/>
                  <a:gd name="T18" fmla="*/ 46 w 182"/>
                  <a:gd name="T19" fmla="*/ 32 h 98"/>
                  <a:gd name="T20" fmla="*/ 54 w 182"/>
                  <a:gd name="T21" fmla="*/ 32 h 98"/>
                  <a:gd name="T22" fmla="*/ 68 w 182"/>
                  <a:gd name="T23" fmla="*/ 28 h 98"/>
                  <a:gd name="T24" fmla="*/ 76 w 182"/>
                  <a:gd name="T25" fmla="*/ 24 h 98"/>
                  <a:gd name="T26" fmla="*/ 94 w 182"/>
                  <a:gd name="T27" fmla="*/ 14 h 98"/>
                  <a:gd name="T28" fmla="*/ 100 w 182"/>
                  <a:gd name="T29" fmla="*/ 18 h 98"/>
                  <a:gd name="T30" fmla="*/ 106 w 182"/>
                  <a:gd name="T31" fmla="*/ 10 h 98"/>
                  <a:gd name="T32" fmla="*/ 110 w 182"/>
                  <a:gd name="T33" fmla="*/ 10 h 98"/>
                  <a:gd name="T34" fmla="*/ 122 w 182"/>
                  <a:gd name="T35" fmla="*/ 18 h 98"/>
                  <a:gd name="T36" fmla="*/ 134 w 182"/>
                  <a:gd name="T37" fmla="*/ 16 h 98"/>
                  <a:gd name="T38" fmla="*/ 142 w 182"/>
                  <a:gd name="T39" fmla="*/ 14 h 98"/>
                  <a:gd name="T40" fmla="*/ 152 w 182"/>
                  <a:gd name="T41" fmla="*/ 12 h 98"/>
                  <a:gd name="T42" fmla="*/ 160 w 182"/>
                  <a:gd name="T43" fmla="*/ 4 h 98"/>
                  <a:gd name="T44" fmla="*/ 174 w 182"/>
                  <a:gd name="T45" fmla="*/ 0 h 98"/>
                  <a:gd name="T46" fmla="*/ 180 w 182"/>
                  <a:gd name="T47" fmla="*/ 8 h 98"/>
                  <a:gd name="T48" fmla="*/ 180 w 182"/>
                  <a:gd name="T49" fmla="*/ 18 h 98"/>
                  <a:gd name="T50" fmla="*/ 170 w 182"/>
                  <a:gd name="T51" fmla="*/ 28 h 98"/>
                  <a:gd name="T52" fmla="*/ 154 w 182"/>
                  <a:gd name="T53" fmla="*/ 32 h 98"/>
                  <a:gd name="T54" fmla="*/ 142 w 182"/>
                  <a:gd name="T55" fmla="*/ 34 h 98"/>
                  <a:gd name="T56" fmla="*/ 124 w 182"/>
                  <a:gd name="T57" fmla="*/ 38 h 98"/>
                  <a:gd name="T58" fmla="*/ 122 w 182"/>
                  <a:gd name="T59" fmla="*/ 40 h 98"/>
                  <a:gd name="T60" fmla="*/ 96 w 182"/>
                  <a:gd name="T61" fmla="*/ 52 h 98"/>
                  <a:gd name="T62" fmla="*/ 88 w 182"/>
                  <a:gd name="T63" fmla="*/ 50 h 98"/>
                  <a:gd name="T64" fmla="*/ 82 w 182"/>
                  <a:gd name="T65" fmla="*/ 58 h 98"/>
                  <a:gd name="T66" fmla="*/ 74 w 182"/>
                  <a:gd name="T67" fmla="*/ 58 h 98"/>
                  <a:gd name="T68" fmla="*/ 68 w 182"/>
                  <a:gd name="T69" fmla="*/ 60 h 98"/>
                  <a:gd name="T70" fmla="*/ 66 w 182"/>
                  <a:gd name="T71" fmla="*/ 62 h 98"/>
                  <a:gd name="T72" fmla="*/ 64 w 182"/>
                  <a:gd name="T73" fmla="*/ 66 h 98"/>
                  <a:gd name="T74" fmla="*/ 60 w 182"/>
                  <a:gd name="T75" fmla="*/ 72 h 98"/>
                  <a:gd name="T76" fmla="*/ 56 w 182"/>
                  <a:gd name="T77" fmla="*/ 74 h 98"/>
                  <a:gd name="T78" fmla="*/ 52 w 182"/>
                  <a:gd name="T79" fmla="*/ 78 h 98"/>
                  <a:gd name="T80" fmla="*/ 46 w 182"/>
                  <a:gd name="T81" fmla="*/ 70 h 98"/>
                  <a:gd name="T82" fmla="*/ 46 w 182"/>
                  <a:gd name="T83" fmla="*/ 78 h 98"/>
                  <a:gd name="T84" fmla="*/ 42 w 182"/>
                  <a:gd name="T85" fmla="*/ 84 h 98"/>
                  <a:gd name="T86" fmla="*/ 38 w 182"/>
                  <a:gd name="T87" fmla="*/ 82 h 98"/>
                  <a:gd name="T88" fmla="*/ 36 w 182"/>
                  <a:gd name="T89" fmla="*/ 90 h 98"/>
                  <a:gd name="T90" fmla="*/ 34 w 182"/>
                  <a:gd name="T91" fmla="*/ 92 h 98"/>
                  <a:gd name="T92" fmla="*/ 26 w 182"/>
                  <a:gd name="T93" fmla="*/ 98 h 98"/>
                  <a:gd name="T94" fmla="*/ 14 w 182"/>
                  <a:gd name="T95" fmla="*/ 90 h 98"/>
                  <a:gd name="T96" fmla="*/ 4 w 182"/>
                  <a:gd name="T97" fmla="*/ 84 h 98"/>
                  <a:gd name="T98" fmla="*/ 12 w 182"/>
                  <a:gd name="T99" fmla="*/ 78 h 98"/>
                  <a:gd name="T100" fmla="*/ 10 w 182"/>
                  <a:gd name="T101" fmla="*/ 76 h 98"/>
                  <a:gd name="T102" fmla="*/ 2 w 182"/>
                  <a:gd name="T103" fmla="*/ 6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2" h="98">
                    <a:moveTo>
                      <a:pt x="2" y="68"/>
                    </a:moveTo>
                    <a:lnTo>
                      <a:pt x="4" y="68"/>
                    </a:lnTo>
                    <a:lnTo>
                      <a:pt x="4" y="68"/>
                    </a:lnTo>
                    <a:lnTo>
                      <a:pt x="6" y="70"/>
                    </a:lnTo>
                    <a:lnTo>
                      <a:pt x="10" y="66"/>
                    </a:lnTo>
                    <a:lnTo>
                      <a:pt x="16" y="68"/>
                    </a:lnTo>
                    <a:lnTo>
                      <a:pt x="16" y="66"/>
                    </a:lnTo>
                    <a:lnTo>
                      <a:pt x="18" y="64"/>
                    </a:lnTo>
                    <a:lnTo>
                      <a:pt x="22" y="62"/>
                    </a:lnTo>
                    <a:lnTo>
                      <a:pt x="24" y="64"/>
                    </a:lnTo>
                    <a:lnTo>
                      <a:pt x="26" y="66"/>
                    </a:lnTo>
                    <a:lnTo>
                      <a:pt x="28" y="68"/>
                    </a:lnTo>
                    <a:lnTo>
                      <a:pt x="30" y="70"/>
                    </a:lnTo>
                    <a:lnTo>
                      <a:pt x="30" y="68"/>
                    </a:lnTo>
                    <a:lnTo>
                      <a:pt x="24" y="62"/>
                    </a:lnTo>
                    <a:lnTo>
                      <a:pt x="24" y="60"/>
                    </a:lnTo>
                    <a:lnTo>
                      <a:pt x="24" y="60"/>
                    </a:lnTo>
                    <a:lnTo>
                      <a:pt x="28" y="62"/>
                    </a:lnTo>
                    <a:lnTo>
                      <a:pt x="30" y="60"/>
                    </a:lnTo>
                    <a:lnTo>
                      <a:pt x="26" y="56"/>
                    </a:lnTo>
                    <a:lnTo>
                      <a:pt x="28" y="54"/>
                    </a:lnTo>
                    <a:lnTo>
                      <a:pt x="34" y="56"/>
                    </a:lnTo>
                    <a:lnTo>
                      <a:pt x="36" y="56"/>
                    </a:lnTo>
                    <a:lnTo>
                      <a:pt x="34" y="54"/>
                    </a:lnTo>
                    <a:lnTo>
                      <a:pt x="32" y="54"/>
                    </a:lnTo>
                    <a:lnTo>
                      <a:pt x="32" y="50"/>
                    </a:lnTo>
                    <a:lnTo>
                      <a:pt x="34" y="48"/>
                    </a:lnTo>
                    <a:lnTo>
                      <a:pt x="34" y="48"/>
                    </a:lnTo>
                    <a:lnTo>
                      <a:pt x="34" y="50"/>
                    </a:lnTo>
                    <a:lnTo>
                      <a:pt x="40" y="48"/>
                    </a:lnTo>
                    <a:lnTo>
                      <a:pt x="42" y="50"/>
                    </a:lnTo>
                    <a:lnTo>
                      <a:pt x="46" y="50"/>
                    </a:lnTo>
                    <a:lnTo>
                      <a:pt x="44" y="50"/>
                    </a:lnTo>
                    <a:lnTo>
                      <a:pt x="42" y="48"/>
                    </a:lnTo>
                    <a:lnTo>
                      <a:pt x="42" y="46"/>
                    </a:lnTo>
                    <a:lnTo>
                      <a:pt x="40" y="46"/>
                    </a:lnTo>
                    <a:lnTo>
                      <a:pt x="36" y="44"/>
                    </a:lnTo>
                    <a:lnTo>
                      <a:pt x="36" y="44"/>
                    </a:lnTo>
                    <a:lnTo>
                      <a:pt x="38" y="42"/>
                    </a:lnTo>
                    <a:lnTo>
                      <a:pt x="42" y="40"/>
                    </a:lnTo>
                    <a:lnTo>
                      <a:pt x="42" y="38"/>
                    </a:lnTo>
                    <a:lnTo>
                      <a:pt x="42" y="38"/>
                    </a:lnTo>
                    <a:lnTo>
                      <a:pt x="42" y="36"/>
                    </a:lnTo>
                    <a:lnTo>
                      <a:pt x="38" y="38"/>
                    </a:lnTo>
                    <a:lnTo>
                      <a:pt x="40" y="36"/>
                    </a:lnTo>
                    <a:lnTo>
                      <a:pt x="38" y="34"/>
                    </a:lnTo>
                    <a:lnTo>
                      <a:pt x="40" y="34"/>
                    </a:lnTo>
                    <a:lnTo>
                      <a:pt x="40" y="32"/>
                    </a:lnTo>
                    <a:lnTo>
                      <a:pt x="42" y="30"/>
                    </a:lnTo>
                    <a:lnTo>
                      <a:pt x="46" y="32"/>
                    </a:lnTo>
                    <a:lnTo>
                      <a:pt x="44" y="34"/>
                    </a:lnTo>
                    <a:lnTo>
                      <a:pt x="46" y="36"/>
                    </a:lnTo>
                    <a:lnTo>
                      <a:pt x="50" y="36"/>
                    </a:lnTo>
                    <a:lnTo>
                      <a:pt x="52" y="34"/>
                    </a:lnTo>
                    <a:lnTo>
                      <a:pt x="54" y="32"/>
                    </a:lnTo>
                    <a:lnTo>
                      <a:pt x="58" y="30"/>
                    </a:lnTo>
                    <a:lnTo>
                      <a:pt x="62" y="34"/>
                    </a:lnTo>
                    <a:lnTo>
                      <a:pt x="66" y="32"/>
                    </a:lnTo>
                    <a:lnTo>
                      <a:pt x="68" y="30"/>
                    </a:lnTo>
                    <a:lnTo>
                      <a:pt x="68" y="28"/>
                    </a:lnTo>
                    <a:lnTo>
                      <a:pt x="70" y="26"/>
                    </a:lnTo>
                    <a:lnTo>
                      <a:pt x="70" y="26"/>
                    </a:lnTo>
                    <a:lnTo>
                      <a:pt x="72" y="24"/>
                    </a:lnTo>
                    <a:lnTo>
                      <a:pt x="74" y="24"/>
                    </a:lnTo>
                    <a:lnTo>
                      <a:pt x="76" y="24"/>
                    </a:lnTo>
                    <a:lnTo>
                      <a:pt x="76" y="24"/>
                    </a:lnTo>
                    <a:lnTo>
                      <a:pt x="78" y="20"/>
                    </a:lnTo>
                    <a:lnTo>
                      <a:pt x="90" y="18"/>
                    </a:lnTo>
                    <a:lnTo>
                      <a:pt x="92" y="18"/>
                    </a:lnTo>
                    <a:lnTo>
                      <a:pt x="94" y="14"/>
                    </a:lnTo>
                    <a:lnTo>
                      <a:pt x="100" y="14"/>
                    </a:lnTo>
                    <a:lnTo>
                      <a:pt x="102" y="14"/>
                    </a:lnTo>
                    <a:lnTo>
                      <a:pt x="98" y="18"/>
                    </a:lnTo>
                    <a:lnTo>
                      <a:pt x="100" y="20"/>
                    </a:lnTo>
                    <a:lnTo>
                      <a:pt x="100" y="18"/>
                    </a:lnTo>
                    <a:lnTo>
                      <a:pt x="104" y="18"/>
                    </a:lnTo>
                    <a:lnTo>
                      <a:pt x="106" y="16"/>
                    </a:lnTo>
                    <a:lnTo>
                      <a:pt x="104" y="14"/>
                    </a:lnTo>
                    <a:lnTo>
                      <a:pt x="104" y="14"/>
                    </a:lnTo>
                    <a:lnTo>
                      <a:pt x="106" y="10"/>
                    </a:lnTo>
                    <a:lnTo>
                      <a:pt x="106" y="12"/>
                    </a:lnTo>
                    <a:lnTo>
                      <a:pt x="108" y="10"/>
                    </a:lnTo>
                    <a:lnTo>
                      <a:pt x="106" y="10"/>
                    </a:lnTo>
                    <a:lnTo>
                      <a:pt x="110" y="10"/>
                    </a:lnTo>
                    <a:lnTo>
                      <a:pt x="110" y="10"/>
                    </a:lnTo>
                    <a:lnTo>
                      <a:pt x="118" y="14"/>
                    </a:lnTo>
                    <a:lnTo>
                      <a:pt x="116" y="16"/>
                    </a:lnTo>
                    <a:lnTo>
                      <a:pt x="118" y="18"/>
                    </a:lnTo>
                    <a:lnTo>
                      <a:pt x="120" y="16"/>
                    </a:lnTo>
                    <a:lnTo>
                      <a:pt x="122" y="18"/>
                    </a:lnTo>
                    <a:lnTo>
                      <a:pt x="130" y="14"/>
                    </a:lnTo>
                    <a:lnTo>
                      <a:pt x="132" y="16"/>
                    </a:lnTo>
                    <a:lnTo>
                      <a:pt x="132" y="16"/>
                    </a:lnTo>
                    <a:lnTo>
                      <a:pt x="132" y="16"/>
                    </a:lnTo>
                    <a:lnTo>
                      <a:pt x="134" y="16"/>
                    </a:lnTo>
                    <a:lnTo>
                      <a:pt x="136" y="16"/>
                    </a:lnTo>
                    <a:lnTo>
                      <a:pt x="136" y="16"/>
                    </a:lnTo>
                    <a:lnTo>
                      <a:pt x="138" y="16"/>
                    </a:lnTo>
                    <a:lnTo>
                      <a:pt x="138" y="16"/>
                    </a:lnTo>
                    <a:lnTo>
                      <a:pt x="142" y="14"/>
                    </a:lnTo>
                    <a:lnTo>
                      <a:pt x="146" y="14"/>
                    </a:lnTo>
                    <a:lnTo>
                      <a:pt x="148" y="12"/>
                    </a:lnTo>
                    <a:lnTo>
                      <a:pt x="150" y="12"/>
                    </a:lnTo>
                    <a:lnTo>
                      <a:pt x="150" y="12"/>
                    </a:lnTo>
                    <a:lnTo>
                      <a:pt x="152" y="12"/>
                    </a:lnTo>
                    <a:lnTo>
                      <a:pt x="152" y="8"/>
                    </a:lnTo>
                    <a:lnTo>
                      <a:pt x="154" y="6"/>
                    </a:lnTo>
                    <a:lnTo>
                      <a:pt x="156" y="4"/>
                    </a:lnTo>
                    <a:lnTo>
                      <a:pt x="158" y="4"/>
                    </a:lnTo>
                    <a:lnTo>
                      <a:pt x="160" y="4"/>
                    </a:lnTo>
                    <a:lnTo>
                      <a:pt x="162" y="2"/>
                    </a:lnTo>
                    <a:lnTo>
                      <a:pt x="162" y="0"/>
                    </a:lnTo>
                    <a:lnTo>
                      <a:pt x="164" y="2"/>
                    </a:lnTo>
                    <a:lnTo>
                      <a:pt x="168" y="0"/>
                    </a:lnTo>
                    <a:lnTo>
                      <a:pt x="174" y="0"/>
                    </a:lnTo>
                    <a:lnTo>
                      <a:pt x="178" y="4"/>
                    </a:lnTo>
                    <a:lnTo>
                      <a:pt x="180" y="4"/>
                    </a:lnTo>
                    <a:lnTo>
                      <a:pt x="180" y="6"/>
                    </a:lnTo>
                    <a:lnTo>
                      <a:pt x="182" y="8"/>
                    </a:lnTo>
                    <a:lnTo>
                      <a:pt x="180" y="8"/>
                    </a:lnTo>
                    <a:lnTo>
                      <a:pt x="182" y="14"/>
                    </a:lnTo>
                    <a:lnTo>
                      <a:pt x="182" y="16"/>
                    </a:lnTo>
                    <a:lnTo>
                      <a:pt x="180" y="16"/>
                    </a:lnTo>
                    <a:lnTo>
                      <a:pt x="178" y="18"/>
                    </a:lnTo>
                    <a:lnTo>
                      <a:pt x="180" y="18"/>
                    </a:lnTo>
                    <a:lnTo>
                      <a:pt x="180" y="20"/>
                    </a:lnTo>
                    <a:lnTo>
                      <a:pt x="178" y="20"/>
                    </a:lnTo>
                    <a:lnTo>
                      <a:pt x="172" y="28"/>
                    </a:lnTo>
                    <a:lnTo>
                      <a:pt x="172" y="30"/>
                    </a:lnTo>
                    <a:lnTo>
                      <a:pt x="170" y="28"/>
                    </a:lnTo>
                    <a:lnTo>
                      <a:pt x="168" y="28"/>
                    </a:lnTo>
                    <a:lnTo>
                      <a:pt x="166" y="28"/>
                    </a:lnTo>
                    <a:lnTo>
                      <a:pt x="160" y="32"/>
                    </a:lnTo>
                    <a:lnTo>
                      <a:pt x="156" y="32"/>
                    </a:lnTo>
                    <a:lnTo>
                      <a:pt x="154" y="32"/>
                    </a:lnTo>
                    <a:lnTo>
                      <a:pt x="150" y="32"/>
                    </a:lnTo>
                    <a:lnTo>
                      <a:pt x="148" y="32"/>
                    </a:lnTo>
                    <a:lnTo>
                      <a:pt x="144" y="32"/>
                    </a:lnTo>
                    <a:lnTo>
                      <a:pt x="142" y="34"/>
                    </a:lnTo>
                    <a:lnTo>
                      <a:pt x="142" y="34"/>
                    </a:lnTo>
                    <a:lnTo>
                      <a:pt x="140" y="36"/>
                    </a:lnTo>
                    <a:lnTo>
                      <a:pt x="138" y="34"/>
                    </a:lnTo>
                    <a:lnTo>
                      <a:pt x="136" y="36"/>
                    </a:lnTo>
                    <a:lnTo>
                      <a:pt x="126" y="40"/>
                    </a:lnTo>
                    <a:lnTo>
                      <a:pt x="124" y="38"/>
                    </a:lnTo>
                    <a:lnTo>
                      <a:pt x="124" y="36"/>
                    </a:lnTo>
                    <a:lnTo>
                      <a:pt x="122" y="36"/>
                    </a:lnTo>
                    <a:lnTo>
                      <a:pt x="122" y="38"/>
                    </a:lnTo>
                    <a:lnTo>
                      <a:pt x="122" y="38"/>
                    </a:lnTo>
                    <a:lnTo>
                      <a:pt x="122" y="40"/>
                    </a:lnTo>
                    <a:lnTo>
                      <a:pt x="114" y="42"/>
                    </a:lnTo>
                    <a:lnTo>
                      <a:pt x="110" y="42"/>
                    </a:lnTo>
                    <a:lnTo>
                      <a:pt x="108" y="44"/>
                    </a:lnTo>
                    <a:lnTo>
                      <a:pt x="108" y="44"/>
                    </a:lnTo>
                    <a:lnTo>
                      <a:pt x="96" y="52"/>
                    </a:lnTo>
                    <a:lnTo>
                      <a:pt x="92" y="52"/>
                    </a:lnTo>
                    <a:lnTo>
                      <a:pt x="90" y="52"/>
                    </a:lnTo>
                    <a:lnTo>
                      <a:pt x="90" y="50"/>
                    </a:lnTo>
                    <a:lnTo>
                      <a:pt x="88" y="50"/>
                    </a:lnTo>
                    <a:lnTo>
                      <a:pt x="88" y="50"/>
                    </a:lnTo>
                    <a:lnTo>
                      <a:pt x="86" y="52"/>
                    </a:lnTo>
                    <a:lnTo>
                      <a:pt x="86" y="52"/>
                    </a:lnTo>
                    <a:lnTo>
                      <a:pt x="88" y="54"/>
                    </a:lnTo>
                    <a:lnTo>
                      <a:pt x="88" y="56"/>
                    </a:lnTo>
                    <a:lnTo>
                      <a:pt x="82" y="58"/>
                    </a:lnTo>
                    <a:lnTo>
                      <a:pt x="82" y="60"/>
                    </a:lnTo>
                    <a:lnTo>
                      <a:pt x="80" y="62"/>
                    </a:lnTo>
                    <a:lnTo>
                      <a:pt x="76" y="60"/>
                    </a:lnTo>
                    <a:lnTo>
                      <a:pt x="76" y="58"/>
                    </a:lnTo>
                    <a:lnTo>
                      <a:pt x="74" y="58"/>
                    </a:lnTo>
                    <a:lnTo>
                      <a:pt x="74" y="58"/>
                    </a:lnTo>
                    <a:lnTo>
                      <a:pt x="74" y="62"/>
                    </a:lnTo>
                    <a:lnTo>
                      <a:pt x="76" y="66"/>
                    </a:lnTo>
                    <a:lnTo>
                      <a:pt x="70" y="60"/>
                    </a:lnTo>
                    <a:lnTo>
                      <a:pt x="68" y="60"/>
                    </a:lnTo>
                    <a:lnTo>
                      <a:pt x="68" y="60"/>
                    </a:lnTo>
                    <a:lnTo>
                      <a:pt x="68" y="62"/>
                    </a:lnTo>
                    <a:lnTo>
                      <a:pt x="68" y="64"/>
                    </a:lnTo>
                    <a:lnTo>
                      <a:pt x="68" y="64"/>
                    </a:lnTo>
                    <a:lnTo>
                      <a:pt x="66" y="62"/>
                    </a:lnTo>
                    <a:lnTo>
                      <a:pt x="66" y="64"/>
                    </a:lnTo>
                    <a:lnTo>
                      <a:pt x="66" y="66"/>
                    </a:lnTo>
                    <a:lnTo>
                      <a:pt x="66" y="68"/>
                    </a:lnTo>
                    <a:lnTo>
                      <a:pt x="64" y="68"/>
                    </a:lnTo>
                    <a:lnTo>
                      <a:pt x="64" y="66"/>
                    </a:lnTo>
                    <a:lnTo>
                      <a:pt x="60" y="60"/>
                    </a:lnTo>
                    <a:lnTo>
                      <a:pt x="58" y="62"/>
                    </a:lnTo>
                    <a:lnTo>
                      <a:pt x="60" y="64"/>
                    </a:lnTo>
                    <a:lnTo>
                      <a:pt x="60" y="70"/>
                    </a:lnTo>
                    <a:lnTo>
                      <a:pt x="60" y="72"/>
                    </a:lnTo>
                    <a:lnTo>
                      <a:pt x="60" y="72"/>
                    </a:lnTo>
                    <a:lnTo>
                      <a:pt x="58" y="74"/>
                    </a:lnTo>
                    <a:lnTo>
                      <a:pt x="58" y="72"/>
                    </a:lnTo>
                    <a:lnTo>
                      <a:pt x="56" y="72"/>
                    </a:lnTo>
                    <a:lnTo>
                      <a:pt x="56" y="74"/>
                    </a:lnTo>
                    <a:lnTo>
                      <a:pt x="56" y="76"/>
                    </a:lnTo>
                    <a:lnTo>
                      <a:pt x="56" y="76"/>
                    </a:lnTo>
                    <a:lnTo>
                      <a:pt x="54" y="74"/>
                    </a:lnTo>
                    <a:lnTo>
                      <a:pt x="52" y="76"/>
                    </a:lnTo>
                    <a:lnTo>
                      <a:pt x="52" y="78"/>
                    </a:lnTo>
                    <a:lnTo>
                      <a:pt x="50" y="78"/>
                    </a:lnTo>
                    <a:lnTo>
                      <a:pt x="50" y="76"/>
                    </a:lnTo>
                    <a:lnTo>
                      <a:pt x="50" y="76"/>
                    </a:lnTo>
                    <a:lnTo>
                      <a:pt x="48" y="68"/>
                    </a:lnTo>
                    <a:lnTo>
                      <a:pt x="46" y="70"/>
                    </a:lnTo>
                    <a:lnTo>
                      <a:pt x="46" y="72"/>
                    </a:lnTo>
                    <a:lnTo>
                      <a:pt x="44" y="74"/>
                    </a:lnTo>
                    <a:lnTo>
                      <a:pt x="46" y="76"/>
                    </a:lnTo>
                    <a:lnTo>
                      <a:pt x="46" y="76"/>
                    </a:lnTo>
                    <a:lnTo>
                      <a:pt x="46" y="78"/>
                    </a:lnTo>
                    <a:lnTo>
                      <a:pt x="48" y="80"/>
                    </a:lnTo>
                    <a:lnTo>
                      <a:pt x="46" y="80"/>
                    </a:lnTo>
                    <a:lnTo>
                      <a:pt x="46" y="82"/>
                    </a:lnTo>
                    <a:lnTo>
                      <a:pt x="44" y="86"/>
                    </a:lnTo>
                    <a:lnTo>
                      <a:pt x="42" y="84"/>
                    </a:lnTo>
                    <a:lnTo>
                      <a:pt x="42" y="82"/>
                    </a:lnTo>
                    <a:lnTo>
                      <a:pt x="36" y="78"/>
                    </a:lnTo>
                    <a:lnTo>
                      <a:pt x="36" y="78"/>
                    </a:lnTo>
                    <a:lnTo>
                      <a:pt x="36" y="80"/>
                    </a:lnTo>
                    <a:lnTo>
                      <a:pt x="38" y="82"/>
                    </a:lnTo>
                    <a:lnTo>
                      <a:pt x="40" y="86"/>
                    </a:lnTo>
                    <a:lnTo>
                      <a:pt x="40" y="88"/>
                    </a:lnTo>
                    <a:lnTo>
                      <a:pt x="38" y="90"/>
                    </a:lnTo>
                    <a:lnTo>
                      <a:pt x="38" y="90"/>
                    </a:lnTo>
                    <a:lnTo>
                      <a:pt x="36" y="90"/>
                    </a:lnTo>
                    <a:lnTo>
                      <a:pt x="36" y="88"/>
                    </a:lnTo>
                    <a:lnTo>
                      <a:pt x="36" y="86"/>
                    </a:lnTo>
                    <a:lnTo>
                      <a:pt x="34" y="84"/>
                    </a:lnTo>
                    <a:lnTo>
                      <a:pt x="34" y="90"/>
                    </a:lnTo>
                    <a:lnTo>
                      <a:pt x="34" y="92"/>
                    </a:lnTo>
                    <a:lnTo>
                      <a:pt x="34" y="94"/>
                    </a:lnTo>
                    <a:lnTo>
                      <a:pt x="32" y="94"/>
                    </a:lnTo>
                    <a:lnTo>
                      <a:pt x="30" y="96"/>
                    </a:lnTo>
                    <a:lnTo>
                      <a:pt x="28" y="96"/>
                    </a:lnTo>
                    <a:lnTo>
                      <a:pt x="26" y="98"/>
                    </a:lnTo>
                    <a:lnTo>
                      <a:pt x="24" y="96"/>
                    </a:lnTo>
                    <a:lnTo>
                      <a:pt x="24" y="96"/>
                    </a:lnTo>
                    <a:lnTo>
                      <a:pt x="20" y="94"/>
                    </a:lnTo>
                    <a:lnTo>
                      <a:pt x="18" y="90"/>
                    </a:lnTo>
                    <a:lnTo>
                      <a:pt x="14" y="90"/>
                    </a:lnTo>
                    <a:lnTo>
                      <a:pt x="12" y="86"/>
                    </a:lnTo>
                    <a:lnTo>
                      <a:pt x="8" y="84"/>
                    </a:lnTo>
                    <a:lnTo>
                      <a:pt x="4" y="86"/>
                    </a:lnTo>
                    <a:lnTo>
                      <a:pt x="0" y="84"/>
                    </a:lnTo>
                    <a:lnTo>
                      <a:pt x="4" y="84"/>
                    </a:lnTo>
                    <a:lnTo>
                      <a:pt x="4" y="82"/>
                    </a:lnTo>
                    <a:lnTo>
                      <a:pt x="4" y="82"/>
                    </a:lnTo>
                    <a:lnTo>
                      <a:pt x="4" y="80"/>
                    </a:lnTo>
                    <a:lnTo>
                      <a:pt x="10" y="78"/>
                    </a:lnTo>
                    <a:lnTo>
                      <a:pt x="12" y="78"/>
                    </a:lnTo>
                    <a:lnTo>
                      <a:pt x="16" y="78"/>
                    </a:lnTo>
                    <a:lnTo>
                      <a:pt x="16" y="76"/>
                    </a:lnTo>
                    <a:lnTo>
                      <a:pt x="14" y="76"/>
                    </a:lnTo>
                    <a:lnTo>
                      <a:pt x="14" y="76"/>
                    </a:lnTo>
                    <a:lnTo>
                      <a:pt x="10" y="76"/>
                    </a:lnTo>
                    <a:lnTo>
                      <a:pt x="8" y="78"/>
                    </a:lnTo>
                    <a:lnTo>
                      <a:pt x="4" y="76"/>
                    </a:lnTo>
                    <a:lnTo>
                      <a:pt x="4" y="74"/>
                    </a:lnTo>
                    <a:lnTo>
                      <a:pt x="2" y="72"/>
                    </a:lnTo>
                    <a:lnTo>
                      <a:pt x="2" y="68"/>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29" name="Freeform 380"/>
              <p:cNvSpPr>
                <a:spLocks/>
              </p:cNvSpPr>
              <p:nvPr/>
            </p:nvSpPr>
            <p:spPr bwMode="auto">
              <a:xfrm>
                <a:off x="2081" y="1161"/>
                <a:ext cx="10" cy="16"/>
              </a:xfrm>
              <a:custGeom>
                <a:avLst/>
                <a:gdLst>
                  <a:gd name="T0" fmla="*/ 0 w 10"/>
                  <a:gd name="T1" fmla="*/ 0 h 16"/>
                  <a:gd name="T2" fmla="*/ 2 w 10"/>
                  <a:gd name="T3" fmla="*/ 0 h 16"/>
                  <a:gd name="T4" fmla="*/ 4 w 10"/>
                  <a:gd name="T5" fmla="*/ 0 h 16"/>
                  <a:gd name="T6" fmla="*/ 6 w 10"/>
                  <a:gd name="T7" fmla="*/ 0 h 16"/>
                  <a:gd name="T8" fmla="*/ 8 w 10"/>
                  <a:gd name="T9" fmla="*/ 4 h 16"/>
                  <a:gd name="T10" fmla="*/ 8 w 10"/>
                  <a:gd name="T11" fmla="*/ 2 h 16"/>
                  <a:gd name="T12" fmla="*/ 10 w 10"/>
                  <a:gd name="T13" fmla="*/ 8 h 16"/>
                  <a:gd name="T14" fmla="*/ 6 w 10"/>
                  <a:gd name="T15" fmla="*/ 12 h 16"/>
                  <a:gd name="T16" fmla="*/ 6 w 10"/>
                  <a:gd name="T17" fmla="*/ 12 h 16"/>
                  <a:gd name="T18" fmla="*/ 4 w 10"/>
                  <a:gd name="T19" fmla="*/ 16 h 16"/>
                  <a:gd name="T20" fmla="*/ 4 w 10"/>
                  <a:gd name="T21" fmla="*/ 16 h 16"/>
                  <a:gd name="T22" fmla="*/ 4 w 10"/>
                  <a:gd name="T23" fmla="*/ 4 h 16"/>
                  <a:gd name="T24" fmla="*/ 0 w 10"/>
                  <a:gd name="T25" fmla="*/ 2 h 16"/>
                  <a:gd name="T26" fmla="*/ 0 w 10"/>
                  <a:gd name="T2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6">
                    <a:moveTo>
                      <a:pt x="0" y="0"/>
                    </a:moveTo>
                    <a:lnTo>
                      <a:pt x="2" y="0"/>
                    </a:lnTo>
                    <a:lnTo>
                      <a:pt x="4" y="0"/>
                    </a:lnTo>
                    <a:lnTo>
                      <a:pt x="6" y="0"/>
                    </a:lnTo>
                    <a:lnTo>
                      <a:pt x="8" y="4"/>
                    </a:lnTo>
                    <a:lnTo>
                      <a:pt x="8" y="2"/>
                    </a:lnTo>
                    <a:lnTo>
                      <a:pt x="10" y="8"/>
                    </a:lnTo>
                    <a:lnTo>
                      <a:pt x="6" y="12"/>
                    </a:lnTo>
                    <a:lnTo>
                      <a:pt x="6" y="12"/>
                    </a:lnTo>
                    <a:lnTo>
                      <a:pt x="4" y="16"/>
                    </a:lnTo>
                    <a:lnTo>
                      <a:pt x="4" y="16"/>
                    </a:lnTo>
                    <a:lnTo>
                      <a:pt x="4" y="4"/>
                    </a:lnTo>
                    <a:lnTo>
                      <a:pt x="0" y="2"/>
                    </a:lnTo>
                    <a:lnTo>
                      <a:pt x="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30" name="Freeform 381"/>
              <p:cNvSpPr>
                <a:spLocks/>
              </p:cNvSpPr>
              <p:nvPr/>
            </p:nvSpPr>
            <p:spPr bwMode="auto">
              <a:xfrm>
                <a:off x="2081" y="1161"/>
                <a:ext cx="10" cy="16"/>
              </a:xfrm>
              <a:custGeom>
                <a:avLst/>
                <a:gdLst>
                  <a:gd name="T0" fmla="*/ 0 w 10"/>
                  <a:gd name="T1" fmla="*/ 0 h 16"/>
                  <a:gd name="T2" fmla="*/ 2 w 10"/>
                  <a:gd name="T3" fmla="*/ 0 h 16"/>
                  <a:gd name="T4" fmla="*/ 4 w 10"/>
                  <a:gd name="T5" fmla="*/ 0 h 16"/>
                  <a:gd name="T6" fmla="*/ 6 w 10"/>
                  <a:gd name="T7" fmla="*/ 0 h 16"/>
                  <a:gd name="T8" fmla="*/ 8 w 10"/>
                  <a:gd name="T9" fmla="*/ 4 h 16"/>
                  <a:gd name="T10" fmla="*/ 8 w 10"/>
                  <a:gd name="T11" fmla="*/ 2 h 16"/>
                  <a:gd name="T12" fmla="*/ 10 w 10"/>
                  <a:gd name="T13" fmla="*/ 8 h 16"/>
                  <a:gd name="T14" fmla="*/ 6 w 10"/>
                  <a:gd name="T15" fmla="*/ 12 h 16"/>
                  <a:gd name="T16" fmla="*/ 6 w 10"/>
                  <a:gd name="T17" fmla="*/ 12 h 16"/>
                  <a:gd name="T18" fmla="*/ 4 w 10"/>
                  <a:gd name="T19" fmla="*/ 16 h 16"/>
                  <a:gd name="T20" fmla="*/ 4 w 10"/>
                  <a:gd name="T21" fmla="*/ 16 h 16"/>
                  <a:gd name="T22" fmla="*/ 4 w 10"/>
                  <a:gd name="T23" fmla="*/ 4 h 16"/>
                  <a:gd name="T24" fmla="*/ 0 w 10"/>
                  <a:gd name="T25" fmla="*/ 2 h 16"/>
                  <a:gd name="T26" fmla="*/ 0 w 10"/>
                  <a:gd name="T2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6">
                    <a:moveTo>
                      <a:pt x="0" y="0"/>
                    </a:moveTo>
                    <a:lnTo>
                      <a:pt x="2" y="0"/>
                    </a:lnTo>
                    <a:lnTo>
                      <a:pt x="4" y="0"/>
                    </a:lnTo>
                    <a:lnTo>
                      <a:pt x="6" y="0"/>
                    </a:lnTo>
                    <a:lnTo>
                      <a:pt x="8" y="4"/>
                    </a:lnTo>
                    <a:lnTo>
                      <a:pt x="8" y="2"/>
                    </a:lnTo>
                    <a:lnTo>
                      <a:pt x="10" y="8"/>
                    </a:lnTo>
                    <a:lnTo>
                      <a:pt x="6" y="12"/>
                    </a:lnTo>
                    <a:lnTo>
                      <a:pt x="6" y="12"/>
                    </a:lnTo>
                    <a:lnTo>
                      <a:pt x="4" y="16"/>
                    </a:lnTo>
                    <a:lnTo>
                      <a:pt x="4" y="16"/>
                    </a:lnTo>
                    <a:lnTo>
                      <a:pt x="4" y="4"/>
                    </a:lnTo>
                    <a:lnTo>
                      <a:pt x="0" y="2"/>
                    </a:lnTo>
                    <a:lnTo>
                      <a:pt x="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31" name="Freeform 382"/>
              <p:cNvSpPr>
                <a:spLocks/>
              </p:cNvSpPr>
              <p:nvPr/>
            </p:nvSpPr>
            <p:spPr bwMode="auto">
              <a:xfrm>
                <a:off x="2621" y="943"/>
                <a:ext cx="8" cy="6"/>
              </a:xfrm>
              <a:custGeom>
                <a:avLst/>
                <a:gdLst>
                  <a:gd name="T0" fmla="*/ 2 w 8"/>
                  <a:gd name="T1" fmla="*/ 2 h 6"/>
                  <a:gd name="T2" fmla="*/ 4 w 8"/>
                  <a:gd name="T3" fmla="*/ 2 h 6"/>
                  <a:gd name="T4" fmla="*/ 4 w 8"/>
                  <a:gd name="T5" fmla="*/ 0 h 6"/>
                  <a:gd name="T6" fmla="*/ 6 w 8"/>
                  <a:gd name="T7" fmla="*/ 0 h 6"/>
                  <a:gd name="T8" fmla="*/ 6 w 8"/>
                  <a:gd name="T9" fmla="*/ 0 h 6"/>
                  <a:gd name="T10" fmla="*/ 8 w 8"/>
                  <a:gd name="T11" fmla="*/ 0 h 6"/>
                  <a:gd name="T12" fmla="*/ 8 w 8"/>
                  <a:gd name="T13" fmla="*/ 0 h 6"/>
                  <a:gd name="T14" fmla="*/ 8 w 8"/>
                  <a:gd name="T15" fmla="*/ 4 h 6"/>
                  <a:gd name="T16" fmla="*/ 8 w 8"/>
                  <a:gd name="T17" fmla="*/ 4 h 6"/>
                  <a:gd name="T18" fmla="*/ 8 w 8"/>
                  <a:gd name="T19" fmla="*/ 4 h 6"/>
                  <a:gd name="T20" fmla="*/ 0 w 8"/>
                  <a:gd name="T21" fmla="*/ 6 h 6"/>
                  <a:gd name="T22" fmla="*/ 0 w 8"/>
                  <a:gd name="T23" fmla="*/ 4 h 6"/>
                  <a:gd name="T24" fmla="*/ 0 w 8"/>
                  <a:gd name="T25" fmla="*/ 4 h 6"/>
                  <a:gd name="T26" fmla="*/ 0 w 8"/>
                  <a:gd name="T27" fmla="*/ 2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4" y="2"/>
                    </a:lnTo>
                    <a:lnTo>
                      <a:pt x="4" y="0"/>
                    </a:lnTo>
                    <a:lnTo>
                      <a:pt x="6" y="0"/>
                    </a:lnTo>
                    <a:lnTo>
                      <a:pt x="6" y="0"/>
                    </a:lnTo>
                    <a:lnTo>
                      <a:pt x="8" y="0"/>
                    </a:lnTo>
                    <a:lnTo>
                      <a:pt x="8" y="0"/>
                    </a:lnTo>
                    <a:lnTo>
                      <a:pt x="8" y="4"/>
                    </a:lnTo>
                    <a:lnTo>
                      <a:pt x="8" y="4"/>
                    </a:lnTo>
                    <a:lnTo>
                      <a:pt x="8" y="4"/>
                    </a:lnTo>
                    <a:lnTo>
                      <a:pt x="0" y="6"/>
                    </a:lnTo>
                    <a:lnTo>
                      <a:pt x="0" y="4"/>
                    </a:lnTo>
                    <a:lnTo>
                      <a:pt x="0" y="4"/>
                    </a:lnTo>
                    <a:lnTo>
                      <a:pt x="0" y="2"/>
                    </a:lnTo>
                    <a:lnTo>
                      <a:pt x="2"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32" name="Freeform 383"/>
              <p:cNvSpPr>
                <a:spLocks/>
              </p:cNvSpPr>
              <p:nvPr/>
            </p:nvSpPr>
            <p:spPr bwMode="auto">
              <a:xfrm>
                <a:off x="2621" y="943"/>
                <a:ext cx="8" cy="6"/>
              </a:xfrm>
              <a:custGeom>
                <a:avLst/>
                <a:gdLst>
                  <a:gd name="T0" fmla="*/ 2 w 8"/>
                  <a:gd name="T1" fmla="*/ 2 h 6"/>
                  <a:gd name="T2" fmla="*/ 4 w 8"/>
                  <a:gd name="T3" fmla="*/ 2 h 6"/>
                  <a:gd name="T4" fmla="*/ 4 w 8"/>
                  <a:gd name="T5" fmla="*/ 0 h 6"/>
                  <a:gd name="T6" fmla="*/ 6 w 8"/>
                  <a:gd name="T7" fmla="*/ 0 h 6"/>
                  <a:gd name="T8" fmla="*/ 6 w 8"/>
                  <a:gd name="T9" fmla="*/ 0 h 6"/>
                  <a:gd name="T10" fmla="*/ 8 w 8"/>
                  <a:gd name="T11" fmla="*/ 0 h 6"/>
                  <a:gd name="T12" fmla="*/ 8 w 8"/>
                  <a:gd name="T13" fmla="*/ 0 h 6"/>
                  <a:gd name="T14" fmla="*/ 8 w 8"/>
                  <a:gd name="T15" fmla="*/ 4 h 6"/>
                  <a:gd name="T16" fmla="*/ 8 w 8"/>
                  <a:gd name="T17" fmla="*/ 4 h 6"/>
                  <a:gd name="T18" fmla="*/ 8 w 8"/>
                  <a:gd name="T19" fmla="*/ 4 h 6"/>
                  <a:gd name="T20" fmla="*/ 0 w 8"/>
                  <a:gd name="T21" fmla="*/ 6 h 6"/>
                  <a:gd name="T22" fmla="*/ 0 w 8"/>
                  <a:gd name="T23" fmla="*/ 4 h 6"/>
                  <a:gd name="T24" fmla="*/ 0 w 8"/>
                  <a:gd name="T25" fmla="*/ 4 h 6"/>
                  <a:gd name="T26" fmla="*/ 0 w 8"/>
                  <a:gd name="T27" fmla="*/ 2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4" y="2"/>
                    </a:lnTo>
                    <a:lnTo>
                      <a:pt x="4" y="0"/>
                    </a:lnTo>
                    <a:lnTo>
                      <a:pt x="6" y="0"/>
                    </a:lnTo>
                    <a:lnTo>
                      <a:pt x="6" y="0"/>
                    </a:lnTo>
                    <a:lnTo>
                      <a:pt x="8" y="0"/>
                    </a:lnTo>
                    <a:lnTo>
                      <a:pt x="8" y="0"/>
                    </a:lnTo>
                    <a:lnTo>
                      <a:pt x="8" y="4"/>
                    </a:lnTo>
                    <a:lnTo>
                      <a:pt x="8" y="4"/>
                    </a:lnTo>
                    <a:lnTo>
                      <a:pt x="8" y="4"/>
                    </a:lnTo>
                    <a:lnTo>
                      <a:pt x="0" y="6"/>
                    </a:lnTo>
                    <a:lnTo>
                      <a:pt x="0" y="4"/>
                    </a:lnTo>
                    <a:lnTo>
                      <a:pt x="0" y="4"/>
                    </a:lnTo>
                    <a:lnTo>
                      <a:pt x="0" y="2"/>
                    </a:lnTo>
                    <a:lnTo>
                      <a:pt x="2"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33" name="Freeform 384"/>
              <p:cNvSpPr>
                <a:spLocks/>
              </p:cNvSpPr>
              <p:nvPr/>
            </p:nvSpPr>
            <p:spPr bwMode="auto">
              <a:xfrm>
                <a:off x="2493" y="1011"/>
                <a:ext cx="4" cy="6"/>
              </a:xfrm>
              <a:custGeom>
                <a:avLst/>
                <a:gdLst>
                  <a:gd name="T0" fmla="*/ 2 w 4"/>
                  <a:gd name="T1" fmla="*/ 0 h 6"/>
                  <a:gd name="T2" fmla="*/ 2 w 4"/>
                  <a:gd name="T3" fmla="*/ 0 h 6"/>
                  <a:gd name="T4" fmla="*/ 2 w 4"/>
                  <a:gd name="T5" fmla="*/ 2 h 6"/>
                  <a:gd name="T6" fmla="*/ 2 w 4"/>
                  <a:gd name="T7" fmla="*/ 2 h 6"/>
                  <a:gd name="T8" fmla="*/ 4 w 4"/>
                  <a:gd name="T9" fmla="*/ 4 h 6"/>
                  <a:gd name="T10" fmla="*/ 4 w 4"/>
                  <a:gd name="T11" fmla="*/ 4 h 6"/>
                  <a:gd name="T12" fmla="*/ 4 w 4"/>
                  <a:gd name="T13" fmla="*/ 6 h 6"/>
                  <a:gd name="T14" fmla="*/ 4 w 4"/>
                  <a:gd name="T15" fmla="*/ 6 h 6"/>
                  <a:gd name="T16" fmla="*/ 2 w 4"/>
                  <a:gd name="T17" fmla="*/ 6 h 6"/>
                  <a:gd name="T18" fmla="*/ 2 w 4"/>
                  <a:gd name="T19" fmla="*/ 6 h 6"/>
                  <a:gd name="T20" fmla="*/ 0 w 4"/>
                  <a:gd name="T21" fmla="*/ 6 h 6"/>
                  <a:gd name="T22" fmla="*/ 0 w 4"/>
                  <a:gd name="T23" fmla="*/ 4 h 6"/>
                  <a:gd name="T24" fmla="*/ 0 w 4"/>
                  <a:gd name="T25" fmla="*/ 2 h 6"/>
                  <a:gd name="T26" fmla="*/ 0 w 4"/>
                  <a:gd name="T27" fmla="*/ 2 h 6"/>
                  <a:gd name="T28" fmla="*/ 2 w 4"/>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2" y="0"/>
                    </a:moveTo>
                    <a:lnTo>
                      <a:pt x="2" y="0"/>
                    </a:lnTo>
                    <a:lnTo>
                      <a:pt x="2" y="2"/>
                    </a:lnTo>
                    <a:lnTo>
                      <a:pt x="2" y="2"/>
                    </a:lnTo>
                    <a:lnTo>
                      <a:pt x="4" y="4"/>
                    </a:lnTo>
                    <a:lnTo>
                      <a:pt x="4" y="4"/>
                    </a:lnTo>
                    <a:lnTo>
                      <a:pt x="4" y="6"/>
                    </a:lnTo>
                    <a:lnTo>
                      <a:pt x="4" y="6"/>
                    </a:lnTo>
                    <a:lnTo>
                      <a:pt x="2" y="6"/>
                    </a:lnTo>
                    <a:lnTo>
                      <a:pt x="2" y="6"/>
                    </a:lnTo>
                    <a:lnTo>
                      <a:pt x="0" y="6"/>
                    </a:lnTo>
                    <a:lnTo>
                      <a:pt x="0" y="4"/>
                    </a:lnTo>
                    <a:lnTo>
                      <a:pt x="0" y="2"/>
                    </a:lnTo>
                    <a:lnTo>
                      <a:pt x="0" y="2"/>
                    </a:lnTo>
                    <a:lnTo>
                      <a:pt x="2"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34" name="Freeform 385"/>
              <p:cNvSpPr>
                <a:spLocks/>
              </p:cNvSpPr>
              <p:nvPr/>
            </p:nvSpPr>
            <p:spPr bwMode="auto">
              <a:xfrm>
                <a:off x="2493" y="1011"/>
                <a:ext cx="4" cy="6"/>
              </a:xfrm>
              <a:custGeom>
                <a:avLst/>
                <a:gdLst>
                  <a:gd name="T0" fmla="*/ 2 w 4"/>
                  <a:gd name="T1" fmla="*/ 0 h 6"/>
                  <a:gd name="T2" fmla="*/ 2 w 4"/>
                  <a:gd name="T3" fmla="*/ 0 h 6"/>
                  <a:gd name="T4" fmla="*/ 2 w 4"/>
                  <a:gd name="T5" fmla="*/ 2 h 6"/>
                  <a:gd name="T6" fmla="*/ 2 w 4"/>
                  <a:gd name="T7" fmla="*/ 2 h 6"/>
                  <a:gd name="T8" fmla="*/ 4 w 4"/>
                  <a:gd name="T9" fmla="*/ 4 h 6"/>
                  <a:gd name="T10" fmla="*/ 4 w 4"/>
                  <a:gd name="T11" fmla="*/ 4 h 6"/>
                  <a:gd name="T12" fmla="*/ 4 w 4"/>
                  <a:gd name="T13" fmla="*/ 6 h 6"/>
                  <a:gd name="T14" fmla="*/ 4 w 4"/>
                  <a:gd name="T15" fmla="*/ 6 h 6"/>
                  <a:gd name="T16" fmla="*/ 2 w 4"/>
                  <a:gd name="T17" fmla="*/ 6 h 6"/>
                  <a:gd name="T18" fmla="*/ 2 w 4"/>
                  <a:gd name="T19" fmla="*/ 6 h 6"/>
                  <a:gd name="T20" fmla="*/ 0 w 4"/>
                  <a:gd name="T21" fmla="*/ 6 h 6"/>
                  <a:gd name="T22" fmla="*/ 0 w 4"/>
                  <a:gd name="T23" fmla="*/ 4 h 6"/>
                  <a:gd name="T24" fmla="*/ 0 w 4"/>
                  <a:gd name="T25" fmla="*/ 2 h 6"/>
                  <a:gd name="T26" fmla="*/ 0 w 4"/>
                  <a:gd name="T27" fmla="*/ 2 h 6"/>
                  <a:gd name="T28" fmla="*/ 2 w 4"/>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2" y="0"/>
                    </a:moveTo>
                    <a:lnTo>
                      <a:pt x="2" y="0"/>
                    </a:lnTo>
                    <a:lnTo>
                      <a:pt x="2" y="2"/>
                    </a:lnTo>
                    <a:lnTo>
                      <a:pt x="2" y="2"/>
                    </a:lnTo>
                    <a:lnTo>
                      <a:pt x="4" y="4"/>
                    </a:lnTo>
                    <a:lnTo>
                      <a:pt x="4" y="4"/>
                    </a:lnTo>
                    <a:lnTo>
                      <a:pt x="4" y="6"/>
                    </a:lnTo>
                    <a:lnTo>
                      <a:pt x="4" y="6"/>
                    </a:lnTo>
                    <a:lnTo>
                      <a:pt x="2" y="6"/>
                    </a:lnTo>
                    <a:lnTo>
                      <a:pt x="2" y="6"/>
                    </a:lnTo>
                    <a:lnTo>
                      <a:pt x="0" y="6"/>
                    </a:lnTo>
                    <a:lnTo>
                      <a:pt x="0" y="4"/>
                    </a:lnTo>
                    <a:lnTo>
                      <a:pt x="0" y="2"/>
                    </a:lnTo>
                    <a:lnTo>
                      <a:pt x="0" y="2"/>
                    </a:lnTo>
                    <a:lnTo>
                      <a:pt x="2"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35" name="Freeform 386"/>
              <p:cNvSpPr>
                <a:spLocks/>
              </p:cNvSpPr>
              <p:nvPr/>
            </p:nvSpPr>
            <p:spPr bwMode="auto">
              <a:xfrm>
                <a:off x="2555" y="1035"/>
                <a:ext cx="12" cy="6"/>
              </a:xfrm>
              <a:custGeom>
                <a:avLst/>
                <a:gdLst>
                  <a:gd name="T0" fmla="*/ 10 w 12"/>
                  <a:gd name="T1" fmla="*/ 2 h 6"/>
                  <a:gd name="T2" fmla="*/ 10 w 12"/>
                  <a:gd name="T3" fmla="*/ 2 h 6"/>
                  <a:gd name="T4" fmla="*/ 10 w 12"/>
                  <a:gd name="T5" fmla="*/ 4 h 6"/>
                  <a:gd name="T6" fmla="*/ 10 w 12"/>
                  <a:gd name="T7" fmla="*/ 4 h 6"/>
                  <a:gd name="T8" fmla="*/ 10 w 12"/>
                  <a:gd name="T9" fmla="*/ 6 h 6"/>
                  <a:gd name="T10" fmla="*/ 12 w 12"/>
                  <a:gd name="T11" fmla="*/ 6 h 6"/>
                  <a:gd name="T12" fmla="*/ 6 w 12"/>
                  <a:gd name="T13" fmla="*/ 6 h 6"/>
                  <a:gd name="T14" fmla="*/ 2 w 12"/>
                  <a:gd name="T15" fmla="*/ 6 h 6"/>
                  <a:gd name="T16" fmla="*/ 0 w 12"/>
                  <a:gd name="T17" fmla="*/ 4 h 6"/>
                  <a:gd name="T18" fmla="*/ 0 w 12"/>
                  <a:gd name="T19" fmla="*/ 4 h 6"/>
                  <a:gd name="T20" fmla="*/ 2 w 12"/>
                  <a:gd name="T21" fmla="*/ 4 h 6"/>
                  <a:gd name="T22" fmla="*/ 2 w 12"/>
                  <a:gd name="T23" fmla="*/ 6 h 6"/>
                  <a:gd name="T24" fmla="*/ 2 w 12"/>
                  <a:gd name="T25" fmla="*/ 4 h 6"/>
                  <a:gd name="T26" fmla="*/ 4 w 12"/>
                  <a:gd name="T27" fmla="*/ 4 h 6"/>
                  <a:gd name="T28" fmla="*/ 4 w 12"/>
                  <a:gd name="T29" fmla="*/ 2 h 6"/>
                  <a:gd name="T30" fmla="*/ 8 w 12"/>
                  <a:gd name="T31" fmla="*/ 4 h 6"/>
                  <a:gd name="T32" fmla="*/ 8 w 12"/>
                  <a:gd name="T33" fmla="*/ 0 h 6"/>
                  <a:gd name="T34" fmla="*/ 10 w 12"/>
                  <a:gd name="T35" fmla="*/ 0 h 6"/>
                  <a:gd name="T36" fmla="*/ 12 w 12"/>
                  <a:gd name="T37" fmla="*/ 2 h 6"/>
                  <a:gd name="T38" fmla="*/ 12 w 12"/>
                  <a:gd name="T39" fmla="*/ 2 h 6"/>
                  <a:gd name="T40" fmla="*/ 12 w 12"/>
                  <a:gd name="T41" fmla="*/ 4 h 6"/>
                  <a:gd name="T42" fmla="*/ 12 w 12"/>
                  <a:gd name="T43" fmla="*/ 2 h 6"/>
                  <a:gd name="T44" fmla="*/ 10 w 12"/>
                  <a:gd name="T4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
                    <a:moveTo>
                      <a:pt x="10" y="2"/>
                    </a:moveTo>
                    <a:lnTo>
                      <a:pt x="10" y="2"/>
                    </a:lnTo>
                    <a:lnTo>
                      <a:pt x="10" y="4"/>
                    </a:lnTo>
                    <a:lnTo>
                      <a:pt x="10" y="4"/>
                    </a:lnTo>
                    <a:lnTo>
                      <a:pt x="10" y="6"/>
                    </a:lnTo>
                    <a:lnTo>
                      <a:pt x="12" y="6"/>
                    </a:lnTo>
                    <a:lnTo>
                      <a:pt x="6" y="6"/>
                    </a:lnTo>
                    <a:lnTo>
                      <a:pt x="2" y="6"/>
                    </a:lnTo>
                    <a:lnTo>
                      <a:pt x="0" y="4"/>
                    </a:lnTo>
                    <a:lnTo>
                      <a:pt x="0" y="4"/>
                    </a:lnTo>
                    <a:lnTo>
                      <a:pt x="2" y="4"/>
                    </a:lnTo>
                    <a:lnTo>
                      <a:pt x="2" y="6"/>
                    </a:lnTo>
                    <a:lnTo>
                      <a:pt x="2" y="4"/>
                    </a:lnTo>
                    <a:lnTo>
                      <a:pt x="4" y="4"/>
                    </a:lnTo>
                    <a:lnTo>
                      <a:pt x="4" y="2"/>
                    </a:lnTo>
                    <a:lnTo>
                      <a:pt x="8" y="4"/>
                    </a:lnTo>
                    <a:lnTo>
                      <a:pt x="8" y="0"/>
                    </a:lnTo>
                    <a:lnTo>
                      <a:pt x="10" y="0"/>
                    </a:lnTo>
                    <a:lnTo>
                      <a:pt x="12" y="2"/>
                    </a:lnTo>
                    <a:lnTo>
                      <a:pt x="12" y="2"/>
                    </a:lnTo>
                    <a:lnTo>
                      <a:pt x="12" y="4"/>
                    </a:lnTo>
                    <a:lnTo>
                      <a:pt x="12" y="2"/>
                    </a:lnTo>
                    <a:lnTo>
                      <a:pt x="10"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36" name="Freeform 387"/>
              <p:cNvSpPr>
                <a:spLocks/>
              </p:cNvSpPr>
              <p:nvPr/>
            </p:nvSpPr>
            <p:spPr bwMode="auto">
              <a:xfrm>
                <a:off x="2555" y="1035"/>
                <a:ext cx="12" cy="6"/>
              </a:xfrm>
              <a:custGeom>
                <a:avLst/>
                <a:gdLst>
                  <a:gd name="T0" fmla="*/ 10 w 12"/>
                  <a:gd name="T1" fmla="*/ 2 h 6"/>
                  <a:gd name="T2" fmla="*/ 10 w 12"/>
                  <a:gd name="T3" fmla="*/ 2 h 6"/>
                  <a:gd name="T4" fmla="*/ 10 w 12"/>
                  <a:gd name="T5" fmla="*/ 4 h 6"/>
                  <a:gd name="T6" fmla="*/ 10 w 12"/>
                  <a:gd name="T7" fmla="*/ 4 h 6"/>
                  <a:gd name="T8" fmla="*/ 10 w 12"/>
                  <a:gd name="T9" fmla="*/ 6 h 6"/>
                  <a:gd name="T10" fmla="*/ 12 w 12"/>
                  <a:gd name="T11" fmla="*/ 6 h 6"/>
                  <a:gd name="T12" fmla="*/ 6 w 12"/>
                  <a:gd name="T13" fmla="*/ 6 h 6"/>
                  <a:gd name="T14" fmla="*/ 2 w 12"/>
                  <a:gd name="T15" fmla="*/ 6 h 6"/>
                  <a:gd name="T16" fmla="*/ 0 w 12"/>
                  <a:gd name="T17" fmla="*/ 4 h 6"/>
                  <a:gd name="T18" fmla="*/ 0 w 12"/>
                  <a:gd name="T19" fmla="*/ 4 h 6"/>
                  <a:gd name="T20" fmla="*/ 2 w 12"/>
                  <a:gd name="T21" fmla="*/ 4 h 6"/>
                  <a:gd name="T22" fmla="*/ 2 w 12"/>
                  <a:gd name="T23" fmla="*/ 6 h 6"/>
                  <a:gd name="T24" fmla="*/ 2 w 12"/>
                  <a:gd name="T25" fmla="*/ 4 h 6"/>
                  <a:gd name="T26" fmla="*/ 4 w 12"/>
                  <a:gd name="T27" fmla="*/ 4 h 6"/>
                  <a:gd name="T28" fmla="*/ 4 w 12"/>
                  <a:gd name="T29" fmla="*/ 2 h 6"/>
                  <a:gd name="T30" fmla="*/ 8 w 12"/>
                  <a:gd name="T31" fmla="*/ 4 h 6"/>
                  <a:gd name="T32" fmla="*/ 8 w 12"/>
                  <a:gd name="T33" fmla="*/ 0 h 6"/>
                  <a:gd name="T34" fmla="*/ 10 w 12"/>
                  <a:gd name="T35" fmla="*/ 0 h 6"/>
                  <a:gd name="T36" fmla="*/ 12 w 12"/>
                  <a:gd name="T37" fmla="*/ 2 h 6"/>
                  <a:gd name="T38" fmla="*/ 12 w 12"/>
                  <a:gd name="T39" fmla="*/ 2 h 6"/>
                  <a:gd name="T40" fmla="*/ 12 w 12"/>
                  <a:gd name="T41" fmla="*/ 4 h 6"/>
                  <a:gd name="T42" fmla="*/ 12 w 12"/>
                  <a:gd name="T43" fmla="*/ 2 h 6"/>
                  <a:gd name="T44" fmla="*/ 10 w 12"/>
                  <a:gd name="T4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
                    <a:moveTo>
                      <a:pt x="10" y="2"/>
                    </a:moveTo>
                    <a:lnTo>
                      <a:pt x="10" y="2"/>
                    </a:lnTo>
                    <a:lnTo>
                      <a:pt x="10" y="4"/>
                    </a:lnTo>
                    <a:lnTo>
                      <a:pt x="10" y="4"/>
                    </a:lnTo>
                    <a:lnTo>
                      <a:pt x="10" y="6"/>
                    </a:lnTo>
                    <a:lnTo>
                      <a:pt x="12" y="6"/>
                    </a:lnTo>
                    <a:lnTo>
                      <a:pt x="6" y="6"/>
                    </a:lnTo>
                    <a:lnTo>
                      <a:pt x="2" y="6"/>
                    </a:lnTo>
                    <a:lnTo>
                      <a:pt x="0" y="4"/>
                    </a:lnTo>
                    <a:lnTo>
                      <a:pt x="0" y="4"/>
                    </a:lnTo>
                    <a:lnTo>
                      <a:pt x="2" y="4"/>
                    </a:lnTo>
                    <a:lnTo>
                      <a:pt x="2" y="6"/>
                    </a:lnTo>
                    <a:lnTo>
                      <a:pt x="2" y="4"/>
                    </a:lnTo>
                    <a:lnTo>
                      <a:pt x="4" y="4"/>
                    </a:lnTo>
                    <a:lnTo>
                      <a:pt x="4" y="2"/>
                    </a:lnTo>
                    <a:lnTo>
                      <a:pt x="8" y="4"/>
                    </a:lnTo>
                    <a:lnTo>
                      <a:pt x="8" y="0"/>
                    </a:lnTo>
                    <a:lnTo>
                      <a:pt x="10" y="0"/>
                    </a:lnTo>
                    <a:lnTo>
                      <a:pt x="12" y="2"/>
                    </a:lnTo>
                    <a:lnTo>
                      <a:pt x="12" y="2"/>
                    </a:lnTo>
                    <a:lnTo>
                      <a:pt x="12" y="4"/>
                    </a:lnTo>
                    <a:lnTo>
                      <a:pt x="12" y="2"/>
                    </a:lnTo>
                    <a:lnTo>
                      <a:pt x="10" y="2"/>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37" name="Freeform 388"/>
              <p:cNvSpPr>
                <a:spLocks/>
              </p:cNvSpPr>
              <p:nvPr/>
            </p:nvSpPr>
            <p:spPr bwMode="auto">
              <a:xfrm>
                <a:off x="2547" y="1007"/>
                <a:ext cx="10" cy="10"/>
              </a:xfrm>
              <a:custGeom>
                <a:avLst/>
                <a:gdLst>
                  <a:gd name="T0" fmla="*/ 8 w 10"/>
                  <a:gd name="T1" fmla="*/ 4 h 10"/>
                  <a:gd name="T2" fmla="*/ 10 w 10"/>
                  <a:gd name="T3" fmla="*/ 4 h 10"/>
                  <a:gd name="T4" fmla="*/ 8 w 10"/>
                  <a:gd name="T5" fmla="*/ 8 h 10"/>
                  <a:gd name="T6" fmla="*/ 6 w 10"/>
                  <a:gd name="T7" fmla="*/ 10 h 10"/>
                  <a:gd name="T8" fmla="*/ 6 w 10"/>
                  <a:gd name="T9" fmla="*/ 10 h 10"/>
                  <a:gd name="T10" fmla="*/ 4 w 10"/>
                  <a:gd name="T11" fmla="*/ 10 h 10"/>
                  <a:gd name="T12" fmla="*/ 6 w 10"/>
                  <a:gd name="T13" fmla="*/ 8 h 10"/>
                  <a:gd name="T14" fmla="*/ 6 w 10"/>
                  <a:gd name="T15" fmla="*/ 8 h 10"/>
                  <a:gd name="T16" fmla="*/ 6 w 10"/>
                  <a:gd name="T17" fmla="*/ 6 h 10"/>
                  <a:gd name="T18" fmla="*/ 4 w 10"/>
                  <a:gd name="T19" fmla="*/ 8 h 10"/>
                  <a:gd name="T20" fmla="*/ 2 w 10"/>
                  <a:gd name="T21" fmla="*/ 10 h 10"/>
                  <a:gd name="T22" fmla="*/ 0 w 10"/>
                  <a:gd name="T23" fmla="*/ 10 h 10"/>
                  <a:gd name="T24" fmla="*/ 2 w 10"/>
                  <a:gd name="T25" fmla="*/ 6 h 10"/>
                  <a:gd name="T26" fmla="*/ 4 w 10"/>
                  <a:gd name="T27" fmla="*/ 6 h 10"/>
                  <a:gd name="T28" fmla="*/ 6 w 10"/>
                  <a:gd name="T29" fmla="*/ 2 h 10"/>
                  <a:gd name="T30" fmla="*/ 8 w 10"/>
                  <a:gd name="T31" fmla="*/ 0 h 10"/>
                  <a:gd name="T32" fmla="*/ 8 w 10"/>
                  <a:gd name="T33" fmla="*/ 2 h 10"/>
                  <a:gd name="T34" fmla="*/ 10 w 10"/>
                  <a:gd name="T35" fmla="*/ 4 h 10"/>
                  <a:gd name="T36" fmla="*/ 10 w 10"/>
                  <a:gd name="T37" fmla="*/ 4 h 10"/>
                  <a:gd name="T38" fmla="*/ 8 w 10"/>
                  <a:gd name="T39"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0">
                    <a:moveTo>
                      <a:pt x="8" y="4"/>
                    </a:moveTo>
                    <a:lnTo>
                      <a:pt x="10" y="4"/>
                    </a:lnTo>
                    <a:lnTo>
                      <a:pt x="8" y="8"/>
                    </a:lnTo>
                    <a:lnTo>
                      <a:pt x="6" y="10"/>
                    </a:lnTo>
                    <a:lnTo>
                      <a:pt x="6" y="10"/>
                    </a:lnTo>
                    <a:lnTo>
                      <a:pt x="4" y="10"/>
                    </a:lnTo>
                    <a:lnTo>
                      <a:pt x="6" y="8"/>
                    </a:lnTo>
                    <a:lnTo>
                      <a:pt x="6" y="8"/>
                    </a:lnTo>
                    <a:lnTo>
                      <a:pt x="6" y="6"/>
                    </a:lnTo>
                    <a:lnTo>
                      <a:pt x="4" y="8"/>
                    </a:lnTo>
                    <a:lnTo>
                      <a:pt x="2" y="10"/>
                    </a:lnTo>
                    <a:lnTo>
                      <a:pt x="0" y="10"/>
                    </a:lnTo>
                    <a:lnTo>
                      <a:pt x="2" y="6"/>
                    </a:lnTo>
                    <a:lnTo>
                      <a:pt x="4" y="6"/>
                    </a:lnTo>
                    <a:lnTo>
                      <a:pt x="6" y="2"/>
                    </a:lnTo>
                    <a:lnTo>
                      <a:pt x="8" y="0"/>
                    </a:lnTo>
                    <a:lnTo>
                      <a:pt x="8" y="2"/>
                    </a:lnTo>
                    <a:lnTo>
                      <a:pt x="10" y="4"/>
                    </a:lnTo>
                    <a:lnTo>
                      <a:pt x="10" y="4"/>
                    </a:lnTo>
                    <a:lnTo>
                      <a:pt x="8" y="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38" name="Freeform 389"/>
              <p:cNvSpPr>
                <a:spLocks/>
              </p:cNvSpPr>
              <p:nvPr/>
            </p:nvSpPr>
            <p:spPr bwMode="auto">
              <a:xfrm>
                <a:off x="2547" y="1007"/>
                <a:ext cx="10" cy="10"/>
              </a:xfrm>
              <a:custGeom>
                <a:avLst/>
                <a:gdLst>
                  <a:gd name="T0" fmla="*/ 8 w 10"/>
                  <a:gd name="T1" fmla="*/ 4 h 10"/>
                  <a:gd name="T2" fmla="*/ 10 w 10"/>
                  <a:gd name="T3" fmla="*/ 4 h 10"/>
                  <a:gd name="T4" fmla="*/ 8 w 10"/>
                  <a:gd name="T5" fmla="*/ 8 h 10"/>
                  <a:gd name="T6" fmla="*/ 6 w 10"/>
                  <a:gd name="T7" fmla="*/ 10 h 10"/>
                  <a:gd name="T8" fmla="*/ 6 w 10"/>
                  <a:gd name="T9" fmla="*/ 10 h 10"/>
                  <a:gd name="T10" fmla="*/ 4 w 10"/>
                  <a:gd name="T11" fmla="*/ 10 h 10"/>
                  <a:gd name="T12" fmla="*/ 6 w 10"/>
                  <a:gd name="T13" fmla="*/ 8 h 10"/>
                  <a:gd name="T14" fmla="*/ 6 w 10"/>
                  <a:gd name="T15" fmla="*/ 8 h 10"/>
                  <a:gd name="T16" fmla="*/ 6 w 10"/>
                  <a:gd name="T17" fmla="*/ 6 h 10"/>
                  <a:gd name="T18" fmla="*/ 4 w 10"/>
                  <a:gd name="T19" fmla="*/ 8 h 10"/>
                  <a:gd name="T20" fmla="*/ 2 w 10"/>
                  <a:gd name="T21" fmla="*/ 10 h 10"/>
                  <a:gd name="T22" fmla="*/ 0 w 10"/>
                  <a:gd name="T23" fmla="*/ 10 h 10"/>
                  <a:gd name="T24" fmla="*/ 2 w 10"/>
                  <a:gd name="T25" fmla="*/ 6 h 10"/>
                  <a:gd name="T26" fmla="*/ 4 w 10"/>
                  <a:gd name="T27" fmla="*/ 6 h 10"/>
                  <a:gd name="T28" fmla="*/ 6 w 10"/>
                  <a:gd name="T29" fmla="*/ 2 h 10"/>
                  <a:gd name="T30" fmla="*/ 8 w 10"/>
                  <a:gd name="T31" fmla="*/ 0 h 10"/>
                  <a:gd name="T32" fmla="*/ 8 w 10"/>
                  <a:gd name="T33" fmla="*/ 2 h 10"/>
                  <a:gd name="T34" fmla="*/ 10 w 10"/>
                  <a:gd name="T35" fmla="*/ 4 h 10"/>
                  <a:gd name="T36" fmla="*/ 10 w 10"/>
                  <a:gd name="T37" fmla="*/ 4 h 10"/>
                  <a:gd name="T38" fmla="*/ 8 w 10"/>
                  <a:gd name="T39"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0">
                    <a:moveTo>
                      <a:pt x="8" y="4"/>
                    </a:moveTo>
                    <a:lnTo>
                      <a:pt x="10" y="4"/>
                    </a:lnTo>
                    <a:lnTo>
                      <a:pt x="8" y="8"/>
                    </a:lnTo>
                    <a:lnTo>
                      <a:pt x="6" y="10"/>
                    </a:lnTo>
                    <a:lnTo>
                      <a:pt x="6" y="10"/>
                    </a:lnTo>
                    <a:lnTo>
                      <a:pt x="4" y="10"/>
                    </a:lnTo>
                    <a:lnTo>
                      <a:pt x="6" y="8"/>
                    </a:lnTo>
                    <a:lnTo>
                      <a:pt x="6" y="8"/>
                    </a:lnTo>
                    <a:lnTo>
                      <a:pt x="6" y="6"/>
                    </a:lnTo>
                    <a:lnTo>
                      <a:pt x="4" y="8"/>
                    </a:lnTo>
                    <a:lnTo>
                      <a:pt x="2" y="10"/>
                    </a:lnTo>
                    <a:lnTo>
                      <a:pt x="0" y="10"/>
                    </a:lnTo>
                    <a:lnTo>
                      <a:pt x="2" y="6"/>
                    </a:lnTo>
                    <a:lnTo>
                      <a:pt x="4" y="6"/>
                    </a:lnTo>
                    <a:lnTo>
                      <a:pt x="6" y="2"/>
                    </a:lnTo>
                    <a:lnTo>
                      <a:pt x="8" y="0"/>
                    </a:lnTo>
                    <a:lnTo>
                      <a:pt x="8" y="2"/>
                    </a:lnTo>
                    <a:lnTo>
                      <a:pt x="10" y="4"/>
                    </a:lnTo>
                    <a:lnTo>
                      <a:pt x="10" y="4"/>
                    </a:lnTo>
                    <a:lnTo>
                      <a:pt x="8" y="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39" name="Freeform 390"/>
              <p:cNvSpPr>
                <a:spLocks/>
              </p:cNvSpPr>
              <p:nvPr/>
            </p:nvSpPr>
            <p:spPr bwMode="auto">
              <a:xfrm>
                <a:off x="2733" y="1039"/>
                <a:ext cx="18" cy="14"/>
              </a:xfrm>
              <a:custGeom>
                <a:avLst/>
                <a:gdLst>
                  <a:gd name="T0" fmla="*/ 10 w 18"/>
                  <a:gd name="T1" fmla="*/ 0 h 14"/>
                  <a:gd name="T2" fmla="*/ 12 w 18"/>
                  <a:gd name="T3" fmla="*/ 0 h 14"/>
                  <a:gd name="T4" fmla="*/ 14 w 18"/>
                  <a:gd name="T5" fmla="*/ 0 h 14"/>
                  <a:gd name="T6" fmla="*/ 14 w 18"/>
                  <a:gd name="T7" fmla="*/ 0 h 14"/>
                  <a:gd name="T8" fmla="*/ 18 w 18"/>
                  <a:gd name="T9" fmla="*/ 4 h 14"/>
                  <a:gd name="T10" fmla="*/ 18 w 18"/>
                  <a:gd name="T11" fmla="*/ 8 h 14"/>
                  <a:gd name="T12" fmla="*/ 18 w 18"/>
                  <a:gd name="T13" fmla="*/ 10 h 14"/>
                  <a:gd name="T14" fmla="*/ 16 w 18"/>
                  <a:gd name="T15" fmla="*/ 14 h 14"/>
                  <a:gd name="T16" fmla="*/ 12 w 18"/>
                  <a:gd name="T17" fmla="*/ 14 h 14"/>
                  <a:gd name="T18" fmla="*/ 10 w 18"/>
                  <a:gd name="T19" fmla="*/ 14 h 14"/>
                  <a:gd name="T20" fmla="*/ 8 w 18"/>
                  <a:gd name="T21" fmla="*/ 14 h 14"/>
                  <a:gd name="T22" fmla="*/ 2 w 18"/>
                  <a:gd name="T23" fmla="*/ 14 h 14"/>
                  <a:gd name="T24" fmla="*/ 0 w 18"/>
                  <a:gd name="T25" fmla="*/ 12 h 14"/>
                  <a:gd name="T26" fmla="*/ 0 w 18"/>
                  <a:gd name="T27" fmla="*/ 12 h 14"/>
                  <a:gd name="T28" fmla="*/ 0 w 18"/>
                  <a:gd name="T29" fmla="*/ 10 h 14"/>
                  <a:gd name="T30" fmla="*/ 2 w 18"/>
                  <a:gd name="T31" fmla="*/ 10 h 14"/>
                  <a:gd name="T32" fmla="*/ 4 w 18"/>
                  <a:gd name="T33" fmla="*/ 10 h 14"/>
                  <a:gd name="T34" fmla="*/ 4 w 18"/>
                  <a:gd name="T35" fmla="*/ 8 h 14"/>
                  <a:gd name="T36" fmla="*/ 4 w 18"/>
                  <a:gd name="T37" fmla="*/ 8 h 14"/>
                  <a:gd name="T38" fmla="*/ 0 w 18"/>
                  <a:gd name="T39" fmla="*/ 4 h 14"/>
                  <a:gd name="T40" fmla="*/ 0 w 18"/>
                  <a:gd name="T41" fmla="*/ 2 h 14"/>
                  <a:gd name="T42" fmla="*/ 8 w 18"/>
                  <a:gd name="T43" fmla="*/ 0 h 14"/>
                  <a:gd name="T44" fmla="*/ 10 w 18"/>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4">
                    <a:moveTo>
                      <a:pt x="10" y="0"/>
                    </a:moveTo>
                    <a:lnTo>
                      <a:pt x="12" y="0"/>
                    </a:lnTo>
                    <a:lnTo>
                      <a:pt x="14" y="0"/>
                    </a:lnTo>
                    <a:lnTo>
                      <a:pt x="14" y="0"/>
                    </a:lnTo>
                    <a:lnTo>
                      <a:pt x="18" y="4"/>
                    </a:lnTo>
                    <a:lnTo>
                      <a:pt x="18" y="8"/>
                    </a:lnTo>
                    <a:lnTo>
                      <a:pt x="18" y="10"/>
                    </a:lnTo>
                    <a:lnTo>
                      <a:pt x="16" y="14"/>
                    </a:lnTo>
                    <a:lnTo>
                      <a:pt x="12" y="14"/>
                    </a:lnTo>
                    <a:lnTo>
                      <a:pt x="10" y="14"/>
                    </a:lnTo>
                    <a:lnTo>
                      <a:pt x="8" y="14"/>
                    </a:lnTo>
                    <a:lnTo>
                      <a:pt x="2" y="14"/>
                    </a:lnTo>
                    <a:lnTo>
                      <a:pt x="0" y="12"/>
                    </a:lnTo>
                    <a:lnTo>
                      <a:pt x="0" y="12"/>
                    </a:lnTo>
                    <a:lnTo>
                      <a:pt x="0" y="10"/>
                    </a:lnTo>
                    <a:lnTo>
                      <a:pt x="2" y="10"/>
                    </a:lnTo>
                    <a:lnTo>
                      <a:pt x="4" y="10"/>
                    </a:lnTo>
                    <a:lnTo>
                      <a:pt x="4" y="8"/>
                    </a:lnTo>
                    <a:lnTo>
                      <a:pt x="4" y="8"/>
                    </a:lnTo>
                    <a:lnTo>
                      <a:pt x="0" y="4"/>
                    </a:lnTo>
                    <a:lnTo>
                      <a:pt x="0" y="2"/>
                    </a:lnTo>
                    <a:lnTo>
                      <a:pt x="8" y="0"/>
                    </a:lnTo>
                    <a:lnTo>
                      <a:pt x="10"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40" name="Freeform 391"/>
              <p:cNvSpPr>
                <a:spLocks/>
              </p:cNvSpPr>
              <p:nvPr/>
            </p:nvSpPr>
            <p:spPr bwMode="auto">
              <a:xfrm>
                <a:off x="2733" y="1039"/>
                <a:ext cx="18" cy="14"/>
              </a:xfrm>
              <a:custGeom>
                <a:avLst/>
                <a:gdLst>
                  <a:gd name="T0" fmla="*/ 10 w 18"/>
                  <a:gd name="T1" fmla="*/ 0 h 14"/>
                  <a:gd name="T2" fmla="*/ 12 w 18"/>
                  <a:gd name="T3" fmla="*/ 0 h 14"/>
                  <a:gd name="T4" fmla="*/ 14 w 18"/>
                  <a:gd name="T5" fmla="*/ 0 h 14"/>
                  <a:gd name="T6" fmla="*/ 14 w 18"/>
                  <a:gd name="T7" fmla="*/ 0 h 14"/>
                  <a:gd name="T8" fmla="*/ 18 w 18"/>
                  <a:gd name="T9" fmla="*/ 4 h 14"/>
                  <a:gd name="T10" fmla="*/ 18 w 18"/>
                  <a:gd name="T11" fmla="*/ 8 h 14"/>
                  <a:gd name="T12" fmla="*/ 18 w 18"/>
                  <a:gd name="T13" fmla="*/ 10 h 14"/>
                  <a:gd name="T14" fmla="*/ 16 w 18"/>
                  <a:gd name="T15" fmla="*/ 14 h 14"/>
                  <a:gd name="T16" fmla="*/ 12 w 18"/>
                  <a:gd name="T17" fmla="*/ 14 h 14"/>
                  <a:gd name="T18" fmla="*/ 10 w 18"/>
                  <a:gd name="T19" fmla="*/ 14 h 14"/>
                  <a:gd name="T20" fmla="*/ 8 w 18"/>
                  <a:gd name="T21" fmla="*/ 14 h 14"/>
                  <a:gd name="T22" fmla="*/ 2 w 18"/>
                  <a:gd name="T23" fmla="*/ 14 h 14"/>
                  <a:gd name="T24" fmla="*/ 0 w 18"/>
                  <a:gd name="T25" fmla="*/ 12 h 14"/>
                  <a:gd name="T26" fmla="*/ 0 w 18"/>
                  <a:gd name="T27" fmla="*/ 12 h 14"/>
                  <a:gd name="T28" fmla="*/ 0 w 18"/>
                  <a:gd name="T29" fmla="*/ 10 h 14"/>
                  <a:gd name="T30" fmla="*/ 2 w 18"/>
                  <a:gd name="T31" fmla="*/ 10 h 14"/>
                  <a:gd name="T32" fmla="*/ 4 w 18"/>
                  <a:gd name="T33" fmla="*/ 10 h 14"/>
                  <a:gd name="T34" fmla="*/ 4 w 18"/>
                  <a:gd name="T35" fmla="*/ 8 h 14"/>
                  <a:gd name="T36" fmla="*/ 4 w 18"/>
                  <a:gd name="T37" fmla="*/ 8 h 14"/>
                  <a:gd name="T38" fmla="*/ 0 w 18"/>
                  <a:gd name="T39" fmla="*/ 4 h 14"/>
                  <a:gd name="T40" fmla="*/ 0 w 18"/>
                  <a:gd name="T41" fmla="*/ 2 h 14"/>
                  <a:gd name="T42" fmla="*/ 8 w 18"/>
                  <a:gd name="T43" fmla="*/ 0 h 14"/>
                  <a:gd name="T44" fmla="*/ 10 w 18"/>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4">
                    <a:moveTo>
                      <a:pt x="10" y="0"/>
                    </a:moveTo>
                    <a:lnTo>
                      <a:pt x="12" y="0"/>
                    </a:lnTo>
                    <a:lnTo>
                      <a:pt x="14" y="0"/>
                    </a:lnTo>
                    <a:lnTo>
                      <a:pt x="14" y="0"/>
                    </a:lnTo>
                    <a:lnTo>
                      <a:pt x="18" y="4"/>
                    </a:lnTo>
                    <a:lnTo>
                      <a:pt x="18" y="8"/>
                    </a:lnTo>
                    <a:lnTo>
                      <a:pt x="18" y="10"/>
                    </a:lnTo>
                    <a:lnTo>
                      <a:pt x="16" y="14"/>
                    </a:lnTo>
                    <a:lnTo>
                      <a:pt x="12" y="14"/>
                    </a:lnTo>
                    <a:lnTo>
                      <a:pt x="10" y="14"/>
                    </a:lnTo>
                    <a:lnTo>
                      <a:pt x="8" y="14"/>
                    </a:lnTo>
                    <a:lnTo>
                      <a:pt x="2" y="14"/>
                    </a:lnTo>
                    <a:lnTo>
                      <a:pt x="0" y="12"/>
                    </a:lnTo>
                    <a:lnTo>
                      <a:pt x="0" y="12"/>
                    </a:lnTo>
                    <a:lnTo>
                      <a:pt x="0" y="10"/>
                    </a:lnTo>
                    <a:lnTo>
                      <a:pt x="2" y="10"/>
                    </a:lnTo>
                    <a:lnTo>
                      <a:pt x="4" y="10"/>
                    </a:lnTo>
                    <a:lnTo>
                      <a:pt x="4" y="8"/>
                    </a:lnTo>
                    <a:lnTo>
                      <a:pt x="4" y="8"/>
                    </a:lnTo>
                    <a:lnTo>
                      <a:pt x="0" y="4"/>
                    </a:lnTo>
                    <a:lnTo>
                      <a:pt x="0" y="2"/>
                    </a:lnTo>
                    <a:lnTo>
                      <a:pt x="8" y="0"/>
                    </a:lnTo>
                    <a:lnTo>
                      <a:pt x="10"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41" name="Freeform 392"/>
              <p:cNvSpPr>
                <a:spLocks/>
              </p:cNvSpPr>
              <p:nvPr/>
            </p:nvSpPr>
            <p:spPr bwMode="auto">
              <a:xfrm>
                <a:off x="3019" y="949"/>
                <a:ext cx="12" cy="10"/>
              </a:xfrm>
              <a:custGeom>
                <a:avLst/>
                <a:gdLst>
                  <a:gd name="T0" fmla="*/ 0 w 12"/>
                  <a:gd name="T1" fmla="*/ 6 h 10"/>
                  <a:gd name="T2" fmla="*/ 2 w 12"/>
                  <a:gd name="T3" fmla="*/ 6 h 10"/>
                  <a:gd name="T4" fmla="*/ 4 w 12"/>
                  <a:gd name="T5" fmla="*/ 6 h 10"/>
                  <a:gd name="T6" fmla="*/ 4 w 12"/>
                  <a:gd name="T7" fmla="*/ 4 h 10"/>
                  <a:gd name="T8" fmla="*/ 8 w 12"/>
                  <a:gd name="T9" fmla="*/ 0 h 10"/>
                  <a:gd name="T10" fmla="*/ 10 w 12"/>
                  <a:gd name="T11" fmla="*/ 0 h 10"/>
                  <a:gd name="T12" fmla="*/ 12 w 12"/>
                  <a:gd name="T13" fmla="*/ 4 h 10"/>
                  <a:gd name="T14" fmla="*/ 10 w 12"/>
                  <a:gd name="T15" fmla="*/ 4 h 10"/>
                  <a:gd name="T16" fmla="*/ 10 w 12"/>
                  <a:gd name="T17" fmla="*/ 6 h 10"/>
                  <a:gd name="T18" fmla="*/ 0 w 12"/>
                  <a:gd name="T19" fmla="*/ 10 h 10"/>
                  <a:gd name="T20" fmla="*/ 0 w 12"/>
                  <a:gd name="T21" fmla="*/ 10 h 10"/>
                  <a:gd name="T22" fmla="*/ 0 w 12"/>
                  <a:gd name="T23" fmla="*/ 8 h 10"/>
                  <a:gd name="T24" fmla="*/ 0 w 12"/>
                  <a:gd name="T2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0" y="6"/>
                    </a:moveTo>
                    <a:lnTo>
                      <a:pt x="2" y="6"/>
                    </a:lnTo>
                    <a:lnTo>
                      <a:pt x="4" y="6"/>
                    </a:lnTo>
                    <a:lnTo>
                      <a:pt x="4" y="4"/>
                    </a:lnTo>
                    <a:lnTo>
                      <a:pt x="8" y="0"/>
                    </a:lnTo>
                    <a:lnTo>
                      <a:pt x="10" y="0"/>
                    </a:lnTo>
                    <a:lnTo>
                      <a:pt x="12" y="4"/>
                    </a:lnTo>
                    <a:lnTo>
                      <a:pt x="10" y="4"/>
                    </a:lnTo>
                    <a:lnTo>
                      <a:pt x="10" y="6"/>
                    </a:lnTo>
                    <a:lnTo>
                      <a:pt x="0" y="10"/>
                    </a:lnTo>
                    <a:lnTo>
                      <a:pt x="0" y="10"/>
                    </a:lnTo>
                    <a:lnTo>
                      <a:pt x="0" y="8"/>
                    </a:lnTo>
                    <a:lnTo>
                      <a:pt x="0" y="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42" name="Freeform 393"/>
              <p:cNvSpPr>
                <a:spLocks/>
              </p:cNvSpPr>
              <p:nvPr/>
            </p:nvSpPr>
            <p:spPr bwMode="auto">
              <a:xfrm>
                <a:off x="3019" y="949"/>
                <a:ext cx="12" cy="10"/>
              </a:xfrm>
              <a:custGeom>
                <a:avLst/>
                <a:gdLst>
                  <a:gd name="T0" fmla="*/ 0 w 12"/>
                  <a:gd name="T1" fmla="*/ 6 h 10"/>
                  <a:gd name="T2" fmla="*/ 2 w 12"/>
                  <a:gd name="T3" fmla="*/ 6 h 10"/>
                  <a:gd name="T4" fmla="*/ 4 w 12"/>
                  <a:gd name="T5" fmla="*/ 6 h 10"/>
                  <a:gd name="T6" fmla="*/ 4 w 12"/>
                  <a:gd name="T7" fmla="*/ 4 h 10"/>
                  <a:gd name="T8" fmla="*/ 8 w 12"/>
                  <a:gd name="T9" fmla="*/ 0 h 10"/>
                  <a:gd name="T10" fmla="*/ 10 w 12"/>
                  <a:gd name="T11" fmla="*/ 0 h 10"/>
                  <a:gd name="T12" fmla="*/ 12 w 12"/>
                  <a:gd name="T13" fmla="*/ 4 h 10"/>
                  <a:gd name="T14" fmla="*/ 10 w 12"/>
                  <a:gd name="T15" fmla="*/ 4 h 10"/>
                  <a:gd name="T16" fmla="*/ 10 w 12"/>
                  <a:gd name="T17" fmla="*/ 6 h 10"/>
                  <a:gd name="T18" fmla="*/ 0 w 12"/>
                  <a:gd name="T19" fmla="*/ 10 h 10"/>
                  <a:gd name="T20" fmla="*/ 0 w 12"/>
                  <a:gd name="T21" fmla="*/ 10 h 10"/>
                  <a:gd name="T22" fmla="*/ 0 w 12"/>
                  <a:gd name="T23" fmla="*/ 8 h 10"/>
                  <a:gd name="T24" fmla="*/ 0 w 12"/>
                  <a:gd name="T2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0" y="6"/>
                    </a:moveTo>
                    <a:lnTo>
                      <a:pt x="2" y="6"/>
                    </a:lnTo>
                    <a:lnTo>
                      <a:pt x="4" y="6"/>
                    </a:lnTo>
                    <a:lnTo>
                      <a:pt x="4" y="4"/>
                    </a:lnTo>
                    <a:lnTo>
                      <a:pt x="8" y="0"/>
                    </a:lnTo>
                    <a:lnTo>
                      <a:pt x="10" y="0"/>
                    </a:lnTo>
                    <a:lnTo>
                      <a:pt x="12" y="4"/>
                    </a:lnTo>
                    <a:lnTo>
                      <a:pt x="10" y="4"/>
                    </a:lnTo>
                    <a:lnTo>
                      <a:pt x="10" y="6"/>
                    </a:lnTo>
                    <a:lnTo>
                      <a:pt x="0" y="10"/>
                    </a:lnTo>
                    <a:lnTo>
                      <a:pt x="0" y="10"/>
                    </a:lnTo>
                    <a:lnTo>
                      <a:pt x="0" y="8"/>
                    </a:lnTo>
                    <a:lnTo>
                      <a:pt x="0" y="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43" name="Freeform 394"/>
              <p:cNvSpPr>
                <a:spLocks/>
              </p:cNvSpPr>
              <p:nvPr/>
            </p:nvSpPr>
            <p:spPr bwMode="auto">
              <a:xfrm>
                <a:off x="3029" y="939"/>
                <a:ext cx="10" cy="14"/>
              </a:xfrm>
              <a:custGeom>
                <a:avLst/>
                <a:gdLst>
                  <a:gd name="T0" fmla="*/ 0 w 10"/>
                  <a:gd name="T1" fmla="*/ 10 h 14"/>
                  <a:gd name="T2" fmla="*/ 0 w 10"/>
                  <a:gd name="T3" fmla="*/ 6 h 14"/>
                  <a:gd name="T4" fmla="*/ 0 w 10"/>
                  <a:gd name="T5" fmla="*/ 6 h 14"/>
                  <a:gd name="T6" fmla="*/ 2 w 10"/>
                  <a:gd name="T7" fmla="*/ 4 h 14"/>
                  <a:gd name="T8" fmla="*/ 2 w 10"/>
                  <a:gd name="T9" fmla="*/ 4 h 14"/>
                  <a:gd name="T10" fmla="*/ 0 w 10"/>
                  <a:gd name="T11" fmla="*/ 2 h 14"/>
                  <a:gd name="T12" fmla="*/ 0 w 10"/>
                  <a:gd name="T13" fmla="*/ 2 h 14"/>
                  <a:gd name="T14" fmla="*/ 2 w 10"/>
                  <a:gd name="T15" fmla="*/ 0 h 14"/>
                  <a:gd name="T16" fmla="*/ 4 w 10"/>
                  <a:gd name="T17" fmla="*/ 0 h 14"/>
                  <a:gd name="T18" fmla="*/ 8 w 10"/>
                  <a:gd name="T19" fmla="*/ 2 h 14"/>
                  <a:gd name="T20" fmla="*/ 10 w 10"/>
                  <a:gd name="T21" fmla="*/ 8 h 14"/>
                  <a:gd name="T22" fmla="*/ 8 w 10"/>
                  <a:gd name="T23" fmla="*/ 10 h 14"/>
                  <a:gd name="T24" fmla="*/ 8 w 10"/>
                  <a:gd name="T25" fmla="*/ 14 h 14"/>
                  <a:gd name="T26" fmla="*/ 6 w 10"/>
                  <a:gd name="T27" fmla="*/ 14 h 14"/>
                  <a:gd name="T28" fmla="*/ 4 w 10"/>
                  <a:gd name="T29" fmla="*/ 14 h 14"/>
                  <a:gd name="T30" fmla="*/ 4 w 10"/>
                  <a:gd name="T31" fmla="*/ 14 h 14"/>
                  <a:gd name="T32" fmla="*/ 2 w 10"/>
                  <a:gd name="T33" fmla="*/ 10 h 14"/>
                  <a:gd name="T34" fmla="*/ 0 w 10"/>
                  <a:gd name="T35" fmla="*/ 10 h 14"/>
                  <a:gd name="T36" fmla="*/ 0 w 10"/>
                  <a:gd name="T3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4">
                    <a:moveTo>
                      <a:pt x="0" y="10"/>
                    </a:moveTo>
                    <a:lnTo>
                      <a:pt x="0" y="6"/>
                    </a:lnTo>
                    <a:lnTo>
                      <a:pt x="0" y="6"/>
                    </a:lnTo>
                    <a:lnTo>
                      <a:pt x="2" y="4"/>
                    </a:lnTo>
                    <a:lnTo>
                      <a:pt x="2" y="4"/>
                    </a:lnTo>
                    <a:lnTo>
                      <a:pt x="0" y="2"/>
                    </a:lnTo>
                    <a:lnTo>
                      <a:pt x="0" y="2"/>
                    </a:lnTo>
                    <a:lnTo>
                      <a:pt x="2" y="0"/>
                    </a:lnTo>
                    <a:lnTo>
                      <a:pt x="4" y="0"/>
                    </a:lnTo>
                    <a:lnTo>
                      <a:pt x="8" y="2"/>
                    </a:lnTo>
                    <a:lnTo>
                      <a:pt x="10" y="8"/>
                    </a:lnTo>
                    <a:lnTo>
                      <a:pt x="8" y="10"/>
                    </a:lnTo>
                    <a:lnTo>
                      <a:pt x="8" y="14"/>
                    </a:lnTo>
                    <a:lnTo>
                      <a:pt x="6" y="14"/>
                    </a:lnTo>
                    <a:lnTo>
                      <a:pt x="4" y="14"/>
                    </a:lnTo>
                    <a:lnTo>
                      <a:pt x="4" y="14"/>
                    </a:lnTo>
                    <a:lnTo>
                      <a:pt x="2" y="10"/>
                    </a:lnTo>
                    <a:lnTo>
                      <a:pt x="0" y="10"/>
                    </a:lnTo>
                    <a:lnTo>
                      <a:pt x="0" y="1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44" name="Freeform 395"/>
              <p:cNvSpPr>
                <a:spLocks/>
              </p:cNvSpPr>
              <p:nvPr/>
            </p:nvSpPr>
            <p:spPr bwMode="auto">
              <a:xfrm>
                <a:off x="3029" y="939"/>
                <a:ext cx="10" cy="14"/>
              </a:xfrm>
              <a:custGeom>
                <a:avLst/>
                <a:gdLst>
                  <a:gd name="T0" fmla="*/ 0 w 10"/>
                  <a:gd name="T1" fmla="*/ 10 h 14"/>
                  <a:gd name="T2" fmla="*/ 0 w 10"/>
                  <a:gd name="T3" fmla="*/ 6 h 14"/>
                  <a:gd name="T4" fmla="*/ 0 w 10"/>
                  <a:gd name="T5" fmla="*/ 6 h 14"/>
                  <a:gd name="T6" fmla="*/ 2 w 10"/>
                  <a:gd name="T7" fmla="*/ 4 h 14"/>
                  <a:gd name="T8" fmla="*/ 2 w 10"/>
                  <a:gd name="T9" fmla="*/ 4 h 14"/>
                  <a:gd name="T10" fmla="*/ 0 w 10"/>
                  <a:gd name="T11" fmla="*/ 2 h 14"/>
                  <a:gd name="T12" fmla="*/ 0 w 10"/>
                  <a:gd name="T13" fmla="*/ 2 h 14"/>
                  <a:gd name="T14" fmla="*/ 2 w 10"/>
                  <a:gd name="T15" fmla="*/ 0 h 14"/>
                  <a:gd name="T16" fmla="*/ 4 w 10"/>
                  <a:gd name="T17" fmla="*/ 0 h 14"/>
                  <a:gd name="T18" fmla="*/ 8 w 10"/>
                  <a:gd name="T19" fmla="*/ 2 h 14"/>
                  <a:gd name="T20" fmla="*/ 10 w 10"/>
                  <a:gd name="T21" fmla="*/ 8 h 14"/>
                  <a:gd name="T22" fmla="*/ 8 w 10"/>
                  <a:gd name="T23" fmla="*/ 10 h 14"/>
                  <a:gd name="T24" fmla="*/ 8 w 10"/>
                  <a:gd name="T25" fmla="*/ 14 h 14"/>
                  <a:gd name="T26" fmla="*/ 6 w 10"/>
                  <a:gd name="T27" fmla="*/ 14 h 14"/>
                  <a:gd name="T28" fmla="*/ 4 w 10"/>
                  <a:gd name="T29" fmla="*/ 14 h 14"/>
                  <a:gd name="T30" fmla="*/ 4 w 10"/>
                  <a:gd name="T31" fmla="*/ 14 h 14"/>
                  <a:gd name="T32" fmla="*/ 2 w 10"/>
                  <a:gd name="T33" fmla="*/ 10 h 14"/>
                  <a:gd name="T34" fmla="*/ 0 w 10"/>
                  <a:gd name="T35" fmla="*/ 10 h 14"/>
                  <a:gd name="T36" fmla="*/ 0 w 10"/>
                  <a:gd name="T3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4">
                    <a:moveTo>
                      <a:pt x="0" y="10"/>
                    </a:moveTo>
                    <a:lnTo>
                      <a:pt x="0" y="6"/>
                    </a:lnTo>
                    <a:lnTo>
                      <a:pt x="0" y="6"/>
                    </a:lnTo>
                    <a:lnTo>
                      <a:pt x="2" y="4"/>
                    </a:lnTo>
                    <a:lnTo>
                      <a:pt x="2" y="4"/>
                    </a:lnTo>
                    <a:lnTo>
                      <a:pt x="0" y="2"/>
                    </a:lnTo>
                    <a:lnTo>
                      <a:pt x="0" y="2"/>
                    </a:lnTo>
                    <a:lnTo>
                      <a:pt x="2" y="0"/>
                    </a:lnTo>
                    <a:lnTo>
                      <a:pt x="4" y="0"/>
                    </a:lnTo>
                    <a:lnTo>
                      <a:pt x="8" y="2"/>
                    </a:lnTo>
                    <a:lnTo>
                      <a:pt x="10" y="8"/>
                    </a:lnTo>
                    <a:lnTo>
                      <a:pt x="8" y="10"/>
                    </a:lnTo>
                    <a:lnTo>
                      <a:pt x="8" y="14"/>
                    </a:lnTo>
                    <a:lnTo>
                      <a:pt x="6" y="14"/>
                    </a:lnTo>
                    <a:lnTo>
                      <a:pt x="4" y="14"/>
                    </a:lnTo>
                    <a:lnTo>
                      <a:pt x="4" y="14"/>
                    </a:lnTo>
                    <a:lnTo>
                      <a:pt x="2" y="10"/>
                    </a:lnTo>
                    <a:lnTo>
                      <a:pt x="0" y="10"/>
                    </a:lnTo>
                    <a:lnTo>
                      <a:pt x="0" y="1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45" name="Freeform 396"/>
              <p:cNvSpPr>
                <a:spLocks/>
              </p:cNvSpPr>
              <p:nvPr/>
            </p:nvSpPr>
            <p:spPr bwMode="auto">
              <a:xfrm>
                <a:off x="3007" y="903"/>
                <a:ext cx="14" cy="18"/>
              </a:xfrm>
              <a:custGeom>
                <a:avLst/>
                <a:gdLst>
                  <a:gd name="T0" fmla="*/ 4 w 14"/>
                  <a:gd name="T1" fmla="*/ 6 h 18"/>
                  <a:gd name="T2" fmla="*/ 4 w 14"/>
                  <a:gd name="T3" fmla="*/ 6 h 18"/>
                  <a:gd name="T4" fmla="*/ 8 w 14"/>
                  <a:gd name="T5" fmla="*/ 0 h 18"/>
                  <a:gd name="T6" fmla="*/ 8 w 14"/>
                  <a:gd name="T7" fmla="*/ 0 h 18"/>
                  <a:gd name="T8" fmla="*/ 12 w 14"/>
                  <a:gd name="T9" fmla="*/ 6 h 18"/>
                  <a:gd name="T10" fmla="*/ 14 w 14"/>
                  <a:gd name="T11" fmla="*/ 6 h 18"/>
                  <a:gd name="T12" fmla="*/ 10 w 14"/>
                  <a:gd name="T13" fmla="*/ 4 h 18"/>
                  <a:gd name="T14" fmla="*/ 14 w 14"/>
                  <a:gd name="T15" fmla="*/ 10 h 18"/>
                  <a:gd name="T16" fmla="*/ 12 w 14"/>
                  <a:gd name="T17" fmla="*/ 10 h 18"/>
                  <a:gd name="T18" fmla="*/ 10 w 14"/>
                  <a:gd name="T19" fmla="*/ 12 h 18"/>
                  <a:gd name="T20" fmla="*/ 10 w 14"/>
                  <a:gd name="T21" fmla="*/ 14 h 18"/>
                  <a:gd name="T22" fmla="*/ 8 w 14"/>
                  <a:gd name="T23" fmla="*/ 16 h 18"/>
                  <a:gd name="T24" fmla="*/ 10 w 14"/>
                  <a:gd name="T25" fmla="*/ 18 h 18"/>
                  <a:gd name="T26" fmla="*/ 10 w 14"/>
                  <a:gd name="T27" fmla="*/ 18 h 18"/>
                  <a:gd name="T28" fmla="*/ 6 w 14"/>
                  <a:gd name="T29" fmla="*/ 18 h 18"/>
                  <a:gd name="T30" fmla="*/ 4 w 14"/>
                  <a:gd name="T31" fmla="*/ 18 h 18"/>
                  <a:gd name="T32" fmla="*/ 6 w 14"/>
                  <a:gd name="T33" fmla="*/ 16 h 18"/>
                  <a:gd name="T34" fmla="*/ 4 w 14"/>
                  <a:gd name="T35" fmla="*/ 16 h 18"/>
                  <a:gd name="T36" fmla="*/ 2 w 14"/>
                  <a:gd name="T37" fmla="*/ 14 h 18"/>
                  <a:gd name="T38" fmla="*/ 2 w 14"/>
                  <a:gd name="T39" fmla="*/ 12 h 18"/>
                  <a:gd name="T40" fmla="*/ 0 w 14"/>
                  <a:gd name="T41" fmla="*/ 10 h 18"/>
                  <a:gd name="T42" fmla="*/ 0 w 14"/>
                  <a:gd name="T43" fmla="*/ 10 h 18"/>
                  <a:gd name="T44" fmla="*/ 2 w 14"/>
                  <a:gd name="T45" fmla="*/ 6 h 18"/>
                  <a:gd name="T46" fmla="*/ 2 w 14"/>
                  <a:gd name="T47" fmla="*/ 6 h 18"/>
                  <a:gd name="T48" fmla="*/ 4 w 14"/>
                  <a:gd name="T4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18">
                    <a:moveTo>
                      <a:pt x="4" y="6"/>
                    </a:moveTo>
                    <a:lnTo>
                      <a:pt x="4" y="6"/>
                    </a:lnTo>
                    <a:lnTo>
                      <a:pt x="8" y="0"/>
                    </a:lnTo>
                    <a:lnTo>
                      <a:pt x="8" y="0"/>
                    </a:lnTo>
                    <a:lnTo>
                      <a:pt x="12" y="6"/>
                    </a:lnTo>
                    <a:lnTo>
                      <a:pt x="14" y="6"/>
                    </a:lnTo>
                    <a:lnTo>
                      <a:pt x="10" y="4"/>
                    </a:lnTo>
                    <a:lnTo>
                      <a:pt x="14" y="10"/>
                    </a:lnTo>
                    <a:lnTo>
                      <a:pt x="12" y="10"/>
                    </a:lnTo>
                    <a:lnTo>
                      <a:pt x="10" y="12"/>
                    </a:lnTo>
                    <a:lnTo>
                      <a:pt x="10" y="14"/>
                    </a:lnTo>
                    <a:lnTo>
                      <a:pt x="8" y="16"/>
                    </a:lnTo>
                    <a:lnTo>
                      <a:pt x="10" y="18"/>
                    </a:lnTo>
                    <a:lnTo>
                      <a:pt x="10" y="18"/>
                    </a:lnTo>
                    <a:lnTo>
                      <a:pt x="6" y="18"/>
                    </a:lnTo>
                    <a:lnTo>
                      <a:pt x="4" y="18"/>
                    </a:lnTo>
                    <a:lnTo>
                      <a:pt x="6" y="16"/>
                    </a:lnTo>
                    <a:lnTo>
                      <a:pt x="4" y="16"/>
                    </a:lnTo>
                    <a:lnTo>
                      <a:pt x="2" y="14"/>
                    </a:lnTo>
                    <a:lnTo>
                      <a:pt x="2" y="12"/>
                    </a:lnTo>
                    <a:lnTo>
                      <a:pt x="0" y="10"/>
                    </a:lnTo>
                    <a:lnTo>
                      <a:pt x="0" y="10"/>
                    </a:lnTo>
                    <a:lnTo>
                      <a:pt x="2" y="6"/>
                    </a:lnTo>
                    <a:lnTo>
                      <a:pt x="2" y="6"/>
                    </a:lnTo>
                    <a:lnTo>
                      <a:pt x="4" y="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46" name="Freeform 397"/>
              <p:cNvSpPr>
                <a:spLocks/>
              </p:cNvSpPr>
              <p:nvPr/>
            </p:nvSpPr>
            <p:spPr bwMode="auto">
              <a:xfrm>
                <a:off x="3007" y="903"/>
                <a:ext cx="14" cy="18"/>
              </a:xfrm>
              <a:custGeom>
                <a:avLst/>
                <a:gdLst>
                  <a:gd name="T0" fmla="*/ 4 w 14"/>
                  <a:gd name="T1" fmla="*/ 6 h 18"/>
                  <a:gd name="T2" fmla="*/ 4 w 14"/>
                  <a:gd name="T3" fmla="*/ 6 h 18"/>
                  <a:gd name="T4" fmla="*/ 8 w 14"/>
                  <a:gd name="T5" fmla="*/ 0 h 18"/>
                  <a:gd name="T6" fmla="*/ 8 w 14"/>
                  <a:gd name="T7" fmla="*/ 0 h 18"/>
                  <a:gd name="T8" fmla="*/ 12 w 14"/>
                  <a:gd name="T9" fmla="*/ 6 h 18"/>
                  <a:gd name="T10" fmla="*/ 14 w 14"/>
                  <a:gd name="T11" fmla="*/ 6 h 18"/>
                  <a:gd name="T12" fmla="*/ 10 w 14"/>
                  <a:gd name="T13" fmla="*/ 4 h 18"/>
                  <a:gd name="T14" fmla="*/ 14 w 14"/>
                  <a:gd name="T15" fmla="*/ 10 h 18"/>
                  <a:gd name="T16" fmla="*/ 12 w 14"/>
                  <a:gd name="T17" fmla="*/ 10 h 18"/>
                  <a:gd name="T18" fmla="*/ 10 w 14"/>
                  <a:gd name="T19" fmla="*/ 12 h 18"/>
                  <a:gd name="T20" fmla="*/ 10 w 14"/>
                  <a:gd name="T21" fmla="*/ 14 h 18"/>
                  <a:gd name="T22" fmla="*/ 8 w 14"/>
                  <a:gd name="T23" fmla="*/ 16 h 18"/>
                  <a:gd name="T24" fmla="*/ 10 w 14"/>
                  <a:gd name="T25" fmla="*/ 18 h 18"/>
                  <a:gd name="T26" fmla="*/ 10 w 14"/>
                  <a:gd name="T27" fmla="*/ 18 h 18"/>
                  <a:gd name="T28" fmla="*/ 6 w 14"/>
                  <a:gd name="T29" fmla="*/ 18 h 18"/>
                  <a:gd name="T30" fmla="*/ 4 w 14"/>
                  <a:gd name="T31" fmla="*/ 18 h 18"/>
                  <a:gd name="T32" fmla="*/ 6 w 14"/>
                  <a:gd name="T33" fmla="*/ 16 h 18"/>
                  <a:gd name="T34" fmla="*/ 4 w 14"/>
                  <a:gd name="T35" fmla="*/ 16 h 18"/>
                  <a:gd name="T36" fmla="*/ 2 w 14"/>
                  <a:gd name="T37" fmla="*/ 14 h 18"/>
                  <a:gd name="T38" fmla="*/ 2 w 14"/>
                  <a:gd name="T39" fmla="*/ 12 h 18"/>
                  <a:gd name="T40" fmla="*/ 0 w 14"/>
                  <a:gd name="T41" fmla="*/ 10 h 18"/>
                  <a:gd name="T42" fmla="*/ 0 w 14"/>
                  <a:gd name="T43" fmla="*/ 10 h 18"/>
                  <a:gd name="T44" fmla="*/ 2 w 14"/>
                  <a:gd name="T45" fmla="*/ 6 h 18"/>
                  <a:gd name="T46" fmla="*/ 2 w 14"/>
                  <a:gd name="T47" fmla="*/ 6 h 18"/>
                  <a:gd name="T48" fmla="*/ 4 w 14"/>
                  <a:gd name="T4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18">
                    <a:moveTo>
                      <a:pt x="4" y="6"/>
                    </a:moveTo>
                    <a:lnTo>
                      <a:pt x="4" y="6"/>
                    </a:lnTo>
                    <a:lnTo>
                      <a:pt x="8" y="0"/>
                    </a:lnTo>
                    <a:lnTo>
                      <a:pt x="8" y="0"/>
                    </a:lnTo>
                    <a:lnTo>
                      <a:pt x="12" y="6"/>
                    </a:lnTo>
                    <a:lnTo>
                      <a:pt x="14" y="6"/>
                    </a:lnTo>
                    <a:lnTo>
                      <a:pt x="10" y="4"/>
                    </a:lnTo>
                    <a:lnTo>
                      <a:pt x="14" y="10"/>
                    </a:lnTo>
                    <a:lnTo>
                      <a:pt x="12" y="10"/>
                    </a:lnTo>
                    <a:lnTo>
                      <a:pt x="10" y="12"/>
                    </a:lnTo>
                    <a:lnTo>
                      <a:pt x="10" y="14"/>
                    </a:lnTo>
                    <a:lnTo>
                      <a:pt x="8" y="16"/>
                    </a:lnTo>
                    <a:lnTo>
                      <a:pt x="10" y="18"/>
                    </a:lnTo>
                    <a:lnTo>
                      <a:pt x="10" y="18"/>
                    </a:lnTo>
                    <a:lnTo>
                      <a:pt x="6" y="18"/>
                    </a:lnTo>
                    <a:lnTo>
                      <a:pt x="4" y="18"/>
                    </a:lnTo>
                    <a:lnTo>
                      <a:pt x="6" y="16"/>
                    </a:lnTo>
                    <a:lnTo>
                      <a:pt x="4" y="16"/>
                    </a:lnTo>
                    <a:lnTo>
                      <a:pt x="2" y="14"/>
                    </a:lnTo>
                    <a:lnTo>
                      <a:pt x="2" y="12"/>
                    </a:lnTo>
                    <a:lnTo>
                      <a:pt x="0" y="10"/>
                    </a:lnTo>
                    <a:lnTo>
                      <a:pt x="0" y="10"/>
                    </a:lnTo>
                    <a:lnTo>
                      <a:pt x="2" y="6"/>
                    </a:lnTo>
                    <a:lnTo>
                      <a:pt x="2" y="6"/>
                    </a:lnTo>
                    <a:lnTo>
                      <a:pt x="4" y="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47" name="Freeform 398"/>
              <p:cNvSpPr>
                <a:spLocks/>
              </p:cNvSpPr>
              <p:nvPr/>
            </p:nvSpPr>
            <p:spPr bwMode="auto">
              <a:xfrm>
                <a:off x="3209" y="625"/>
                <a:ext cx="20" cy="20"/>
              </a:xfrm>
              <a:custGeom>
                <a:avLst/>
                <a:gdLst>
                  <a:gd name="T0" fmla="*/ 2 w 20"/>
                  <a:gd name="T1" fmla="*/ 16 h 20"/>
                  <a:gd name="T2" fmla="*/ 0 w 20"/>
                  <a:gd name="T3" fmla="*/ 14 h 20"/>
                  <a:gd name="T4" fmla="*/ 0 w 20"/>
                  <a:gd name="T5" fmla="*/ 10 h 20"/>
                  <a:gd name="T6" fmla="*/ 8 w 20"/>
                  <a:gd name="T7" fmla="*/ 2 h 20"/>
                  <a:gd name="T8" fmla="*/ 10 w 20"/>
                  <a:gd name="T9" fmla="*/ 0 h 20"/>
                  <a:gd name="T10" fmla="*/ 12 w 20"/>
                  <a:gd name="T11" fmla="*/ 2 h 20"/>
                  <a:gd name="T12" fmla="*/ 14 w 20"/>
                  <a:gd name="T13" fmla="*/ 2 h 20"/>
                  <a:gd name="T14" fmla="*/ 20 w 20"/>
                  <a:gd name="T15" fmla="*/ 4 h 20"/>
                  <a:gd name="T16" fmla="*/ 20 w 20"/>
                  <a:gd name="T17" fmla="*/ 6 h 20"/>
                  <a:gd name="T18" fmla="*/ 18 w 20"/>
                  <a:gd name="T19" fmla="*/ 12 h 20"/>
                  <a:gd name="T20" fmla="*/ 14 w 20"/>
                  <a:gd name="T21" fmla="*/ 14 h 20"/>
                  <a:gd name="T22" fmla="*/ 14 w 20"/>
                  <a:gd name="T23" fmla="*/ 16 h 20"/>
                  <a:gd name="T24" fmla="*/ 10 w 20"/>
                  <a:gd name="T25" fmla="*/ 16 h 20"/>
                  <a:gd name="T26" fmla="*/ 8 w 20"/>
                  <a:gd name="T27" fmla="*/ 20 h 20"/>
                  <a:gd name="T28" fmla="*/ 6 w 20"/>
                  <a:gd name="T29" fmla="*/ 20 h 20"/>
                  <a:gd name="T30" fmla="*/ 2 w 20"/>
                  <a:gd name="T31" fmla="*/ 18 h 20"/>
                  <a:gd name="T32" fmla="*/ 2 w 2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2" y="16"/>
                    </a:moveTo>
                    <a:lnTo>
                      <a:pt x="0" y="14"/>
                    </a:lnTo>
                    <a:lnTo>
                      <a:pt x="0" y="10"/>
                    </a:lnTo>
                    <a:lnTo>
                      <a:pt x="8" y="2"/>
                    </a:lnTo>
                    <a:lnTo>
                      <a:pt x="10" y="0"/>
                    </a:lnTo>
                    <a:lnTo>
                      <a:pt x="12" y="2"/>
                    </a:lnTo>
                    <a:lnTo>
                      <a:pt x="14" y="2"/>
                    </a:lnTo>
                    <a:lnTo>
                      <a:pt x="20" y="4"/>
                    </a:lnTo>
                    <a:lnTo>
                      <a:pt x="20" y="6"/>
                    </a:lnTo>
                    <a:lnTo>
                      <a:pt x="18" y="12"/>
                    </a:lnTo>
                    <a:lnTo>
                      <a:pt x="14" y="14"/>
                    </a:lnTo>
                    <a:lnTo>
                      <a:pt x="14" y="16"/>
                    </a:lnTo>
                    <a:lnTo>
                      <a:pt x="10" y="16"/>
                    </a:lnTo>
                    <a:lnTo>
                      <a:pt x="8" y="20"/>
                    </a:lnTo>
                    <a:lnTo>
                      <a:pt x="6" y="20"/>
                    </a:lnTo>
                    <a:lnTo>
                      <a:pt x="2" y="18"/>
                    </a:lnTo>
                    <a:lnTo>
                      <a:pt x="2" y="1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48" name="Freeform 399"/>
              <p:cNvSpPr>
                <a:spLocks/>
              </p:cNvSpPr>
              <p:nvPr/>
            </p:nvSpPr>
            <p:spPr bwMode="auto">
              <a:xfrm>
                <a:off x="3209" y="625"/>
                <a:ext cx="20" cy="20"/>
              </a:xfrm>
              <a:custGeom>
                <a:avLst/>
                <a:gdLst>
                  <a:gd name="T0" fmla="*/ 2 w 20"/>
                  <a:gd name="T1" fmla="*/ 16 h 20"/>
                  <a:gd name="T2" fmla="*/ 0 w 20"/>
                  <a:gd name="T3" fmla="*/ 14 h 20"/>
                  <a:gd name="T4" fmla="*/ 0 w 20"/>
                  <a:gd name="T5" fmla="*/ 10 h 20"/>
                  <a:gd name="T6" fmla="*/ 8 w 20"/>
                  <a:gd name="T7" fmla="*/ 2 h 20"/>
                  <a:gd name="T8" fmla="*/ 10 w 20"/>
                  <a:gd name="T9" fmla="*/ 0 h 20"/>
                  <a:gd name="T10" fmla="*/ 12 w 20"/>
                  <a:gd name="T11" fmla="*/ 2 h 20"/>
                  <a:gd name="T12" fmla="*/ 14 w 20"/>
                  <a:gd name="T13" fmla="*/ 2 h 20"/>
                  <a:gd name="T14" fmla="*/ 20 w 20"/>
                  <a:gd name="T15" fmla="*/ 4 h 20"/>
                  <a:gd name="T16" fmla="*/ 20 w 20"/>
                  <a:gd name="T17" fmla="*/ 6 h 20"/>
                  <a:gd name="T18" fmla="*/ 18 w 20"/>
                  <a:gd name="T19" fmla="*/ 12 h 20"/>
                  <a:gd name="T20" fmla="*/ 14 w 20"/>
                  <a:gd name="T21" fmla="*/ 14 h 20"/>
                  <a:gd name="T22" fmla="*/ 14 w 20"/>
                  <a:gd name="T23" fmla="*/ 16 h 20"/>
                  <a:gd name="T24" fmla="*/ 10 w 20"/>
                  <a:gd name="T25" fmla="*/ 16 h 20"/>
                  <a:gd name="T26" fmla="*/ 8 w 20"/>
                  <a:gd name="T27" fmla="*/ 20 h 20"/>
                  <a:gd name="T28" fmla="*/ 6 w 20"/>
                  <a:gd name="T29" fmla="*/ 20 h 20"/>
                  <a:gd name="T30" fmla="*/ 2 w 20"/>
                  <a:gd name="T31" fmla="*/ 18 h 20"/>
                  <a:gd name="T32" fmla="*/ 2 w 2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2" y="16"/>
                    </a:moveTo>
                    <a:lnTo>
                      <a:pt x="0" y="14"/>
                    </a:lnTo>
                    <a:lnTo>
                      <a:pt x="0" y="10"/>
                    </a:lnTo>
                    <a:lnTo>
                      <a:pt x="8" y="2"/>
                    </a:lnTo>
                    <a:lnTo>
                      <a:pt x="10" y="0"/>
                    </a:lnTo>
                    <a:lnTo>
                      <a:pt x="12" y="2"/>
                    </a:lnTo>
                    <a:lnTo>
                      <a:pt x="14" y="2"/>
                    </a:lnTo>
                    <a:lnTo>
                      <a:pt x="20" y="4"/>
                    </a:lnTo>
                    <a:lnTo>
                      <a:pt x="20" y="6"/>
                    </a:lnTo>
                    <a:lnTo>
                      <a:pt x="18" y="12"/>
                    </a:lnTo>
                    <a:lnTo>
                      <a:pt x="14" y="14"/>
                    </a:lnTo>
                    <a:lnTo>
                      <a:pt x="14" y="16"/>
                    </a:lnTo>
                    <a:lnTo>
                      <a:pt x="10" y="16"/>
                    </a:lnTo>
                    <a:lnTo>
                      <a:pt x="8" y="20"/>
                    </a:lnTo>
                    <a:lnTo>
                      <a:pt x="6" y="20"/>
                    </a:lnTo>
                    <a:lnTo>
                      <a:pt x="2" y="18"/>
                    </a:lnTo>
                    <a:lnTo>
                      <a:pt x="2" y="1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49" name="Freeform 400"/>
              <p:cNvSpPr>
                <a:spLocks/>
              </p:cNvSpPr>
              <p:nvPr/>
            </p:nvSpPr>
            <p:spPr bwMode="auto">
              <a:xfrm>
                <a:off x="1989" y="1199"/>
                <a:ext cx="32" cy="26"/>
              </a:xfrm>
              <a:custGeom>
                <a:avLst/>
                <a:gdLst>
                  <a:gd name="T0" fmla="*/ 18 w 32"/>
                  <a:gd name="T1" fmla="*/ 0 h 26"/>
                  <a:gd name="T2" fmla="*/ 20 w 32"/>
                  <a:gd name="T3" fmla="*/ 0 h 26"/>
                  <a:gd name="T4" fmla="*/ 20 w 32"/>
                  <a:gd name="T5" fmla="*/ 0 h 26"/>
                  <a:gd name="T6" fmla="*/ 20 w 32"/>
                  <a:gd name="T7" fmla="*/ 2 h 26"/>
                  <a:gd name="T8" fmla="*/ 24 w 32"/>
                  <a:gd name="T9" fmla="*/ 2 h 26"/>
                  <a:gd name="T10" fmla="*/ 26 w 32"/>
                  <a:gd name="T11" fmla="*/ 2 h 26"/>
                  <a:gd name="T12" fmla="*/ 30 w 32"/>
                  <a:gd name="T13" fmla="*/ 14 h 26"/>
                  <a:gd name="T14" fmla="*/ 30 w 32"/>
                  <a:gd name="T15" fmla="*/ 18 h 26"/>
                  <a:gd name="T16" fmla="*/ 30 w 32"/>
                  <a:gd name="T17" fmla="*/ 18 h 26"/>
                  <a:gd name="T18" fmla="*/ 32 w 32"/>
                  <a:gd name="T19" fmla="*/ 14 h 26"/>
                  <a:gd name="T20" fmla="*/ 32 w 32"/>
                  <a:gd name="T21" fmla="*/ 22 h 26"/>
                  <a:gd name="T22" fmla="*/ 30 w 32"/>
                  <a:gd name="T23" fmla="*/ 24 h 26"/>
                  <a:gd name="T24" fmla="*/ 30 w 32"/>
                  <a:gd name="T25" fmla="*/ 20 h 26"/>
                  <a:gd name="T26" fmla="*/ 18 w 32"/>
                  <a:gd name="T27" fmla="*/ 26 h 26"/>
                  <a:gd name="T28" fmla="*/ 14 w 32"/>
                  <a:gd name="T29" fmla="*/ 26 h 26"/>
                  <a:gd name="T30" fmla="*/ 12 w 32"/>
                  <a:gd name="T31" fmla="*/ 26 h 26"/>
                  <a:gd name="T32" fmla="*/ 8 w 32"/>
                  <a:gd name="T33" fmla="*/ 26 h 26"/>
                  <a:gd name="T34" fmla="*/ 6 w 32"/>
                  <a:gd name="T35" fmla="*/ 26 h 26"/>
                  <a:gd name="T36" fmla="*/ 6 w 32"/>
                  <a:gd name="T37" fmla="*/ 24 h 26"/>
                  <a:gd name="T38" fmla="*/ 4 w 32"/>
                  <a:gd name="T39" fmla="*/ 24 h 26"/>
                  <a:gd name="T40" fmla="*/ 4 w 32"/>
                  <a:gd name="T41" fmla="*/ 22 h 26"/>
                  <a:gd name="T42" fmla="*/ 4 w 32"/>
                  <a:gd name="T43" fmla="*/ 18 h 26"/>
                  <a:gd name="T44" fmla="*/ 2 w 32"/>
                  <a:gd name="T45" fmla="*/ 18 h 26"/>
                  <a:gd name="T46" fmla="*/ 0 w 32"/>
                  <a:gd name="T47" fmla="*/ 20 h 26"/>
                  <a:gd name="T48" fmla="*/ 0 w 32"/>
                  <a:gd name="T49" fmla="*/ 22 h 26"/>
                  <a:gd name="T50" fmla="*/ 0 w 32"/>
                  <a:gd name="T51" fmla="*/ 20 h 26"/>
                  <a:gd name="T52" fmla="*/ 0 w 32"/>
                  <a:gd name="T53" fmla="*/ 18 h 26"/>
                  <a:gd name="T54" fmla="*/ 8 w 32"/>
                  <a:gd name="T55" fmla="*/ 8 h 26"/>
                  <a:gd name="T56" fmla="*/ 18 w 32"/>
                  <a:gd name="T5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6">
                    <a:moveTo>
                      <a:pt x="18" y="0"/>
                    </a:moveTo>
                    <a:lnTo>
                      <a:pt x="20" y="0"/>
                    </a:lnTo>
                    <a:lnTo>
                      <a:pt x="20" y="0"/>
                    </a:lnTo>
                    <a:lnTo>
                      <a:pt x="20" y="2"/>
                    </a:lnTo>
                    <a:lnTo>
                      <a:pt x="24" y="2"/>
                    </a:lnTo>
                    <a:lnTo>
                      <a:pt x="26" y="2"/>
                    </a:lnTo>
                    <a:lnTo>
                      <a:pt x="30" y="14"/>
                    </a:lnTo>
                    <a:lnTo>
                      <a:pt x="30" y="18"/>
                    </a:lnTo>
                    <a:lnTo>
                      <a:pt x="30" y="18"/>
                    </a:lnTo>
                    <a:lnTo>
                      <a:pt x="32" y="14"/>
                    </a:lnTo>
                    <a:lnTo>
                      <a:pt x="32" y="22"/>
                    </a:lnTo>
                    <a:lnTo>
                      <a:pt x="30" y="24"/>
                    </a:lnTo>
                    <a:lnTo>
                      <a:pt x="30" y="20"/>
                    </a:lnTo>
                    <a:lnTo>
                      <a:pt x="18" y="26"/>
                    </a:lnTo>
                    <a:lnTo>
                      <a:pt x="14" y="26"/>
                    </a:lnTo>
                    <a:lnTo>
                      <a:pt x="12" y="26"/>
                    </a:lnTo>
                    <a:lnTo>
                      <a:pt x="8" y="26"/>
                    </a:lnTo>
                    <a:lnTo>
                      <a:pt x="6" y="26"/>
                    </a:lnTo>
                    <a:lnTo>
                      <a:pt x="6" y="24"/>
                    </a:lnTo>
                    <a:lnTo>
                      <a:pt x="4" y="24"/>
                    </a:lnTo>
                    <a:lnTo>
                      <a:pt x="4" y="22"/>
                    </a:lnTo>
                    <a:lnTo>
                      <a:pt x="4" y="18"/>
                    </a:lnTo>
                    <a:lnTo>
                      <a:pt x="2" y="18"/>
                    </a:lnTo>
                    <a:lnTo>
                      <a:pt x="0" y="20"/>
                    </a:lnTo>
                    <a:lnTo>
                      <a:pt x="0" y="22"/>
                    </a:lnTo>
                    <a:lnTo>
                      <a:pt x="0" y="20"/>
                    </a:lnTo>
                    <a:lnTo>
                      <a:pt x="0" y="18"/>
                    </a:lnTo>
                    <a:lnTo>
                      <a:pt x="8" y="8"/>
                    </a:lnTo>
                    <a:lnTo>
                      <a:pt x="18" y="0"/>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50" name="Freeform 401"/>
              <p:cNvSpPr>
                <a:spLocks/>
              </p:cNvSpPr>
              <p:nvPr/>
            </p:nvSpPr>
            <p:spPr bwMode="auto">
              <a:xfrm>
                <a:off x="1989" y="1199"/>
                <a:ext cx="32" cy="26"/>
              </a:xfrm>
              <a:custGeom>
                <a:avLst/>
                <a:gdLst>
                  <a:gd name="T0" fmla="*/ 18 w 32"/>
                  <a:gd name="T1" fmla="*/ 0 h 26"/>
                  <a:gd name="T2" fmla="*/ 20 w 32"/>
                  <a:gd name="T3" fmla="*/ 0 h 26"/>
                  <a:gd name="T4" fmla="*/ 20 w 32"/>
                  <a:gd name="T5" fmla="*/ 0 h 26"/>
                  <a:gd name="T6" fmla="*/ 20 w 32"/>
                  <a:gd name="T7" fmla="*/ 2 h 26"/>
                  <a:gd name="T8" fmla="*/ 24 w 32"/>
                  <a:gd name="T9" fmla="*/ 2 h 26"/>
                  <a:gd name="T10" fmla="*/ 26 w 32"/>
                  <a:gd name="T11" fmla="*/ 2 h 26"/>
                  <a:gd name="T12" fmla="*/ 30 w 32"/>
                  <a:gd name="T13" fmla="*/ 14 h 26"/>
                  <a:gd name="T14" fmla="*/ 30 w 32"/>
                  <a:gd name="T15" fmla="*/ 18 h 26"/>
                  <a:gd name="T16" fmla="*/ 30 w 32"/>
                  <a:gd name="T17" fmla="*/ 18 h 26"/>
                  <a:gd name="T18" fmla="*/ 32 w 32"/>
                  <a:gd name="T19" fmla="*/ 14 h 26"/>
                  <a:gd name="T20" fmla="*/ 32 w 32"/>
                  <a:gd name="T21" fmla="*/ 22 h 26"/>
                  <a:gd name="T22" fmla="*/ 30 w 32"/>
                  <a:gd name="T23" fmla="*/ 24 h 26"/>
                  <a:gd name="T24" fmla="*/ 30 w 32"/>
                  <a:gd name="T25" fmla="*/ 20 h 26"/>
                  <a:gd name="T26" fmla="*/ 18 w 32"/>
                  <a:gd name="T27" fmla="*/ 26 h 26"/>
                  <a:gd name="T28" fmla="*/ 14 w 32"/>
                  <a:gd name="T29" fmla="*/ 26 h 26"/>
                  <a:gd name="T30" fmla="*/ 12 w 32"/>
                  <a:gd name="T31" fmla="*/ 26 h 26"/>
                  <a:gd name="T32" fmla="*/ 8 w 32"/>
                  <a:gd name="T33" fmla="*/ 26 h 26"/>
                  <a:gd name="T34" fmla="*/ 6 w 32"/>
                  <a:gd name="T35" fmla="*/ 26 h 26"/>
                  <a:gd name="T36" fmla="*/ 6 w 32"/>
                  <a:gd name="T37" fmla="*/ 24 h 26"/>
                  <a:gd name="T38" fmla="*/ 4 w 32"/>
                  <a:gd name="T39" fmla="*/ 24 h 26"/>
                  <a:gd name="T40" fmla="*/ 4 w 32"/>
                  <a:gd name="T41" fmla="*/ 22 h 26"/>
                  <a:gd name="T42" fmla="*/ 4 w 32"/>
                  <a:gd name="T43" fmla="*/ 18 h 26"/>
                  <a:gd name="T44" fmla="*/ 2 w 32"/>
                  <a:gd name="T45" fmla="*/ 18 h 26"/>
                  <a:gd name="T46" fmla="*/ 0 w 32"/>
                  <a:gd name="T47" fmla="*/ 20 h 26"/>
                  <a:gd name="T48" fmla="*/ 0 w 32"/>
                  <a:gd name="T49" fmla="*/ 22 h 26"/>
                  <a:gd name="T50" fmla="*/ 0 w 32"/>
                  <a:gd name="T51" fmla="*/ 20 h 26"/>
                  <a:gd name="T52" fmla="*/ 0 w 32"/>
                  <a:gd name="T53" fmla="*/ 18 h 26"/>
                  <a:gd name="T54" fmla="*/ 8 w 32"/>
                  <a:gd name="T55" fmla="*/ 8 h 26"/>
                  <a:gd name="T56" fmla="*/ 18 w 32"/>
                  <a:gd name="T5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6">
                    <a:moveTo>
                      <a:pt x="18" y="0"/>
                    </a:moveTo>
                    <a:lnTo>
                      <a:pt x="20" y="0"/>
                    </a:lnTo>
                    <a:lnTo>
                      <a:pt x="20" y="0"/>
                    </a:lnTo>
                    <a:lnTo>
                      <a:pt x="20" y="2"/>
                    </a:lnTo>
                    <a:lnTo>
                      <a:pt x="24" y="2"/>
                    </a:lnTo>
                    <a:lnTo>
                      <a:pt x="26" y="2"/>
                    </a:lnTo>
                    <a:lnTo>
                      <a:pt x="30" y="14"/>
                    </a:lnTo>
                    <a:lnTo>
                      <a:pt x="30" y="18"/>
                    </a:lnTo>
                    <a:lnTo>
                      <a:pt x="30" y="18"/>
                    </a:lnTo>
                    <a:lnTo>
                      <a:pt x="32" y="14"/>
                    </a:lnTo>
                    <a:lnTo>
                      <a:pt x="32" y="22"/>
                    </a:lnTo>
                    <a:lnTo>
                      <a:pt x="30" y="24"/>
                    </a:lnTo>
                    <a:lnTo>
                      <a:pt x="30" y="20"/>
                    </a:lnTo>
                    <a:lnTo>
                      <a:pt x="18" y="26"/>
                    </a:lnTo>
                    <a:lnTo>
                      <a:pt x="14" y="26"/>
                    </a:lnTo>
                    <a:lnTo>
                      <a:pt x="12" y="26"/>
                    </a:lnTo>
                    <a:lnTo>
                      <a:pt x="8" y="26"/>
                    </a:lnTo>
                    <a:lnTo>
                      <a:pt x="6" y="26"/>
                    </a:lnTo>
                    <a:lnTo>
                      <a:pt x="6" y="24"/>
                    </a:lnTo>
                    <a:lnTo>
                      <a:pt x="4" y="24"/>
                    </a:lnTo>
                    <a:lnTo>
                      <a:pt x="4" y="22"/>
                    </a:lnTo>
                    <a:lnTo>
                      <a:pt x="4" y="18"/>
                    </a:lnTo>
                    <a:lnTo>
                      <a:pt x="2" y="18"/>
                    </a:lnTo>
                    <a:lnTo>
                      <a:pt x="0" y="20"/>
                    </a:lnTo>
                    <a:lnTo>
                      <a:pt x="0" y="22"/>
                    </a:lnTo>
                    <a:lnTo>
                      <a:pt x="0" y="20"/>
                    </a:lnTo>
                    <a:lnTo>
                      <a:pt x="0" y="18"/>
                    </a:lnTo>
                    <a:lnTo>
                      <a:pt x="8" y="8"/>
                    </a:lnTo>
                    <a:lnTo>
                      <a:pt x="18" y="0"/>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51" name="Freeform 402"/>
              <p:cNvSpPr>
                <a:spLocks/>
              </p:cNvSpPr>
              <p:nvPr/>
            </p:nvSpPr>
            <p:spPr bwMode="auto">
              <a:xfrm>
                <a:off x="2141" y="1217"/>
                <a:ext cx="20" cy="32"/>
              </a:xfrm>
              <a:custGeom>
                <a:avLst/>
                <a:gdLst>
                  <a:gd name="T0" fmla="*/ 0 w 20"/>
                  <a:gd name="T1" fmla="*/ 16 h 32"/>
                  <a:gd name="T2" fmla="*/ 0 w 20"/>
                  <a:gd name="T3" fmla="*/ 16 h 32"/>
                  <a:gd name="T4" fmla="*/ 0 w 20"/>
                  <a:gd name="T5" fmla="*/ 10 h 32"/>
                  <a:gd name="T6" fmla="*/ 0 w 20"/>
                  <a:gd name="T7" fmla="*/ 10 h 32"/>
                  <a:gd name="T8" fmla="*/ 0 w 20"/>
                  <a:gd name="T9" fmla="*/ 8 h 32"/>
                  <a:gd name="T10" fmla="*/ 0 w 20"/>
                  <a:gd name="T11" fmla="*/ 6 h 32"/>
                  <a:gd name="T12" fmla="*/ 2 w 20"/>
                  <a:gd name="T13" fmla="*/ 8 h 32"/>
                  <a:gd name="T14" fmla="*/ 4 w 20"/>
                  <a:gd name="T15" fmla="*/ 8 h 32"/>
                  <a:gd name="T16" fmla="*/ 2 w 20"/>
                  <a:gd name="T17" fmla="*/ 4 h 32"/>
                  <a:gd name="T18" fmla="*/ 2 w 20"/>
                  <a:gd name="T19" fmla="*/ 4 h 32"/>
                  <a:gd name="T20" fmla="*/ 6 w 20"/>
                  <a:gd name="T21" fmla="*/ 0 h 32"/>
                  <a:gd name="T22" fmla="*/ 8 w 20"/>
                  <a:gd name="T23" fmla="*/ 0 h 32"/>
                  <a:gd name="T24" fmla="*/ 10 w 20"/>
                  <a:gd name="T25" fmla="*/ 4 h 32"/>
                  <a:gd name="T26" fmla="*/ 10 w 20"/>
                  <a:gd name="T27" fmla="*/ 6 h 32"/>
                  <a:gd name="T28" fmla="*/ 12 w 20"/>
                  <a:gd name="T29" fmla="*/ 10 h 32"/>
                  <a:gd name="T30" fmla="*/ 14 w 20"/>
                  <a:gd name="T31" fmla="*/ 14 h 32"/>
                  <a:gd name="T32" fmla="*/ 20 w 20"/>
                  <a:gd name="T33" fmla="*/ 26 h 32"/>
                  <a:gd name="T34" fmla="*/ 20 w 20"/>
                  <a:gd name="T35" fmla="*/ 30 h 32"/>
                  <a:gd name="T36" fmla="*/ 16 w 20"/>
                  <a:gd name="T37" fmla="*/ 32 h 32"/>
                  <a:gd name="T38" fmla="*/ 16 w 20"/>
                  <a:gd name="T39" fmla="*/ 30 h 32"/>
                  <a:gd name="T40" fmla="*/ 14 w 20"/>
                  <a:gd name="T41" fmla="*/ 30 h 32"/>
                  <a:gd name="T42" fmla="*/ 12 w 20"/>
                  <a:gd name="T43" fmla="*/ 30 h 32"/>
                  <a:gd name="T44" fmla="*/ 10 w 20"/>
                  <a:gd name="T45" fmla="*/ 30 h 32"/>
                  <a:gd name="T46" fmla="*/ 8 w 20"/>
                  <a:gd name="T47" fmla="*/ 26 h 32"/>
                  <a:gd name="T48" fmla="*/ 8 w 20"/>
                  <a:gd name="T49" fmla="*/ 24 h 32"/>
                  <a:gd name="T50" fmla="*/ 8 w 20"/>
                  <a:gd name="T51" fmla="*/ 22 h 32"/>
                  <a:gd name="T52" fmla="*/ 4 w 20"/>
                  <a:gd name="T53" fmla="*/ 22 h 32"/>
                  <a:gd name="T54" fmla="*/ 2 w 20"/>
                  <a:gd name="T55" fmla="*/ 18 h 32"/>
                  <a:gd name="T56" fmla="*/ 4 w 20"/>
                  <a:gd name="T57" fmla="*/ 24 h 32"/>
                  <a:gd name="T58" fmla="*/ 2 w 20"/>
                  <a:gd name="T59" fmla="*/ 24 h 32"/>
                  <a:gd name="T60" fmla="*/ 0 w 20"/>
                  <a:gd name="T6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32">
                    <a:moveTo>
                      <a:pt x="0" y="16"/>
                    </a:moveTo>
                    <a:lnTo>
                      <a:pt x="0" y="16"/>
                    </a:lnTo>
                    <a:lnTo>
                      <a:pt x="0" y="10"/>
                    </a:lnTo>
                    <a:lnTo>
                      <a:pt x="0" y="10"/>
                    </a:lnTo>
                    <a:lnTo>
                      <a:pt x="0" y="8"/>
                    </a:lnTo>
                    <a:lnTo>
                      <a:pt x="0" y="6"/>
                    </a:lnTo>
                    <a:lnTo>
                      <a:pt x="2" y="8"/>
                    </a:lnTo>
                    <a:lnTo>
                      <a:pt x="4" y="8"/>
                    </a:lnTo>
                    <a:lnTo>
                      <a:pt x="2" y="4"/>
                    </a:lnTo>
                    <a:lnTo>
                      <a:pt x="2" y="4"/>
                    </a:lnTo>
                    <a:lnTo>
                      <a:pt x="6" y="0"/>
                    </a:lnTo>
                    <a:lnTo>
                      <a:pt x="8" y="0"/>
                    </a:lnTo>
                    <a:lnTo>
                      <a:pt x="10" y="4"/>
                    </a:lnTo>
                    <a:lnTo>
                      <a:pt x="10" y="6"/>
                    </a:lnTo>
                    <a:lnTo>
                      <a:pt x="12" y="10"/>
                    </a:lnTo>
                    <a:lnTo>
                      <a:pt x="14" y="14"/>
                    </a:lnTo>
                    <a:lnTo>
                      <a:pt x="20" y="26"/>
                    </a:lnTo>
                    <a:lnTo>
                      <a:pt x="20" y="30"/>
                    </a:lnTo>
                    <a:lnTo>
                      <a:pt x="16" y="32"/>
                    </a:lnTo>
                    <a:lnTo>
                      <a:pt x="16" y="30"/>
                    </a:lnTo>
                    <a:lnTo>
                      <a:pt x="14" y="30"/>
                    </a:lnTo>
                    <a:lnTo>
                      <a:pt x="12" y="30"/>
                    </a:lnTo>
                    <a:lnTo>
                      <a:pt x="10" y="30"/>
                    </a:lnTo>
                    <a:lnTo>
                      <a:pt x="8" y="26"/>
                    </a:lnTo>
                    <a:lnTo>
                      <a:pt x="8" y="24"/>
                    </a:lnTo>
                    <a:lnTo>
                      <a:pt x="8" y="22"/>
                    </a:lnTo>
                    <a:lnTo>
                      <a:pt x="4" y="22"/>
                    </a:lnTo>
                    <a:lnTo>
                      <a:pt x="2" y="18"/>
                    </a:lnTo>
                    <a:lnTo>
                      <a:pt x="4" y="24"/>
                    </a:lnTo>
                    <a:lnTo>
                      <a:pt x="2" y="24"/>
                    </a:lnTo>
                    <a:lnTo>
                      <a:pt x="0" y="16"/>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52" name="Freeform 403"/>
              <p:cNvSpPr>
                <a:spLocks/>
              </p:cNvSpPr>
              <p:nvPr/>
            </p:nvSpPr>
            <p:spPr bwMode="auto">
              <a:xfrm>
                <a:off x="2141" y="1217"/>
                <a:ext cx="20" cy="32"/>
              </a:xfrm>
              <a:custGeom>
                <a:avLst/>
                <a:gdLst>
                  <a:gd name="T0" fmla="*/ 0 w 20"/>
                  <a:gd name="T1" fmla="*/ 16 h 32"/>
                  <a:gd name="T2" fmla="*/ 0 w 20"/>
                  <a:gd name="T3" fmla="*/ 16 h 32"/>
                  <a:gd name="T4" fmla="*/ 0 w 20"/>
                  <a:gd name="T5" fmla="*/ 10 h 32"/>
                  <a:gd name="T6" fmla="*/ 0 w 20"/>
                  <a:gd name="T7" fmla="*/ 10 h 32"/>
                  <a:gd name="T8" fmla="*/ 0 w 20"/>
                  <a:gd name="T9" fmla="*/ 8 h 32"/>
                  <a:gd name="T10" fmla="*/ 0 w 20"/>
                  <a:gd name="T11" fmla="*/ 6 h 32"/>
                  <a:gd name="T12" fmla="*/ 2 w 20"/>
                  <a:gd name="T13" fmla="*/ 8 h 32"/>
                  <a:gd name="T14" fmla="*/ 4 w 20"/>
                  <a:gd name="T15" fmla="*/ 8 h 32"/>
                  <a:gd name="T16" fmla="*/ 2 w 20"/>
                  <a:gd name="T17" fmla="*/ 4 h 32"/>
                  <a:gd name="T18" fmla="*/ 2 w 20"/>
                  <a:gd name="T19" fmla="*/ 4 h 32"/>
                  <a:gd name="T20" fmla="*/ 6 w 20"/>
                  <a:gd name="T21" fmla="*/ 0 h 32"/>
                  <a:gd name="T22" fmla="*/ 8 w 20"/>
                  <a:gd name="T23" fmla="*/ 0 h 32"/>
                  <a:gd name="T24" fmla="*/ 10 w 20"/>
                  <a:gd name="T25" fmla="*/ 4 h 32"/>
                  <a:gd name="T26" fmla="*/ 10 w 20"/>
                  <a:gd name="T27" fmla="*/ 6 h 32"/>
                  <a:gd name="T28" fmla="*/ 12 w 20"/>
                  <a:gd name="T29" fmla="*/ 10 h 32"/>
                  <a:gd name="T30" fmla="*/ 14 w 20"/>
                  <a:gd name="T31" fmla="*/ 14 h 32"/>
                  <a:gd name="T32" fmla="*/ 20 w 20"/>
                  <a:gd name="T33" fmla="*/ 26 h 32"/>
                  <a:gd name="T34" fmla="*/ 20 w 20"/>
                  <a:gd name="T35" fmla="*/ 30 h 32"/>
                  <a:gd name="T36" fmla="*/ 16 w 20"/>
                  <a:gd name="T37" fmla="*/ 32 h 32"/>
                  <a:gd name="T38" fmla="*/ 16 w 20"/>
                  <a:gd name="T39" fmla="*/ 30 h 32"/>
                  <a:gd name="T40" fmla="*/ 14 w 20"/>
                  <a:gd name="T41" fmla="*/ 30 h 32"/>
                  <a:gd name="T42" fmla="*/ 12 w 20"/>
                  <a:gd name="T43" fmla="*/ 30 h 32"/>
                  <a:gd name="T44" fmla="*/ 10 w 20"/>
                  <a:gd name="T45" fmla="*/ 30 h 32"/>
                  <a:gd name="T46" fmla="*/ 8 w 20"/>
                  <a:gd name="T47" fmla="*/ 26 h 32"/>
                  <a:gd name="T48" fmla="*/ 8 w 20"/>
                  <a:gd name="T49" fmla="*/ 24 h 32"/>
                  <a:gd name="T50" fmla="*/ 8 w 20"/>
                  <a:gd name="T51" fmla="*/ 22 h 32"/>
                  <a:gd name="T52" fmla="*/ 4 w 20"/>
                  <a:gd name="T53" fmla="*/ 22 h 32"/>
                  <a:gd name="T54" fmla="*/ 2 w 20"/>
                  <a:gd name="T55" fmla="*/ 18 h 32"/>
                  <a:gd name="T56" fmla="*/ 4 w 20"/>
                  <a:gd name="T57" fmla="*/ 24 h 32"/>
                  <a:gd name="T58" fmla="*/ 2 w 20"/>
                  <a:gd name="T59" fmla="*/ 24 h 32"/>
                  <a:gd name="T60" fmla="*/ 0 w 20"/>
                  <a:gd name="T6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32">
                    <a:moveTo>
                      <a:pt x="0" y="16"/>
                    </a:moveTo>
                    <a:lnTo>
                      <a:pt x="0" y="16"/>
                    </a:lnTo>
                    <a:lnTo>
                      <a:pt x="0" y="10"/>
                    </a:lnTo>
                    <a:lnTo>
                      <a:pt x="0" y="10"/>
                    </a:lnTo>
                    <a:lnTo>
                      <a:pt x="0" y="8"/>
                    </a:lnTo>
                    <a:lnTo>
                      <a:pt x="0" y="6"/>
                    </a:lnTo>
                    <a:lnTo>
                      <a:pt x="2" y="8"/>
                    </a:lnTo>
                    <a:lnTo>
                      <a:pt x="4" y="8"/>
                    </a:lnTo>
                    <a:lnTo>
                      <a:pt x="2" y="4"/>
                    </a:lnTo>
                    <a:lnTo>
                      <a:pt x="2" y="4"/>
                    </a:lnTo>
                    <a:lnTo>
                      <a:pt x="6" y="0"/>
                    </a:lnTo>
                    <a:lnTo>
                      <a:pt x="8" y="0"/>
                    </a:lnTo>
                    <a:lnTo>
                      <a:pt x="10" y="4"/>
                    </a:lnTo>
                    <a:lnTo>
                      <a:pt x="10" y="6"/>
                    </a:lnTo>
                    <a:lnTo>
                      <a:pt x="12" y="10"/>
                    </a:lnTo>
                    <a:lnTo>
                      <a:pt x="14" y="14"/>
                    </a:lnTo>
                    <a:lnTo>
                      <a:pt x="20" y="26"/>
                    </a:lnTo>
                    <a:lnTo>
                      <a:pt x="20" y="30"/>
                    </a:lnTo>
                    <a:lnTo>
                      <a:pt x="16" y="32"/>
                    </a:lnTo>
                    <a:lnTo>
                      <a:pt x="16" y="30"/>
                    </a:lnTo>
                    <a:lnTo>
                      <a:pt x="14" y="30"/>
                    </a:lnTo>
                    <a:lnTo>
                      <a:pt x="12" y="30"/>
                    </a:lnTo>
                    <a:lnTo>
                      <a:pt x="10" y="30"/>
                    </a:lnTo>
                    <a:lnTo>
                      <a:pt x="8" y="26"/>
                    </a:lnTo>
                    <a:lnTo>
                      <a:pt x="8" y="24"/>
                    </a:lnTo>
                    <a:lnTo>
                      <a:pt x="8" y="22"/>
                    </a:lnTo>
                    <a:lnTo>
                      <a:pt x="4" y="22"/>
                    </a:lnTo>
                    <a:lnTo>
                      <a:pt x="2" y="18"/>
                    </a:lnTo>
                    <a:lnTo>
                      <a:pt x="4" y="24"/>
                    </a:lnTo>
                    <a:lnTo>
                      <a:pt x="2" y="24"/>
                    </a:lnTo>
                    <a:lnTo>
                      <a:pt x="0" y="16"/>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53" name="Freeform 404"/>
              <p:cNvSpPr>
                <a:spLocks/>
              </p:cNvSpPr>
              <p:nvPr/>
            </p:nvSpPr>
            <p:spPr bwMode="auto">
              <a:xfrm>
                <a:off x="2305" y="1145"/>
                <a:ext cx="16" cy="16"/>
              </a:xfrm>
              <a:custGeom>
                <a:avLst/>
                <a:gdLst>
                  <a:gd name="T0" fmla="*/ 0 w 16"/>
                  <a:gd name="T1" fmla="*/ 14 h 16"/>
                  <a:gd name="T2" fmla="*/ 0 w 16"/>
                  <a:gd name="T3" fmla="*/ 14 h 16"/>
                  <a:gd name="T4" fmla="*/ 2 w 16"/>
                  <a:gd name="T5" fmla="*/ 10 h 16"/>
                  <a:gd name="T6" fmla="*/ 2 w 16"/>
                  <a:gd name="T7" fmla="*/ 6 h 16"/>
                  <a:gd name="T8" fmla="*/ 6 w 16"/>
                  <a:gd name="T9" fmla="*/ 0 h 16"/>
                  <a:gd name="T10" fmla="*/ 10 w 16"/>
                  <a:gd name="T11" fmla="*/ 0 h 16"/>
                  <a:gd name="T12" fmla="*/ 12 w 16"/>
                  <a:gd name="T13" fmla="*/ 2 h 16"/>
                  <a:gd name="T14" fmla="*/ 14 w 16"/>
                  <a:gd name="T15" fmla="*/ 4 h 16"/>
                  <a:gd name="T16" fmla="*/ 12 w 16"/>
                  <a:gd name="T17" fmla="*/ 8 h 16"/>
                  <a:gd name="T18" fmla="*/ 16 w 16"/>
                  <a:gd name="T19" fmla="*/ 10 h 16"/>
                  <a:gd name="T20" fmla="*/ 16 w 16"/>
                  <a:gd name="T21" fmla="*/ 12 h 16"/>
                  <a:gd name="T22" fmla="*/ 14 w 16"/>
                  <a:gd name="T23" fmla="*/ 12 h 16"/>
                  <a:gd name="T24" fmla="*/ 12 w 16"/>
                  <a:gd name="T25" fmla="*/ 14 h 16"/>
                  <a:gd name="T26" fmla="*/ 8 w 16"/>
                  <a:gd name="T27" fmla="*/ 14 h 16"/>
                  <a:gd name="T28" fmla="*/ 4 w 16"/>
                  <a:gd name="T29" fmla="*/ 14 h 16"/>
                  <a:gd name="T30" fmla="*/ 4 w 16"/>
                  <a:gd name="T31" fmla="*/ 12 h 16"/>
                  <a:gd name="T32" fmla="*/ 2 w 16"/>
                  <a:gd name="T33" fmla="*/ 16 h 16"/>
                  <a:gd name="T34" fmla="*/ 0 w 16"/>
                  <a:gd name="T3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16">
                    <a:moveTo>
                      <a:pt x="0" y="14"/>
                    </a:moveTo>
                    <a:lnTo>
                      <a:pt x="0" y="14"/>
                    </a:lnTo>
                    <a:lnTo>
                      <a:pt x="2" y="10"/>
                    </a:lnTo>
                    <a:lnTo>
                      <a:pt x="2" y="6"/>
                    </a:lnTo>
                    <a:lnTo>
                      <a:pt x="6" y="0"/>
                    </a:lnTo>
                    <a:lnTo>
                      <a:pt x="10" y="0"/>
                    </a:lnTo>
                    <a:lnTo>
                      <a:pt x="12" y="2"/>
                    </a:lnTo>
                    <a:lnTo>
                      <a:pt x="14" y="4"/>
                    </a:lnTo>
                    <a:lnTo>
                      <a:pt x="12" y="8"/>
                    </a:lnTo>
                    <a:lnTo>
                      <a:pt x="16" y="10"/>
                    </a:lnTo>
                    <a:lnTo>
                      <a:pt x="16" y="12"/>
                    </a:lnTo>
                    <a:lnTo>
                      <a:pt x="14" y="12"/>
                    </a:lnTo>
                    <a:lnTo>
                      <a:pt x="12" y="14"/>
                    </a:lnTo>
                    <a:lnTo>
                      <a:pt x="8" y="14"/>
                    </a:lnTo>
                    <a:lnTo>
                      <a:pt x="4" y="14"/>
                    </a:lnTo>
                    <a:lnTo>
                      <a:pt x="4" y="12"/>
                    </a:lnTo>
                    <a:lnTo>
                      <a:pt x="2" y="16"/>
                    </a:lnTo>
                    <a:lnTo>
                      <a:pt x="0" y="14"/>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54" name="Freeform 405"/>
              <p:cNvSpPr>
                <a:spLocks/>
              </p:cNvSpPr>
              <p:nvPr/>
            </p:nvSpPr>
            <p:spPr bwMode="auto">
              <a:xfrm>
                <a:off x="2305" y="1145"/>
                <a:ext cx="16" cy="16"/>
              </a:xfrm>
              <a:custGeom>
                <a:avLst/>
                <a:gdLst>
                  <a:gd name="T0" fmla="*/ 0 w 16"/>
                  <a:gd name="T1" fmla="*/ 14 h 16"/>
                  <a:gd name="T2" fmla="*/ 0 w 16"/>
                  <a:gd name="T3" fmla="*/ 14 h 16"/>
                  <a:gd name="T4" fmla="*/ 2 w 16"/>
                  <a:gd name="T5" fmla="*/ 10 h 16"/>
                  <a:gd name="T6" fmla="*/ 2 w 16"/>
                  <a:gd name="T7" fmla="*/ 6 h 16"/>
                  <a:gd name="T8" fmla="*/ 6 w 16"/>
                  <a:gd name="T9" fmla="*/ 0 h 16"/>
                  <a:gd name="T10" fmla="*/ 10 w 16"/>
                  <a:gd name="T11" fmla="*/ 0 h 16"/>
                  <a:gd name="T12" fmla="*/ 12 w 16"/>
                  <a:gd name="T13" fmla="*/ 2 h 16"/>
                  <a:gd name="T14" fmla="*/ 14 w 16"/>
                  <a:gd name="T15" fmla="*/ 4 h 16"/>
                  <a:gd name="T16" fmla="*/ 12 w 16"/>
                  <a:gd name="T17" fmla="*/ 8 h 16"/>
                  <a:gd name="T18" fmla="*/ 16 w 16"/>
                  <a:gd name="T19" fmla="*/ 10 h 16"/>
                  <a:gd name="T20" fmla="*/ 16 w 16"/>
                  <a:gd name="T21" fmla="*/ 12 h 16"/>
                  <a:gd name="T22" fmla="*/ 14 w 16"/>
                  <a:gd name="T23" fmla="*/ 12 h 16"/>
                  <a:gd name="T24" fmla="*/ 12 w 16"/>
                  <a:gd name="T25" fmla="*/ 14 h 16"/>
                  <a:gd name="T26" fmla="*/ 8 w 16"/>
                  <a:gd name="T27" fmla="*/ 14 h 16"/>
                  <a:gd name="T28" fmla="*/ 4 w 16"/>
                  <a:gd name="T29" fmla="*/ 14 h 16"/>
                  <a:gd name="T30" fmla="*/ 4 w 16"/>
                  <a:gd name="T31" fmla="*/ 12 h 16"/>
                  <a:gd name="T32" fmla="*/ 2 w 16"/>
                  <a:gd name="T33" fmla="*/ 16 h 16"/>
                  <a:gd name="T34" fmla="*/ 0 w 16"/>
                  <a:gd name="T3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16">
                    <a:moveTo>
                      <a:pt x="0" y="14"/>
                    </a:moveTo>
                    <a:lnTo>
                      <a:pt x="0" y="14"/>
                    </a:lnTo>
                    <a:lnTo>
                      <a:pt x="2" y="10"/>
                    </a:lnTo>
                    <a:lnTo>
                      <a:pt x="2" y="6"/>
                    </a:lnTo>
                    <a:lnTo>
                      <a:pt x="6" y="0"/>
                    </a:lnTo>
                    <a:lnTo>
                      <a:pt x="10" y="0"/>
                    </a:lnTo>
                    <a:lnTo>
                      <a:pt x="12" y="2"/>
                    </a:lnTo>
                    <a:lnTo>
                      <a:pt x="14" y="4"/>
                    </a:lnTo>
                    <a:lnTo>
                      <a:pt x="12" y="8"/>
                    </a:lnTo>
                    <a:lnTo>
                      <a:pt x="16" y="10"/>
                    </a:lnTo>
                    <a:lnTo>
                      <a:pt x="16" y="12"/>
                    </a:lnTo>
                    <a:lnTo>
                      <a:pt x="14" y="12"/>
                    </a:lnTo>
                    <a:lnTo>
                      <a:pt x="12" y="14"/>
                    </a:lnTo>
                    <a:lnTo>
                      <a:pt x="8" y="14"/>
                    </a:lnTo>
                    <a:lnTo>
                      <a:pt x="4" y="14"/>
                    </a:lnTo>
                    <a:lnTo>
                      <a:pt x="4" y="12"/>
                    </a:lnTo>
                    <a:lnTo>
                      <a:pt x="2" y="16"/>
                    </a:lnTo>
                    <a:lnTo>
                      <a:pt x="0" y="14"/>
                    </a:lnTo>
                  </a:path>
                </a:pathLst>
              </a:custGeom>
              <a:grp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855" name="Freeform 406"/>
              <p:cNvSpPr>
                <a:spLocks/>
              </p:cNvSpPr>
              <p:nvPr/>
            </p:nvSpPr>
            <p:spPr bwMode="auto">
              <a:xfrm>
                <a:off x="2351" y="1163"/>
                <a:ext cx="8" cy="8"/>
              </a:xfrm>
              <a:custGeom>
                <a:avLst/>
                <a:gdLst>
                  <a:gd name="T0" fmla="*/ 0 w 8"/>
                  <a:gd name="T1" fmla="*/ 2 h 8"/>
                  <a:gd name="T2" fmla="*/ 0 w 8"/>
                  <a:gd name="T3" fmla="*/ 0 h 8"/>
                  <a:gd name="T4" fmla="*/ 2 w 8"/>
                  <a:gd name="T5" fmla="*/ 0 h 8"/>
                  <a:gd name="T6" fmla="*/ 8 w 8"/>
                  <a:gd name="T7" fmla="*/ 2 h 8"/>
                  <a:gd name="T8" fmla="*/ 8 w 8"/>
                  <a:gd name="T9" fmla="*/ 2 h 8"/>
                  <a:gd name="T10" fmla="*/ 6 w 8"/>
                  <a:gd name="T11" fmla="*/ 4 h 8"/>
                  <a:gd name="T12" fmla="*/ 4 w 8"/>
                  <a:gd name="T13" fmla="*/ 8 h 8"/>
                  <a:gd name="T14" fmla="*/ 0 w 8"/>
                  <a:gd name="T15" fmla="*/ 4 h 8"/>
                  <a:gd name="T16" fmla="*/ 0 w 8"/>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2"/>
                    </a:moveTo>
                    <a:lnTo>
                      <a:pt x="0" y="0"/>
                    </a:lnTo>
                    <a:lnTo>
                      <a:pt x="2" y="0"/>
                    </a:lnTo>
                    <a:lnTo>
                      <a:pt x="8" y="2"/>
                    </a:lnTo>
                    <a:lnTo>
                      <a:pt x="8" y="2"/>
                    </a:lnTo>
                    <a:lnTo>
                      <a:pt x="6" y="4"/>
                    </a:lnTo>
                    <a:lnTo>
                      <a:pt x="4" y="8"/>
                    </a:lnTo>
                    <a:lnTo>
                      <a:pt x="0" y="4"/>
                    </a:lnTo>
                    <a:lnTo>
                      <a:pt x="0" y="2"/>
                    </a:lnTo>
                    <a:close/>
                  </a:path>
                </a:pathLst>
              </a:custGeom>
              <a:grpFill/>
              <a:ln w="9525">
                <a:solidFill>
                  <a:schemeClr val="bg2"/>
                </a:solidFill>
                <a:round/>
                <a:headEnd/>
                <a:tailEnd/>
              </a:ln>
            </p:spPr>
            <p:txBody>
              <a:bodyPr/>
              <a:lstStyle/>
              <a:p>
                <a:endParaRPr lang="en-US">
                  <a:latin typeface="Arial" panose="020B0604020202020204" pitchFamily="34" charset="0"/>
                  <a:cs typeface="Arial" panose="020B0604020202020204" pitchFamily="34" charset="0"/>
                </a:endParaRPr>
              </a:p>
            </p:txBody>
          </p:sp>
        </p:grpSp>
        <p:sp>
          <p:nvSpPr>
            <p:cNvPr id="555" name="Freeform 407"/>
            <p:cNvSpPr>
              <a:spLocks/>
            </p:cNvSpPr>
            <p:nvPr/>
          </p:nvSpPr>
          <p:spPr bwMode="auto">
            <a:xfrm>
              <a:off x="4022726" y="1998663"/>
              <a:ext cx="14288" cy="12700"/>
            </a:xfrm>
            <a:custGeom>
              <a:avLst/>
              <a:gdLst>
                <a:gd name="T0" fmla="*/ 0 w 8"/>
                <a:gd name="T1" fmla="*/ 2 h 8"/>
                <a:gd name="T2" fmla="*/ 0 w 8"/>
                <a:gd name="T3" fmla="*/ 0 h 8"/>
                <a:gd name="T4" fmla="*/ 2 w 8"/>
                <a:gd name="T5" fmla="*/ 0 h 8"/>
                <a:gd name="T6" fmla="*/ 8 w 8"/>
                <a:gd name="T7" fmla="*/ 2 h 8"/>
                <a:gd name="T8" fmla="*/ 8 w 8"/>
                <a:gd name="T9" fmla="*/ 2 h 8"/>
                <a:gd name="T10" fmla="*/ 6 w 8"/>
                <a:gd name="T11" fmla="*/ 4 h 8"/>
                <a:gd name="T12" fmla="*/ 4 w 8"/>
                <a:gd name="T13" fmla="*/ 8 h 8"/>
                <a:gd name="T14" fmla="*/ 0 w 8"/>
                <a:gd name="T15" fmla="*/ 4 h 8"/>
                <a:gd name="T16" fmla="*/ 0 w 8"/>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2"/>
                  </a:moveTo>
                  <a:lnTo>
                    <a:pt x="0" y="0"/>
                  </a:lnTo>
                  <a:lnTo>
                    <a:pt x="2" y="0"/>
                  </a:lnTo>
                  <a:lnTo>
                    <a:pt x="8" y="2"/>
                  </a:lnTo>
                  <a:lnTo>
                    <a:pt x="8" y="2"/>
                  </a:lnTo>
                  <a:lnTo>
                    <a:pt x="6" y="4"/>
                  </a:lnTo>
                  <a:lnTo>
                    <a:pt x="4" y="8"/>
                  </a:lnTo>
                  <a:lnTo>
                    <a:pt x="0" y="4"/>
                  </a:lnTo>
                  <a:lnTo>
                    <a:pt x="0"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56" name="Freeform 408"/>
            <p:cNvSpPr>
              <a:spLocks/>
            </p:cNvSpPr>
            <p:nvPr/>
          </p:nvSpPr>
          <p:spPr bwMode="auto">
            <a:xfrm>
              <a:off x="4108451" y="2005013"/>
              <a:ext cx="17463" cy="22225"/>
            </a:xfrm>
            <a:custGeom>
              <a:avLst/>
              <a:gdLst>
                <a:gd name="T0" fmla="*/ 8 w 10"/>
                <a:gd name="T1" fmla="*/ 2 h 14"/>
                <a:gd name="T2" fmla="*/ 8 w 10"/>
                <a:gd name="T3" fmla="*/ 4 h 14"/>
                <a:gd name="T4" fmla="*/ 10 w 10"/>
                <a:gd name="T5" fmla="*/ 6 h 14"/>
                <a:gd name="T6" fmla="*/ 10 w 10"/>
                <a:gd name="T7" fmla="*/ 12 h 14"/>
                <a:gd name="T8" fmla="*/ 10 w 10"/>
                <a:gd name="T9" fmla="*/ 14 h 14"/>
                <a:gd name="T10" fmla="*/ 8 w 10"/>
                <a:gd name="T11" fmla="*/ 12 h 14"/>
                <a:gd name="T12" fmla="*/ 4 w 10"/>
                <a:gd name="T13" fmla="*/ 12 h 14"/>
                <a:gd name="T14" fmla="*/ 2 w 10"/>
                <a:gd name="T15" fmla="*/ 10 h 14"/>
                <a:gd name="T16" fmla="*/ 0 w 10"/>
                <a:gd name="T17" fmla="*/ 8 h 14"/>
                <a:gd name="T18" fmla="*/ 6 w 10"/>
                <a:gd name="T19" fmla="*/ 0 h 14"/>
                <a:gd name="T20" fmla="*/ 8 w 10"/>
                <a:gd name="T21" fmla="*/ 2 h 14"/>
                <a:gd name="T22" fmla="*/ 8 w 10"/>
                <a:gd name="T2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4">
                  <a:moveTo>
                    <a:pt x="8" y="2"/>
                  </a:moveTo>
                  <a:lnTo>
                    <a:pt x="8" y="4"/>
                  </a:lnTo>
                  <a:lnTo>
                    <a:pt x="10" y="6"/>
                  </a:lnTo>
                  <a:lnTo>
                    <a:pt x="10" y="12"/>
                  </a:lnTo>
                  <a:lnTo>
                    <a:pt x="10" y="14"/>
                  </a:lnTo>
                  <a:lnTo>
                    <a:pt x="8" y="12"/>
                  </a:lnTo>
                  <a:lnTo>
                    <a:pt x="4" y="12"/>
                  </a:lnTo>
                  <a:lnTo>
                    <a:pt x="2" y="10"/>
                  </a:lnTo>
                  <a:lnTo>
                    <a:pt x="0" y="8"/>
                  </a:lnTo>
                  <a:lnTo>
                    <a:pt x="6" y="0"/>
                  </a:lnTo>
                  <a:lnTo>
                    <a:pt x="8" y="2"/>
                  </a:lnTo>
                  <a:lnTo>
                    <a:pt x="8"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57" name="Freeform 409"/>
            <p:cNvSpPr>
              <a:spLocks/>
            </p:cNvSpPr>
            <p:nvPr/>
          </p:nvSpPr>
          <p:spPr bwMode="auto">
            <a:xfrm>
              <a:off x="4108451" y="2005013"/>
              <a:ext cx="17463" cy="22225"/>
            </a:xfrm>
            <a:custGeom>
              <a:avLst/>
              <a:gdLst>
                <a:gd name="T0" fmla="*/ 8 w 10"/>
                <a:gd name="T1" fmla="*/ 2 h 14"/>
                <a:gd name="T2" fmla="*/ 8 w 10"/>
                <a:gd name="T3" fmla="*/ 4 h 14"/>
                <a:gd name="T4" fmla="*/ 10 w 10"/>
                <a:gd name="T5" fmla="*/ 6 h 14"/>
                <a:gd name="T6" fmla="*/ 10 w 10"/>
                <a:gd name="T7" fmla="*/ 12 h 14"/>
                <a:gd name="T8" fmla="*/ 10 w 10"/>
                <a:gd name="T9" fmla="*/ 14 h 14"/>
                <a:gd name="T10" fmla="*/ 8 w 10"/>
                <a:gd name="T11" fmla="*/ 12 h 14"/>
                <a:gd name="T12" fmla="*/ 4 w 10"/>
                <a:gd name="T13" fmla="*/ 12 h 14"/>
                <a:gd name="T14" fmla="*/ 2 w 10"/>
                <a:gd name="T15" fmla="*/ 10 h 14"/>
                <a:gd name="T16" fmla="*/ 0 w 10"/>
                <a:gd name="T17" fmla="*/ 8 h 14"/>
                <a:gd name="T18" fmla="*/ 6 w 10"/>
                <a:gd name="T19" fmla="*/ 0 h 14"/>
                <a:gd name="T20" fmla="*/ 8 w 10"/>
                <a:gd name="T21" fmla="*/ 2 h 14"/>
                <a:gd name="T22" fmla="*/ 8 w 10"/>
                <a:gd name="T2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4">
                  <a:moveTo>
                    <a:pt x="8" y="2"/>
                  </a:moveTo>
                  <a:lnTo>
                    <a:pt x="8" y="4"/>
                  </a:lnTo>
                  <a:lnTo>
                    <a:pt x="10" y="6"/>
                  </a:lnTo>
                  <a:lnTo>
                    <a:pt x="10" y="12"/>
                  </a:lnTo>
                  <a:lnTo>
                    <a:pt x="10" y="14"/>
                  </a:lnTo>
                  <a:lnTo>
                    <a:pt x="8" y="12"/>
                  </a:lnTo>
                  <a:lnTo>
                    <a:pt x="4" y="12"/>
                  </a:lnTo>
                  <a:lnTo>
                    <a:pt x="2" y="10"/>
                  </a:lnTo>
                  <a:lnTo>
                    <a:pt x="0" y="8"/>
                  </a:lnTo>
                  <a:lnTo>
                    <a:pt x="6" y="0"/>
                  </a:lnTo>
                  <a:lnTo>
                    <a:pt x="8" y="2"/>
                  </a:lnTo>
                  <a:lnTo>
                    <a:pt x="8"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58" name="Freeform 410"/>
            <p:cNvSpPr>
              <a:spLocks/>
            </p:cNvSpPr>
            <p:nvPr/>
          </p:nvSpPr>
          <p:spPr bwMode="auto">
            <a:xfrm>
              <a:off x="4073526" y="2030413"/>
              <a:ext cx="28575" cy="19050"/>
            </a:xfrm>
            <a:custGeom>
              <a:avLst/>
              <a:gdLst>
                <a:gd name="T0" fmla="*/ 6 w 16"/>
                <a:gd name="T1" fmla="*/ 2 h 12"/>
                <a:gd name="T2" fmla="*/ 6 w 16"/>
                <a:gd name="T3" fmla="*/ 2 h 12"/>
                <a:gd name="T4" fmla="*/ 8 w 16"/>
                <a:gd name="T5" fmla="*/ 0 h 12"/>
                <a:gd name="T6" fmla="*/ 14 w 16"/>
                <a:gd name="T7" fmla="*/ 2 h 12"/>
                <a:gd name="T8" fmla="*/ 16 w 16"/>
                <a:gd name="T9" fmla="*/ 4 h 12"/>
                <a:gd name="T10" fmla="*/ 16 w 16"/>
                <a:gd name="T11" fmla="*/ 6 h 12"/>
                <a:gd name="T12" fmla="*/ 14 w 16"/>
                <a:gd name="T13" fmla="*/ 8 h 12"/>
                <a:gd name="T14" fmla="*/ 12 w 16"/>
                <a:gd name="T15" fmla="*/ 10 h 12"/>
                <a:gd name="T16" fmla="*/ 0 w 16"/>
                <a:gd name="T17" fmla="*/ 12 h 12"/>
                <a:gd name="T18" fmla="*/ 0 w 16"/>
                <a:gd name="T19" fmla="*/ 10 h 12"/>
                <a:gd name="T20" fmla="*/ 2 w 16"/>
                <a:gd name="T21" fmla="*/ 8 h 12"/>
                <a:gd name="T22" fmla="*/ 6 w 16"/>
                <a:gd name="T2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2">
                  <a:moveTo>
                    <a:pt x="6" y="2"/>
                  </a:moveTo>
                  <a:lnTo>
                    <a:pt x="6" y="2"/>
                  </a:lnTo>
                  <a:lnTo>
                    <a:pt x="8" y="0"/>
                  </a:lnTo>
                  <a:lnTo>
                    <a:pt x="14" y="2"/>
                  </a:lnTo>
                  <a:lnTo>
                    <a:pt x="16" y="4"/>
                  </a:lnTo>
                  <a:lnTo>
                    <a:pt x="16" y="6"/>
                  </a:lnTo>
                  <a:lnTo>
                    <a:pt x="14" y="8"/>
                  </a:lnTo>
                  <a:lnTo>
                    <a:pt x="12" y="10"/>
                  </a:lnTo>
                  <a:lnTo>
                    <a:pt x="0" y="12"/>
                  </a:lnTo>
                  <a:lnTo>
                    <a:pt x="0" y="10"/>
                  </a:lnTo>
                  <a:lnTo>
                    <a:pt x="2" y="8"/>
                  </a:lnTo>
                  <a:lnTo>
                    <a:pt x="6"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59" name="Freeform 411"/>
            <p:cNvSpPr>
              <a:spLocks/>
            </p:cNvSpPr>
            <p:nvPr/>
          </p:nvSpPr>
          <p:spPr bwMode="auto">
            <a:xfrm>
              <a:off x="4073526" y="2030413"/>
              <a:ext cx="28575" cy="19050"/>
            </a:xfrm>
            <a:custGeom>
              <a:avLst/>
              <a:gdLst>
                <a:gd name="T0" fmla="*/ 6 w 16"/>
                <a:gd name="T1" fmla="*/ 2 h 12"/>
                <a:gd name="T2" fmla="*/ 6 w 16"/>
                <a:gd name="T3" fmla="*/ 2 h 12"/>
                <a:gd name="T4" fmla="*/ 8 w 16"/>
                <a:gd name="T5" fmla="*/ 0 h 12"/>
                <a:gd name="T6" fmla="*/ 14 w 16"/>
                <a:gd name="T7" fmla="*/ 2 h 12"/>
                <a:gd name="T8" fmla="*/ 16 w 16"/>
                <a:gd name="T9" fmla="*/ 4 h 12"/>
                <a:gd name="T10" fmla="*/ 16 w 16"/>
                <a:gd name="T11" fmla="*/ 6 h 12"/>
                <a:gd name="T12" fmla="*/ 14 w 16"/>
                <a:gd name="T13" fmla="*/ 8 h 12"/>
                <a:gd name="T14" fmla="*/ 12 w 16"/>
                <a:gd name="T15" fmla="*/ 10 h 12"/>
                <a:gd name="T16" fmla="*/ 0 w 16"/>
                <a:gd name="T17" fmla="*/ 12 h 12"/>
                <a:gd name="T18" fmla="*/ 0 w 16"/>
                <a:gd name="T19" fmla="*/ 10 h 12"/>
                <a:gd name="T20" fmla="*/ 2 w 16"/>
                <a:gd name="T21" fmla="*/ 8 h 12"/>
                <a:gd name="T22" fmla="*/ 6 w 16"/>
                <a:gd name="T2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2">
                  <a:moveTo>
                    <a:pt x="6" y="2"/>
                  </a:moveTo>
                  <a:lnTo>
                    <a:pt x="6" y="2"/>
                  </a:lnTo>
                  <a:lnTo>
                    <a:pt x="8" y="0"/>
                  </a:lnTo>
                  <a:lnTo>
                    <a:pt x="14" y="2"/>
                  </a:lnTo>
                  <a:lnTo>
                    <a:pt x="16" y="4"/>
                  </a:lnTo>
                  <a:lnTo>
                    <a:pt x="16" y="6"/>
                  </a:lnTo>
                  <a:lnTo>
                    <a:pt x="14" y="8"/>
                  </a:lnTo>
                  <a:lnTo>
                    <a:pt x="12" y="10"/>
                  </a:lnTo>
                  <a:lnTo>
                    <a:pt x="0" y="12"/>
                  </a:lnTo>
                  <a:lnTo>
                    <a:pt x="0" y="10"/>
                  </a:lnTo>
                  <a:lnTo>
                    <a:pt x="2" y="8"/>
                  </a:lnTo>
                  <a:lnTo>
                    <a:pt x="6"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60" name="Freeform 412"/>
            <p:cNvSpPr>
              <a:spLocks/>
            </p:cNvSpPr>
            <p:nvPr/>
          </p:nvSpPr>
          <p:spPr bwMode="auto">
            <a:xfrm>
              <a:off x="4156076" y="1865313"/>
              <a:ext cx="14288" cy="19050"/>
            </a:xfrm>
            <a:custGeom>
              <a:avLst/>
              <a:gdLst>
                <a:gd name="T0" fmla="*/ 8 w 8"/>
                <a:gd name="T1" fmla="*/ 4 h 12"/>
                <a:gd name="T2" fmla="*/ 8 w 8"/>
                <a:gd name="T3" fmla="*/ 4 h 12"/>
                <a:gd name="T4" fmla="*/ 8 w 8"/>
                <a:gd name="T5" fmla="*/ 6 h 12"/>
                <a:gd name="T6" fmla="*/ 8 w 8"/>
                <a:gd name="T7" fmla="*/ 6 h 12"/>
                <a:gd name="T8" fmla="*/ 6 w 8"/>
                <a:gd name="T9" fmla="*/ 8 h 12"/>
                <a:gd name="T10" fmla="*/ 6 w 8"/>
                <a:gd name="T11" fmla="*/ 12 h 12"/>
                <a:gd name="T12" fmla="*/ 6 w 8"/>
                <a:gd name="T13" fmla="*/ 10 h 12"/>
                <a:gd name="T14" fmla="*/ 6 w 8"/>
                <a:gd name="T15" fmla="*/ 6 h 12"/>
                <a:gd name="T16" fmla="*/ 4 w 8"/>
                <a:gd name="T17" fmla="*/ 8 h 12"/>
                <a:gd name="T18" fmla="*/ 4 w 8"/>
                <a:gd name="T19" fmla="*/ 6 h 12"/>
                <a:gd name="T20" fmla="*/ 2 w 8"/>
                <a:gd name="T21" fmla="*/ 6 h 12"/>
                <a:gd name="T22" fmla="*/ 4 w 8"/>
                <a:gd name="T23" fmla="*/ 12 h 12"/>
                <a:gd name="T24" fmla="*/ 0 w 8"/>
                <a:gd name="T25" fmla="*/ 6 h 12"/>
                <a:gd name="T26" fmla="*/ 0 w 8"/>
                <a:gd name="T27" fmla="*/ 4 h 12"/>
                <a:gd name="T28" fmla="*/ 2 w 8"/>
                <a:gd name="T29" fmla="*/ 2 h 12"/>
                <a:gd name="T30" fmla="*/ 2 w 8"/>
                <a:gd name="T31" fmla="*/ 4 h 12"/>
                <a:gd name="T32" fmla="*/ 4 w 8"/>
                <a:gd name="T33" fmla="*/ 4 h 12"/>
                <a:gd name="T34" fmla="*/ 6 w 8"/>
                <a:gd name="T35" fmla="*/ 2 h 12"/>
                <a:gd name="T36" fmla="*/ 4 w 8"/>
                <a:gd name="T37" fmla="*/ 2 h 12"/>
                <a:gd name="T38" fmla="*/ 4 w 8"/>
                <a:gd name="T39" fmla="*/ 2 h 12"/>
                <a:gd name="T40" fmla="*/ 6 w 8"/>
                <a:gd name="T41" fmla="*/ 0 h 12"/>
                <a:gd name="T42" fmla="*/ 8 w 8"/>
                <a:gd name="T43" fmla="*/ 2 h 12"/>
                <a:gd name="T44" fmla="*/ 8 w 8"/>
                <a:gd name="T45" fmla="*/ 2 h 12"/>
                <a:gd name="T46" fmla="*/ 8 w 8"/>
                <a:gd name="T4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2">
                  <a:moveTo>
                    <a:pt x="8" y="4"/>
                  </a:moveTo>
                  <a:lnTo>
                    <a:pt x="8" y="4"/>
                  </a:lnTo>
                  <a:lnTo>
                    <a:pt x="8" y="6"/>
                  </a:lnTo>
                  <a:lnTo>
                    <a:pt x="8" y="6"/>
                  </a:lnTo>
                  <a:lnTo>
                    <a:pt x="6" y="8"/>
                  </a:lnTo>
                  <a:lnTo>
                    <a:pt x="6" y="12"/>
                  </a:lnTo>
                  <a:lnTo>
                    <a:pt x="6" y="10"/>
                  </a:lnTo>
                  <a:lnTo>
                    <a:pt x="6" y="6"/>
                  </a:lnTo>
                  <a:lnTo>
                    <a:pt x="4" y="8"/>
                  </a:lnTo>
                  <a:lnTo>
                    <a:pt x="4" y="6"/>
                  </a:lnTo>
                  <a:lnTo>
                    <a:pt x="2" y="6"/>
                  </a:lnTo>
                  <a:lnTo>
                    <a:pt x="4" y="12"/>
                  </a:lnTo>
                  <a:lnTo>
                    <a:pt x="0" y="6"/>
                  </a:lnTo>
                  <a:lnTo>
                    <a:pt x="0" y="4"/>
                  </a:lnTo>
                  <a:lnTo>
                    <a:pt x="2" y="2"/>
                  </a:lnTo>
                  <a:lnTo>
                    <a:pt x="2" y="4"/>
                  </a:lnTo>
                  <a:lnTo>
                    <a:pt x="4" y="4"/>
                  </a:lnTo>
                  <a:lnTo>
                    <a:pt x="6" y="2"/>
                  </a:lnTo>
                  <a:lnTo>
                    <a:pt x="4" y="2"/>
                  </a:lnTo>
                  <a:lnTo>
                    <a:pt x="4" y="2"/>
                  </a:lnTo>
                  <a:lnTo>
                    <a:pt x="6" y="0"/>
                  </a:lnTo>
                  <a:lnTo>
                    <a:pt x="8" y="2"/>
                  </a:lnTo>
                  <a:lnTo>
                    <a:pt x="8" y="2"/>
                  </a:lnTo>
                  <a:lnTo>
                    <a:pt x="8" y="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61" name="Freeform 413"/>
            <p:cNvSpPr>
              <a:spLocks/>
            </p:cNvSpPr>
            <p:nvPr/>
          </p:nvSpPr>
          <p:spPr bwMode="auto">
            <a:xfrm>
              <a:off x="4156076" y="1865313"/>
              <a:ext cx="14288" cy="19050"/>
            </a:xfrm>
            <a:custGeom>
              <a:avLst/>
              <a:gdLst>
                <a:gd name="T0" fmla="*/ 8 w 8"/>
                <a:gd name="T1" fmla="*/ 4 h 12"/>
                <a:gd name="T2" fmla="*/ 8 w 8"/>
                <a:gd name="T3" fmla="*/ 4 h 12"/>
                <a:gd name="T4" fmla="*/ 8 w 8"/>
                <a:gd name="T5" fmla="*/ 6 h 12"/>
                <a:gd name="T6" fmla="*/ 8 w 8"/>
                <a:gd name="T7" fmla="*/ 6 h 12"/>
                <a:gd name="T8" fmla="*/ 6 w 8"/>
                <a:gd name="T9" fmla="*/ 8 h 12"/>
                <a:gd name="T10" fmla="*/ 6 w 8"/>
                <a:gd name="T11" fmla="*/ 12 h 12"/>
                <a:gd name="T12" fmla="*/ 6 w 8"/>
                <a:gd name="T13" fmla="*/ 10 h 12"/>
                <a:gd name="T14" fmla="*/ 6 w 8"/>
                <a:gd name="T15" fmla="*/ 6 h 12"/>
                <a:gd name="T16" fmla="*/ 4 w 8"/>
                <a:gd name="T17" fmla="*/ 8 h 12"/>
                <a:gd name="T18" fmla="*/ 4 w 8"/>
                <a:gd name="T19" fmla="*/ 6 h 12"/>
                <a:gd name="T20" fmla="*/ 2 w 8"/>
                <a:gd name="T21" fmla="*/ 6 h 12"/>
                <a:gd name="T22" fmla="*/ 4 w 8"/>
                <a:gd name="T23" fmla="*/ 12 h 12"/>
                <a:gd name="T24" fmla="*/ 0 w 8"/>
                <a:gd name="T25" fmla="*/ 6 h 12"/>
                <a:gd name="T26" fmla="*/ 0 w 8"/>
                <a:gd name="T27" fmla="*/ 4 h 12"/>
                <a:gd name="T28" fmla="*/ 2 w 8"/>
                <a:gd name="T29" fmla="*/ 2 h 12"/>
                <a:gd name="T30" fmla="*/ 2 w 8"/>
                <a:gd name="T31" fmla="*/ 4 h 12"/>
                <a:gd name="T32" fmla="*/ 4 w 8"/>
                <a:gd name="T33" fmla="*/ 4 h 12"/>
                <a:gd name="T34" fmla="*/ 6 w 8"/>
                <a:gd name="T35" fmla="*/ 2 h 12"/>
                <a:gd name="T36" fmla="*/ 4 w 8"/>
                <a:gd name="T37" fmla="*/ 2 h 12"/>
                <a:gd name="T38" fmla="*/ 4 w 8"/>
                <a:gd name="T39" fmla="*/ 2 h 12"/>
                <a:gd name="T40" fmla="*/ 6 w 8"/>
                <a:gd name="T41" fmla="*/ 0 h 12"/>
                <a:gd name="T42" fmla="*/ 8 w 8"/>
                <a:gd name="T43" fmla="*/ 2 h 12"/>
                <a:gd name="T44" fmla="*/ 8 w 8"/>
                <a:gd name="T45" fmla="*/ 2 h 12"/>
                <a:gd name="T46" fmla="*/ 8 w 8"/>
                <a:gd name="T4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2">
                  <a:moveTo>
                    <a:pt x="8" y="4"/>
                  </a:moveTo>
                  <a:lnTo>
                    <a:pt x="8" y="4"/>
                  </a:lnTo>
                  <a:lnTo>
                    <a:pt x="8" y="6"/>
                  </a:lnTo>
                  <a:lnTo>
                    <a:pt x="8" y="6"/>
                  </a:lnTo>
                  <a:lnTo>
                    <a:pt x="6" y="8"/>
                  </a:lnTo>
                  <a:lnTo>
                    <a:pt x="6" y="12"/>
                  </a:lnTo>
                  <a:lnTo>
                    <a:pt x="6" y="10"/>
                  </a:lnTo>
                  <a:lnTo>
                    <a:pt x="6" y="6"/>
                  </a:lnTo>
                  <a:lnTo>
                    <a:pt x="4" y="8"/>
                  </a:lnTo>
                  <a:lnTo>
                    <a:pt x="4" y="6"/>
                  </a:lnTo>
                  <a:lnTo>
                    <a:pt x="2" y="6"/>
                  </a:lnTo>
                  <a:lnTo>
                    <a:pt x="4" y="12"/>
                  </a:lnTo>
                  <a:lnTo>
                    <a:pt x="0" y="6"/>
                  </a:lnTo>
                  <a:lnTo>
                    <a:pt x="0" y="4"/>
                  </a:lnTo>
                  <a:lnTo>
                    <a:pt x="2" y="2"/>
                  </a:lnTo>
                  <a:lnTo>
                    <a:pt x="2" y="4"/>
                  </a:lnTo>
                  <a:lnTo>
                    <a:pt x="4" y="4"/>
                  </a:lnTo>
                  <a:lnTo>
                    <a:pt x="6" y="2"/>
                  </a:lnTo>
                  <a:lnTo>
                    <a:pt x="4" y="2"/>
                  </a:lnTo>
                  <a:lnTo>
                    <a:pt x="4" y="2"/>
                  </a:lnTo>
                  <a:lnTo>
                    <a:pt x="6" y="0"/>
                  </a:lnTo>
                  <a:lnTo>
                    <a:pt x="8" y="2"/>
                  </a:lnTo>
                  <a:lnTo>
                    <a:pt x="8" y="2"/>
                  </a:lnTo>
                  <a:lnTo>
                    <a:pt x="8"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62" name="Freeform 414"/>
            <p:cNvSpPr>
              <a:spLocks/>
            </p:cNvSpPr>
            <p:nvPr/>
          </p:nvSpPr>
          <p:spPr bwMode="auto">
            <a:xfrm>
              <a:off x="3884613" y="2338388"/>
              <a:ext cx="34925" cy="19050"/>
            </a:xfrm>
            <a:custGeom>
              <a:avLst/>
              <a:gdLst>
                <a:gd name="T0" fmla="*/ 0 w 20"/>
                <a:gd name="T1" fmla="*/ 6 h 12"/>
                <a:gd name="T2" fmla="*/ 6 w 20"/>
                <a:gd name="T3" fmla="*/ 6 h 12"/>
                <a:gd name="T4" fmla="*/ 12 w 20"/>
                <a:gd name="T5" fmla="*/ 2 h 12"/>
                <a:gd name="T6" fmla="*/ 18 w 20"/>
                <a:gd name="T7" fmla="*/ 0 h 12"/>
                <a:gd name="T8" fmla="*/ 18 w 20"/>
                <a:gd name="T9" fmla="*/ 2 h 12"/>
                <a:gd name="T10" fmla="*/ 20 w 20"/>
                <a:gd name="T11" fmla="*/ 8 h 12"/>
                <a:gd name="T12" fmla="*/ 16 w 20"/>
                <a:gd name="T13" fmla="*/ 6 h 12"/>
                <a:gd name="T14" fmla="*/ 6 w 20"/>
                <a:gd name="T15" fmla="*/ 12 h 12"/>
                <a:gd name="T16" fmla="*/ 4 w 20"/>
                <a:gd name="T17" fmla="*/ 10 h 12"/>
                <a:gd name="T18" fmla="*/ 2 w 20"/>
                <a:gd name="T19" fmla="*/ 8 h 12"/>
                <a:gd name="T20" fmla="*/ 0 w 20"/>
                <a:gd name="T2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
                  <a:moveTo>
                    <a:pt x="0" y="6"/>
                  </a:moveTo>
                  <a:lnTo>
                    <a:pt x="6" y="6"/>
                  </a:lnTo>
                  <a:lnTo>
                    <a:pt x="12" y="2"/>
                  </a:lnTo>
                  <a:lnTo>
                    <a:pt x="18" y="0"/>
                  </a:lnTo>
                  <a:lnTo>
                    <a:pt x="18" y="2"/>
                  </a:lnTo>
                  <a:lnTo>
                    <a:pt x="20" y="8"/>
                  </a:lnTo>
                  <a:lnTo>
                    <a:pt x="16" y="6"/>
                  </a:lnTo>
                  <a:lnTo>
                    <a:pt x="6" y="12"/>
                  </a:lnTo>
                  <a:lnTo>
                    <a:pt x="4" y="10"/>
                  </a:lnTo>
                  <a:lnTo>
                    <a:pt x="2" y="8"/>
                  </a:lnTo>
                  <a:lnTo>
                    <a:pt x="0" y="6"/>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63" name="Freeform 415"/>
            <p:cNvSpPr>
              <a:spLocks/>
            </p:cNvSpPr>
            <p:nvPr/>
          </p:nvSpPr>
          <p:spPr bwMode="auto">
            <a:xfrm>
              <a:off x="3884613" y="2338388"/>
              <a:ext cx="34925" cy="19050"/>
            </a:xfrm>
            <a:custGeom>
              <a:avLst/>
              <a:gdLst>
                <a:gd name="T0" fmla="*/ 0 w 20"/>
                <a:gd name="T1" fmla="*/ 6 h 12"/>
                <a:gd name="T2" fmla="*/ 6 w 20"/>
                <a:gd name="T3" fmla="*/ 6 h 12"/>
                <a:gd name="T4" fmla="*/ 12 w 20"/>
                <a:gd name="T5" fmla="*/ 2 h 12"/>
                <a:gd name="T6" fmla="*/ 18 w 20"/>
                <a:gd name="T7" fmla="*/ 0 h 12"/>
                <a:gd name="T8" fmla="*/ 18 w 20"/>
                <a:gd name="T9" fmla="*/ 2 h 12"/>
                <a:gd name="T10" fmla="*/ 20 w 20"/>
                <a:gd name="T11" fmla="*/ 8 h 12"/>
                <a:gd name="T12" fmla="*/ 16 w 20"/>
                <a:gd name="T13" fmla="*/ 6 h 12"/>
                <a:gd name="T14" fmla="*/ 6 w 20"/>
                <a:gd name="T15" fmla="*/ 12 h 12"/>
                <a:gd name="T16" fmla="*/ 4 w 20"/>
                <a:gd name="T17" fmla="*/ 10 h 12"/>
                <a:gd name="T18" fmla="*/ 2 w 20"/>
                <a:gd name="T19" fmla="*/ 8 h 12"/>
                <a:gd name="T20" fmla="*/ 0 w 20"/>
                <a:gd name="T2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
                  <a:moveTo>
                    <a:pt x="0" y="6"/>
                  </a:moveTo>
                  <a:lnTo>
                    <a:pt x="6" y="6"/>
                  </a:lnTo>
                  <a:lnTo>
                    <a:pt x="12" y="2"/>
                  </a:lnTo>
                  <a:lnTo>
                    <a:pt x="18" y="0"/>
                  </a:lnTo>
                  <a:lnTo>
                    <a:pt x="18" y="2"/>
                  </a:lnTo>
                  <a:lnTo>
                    <a:pt x="20" y="8"/>
                  </a:lnTo>
                  <a:lnTo>
                    <a:pt x="16" y="6"/>
                  </a:lnTo>
                  <a:lnTo>
                    <a:pt x="6" y="12"/>
                  </a:lnTo>
                  <a:lnTo>
                    <a:pt x="4" y="10"/>
                  </a:lnTo>
                  <a:lnTo>
                    <a:pt x="2" y="8"/>
                  </a:lnTo>
                  <a:lnTo>
                    <a:pt x="0" y="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64" name="Freeform 416"/>
            <p:cNvSpPr>
              <a:spLocks/>
            </p:cNvSpPr>
            <p:nvPr/>
          </p:nvSpPr>
          <p:spPr bwMode="auto">
            <a:xfrm>
              <a:off x="4191001" y="2147888"/>
              <a:ext cx="11113" cy="19050"/>
            </a:xfrm>
            <a:custGeom>
              <a:avLst/>
              <a:gdLst>
                <a:gd name="T0" fmla="*/ 0 w 6"/>
                <a:gd name="T1" fmla="*/ 4 h 12"/>
                <a:gd name="T2" fmla="*/ 0 w 6"/>
                <a:gd name="T3" fmla="*/ 2 h 12"/>
                <a:gd name="T4" fmla="*/ 0 w 6"/>
                <a:gd name="T5" fmla="*/ 0 h 12"/>
                <a:gd name="T6" fmla="*/ 2 w 6"/>
                <a:gd name="T7" fmla="*/ 0 h 12"/>
                <a:gd name="T8" fmla="*/ 6 w 6"/>
                <a:gd name="T9" fmla="*/ 10 h 12"/>
                <a:gd name="T10" fmla="*/ 4 w 6"/>
                <a:gd name="T11" fmla="*/ 12 h 12"/>
                <a:gd name="T12" fmla="*/ 2 w 6"/>
                <a:gd name="T13" fmla="*/ 12 h 12"/>
                <a:gd name="T14" fmla="*/ 0 w 6"/>
                <a:gd name="T15" fmla="*/ 10 h 12"/>
                <a:gd name="T16" fmla="*/ 0 w 6"/>
                <a:gd name="T17" fmla="*/ 6 h 12"/>
                <a:gd name="T18" fmla="*/ 0 w 6"/>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2">
                  <a:moveTo>
                    <a:pt x="0" y="4"/>
                  </a:moveTo>
                  <a:lnTo>
                    <a:pt x="0" y="2"/>
                  </a:lnTo>
                  <a:lnTo>
                    <a:pt x="0" y="0"/>
                  </a:lnTo>
                  <a:lnTo>
                    <a:pt x="2" y="0"/>
                  </a:lnTo>
                  <a:lnTo>
                    <a:pt x="6" y="10"/>
                  </a:lnTo>
                  <a:lnTo>
                    <a:pt x="4" y="12"/>
                  </a:lnTo>
                  <a:lnTo>
                    <a:pt x="2" y="12"/>
                  </a:lnTo>
                  <a:lnTo>
                    <a:pt x="0" y="10"/>
                  </a:lnTo>
                  <a:lnTo>
                    <a:pt x="0" y="6"/>
                  </a:lnTo>
                  <a:lnTo>
                    <a:pt x="0" y="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65" name="Freeform 417"/>
            <p:cNvSpPr>
              <a:spLocks/>
            </p:cNvSpPr>
            <p:nvPr/>
          </p:nvSpPr>
          <p:spPr bwMode="auto">
            <a:xfrm>
              <a:off x="4191001" y="2147888"/>
              <a:ext cx="11113" cy="19050"/>
            </a:xfrm>
            <a:custGeom>
              <a:avLst/>
              <a:gdLst>
                <a:gd name="T0" fmla="*/ 0 w 6"/>
                <a:gd name="T1" fmla="*/ 4 h 12"/>
                <a:gd name="T2" fmla="*/ 0 w 6"/>
                <a:gd name="T3" fmla="*/ 2 h 12"/>
                <a:gd name="T4" fmla="*/ 0 w 6"/>
                <a:gd name="T5" fmla="*/ 0 h 12"/>
                <a:gd name="T6" fmla="*/ 2 w 6"/>
                <a:gd name="T7" fmla="*/ 0 h 12"/>
                <a:gd name="T8" fmla="*/ 6 w 6"/>
                <a:gd name="T9" fmla="*/ 10 h 12"/>
                <a:gd name="T10" fmla="*/ 4 w 6"/>
                <a:gd name="T11" fmla="*/ 12 h 12"/>
                <a:gd name="T12" fmla="*/ 2 w 6"/>
                <a:gd name="T13" fmla="*/ 12 h 12"/>
                <a:gd name="T14" fmla="*/ 0 w 6"/>
                <a:gd name="T15" fmla="*/ 10 h 12"/>
                <a:gd name="T16" fmla="*/ 0 w 6"/>
                <a:gd name="T17" fmla="*/ 6 h 12"/>
                <a:gd name="T18" fmla="*/ 0 w 6"/>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2">
                  <a:moveTo>
                    <a:pt x="0" y="4"/>
                  </a:moveTo>
                  <a:lnTo>
                    <a:pt x="0" y="2"/>
                  </a:lnTo>
                  <a:lnTo>
                    <a:pt x="0" y="0"/>
                  </a:lnTo>
                  <a:lnTo>
                    <a:pt x="2" y="0"/>
                  </a:lnTo>
                  <a:lnTo>
                    <a:pt x="6" y="10"/>
                  </a:lnTo>
                  <a:lnTo>
                    <a:pt x="4" y="12"/>
                  </a:lnTo>
                  <a:lnTo>
                    <a:pt x="2" y="12"/>
                  </a:lnTo>
                  <a:lnTo>
                    <a:pt x="0" y="10"/>
                  </a:lnTo>
                  <a:lnTo>
                    <a:pt x="0" y="6"/>
                  </a:lnTo>
                  <a:lnTo>
                    <a:pt x="0"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66" name="Freeform 418"/>
            <p:cNvSpPr>
              <a:spLocks/>
            </p:cNvSpPr>
            <p:nvPr/>
          </p:nvSpPr>
          <p:spPr bwMode="auto">
            <a:xfrm>
              <a:off x="2147888" y="4017963"/>
              <a:ext cx="106363" cy="95250"/>
            </a:xfrm>
            <a:custGeom>
              <a:avLst/>
              <a:gdLst>
                <a:gd name="T0" fmla="*/ 46 w 62"/>
                <a:gd name="T1" fmla="*/ 60 h 60"/>
                <a:gd name="T2" fmla="*/ 48 w 62"/>
                <a:gd name="T3" fmla="*/ 54 h 60"/>
                <a:gd name="T4" fmla="*/ 46 w 62"/>
                <a:gd name="T5" fmla="*/ 52 h 60"/>
                <a:gd name="T6" fmla="*/ 48 w 62"/>
                <a:gd name="T7" fmla="*/ 34 h 60"/>
                <a:gd name="T8" fmla="*/ 44 w 62"/>
                <a:gd name="T9" fmla="*/ 30 h 60"/>
                <a:gd name="T10" fmla="*/ 38 w 62"/>
                <a:gd name="T11" fmla="*/ 26 h 60"/>
                <a:gd name="T12" fmla="*/ 42 w 62"/>
                <a:gd name="T13" fmla="*/ 24 h 60"/>
                <a:gd name="T14" fmla="*/ 48 w 62"/>
                <a:gd name="T15" fmla="*/ 24 h 60"/>
                <a:gd name="T16" fmla="*/ 56 w 62"/>
                <a:gd name="T17" fmla="*/ 26 h 60"/>
                <a:gd name="T18" fmla="*/ 62 w 62"/>
                <a:gd name="T19" fmla="*/ 24 h 60"/>
                <a:gd name="T20" fmla="*/ 62 w 62"/>
                <a:gd name="T21" fmla="*/ 22 h 60"/>
                <a:gd name="T22" fmla="*/ 62 w 62"/>
                <a:gd name="T23" fmla="*/ 20 h 60"/>
                <a:gd name="T24" fmla="*/ 58 w 62"/>
                <a:gd name="T25" fmla="*/ 12 h 60"/>
                <a:gd name="T26" fmla="*/ 58 w 62"/>
                <a:gd name="T27" fmla="*/ 10 h 60"/>
                <a:gd name="T28" fmla="*/ 58 w 62"/>
                <a:gd name="T29" fmla="*/ 10 h 60"/>
                <a:gd name="T30" fmla="*/ 46 w 62"/>
                <a:gd name="T31" fmla="*/ 0 h 60"/>
                <a:gd name="T32" fmla="*/ 36 w 62"/>
                <a:gd name="T33" fmla="*/ 0 h 60"/>
                <a:gd name="T34" fmla="*/ 14 w 62"/>
                <a:gd name="T35" fmla="*/ 14 h 60"/>
                <a:gd name="T36" fmla="*/ 0 w 62"/>
                <a:gd name="T37" fmla="*/ 18 h 60"/>
                <a:gd name="T38" fmla="*/ 22 w 62"/>
                <a:gd name="T39" fmla="*/ 36 h 60"/>
                <a:gd name="T40" fmla="*/ 26 w 62"/>
                <a:gd name="T41" fmla="*/ 42 h 60"/>
                <a:gd name="T42" fmla="*/ 26 w 62"/>
                <a:gd name="T43" fmla="*/ 52 h 60"/>
                <a:gd name="T44" fmla="*/ 46 w 62"/>
                <a:gd name="T4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60">
                  <a:moveTo>
                    <a:pt x="46" y="60"/>
                  </a:moveTo>
                  <a:lnTo>
                    <a:pt x="48" y="54"/>
                  </a:lnTo>
                  <a:lnTo>
                    <a:pt x="46" y="52"/>
                  </a:lnTo>
                  <a:lnTo>
                    <a:pt x="48" y="34"/>
                  </a:lnTo>
                  <a:lnTo>
                    <a:pt x="44" y="30"/>
                  </a:lnTo>
                  <a:lnTo>
                    <a:pt x="38" y="26"/>
                  </a:lnTo>
                  <a:lnTo>
                    <a:pt x="42" y="24"/>
                  </a:lnTo>
                  <a:lnTo>
                    <a:pt x="48" y="24"/>
                  </a:lnTo>
                  <a:lnTo>
                    <a:pt x="56" y="26"/>
                  </a:lnTo>
                  <a:lnTo>
                    <a:pt x="62" y="24"/>
                  </a:lnTo>
                  <a:lnTo>
                    <a:pt x="62" y="22"/>
                  </a:lnTo>
                  <a:lnTo>
                    <a:pt x="62" y="20"/>
                  </a:lnTo>
                  <a:lnTo>
                    <a:pt x="58" y="12"/>
                  </a:lnTo>
                  <a:lnTo>
                    <a:pt x="58" y="10"/>
                  </a:lnTo>
                  <a:lnTo>
                    <a:pt x="58" y="10"/>
                  </a:lnTo>
                  <a:lnTo>
                    <a:pt x="46" y="0"/>
                  </a:lnTo>
                  <a:lnTo>
                    <a:pt x="36" y="0"/>
                  </a:lnTo>
                  <a:lnTo>
                    <a:pt x="14" y="14"/>
                  </a:lnTo>
                  <a:lnTo>
                    <a:pt x="0" y="18"/>
                  </a:lnTo>
                  <a:lnTo>
                    <a:pt x="22" y="36"/>
                  </a:lnTo>
                  <a:lnTo>
                    <a:pt x="26" y="42"/>
                  </a:lnTo>
                  <a:lnTo>
                    <a:pt x="26" y="52"/>
                  </a:lnTo>
                  <a:lnTo>
                    <a:pt x="46" y="6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67" name="Freeform 419"/>
            <p:cNvSpPr>
              <a:spLocks/>
            </p:cNvSpPr>
            <p:nvPr/>
          </p:nvSpPr>
          <p:spPr bwMode="auto">
            <a:xfrm>
              <a:off x="2147888" y="4017963"/>
              <a:ext cx="106363" cy="95250"/>
            </a:xfrm>
            <a:custGeom>
              <a:avLst/>
              <a:gdLst>
                <a:gd name="T0" fmla="*/ 46 w 62"/>
                <a:gd name="T1" fmla="*/ 60 h 60"/>
                <a:gd name="T2" fmla="*/ 48 w 62"/>
                <a:gd name="T3" fmla="*/ 54 h 60"/>
                <a:gd name="T4" fmla="*/ 46 w 62"/>
                <a:gd name="T5" fmla="*/ 52 h 60"/>
                <a:gd name="T6" fmla="*/ 48 w 62"/>
                <a:gd name="T7" fmla="*/ 34 h 60"/>
                <a:gd name="T8" fmla="*/ 44 w 62"/>
                <a:gd name="T9" fmla="*/ 30 h 60"/>
                <a:gd name="T10" fmla="*/ 38 w 62"/>
                <a:gd name="T11" fmla="*/ 26 h 60"/>
                <a:gd name="T12" fmla="*/ 42 w 62"/>
                <a:gd name="T13" fmla="*/ 24 h 60"/>
                <a:gd name="T14" fmla="*/ 48 w 62"/>
                <a:gd name="T15" fmla="*/ 24 h 60"/>
                <a:gd name="T16" fmla="*/ 56 w 62"/>
                <a:gd name="T17" fmla="*/ 26 h 60"/>
                <a:gd name="T18" fmla="*/ 62 w 62"/>
                <a:gd name="T19" fmla="*/ 24 h 60"/>
                <a:gd name="T20" fmla="*/ 62 w 62"/>
                <a:gd name="T21" fmla="*/ 22 h 60"/>
                <a:gd name="T22" fmla="*/ 62 w 62"/>
                <a:gd name="T23" fmla="*/ 20 h 60"/>
                <a:gd name="T24" fmla="*/ 58 w 62"/>
                <a:gd name="T25" fmla="*/ 12 h 60"/>
                <a:gd name="T26" fmla="*/ 58 w 62"/>
                <a:gd name="T27" fmla="*/ 10 h 60"/>
                <a:gd name="T28" fmla="*/ 58 w 62"/>
                <a:gd name="T29" fmla="*/ 10 h 60"/>
                <a:gd name="T30" fmla="*/ 46 w 62"/>
                <a:gd name="T31" fmla="*/ 0 h 60"/>
                <a:gd name="T32" fmla="*/ 36 w 62"/>
                <a:gd name="T33" fmla="*/ 0 h 60"/>
                <a:gd name="T34" fmla="*/ 14 w 62"/>
                <a:gd name="T35" fmla="*/ 14 h 60"/>
                <a:gd name="T36" fmla="*/ 0 w 62"/>
                <a:gd name="T37" fmla="*/ 18 h 60"/>
                <a:gd name="T38" fmla="*/ 22 w 62"/>
                <a:gd name="T39" fmla="*/ 36 h 60"/>
                <a:gd name="T40" fmla="*/ 26 w 62"/>
                <a:gd name="T41" fmla="*/ 42 h 60"/>
                <a:gd name="T42" fmla="*/ 26 w 62"/>
                <a:gd name="T43" fmla="*/ 52 h 60"/>
                <a:gd name="T44" fmla="*/ 46 w 62"/>
                <a:gd name="T4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60">
                  <a:moveTo>
                    <a:pt x="46" y="60"/>
                  </a:moveTo>
                  <a:lnTo>
                    <a:pt x="48" y="54"/>
                  </a:lnTo>
                  <a:lnTo>
                    <a:pt x="46" y="52"/>
                  </a:lnTo>
                  <a:lnTo>
                    <a:pt x="48" y="34"/>
                  </a:lnTo>
                  <a:lnTo>
                    <a:pt x="44" y="30"/>
                  </a:lnTo>
                  <a:lnTo>
                    <a:pt x="38" y="26"/>
                  </a:lnTo>
                  <a:lnTo>
                    <a:pt x="42" y="24"/>
                  </a:lnTo>
                  <a:lnTo>
                    <a:pt x="48" y="24"/>
                  </a:lnTo>
                  <a:lnTo>
                    <a:pt x="56" y="26"/>
                  </a:lnTo>
                  <a:lnTo>
                    <a:pt x="62" y="24"/>
                  </a:lnTo>
                  <a:lnTo>
                    <a:pt x="62" y="22"/>
                  </a:lnTo>
                  <a:lnTo>
                    <a:pt x="62" y="20"/>
                  </a:lnTo>
                  <a:lnTo>
                    <a:pt x="58" y="12"/>
                  </a:lnTo>
                  <a:lnTo>
                    <a:pt x="58" y="10"/>
                  </a:lnTo>
                  <a:lnTo>
                    <a:pt x="58" y="10"/>
                  </a:lnTo>
                  <a:lnTo>
                    <a:pt x="46" y="0"/>
                  </a:lnTo>
                  <a:lnTo>
                    <a:pt x="36" y="0"/>
                  </a:lnTo>
                  <a:lnTo>
                    <a:pt x="14" y="14"/>
                  </a:lnTo>
                  <a:lnTo>
                    <a:pt x="0" y="18"/>
                  </a:lnTo>
                  <a:lnTo>
                    <a:pt x="22" y="36"/>
                  </a:lnTo>
                  <a:lnTo>
                    <a:pt x="26" y="42"/>
                  </a:lnTo>
                  <a:lnTo>
                    <a:pt x="26" y="52"/>
                  </a:lnTo>
                  <a:lnTo>
                    <a:pt x="46" y="6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68" name="Freeform 420"/>
            <p:cNvSpPr>
              <a:spLocks/>
            </p:cNvSpPr>
            <p:nvPr/>
          </p:nvSpPr>
          <p:spPr bwMode="auto">
            <a:xfrm>
              <a:off x="2897188" y="4008438"/>
              <a:ext cx="1039813" cy="682625"/>
            </a:xfrm>
            <a:custGeom>
              <a:avLst/>
              <a:gdLst>
                <a:gd name="T0" fmla="*/ 74 w 604"/>
                <a:gd name="T1" fmla="*/ 286 h 430"/>
                <a:gd name="T2" fmla="*/ 66 w 604"/>
                <a:gd name="T3" fmla="*/ 232 h 430"/>
                <a:gd name="T4" fmla="*/ 28 w 604"/>
                <a:gd name="T5" fmla="*/ 166 h 430"/>
                <a:gd name="T6" fmla="*/ 128 w 604"/>
                <a:gd name="T7" fmla="*/ 206 h 430"/>
                <a:gd name="T8" fmla="*/ 206 w 604"/>
                <a:gd name="T9" fmla="*/ 206 h 430"/>
                <a:gd name="T10" fmla="*/ 214 w 604"/>
                <a:gd name="T11" fmla="*/ 172 h 430"/>
                <a:gd name="T12" fmla="*/ 238 w 604"/>
                <a:gd name="T13" fmla="*/ 164 h 430"/>
                <a:gd name="T14" fmla="*/ 262 w 604"/>
                <a:gd name="T15" fmla="*/ 158 h 430"/>
                <a:gd name="T16" fmla="*/ 290 w 604"/>
                <a:gd name="T17" fmla="*/ 156 h 430"/>
                <a:gd name="T18" fmla="*/ 302 w 604"/>
                <a:gd name="T19" fmla="*/ 164 h 430"/>
                <a:gd name="T20" fmla="*/ 324 w 604"/>
                <a:gd name="T21" fmla="*/ 132 h 430"/>
                <a:gd name="T22" fmla="*/ 334 w 604"/>
                <a:gd name="T23" fmla="*/ 116 h 430"/>
                <a:gd name="T24" fmla="*/ 358 w 604"/>
                <a:gd name="T25" fmla="*/ 106 h 430"/>
                <a:gd name="T26" fmla="*/ 370 w 604"/>
                <a:gd name="T27" fmla="*/ 90 h 430"/>
                <a:gd name="T28" fmla="*/ 394 w 604"/>
                <a:gd name="T29" fmla="*/ 78 h 430"/>
                <a:gd name="T30" fmla="*/ 414 w 604"/>
                <a:gd name="T31" fmla="*/ 50 h 430"/>
                <a:gd name="T32" fmla="*/ 408 w 604"/>
                <a:gd name="T33" fmla="*/ 22 h 430"/>
                <a:gd name="T34" fmla="*/ 426 w 604"/>
                <a:gd name="T35" fmla="*/ 10 h 430"/>
                <a:gd name="T36" fmla="*/ 438 w 604"/>
                <a:gd name="T37" fmla="*/ 6 h 430"/>
                <a:gd name="T38" fmla="*/ 464 w 604"/>
                <a:gd name="T39" fmla="*/ 0 h 430"/>
                <a:gd name="T40" fmla="*/ 502 w 604"/>
                <a:gd name="T41" fmla="*/ 6 h 430"/>
                <a:gd name="T42" fmla="*/ 516 w 604"/>
                <a:gd name="T43" fmla="*/ 4 h 430"/>
                <a:gd name="T44" fmla="*/ 540 w 604"/>
                <a:gd name="T45" fmla="*/ 8 h 430"/>
                <a:gd name="T46" fmla="*/ 556 w 604"/>
                <a:gd name="T47" fmla="*/ 26 h 430"/>
                <a:gd name="T48" fmla="*/ 552 w 604"/>
                <a:gd name="T49" fmla="*/ 38 h 430"/>
                <a:gd name="T50" fmla="*/ 564 w 604"/>
                <a:gd name="T51" fmla="*/ 48 h 430"/>
                <a:gd name="T52" fmla="*/ 590 w 604"/>
                <a:gd name="T53" fmla="*/ 62 h 430"/>
                <a:gd name="T54" fmla="*/ 580 w 604"/>
                <a:gd name="T55" fmla="*/ 82 h 430"/>
                <a:gd name="T56" fmla="*/ 560 w 604"/>
                <a:gd name="T57" fmla="*/ 86 h 430"/>
                <a:gd name="T58" fmla="*/ 544 w 604"/>
                <a:gd name="T59" fmla="*/ 88 h 430"/>
                <a:gd name="T60" fmla="*/ 532 w 604"/>
                <a:gd name="T61" fmla="*/ 90 h 430"/>
                <a:gd name="T62" fmla="*/ 490 w 604"/>
                <a:gd name="T63" fmla="*/ 78 h 430"/>
                <a:gd name="T64" fmla="*/ 476 w 604"/>
                <a:gd name="T65" fmla="*/ 92 h 430"/>
                <a:gd name="T66" fmla="*/ 478 w 604"/>
                <a:gd name="T67" fmla="*/ 100 h 430"/>
                <a:gd name="T68" fmla="*/ 488 w 604"/>
                <a:gd name="T69" fmla="*/ 108 h 430"/>
                <a:gd name="T70" fmla="*/ 484 w 604"/>
                <a:gd name="T71" fmla="*/ 126 h 430"/>
                <a:gd name="T72" fmla="*/ 484 w 604"/>
                <a:gd name="T73" fmla="*/ 148 h 430"/>
                <a:gd name="T74" fmla="*/ 496 w 604"/>
                <a:gd name="T75" fmla="*/ 156 h 430"/>
                <a:gd name="T76" fmla="*/ 516 w 604"/>
                <a:gd name="T77" fmla="*/ 170 h 430"/>
                <a:gd name="T78" fmla="*/ 504 w 604"/>
                <a:gd name="T79" fmla="*/ 178 h 430"/>
                <a:gd name="T80" fmla="*/ 490 w 604"/>
                <a:gd name="T81" fmla="*/ 194 h 430"/>
                <a:gd name="T82" fmla="*/ 484 w 604"/>
                <a:gd name="T83" fmla="*/ 206 h 430"/>
                <a:gd name="T84" fmla="*/ 486 w 604"/>
                <a:gd name="T85" fmla="*/ 214 h 430"/>
                <a:gd name="T86" fmla="*/ 456 w 604"/>
                <a:gd name="T87" fmla="*/ 232 h 430"/>
                <a:gd name="T88" fmla="*/ 438 w 604"/>
                <a:gd name="T89" fmla="*/ 248 h 430"/>
                <a:gd name="T90" fmla="*/ 344 w 604"/>
                <a:gd name="T91" fmla="*/ 308 h 430"/>
                <a:gd name="T92" fmla="*/ 328 w 604"/>
                <a:gd name="T93" fmla="*/ 296 h 430"/>
                <a:gd name="T94" fmla="*/ 294 w 604"/>
                <a:gd name="T95" fmla="*/ 342 h 430"/>
                <a:gd name="T96" fmla="*/ 306 w 604"/>
                <a:gd name="T97" fmla="*/ 354 h 430"/>
                <a:gd name="T98" fmla="*/ 314 w 604"/>
                <a:gd name="T99" fmla="*/ 378 h 430"/>
                <a:gd name="T100" fmla="*/ 322 w 604"/>
                <a:gd name="T101" fmla="*/ 408 h 430"/>
                <a:gd name="T102" fmla="*/ 320 w 604"/>
                <a:gd name="T103" fmla="*/ 422 h 430"/>
                <a:gd name="T104" fmla="*/ 314 w 604"/>
                <a:gd name="T105" fmla="*/ 430 h 430"/>
                <a:gd name="T106" fmla="*/ 306 w 604"/>
                <a:gd name="T107" fmla="*/ 422 h 430"/>
                <a:gd name="T108" fmla="*/ 270 w 604"/>
                <a:gd name="T109" fmla="*/ 420 h 430"/>
                <a:gd name="T110" fmla="*/ 246 w 604"/>
                <a:gd name="T111" fmla="*/ 416 h 430"/>
                <a:gd name="T112" fmla="*/ 238 w 604"/>
                <a:gd name="T113" fmla="*/ 426 h 430"/>
                <a:gd name="T114" fmla="*/ 216 w 604"/>
                <a:gd name="T115" fmla="*/ 428 h 430"/>
                <a:gd name="T116" fmla="*/ 192 w 604"/>
                <a:gd name="T117" fmla="*/ 414 h 430"/>
                <a:gd name="T118" fmla="*/ 174 w 604"/>
                <a:gd name="T119" fmla="*/ 370 h 430"/>
                <a:gd name="T120" fmla="*/ 102 w 604"/>
                <a:gd name="T121" fmla="*/ 356 h 430"/>
                <a:gd name="T122" fmla="*/ 32 w 604"/>
                <a:gd name="T123" fmla="*/ 334 h 430"/>
                <a:gd name="T124" fmla="*/ 2 w 604"/>
                <a:gd name="T125" fmla="*/ 3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4" h="430">
                  <a:moveTo>
                    <a:pt x="0" y="330"/>
                  </a:moveTo>
                  <a:lnTo>
                    <a:pt x="4" y="322"/>
                  </a:lnTo>
                  <a:lnTo>
                    <a:pt x="18" y="300"/>
                  </a:lnTo>
                  <a:lnTo>
                    <a:pt x="36" y="292"/>
                  </a:lnTo>
                  <a:lnTo>
                    <a:pt x="62" y="290"/>
                  </a:lnTo>
                  <a:lnTo>
                    <a:pt x="74" y="286"/>
                  </a:lnTo>
                  <a:lnTo>
                    <a:pt x="76" y="282"/>
                  </a:lnTo>
                  <a:lnTo>
                    <a:pt x="76" y="276"/>
                  </a:lnTo>
                  <a:lnTo>
                    <a:pt x="74" y="274"/>
                  </a:lnTo>
                  <a:lnTo>
                    <a:pt x="64" y="268"/>
                  </a:lnTo>
                  <a:lnTo>
                    <a:pt x="70" y="238"/>
                  </a:lnTo>
                  <a:lnTo>
                    <a:pt x="66" y="232"/>
                  </a:lnTo>
                  <a:lnTo>
                    <a:pt x="44" y="218"/>
                  </a:lnTo>
                  <a:lnTo>
                    <a:pt x="38" y="210"/>
                  </a:lnTo>
                  <a:lnTo>
                    <a:pt x="32" y="182"/>
                  </a:lnTo>
                  <a:lnTo>
                    <a:pt x="24" y="168"/>
                  </a:lnTo>
                  <a:lnTo>
                    <a:pt x="28" y="166"/>
                  </a:lnTo>
                  <a:lnTo>
                    <a:pt x="28" y="166"/>
                  </a:lnTo>
                  <a:lnTo>
                    <a:pt x="72" y="194"/>
                  </a:lnTo>
                  <a:lnTo>
                    <a:pt x="76" y="194"/>
                  </a:lnTo>
                  <a:lnTo>
                    <a:pt x="78" y="192"/>
                  </a:lnTo>
                  <a:lnTo>
                    <a:pt x="118" y="200"/>
                  </a:lnTo>
                  <a:lnTo>
                    <a:pt x="126" y="206"/>
                  </a:lnTo>
                  <a:lnTo>
                    <a:pt x="128" y="206"/>
                  </a:lnTo>
                  <a:lnTo>
                    <a:pt x="130" y="204"/>
                  </a:lnTo>
                  <a:lnTo>
                    <a:pt x="132" y="202"/>
                  </a:lnTo>
                  <a:lnTo>
                    <a:pt x="138" y="202"/>
                  </a:lnTo>
                  <a:lnTo>
                    <a:pt x="160" y="208"/>
                  </a:lnTo>
                  <a:lnTo>
                    <a:pt x="200" y="208"/>
                  </a:lnTo>
                  <a:lnTo>
                    <a:pt x="206" y="206"/>
                  </a:lnTo>
                  <a:lnTo>
                    <a:pt x="206" y="202"/>
                  </a:lnTo>
                  <a:lnTo>
                    <a:pt x="204" y="200"/>
                  </a:lnTo>
                  <a:lnTo>
                    <a:pt x="206" y="198"/>
                  </a:lnTo>
                  <a:lnTo>
                    <a:pt x="210" y="188"/>
                  </a:lnTo>
                  <a:lnTo>
                    <a:pt x="210" y="180"/>
                  </a:lnTo>
                  <a:lnTo>
                    <a:pt x="214" y="172"/>
                  </a:lnTo>
                  <a:lnTo>
                    <a:pt x="218" y="170"/>
                  </a:lnTo>
                  <a:lnTo>
                    <a:pt x="226" y="166"/>
                  </a:lnTo>
                  <a:lnTo>
                    <a:pt x="230" y="162"/>
                  </a:lnTo>
                  <a:lnTo>
                    <a:pt x="236" y="160"/>
                  </a:lnTo>
                  <a:lnTo>
                    <a:pt x="238" y="162"/>
                  </a:lnTo>
                  <a:lnTo>
                    <a:pt x="238" y="164"/>
                  </a:lnTo>
                  <a:lnTo>
                    <a:pt x="262" y="166"/>
                  </a:lnTo>
                  <a:lnTo>
                    <a:pt x="264" y="166"/>
                  </a:lnTo>
                  <a:lnTo>
                    <a:pt x="264" y="164"/>
                  </a:lnTo>
                  <a:lnTo>
                    <a:pt x="260" y="162"/>
                  </a:lnTo>
                  <a:lnTo>
                    <a:pt x="260" y="160"/>
                  </a:lnTo>
                  <a:lnTo>
                    <a:pt x="262" y="158"/>
                  </a:lnTo>
                  <a:lnTo>
                    <a:pt x="272" y="156"/>
                  </a:lnTo>
                  <a:lnTo>
                    <a:pt x="276" y="154"/>
                  </a:lnTo>
                  <a:lnTo>
                    <a:pt x="278" y="154"/>
                  </a:lnTo>
                  <a:lnTo>
                    <a:pt x="292" y="158"/>
                  </a:lnTo>
                  <a:lnTo>
                    <a:pt x="292" y="158"/>
                  </a:lnTo>
                  <a:lnTo>
                    <a:pt x="290" y="156"/>
                  </a:lnTo>
                  <a:lnTo>
                    <a:pt x="290" y="154"/>
                  </a:lnTo>
                  <a:lnTo>
                    <a:pt x="294" y="154"/>
                  </a:lnTo>
                  <a:lnTo>
                    <a:pt x="298" y="158"/>
                  </a:lnTo>
                  <a:lnTo>
                    <a:pt x="298" y="160"/>
                  </a:lnTo>
                  <a:lnTo>
                    <a:pt x="298" y="162"/>
                  </a:lnTo>
                  <a:lnTo>
                    <a:pt x="302" y="164"/>
                  </a:lnTo>
                  <a:lnTo>
                    <a:pt x="304" y="164"/>
                  </a:lnTo>
                  <a:lnTo>
                    <a:pt x="316" y="156"/>
                  </a:lnTo>
                  <a:lnTo>
                    <a:pt x="318" y="154"/>
                  </a:lnTo>
                  <a:lnTo>
                    <a:pt x="318" y="138"/>
                  </a:lnTo>
                  <a:lnTo>
                    <a:pt x="320" y="136"/>
                  </a:lnTo>
                  <a:lnTo>
                    <a:pt x="324" y="132"/>
                  </a:lnTo>
                  <a:lnTo>
                    <a:pt x="326" y="132"/>
                  </a:lnTo>
                  <a:lnTo>
                    <a:pt x="328" y="130"/>
                  </a:lnTo>
                  <a:lnTo>
                    <a:pt x="326" y="126"/>
                  </a:lnTo>
                  <a:lnTo>
                    <a:pt x="328" y="124"/>
                  </a:lnTo>
                  <a:lnTo>
                    <a:pt x="332" y="124"/>
                  </a:lnTo>
                  <a:lnTo>
                    <a:pt x="334" y="116"/>
                  </a:lnTo>
                  <a:lnTo>
                    <a:pt x="342" y="116"/>
                  </a:lnTo>
                  <a:lnTo>
                    <a:pt x="346" y="118"/>
                  </a:lnTo>
                  <a:lnTo>
                    <a:pt x="358" y="114"/>
                  </a:lnTo>
                  <a:lnTo>
                    <a:pt x="360" y="110"/>
                  </a:lnTo>
                  <a:lnTo>
                    <a:pt x="362" y="108"/>
                  </a:lnTo>
                  <a:lnTo>
                    <a:pt x="358" y="106"/>
                  </a:lnTo>
                  <a:lnTo>
                    <a:pt x="358" y="96"/>
                  </a:lnTo>
                  <a:lnTo>
                    <a:pt x="356" y="96"/>
                  </a:lnTo>
                  <a:lnTo>
                    <a:pt x="352" y="88"/>
                  </a:lnTo>
                  <a:lnTo>
                    <a:pt x="354" y="86"/>
                  </a:lnTo>
                  <a:lnTo>
                    <a:pt x="356" y="86"/>
                  </a:lnTo>
                  <a:lnTo>
                    <a:pt x="370" y="90"/>
                  </a:lnTo>
                  <a:lnTo>
                    <a:pt x="382" y="92"/>
                  </a:lnTo>
                  <a:lnTo>
                    <a:pt x="386" y="90"/>
                  </a:lnTo>
                  <a:lnTo>
                    <a:pt x="392" y="86"/>
                  </a:lnTo>
                  <a:lnTo>
                    <a:pt x="392" y="82"/>
                  </a:lnTo>
                  <a:lnTo>
                    <a:pt x="394" y="80"/>
                  </a:lnTo>
                  <a:lnTo>
                    <a:pt x="394" y="78"/>
                  </a:lnTo>
                  <a:lnTo>
                    <a:pt x="390" y="78"/>
                  </a:lnTo>
                  <a:lnTo>
                    <a:pt x="390" y="74"/>
                  </a:lnTo>
                  <a:lnTo>
                    <a:pt x="410" y="60"/>
                  </a:lnTo>
                  <a:lnTo>
                    <a:pt x="414" y="56"/>
                  </a:lnTo>
                  <a:lnTo>
                    <a:pt x="414" y="52"/>
                  </a:lnTo>
                  <a:lnTo>
                    <a:pt x="414" y="50"/>
                  </a:lnTo>
                  <a:lnTo>
                    <a:pt x="414" y="50"/>
                  </a:lnTo>
                  <a:lnTo>
                    <a:pt x="416" y="46"/>
                  </a:lnTo>
                  <a:lnTo>
                    <a:pt x="416" y="44"/>
                  </a:lnTo>
                  <a:lnTo>
                    <a:pt x="414" y="32"/>
                  </a:lnTo>
                  <a:lnTo>
                    <a:pt x="408" y="24"/>
                  </a:lnTo>
                  <a:lnTo>
                    <a:pt x="408" y="22"/>
                  </a:lnTo>
                  <a:lnTo>
                    <a:pt x="408" y="20"/>
                  </a:lnTo>
                  <a:lnTo>
                    <a:pt x="410" y="18"/>
                  </a:lnTo>
                  <a:lnTo>
                    <a:pt x="422" y="12"/>
                  </a:lnTo>
                  <a:lnTo>
                    <a:pt x="422" y="10"/>
                  </a:lnTo>
                  <a:lnTo>
                    <a:pt x="422" y="10"/>
                  </a:lnTo>
                  <a:lnTo>
                    <a:pt x="426" y="10"/>
                  </a:lnTo>
                  <a:lnTo>
                    <a:pt x="428" y="12"/>
                  </a:lnTo>
                  <a:lnTo>
                    <a:pt x="430" y="12"/>
                  </a:lnTo>
                  <a:lnTo>
                    <a:pt x="430" y="10"/>
                  </a:lnTo>
                  <a:lnTo>
                    <a:pt x="432" y="8"/>
                  </a:lnTo>
                  <a:lnTo>
                    <a:pt x="436" y="8"/>
                  </a:lnTo>
                  <a:lnTo>
                    <a:pt x="438" y="6"/>
                  </a:lnTo>
                  <a:lnTo>
                    <a:pt x="440" y="4"/>
                  </a:lnTo>
                  <a:lnTo>
                    <a:pt x="442" y="4"/>
                  </a:lnTo>
                  <a:lnTo>
                    <a:pt x="444" y="4"/>
                  </a:lnTo>
                  <a:lnTo>
                    <a:pt x="450" y="4"/>
                  </a:lnTo>
                  <a:lnTo>
                    <a:pt x="454" y="2"/>
                  </a:lnTo>
                  <a:lnTo>
                    <a:pt x="464" y="0"/>
                  </a:lnTo>
                  <a:lnTo>
                    <a:pt x="466" y="0"/>
                  </a:lnTo>
                  <a:lnTo>
                    <a:pt x="486" y="2"/>
                  </a:lnTo>
                  <a:lnTo>
                    <a:pt x="488" y="2"/>
                  </a:lnTo>
                  <a:lnTo>
                    <a:pt x="492" y="2"/>
                  </a:lnTo>
                  <a:lnTo>
                    <a:pt x="500" y="6"/>
                  </a:lnTo>
                  <a:lnTo>
                    <a:pt x="502" y="6"/>
                  </a:lnTo>
                  <a:lnTo>
                    <a:pt x="506" y="4"/>
                  </a:lnTo>
                  <a:lnTo>
                    <a:pt x="508" y="4"/>
                  </a:lnTo>
                  <a:lnTo>
                    <a:pt x="510" y="4"/>
                  </a:lnTo>
                  <a:lnTo>
                    <a:pt x="516" y="4"/>
                  </a:lnTo>
                  <a:lnTo>
                    <a:pt x="518" y="2"/>
                  </a:lnTo>
                  <a:lnTo>
                    <a:pt x="516" y="4"/>
                  </a:lnTo>
                  <a:lnTo>
                    <a:pt x="522" y="6"/>
                  </a:lnTo>
                  <a:lnTo>
                    <a:pt x="530" y="6"/>
                  </a:lnTo>
                  <a:lnTo>
                    <a:pt x="532" y="6"/>
                  </a:lnTo>
                  <a:lnTo>
                    <a:pt x="536" y="8"/>
                  </a:lnTo>
                  <a:lnTo>
                    <a:pt x="540" y="8"/>
                  </a:lnTo>
                  <a:lnTo>
                    <a:pt x="540" y="8"/>
                  </a:lnTo>
                  <a:lnTo>
                    <a:pt x="540" y="16"/>
                  </a:lnTo>
                  <a:lnTo>
                    <a:pt x="540" y="16"/>
                  </a:lnTo>
                  <a:lnTo>
                    <a:pt x="544" y="14"/>
                  </a:lnTo>
                  <a:lnTo>
                    <a:pt x="546" y="14"/>
                  </a:lnTo>
                  <a:lnTo>
                    <a:pt x="556" y="22"/>
                  </a:lnTo>
                  <a:lnTo>
                    <a:pt x="556" y="26"/>
                  </a:lnTo>
                  <a:lnTo>
                    <a:pt x="556" y="28"/>
                  </a:lnTo>
                  <a:lnTo>
                    <a:pt x="554" y="32"/>
                  </a:lnTo>
                  <a:lnTo>
                    <a:pt x="556" y="32"/>
                  </a:lnTo>
                  <a:lnTo>
                    <a:pt x="556" y="36"/>
                  </a:lnTo>
                  <a:lnTo>
                    <a:pt x="554" y="38"/>
                  </a:lnTo>
                  <a:lnTo>
                    <a:pt x="552" y="38"/>
                  </a:lnTo>
                  <a:lnTo>
                    <a:pt x="552" y="38"/>
                  </a:lnTo>
                  <a:lnTo>
                    <a:pt x="552" y="40"/>
                  </a:lnTo>
                  <a:lnTo>
                    <a:pt x="556" y="42"/>
                  </a:lnTo>
                  <a:lnTo>
                    <a:pt x="560" y="48"/>
                  </a:lnTo>
                  <a:lnTo>
                    <a:pt x="562" y="50"/>
                  </a:lnTo>
                  <a:lnTo>
                    <a:pt x="564" y="48"/>
                  </a:lnTo>
                  <a:lnTo>
                    <a:pt x="566" y="48"/>
                  </a:lnTo>
                  <a:lnTo>
                    <a:pt x="570" y="46"/>
                  </a:lnTo>
                  <a:lnTo>
                    <a:pt x="572" y="46"/>
                  </a:lnTo>
                  <a:lnTo>
                    <a:pt x="572" y="48"/>
                  </a:lnTo>
                  <a:lnTo>
                    <a:pt x="572" y="52"/>
                  </a:lnTo>
                  <a:lnTo>
                    <a:pt x="590" y="62"/>
                  </a:lnTo>
                  <a:lnTo>
                    <a:pt x="594" y="62"/>
                  </a:lnTo>
                  <a:lnTo>
                    <a:pt x="598" y="66"/>
                  </a:lnTo>
                  <a:lnTo>
                    <a:pt x="604" y="66"/>
                  </a:lnTo>
                  <a:lnTo>
                    <a:pt x="582" y="78"/>
                  </a:lnTo>
                  <a:lnTo>
                    <a:pt x="580" y="80"/>
                  </a:lnTo>
                  <a:lnTo>
                    <a:pt x="580" y="82"/>
                  </a:lnTo>
                  <a:lnTo>
                    <a:pt x="580" y="84"/>
                  </a:lnTo>
                  <a:lnTo>
                    <a:pt x="578" y="88"/>
                  </a:lnTo>
                  <a:lnTo>
                    <a:pt x="576" y="90"/>
                  </a:lnTo>
                  <a:lnTo>
                    <a:pt x="574" y="88"/>
                  </a:lnTo>
                  <a:lnTo>
                    <a:pt x="572" y="86"/>
                  </a:lnTo>
                  <a:lnTo>
                    <a:pt x="560" y="86"/>
                  </a:lnTo>
                  <a:lnTo>
                    <a:pt x="560" y="86"/>
                  </a:lnTo>
                  <a:lnTo>
                    <a:pt x="556" y="90"/>
                  </a:lnTo>
                  <a:lnTo>
                    <a:pt x="554" y="90"/>
                  </a:lnTo>
                  <a:lnTo>
                    <a:pt x="552" y="90"/>
                  </a:lnTo>
                  <a:lnTo>
                    <a:pt x="548" y="88"/>
                  </a:lnTo>
                  <a:lnTo>
                    <a:pt x="544" y="88"/>
                  </a:lnTo>
                  <a:lnTo>
                    <a:pt x="542" y="90"/>
                  </a:lnTo>
                  <a:lnTo>
                    <a:pt x="540" y="92"/>
                  </a:lnTo>
                  <a:lnTo>
                    <a:pt x="538" y="92"/>
                  </a:lnTo>
                  <a:lnTo>
                    <a:pt x="536" y="92"/>
                  </a:lnTo>
                  <a:lnTo>
                    <a:pt x="534" y="92"/>
                  </a:lnTo>
                  <a:lnTo>
                    <a:pt x="532" y="90"/>
                  </a:lnTo>
                  <a:lnTo>
                    <a:pt x="524" y="90"/>
                  </a:lnTo>
                  <a:lnTo>
                    <a:pt x="522" y="88"/>
                  </a:lnTo>
                  <a:lnTo>
                    <a:pt x="518" y="88"/>
                  </a:lnTo>
                  <a:lnTo>
                    <a:pt x="496" y="76"/>
                  </a:lnTo>
                  <a:lnTo>
                    <a:pt x="492" y="76"/>
                  </a:lnTo>
                  <a:lnTo>
                    <a:pt x="490" y="78"/>
                  </a:lnTo>
                  <a:lnTo>
                    <a:pt x="486" y="78"/>
                  </a:lnTo>
                  <a:lnTo>
                    <a:pt x="484" y="78"/>
                  </a:lnTo>
                  <a:lnTo>
                    <a:pt x="482" y="78"/>
                  </a:lnTo>
                  <a:lnTo>
                    <a:pt x="482" y="84"/>
                  </a:lnTo>
                  <a:lnTo>
                    <a:pt x="476" y="90"/>
                  </a:lnTo>
                  <a:lnTo>
                    <a:pt x="476" y="92"/>
                  </a:lnTo>
                  <a:lnTo>
                    <a:pt x="480" y="92"/>
                  </a:lnTo>
                  <a:lnTo>
                    <a:pt x="482" y="94"/>
                  </a:lnTo>
                  <a:lnTo>
                    <a:pt x="482" y="96"/>
                  </a:lnTo>
                  <a:lnTo>
                    <a:pt x="478" y="98"/>
                  </a:lnTo>
                  <a:lnTo>
                    <a:pt x="478" y="98"/>
                  </a:lnTo>
                  <a:lnTo>
                    <a:pt x="478" y="100"/>
                  </a:lnTo>
                  <a:lnTo>
                    <a:pt x="478" y="102"/>
                  </a:lnTo>
                  <a:lnTo>
                    <a:pt x="480" y="104"/>
                  </a:lnTo>
                  <a:lnTo>
                    <a:pt x="486" y="104"/>
                  </a:lnTo>
                  <a:lnTo>
                    <a:pt x="488" y="104"/>
                  </a:lnTo>
                  <a:lnTo>
                    <a:pt x="488" y="106"/>
                  </a:lnTo>
                  <a:lnTo>
                    <a:pt x="488" y="108"/>
                  </a:lnTo>
                  <a:lnTo>
                    <a:pt x="484" y="110"/>
                  </a:lnTo>
                  <a:lnTo>
                    <a:pt x="480" y="110"/>
                  </a:lnTo>
                  <a:lnTo>
                    <a:pt x="480" y="114"/>
                  </a:lnTo>
                  <a:lnTo>
                    <a:pt x="486" y="120"/>
                  </a:lnTo>
                  <a:lnTo>
                    <a:pt x="486" y="124"/>
                  </a:lnTo>
                  <a:lnTo>
                    <a:pt x="484" y="126"/>
                  </a:lnTo>
                  <a:lnTo>
                    <a:pt x="476" y="130"/>
                  </a:lnTo>
                  <a:lnTo>
                    <a:pt x="474" y="132"/>
                  </a:lnTo>
                  <a:lnTo>
                    <a:pt x="480" y="134"/>
                  </a:lnTo>
                  <a:lnTo>
                    <a:pt x="480" y="140"/>
                  </a:lnTo>
                  <a:lnTo>
                    <a:pt x="486" y="142"/>
                  </a:lnTo>
                  <a:lnTo>
                    <a:pt x="484" y="148"/>
                  </a:lnTo>
                  <a:lnTo>
                    <a:pt x="490" y="148"/>
                  </a:lnTo>
                  <a:lnTo>
                    <a:pt x="490" y="150"/>
                  </a:lnTo>
                  <a:lnTo>
                    <a:pt x="494" y="150"/>
                  </a:lnTo>
                  <a:lnTo>
                    <a:pt x="496" y="150"/>
                  </a:lnTo>
                  <a:lnTo>
                    <a:pt x="496" y="154"/>
                  </a:lnTo>
                  <a:lnTo>
                    <a:pt x="496" y="156"/>
                  </a:lnTo>
                  <a:lnTo>
                    <a:pt x="496" y="160"/>
                  </a:lnTo>
                  <a:lnTo>
                    <a:pt x="496" y="162"/>
                  </a:lnTo>
                  <a:lnTo>
                    <a:pt x="508" y="164"/>
                  </a:lnTo>
                  <a:lnTo>
                    <a:pt x="510" y="166"/>
                  </a:lnTo>
                  <a:lnTo>
                    <a:pt x="514" y="166"/>
                  </a:lnTo>
                  <a:lnTo>
                    <a:pt x="516" y="170"/>
                  </a:lnTo>
                  <a:lnTo>
                    <a:pt x="516" y="172"/>
                  </a:lnTo>
                  <a:lnTo>
                    <a:pt x="516" y="174"/>
                  </a:lnTo>
                  <a:lnTo>
                    <a:pt x="512" y="176"/>
                  </a:lnTo>
                  <a:lnTo>
                    <a:pt x="512" y="178"/>
                  </a:lnTo>
                  <a:lnTo>
                    <a:pt x="504" y="178"/>
                  </a:lnTo>
                  <a:lnTo>
                    <a:pt x="504" y="178"/>
                  </a:lnTo>
                  <a:lnTo>
                    <a:pt x="500" y="178"/>
                  </a:lnTo>
                  <a:lnTo>
                    <a:pt x="498" y="180"/>
                  </a:lnTo>
                  <a:lnTo>
                    <a:pt x="492" y="182"/>
                  </a:lnTo>
                  <a:lnTo>
                    <a:pt x="488" y="184"/>
                  </a:lnTo>
                  <a:lnTo>
                    <a:pt x="486" y="190"/>
                  </a:lnTo>
                  <a:lnTo>
                    <a:pt x="490" y="194"/>
                  </a:lnTo>
                  <a:lnTo>
                    <a:pt x="488" y="198"/>
                  </a:lnTo>
                  <a:lnTo>
                    <a:pt x="490" y="198"/>
                  </a:lnTo>
                  <a:lnTo>
                    <a:pt x="490" y="200"/>
                  </a:lnTo>
                  <a:lnTo>
                    <a:pt x="490" y="200"/>
                  </a:lnTo>
                  <a:lnTo>
                    <a:pt x="486" y="204"/>
                  </a:lnTo>
                  <a:lnTo>
                    <a:pt x="484" y="206"/>
                  </a:lnTo>
                  <a:lnTo>
                    <a:pt x="484" y="208"/>
                  </a:lnTo>
                  <a:lnTo>
                    <a:pt x="486" y="208"/>
                  </a:lnTo>
                  <a:lnTo>
                    <a:pt x="492" y="210"/>
                  </a:lnTo>
                  <a:lnTo>
                    <a:pt x="492" y="212"/>
                  </a:lnTo>
                  <a:lnTo>
                    <a:pt x="490" y="214"/>
                  </a:lnTo>
                  <a:lnTo>
                    <a:pt x="486" y="214"/>
                  </a:lnTo>
                  <a:lnTo>
                    <a:pt x="484" y="212"/>
                  </a:lnTo>
                  <a:lnTo>
                    <a:pt x="482" y="216"/>
                  </a:lnTo>
                  <a:lnTo>
                    <a:pt x="474" y="218"/>
                  </a:lnTo>
                  <a:lnTo>
                    <a:pt x="466" y="226"/>
                  </a:lnTo>
                  <a:lnTo>
                    <a:pt x="462" y="226"/>
                  </a:lnTo>
                  <a:lnTo>
                    <a:pt x="456" y="232"/>
                  </a:lnTo>
                  <a:lnTo>
                    <a:pt x="454" y="236"/>
                  </a:lnTo>
                  <a:lnTo>
                    <a:pt x="454" y="240"/>
                  </a:lnTo>
                  <a:lnTo>
                    <a:pt x="452" y="244"/>
                  </a:lnTo>
                  <a:lnTo>
                    <a:pt x="446" y="246"/>
                  </a:lnTo>
                  <a:lnTo>
                    <a:pt x="442" y="246"/>
                  </a:lnTo>
                  <a:lnTo>
                    <a:pt x="438" y="248"/>
                  </a:lnTo>
                  <a:lnTo>
                    <a:pt x="414" y="274"/>
                  </a:lnTo>
                  <a:lnTo>
                    <a:pt x="394" y="284"/>
                  </a:lnTo>
                  <a:lnTo>
                    <a:pt x="372" y="308"/>
                  </a:lnTo>
                  <a:lnTo>
                    <a:pt x="368" y="308"/>
                  </a:lnTo>
                  <a:lnTo>
                    <a:pt x="352" y="306"/>
                  </a:lnTo>
                  <a:lnTo>
                    <a:pt x="344" y="308"/>
                  </a:lnTo>
                  <a:lnTo>
                    <a:pt x="340" y="310"/>
                  </a:lnTo>
                  <a:lnTo>
                    <a:pt x="338" y="310"/>
                  </a:lnTo>
                  <a:lnTo>
                    <a:pt x="336" y="310"/>
                  </a:lnTo>
                  <a:lnTo>
                    <a:pt x="332" y="298"/>
                  </a:lnTo>
                  <a:lnTo>
                    <a:pt x="330" y="296"/>
                  </a:lnTo>
                  <a:lnTo>
                    <a:pt x="328" y="296"/>
                  </a:lnTo>
                  <a:lnTo>
                    <a:pt x="292" y="320"/>
                  </a:lnTo>
                  <a:lnTo>
                    <a:pt x="286" y="334"/>
                  </a:lnTo>
                  <a:lnTo>
                    <a:pt x="284" y="336"/>
                  </a:lnTo>
                  <a:lnTo>
                    <a:pt x="286" y="340"/>
                  </a:lnTo>
                  <a:lnTo>
                    <a:pt x="290" y="342"/>
                  </a:lnTo>
                  <a:lnTo>
                    <a:pt x="294" y="342"/>
                  </a:lnTo>
                  <a:lnTo>
                    <a:pt x="298" y="344"/>
                  </a:lnTo>
                  <a:lnTo>
                    <a:pt x="304" y="346"/>
                  </a:lnTo>
                  <a:lnTo>
                    <a:pt x="306" y="346"/>
                  </a:lnTo>
                  <a:lnTo>
                    <a:pt x="308" y="350"/>
                  </a:lnTo>
                  <a:lnTo>
                    <a:pt x="308" y="350"/>
                  </a:lnTo>
                  <a:lnTo>
                    <a:pt x="306" y="354"/>
                  </a:lnTo>
                  <a:lnTo>
                    <a:pt x="300" y="364"/>
                  </a:lnTo>
                  <a:lnTo>
                    <a:pt x="300" y="368"/>
                  </a:lnTo>
                  <a:lnTo>
                    <a:pt x="300" y="370"/>
                  </a:lnTo>
                  <a:lnTo>
                    <a:pt x="306" y="378"/>
                  </a:lnTo>
                  <a:lnTo>
                    <a:pt x="308" y="378"/>
                  </a:lnTo>
                  <a:lnTo>
                    <a:pt x="314" y="378"/>
                  </a:lnTo>
                  <a:lnTo>
                    <a:pt x="316" y="378"/>
                  </a:lnTo>
                  <a:lnTo>
                    <a:pt x="316" y="380"/>
                  </a:lnTo>
                  <a:lnTo>
                    <a:pt x="314" y="392"/>
                  </a:lnTo>
                  <a:lnTo>
                    <a:pt x="318" y="396"/>
                  </a:lnTo>
                  <a:lnTo>
                    <a:pt x="318" y="400"/>
                  </a:lnTo>
                  <a:lnTo>
                    <a:pt x="322" y="408"/>
                  </a:lnTo>
                  <a:lnTo>
                    <a:pt x="324" y="410"/>
                  </a:lnTo>
                  <a:lnTo>
                    <a:pt x="324" y="412"/>
                  </a:lnTo>
                  <a:lnTo>
                    <a:pt x="324" y="414"/>
                  </a:lnTo>
                  <a:lnTo>
                    <a:pt x="322" y="416"/>
                  </a:lnTo>
                  <a:lnTo>
                    <a:pt x="322" y="416"/>
                  </a:lnTo>
                  <a:lnTo>
                    <a:pt x="320" y="422"/>
                  </a:lnTo>
                  <a:lnTo>
                    <a:pt x="320" y="424"/>
                  </a:lnTo>
                  <a:lnTo>
                    <a:pt x="324" y="426"/>
                  </a:lnTo>
                  <a:lnTo>
                    <a:pt x="324" y="426"/>
                  </a:lnTo>
                  <a:lnTo>
                    <a:pt x="318" y="426"/>
                  </a:lnTo>
                  <a:lnTo>
                    <a:pt x="316" y="428"/>
                  </a:lnTo>
                  <a:lnTo>
                    <a:pt x="314" y="430"/>
                  </a:lnTo>
                  <a:lnTo>
                    <a:pt x="312" y="430"/>
                  </a:lnTo>
                  <a:lnTo>
                    <a:pt x="306" y="428"/>
                  </a:lnTo>
                  <a:lnTo>
                    <a:pt x="304" y="428"/>
                  </a:lnTo>
                  <a:lnTo>
                    <a:pt x="304" y="426"/>
                  </a:lnTo>
                  <a:lnTo>
                    <a:pt x="306" y="422"/>
                  </a:lnTo>
                  <a:lnTo>
                    <a:pt x="306" y="422"/>
                  </a:lnTo>
                  <a:lnTo>
                    <a:pt x="302" y="420"/>
                  </a:lnTo>
                  <a:lnTo>
                    <a:pt x="290" y="422"/>
                  </a:lnTo>
                  <a:lnTo>
                    <a:pt x="286" y="426"/>
                  </a:lnTo>
                  <a:lnTo>
                    <a:pt x="286" y="428"/>
                  </a:lnTo>
                  <a:lnTo>
                    <a:pt x="274" y="426"/>
                  </a:lnTo>
                  <a:lnTo>
                    <a:pt x="270" y="420"/>
                  </a:lnTo>
                  <a:lnTo>
                    <a:pt x="266" y="420"/>
                  </a:lnTo>
                  <a:lnTo>
                    <a:pt x="264" y="420"/>
                  </a:lnTo>
                  <a:lnTo>
                    <a:pt x="256" y="418"/>
                  </a:lnTo>
                  <a:lnTo>
                    <a:pt x="254" y="418"/>
                  </a:lnTo>
                  <a:lnTo>
                    <a:pt x="250" y="418"/>
                  </a:lnTo>
                  <a:lnTo>
                    <a:pt x="246" y="416"/>
                  </a:lnTo>
                  <a:lnTo>
                    <a:pt x="246" y="416"/>
                  </a:lnTo>
                  <a:lnTo>
                    <a:pt x="244" y="416"/>
                  </a:lnTo>
                  <a:lnTo>
                    <a:pt x="244" y="414"/>
                  </a:lnTo>
                  <a:lnTo>
                    <a:pt x="242" y="412"/>
                  </a:lnTo>
                  <a:lnTo>
                    <a:pt x="240" y="416"/>
                  </a:lnTo>
                  <a:lnTo>
                    <a:pt x="238" y="426"/>
                  </a:lnTo>
                  <a:lnTo>
                    <a:pt x="226" y="424"/>
                  </a:lnTo>
                  <a:lnTo>
                    <a:pt x="224" y="424"/>
                  </a:lnTo>
                  <a:lnTo>
                    <a:pt x="220" y="422"/>
                  </a:lnTo>
                  <a:lnTo>
                    <a:pt x="218" y="424"/>
                  </a:lnTo>
                  <a:lnTo>
                    <a:pt x="216" y="426"/>
                  </a:lnTo>
                  <a:lnTo>
                    <a:pt x="216" y="428"/>
                  </a:lnTo>
                  <a:lnTo>
                    <a:pt x="212" y="428"/>
                  </a:lnTo>
                  <a:lnTo>
                    <a:pt x="208" y="428"/>
                  </a:lnTo>
                  <a:lnTo>
                    <a:pt x="202" y="424"/>
                  </a:lnTo>
                  <a:lnTo>
                    <a:pt x="194" y="422"/>
                  </a:lnTo>
                  <a:lnTo>
                    <a:pt x="192" y="420"/>
                  </a:lnTo>
                  <a:lnTo>
                    <a:pt x="192" y="414"/>
                  </a:lnTo>
                  <a:lnTo>
                    <a:pt x="188" y="412"/>
                  </a:lnTo>
                  <a:lnTo>
                    <a:pt x="186" y="394"/>
                  </a:lnTo>
                  <a:lnTo>
                    <a:pt x="186" y="390"/>
                  </a:lnTo>
                  <a:lnTo>
                    <a:pt x="184" y="390"/>
                  </a:lnTo>
                  <a:lnTo>
                    <a:pt x="174" y="382"/>
                  </a:lnTo>
                  <a:lnTo>
                    <a:pt x="174" y="370"/>
                  </a:lnTo>
                  <a:lnTo>
                    <a:pt x="174" y="366"/>
                  </a:lnTo>
                  <a:lnTo>
                    <a:pt x="166" y="360"/>
                  </a:lnTo>
                  <a:lnTo>
                    <a:pt x="134" y="354"/>
                  </a:lnTo>
                  <a:lnTo>
                    <a:pt x="122" y="356"/>
                  </a:lnTo>
                  <a:lnTo>
                    <a:pt x="108" y="350"/>
                  </a:lnTo>
                  <a:lnTo>
                    <a:pt x="102" y="356"/>
                  </a:lnTo>
                  <a:lnTo>
                    <a:pt x="100" y="352"/>
                  </a:lnTo>
                  <a:lnTo>
                    <a:pt x="92" y="350"/>
                  </a:lnTo>
                  <a:lnTo>
                    <a:pt x="88" y="344"/>
                  </a:lnTo>
                  <a:lnTo>
                    <a:pt x="72" y="340"/>
                  </a:lnTo>
                  <a:lnTo>
                    <a:pt x="64" y="344"/>
                  </a:lnTo>
                  <a:lnTo>
                    <a:pt x="32" y="334"/>
                  </a:lnTo>
                  <a:lnTo>
                    <a:pt x="22" y="336"/>
                  </a:lnTo>
                  <a:lnTo>
                    <a:pt x="18" y="332"/>
                  </a:lnTo>
                  <a:lnTo>
                    <a:pt x="12" y="334"/>
                  </a:lnTo>
                  <a:lnTo>
                    <a:pt x="6" y="334"/>
                  </a:lnTo>
                  <a:lnTo>
                    <a:pt x="2" y="334"/>
                  </a:lnTo>
                  <a:lnTo>
                    <a:pt x="2" y="330"/>
                  </a:lnTo>
                  <a:lnTo>
                    <a:pt x="0" y="33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69" name="Freeform 421"/>
            <p:cNvSpPr>
              <a:spLocks/>
            </p:cNvSpPr>
            <p:nvPr/>
          </p:nvSpPr>
          <p:spPr bwMode="auto">
            <a:xfrm>
              <a:off x="2897188" y="4008438"/>
              <a:ext cx="1039813" cy="682625"/>
            </a:xfrm>
            <a:custGeom>
              <a:avLst/>
              <a:gdLst>
                <a:gd name="T0" fmla="*/ 74 w 604"/>
                <a:gd name="T1" fmla="*/ 286 h 430"/>
                <a:gd name="T2" fmla="*/ 66 w 604"/>
                <a:gd name="T3" fmla="*/ 232 h 430"/>
                <a:gd name="T4" fmla="*/ 28 w 604"/>
                <a:gd name="T5" fmla="*/ 166 h 430"/>
                <a:gd name="T6" fmla="*/ 128 w 604"/>
                <a:gd name="T7" fmla="*/ 206 h 430"/>
                <a:gd name="T8" fmla="*/ 206 w 604"/>
                <a:gd name="T9" fmla="*/ 206 h 430"/>
                <a:gd name="T10" fmla="*/ 214 w 604"/>
                <a:gd name="T11" fmla="*/ 172 h 430"/>
                <a:gd name="T12" fmla="*/ 238 w 604"/>
                <a:gd name="T13" fmla="*/ 164 h 430"/>
                <a:gd name="T14" fmla="*/ 262 w 604"/>
                <a:gd name="T15" fmla="*/ 158 h 430"/>
                <a:gd name="T16" fmla="*/ 290 w 604"/>
                <a:gd name="T17" fmla="*/ 156 h 430"/>
                <a:gd name="T18" fmla="*/ 302 w 604"/>
                <a:gd name="T19" fmla="*/ 164 h 430"/>
                <a:gd name="T20" fmla="*/ 324 w 604"/>
                <a:gd name="T21" fmla="*/ 132 h 430"/>
                <a:gd name="T22" fmla="*/ 334 w 604"/>
                <a:gd name="T23" fmla="*/ 116 h 430"/>
                <a:gd name="T24" fmla="*/ 358 w 604"/>
                <a:gd name="T25" fmla="*/ 106 h 430"/>
                <a:gd name="T26" fmla="*/ 370 w 604"/>
                <a:gd name="T27" fmla="*/ 90 h 430"/>
                <a:gd name="T28" fmla="*/ 394 w 604"/>
                <a:gd name="T29" fmla="*/ 78 h 430"/>
                <a:gd name="T30" fmla="*/ 414 w 604"/>
                <a:gd name="T31" fmla="*/ 50 h 430"/>
                <a:gd name="T32" fmla="*/ 408 w 604"/>
                <a:gd name="T33" fmla="*/ 22 h 430"/>
                <a:gd name="T34" fmla="*/ 426 w 604"/>
                <a:gd name="T35" fmla="*/ 10 h 430"/>
                <a:gd name="T36" fmla="*/ 438 w 604"/>
                <a:gd name="T37" fmla="*/ 6 h 430"/>
                <a:gd name="T38" fmla="*/ 464 w 604"/>
                <a:gd name="T39" fmla="*/ 0 h 430"/>
                <a:gd name="T40" fmla="*/ 502 w 604"/>
                <a:gd name="T41" fmla="*/ 6 h 430"/>
                <a:gd name="T42" fmla="*/ 516 w 604"/>
                <a:gd name="T43" fmla="*/ 4 h 430"/>
                <a:gd name="T44" fmla="*/ 540 w 604"/>
                <a:gd name="T45" fmla="*/ 8 h 430"/>
                <a:gd name="T46" fmla="*/ 556 w 604"/>
                <a:gd name="T47" fmla="*/ 26 h 430"/>
                <a:gd name="T48" fmla="*/ 552 w 604"/>
                <a:gd name="T49" fmla="*/ 38 h 430"/>
                <a:gd name="T50" fmla="*/ 564 w 604"/>
                <a:gd name="T51" fmla="*/ 48 h 430"/>
                <a:gd name="T52" fmla="*/ 590 w 604"/>
                <a:gd name="T53" fmla="*/ 62 h 430"/>
                <a:gd name="T54" fmla="*/ 580 w 604"/>
                <a:gd name="T55" fmla="*/ 82 h 430"/>
                <a:gd name="T56" fmla="*/ 560 w 604"/>
                <a:gd name="T57" fmla="*/ 86 h 430"/>
                <a:gd name="T58" fmla="*/ 544 w 604"/>
                <a:gd name="T59" fmla="*/ 88 h 430"/>
                <a:gd name="T60" fmla="*/ 532 w 604"/>
                <a:gd name="T61" fmla="*/ 90 h 430"/>
                <a:gd name="T62" fmla="*/ 490 w 604"/>
                <a:gd name="T63" fmla="*/ 78 h 430"/>
                <a:gd name="T64" fmla="*/ 476 w 604"/>
                <a:gd name="T65" fmla="*/ 92 h 430"/>
                <a:gd name="T66" fmla="*/ 478 w 604"/>
                <a:gd name="T67" fmla="*/ 100 h 430"/>
                <a:gd name="T68" fmla="*/ 488 w 604"/>
                <a:gd name="T69" fmla="*/ 108 h 430"/>
                <a:gd name="T70" fmla="*/ 484 w 604"/>
                <a:gd name="T71" fmla="*/ 126 h 430"/>
                <a:gd name="T72" fmla="*/ 484 w 604"/>
                <a:gd name="T73" fmla="*/ 148 h 430"/>
                <a:gd name="T74" fmla="*/ 496 w 604"/>
                <a:gd name="T75" fmla="*/ 156 h 430"/>
                <a:gd name="T76" fmla="*/ 516 w 604"/>
                <a:gd name="T77" fmla="*/ 170 h 430"/>
                <a:gd name="T78" fmla="*/ 504 w 604"/>
                <a:gd name="T79" fmla="*/ 178 h 430"/>
                <a:gd name="T80" fmla="*/ 490 w 604"/>
                <a:gd name="T81" fmla="*/ 194 h 430"/>
                <a:gd name="T82" fmla="*/ 484 w 604"/>
                <a:gd name="T83" fmla="*/ 206 h 430"/>
                <a:gd name="T84" fmla="*/ 486 w 604"/>
                <a:gd name="T85" fmla="*/ 214 h 430"/>
                <a:gd name="T86" fmla="*/ 456 w 604"/>
                <a:gd name="T87" fmla="*/ 232 h 430"/>
                <a:gd name="T88" fmla="*/ 438 w 604"/>
                <a:gd name="T89" fmla="*/ 248 h 430"/>
                <a:gd name="T90" fmla="*/ 344 w 604"/>
                <a:gd name="T91" fmla="*/ 308 h 430"/>
                <a:gd name="T92" fmla="*/ 328 w 604"/>
                <a:gd name="T93" fmla="*/ 296 h 430"/>
                <a:gd name="T94" fmla="*/ 294 w 604"/>
                <a:gd name="T95" fmla="*/ 342 h 430"/>
                <a:gd name="T96" fmla="*/ 306 w 604"/>
                <a:gd name="T97" fmla="*/ 354 h 430"/>
                <a:gd name="T98" fmla="*/ 314 w 604"/>
                <a:gd name="T99" fmla="*/ 378 h 430"/>
                <a:gd name="T100" fmla="*/ 322 w 604"/>
                <a:gd name="T101" fmla="*/ 408 h 430"/>
                <a:gd name="T102" fmla="*/ 320 w 604"/>
                <a:gd name="T103" fmla="*/ 422 h 430"/>
                <a:gd name="T104" fmla="*/ 314 w 604"/>
                <a:gd name="T105" fmla="*/ 430 h 430"/>
                <a:gd name="T106" fmla="*/ 306 w 604"/>
                <a:gd name="T107" fmla="*/ 422 h 430"/>
                <a:gd name="T108" fmla="*/ 270 w 604"/>
                <a:gd name="T109" fmla="*/ 420 h 430"/>
                <a:gd name="T110" fmla="*/ 246 w 604"/>
                <a:gd name="T111" fmla="*/ 416 h 430"/>
                <a:gd name="T112" fmla="*/ 238 w 604"/>
                <a:gd name="T113" fmla="*/ 426 h 430"/>
                <a:gd name="T114" fmla="*/ 216 w 604"/>
                <a:gd name="T115" fmla="*/ 428 h 430"/>
                <a:gd name="T116" fmla="*/ 192 w 604"/>
                <a:gd name="T117" fmla="*/ 414 h 430"/>
                <a:gd name="T118" fmla="*/ 174 w 604"/>
                <a:gd name="T119" fmla="*/ 370 h 430"/>
                <a:gd name="T120" fmla="*/ 102 w 604"/>
                <a:gd name="T121" fmla="*/ 356 h 430"/>
                <a:gd name="T122" fmla="*/ 32 w 604"/>
                <a:gd name="T123" fmla="*/ 334 h 430"/>
                <a:gd name="T124" fmla="*/ 2 w 604"/>
                <a:gd name="T125" fmla="*/ 3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4" h="430">
                  <a:moveTo>
                    <a:pt x="0" y="330"/>
                  </a:moveTo>
                  <a:lnTo>
                    <a:pt x="4" y="322"/>
                  </a:lnTo>
                  <a:lnTo>
                    <a:pt x="18" y="300"/>
                  </a:lnTo>
                  <a:lnTo>
                    <a:pt x="36" y="292"/>
                  </a:lnTo>
                  <a:lnTo>
                    <a:pt x="62" y="290"/>
                  </a:lnTo>
                  <a:lnTo>
                    <a:pt x="74" y="286"/>
                  </a:lnTo>
                  <a:lnTo>
                    <a:pt x="76" y="282"/>
                  </a:lnTo>
                  <a:lnTo>
                    <a:pt x="76" y="276"/>
                  </a:lnTo>
                  <a:lnTo>
                    <a:pt x="74" y="274"/>
                  </a:lnTo>
                  <a:lnTo>
                    <a:pt x="64" y="268"/>
                  </a:lnTo>
                  <a:lnTo>
                    <a:pt x="70" y="238"/>
                  </a:lnTo>
                  <a:lnTo>
                    <a:pt x="66" y="232"/>
                  </a:lnTo>
                  <a:lnTo>
                    <a:pt x="44" y="218"/>
                  </a:lnTo>
                  <a:lnTo>
                    <a:pt x="38" y="210"/>
                  </a:lnTo>
                  <a:lnTo>
                    <a:pt x="32" y="182"/>
                  </a:lnTo>
                  <a:lnTo>
                    <a:pt x="24" y="168"/>
                  </a:lnTo>
                  <a:lnTo>
                    <a:pt x="28" y="166"/>
                  </a:lnTo>
                  <a:lnTo>
                    <a:pt x="28" y="166"/>
                  </a:lnTo>
                  <a:lnTo>
                    <a:pt x="72" y="194"/>
                  </a:lnTo>
                  <a:lnTo>
                    <a:pt x="76" y="194"/>
                  </a:lnTo>
                  <a:lnTo>
                    <a:pt x="78" y="192"/>
                  </a:lnTo>
                  <a:lnTo>
                    <a:pt x="118" y="200"/>
                  </a:lnTo>
                  <a:lnTo>
                    <a:pt x="126" y="206"/>
                  </a:lnTo>
                  <a:lnTo>
                    <a:pt x="128" y="206"/>
                  </a:lnTo>
                  <a:lnTo>
                    <a:pt x="130" y="204"/>
                  </a:lnTo>
                  <a:lnTo>
                    <a:pt x="132" y="202"/>
                  </a:lnTo>
                  <a:lnTo>
                    <a:pt x="138" y="202"/>
                  </a:lnTo>
                  <a:lnTo>
                    <a:pt x="160" y="208"/>
                  </a:lnTo>
                  <a:lnTo>
                    <a:pt x="200" y="208"/>
                  </a:lnTo>
                  <a:lnTo>
                    <a:pt x="206" y="206"/>
                  </a:lnTo>
                  <a:lnTo>
                    <a:pt x="206" y="202"/>
                  </a:lnTo>
                  <a:lnTo>
                    <a:pt x="204" y="200"/>
                  </a:lnTo>
                  <a:lnTo>
                    <a:pt x="206" y="198"/>
                  </a:lnTo>
                  <a:lnTo>
                    <a:pt x="210" y="188"/>
                  </a:lnTo>
                  <a:lnTo>
                    <a:pt x="210" y="180"/>
                  </a:lnTo>
                  <a:lnTo>
                    <a:pt x="214" y="172"/>
                  </a:lnTo>
                  <a:lnTo>
                    <a:pt x="218" y="170"/>
                  </a:lnTo>
                  <a:lnTo>
                    <a:pt x="226" y="166"/>
                  </a:lnTo>
                  <a:lnTo>
                    <a:pt x="230" y="162"/>
                  </a:lnTo>
                  <a:lnTo>
                    <a:pt x="236" y="160"/>
                  </a:lnTo>
                  <a:lnTo>
                    <a:pt x="238" y="162"/>
                  </a:lnTo>
                  <a:lnTo>
                    <a:pt x="238" y="164"/>
                  </a:lnTo>
                  <a:lnTo>
                    <a:pt x="262" y="166"/>
                  </a:lnTo>
                  <a:lnTo>
                    <a:pt x="264" y="166"/>
                  </a:lnTo>
                  <a:lnTo>
                    <a:pt x="264" y="164"/>
                  </a:lnTo>
                  <a:lnTo>
                    <a:pt x="260" y="162"/>
                  </a:lnTo>
                  <a:lnTo>
                    <a:pt x="260" y="160"/>
                  </a:lnTo>
                  <a:lnTo>
                    <a:pt x="262" y="158"/>
                  </a:lnTo>
                  <a:lnTo>
                    <a:pt x="272" y="156"/>
                  </a:lnTo>
                  <a:lnTo>
                    <a:pt x="276" y="154"/>
                  </a:lnTo>
                  <a:lnTo>
                    <a:pt x="278" y="154"/>
                  </a:lnTo>
                  <a:lnTo>
                    <a:pt x="292" y="158"/>
                  </a:lnTo>
                  <a:lnTo>
                    <a:pt x="292" y="158"/>
                  </a:lnTo>
                  <a:lnTo>
                    <a:pt x="290" y="156"/>
                  </a:lnTo>
                  <a:lnTo>
                    <a:pt x="290" y="154"/>
                  </a:lnTo>
                  <a:lnTo>
                    <a:pt x="294" y="154"/>
                  </a:lnTo>
                  <a:lnTo>
                    <a:pt x="298" y="158"/>
                  </a:lnTo>
                  <a:lnTo>
                    <a:pt x="298" y="160"/>
                  </a:lnTo>
                  <a:lnTo>
                    <a:pt x="298" y="162"/>
                  </a:lnTo>
                  <a:lnTo>
                    <a:pt x="302" y="164"/>
                  </a:lnTo>
                  <a:lnTo>
                    <a:pt x="304" y="164"/>
                  </a:lnTo>
                  <a:lnTo>
                    <a:pt x="316" y="156"/>
                  </a:lnTo>
                  <a:lnTo>
                    <a:pt x="318" y="154"/>
                  </a:lnTo>
                  <a:lnTo>
                    <a:pt x="318" y="138"/>
                  </a:lnTo>
                  <a:lnTo>
                    <a:pt x="320" y="136"/>
                  </a:lnTo>
                  <a:lnTo>
                    <a:pt x="324" y="132"/>
                  </a:lnTo>
                  <a:lnTo>
                    <a:pt x="326" y="132"/>
                  </a:lnTo>
                  <a:lnTo>
                    <a:pt x="328" y="130"/>
                  </a:lnTo>
                  <a:lnTo>
                    <a:pt x="326" y="126"/>
                  </a:lnTo>
                  <a:lnTo>
                    <a:pt x="328" y="124"/>
                  </a:lnTo>
                  <a:lnTo>
                    <a:pt x="332" y="124"/>
                  </a:lnTo>
                  <a:lnTo>
                    <a:pt x="334" y="116"/>
                  </a:lnTo>
                  <a:lnTo>
                    <a:pt x="342" y="116"/>
                  </a:lnTo>
                  <a:lnTo>
                    <a:pt x="346" y="118"/>
                  </a:lnTo>
                  <a:lnTo>
                    <a:pt x="358" y="114"/>
                  </a:lnTo>
                  <a:lnTo>
                    <a:pt x="360" y="110"/>
                  </a:lnTo>
                  <a:lnTo>
                    <a:pt x="362" y="108"/>
                  </a:lnTo>
                  <a:lnTo>
                    <a:pt x="358" y="106"/>
                  </a:lnTo>
                  <a:lnTo>
                    <a:pt x="358" y="96"/>
                  </a:lnTo>
                  <a:lnTo>
                    <a:pt x="356" y="96"/>
                  </a:lnTo>
                  <a:lnTo>
                    <a:pt x="352" y="88"/>
                  </a:lnTo>
                  <a:lnTo>
                    <a:pt x="354" y="86"/>
                  </a:lnTo>
                  <a:lnTo>
                    <a:pt x="356" y="86"/>
                  </a:lnTo>
                  <a:lnTo>
                    <a:pt x="370" y="90"/>
                  </a:lnTo>
                  <a:lnTo>
                    <a:pt x="382" y="92"/>
                  </a:lnTo>
                  <a:lnTo>
                    <a:pt x="386" y="90"/>
                  </a:lnTo>
                  <a:lnTo>
                    <a:pt x="392" y="86"/>
                  </a:lnTo>
                  <a:lnTo>
                    <a:pt x="392" y="82"/>
                  </a:lnTo>
                  <a:lnTo>
                    <a:pt x="394" y="80"/>
                  </a:lnTo>
                  <a:lnTo>
                    <a:pt x="394" y="78"/>
                  </a:lnTo>
                  <a:lnTo>
                    <a:pt x="390" y="78"/>
                  </a:lnTo>
                  <a:lnTo>
                    <a:pt x="390" y="74"/>
                  </a:lnTo>
                  <a:lnTo>
                    <a:pt x="410" y="60"/>
                  </a:lnTo>
                  <a:lnTo>
                    <a:pt x="414" y="56"/>
                  </a:lnTo>
                  <a:lnTo>
                    <a:pt x="414" y="52"/>
                  </a:lnTo>
                  <a:lnTo>
                    <a:pt x="414" y="50"/>
                  </a:lnTo>
                  <a:lnTo>
                    <a:pt x="414" y="50"/>
                  </a:lnTo>
                  <a:lnTo>
                    <a:pt x="416" y="46"/>
                  </a:lnTo>
                  <a:lnTo>
                    <a:pt x="416" y="44"/>
                  </a:lnTo>
                  <a:lnTo>
                    <a:pt x="414" y="32"/>
                  </a:lnTo>
                  <a:lnTo>
                    <a:pt x="408" y="24"/>
                  </a:lnTo>
                  <a:lnTo>
                    <a:pt x="408" y="22"/>
                  </a:lnTo>
                  <a:lnTo>
                    <a:pt x="408" y="20"/>
                  </a:lnTo>
                  <a:lnTo>
                    <a:pt x="410" y="18"/>
                  </a:lnTo>
                  <a:lnTo>
                    <a:pt x="422" y="12"/>
                  </a:lnTo>
                  <a:lnTo>
                    <a:pt x="422" y="10"/>
                  </a:lnTo>
                  <a:lnTo>
                    <a:pt x="422" y="10"/>
                  </a:lnTo>
                  <a:lnTo>
                    <a:pt x="426" y="10"/>
                  </a:lnTo>
                  <a:lnTo>
                    <a:pt x="428" y="12"/>
                  </a:lnTo>
                  <a:lnTo>
                    <a:pt x="430" y="12"/>
                  </a:lnTo>
                  <a:lnTo>
                    <a:pt x="430" y="10"/>
                  </a:lnTo>
                  <a:lnTo>
                    <a:pt x="432" y="8"/>
                  </a:lnTo>
                  <a:lnTo>
                    <a:pt x="436" y="8"/>
                  </a:lnTo>
                  <a:lnTo>
                    <a:pt x="438" y="6"/>
                  </a:lnTo>
                  <a:lnTo>
                    <a:pt x="440" y="4"/>
                  </a:lnTo>
                  <a:lnTo>
                    <a:pt x="442" y="4"/>
                  </a:lnTo>
                  <a:lnTo>
                    <a:pt x="444" y="4"/>
                  </a:lnTo>
                  <a:lnTo>
                    <a:pt x="450" y="4"/>
                  </a:lnTo>
                  <a:lnTo>
                    <a:pt x="454" y="2"/>
                  </a:lnTo>
                  <a:lnTo>
                    <a:pt x="464" y="0"/>
                  </a:lnTo>
                  <a:lnTo>
                    <a:pt x="466" y="0"/>
                  </a:lnTo>
                  <a:lnTo>
                    <a:pt x="486" y="2"/>
                  </a:lnTo>
                  <a:lnTo>
                    <a:pt x="488" y="2"/>
                  </a:lnTo>
                  <a:lnTo>
                    <a:pt x="492" y="2"/>
                  </a:lnTo>
                  <a:lnTo>
                    <a:pt x="500" y="6"/>
                  </a:lnTo>
                  <a:lnTo>
                    <a:pt x="502" y="6"/>
                  </a:lnTo>
                  <a:lnTo>
                    <a:pt x="506" y="4"/>
                  </a:lnTo>
                  <a:lnTo>
                    <a:pt x="508" y="4"/>
                  </a:lnTo>
                  <a:lnTo>
                    <a:pt x="510" y="4"/>
                  </a:lnTo>
                  <a:lnTo>
                    <a:pt x="516" y="4"/>
                  </a:lnTo>
                  <a:lnTo>
                    <a:pt x="518" y="2"/>
                  </a:lnTo>
                  <a:lnTo>
                    <a:pt x="516" y="4"/>
                  </a:lnTo>
                  <a:lnTo>
                    <a:pt x="522" y="6"/>
                  </a:lnTo>
                  <a:lnTo>
                    <a:pt x="530" y="6"/>
                  </a:lnTo>
                  <a:lnTo>
                    <a:pt x="532" y="6"/>
                  </a:lnTo>
                  <a:lnTo>
                    <a:pt x="536" y="8"/>
                  </a:lnTo>
                  <a:lnTo>
                    <a:pt x="540" y="8"/>
                  </a:lnTo>
                  <a:lnTo>
                    <a:pt x="540" y="8"/>
                  </a:lnTo>
                  <a:lnTo>
                    <a:pt x="540" y="16"/>
                  </a:lnTo>
                  <a:lnTo>
                    <a:pt x="540" y="16"/>
                  </a:lnTo>
                  <a:lnTo>
                    <a:pt x="544" y="14"/>
                  </a:lnTo>
                  <a:lnTo>
                    <a:pt x="546" y="14"/>
                  </a:lnTo>
                  <a:lnTo>
                    <a:pt x="556" y="22"/>
                  </a:lnTo>
                  <a:lnTo>
                    <a:pt x="556" y="26"/>
                  </a:lnTo>
                  <a:lnTo>
                    <a:pt x="556" y="28"/>
                  </a:lnTo>
                  <a:lnTo>
                    <a:pt x="554" y="32"/>
                  </a:lnTo>
                  <a:lnTo>
                    <a:pt x="556" y="32"/>
                  </a:lnTo>
                  <a:lnTo>
                    <a:pt x="556" y="36"/>
                  </a:lnTo>
                  <a:lnTo>
                    <a:pt x="554" y="38"/>
                  </a:lnTo>
                  <a:lnTo>
                    <a:pt x="552" y="38"/>
                  </a:lnTo>
                  <a:lnTo>
                    <a:pt x="552" y="38"/>
                  </a:lnTo>
                  <a:lnTo>
                    <a:pt x="552" y="40"/>
                  </a:lnTo>
                  <a:lnTo>
                    <a:pt x="556" y="42"/>
                  </a:lnTo>
                  <a:lnTo>
                    <a:pt x="560" y="48"/>
                  </a:lnTo>
                  <a:lnTo>
                    <a:pt x="562" y="50"/>
                  </a:lnTo>
                  <a:lnTo>
                    <a:pt x="564" y="48"/>
                  </a:lnTo>
                  <a:lnTo>
                    <a:pt x="566" y="48"/>
                  </a:lnTo>
                  <a:lnTo>
                    <a:pt x="570" y="46"/>
                  </a:lnTo>
                  <a:lnTo>
                    <a:pt x="572" y="46"/>
                  </a:lnTo>
                  <a:lnTo>
                    <a:pt x="572" y="48"/>
                  </a:lnTo>
                  <a:lnTo>
                    <a:pt x="572" y="52"/>
                  </a:lnTo>
                  <a:lnTo>
                    <a:pt x="590" y="62"/>
                  </a:lnTo>
                  <a:lnTo>
                    <a:pt x="594" y="62"/>
                  </a:lnTo>
                  <a:lnTo>
                    <a:pt x="598" y="66"/>
                  </a:lnTo>
                  <a:lnTo>
                    <a:pt x="604" y="66"/>
                  </a:lnTo>
                  <a:lnTo>
                    <a:pt x="582" y="78"/>
                  </a:lnTo>
                  <a:lnTo>
                    <a:pt x="580" y="80"/>
                  </a:lnTo>
                  <a:lnTo>
                    <a:pt x="580" y="82"/>
                  </a:lnTo>
                  <a:lnTo>
                    <a:pt x="580" y="84"/>
                  </a:lnTo>
                  <a:lnTo>
                    <a:pt x="578" y="88"/>
                  </a:lnTo>
                  <a:lnTo>
                    <a:pt x="576" y="90"/>
                  </a:lnTo>
                  <a:lnTo>
                    <a:pt x="574" y="88"/>
                  </a:lnTo>
                  <a:lnTo>
                    <a:pt x="572" y="86"/>
                  </a:lnTo>
                  <a:lnTo>
                    <a:pt x="560" y="86"/>
                  </a:lnTo>
                  <a:lnTo>
                    <a:pt x="560" y="86"/>
                  </a:lnTo>
                  <a:lnTo>
                    <a:pt x="556" y="90"/>
                  </a:lnTo>
                  <a:lnTo>
                    <a:pt x="554" y="90"/>
                  </a:lnTo>
                  <a:lnTo>
                    <a:pt x="552" y="90"/>
                  </a:lnTo>
                  <a:lnTo>
                    <a:pt x="548" y="88"/>
                  </a:lnTo>
                  <a:lnTo>
                    <a:pt x="544" y="88"/>
                  </a:lnTo>
                  <a:lnTo>
                    <a:pt x="542" y="90"/>
                  </a:lnTo>
                  <a:lnTo>
                    <a:pt x="540" y="92"/>
                  </a:lnTo>
                  <a:lnTo>
                    <a:pt x="538" y="92"/>
                  </a:lnTo>
                  <a:lnTo>
                    <a:pt x="536" y="92"/>
                  </a:lnTo>
                  <a:lnTo>
                    <a:pt x="534" y="92"/>
                  </a:lnTo>
                  <a:lnTo>
                    <a:pt x="532" y="90"/>
                  </a:lnTo>
                  <a:lnTo>
                    <a:pt x="524" y="90"/>
                  </a:lnTo>
                  <a:lnTo>
                    <a:pt x="522" y="88"/>
                  </a:lnTo>
                  <a:lnTo>
                    <a:pt x="518" y="88"/>
                  </a:lnTo>
                  <a:lnTo>
                    <a:pt x="496" y="76"/>
                  </a:lnTo>
                  <a:lnTo>
                    <a:pt x="492" y="76"/>
                  </a:lnTo>
                  <a:lnTo>
                    <a:pt x="490" y="78"/>
                  </a:lnTo>
                  <a:lnTo>
                    <a:pt x="486" y="78"/>
                  </a:lnTo>
                  <a:lnTo>
                    <a:pt x="484" y="78"/>
                  </a:lnTo>
                  <a:lnTo>
                    <a:pt x="482" y="78"/>
                  </a:lnTo>
                  <a:lnTo>
                    <a:pt x="482" y="84"/>
                  </a:lnTo>
                  <a:lnTo>
                    <a:pt x="476" y="90"/>
                  </a:lnTo>
                  <a:lnTo>
                    <a:pt x="476" y="92"/>
                  </a:lnTo>
                  <a:lnTo>
                    <a:pt x="480" y="92"/>
                  </a:lnTo>
                  <a:lnTo>
                    <a:pt x="482" y="94"/>
                  </a:lnTo>
                  <a:lnTo>
                    <a:pt x="482" y="96"/>
                  </a:lnTo>
                  <a:lnTo>
                    <a:pt x="478" y="98"/>
                  </a:lnTo>
                  <a:lnTo>
                    <a:pt x="478" y="98"/>
                  </a:lnTo>
                  <a:lnTo>
                    <a:pt x="478" y="100"/>
                  </a:lnTo>
                  <a:lnTo>
                    <a:pt x="478" y="102"/>
                  </a:lnTo>
                  <a:lnTo>
                    <a:pt x="480" y="104"/>
                  </a:lnTo>
                  <a:lnTo>
                    <a:pt x="486" y="104"/>
                  </a:lnTo>
                  <a:lnTo>
                    <a:pt x="488" y="104"/>
                  </a:lnTo>
                  <a:lnTo>
                    <a:pt x="488" y="106"/>
                  </a:lnTo>
                  <a:lnTo>
                    <a:pt x="488" y="108"/>
                  </a:lnTo>
                  <a:lnTo>
                    <a:pt x="484" y="110"/>
                  </a:lnTo>
                  <a:lnTo>
                    <a:pt x="480" y="110"/>
                  </a:lnTo>
                  <a:lnTo>
                    <a:pt x="480" y="114"/>
                  </a:lnTo>
                  <a:lnTo>
                    <a:pt x="486" y="120"/>
                  </a:lnTo>
                  <a:lnTo>
                    <a:pt x="486" y="124"/>
                  </a:lnTo>
                  <a:lnTo>
                    <a:pt x="484" y="126"/>
                  </a:lnTo>
                  <a:lnTo>
                    <a:pt x="476" y="130"/>
                  </a:lnTo>
                  <a:lnTo>
                    <a:pt x="474" y="132"/>
                  </a:lnTo>
                  <a:lnTo>
                    <a:pt x="480" y="134"/>
                  </a:lnTo>
                  <a:lnTo>
                    <a:pt x="480" y="140"/>
                  </a:lnTo>
                  <a:lnTo>
                    <a:pt x="486" y="142"/>
                  </a:lnTo>
                  <a:lnTo>
                    <a:pt x="484" y="148"/>
                  </a:lnTo>
                  <a:lnTo>
                    <a:pt x="490" y="148"/>
                  </a:lnTo>
                  <a:lnTo>
                    <a:pt x="490" y="150"/>
                  </a:lnTo>
                  <a:lnTo>
                    <a:pt x="494" y="150"/>
                  </a:lnTo>
                  <a:lnTo>
                    <a:pt x="496" y="150"/>
                  </a:lnTo>
                  <a:lnTo>
                    <a:pt x="496" y="154"/>
                  </a:lnTo>
                  <a:lnTo>
                    <a:pt x="496" y="156"/>
                  </a:lnTo>
                  <a:lnTo>
                    <a:pt x="496" y="160"/>
                  </a:lnTo>
                  <a:lnTo>
                    <a:pt x="496" y="162"/>
                  </a:lnTo>
                  <a:lnTo>
                    <a:pt x="508" y="164"/>
                  </a:lnTo>
                  <a:lnTo>
                    <a:pt x="510" y="166"/>
                  </a:lnTo>
                  <a:lnTo>
                    <a:pt x="514" y="166"/>
                  </a:lnTo>
                  <a:lnTo>
                    <a:pt x="516" y="170"/>
                  </a:lnTo>
                  <a:lnTo>
                    <a:pt x="516" y="172"/>
                  </a:lnTo>
                  <a:lnTo>
                    <a:pt x="516" y="174"/>
                  </a:lnTo>
                  <a:lnTo>
                    <a:pt x="512" y="176"/>
                  </a:lnTo>
                  <a:lnTo>
                    <a:pt x="512" y="178"/>
                  </a:lnTo>
                  <a:lnTo>
                    <a:pt x="504" y="178"/>
                  </a:lnTo>
                  <a:lnTo>
                    <a:pt x="504" y="178"/>
                  </a:lnTo>
                  <a:lnTo>
                    <a:pt x="500" y="178"/>
                  </a:lnTo>
                  <a:lnTo>
                    <a:pt x="498" y="180"/>
                  </a:lnTo>
                  <a:lnTo>
                    <a:pt x="492" y="182"/>
                  </a:lnTo>
                  <a:lnTo>
                    <a:pt x="488" y="184"/>
                  </a:lnTo>
                  <a:lnTo>
                    <a:pt x="486" y="190"/>
                  </a:lnTo>
                  <a:lnTo>
                    <a:pt x="490" y="194"/>
                  </a:lnTo>
                  <a:lnTo>
                    <a:pt x="488" y="198"/>
                  </a:lnTo>
                  <a:lnTo>
                    <a:pt x="490" y="198"/>
                  </a:lnTo>
                  <a:lnTo>
                    <a:pt x="490" y="200"/>
                  </a:lnTo>
                  <a:lnTo>
                    <a:pt x="490" y="200"/>
                  </a:lnTo>
                  <a:lnTo>
                    <a:pt x="486" y="204"/>
                  </a:lnTo>
                  <a:lnTo>
                    <a:pt x="484" y="206"/>
                  </a:lnTo>
                  <a:lnTo>
                    <a:pt x="484" y="208"/>
                  </a:lnTo>
                  <a:lnTo>
                    <a:pt x="486" y="208"/>
                  </a:lnTo>
                  <a:lnTo>
                    <a:pt x="492" y="210"/>
                  </a:lnTo>
                  <a:lnTo>
                    <a:pt x="492" y="212"/>
                  </a:lnTo>
                  <a:lnTo>
                    <a:pt x="490" y="214"/>
                  </a:lnTo>
                  <a:lnTo>
                    <a:pt x="486" y="214"/>
                  </a:lnTo>
                  <a:lnTo>
                    <a:pt x="484" y="212"/>
                  </a:lnTo>
                  <a:lnTo>
                    <a:pt x="482" y="216"/>
                  </a:lnTo>
                  <a:lnTo>
                    <a:pt x="474" y="218"/>
                  </a:lnTo>
                  <a:lnTo>
                    <a:pt x="466" y="226"/>
                  </a:lnTo>
                  <a:lnTo>
                    <a:pt x="462" y="226"/>
                  </a:lnTo>
                  <a:lnTo>
                    <a:pt x="456" y="232"/>
                  </a:lnTo>
                  <a:lnTo>
                    <a:pt x="454" y="236"/>
                  </a:lnTo>
                  <a:lnTo>
                    <a:pt x="454" y="240"/>
                  </a:lnTo>
                  <a:lnTo>
                    <a:pt x="452" y="244"/>
                  </a:lnTo>
                  <a:lnTo>
                    <a:pt x="446" y="246"/>
                  </a:lnTo>
                  <a:lnTo>
                    <a:pt x="442" y="246"/>
                  </a:lnTo>
                  <a:lnTo>
                    <a:pt x="438" y="248"/>
                  </a:lnTo>
                  <a:lnTo>
                    <a:pt x="414" y="274"/>
                  </a:lnTo>
                  <a:lnTo>
                    <a:pt x="394" y="284"/>
                  </a:lnTo>
                  <a:lnTo>
                    <a:pt x="372" y="308"/>
                  </a:lnTo>
                  <a:lnTo>
                    <a:pt x="368" y="308"/>
                  </a:lnTo>
                  <a:lnTo>
                    <a:pt x="352" y="306"/>
                  </a:lnTo>
                  <a:lnTo>
                    <a:pt x="344" y="308"/>
                  </a:lnTo>
                  <a:lnTo>
                    <a:pt x="340" y="310"/>
                  </a:lnTo>
                  <a:lnTo>
                    <a:pt x="338" y="310"/>
                  </a:lnTo>
                  <a:lnTo>
                    <a:pt x="336" y="310"/>
                  </a:lnTo>
                  <a:lnTo>
                    <a:pt x="332" y="298"/>
                  </a:lnTo>
                  <a:lnTo>
                    <a:pt x="330" y="296"/>
                  </a:lnTo>
                  <a:lnTo>
                    <a:pt x="328" y="296"/>
                  </a:lnTo>
                  <a:lnTo>
                    <a:pt x="292" y="320"/>
                  </a:lnTo>
                  <a:lnTo>
                    <a:pt x="286" y="334"/>
                  </a:lnTo>
                  <a:lnTo>
                    <a:pt x="284" y="336"/>
                  </a:lnTo>
                  <a:lnTo>
                    <a:pt x="286" y="340"/>
                  </a:lnTo>
                  <a:lnTo>
                    <a:pt x="290" y="342"/>
                  </a:lnTo>
                  <a:lnTo>
                    <a:pt x="294" y="342"/>
                  </a:lnTo>
                  <a:lnTo>
                    <a:pt x="298" y="344"/>
                  </a:lnTo>
                  <a:lnTo>
                    <a:pt x="304" y="346"/>
                  </a:lnTo>
                  <a:lnTo>
                    <a:pt x="306" y="346"/>
                  </a:lnTo>
                  <a:lnTo>
                    <a:pt x="308" y="350"/>
                  </a:lnTo>
                  <a:lnTo>
                    <a:pt x="308" y="350"/>
                  </a:lnTo>
                  <a:lnTo>
                    <a:pt x="306" y="354"/>
                  </a:lnTo>
                  <a:lnTo>
                    <a:pt x="300" y="364"/>
                  </a:lnTo>
                  <a:lnTo>
                    <a:pt x="300" y="368"/>
                  </a:lnTo>
                  <a:lnTo>
                    <a:pt x="300" y="370"/>
                  </a:lnTo>
                  <a:lnTo>
                    <a:pt x="306" y="378"/>
                  </a:lnTo>
                  <a:lnTo>
                    <a:pt x="308" y="378"/>
                  </a:lnTo>
                  <a:lnTo>
                    <a:pt x="314" y="378"/>
                  </a:lnTo>
                  <a:lnTo>
                    <a:pt x="316" y="378"/>
                  </a:lnTo>
                  <a:lnTo>
                    <a:pt x="316" y="380"/>
                  </a:lnTo>
                  <a:lnTo>
                    <a:pt x="314" y="392"/>
                  </a:lnTo>
                  <a:lnTo>
                    <a:pt x="318" y="396"/>
                  </a:lnTo>
                  <a:lnTo>
                    <a:pt x="318" y="400"/>
                  </a:lnTo>
                  <a:lnTo>
                    <a:pt x="322" y="408"/>
                  </a:lnTo>
                  <a:lnTo>
                    <a:pt x="324" y="410"/>
                  </a:lnTo>
                  <a:lnTo>
                    <a:pt x="324" y="412"/>
                  </a:lnTo>
                  <a:lnTo>
                    <a:pt x="324" y="414"/>
                  </a:lnTo>
                  <a:lnTo>
                    <a:pt x="322" y="416"/>
                  </a:lnTo>
                  <a:lnTo>
                    <a:pt x="322" y="416"/>
                  </a:lnTo>
                  <a:lnTo>
                    <a:pt x="320" y="422"/>
                  </a:lnTo>
                  <a:lnTo>
                    <a:pt x="320" y="424"/>
                  </a:lnTo>
                  <a:lnTo>
                    <a:pt x="324" y="426"/>
                  </a:lnTo>
                  <a:lnTo>
                    <a:pt x="324" y="426"/>
                  </a:lnTo>
                  <a:lnTo>
                    <a:pt x="318" y="426"/>
                  </a:lnTo>
                  <a:lnTo>
                    <a:pt x="316" y="428"/>
                  </a:lnTo>
                  <a:lnTo>
                    <a:pt x="314" y="430"/>
                  </a:lnTo>
                  <a:lnTo>
                    <a:pt x="312" y="430"/>
                  </a:lnTo>
                  <a:lnTo>
                    <a:pt x="306" y="428"/>
                  </a:lnTo>
                  <a:lnTo>
                    <a:pt x="304" y="428"/>
                  </a:lnTo>
                  <a:lnTo>
                    <a:pt x="304" y="426"/>
                  </a:lnTo>
                  <a:lnTo>
                    <a:pt x="306" y="422"/>
                  </a:lnTo>
                  <a:lnTo>
                    <a:pt x="306" y="422"/>
                  </a:lnTo>
                  <a:lnTo>
                    <a:pt x="302" y="420"/>
                  </a:lnTo>
                  <a:lnTo>
                    <a:pt x="290" y="422"/>
                  </a:lnTo>
                  <a:lnTo>
                    <a:pt x="286" y="426"/>
                  </a:lnTo>
                  <a:lnTo>
                    <a:pt x="286" y="428"/>
                  </a:lnTo>
                  <a:lnTo>
                    <a:pt x="274" y="426"/>
                  </a:lnTo>
                  <a:lnTo>
                    <a:pt x="270" y="420"/>
                  </a:lnTo>
                  <a:lnTo>
                    <a:pt x="266" y="420"/>
                  </a:lnTo>
                  <a:lnTo>
                    <a:pt x="264" y="420"/>
                  </a:lnTo>
                  <a:lnTo>
                    <a:pt x="256" y="418"/>
                  </a:lnTo>
                  <a:lnTo>
                    <a:pt x="254" y="418"/>
                  </a:lnTo>
                  <a:lnTo>
                    <a:pt x="250" y="418"/>
                  </a:lnTo>
                  <a:lnTo>
                    <a:pt x="246" y="416"/>
                  </a:lnTo>
                  <a:lnTo>
                    <a:pt x="246" y="416"/>
                  </a:lnTo>
                  <a:lnTo>
                    <a:pt x="244" y="416"/>
                  </a:lnTo>
                  <a:lnTo>
                    <a:pt x="244" y="414"/>
                  </a:lnTo>
                  <a:lnTo>
                    <a:pt x="242" y="412"/>
                  </a:lnTo>
                  <a:lnTo>
                    <a:pt x="240" y="416"/>
                  </a:lnTo>
                  <a:lnTo>
                    <a:pt x="238" y="426"/>
                  </a:lnTo>
                  <a:lnTo>
                    <a:pt x="226" y="424"/>
                  </a:lnTo>
                  <a:lnTo>
                    <a:pt x="224" y="424"/>
                  </a:lnTo>
                  <a:lnTo>
                    <a:pt x="220" y="422"/>
                  </a:lnTo>
                  <a:lnTo>
                    <a:pt x="218" y="424"/>
                  </a:lnTo>
                  <a:lnTo>
                    <a:pt x="216" y="426"/>
                  </a:lnTo>
                  <a:lnTo>
                    <a:pt x="216" y="428"/>
                  </a:lnTo>
                  <a:lnTo>
                    <a:pt x="212" y="428"/>
                  </a:lnTo>
                  <a:lnTo>
                    <a:pt x="208" y="428"/>
                  </a:lnTo>
                  <a:lnTo>
                    <a:pt x="202" y="424"/>
                  </a:lnTo>
                  <a:lnTo>
                    <a:pt x="194" y="422"/>
                  </a:lnTo>
                  <a:lnTo>
                    <a:pt x="192" y="420"/>
                  </a:lnTo>
                  <a:lnTo>
                    <a:pt x="192" y="414"/>
                  </a:lnTo>
                  <a:lnTo>
                    <a:pt x="188" y="412"/>
                  </a:lnTo>
                  <a:lnTo>
                    <a:pt x="186" y="394"/>
                  </a:lnTo>
                  <a:lnTo>
                    <a:pt x="186" y="390"/>
                  </a:lnTo>
                  <a:lnTo>
                    <a:pt x="184" y="390"/>
                  </a:lnTo>
                  <a:lnTo>
                    <a:pt x="174" y="382"/>
                  </a:lnTo>
                  <a:lnTo>
                    <a:pt x="174" y="370"/>
                  </a:lnTo>
                  <a:lnTo>
                    <a:pt x="174" y="366"/>
                  </a:lnTo>
                  <a:lnTo>
                    <a:pt x="166" y="360"/>
                  </a:lnTo>
                  <a:lnTo>
                    <a:pt x="134" y="354"/>
                  </a:lnTo>
                  <a:lnTo>
                    <a:pt x="122" y="356"/>
                  </a:lnTo>
                  <a:lnTo>
                    <a:pt x="108" y="350"/>
                  </a:lnTo>
                  <a:lnTo>
                    <a:pt x="102" y="356"/>
                  </a:lnTo>
                  <a:lnTo>
                    <a:pt x="100" y="352"/>
                  </a:lnTo>
                  <a:lnTo>
                    <a:pt x="92" y="350"/>
                  </a:lnTo>
                  <a:lnTo>
                    <a:pt x="88" y="344"/>
                  </a:lnTo>
                  <a:lnTo>
                    <a:pt x="72" y="340"/>
                  </a:lnTo>
                  <a:lnTo>
                    <a:pt x="64" y="344"/>
                  </a:lnTo>
                  <a:lnTo>
                    <a:pt x="32" y="334"/>
                  </a:lnTo>
                  <a:lnTo>
                    <a:pt x="22" y="336"/>
                  </a:lnTo>
                  <a:lnTo>
                    <a:pt x="18" y="332"/>
                  </a:lnTo>
                  <a:lnTo>
                    <a:pt x="12" y="334"/>
                  </a:lnTo>
                  <a:lnTo>
                    <a:pt x="6" y="334"/>
                  </a:lnTo>
                  <a:lnTo>
                    <a:pt x="2" y="334"/>
                  </a:lnTo>
                  <a:lnTo>
                    <a:pt x="2" y="330"/>
                  </a:lnTo>
                  <a:lnTo>
                    <a:pt x="0" y="33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0" name="Freeform 422"/>
            <p:cNvSpPr>
              <a:spLocks/>
            </p:cNvSpPr>
            <p:nvPr/>
          </p:nvSpPr>
          <p:spPr bwMode="auto">
            <a:xfrm>
              <a:off x="2740026" y="3497263"/>
              <a:ext cx="646113" cy="504825"/>
            </a:xfrm>
            <a:custGeom>
              <a:avLst/>
              <a:gdLst>
                <a:gd name="T0" fmla="*/ 140 w 376"/>
                <a:gd name="T1" fmla="*/ 66 h 318"/>
                <a:gd name="T2" fmla="*/ 142 w 376"/>
                <a:gd name="T3" fmla="*/ 48 h 318"/>
                <a:gd name="T4" fmla="*/ 156 w 376"/>
                <a:gd name="T5" fmla="*/ 40 h 318"/>
                <a:gd name="T6" fmla="*/ 176 w 376"/>
                <a:gd name="T7" fmla="*/ 40 h 318"/>
                <a:gd name="T8" fmla="*/ 186 w 376"/>
                <a:gd name="T9" fmla="*/ 42 h 318"/>
                <a:gd name="T10" fmla="*/ 186 w 376"/>
                <a:gd name="T11" fmla="*/ 32 h 318"/>
                <a:gd name="T12" fmla="*/ 198 w 376"/>
                <a:gd name="T13" fmla="*/ 32 h 318"/>
                <a:gd name="T14" fmla="*/ 216 w 376"/>
                <a:gd name="T15" fmla="*/ 54 h 318"/>
                <a:gd name="T16" fmla="*/ 228 w 376"/>
                <a:gd name="T17" fmla="*/ 62 h 318"/>
                <a:gd name="T18" fmla="*/ 228 w 376"/>
                <a:gd name="T19" fmla="*/ 72 h 318"/>
                <a:gd name="T20" fmla="*/ 224 w 376"/>
                <a:gd name="T21" fmla="*/ 80 h 318"/>
                <a:gd name="T22" fmla="*/ 224 w 376"/>
                <a:gd name="T23" fmla="*/ 90 h 318"/>
                <a:gd name="T24" fmla="*/ 258 w 376"/>
                <a:gd name="T25" fmla="*/ 106 h 318"/>
                <a:gd name="T26" fmla="*/ 272 w 376"/>
                <a:gd name="T27" fmla="*/ 114 h 318"/>
                <a:gd name="T28" fmla="*/ 272 w 376"/>
                <a:gd name="T29" fmla="*/ 130 h 318"/>
                <a:gd name="T30" fmla="*/ 276 w 376"/>
                <a:gd name="T31" fmla="*/ 146 h 318"/>
                <a:gd name="T32" fmla="*/ 298 w 376"/>
                <a:gd name="T33" fmla="*/ 182 h 318"/>
                <a:gd name="T34" fmla="*/ 318 w 376"/>
                <a:gd name="T35" fmla="*/ 202 h 318"/>
                <a:gd name="T36" fmla="*/ 352 w 376"/>
                <a:gd name="T37" fmla="*/ 234 h 318"/>
                <a:gd name="T38" fmla="*/ 370 w 376"/>
                <a:gd name="T39" fmla="*/ 246 h 318"/>
                <a:gd name="T40" fmla="*/ 370 w 376"/>
                <a:gd name="T41" fmla="*/ 258 h 318"/>
                <a:gd name="T42" fmla="*/ 346 w 376"/>
                <a:gd name="T43" fmla="*/ 262 h 318"/>
                <a:gd name="T44" fmla="*/ 338 w 376"/>
                <a:gd name="T45" fmla="*/ 266 h 318"/>
                <a:gd name="T46" fmla="*/ 326 w 376"/>
                <a:gd name="T47" fmla="*/ 268 h 318"/>
                <a:gd name="T48" fmla="*/ 316 w 376"/>
                <a:gd name="T49" fmla="*/ 268 h 318"/>
                <a:gd name="T50" fmla="*/ 310 w 376"/>
                <a:gd name="T51" fmla="*/ 274 h 318"/>
                <a:gd name="T52" fmla="*/ 300 w 376"/>
                <a:gd name="T53" fmla="*/ 292 h 318"/>
                <a:gd name="T54" fmla="*/ 284 w 376"/>
                <a:gd name="T55" fmla="*/ 298 h 318"/>
                <a:gd name="T56" fmla="*/ 252 w 376"/>
                <a:gd name="T57" fmla="*/ 300 h 318"/>
                <a:gd name="T58" fmla="*/ 252 w 376"/>
                <a:gd name="T59" fmla="*/ 308 h 318"/>
                <a:gd name="T60" fmla="*/ 242 w 376"/>
                <a:gd name="T61" fmla="*/ 316 h 318"/>
                <a:gd name="T62" fmla="*/ 226 w 376"/>
                <a:gd name="T63" fmla="*/ 316 h 318"/>
                <a:gd name="T64" fmla="*/ 218 w 376"/>
                <a:gd name="T65" fmla="*/ 312 h 318"/>
                <a:gd name="T66" fmla="*/ 204 w 376"/>
                <a:gd name="T67" fmla="*/ 304 h 318"/>
                <a:gd name="T68" fmla="*/ 192 w 376"/>
                <a:gd name="T69" fmla="*/ 292 h 318"/>
                <a:gd name="T70" fmla="*/ 202 w 376"/>
                <a:gd name="T71" fmla="*/ 262 h 318"/>
                <a:gd name="T72" fmla="*/ 158 w 376"/>
                <a:gd name="T73" fmla="*/ 224 h 318"/>
                <a:gd name="T74" fmla="*/ 144 w 376"/>
                <a:gd name="T75" fmla="*/ 202 h 318"/>
                <a:gd name="T76" fmla="*/ 102 w 376"/>
                <a:gd name="T77" fmla="*/ 166 h 318"/>
                <a:gd name="T78" fmla="*/ 76 w 376"/>
                <a:gd name="T79" fmla="*/ 164 h 318"/>
                <a:gd name="T80" fmla="*/ 50 w 376"/>
                <a:gd name="T81" fmla="*/ 156 h 318"/>
                <a:gd name="T82" fmla="*/ 0 w 376"/>
                <a:gd name="T83" fmla="*/ 162 h 318"/>
                <a:gd name="T84" fmla="*/ 26 w 376"/>
                <a:gd name="T85" fmla="*/ 114 h 318"/>
                <a:gd name="T86" fmla="*/ 12 w 376"/>
                <a:gd name="T87" fmla="*/ 94 h 318"/>
                <a:gd name="T88" fmla="*/ 20 w 376"/>
                <a:gd name="T89" fmla="*/ 86 h 318"/>
                <a:gd name="T90" fmla="*/ 32 w 376"/>
                <a:gd name="T91" fmla="*/ 86 h 318"/>
                <a:gd name="T92" fmla="*/ 14 w 376"/>
                <a:gd name="T93" fmla="*/ 70 h 318"/>
                <a:gd name="T94" fmla="*/ 8 w 376"/>
                <a:gd name="T95" fmla="*/ 56 h 318"/>
                <a:gd name="T96" fmla="*/ 22 w 376"/>
                <a:gd name="T97" fmla="*/ 34 h 318"/>
                <a:gd name="T98" fmla="*/ 42 w 376"/>
                <a:gd name="T99" fmla="*/ 56 h 318"/>
                <a:gd name="T100" fmla="*/ 60 w 376"/>
                <a:gd name="T101" fmla="*/ 62 h 318"/>
                <a:gd name="T102" fmla="*/ 64 w 376"/>
                <a:gd name="T103" fmla="*/ 58 h 318"/>
                <a:gd name="T104" fmla="*/ 62 w 376"/>
                <a:gd name="T105" fmla="*/ 20 h 318"/>
                <a:gd name="T106" fmla="*/ 34 w 376"/>
                <a:gd name="T107" fmla="*/ 8 h 318"/>
                <a:gd name="T108" fmla="*/ 28 w 376"/>
                <a:gd name="T109" fmla="*/ 18 h 318"/>
                <a:gd name="T110" fmla="*/ 20 w 376"/>
                <a:gd name="T111" fmla="*/ 14 h 318"/>
                <a:gd name="T112" fmla="*/ 76 w 376"/>
                <a:gd name="T113" fmla="*/ 4 h 318"/>
                <a:gd name="T114" fmla="*/ 88 w 376"/>
                <a:gd name="T115" fmla="*/ 28 h 318"/>
                <a:gd name="T116" fmla="*/ 94 w 376"/>
                <a:gd name="T117" fmla="*/ 5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6" h="318">
                  <a:moveTo>
                    <a:pt x="110" y="56"/>
                  </a:moveTo>
                  <a:lnTo>
                    <a:pt x="136" y="68"/>
                  </a:lnTo>
                  <a:lnTo>
                    <a:pt x="140" y="66"/>
                  </a:lnTo>
                  <a:lnTo>
                    <a:pt x="140" y="60"/>
                  </a:lnTo>
                  <a:lnTo>
                    <a:pt x="142" y="56"/>
                  </a:lnTo>
                  <a:lnTo>
                    <a:pt x="142" y="48"/>
                  </a:lnTo>
                  <a:lnTo>
                    <a:pt x="146" y="46"/>
                  </a:lnTo>
                  <a:lnTo>
                    <a:pt x="150" y="44"/>
                  </a:lnTo>
                  <a:lnTo>
                    <a:pt x="156" y="40"/>
                  </a:lnTo>
                  <a:lnTo>
                    <a:pt x="168" y="42"/>
                  </a:lnTo>
                  <a:lnTo>
                    <a:pt x="172" y="42"/>
                  </a:lnTo>
                  <a:lnTo>
                    <a:pt x="176" y="40"/>
                  </a:lnTo>
                  <a:lnTo>
                    <a:pt x="176" y="36"/>
                  </a:lnTo>
                  <a:lnTo>
                    <a:pt x="180" y="36"/>
                  </a:lnTo>
                  <a:lnTo>
                    <a:pt x="186" y="42"/>
                  </a:lnTo>
                  <a:lnTo>
                    <a:pt x="188" y="44"/>
                  </a:lnTo>
                  <a:lnTo>
                    <a:pt x="188" y="36"/>
                  </a:lnTo>
                  <a:lnTo>
                    <a:pt x="186" y="32"/>
                  </a:lnTo>
                  <a:lnTo>
                    <a:pt x="190" y="32"/>
                  </a:lnTo>
                  <a:lnTo>
                    <a:pt x="194" y="34"/>
                  </a:lnTo>
                  <a:lnTo>
                    <a:pt x="198" y="32"/>
                  </a:lnTo>
                  <a:lnTo>
                    <a:pt x="198" y="30"/>
                  </a:lnTo>
                  <a:lnTo>
                    <a:pt x="212" y="52"/>
                  </a:lnTo>
                  <a:lnTo>
                    <a:pt x="216" y="54"/>
                  </a:lnTo>
                  <a:lnTo>
                    <a:pt x="220" y="54"/>
                  </a:lnTo>
                  <a:lnTo>
                    <a:pt x="228" y="58"/>
                  </a:lnTo>
                  <a:lnTo>
                    <a:pt x="228" y="62"/>
                  </a:lnTo>
                  <a:lnTo>
                    <a:pt x="226" y="66"/>
                  </a:lnTo>
                  <a:lnTo>
                    <a:pt x="226" y="70"/>
                  </a:lnTo>
                  <a:lnTo>
                    <a:pt x="228" y="72"/>
                  </a:lnTo>
                  <a:lnTo>
                    <a:pt x="230" y="76"/>
                  </a:lnTo>
                  <a:lnTo>
                    <a:pt x="226" y="76"/>
                  </a:lnTo>
                  <a:lnTo>
                    <a:pt x="224" y="80"/>
                  </a:lnTo>
                  <a:lnTo>
                    <a:pt x="224" y="84"/>
                  </a:lnTo>
                  <a:lnTo>
                    <a:pt x="222" y="86"/>
                  </a:lnTo>
                  <a:lnTo>
                    <a:pt x="224" y="90"/>
                  </a:lnTo>
                  <a:lnTo>
                    <a:pt x="230" y="96"/>
                  </a:lnTo>
                  <a:lnTo>
                    <a:pt x="254" y="106"/>
                  </a:lnTo>
                  <a:lnTo>
                    <a:pt x="258" y="106"/>
                  </a:lnTo>
                  <a:lnTo>
                    <a:pt x="258" y="102"/>
                  </a:lnTo>
                  <a:lnTo>
                    <a:pt x="264" y="102"/>
                  </a:lnTo>
                  <a:lnTo>
                    <a:pt x="272" y="114"/>
                  </a:lnTo>
                  <a:lnTo>
                    <a:pt x="272" y="118"/>
                  </a:lnTo>
                  <a:lnTo>
                    <a:pt x="270" y="126"/>
                  </a:lnTo>
                  <a:lnTo>
                    <a:pt x="272" y="130"/>
                  </a:lnTo>
                  <a:lnTo>
                    <a:pt x="274" y="134"/>
                  </a:lnTo>
                  <a:lnTo>
                    <a:pt x="276" y="136"/>
                  </a:lnTo>
                  <a:lnTo>
                    <a:pt x="276" y="146"/>
                  </a:lnTo>
                  <a:lnTo>
                    <a:pt x="274" y="148"/>
                  </a:lnTo>
                  <a:lnTo>
                    <a:pt x="278" y="160"/>
                  </a:lnTo>
                  <a:lnTo>
                    <a:pt x="298" y="182"/>
                  </a:lnTo>
                  <a:lnTo>
                    <a:pt x="306" y="196"/>
                  </a:lnTo>
                  <a:lnTo>
                    <a:pt x="310" y="198"/>
                  </a:lnTo>
                  <a:lnTo>
                    <a:pt x="318" y="202"/>
                  </a:lnTo>
                  <a:lnTo>
                    <a:pt x="344" y="234"/>
                  </a:lnTo>
                  <a:lnTo>
                    <a:pt x="348" y="236"/>
                  </a:lnTo>
                  <a:lnTo>
                    <a:pt x="352" y="234"/>
                  </a:lnTo>
                  <a:lnTo>
                    <a:pt x="356" y="236"/>
                  </a:lnTo>
                  <a:lnTo>
                    <a:pt x="368" y="242"/>
                  </a:lnTo>
                  <a:lnTo>
                    <a:pt x="370" y="246"/>
                  </a:lnTo>
                  <a:lnTo>
                    <a:pt x="374" y="248"/>
                  </a:lnTo>
                  <a:lnTo>
                    <a:pt x="376" y="252"/>
                  </a:lnTo>
                  <a:lnTo>
                    <a:pt x="370" y="258"/>
                  </a:lnTo>
                  <a:lnTo>
                    <a:pt x="366" y="274"/>
                  </a:lnTo>
                  <a:lnTo>
                    <a:pt x="358" y="270"/>
                  </a:lnTo>
                  <a:lnTo>
                    <a:pt x="346" y="262"/>
                  </a:lnTo>
                  <a:lnTo>
                    <a:pt x="342" y="262"/>
                  </a:lnTo>
                  <a:lnTo>
                    <a:pt x="340" y="262"/>
                  </a:lnTo>
                  <a:lnTo>
                    <a:pt x="338" y="266"/>
                  </a:lnTo>
                  <a:lnTo>
                    <a:pt x="336" y="268"/>
                  </a:lnTo>
                  <a:lnTo>
                    <a:pt x="336" y="270"/>
                  </a:lnTo>
                  <a:lnTo>
                    <a:pt x="326" y="268"/>
                  </a:lnTo>
                  <a:lnTo>
                    <a:pt x="324" y="266"/>
                  </a:lnTo>
                  <a:lnTo>
                    <a:pt x="318" y="266"/>
                  </a:lnTo>
                  <a:lnTo>
                    <a:pt x="316" y="268"/>
                  </a:lnTo>
                  <a:lnTo>
                    <a:pt x="312" y="270"/>
                  </a:lnTo>
                  <a:lnTo>
                    <a:pt x="312" y="270"/>
                  </a:lnTo>
                  <a:lnTo>
                    <a:pt x="310" y="274"/>
                  </a:lnTo>
                  <a:lnTo>
                    <a:pt x="306" y="282"/>
                  </a:lnTo>
                  <a:lnTo>
                    <a:pt x="304" y="284"/>
                  </a:lnTo>
                  <a:lnTo>
                    <a:pt x="300" y="292"/>
                  </a:lnTo>
                  <a:lnTo>
                    <a:pt x="298" y="294"/>
                  </a:lnTo>
                  <a:lnTo>
                    <a:pt x="288" y="298"/>
                  </a:lnTo>
                  <a:lnTo>
                    <a:pt x="284" y="298"/>
                  </a:lnTo>
                  <a:lnTo>
                    <a:pt x="280" y="300"/>
                  </a:lnTo>
                  <a:lnTo>
                    <a:pt x="256" y="302"/>
                  </a:lnTo>
                  <a:lnTo>
                    <a:pt x="252" y="300"/>
                  </a:lnTo>
                  <a:lnTo>
                    <a:pt x="252" y="304"/>
                  </a:lnTo>
                  <a:lnTo>
                    <a:pt x="254" y="306"/>
                  </a:lnTo>
                  <a:lnTo>
                    <a:pt x="252" y="308"/>
                  </a:lnTo>
                  <a:lnTo>
                    <a:pt x="248" y="308"/>
                  </a:lnTo>
                  <a:lnTo>
                    <a:pt x="246" y="314"/>
                  </a:lnTo>
                  <a:lnTo>
                    <a:pt x="242" y="316"/>
                  </a:lnTo>
                  <a:lnTo>
                    <a:pt x="238" y="316"/>
                  </a:lnTo>
                  <a:lnTo>
                    <a:pt x="234" y="318"/>
                  </a:lnTo>
                  <a:lnTo>
                    <a:pt x="226" y="316"/>
                  </a:lnTo>
                  <a:lnTo>
                    <a:pt x="222" y="316"/>
                  </a:lnTo>
                  <a:lnTo>
                    <a:pt x="218" y="316"/>
                  </a:lnTo>
                  <a:lnTo>
                    <a:pt x="218" y="312"/>
                  </a:lnTo>
                  <a:lnTo>
                    <a:pt x="214" y="308"/>
                  </a:lnTo>
                  <a:lnTo>
                    <a:pt x="212" y="306"/>
                  </a:lnTo>
                  <a:lnTo>
                    <a:pt x="204" y="304"/>
                  </a:lnTo>
                  <a:lnTo>
                    <a:pt x="198" y="302"/>
                  </a:lnTo>
                  <a:lnTo>
                    <a:pt x="198" y="300"/>
                  </a:lnTo>
                  <a:lnTo>
                    <a:pt x="192" y="292"/>
                  </a:lnTo>
                  <a:lnTo>
                    <a:pt x="196" y="286"/>
                  </a:lnTo>
                  <a:lnTo>
                    <a:pt x="196" y="280"/>
                  </a:lnTo>
                  <a:lnTo>
                    <a:pt x="202" y="262"/>
                  </a:lnTo>
                  <a:lnTo>
                    <a:pt x="200" y="258"/>
                  </a:lnTo>
                  <a:lnTo>
                    <a:pt x="186" y="254"/>
                  </a:lnTo>
                  <a:lnTo>
                    <a:pt x="158" y="224"/>
                  </a:lnTo>
                  <a:lnTo>
                    <a:pt x="158" y="218"/>
                  </a:lnTo>
                  <a:lnTo>
                    <a:pt x="156" y="210"/>
                  </a:lnTo>
                  <a:lnTo>
                    <a:pt x="144" y="202"/>
                  </a:lnTo>
                  <a:lnTo>
                    <a:pt x="138" y="202"/>
                  </a:lnTo>
                  <a:lnTo>
                    <a:pt x="108" y="180"/>
                  </a:lnTo>
                  <a:lnTo>
                    <a:pt x="102" y="166"/>
                  </a:lnTo>
                  <a:lnTo>
                    <a:pt x="82" y="160"/>
                  </a:lnTo>
                  <a:lnTo>
                    <a:pt x="80" y="164"/>
                  </a:lnTo>
                  <a:lnTo>
                    <a:pt x="76" y="164"/>
                  </a:lnTo>
                  <a:lnTo>
                    <a:pt x="70" y="162"/>
                  </a:lnTo>
                  <a:lnTo>
                    <a:pt x="66" y="160"/>
                  </a:lnTo>
                  <a:lnTo>
                    <a:pt x="50" y="156"/>
                  </a:lnTo>
                  <a:lnTo>
                    <a:pt x="18" y="166"/>
                  </a:lnTo>
                  <a:lnTo>
                    <a:pt x="0" y="162"/>
                  </a:lnTo>
                  <a:lnTo>
                    <a:pt x="0" y="162"/>
                  </a:lnTo>
                  <a:lnTo>
                    <a:pt x="10" y="128"/>
                  </a:lnTo>
                  <a:lnTo>
                    <a:pt x="18" y="118"/>
                  </a:lnTo>
                  <a:lnTo>
                    <a:pt x="26" y="114"/>
                  </a:lnTo>
                  <a:lnTo>
                    <a:pt x="20" y="110"/>
                  </a:lnTo>
                  <a:lnTo>
                    <a:pt x="16" y="98"/>
                  </a:lnTo>
                  <a:lnTo>
                    <a:pt x="12" y="94"/>
                  </a:lnTo>
                  <a:lnTo>
                    <a:pt x="12" y="94"/>
                  </a:lnTo>
                  <a:lnTo>
                    <a:pt x="28" y="92"/>
                  </a:lnTo>
                  <a:lnTo>
                    <a:pt x="20" y="86"/>
                  </a:lnTo>
                  <a:lnTo>
                    <a:pt x="18" y="80"/>
                  </a:lnTo>
                  <a:lnTo>
                    <a:pt x="26" y="78"/>
                  </a:lnTo>
                  <a:lnTo>
                    <a:pt x="32" y="86"/>
                  </a:lnTo>
                  <a:lnTo>
                    <a:pt x="32" y="78"/>
                  </a:lnTo>
                  <a:lnTo>
                    <a:pt x="22" y="72"/>
                  </a:lnTo>
                  <a:lnTo>
                    <a:pt x="14" y="70"/>
                  </a:lnTo>
                  <a:lnTo>
                    <a:pt x="8" y="72"/>
                  </a:lnTo>
                  <a:lnTo>
                    <a:pt x="6" y="72"/>
                  </a:lnTo>
                  <a:lnTo>
                    <a:pt x="8" y="56"/>
                  </a:lnTo>
                  <a:lnTo>
                    <a:pt x="12" y="50"/>
                  </a:lnTo>
                  <a:lnTo>
                    <a:pt x="18" y="46"/>
                  </a:lnTo>
                  <a:lnTo>
                    <a:pt x="22" y="34"/>
                  </a:lnTo>
                  <a:lnTo>
                    <a:pt x="24" y="46"/>
                  </a:lnTo>
                  <a:lnTo>
                    <a:pt x="34" y="50"/>
                  </a:lnTo>
                  <a:lnTo>
                    <a:pt x="42" y="56"/>
                  </a:lnTo>
                  <a:lnTo>
                    <a:pt x="48" y="58"/>
                  </a:lnTo>
                  <a:lnTo>
                    <a:pt x="54" y="62"/>
                  </a:lnTo>
                  <a:lnTo>
                    <a:pt x="60" y="62"/>
                  </a:lnTo>
                  <a:lnTo>
                    <a:pt x="56" y="60"/>
                  </a:lnTo>
                  <a:lnTo>
                    <a:pt x="56" y="56"/>
                  </a:lnTo>
                  <a:lnTo>
                    <a:pt x="64" y="58"/>
                  </a:lnTo>
                  <a:lnTo>
                    <a:pt x="74" y="52"/>
                  </a:lnTo>
                  <a:lnTo>
                    <a:pt x="62" y="30"/>
                  </a:lnTo>
                  <a:lnTo>
                    <a:pt x="62" y="20"/>
                  </a:lnTo>
                  <a:lnTo>
                    <a:pt x="58" y="12"/>
                  </a:lnTo>
                  <a:lnTo>
                    <a:pt x="54" y="8"/>
                  </a:lnTo>
                  <a:lnTo>
                    <a:pt x="34" y="8"/>
                  </a:lnTo>
                  <a:lnTo>
                    <a:pt x="28" y="12"/>
                  </a:lnTo>
                  <a:lnTo>
                    <a:pt x="26" y="16"/>
                  </a:lnTo>
                  <a:lnTo>
                    <a:pt x="28" y="18"/>
                  </a:lnTo>
                  <a:lnTo>
                    <a:pt x="24" y="30"/>
                  </a:lnTo>
                  <a:lnTo>
                    <a:pt x="22" y="28"/>
                  </a:lnTo>
                  <a:lnTo>
                    <a:pt x="20" y="14"/>
                  </a:lnTo>
                  <a:lnTo>
                    <a:pt x="22" y="6"/>
                  </a:lnTo>
                  <a:lnTo>
                    <a:pt x="42" y="0"/>
                  </a:lnTo>
                  <a:lnTo>
                    <a:pt x="76" y="4"/>
                  </a:lnTo>
                  <a:lnTo>
                    <a:pt x="86" y="16"/>
                  </a:lnTo>
                  <a:lnTo>
                    <a:pt x="88" y="20"/>
                  </a:lnTo>
                  <a:lnTo>
                    <a:pt x="88" y="28"/>
                  </a:lnTo>
                  <a:lnTo>
                    <a:pt x="90" y="36"/>
                  </a:lnTo>
                  <a:lnTo>
                    <a:pt x="90" y="48"/>
                  </a:lnTo>
                  <a:lnTo>
                    <a:pt x="94" y="52"/>
                  </a:lnTo>
                  <a:lnTo>
                    <a:pt x="104" y="56"/>
                  </a:lnTo>
                  <a:lnTo>
                    <a:pt x="110" y="56"/>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71" name="Freeform 423"/>
            <p:cNvSpPr>
              <a:spLocks/>
            </p:cNvSpPr>
            <p:nvPr/>
          </p:nvSpPr>
          <p:spPr bwMode="auto">
            <a:xfrm>
              <a:off x="2740026" y="3497263"/>
              <a:ext cx="646113" cy="504825"/>
            </a:xfrm>
            <a:custGeom>
              <a:avLst/>
              <a:gdLst>
                <a:gd name="T0" fmla="*/ 140 w 376"/>
                <a:gd name="T1" fmla="*/ 66 h 318"/>
                <a:gd name="T2" fmla="*/ 142 w 376"/>
                <a:gd name="T3" fmla="*/ 48 h 318"/>
                <a:gd name="T4" fmla="*/ 156 w 376"/>
                <a:gd name="T5" fmla="*/ 40 h 318"/>
                <a:gd name="T6" fmla="*/ 176 w 376"/>
                <a:gd name="T7" fmla="*/ 40 h 318"/>
                <a:gd name="T8" fmla="*/ 186 w 376"/>
                <a:gd name="T9" fmla="*/ 42 h 318"/>
                <a:gd name="T10" fmla="*/ 186 w 376"/>
                <a:gd name="T11" fmla="*/ 32 h 318"/>
                <a:gd name="T12" fmla="*/ 198 w 376"/>
                <a:gd name="T13" fmla="*/ 32 h 318"/>
                <a:gd name="T14" fmla="*/ 216 w 376"/>
                <a:gd name="T15" fmla="*/ 54 h 318"/>
                <a:gd name="T16" fmla="*/ 228 w 376"/>
                <a:gd name="T17" fmla="*/ 62 h 318"/>
                <a:gd name="T18" fmla="*/ 228 w 376"/>
                <a:gd name="T19" fmla="*/ 72 h 318"/>
                <a:gd name="T20" fmla="*/ 224 w 376"/>
                <a:gd name="T21" fmla="*/ 80 h 318"/>
                <a:gd name="T22" fmla="*/ 224 w 376"/>
                <a:gd name="T23" fmla="*/ 90 h 318"/>
                <a:gd name="T24" fmla="*/ 258 w 376"/>
                <a:gd name="T25" fmla="*/ 106 h 318"/>
                <a:gd name="T26" fmla="*/ 272 w 376"/>
                <a:gd name="T27" fmla="*/ 114 h 318"/>
                <a:gd name="T28" fmla="*/ 272 w 376"/>
                <a:gd name="T29" fmla="*/ 130 h 318"/>
                <a:gd name="T30" fmla="*/ 276 w 376"/>
                <a:gd name="T31" fmla="*/ 146 h 318"/>
                <a:gd name="T32" fmla="*/ 298 w 376"/>
                <a:gd name="T33" fmla="*/ 182 h 318"/>
                <a:gd name="T34" fmla="*/ 318 w 376"/>
                <a:gd name="T35" fmla="*/ 202 h 318"/>
                <a:gd name="T36" fmla="*/ 352 w 376"/>
                <a:gd name="T37" fmla="*/ 234 h 318"/>
                <a:gd name="T38" fmla="*/ 370 w 376"/>
                <a:gd name="T39" fmla="*/ 246 h 318"/>
                <a:gd name="T40" fmla="*/ 370 w 376"/>
                <a:gd name="T41" fmla="*/ 258 h 318"/>
                <a:gd name="T42" fmla="*/ 346 w 376"/>
                <a:gd name="T43" fmla="*/ 262 h 318"/>
                <a:gd name="T44" fmla="*/ 338 w 376"/>
                <a:gd name="T45" fmla="*/ 266 h 318"/>
                <a:gd name="T46" fmla="*/ 326 w 376"/>
                <a:gd name="T47" fmla="*/ 268 h 318"/>
                <a:gd name="T48" fmla="*/ 316 w 376"/>
                <a:gd name="T49" fmla="*/ 268 h 318"/>
                <a:gd name="T50" fmla="*/ 310 w 376"/>
                <a:gd name="T51" fmla="*/ 274 h 318"/>
                <a:gd name="T52" fmla="*/ 300 w 376"/>
                <a:gd name="T53" fmla="*/ 292 h 318"/>
                <a:gd name="T54" fmla="*/ 284 w 376"/>
                <a:gd name="T55" fmla="*/ 298 h 318"/>
                <a:gd name="T56" fmla="*/ 252 w 376"/>
                <a:gd name="T57" fmla="*/ 300 h 318"/>
                <a:gd name="T58" fmla="*/ 252 w 376"/>
                <a:gd name="T59" fmla="*/ 308 h 318"/>
                <a:gd name="T60" fmla="*/ 242 w 376"/>
                <a:gd name="T61" fmla="*/ 316 h 318"/>
                <a:gd name="T62" fmla="*/ 226 w 376"/>
                <a:gd name="T63" fmla="*/ 316 h 318"/>
                <a:gd name="T64" fmla="*/ 218 w 376"/>
                <a:gd name="T65" fmla="*/ 312 h 318"/>
                <a:gd name="T66" fmla="*/ 204 w 376"/>
                <a:gd name="T67" fmla="*/ 304 h 318"/>
                <a:gd name="T68" fmla="*/ 192 w 376"/>
                <a:gd name="T69" fmla="*/ 292 h 318"/>
                <a:gd name="T70" fmla="*/ 202 w 376"/>
                <a:gd name="T71" fmla="*/ 262 h 318"/>
                <a:gd name="T72" fmla="*/ 158 w 376"/>
                <a:gd name="T73" fmla="*/ 224 h 318"/>
                <a:gd name="T74" fmla="*/ 144 w 376"/>
                <a:gd name="T75" fmla="*/ 202 h 318"/>
                <a:gd name="T76" fmla="*/ 102 w 376"/>
                <a:gd name="T77" fmla="*/ 166 h 318"/>
                <a:gd name="T78" fmla="*/ 76 w 376"/>
                <a:gd name="T79" fmla="*/ 164 h 318"/>
                <a:gd name="T80" fmla="*/ 50 w 376"/>
                <a:gd name="T81" fmla="*/ 156 h 318"/>
                <a:gd name="T82" fmla="*/ 0 w 376"/>
                <a:gd name="T83" fmla="*/ 162 h 318"/>
                <a:gd name="T84" fmla="*/ 26 w 376"/>
                <a:gd name="T85" fmla="*/ 114 h 318"/>
                <a:gd name="T86" fmla="*/ 12 w 376"/>
                <a:gd name="T87" fmla="*/ 94 h 318"/>
                <a:gd name="T88" fmla="*/ 20 w 376"/>
                <a:gd name="T89" fmla="*/ 86 h 318"/>
                <a:gd name="T90" fmla="*/ 32 w 376"/>
                <a:gd name="T91" fmla="*/ 86 h 318"/>
                <a:gd name="T92" fmla="*/ 14 w 376"/>
                <a:gd name="T93" fmla="*/ 70 h 318"/>
                <a:gd name="T94" fmla="*/ 8 w 376"/>
                <a:gd name="T95" fmla="*/ 56 h 318"/>
                <a:gd name="T96" fmla="*/ 22 w 376"/>
                <a:gd name="T97" fmla="*/ 34 h 318"/>
                <a:gd name="T98" fmla="*/ 42 w 376"/>
                <a:gd name="T99" fmla="*/ 56 h 318"/>
                <a:gd name="T100" fmla="*/ 60 w 376"/>
                <a:gd name="T101" fmla="*/ 62 h 318"/>
                <a:gd name="T102" fmla="*/ 64 w 376"/>
                <a:gd name="T103" fmla="*/ 58 h 318"/>
                <a:gd name="T104" fmla="*/ 62 w 376"/>
                <a:gd name="T105" fmla="*/ 20 h 318"/>
                <a:gd name="T106" fmla="*/ 34 w 376"/>
                <a:gd name="T107" fmla="*/ 8 h 318"/>
                <a:gd name="T108" fmla="*/ 28 w 376"/>
                <a:gd name="T109" fmla="*/ 18 h 318"/>
                <a:gd name="T110" fmla="*/ 20 w 376"/>
                <a:gd name="T111" fmla="*/ 14 h 318"/>
                <a:gd name="T112" fmla="*/ 76 w 376"/>
                <a:gd name="T113" fmla="*/ 4 h 318"/>
                <a:gd name="T114" fmla="*/ 88 w 376"/>
                <a:gd name="T115" fmla="*/ 28 h 318"/>
                <a:gd name="T116" fmla="*/ 94 w 376"/>
                <a:gd name="T117" fmla="*/ 5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6" h="318">
                  <a:moveTo>
                    <a:pt x="110" y="56"/>
                  </a:moveTo>
                  <a:lnTo>
                    <a:pt x="136" y="68"/>
                  </a:lnTo>
                  <a:lnTo>
                    <a:pt x="140" y="66"/>
                  </a:lnTo>
                  <a:lnTo>
                    <a:pt x="140" y="60"/>
                  </a:lnTo>
                  <a:lnTo>
                    <a:pt x="142" y="56"/>
                  </a:lnTo>
                  <a:lnTo>
                    <a:pt x="142" y="48"/>
                  </a:lnTo>
                  <a:lnTo>
                    <a:pt x="146" y="46"/>
                  </a:lnTo>
                  <a:lnTo>
                    <a:pt x="150" y="44"/>
                  </a:lnTo>
                  <a:lnTo>
                    <a:pt x="156" y="40"/>
                  </a:lnTo>
                  <a:lnTo>
                    <a:pt x="168" y="42"/>
                  </a:lnTo>
                  <a:lnTo>
                    <a:pt x="172" y="42"/>
                  </a:lnTo>
                  <a:lnTo>
                    <a:pt x="176" y="40"/>
                  </a:lnTo>
                  <a:lnTo>
                    <a:pt x="176" y="36"/>
                  </a:lnTo>
                  <a:lnTo>
                    <a:pt x="180" y="36"/>
                  </a:lnTo>
                  <a:lnTo>
                    <a:pt x="186" y="42"/>
                  </a:lnTo>
                  <a:lnTo>
                    <a:pt x="188" y="44"/>
                  </a:lnTo>
                  <a:lnTo>
                    <a:pt x="188" y="36"/>
                  </a:lnTo>
                  <a:lnTo>
                    <a:pt x="186" y="32"/>
                  </a:lnTo>
                  <a:lnTo>
                    <a:pt x="190" y="32"/>
                  </a:lnTo>
                  <a:lnTo>
                    <a:pt x="194" y="34"/>
                  </a:lnTo>
                  <a:lnTo>
                    <a:pt x="198" y="32"/>
                  </a:lnTo>
                  <a:lnTo>
                    <a:pt x="198" y="30"/>
                  </a:lnTo>
                  <a:lnTo>
                    <a:pt x="212" y="52"/>
                  </a:lnTo>
                  <a:lnTo>
                    <a:pt x="216" y="54"/>
                  </a:lnTo>
                  <a:lnTo>
                    <a:pt x="220" y="54"/>
                  </a:lnTo>
                  <a:lnTo>
                    <a:pt x="228" y="58"/>
                  </a:lnTo>
                  <a:lnTo>
                    <a:pt x="228" y="62"/>
                  </a:lnTo>
                  <a:lnTo>
                    <a:pt x="226" y="66"/>
                  </a:lnTo>
                  <a:lnTo>
                    <a:pt x="226" y="70"/>
                  </a:lnTo>
                  <a:lnTo>
                    <a:pt x="228" y="72"/>
                  </a:lnTo>
                  <a:lnTo>
                    <a:pt x="230" y="76"/>
                  </a:lnTo>
                  <a:lnTo>
                    <a:pt x="226" y="76"/>
                  </a:lnTo>
                  <a:lnTo>
                    <a:pt x="224" y="80"/>
                  </a:lnTo>
                  <a:lnTo>
                    <a:pt x="224" y="84"/>
                  </a:lnTo>
                  <a:lnTo>
                    <a:pt x="222" y="86"/>
                  </a:lnTo>
                  <a:lnTo>
                    <a:pt x="224" y="90"/>
                  </a:lnTo>
                  <a:lnTo>
                    <a:pt x="230" y="96"/>
                  </a:lnTo>
                  <a:lnTo>
                    <a:pt x="254" y="106"/>
                  </a:lnTo>
                  <a:lnTo>
                    <a:pt x="258" y="106"/>
                  </a:lnTo>
                  <a:lnTo>
                    <a:pt x="258" y="102"/>
                  </a:lnTo>
                  <a:lnTo>
                    <a:pt x="264" y="102"/>
                  </a:lnTo>
                  <a:lnTo>
                    <a:pt x="272" y="114"/>
                  </a:lnTo>
                  <a:lnTo>
                    <a:pt x="272" y="118"/>
                  </a:lnTo>
                  <a:lnTo>
                    <a:pt x="270" y="126"/>
                  </a:lnTo>
                  <a:lnTo>
                    <a:pt x="272" y="130"/>
                  </a:lnTo>
                  <a:lnTo>
                    <a:pt x="274" y="134"/>
                  </a:lnTo>
                  <a:lnTo>
                    <a:pt x="276" y="136"/>
                  </a:lnTo>
                  <a:lnTo>
                    <a:pt x="276" y="146"/>
                  </a:lnTo>
                  <a:lnTo>
                    <a:pt x="274" y="148"/>
                  </a:lnTo>
                  <a:lnTo>
                    <a:pt x="278" y="160"/>
                  </a:lnTo>
                  <a:lnTo>
                    <a:pt x="298" y="182"/>
                  </a:lnTo>
                  <a:lnTo>
                    <a:pt x="306" y="196"/>
                  </a:lnTo>
                  <a:lnTo>
                    <a:pt x="310" y="198"/>
                  </a:lnTo>
                  <a:lnTo>
                    <a:pt x="318" y="202"/>
                  </a:lnTo>
                  <a:lnTo>
                    <a:pt x="344" y="234"/>
                  </a:lnTo>
                  <a:lnTo>
                    <a:pt x="348" y="236"/>
                  </a:lnTo>
                  <a:lnTo>
                    <a:pt x="352" y="234"/>
                  </a:lnTo>
                  <a:lnTo>
                    <a:pt x="356" y="236"/>
                  </a:lnTo>
                  <a:lnTo>
                    <a:pt x="368" y="242"/>
                  </a:lnTo>
                  <a:lnTo>
                    <a:pt x="370" y="246"/>
                  </a:lnTo>
                  <a:lnTo>
                    <a:pt x="374" y="248"/>
                  </a:lnTo>
                  <a:lnTo>
                    <a:pt x="376" y="252"/>
                  </a:lnTo>
                  <a:lnTo>
                    <a:pt x="370" y="258"/>
                  </a:lnTo>
                  <a:lnTo>
                    <a:pt x="366" y="274"/>
                  </a:lnTo>
                  <a:lnTo>
                    <a:pt x="358" y="270"/>
                  </a:lnTo>
                  <a:lnTo>
                    <a:pt x="346" y="262"/>
                  </a:lnTo>
                  <a:lnTo>
                    <a:pt x="342" y="262"/>
                  </a:lnTo>
                  <a:lnTo>
                    <a:pt x="340" y="262"/>
                  </a:lnTo>
                  <a:lnTo>
                    <a:pt x="338" y="266"/>
                  </a:lnTo>
                  <a:lnTo>
                    <a:pt x="336" y="268"/>
                  </a:lnTo>
                  <a:lnTo>
                    <a:pt x="336" y="270"/>
                  </a:lnTo>
                  <a:lnTo>
                    <a:pt x="326" y="268"/>
                  </a:lnTo>
                  <a:lnTo>
                    <a:pt x="324" y="266"/>
                  </a:lnTo>
                  <a:lnTo>
                    <a:pt x="318" y="266"/>
                  </a:lnTo>
                  <a:lnTo>
                    <a:pt x="316" y="268"/>
                  </a:lnTo>
                  <a:lnTo>
                    <a:pt x="312" y="270"/>
                  </a:lnTo>
                  <a:lnTo>
                    <a:pt x="312" y="270"/>
                  </a:lnTo>
                  <a:lnTo>
                    <a:pt x="310" y="274"/>
                  </a:lnTo>
                  <a:lnTo>
                    <a:pt x="306" y="282"/>
                  </a:lnTo>
                  <a:lnTo>
                    <a:pt x="304" y="284"/>
                  </a:lnTo>
                  <a:lnTo>
                    <a:pt x="300" y="292"/>
                  </a:lnTo>
                  <a:lnTo>
                    <a:pt x="298" y="294"/>
                  </a:lnTo>
                  <a:lnTo>
                    <a:pt x="288" y="298"/>
                  </a:lnTo>
                  <a:lnTo>
                    <a:pt x="284" y="298"/>
                  </a:lnTo>
                  <a:lnTo>
                    <a:pt x="280" y="300"/>
                  </a:lnTo>
                  <a:lnTo>
                    <a:pt x="256" y="302"/>
                  </a:lnTo>
                  <a:lnTo>
                    <a:pt x="252" y="300"/>
                  </a:lnTo>
                  <a:lnTo>
                    <a:pt x="252" y="304"/>
                  </a:lnTo>
                  <a:lnTo>
                    <a:pt x="254" y="306"/>
                  </a:lnTo>
                  <a:lnTo>
                    <a:pt x="252" y="308"/>
                  </a:lnTo>
                  <a:lnTo>
                    <a:pt x="248" y="308"/>
                  </a:lnTo>
                  <a:lnTo>
                    <a:pt x="246" y="314"/>
                  </a:lnTo>
                  <a:lnTo>
                    <a:pt x="242" y="316"/>
                  </a:lnTo>
                  <a:lnTo>
                    <a:pt x="238" y="316"/>
                  </a:lnTo>
                  <a:lnTo>
                    <a:pt x="234" y="318"/>
                  </a:lnTo>
                  <a:lnTo>
                    <a:pt x="226" y="316"/>
                  </a:lnTo>
                  <a:lnTo>
                    <a:pt x="222" y="316"/>
                  </a:lnTo>
                  <a:lnTo>
                    <a:pt x="218" y="316"/>
                  </a:lnTo>
                  <a:lnTo>
                    <a:pt x="218" y="312"/>
                  </a:lnTo>
                  <a:lnTo>
                    <a:pt x="214" y="308"/>
                  </a:lnTo>
                  <a:lnTo>
                    <a:pt x="212" y="306"/>
                  </a:lnTo>
                  <a:lnTo>
                    <a:pt x="204" y="304"/>
                  </a:lnTo>
                  <a:lnTo>
                    <a:pt x="198" y="302"/>
                  </a:lnTo>
                  <a:lnTo>
                    <a:pt x="198" y="300"/>
                  </a:lnTo>
                  <a:lnTo>
                    <a:pt x="192" y="292"/>
                  </a:lnTo>
                  <a:lnTo>
                    <a:pt x="196" y="286"/>
                  </a:lnTo>
                  <a:lnTo>
                    <a:pt x="196" y="280"/>
                  </a:lnTo>
                  <a:lnTo>
                    <a:pt x="202" y="262"/>
                  </a:lnTo>
                  <a:lnTo>
                    <a:pt x="200" y="258"/>
                  </a:lnTo>
                  <a:lnTo>
                    <a:pt x="186" y="254"/>
                  </a:lnTo>
                  <a:lnTo>
                    <a:pt x="158" y="224"/>
                  </a:lnTo>
                  <a:lnTo>
                    <a:pt x="158" y="218"/>
                  </a:lnTo>
                  <a:lnTo>
                    <a:pt x="156" y="210"/>
                  </a:lnTo>
                  <a:lnTo>
                    <a:pt x="144" y="202"/>
                  </a:lnTo>
                  <a:lnTo>
                    <a:pt x="138" y="202"/>
                  </a:lnTo>
                  <a:lnTo>
                    <a:pt x="108" y="180"/>
                  </a:lnTo>
                  <a:lnTo>
                    <a:pt x="102" y="166"/>
                  </a:lnTo>
                  <a:lnTo>
                    <a:pt x="82" y="160"/>
                  </a:lnTo>
                  <a:lnTo>
                    <a:pt x="80" y="164"/>
                  </a:lnTo>
                  <a:lnTo>
                    <a:pt x="76" y="164"/>
                  </a:lnTo>
                  <a:lnTo>
                    <a:pt x="70" y="162"/>
                  </a:lnTo>
                  <a:lnTo>
                    <a:pt x="66" y="160"/>
                  </a:lnTo>
                  <a:lnTo>
                    <a:pt x="50" y="156"/>
                  </a:lnTo>
                  <a:lnTo>
                    <a:pt x="18" y="166"/>
                  </a:lnTo>
                  <a:lnTo>
                    <a:pt x="0" y="162"/>
                  </a:lnTo>
                  <a:lnTo>
                    <a:pt x="0" y="162"/>
                  </a:lnTo>
                  <a:lnTo>
                    <a:pt x="10" y="128"/>
                  </a:lnTo>
                  <a:lnTo>
                    <a:pt x="18" y="118"/>
                  </a:lnTo>
                  <a:lnTo>
                    <a:pt x="26" y="114"/>
                  </a:lnTo>
                  <a:lnTo>
                    <a:pt x="20" y="110"/>
                  </a:lnTo>
                  <a:lnTo>
                    <a:pt x="16" y="98"/>
                  </a:lnTo>
                  <a:lnTo>
                    <a:pt x="12" y="94"/>
                  </a:lnTo>
                  <a:lnTo>
                    <a:pt x="12" y="94"/>
                  </a:lnTo>
                  <a:lnTo>
                    <a:pt x="28" y="92"/>
                  </a:lnTo>
                  <a:lnTo>
                    <a:pt x="20" y="86"/>
                  </a:lnTo>
                  <a:lnTo>
                    <a:pt x="18" y="80"/>
                  </a:lnTo>
                  <a:lnTo>
                    <a:pt x="26" y="78"/>
                  </a:lnTo>
                  <a:lnTo>
                    <a:pt x="32" y="86"/>
                  </a:lnTo>
                  <a:lnTo>
                    <a:pt x="32" y="78"/>
                  </a:lnTo>
                  <a:lnTo>
                    <a:pt x="22" y="72"/>
                  </a:lnTo>
                  <a:lnTo>
                    <a:pt x="14" y="70"/>
                  </a:lnTo>
                  <a:lnTo>
                    <a:pt x="8" y="72"/>
                  </a:lnTo>
                  <a:lnTo>
                    <a:pt x="6" y="72"/>
                  </a:lnTo>
                  <a:lnTo>
                    <a:pt x="8" y="56"/>
                  </a:lnTo>
                  <a:lnTo>
                    <a:pt x="12" y="50"/>
                  </a:lnTo>
                  <a:lnTo>
                    <a:pt x="18" y="46"/>
                  </a:lnTo>
                  <a:lnTo>
                    <a:pt x="22" y="34"/>
                  </a:lnTo>
                  <a:lnTo>
                    <a:pt x="24" y="46"/>
                  </a:lnTo>
                  <a:lnTo>
                    <a:pt x="34" y="50"/>
                  </a:lnTo>
                  <a:lnTo>
                    <a:pt x="42" y="56"/>
                  </a:lnTo>
                  <a:lnTo>
                    <a:pt x="48" y="58"/>
                  </a:lnTo>
                  <a:lnTo>
                    <a:pt x="54" y="62"/>
                  </a:lnTo>
                  <a:lnTo>
                    <a:pt x="60" y="62"/>
                  </a:lnTo>
                  <a:lnTo>
                    <a:pt x="56" y="60"/>
                  </a:lnTo>
                  <a:lnTo>
                    <a:pt x="56" y="56"/>
                  </a:lnTo>
                  <a:lnTo>
                    <a:pt x="64" y="58"/>
                  </a:lnTo>
                  <a:lnTo>
                    <a:pt x="74" y="52"/>
                  </a:lnTo>
                  <a:lnTo>
                    <a:pt x="62" y="30"/>
                  </a:lnTo>
                  <a:lnTo>
                    <a:pt x="62" y="20"/>
                  </a:lnTo>
                  <a:lnTo>
                    <a:pt x="58" y="12"/>
                  </a:lnTo>
                  <a:lnTo>
                    <a:pt x="54" y="8"/>
                  </a:lnTo>
                  <a:lnTo>
                    <a:pt x="34" y="8"/>
                  </a:lnTo>
                  <a:lnTo>
                    <a:pt x="28" y="12"/>
                  </a:lnTo>
                  <a:lnTo>
                    <a:pt x="26" y="16"/>
                  </a:lnTo>
                  <a:lnTo>
                    <a:pt x="28" y="18"/>
                  </a:lnTo>
                  <a:lnTo>
                    <a:pt x="24" y="30"/>
                  </a:lnTo>
                  <a:lnTo>
                    <a:pt x="22" y="28"/>
                  </a:lnTo>
                  <a:lnTo>
                    <a:pt x="20" y="14"/>
                  </a:lnTo>
                  <a:lnTo>
                    <a:pt x="22" y="6"/>
                  </a:lnTo>
                  <a:lnTo>
                    <a:pt x="42" y="0"/>
                  </a:lnTo>
                  <a:lnTo>
                    <a:pt x="76" y="4"/>
                  </a:lnTo>
                  <a:lnTo>
                    <a:pt x="86" y="16"/>
                  </a:lnTo>
                  <a:lnTo>
                    <a:pt x="88" y="20"/>
                  </a:lnTo>
                  <a:lnTo>
                    <a:pt x="88" y="28"/>
                  </a:lnTo>
                  <a:lnTo>
                    <a:pt x="90" y="36"/>
                  </a:lnTo>
                  <a:lnTo>
                    <a:pt x="90" y="48"/>
                  </a:lnTo>
                  <a:lnTo>
                    <a:pt x="94" y="52"/>
                  </a:lnTo>
                  <a:lnTo>
                    <a:pt x="104" y="56"/>
                  </a:lnTo>
                  <a:lnTo>
                    <a:pt x="110" y="5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2" name="Freeform 424"/>
            <p:cNvSpPr>
              <a:spLocks/>
            </p:cNvSpPr>
            <p:nvPr/>
          </p:nvSpPr>
          <p:spPr bwMode="auto">
            <a:xfrm>
              <a:off x="3541713" y="3662363"/>
              <a:ext cx="563563" cy="209550"/>
            </a:xfrm>
            <a:custGeom>
              <a:avLst/>
              <a:gdLst>
                <a:gd name="T0" fmla="*/ 132 w 328"/>
                <a:gd name="T1" fmla="*/ 122 h 132"/>
                <a:gd name="T2" fmla="*/ 156 w 328"/>
                <a:gd name="T3" fmla="*/ 108 h 132"/>
                <a:gd name="T4" fmla="*/ 164 w 328"/>
                <a:gd name="T5" fmla="*/ 106 h 132"/>
                <a:gd name="T6" fmla="*/ 174 w 328"/>
                <a:gd name="T7" fmla="*/ 102 h 132"/>
                <a:gd name="T8" fmla="*/ 186 w 328"/>
                <a:gd name="T9" fmla="*/ 100 h 132"/>
                <a:gd name="T10" fmla="*/ 208 w 328"/>
                <a:gd name="T11" fmla="*/ 108 h 132"/>
                <a:gd name="T12" fmla="*/ 220 w 328"/>
                <a:gd name="T13" fmla="*/ 96 h 132"/>
                <a:gd name="T14" fmla="*/ 266 w 328"/>
                <a:gd name="T15" fmla="*/ 86 h 132"/>
                <a:gd name="T16" fmla="*/ 324 w 328"/>
                <a:gd name="T17" fmla="*/ 56 h 132"/>
                <a:gd name="T18" fmla="*/ 328 w 328"/>
                <a:gd name="T19" fmla="*/ 46 h 132"/>
                <a:gd name="T20" fmla="*/ 324 w 328"/>
                <a:gd name="T21" fmla="*/ 46 h 132"/>
                <a:gd name="T22" fmla="*/ 306 w 328"/>
                <a:gd name="T23" fmla="*/ 38 h 132"/>
                <a:gd name="T24" fmla="*/ 284 w 328"/>
                <a:gd name="T25" fmla="*/ 26 h 132"/>
                <a:gd name="T26" fmla="*/ 248 w 328"/>
                <a:gd name="T27" fmla="*/ 20 h 132"/>
                <a:gd name="T28" fmla="*/ 236 w 328"/>
                <a:gd name="T29" fmla="*/ 16 h 132"/>
                <a:gd name="T30" fmla="*/ 188 w 328"/>
                <a:gd name="T31" fmla="*/ 14 h 132"/>
                <a:gd name="T32" fmla="*/ 172 w 328"/>
                <a:gd name="T33" fmla="*/ 10 h 132"/>
                <a:gd name="T34" fmla="*/ 156 w 328"/>
                <a:gd name="T35" fmla="*/ 2 h 132"/>
                <a:gd name="T36" fmla="*/ 140 w 328"/>
                <a:gd name="T37" fmla="*/ 6 h 132"/>
                <a:gd name="T38" fmla="*/ 138 w 328"/>
                <a:gd name="T39" fmla="*/ 12 h 132"/>
                <a:gd name="T40" fmla="*/ 132 w 328"/>
                <a:gd name="T41" fmla="*/ 24 h 132"/>
                <a:gd name="T42" fmla="*/ 88 w 328"/>
                <a:gd name="T43" fmla="*/ 6 h 132"/>
                <a:gd name="T44" fmla="*/ 72 w 328"/>
                <a:gd name="T45" fmla="*/ 4 h 132"/>
                <a:gd name="T46" fmla="*/ 70 w 328"/>
                <a:gd name="T47" fmla="*/ 12 h 132"/>
                <a:gd name="T48" fmla="*/ 72 w 328"/>
                <a:gd name="T49" fmla="*/ 22 h 132"/>
                <a:gd name="T50" fmla="*/ 64 w 328"/>
                <a:gd name="T51" fmla="*/ 28 h 132"/>
                <a:gd name="T52" fmla="*/ 40 w 328"/>
                <a:gd name="T53" fmla="*/ 44 h 132"/>
                <a:gd name="T54" fmla="*/ 48 w 328"/>
                <a:gd name="T55" fmla="*/ 50 h 132"/>
                <a:gd name="T56" fmla="*/ 54 w 328"/>
                <a:gd name="T57" fmla="*/ 56 h 132"/>
                <a:gd name="T58" fmla="*/ 70 w 328"/>
                <a:gd name="T59" fmla="*/ 62 h 132"/>
                <a:gd name="T60" fmla="*/ 76 w 328"/>
                <a:gd name="T61" fmla="*/ 56 h 132"/>
                <a:gd name="T62" fmla="*/ 84 w 328"/>
                <a:gd name="T63" fmla="*/ 52 h 132"/>
                <a:gd name="T64" fmla="*/ 84 w 328"/>
                <a:gd name="T65" fmla="*/ 60 h 132"/>
                <a:gd name="T66" fmla="*/ 98 w 328"/>
                <a:gd name="T67" fmla="*/ 68 h 132"/>
                <a:gd name="T68" fmla="*/ 112 w 328"/>
                <a:gd name="T69" fmla="*/ 78 h 132"/>
                <a:gd name="T70" fmla="*/ 118 w 328"/>
                <a:gd name="T71" fmla="*/ 80 h 132"/>
                <a:gd name="T72" fmla="*/ 108 w 328"/>
                <a:gd name="T73" fmla="*/ 84 h 132"/>
                <a:gd name="T74" fmla="*/ 100 w 328"/>
                <a:gd name="T75" fmla="*/ 88 h 132"/>
                <a:gd name="T76" fmla="*/ 94 w 328"/>
                <a:gd name="T77" fmla="*/ 90 h 132"/>
                <a:gd name="T78" fmla="*/ 86 w 328"/>
                <a:gd name="T79" fmla="*/ 90 h 132"/>
                <a:gd name="T80" fmla="*/ 80 w 328"/>
                <a:gd name="T81" fmla="*/ 96 h 132"/>
                <a:gd name="T82" fmla="*/ 64 w 328"/>
                <a:gd name="T83" fmla="*/ 92 h 132"/>
                <a:gd name="T84" fmla="*/ 50 w 328"/>
                <a:gd name="T85" fmla="*/ 94 h 132"/>
                <a:gd name="T86" fmla="*/ 42 w 328"/>
                <a:gd name="T87" fmla="*/ 98 h 132"/>
                <a:gd name="T88" fmla="*/ 32 w 328"/>
                <a:gd name="T89" fmla="*/ 92 h 132"/>
                <a:gd name="T90" fmla="*/ 2 w 328"/>
                <a:gd name="T91" fmla="*/ 92 h 132"/>
                <a:gd name="T92" fmla="*/ 2 w 328"/>
                <a:gd name="T93" fmla="*/ 108 h 132"/>
                <a:gd name="T94" fmla="*/ 10 w 328"/>
                <a:gd name="T95" fmla="*/ 108 h 132"/>
                <a:gd name="T96" fmla="*/ 36 w 328"/>
                <a:gd name="T97" fmla="*/ 112 h 132"/>
                <a:gd name="T98" fmla="*/ 42 w 328"/>
                <a:gd name="T99" fmla="*/ 118 h 132"/>
                <a:gd name="T100" fmla="*/ 62 w 328"/>
                <a:gd name="T101" fmla="*/ 116 h 132"/>
                <a:gd name="T102" fmla="*/ 70 w 328"/>
                <a:gd name="T103" fmla="*/ 120 h 132"/>
                <a:gd name="T104" fmla="*/ 80 w 328"/>
                <a:gd name="T105" fmla="*/ 130 h 132"/>
                <a:gd name="T106" fmla="*/ 92 w 328"/>
                <a:gd name="T107" fmla="*/ 128 h 132"/>
                <a:gd name="T108" fmla="*/ 110 w 328"/>
                <a:gd name="T109" fmla="*/ 132 h 132"/>
                <a:gd name="T110" fmla="*/ 120 w 328"/>
                <a:gd name="T111" fmla="*/ 132 h 132"/>
                <a:gd name="T112" fmla="*/ 132 w 328"/>
                <a:gd name="T113" fmla="*/ 1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8" h="132">
                  <a:moveTo>
                    <a:pt x="132" y="128"/>
                  </a:moveTo>
                  <a:lnTo>
                    <a:pt x="132" y="122"/>
                  </a:lnTo>
                  <a:lnTo>
                    <a:pt x="140" y="112"/>
                  </a:lnTo>
                  <a:lnTo>
                    <a:pt x="156" y="108"/>
                  </a:lnTo>
                  <a:lnTo>
                    <a:pt x="160" y="106"/>
                  </a:lnTo>
                  <a:lnTo>
                    <a:pt x="164" y="106"/>
                  </a:lnTo>
                  <a:lnTo>
                    <a:pt x="168" y="100"/>
                  </a:lnTo>
                  <a:lnTo>
                    <a:pt x="174" y="102"/>
                  </a:lnTo>
                  <a:lnTo>
                    <a:pt x="182" y="100"/>
                  </a:lnTo>
                  <a:lnTo>
                    <a:pt x="186" y="100"/>
                  </a:lnTo>
                  <a:lnTo>
                    <a:pt x="190" y="108"/>
                  </a:lnTo>
                  <a:lnTo>
                    <a:pt x="208" y="108"/>
                  </a:lnTo>
                  <a:lnTo>
                    <a:pt x="216" y="104"/>
                  </a:lnTo>
                  <a:lnTo>
                    <a:pt x="220" y="96"/>
                  </a:lnTo>
                  <a:lnTo>
                    <a:pt x="226" y="90"/>
                  </a:lnTo>
                  <a:lnTo>
                    <a:pt x="266" y="86"/>
                  </a:lnTo>
                  <a:lnTo>
                    <a:pt x="280" y="74"/>
                  </a:lnTo>
                  <a:lnTo>
                    <a:pt x="324" y="56"/>
                  </a:lnTo>
                  <a:lnTo>
                    <a:pt x="328" y="50"/>
                  </a:lnTo>
                  <a:lnTo>
                    <a:pt x="328" y="46"/>
                  </a:lnTo>
                  <a:lnTo>
                    <a:pt x="328" y="46"/>
                  </a:lnTo>
                  <a:lnTo>
                    <a:pt x="324" y="46"/>
                  </a:lnTo>
                  <a:lnTo>
                    <a:pt x="314" y="38"/>
                  </a:lnTo>
                  <a:lnTo>
                    <a:pt x="306" y="38"/>
                  </a:lnTo>
                  <a:lnTo>
                    <a:pt x="300" y="28"/>
                  </a:lnTo>
                  <a:lnTo>
                    <a:pt x="284" y="26"/>
                  </a:lnTo>
                  <a:lnTo>
                    <a:pt x="280" y="22"/>
                  </a:lnTo>
                  <a:lnTo>
                    <a:pt x="248" y="20"/>
                  </a:lnTo>
                  <a:lnTo>
                    <a:pt x="240" y="16"/>
                  </a:lnTo>
                  <a:lnTo>
                    <a:pt x="236" y="16"/>
                  </a:lnTo>
                  <a:lnTo>
                    <a:pt x="228" y="18"/>
                  </a:lnTo>
                  <a:lnTo>
                    <a:pt x="188" y="14"/>
                  </a:lnTo>
                  <a:lnTo>
                    <a:pt x="184" y="10"/>
                  </a:lnTo>
                  <a:lnTo>
                    <a:pt x="172" y="10"/>
                  </a:lnTo>
                  <a:lnTo>
                    <a:pt x="160" y="0"/>
                  </a:lnTo>
                  <a:lnTo>
                    <a:pt x="156" y="2"/>
                  </a:lnTo>
                  <a:lnTo>
                    <a:pt x="152" y="2"/>
                  </a:lnTo>
                  <a:lnTo>
                    <a:pt x="140" y="6"/>
                  </a:lnTo>
                  <a:lnTo>
                    <a:pt x="140" y="10"/>
                  </a:lnTo>
                  <a:lnTo>
                    <a:pt x="138" y="12"/>
                  </a:lnTo>
                  <a:lnTo>
                    <a:pt x="134" y="20"/>
                  </a:lnTo>
                  <a:lnTo>
                    <a:pt x="132" y="24"/>
                  </a:lnTo>
                  <a:lnTo>
                    <a:pt x="92" y="6"/>
                  </a:lnTo>
                  <a:lnTo>
                    <a:pt x="88" y="6"/>
                  </a:lnTo>
                  <a:lnTo>
                    <a:pt x="84" y="4"/>
                  </a:lnTo>
                  <a:lnTo>
                    <a:pt x="72" y="4"/>
                  </a:lnTo>
                  <a:lnTo>
                    <a:pt x="70" y="8"/>
                  </a:lnTo>
                  <a:lnTo>
                    <a:pt x="70" y="12"/>
                  </a:lnTo>
                  <a:lnTo>
                    <a:pt x="64" y="18"/>
                  </a:lnTo>
                  <a:lnTo>
                    <a:pt x="72" y="22"/>
                  </a:lnTo>
                  <a:lnTo>
                    <a:pt x="72" y="26"/>
                  </a:lnTo>
                  <a:lnTo>
                    <a:pt x="64" y="28"/>
                  </a:lnTo>
                  <a:lnTo>
                    <a:pt x="42" y="40"/>
                  </a:lnTo>
                  <a:lnTo>
                    <a:pt x="40" y="44"/>
                  </a:lnTo>
                  <a:lnTo>
                    <a:pt x="44" y="46"/>
                  </a:lnTo>
                  <a:lnTo>
                    <a:pt x="48" y="50"/>
                  </a:lnTo>
                  <a:lnTo>
                    <a:pt x="52" y="48"/>
                  </a:lnTo>
                  <a:lnTo>
                    <a:pt x="54" y="56"/>
                  </a:lnTo>
                  <a:lnTo>
                    <a:pt x="66" y="62"/>
                  </a:lnTo>
                  <a:lnTo>
                    <a:pt x="70" y="62"/>
                  </a:lnTo>
                  <a:lnTo>
                    <a:pt x="72" y="58"/>
                  </a:lnTo>
                  <a:lnTo>
                    <a:pt x="76" y="56"/>
                  </a:lnTo>
                  <a:lnTo>
                    <a:pt x="80" y="50"/>
                  </a:lnTo>
                  <a:lnTo>
                    <a:pt x="84" y="52"/>
                  </a:lnTo>
                  <a:lnTo>
                    <a:pt x="86" y="56"/>
                  </a:lnTo>
                  <a:lnTo>
                    <a:pt x="84" y="60"/>
                  </a:lnTo>
                  <a:lnTo>
                    <a:pt x="94" y="68"/>
                  </a:lnTo>
                  <a:lnTo>
                    <a:pt x="98" y="68"/>
                  </a:lnTo>
                  <a:lnTo>
                    <a:pt x="104" y="74"/>
                  </a:lnTo>
                  <a:lnTo>
                    <a:pt x="112" y="78"/>
                  </a:lnTo>
                  <a:lnTo>
                    <a:pt x="116" y="78"/>
                  </a:lnTo>
                  <a:lnTo>
                    <a:pt x="118" y="80"/>
                  </a:lnTo>
                  <a:lnTo>
                    <a:pt x="116" y="82"/>
                  </a:lnTo>
                  <a:lnTo>
                    <a:pt x="108" y="84"/>
                  </a:lnTo>
                  <a:lnTo>
                    <a:pt x="104" y="86"/>
                  </a:lnTo>
                  <a:lnTo>
                    <a:pt x="100" y="88"/>
                  </a:lnTo>
                  <a:lnTo>
                    <a:pt x="96" y="86"/>
                  </a:lnTo>
                  <a:lnTo>
                    <a:pt x="94" y="90"/>
                  </a:lnTo>
                  <a:lnTo>
                    <a:pt x="90" y="88"/>
                  </a:lnTo>
                  <a:lnTo>
                    <a:pt x="86" y="90"/>
                  </a:lnTo>
                  <a:lnTo>
                    <a:pt x="84" y="94"/>
                  </a:lnTo>
                  <a:lnTo>
                    <a:pt x="80" y="96"/>
                  </a:lnTo>
                  <a:lnTo>
                    <a:pt x="70" y="96"/>
                  </a:lnTo>
                  <a:lnTo>
                    <a:pt x="64" y="92"/>
                  </a:lnTo>
                  <a:lnTo>
                    <a:pt x="52" y="90"/>
                  </a:lnTo>
                  <a:lnTo>
                    <a:pt x="50" y="94"/>
                  </a:lnTo>
                  <a:lnTo>
                    <a:pt x="46" y="94"/>
                  </a:lnTo>
                  <a:lnTo>
                    <a:pt x="42" y="98"/>
                  </a:lnTo>
                  <a:lnTo>
                    <a:pt x="38" y="98"/>
                  </a:lnTo>
                  <a:lnTo>
                    <a:pt x="32" y="92"/>
                  </a:lnTo>
                  <a:lnTo>
                    <a:pt x="14" y="90"/>
                  </a:lnTo>
                  <a:lnTo>
                    <a:pt x="2" y="92"/>
                  </a:lnTo>
                  <a:lnTo>
                    <a:pt x="0" y="104"/>
                  </a:lnTo>
                  <a:lnTo>
                    <a:pt x="2" y="108"/>
                  </a:lnTo>
                  <a:lnTo>
                    <a:pt x="6" y="108"/>
                  </a:lnTo>
                  <a:lnTo>
                    <a:pt x="10" y="108"/>
                  </a:lnTo>
                  <a:lnTo>
                    <a:pt x="18" y="112"/>
                  </a:lnTo>
                  <a:lnTo>
                    <a:pt x="36" y="112"/>
                  </a:lnTo>
                  <a:lnTo>
                    <a:pt x="40" y="114"/>
                  </a:lnTo>
                  <a:lnTo>
                    <a:pt x="42" y="118"/>
                  </a:lnTo>
                  <a:lnTo>
                    <a:pt x="46" y="118"/>
                  </a:lnTo>
                  <a:lnTo>
                    <a:pt x="62" y="116"/>
                  </a:lnTo>
                  <a:lnTo>
                    <a:pt x="66" y="120"/>
                  </a:lnTo>
                  <a:lnTo>
                    <a:pt x="70" y="120"/>
                  </a:lnTo>
                  <a:lnTo>
                    <a:pt x="72" y="128"/>
                  </a:lnTo>
                  <a:lnTo>
                    <a:pt x="80" y="130"/>
                  </a:lnTo>
                  <a:lnTo>
                    <a:pt x="84" y="132"/>
                  </a:lnTo>
                  <a:lnTo>
                    <a:pt x="92" y="128"/>
                  </a:lnTo>
                  <a:lnTo>
                    <a:pt x="102" y="128"/>
                  </a:lnTo>
                  <a:lnTo>
                    <a:pt x="110" y="132"/>
                  </a:lnTo>
                  <a:lnTo>
                    <a:pt x="114" y="130"/>
                  </a:lnTo>
                  <a:lnTo>
                    <a:pt x="120" y="132"/>
                  </a:lnTo>
                  <a:lnTo>
                    <a:pt x="122" y="124"/>
                  </a:lnTo>
                  <a:lnTo>
                    <a:pt x="132" y="128"/>
                  </a:lnTo>
                  <a:lnTo>
                    <a:pt x="132" y="128"/>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73" name="Freeform 425"/>
            <p:cNvSpPr>
              <a:spLocks/>
            </p:cNvSpPr>
            <p:nvPr/>
          </p:nvSpPr>
          <p:spPr bwMode="auto">
            <a:xfrm>
              <a:off x="3541713" y="3662363"/>
              <a:ext cx="563563" cy="209550"/>
            </a:xfrm>
            <a:custGeom>
              <a:avLst/>
              <a:gdLst>
                <a:gd name="T0" fmla="*/ 132 w 328"/>
                <a:gd name="T1" fmla="*/ 122 h 132"/>
                <a:gd name="T2" fmla="*/ 156 w 328"/>
                <a:gd name="T3" fmla="*/ 108 h 132"/>
                <a:gd name="T4" fmla="*/ 164 w 328"/>
                <a:gd name="T5" fmla="*/ 106 h 132"/>
                <a:gd name="T6" fmla="*/ 174 w 328"/>
                <a:gd name="T7" fmla="*/ 102 h 132"/>
                <a:gd name="T8" fmla="*/ 186 w 328"/>
                <a:gd name="T9" fmla="*/ 100 h 132"/>
                <a:gd name="T10" fmla="*/ 208 w 328"/>
                <a:gd name="T11" fmla="*/ 108 h 132"/>
                <a:gd name="T12" fmla="*/ 220 w 328"/>
                <a:gd name="T13" fmla="*/ 96 h 132"/>
                <a:gd name="T14" fmla="*/ 266 w 328"/>
                <a:gd name="T15" fmla="*/ 86 h 132"/>
                <a:gd name="T16" fmla="*/ 324 w 328"/>
                <a:gd name="T17" fmla="*/ 56 h 132"/>
                <a:gd name="T18" fmla="*/ 328 w 328"/>
                <a:gd name="T19" fmla="*/ 46 h 132"/>
                <a:gd name="T20" fmla="*/ 324 w 328"/>
                <a:gd name="T21" fmla="*/ 46 h 132"/>
                <a:gd name="T22" fmla="*/ 306 w 328"/>
                <a:gd name="T23" fmla="*/ 38 h 132"/>
                <a:gd name="T24" fmla="*/ 284 w 328"/>
                <a:gd name="T25" fmla="*/ 26 h 132"/>
                <a:gd name="T26" fmla="*/ 248 w 328"/>
                <a:gd name="T27" fmla="*/ 20 h 132"/>
                <a:gd name="T28" fmla="*/ 236 w 328"/>
                <a:gd name="T29" fmla="*/ 16 h 132"/>
                <a:gd name="T30" fmla="*/ 188 w 328"/>
                <a:gd name="T31" fmla="*/ 14 h 132"/>
                <a:gd name="T32" fmla="*/ 172 w 328"/>
                <a:gd name="T33" fmla="*/ 10 h 132"/>
                <a:gd name="T34" fmla="*/ 156 w 328"/>
                <a:gd name="T35" fmla="*/ 2 h 132"/>
                <a:gd name="T36" fmla="*/ 140 w 328"/>
                <a:gd name="T37" fmla="*/ 6 h 132"/>
                <a:gd name="T38" fmla="*/ 138 w 328"/>
                <a:gd name="T39" fmla="*/ 12 h 132"/>
                <a:gd name="T40" fmla="*/ 132 w 328"/>
                <a:gd name="T41" fmla="*/ 24 h 132"/>
                <a:gd name="T42" fmla="*/ 88 w 328"/>
                <a:gd name="T43" fmla="*/ 6 h 132"/>
                <a:gd name="T44" fmla="*/ 72 w 328"/>
                <a:gd name="T45" fmla="*/ 4 h 132"/>
                <a:gd name="T46" fmla="*/ 70 w 328"/>
                <a:gd name="T47" fmla="*/ 12 h 132"/>
                <a:gd name="T48" fmla="*/ 72 w 328"/>
                <a:gd name="T49" fmla="*/ 22 h 132"/>
                <a:gd name="T50" fmla="*/ 64 w 328"/>
                <a:gd name="T51" fmla="*/ 28 h 132"/>
                <a:gd name="T52" fmla="*/ 40 w 328"/>
                <a:gd name="T53" fmla="*/ 44 h 132"/>
                <a:gd name="T54" fmla="*/ 48 w 328"/>
                <a:gd name="T55" fmla="*/ 50 h 132"/>
                <a:gd name="T56" fmla="*/ 54 w 328"/>
                <a:gd name="T57" fmla="*/ 56 h 132"/>
                <a:gd name="T58" fmla="*/ 70 w 328"/>
                <a:gd name="T59" fmla="*/ 62 h 132"/>
                <a:gd name="T60" fmla="*/ 76 w 328"/>
                <a:gd name="T61" fmla="*/ 56 h 132"/>
                <a:gd name="T62" fmla="*/ 84 w 328"/>
                <a:gd name="T63" fmla="*/ 52 h 132"/>
                <a:gd name="T64" fmla="*/ 84 w 328"/>
                <a:gd name="T65" fmla="*/ 60 h 132"/>
                <a:gd name="T66" fmla="*/ 98 w 328"/>
                <a:gd name="T67" fmla="*/ 68 h 132"/>
                <a:gd name="T68" fmla="*/ 112 w 328"/>
                <a:gd name="T69" fmla="*/ 78 h 132"/>
                <a:gd name="T70" fmla="*/ 118 w 328"/>
                <a:gd name="T71" fmla="*/ 80 h 132"/>
                <a:gd name="T72" fmla="*/ 108 w 328"/>
                <a:gd name="T73" fmla="*/ 84 h 132"/>
                <a:gd name="T74" fmla="*/ 100 w 328"/>
                <a:gd name="T75" fmla="*/ 88 h 132"/>
                <a:gd name="T76" fmla="*/ 94 w 328"/>
                <a:gd name="T77" fmla="*/ 90 h 132"/>
                <a:gd name="T78" fmla="*/ 86 w 328"/>
                <a:gd name="T79" fmla="*/ 90 h 132"/>
                <a:gd name="T80" fmla="*/ 80 w 328"/>
                <a:gd name="T81" fmla="*/ 96 h 132"/>
                <a:gd name="T82" fmla="*/ 64 w 328"/>
                <a:gd name="T83" fmla="*/ 92 h 132"/>
                <a:gd name="T84" fmla="*/ 50 w 328"/>
                <a:gd name="T85" fmla="*/ 94 h 132"/>
                <a:gd name="T86" fmla="*/ 42 w 328"/>
                <a:gd name="T87" fmla="*/ 98 h 132"/>
                <a:gd name="T88" fmla="*/ 32 w 328"/>
                <a:gd name="T89" fmla="*/ 92 h 132"/>
                <a:gd name="T90" fmla="*/ 2 w 328"/>
                <a:gd name="T91" fmla="*/ 92 h 132"/>
                <a:gd name="T92" fmla="*/ 2 w 328"/>
                <a:gd name="T93" fmla="*/ 108 h 132"/>
                <a:gd name="T94" fmla="*/ 10 w 328"/>
                <a:gd name="T95" fmla="*/ 108 h 132"/>
                <a:gd name="T96" fmla="*/ 36 w 328"/>
                <a:gd name="T97" fmla="*/ 112 h 132"/>
                <a:gd name="T98" fmla="*/ 42 w 328"/>
                <a:gd name="T99" fmla="*/ 118 h 132"/>
                <a:gd name="T100" fmla="*/ 62 w 328"/>
                <a:gd name="T101" fmla="*/ 116 h 132"/>
                <a:gd name="T102" fmla="*/ 70 w 328"/>
                <a:gd name="T103" fmla="*/ 120 h 132"/>
                <a:gd name="T104" fmla="*/ 80 w 328"/>
                <a:gd name="T105" fmla="*/ 130 h 132"/>
                <a:gd name="T106" fmla="*/ 92 w 328"/>
                <a:gd name="T107" fmla="*/ 128 h 132"/>
                <a:gd name="T108" fmla="*/ 110 w 328"/>
                <a:gd name="T109" fmla="*/ 132 h 132"/>
                <a:gd name="T110" fmla="*/ 120 w 328"/>
                <a:gd name="T111" fmla="*/ 132 h 132"/>
                <a:gd name="T112" fmla="*/ 132 w 328"/>
                <a:gd name="T113" fmla="*/ 1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8" h="132">
                  <a:moveTo>
                    <a:pt x="132" y="128"/>
                  </a:moveTo>
                  <a:lnTo>
                    <a:pt x="132" y="122"/>
                  </a:lnTo>
                  <a:lnTo>
                    <a:pt x="140" y="112"/>
                  </a:lnTo>
                  <a:lnTo>
                    <a:pt x="156" y="108"/>
                  </a:lnTo>
                  <a:lnTo>
                    <a:pt x="160" y="106"/>
                  </a:lnTo>
                  <a:lnTo>
                    <a:pt x="164" y="106"/>
                  </a:lnTo>
                  <a:lnTo>
                    <a:pt x="168" y="100"/>
                  </a:lnTo>
                  <a:lnTo>
                    <a:pt x="174" y="102"/>
                  </a:lnTo>
                  <a:lnTo>
                    <a:pt x="182" y="100"/>
                  </a:lnTo>
                  <a:lnTo>
                    <a:pt x="186" y="100"/>
                  </a:lnTo>
                  <a:lnTo>
                    <a:pt x="190" y="108"/>
                  </a:lnTo>
                  <a:lnTo>
                    <a:pt x="208" y="108"/>
                  </a:lnTo>
                  <a:lnTo>
                    <a:pt x="216" y="104"/>
                  </a:lnTo>
                  <a:lnTo>
                    <a:pt x="220" y="96"/>
                  </a:lnTo>
                  <a:lnTo>
                    <a:pt x="226" y="90"/>
                  </a:lnTo>
                  <a:lnTo>
                    <a:pt x="266" y="86"/>
                  </a:lnTo>
                  <a:lnTo>
                    <a:pt x="280" y="74"/>
                  </a:lnTo>
                  <a:lnTo>
                    <a:pt x="324" y="56"/>
                  </a:lnTo>
                  <a:lnTo>
                    <a:pt x="328" y="50"/>
                  </a:lnTo>
                  <a:lnTo>
                    <a:pt x="328" y="46"/>
                  </a:lnTo>
                  <a:lnTo>
                    <a:pt x="328" y="46"/>
                  </a:lnTo>
                  <a:lnTo>
                    <a:pt x="324" y="46"/>
                  </a:lnTo>
                  <a:lnTo>
                    <a:pt x="314" y="38"/>
                  </a:lnTo>
                  <a:lnTo>
                    <a:pt x="306" y="38"/>
                  </a:lnTo>
                  <a:lnTo>
                    <a:pt x="300" y="28"/>
                  </a:lnTo>
                  <a:lnTo>
                    <a:pt x="284" y="26"/>
                  </a:lnTo>
                  <a:lnTo>
                    <a:pt x="280" y="22"/>
                  </a:lnTo>
                  <a:lnTo>
                    <a:pt x="248" y="20"/>
                  </a:lnTo>
                  <a:lnTo>
                    <a:pt x="240" y="16"/>
                  </a:lnTo>
                  <a:lnTo>
                    <a:pt x="236" y="16"/>
                  </a:lnTo>
                  <a:lnTo>
                    <a:pt x="228" y="18"/>
                  </a:lnTo>
                  <a:lnTo>
                    <a:pt x="188" y="14"/>
                  </a:lnTo>
                  <a:lnTo>
                    <a:pt x="184" y="10"/>
                  </a:lnTo>
                  <a:lnTo>
                    <a:pt x="172" y="10"/>
                  </a:lnTo>
                  <a:lnTo>
                    <a:pt x="160" y="0"/>
                  </a:lnTo>
                  <a:lnTo>
                    <a:pt x="156" y="2"/>
                  </a:lnTo>
                  <a:lnTo>
                    <a:pt x="152" y="2"/>
                  </a:lnTo>
                  <a:lnTo>
                    <a:pt x="140" y="6"/>
                  </a:lnTo>
                  <a:lnTo>
                    <a:pt x="140" y="10"/>
                  </a:lnTo>
                  <a:lnTo>
                    <a:pt x="138" y="12"/>
                  </a:lnTo>
                  <a:lnTo>
                    <a:pt x="134" y="20"/>
                  </a:lnTo>
                  <a:lnTo>
                    <a:pt x="132" y="24"/>
                  </a:lnTo>
                  <a:lnTo>
                    <a:pt x="92" y="6"/>
                  </a:lnTo>
                  <a:lnTo>
                    <a:pt x="88" y="6"/>
                  </a:lnTo>
                  <a:lnTo>
                    <a:pt x="84" y="4"/>
                  </a:lnTo>
                  <a:lnTo>
                    <a:pt x="72" y="4"/>
                  </a:lnTo>
                  <a:lnTo>
                    <a:pt x="70" y="8"/>
                  </a:lnTo>
                  <a:lnTo>
                    <a:pt x="70" y="12"/>
                  </a:lnTo>
                  <a:lnTo>
                    <a:pt x="64" y="18"/>
                  </a:lnTo>
                  <a:lnTo>
                    <a:pt x="72" y="22"/>
                  </a:lnTo>
                  <a:lnTo>
                    <a:pt x="72" y="26"/>
                  </a:lnTo>
                  <a:lnTo>
                    <a:pt x="64" y="28"/>
                  </a:lnTo>
                  <a:lnTo>
                    <a:pt x="42" y="40"/>
                  </a:lnTo>
                  <a:lnTo>
                    <a:pt x="40" y="44"/>
                  </a:lnTo>
                  <a:lnTo>
                    <a:pt x="44" y="46"/>
                  </a:lnTo>
                  <a:lnTo>
                    <a:pt x="48" y="50"/>
                  </a:lnTo>
                  <a:lnTo>
                    <a:pt x="52" y="48"/>
                  </a:lnTo>
                  <a:lnTo>
                    <a:pt x="54" y="56"/>
                  </a:lnTo>
                  <a:lnTo>
                    <a:pt x="66" y="62"/>
                  </a:lnTo>
                  <a:lnTo>
                    <a:pt x="70" y="62"/>
                  </a:lnTo>
                  <a:lnTo>
                    <a:pt x="72" y="58"/>
                  </a:lnTo>
                  <a:lnTo>
                    <a:pt x="76" y="56"/>
                  </a:lnTo>
                  <a:lnTo>
                    <a:pt x="80" y="50"/>
                  </a:lnTo>
                  <a:lnTo>
                    <a:pt x="84" y="52"/>
                  </a:lnTo>
                  <a:lnTo>
                    <a:pt x="86" y="56"/>
                  </a:lnTo>
                  <a:lnTo>
                    <a:pt x="84" y="60"/>
                  </a:lnTo>
                  <a:lnTo>
                    <a:pt x="94" y="68"/>
                  </a:lnTo>
                  <a:lnTo>
                    <a:pt x="98" y="68"/>
                  </a:lnTo>
                  <a:lnTo>
                    <a:pt x="104" y="74"/>
                  </a:lnTo>
                  <a:lnTo>
                    <a:pt x="112" y="78"/>
                  </a:lnTo>
                  <a:lnTo>
                    <a:pt x="116" y="78"/>
                  </a:lnTo>
                  <a:lnTo>
                    <a:pt x="118" y="80"/>
                  </a:lnTo>
                  <a:lnTo>
                    <a:pt x="116" y="82"/>
                  </a:lnTo>
                  <a:lnTo>
                    <a:pt x="108" y="84"/>
                  </a:lnTo>
                  <a:lnTo>
                    <a:pt x="104" y="86"/>
                  </a:lnTo>
                  <a:lnTo>
                    <a:pt x="100" y="88"/>
                  </a:lnTo>
                  <a:lnTo>
                    <a:pt x="96" y="86"/>
                  </a:lnTo>
                  <a:lnTo>
                    <a:pt x="94" y="90"/>
                  </a:lnTo>
                  <a:lnTo>
                    <a:pt x="90" y="88"/>
                  </a:lnTo>
                  <a:lnTo>
                    <a:pt x="86" y="90"/>
                  </a:lnTo>
                  <a:lnTo>
                    <a:pt x="84" y="94"/>
                  </a:lnTo>
                  <a:lnTo>
                    <a:pt x="80" y="96"/>
                  </a:lnTo>
                  <a:lnTo>
                    <a:pt x="70" y="96"/>
                  </a:lnTo>
                  <a:lnTo>
                    <a:pt x="64" y="92"/>
                  </a:lnTo>
                  <a:lnTo>
                    <a:pt x="52" y="90"/>
                  </a:lnTo>
                  <a:lnTo>
                    <a:pt x="50" y="94"/>
                  </a:lnTo>
                  <a:lnTo>
                    <a:pt x="46" y="94"/>
                  </a:lnTo>
                  <a:lnTo>
                    <a:pt x="42" y="98"/>
                  </a:lnTo>
                  <a:lnTo>
                    <a:pt x="38" y="98"/>
                  </a:lnTo>
                  <a:lnTo>
                    <a:pt x="32" y="92"/>
                  </a:lnTo>
                  <a:lnTo>
                    <a:pt x="14" y="90"/>
                  </a:lnTo>
                  <a:lnTo>
                    <a:pt x="2" y="92"/>
                  </a:lnTo>
                  <a:lnTo>
                    <a:pt x="0" y="104"/>
                  </a:lnTo>
                  <a:lnTo>
                    <a:pt x="2" y="108"/>
                  </a:lnTo>
                  <a:lnTo>
                    <a:pt x="6" y="108"/>
                  </a:lnTo>
                  <a:lnTo>
                    <a:pt x="10" y="108"/>
                  </a:lnTo>
                  <a:lnTo>
                    <a:pt x="18" y="112"/>
                  </a:lnTo>
                  <a:lnTo>
                    <a:pt x="36" y="112"/>
                  </a:lnTo>
                  <a:lnTo>
                    <a:pt x="40" y="114"/>
                  </a:lnTo>
                  <a:lnTo>
                    <a:pt x="42" y="118"/>
                  </a:lnTo>
                  <a:lnTo>
                    <a:pt x="46" y="118"/>
                  </a:lnTo>
                  <a:lnTo>
                    <a:pt x="62" y="116"/>
                  </a:lnTo>
                  <a:lnTo>
                    <a:pt x="66" y="120"/>
                  </a:lnTo>
                  <a:lnTo>
                    <a:pt x="70" y="120"/>
                  </a:lnTo>
                  <a:lnTo>
                    <a:pt x="72" y="128"/>
                  </a:lnTo>
                  <a:lnTo>
                    <a:pt x="80" y="130"/>
                  </a:lnTo>
                  <a:lnTo>
                    <a:pt x="84" y="132"/>
                  </a:lnTo>
                  <a:lnTo>
                    <a:pt x="92" y="128"/>
                  </a:lnTo>
                  <a:lnTo>
                    <a:pt x="102" y="128"/>
                  </a:lnTo>
                  <a:lnTo>
                    <a:pt x="110" y="132"/>
                  </a:lnTo>
                  <a:lnTo>
                    <a:pt x="114" y="130"/>
                  </a:lnTo>
                  <a:lnTo>
                    <a:pt x="120" y="132"/>
                  </a:lnTo>
                  <a:lnTo>
                    <a:pt x="122" y="124"/>
                  </a:lnTo>
                  <a:lnTo>
                    <a:pt x="132" y="128"/>
                  </a:lnTo>
                  <a:lnTo>
                    <a:pt x="132" y="12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4" name="Freeform 426"/>
            <p:cNvSpPr>
              <a:spLocks/>
            </p:cNvSpPr>
            <p:nvPr/>
          </p:nvSpPr>
          <p:spPr bwMode="auto">
            <a:xfrm>
              <a:off x="2227263" y="677863"/>
              <a:ext cx="4475163" cy="2774950"/>
            </a:xfrm>
            <a:custGeom>
              <a:avLst/>
              <a:gdLst>
                <a:gd name="T0" fmla="*/ 1984 w 2602"/>
                <a:gd name="T1" fmla="*/ 82 h 1748"/>
                <a:gd name="T2" fmla="*/ 1994 w 2602"/>
                <a:gd name="T3" fmla="*/ 52 h 1748"/>
                <a:gd name="T4" fmla="*/ 2064 w 2602"/>
                <a:gd name="T5" fmla="*/ 30 h 1748"/>
                <a:gd name="T6" fmla="*/ 2088 w 2602"/>
                <a:gd name="T7" fmla="*/ 76 h 1748"/>
                <a:gd name="T8" fmla="*/ 2096 w 2602"/>
                <a:gd name="T9" fmla="*/ 156 h 1748"/>
                <a:gd name="T10" fmla="*/ 2204 w 2602"/>
                <a:gd name="T11" fmla="*/ 204 h 1748"/>
                <a:gd name="T12" fmla="*/ 2290 w 2602"/>
                <a:gd name="T13" fmla="*/ 328 h 1748"/>
                <a:gd name="T14" fmla="*/ 2308 w 2602"/>
                <a:gd name="T15" fmla="*/ 484 h 1748"/>
                <a:gd name="T16" fmla="*/ 2496 w 2602"/>
                <a:gd name="T17" fmla="*/ 608 h 1748"/>
                <a:gd name="T18" fmla="*/ 2240 w 2602"/>
                <a:gd name="T19" fmla="*/ 454 h 1748"/>
                <a:gd name="T20" fmla="*/ 2208 w 2602"/>
                <a:gd name="T21" fmla="*/ 576 h 1748"/>
                <a:gd name="T22" fmla="*/ 2240 w 2602"/>
                <a:gd name="T23" fmla="*/ 710 h 1748"/>
                <a:gd name="T24" fmla="*/ 2202 w 2602"/>
                <a:gd name="T25" fmla="*/ 1002 h 1748"/>
                <a:gd name="T26" fmla="*/ 2296 w 2602"/>
                <a:gd name="T27" fmla="*/ 1020 h 1748"/>
                <a:gd name="T28" fmla="*/ 2496 w 2602"/>
                <a:gd name="T29" fmla="*/ 1460 h 1748"/>
                <a:gd name="T30" fmla="*/ 2286 w 2602"/>
                <a:gd name="T31" fmla="*/ 1326 h 1748"/>
                <a:gd name="T32" fmla="*/ 1910 w 2602"/>
                <a:gd name="T33" fmla="*/ 1496 h 1748"/>
                <a:gd name="T34" fmla="*/ 1278 w 2602"/>
                <a:gd name="T35" fmla="*/ 1680 h 1748"/>
                <a:gd name="T36" fmla="*/ 1108 w 2602"/>
                <a:gd name="T37" fmla="*/ 1620 h 1748"/>
                <a:gd name="T38" fmla="*/ 936 w 2602"/>
                <a:gd name="T39" fmla="*/ 1492 h 1748"/>
                <a:gd name="T40" fmla="*/ 774 w 2602"/>
                <a:gd name="T41" fmla="*/ 1454 h 1748"/>
                <a:gd name="T42" fmla="*/ 646 w 2602"/>
                <a:gd name="T43" fmla="*/ 1514 h 1748"/>
                <a:gd name="T44" fmla="*/ 500 w 2602"/>
                <a:gd name="T45" fmla="*/ 1506 h 1748"/>
                <a:gd name="T46" fmla="*/ 306 w 2602"/>
                <a:gd name="T47" fmla="*/ 1480 h 1748"/>
                <a:gd name="T48" fmla="*/ 222 w 2602"/>
                <a:gd name="T49" fmla="*/ 1638 h 1748"/>
                <a:gd name="T50" fmla="*/ 32 w 2602"/>
                <a:gd name="T51" fmla="*/ 1566 h 1748"/>
                <a:gd name="T52" fmla="*/ 140 w 2602"/>
                <a:gd name="T53" fmla="*/ 1420 h 1748"/>
                <a:gd name="T54" fmla="*/ 100 w 2602"/>
                <a:gd name="T55" fmla="*/ 1230 h 1748"/>
                <a:gd name="T56" fmla="*/ 136 w 2602"/>
                <a:gd name="T57" fmla="*/ 1110 h 1748"/>
                <a:gd name="T58" fmla="*/ 206 w 2602"/>
                <a:gd name="T59" fmla="*/ 962 h 1748"/>
                <a:gd name="T60" fmla="*/ 388 w 2602"/>
                <a:gd name="T61" fmla="*/ 832 h 1748"/>
                <a:gd name="T62" fmla="*/ 522 w 2602"/>
                <a:gd name="T63" fmla="*/ 750 h 1748"/>
                <a:gd name="T64" fmla="*/ 554 w 2602"/>
                <a:gd name="T65" fmla="*/ 898 h 1748"/>
                <a:gd name="T66" fmla="*/ 428 w 2602"/>
                <a:gd name="T67" fmla="*/ 896 h 1748"/>
                <a:gd name="T68" fmla="*/ 532 w 2602"/>
                <a:gd name="T69" fmla="*/ 920 h 1748"/>
                <a:gd name="T70" fmla="*/ 618 w 2602"/>
                <a:gd name="T71" fmla="*/ 922 h 1748"/>
                <a:gd name="T72" fmla="*/ 756 w 2602"/>
                <a:gd name="T73" fmla="*/ 916 h 1748"/>
                <a:gd name="T74" fmla="*/ 858 w 2602"/>
                <a:gd name="T75" fmla="*/ 914 h 1748"/>
                <a:gd name="T76" fmla="*/ 940 w 2602"/>
                <a:gd name="T77" fmla="*/ 898 h 1748"/>
                <a:gd name="T78" fmla="*/ 1012 w 2602"/>
                <a:gd name="T79" fmla="*/ 956 h 1748"/>
                <a:gd name="T80" fmla="*/ 992 w 2602"/>
                <a:gd name="T81" fmla="*/ 1068 h 1748"/>
                <a:gd name="T82" fmla="*/ 1076 w 2602"/>
                <a:gd name="T83" fmla="*/ 1012 h 1748"/>
                <a:gd name="T84" fmla="*/ 1052 w 2602"/>
                <a:gd name="T85" fmla="*/ 880 h 1748"/>
                <a:gd name="T86" fmla="*/ 1132 w 2602"/>
                <a:gd name="T87" fmla="*/ 886 h 1748"/>
                <a:gd name="T88" fmla="*/ 1120 w 2602"/>
                <a:gd name="T89" fmla="*/ 842 h 1748"/>
                <a:gd name="T90" fmla="*/ 1182 w 2602"/>
                <a:gd name="T91" fmla="*/ 798 h 1748"/>
                <a:gd name="T92" fmla="*/ 1194 w 2602"/>
                <a:gd name="T93" fmla="*/ 752 h 1748"/>
                <a:gd name="T94" fmla="*/ 1254 w 2602"/>
                <a:gd name="T95" fmla="*/ 712 h 1748"/>
                <a:gd name="T96" fmla="*/ 1280 w 2602"/>
                <a:gd name="T97" fmla="*/ 698 h 1748"/>
                <a:gd name="T98" fmla="*/ 1320 w 2602"/>
                <a:gd name="T99" fmla="*/ 646 h 1748"/>
                <a:gd name="T100" fmla="*/ 1350 w 2602"/>
                <a:gd name="T101" fmla="*/ 656 h 1748"/>
                <a:gd name="T102" fmla="*/ 1408 w 2602"/>
                <a:gd name="T103" fmla="*/ 672 h 1748"/>
                <a:gd name="T104" fmla="*/ 1410 w 2602"/>
                <a:gd name="T105" fmla="*/ 738 h 1748"/>
                <a:gd name="T106" fmla="*/ 1422 w 2602"/>
                <a:gd name="T107" fmla="*/ 760 h 1748"/>
                <a:gd name="T108" fmla="*/ 1462 w 2602"/>
                <a:gd name="T109" fmla="*/ 742 h 1748"/>
                <a:gd name="T110" fmla="*/ 1552 w 2602"/>
                <a:gd name="T111" fmla="*/ 684 h 1748"/>
                <a:gd name="T112" fmla="*/ 1614 w 2602"/>
                <a:gd name="T113" fmla="*/ 654 h 1748"/>
                <a:gd name="T114" fmla="*/ 1686 w 2602"/>
                <a:gd name="T115" fmla="*/ 698 h 1748"/>
                <a:gd name="T116" fmla="*/ 1732 w 2602"/>
                <a:gd name="T117" fmla="*/ 610 h 1748"/>
                <a:gd name="T118" fmla="*/ 1778 w 2602"/>
                <a:gd name="T119" fmla="*/ 498 h 1748"/>
                <a:gd name="T120" fmla="*/ 1866 w 2602"/>
                <a:gd name="T121" fmla="*/ 406 h 1748"/>
                <a:gd name="T122" fmla="*/ 1942 w 2602"/>
                <a:gd name="T123" fmla="*/ 304 h 1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02" h="1748">
                  <a:moveTo>
                    <a:pt x="1938" y="158"/>
                  </a:moveTo>
                  <a:lnTo>
                    <a:pt x="1938" y="156"/>
                  </a:lnTo>
                  <a:lnTo>
                    <a:pt x="1938" y="152"/>
                  </a:lnTo>
                  <a:lnTo>
                    <a:pt x="1940" y="150"/>
                  </a:lnTo>
                  <a:lnTo>
                    <a:pt x="1942" y="144"/>
                  </a:lnTo>
                  <a:lnTo>
                    <a:pt x="1942" y="142"/>
                  </a:lnTo>
                  <a:lnTo>
                    <a:pt x="1944" y="142"/>
                  </a:lnTo>
                  <a:lnTo>
                    <a:pt x="1950" y="140"/>
                  </a:lnTo>
                  <a:lnTo>
                    <a:pt x="1952" y="138"/>
                  </a:lnTo>
                  <a:lnTo>
                    <a:pt x="1952" y="136"/>
                  </a:lnTo>
                  <a:lnTo>
                    <a:pt x="1954" y="132"/>
                  </a:lnTo>
                  <a:lnTo>
                    <a:pt x="1950" y="136"/>
                  </a:lnTo>
                  <a:lnTo>
                    <a:pt x="1952" y="132"/>
                  </a:lnTo>
                  <a:lnTo>
                    <a:pt x="1954" y="130"/>
                  </a:lnTo>
                  <a:lnTo>
                    <a:pt x="1956" y="130"/>
                  </a:lnTo>
                  <a:lnTo>
                    <a:pt x="1958" y="130"/>
                  </a:lnTo>
                  <a:lnTo>
                    <a:pt x="1960" y="130"/>
                  </a:lnTo>
                  <a:lnTo>
                    <a:pt x="1956" y="126"/>
                  </a:lnTo>
                  <a:lnTo>
                    <a:pt x="1958" y="122"/>
                  </a:lnTo>
                  <a:lnTo>
                    <a:pt x="1960" y="122"/>
                  </a:lnTo>
                  <a:lnTo>
                    <a:pt x="1958" y="120"/>
                  </a:lnTo>
                  <a:lnTo>
                    <a:pt x="1960" y="118"/>
                  </a:lnTo>
                  <a:lnTo>
                    <a:pt x="1962" y="118"/>
                  </a:lnTo>
                  <a:lnTo>
                    <a:pt x="1962" y="114"/>
                  </a:lnTo>
                  <a:lnTo>
                    <a:pt x="1964" y="114"/>
                  </a:lnTo>
                  <a:lnTo>
                    <a:pt x="1966" y="112"/>
                  </a:lnTo>
                  <a:lnTo>
                    <a:pt x="1966" y="114"/>
                  </a:lnTo>
                  <a:lnTo>
                    <a:pt x="1968" y="116"/>
                  </a:lnTo>
                  <a:lnTo>
                    <a:pt x="1968" y="112"/>
                  </a:lnTo>
                  <a:lnTo>
                    <a:pt x="1970" y="110"/>
                  </a:lnTo>
                  <a:lnTo>
                    <a:pt x="1970" y="108"/>
                  </a:lnTo>
                  <a:lnTo>
                    <a:pt x="1970" y="102"/>
                  </a:lnTo>
                  <a:lnTo>
                    <a:pt x="1970" y="102"/>
                  </a:lnTo>
                  <a:lnTo>
                    <a:pt x="1974" y="102"/>
                  </a:lnTo>
                  <a:lnTo>
                    <a:pt x="1976" y="106"/>
                  </a:lnTo>
                  <a:lnTo>
                    <a:pt x="1976" y="106"/>
                  </a:lnTo>
                  <a:lnTo>
                    <a:pt x="1978" y="104"/>
                  </a:lnTo>
                  <a:lnTo>
                    <a:pt x="1978" y="102"/>
                  </a:lnTo>
                  <a:lnTo>
                    <a:pt x="1982" y="92"/>
                  </a:lnTo>
                  <a:lnTo>
                    <a:pt x="1982" y="90"/>
                  </a:lnTo>
                  <a:lnTo>
                    <a:pt x="1980" y="92"/>
                  </a:lnTo>
                  <a:lnTo>
                    <a:pt x="1978" y="92"/>
                  </a:lnTo>
                  <a:lnTo>
                    <a:pt x="1980" y="94"/>
                  </a:lnTo>
                  <a:lnTo>
                    <a:pt x="1974" y="98"/>
                  </a:lnTo>
                  <a:lnTo>
                    <a:pt x="1972" y="100"/>
                  </a:lnTo>
                  <a:lnTo>
                    <a:pt x="1972" y="98"/>
                  </a:lnTo>
                  <a:lnTo>
                    <a:pt x="1972" y="90"/>
                  </a:lnTo>
                  <a:lnTo>
                    <a:pt x="1976" y="90"/>
                  </a:lnTo>
                  <a:lnTo>
                    <a:pt x="1978" y="90"/>
                  </a:lnTo>
                  <a:lnTo>
                    <a:pt x="1982" y="82"/>
                  </a:lnTo>
                  <a:lnTo>
                    <a:pt x="1984" y="82"/>
                  </a:lnTo>
                  <a:lnTo>
                    <a:pt x="1986" y="82"/>
                  </a:lnTo>
                  <a:lnTo>
                    <a:pt x="1982" y="82"/>
                  </a:lnTo>
                  <a:lnTo>
                    <a:pt x="1982" y="84"/>
                  </a:lnTo>
                  <a:lnTo>
                    <a:pt x="1984" y="84"/>
                  </a:lnTo>
                  <a:lnTo>
                    <a:pt x="1986" y="84"/>
                  </a:lnTo>
                  <a:lnTo>
                    <a:pt x="1996" y="80"/>
                  </a:lnTo>
                  <a:lnTo>
                    <a:pt x="2000" y="78"/>
                  </a:lnTo>
                  <a:lnTo>
                    <a:pt x="2004" y="78"/>
                  </a:lnTo>
                  <a:lnTo>
                    <a:pt x="2006" y="78"/>
                  </a:lnTo>
                  <a:lnTo>
                    <a:pt x="2008" y="76"/>
                  </a:lnTo>
                  <a:lnTo>
                    <a:pt x="2010" y="72"/>
                  </a:lnTo>
                  <a:lnTo>
                    <a:pt x="2012" y="72"/>
                  </a:lnTo>
                  <a:lnTo>
                    <a:pt x="2014" y="72"/>
                  </a:lnTo>
                  <a:lnTo>
                    <a:pt x="2014" y="70"/>
                  </a:lnTo>
                  <a:lnTo>
                    <a:pt x="2014" y="66"/>
                  </a:lnTo>
                  <a:lnTo>
                    <a:pt x="2018" y="66"/>
                  </a:lnTo>
                  <a:lnTo>
                    <a:pt x="2020" y="66"/>
                  </a:lnTo>
                  <a:lnTo>
                    <a:pt x="2022" y="66"/>
                  </a:lnTo>
                  <a:lnTo>
                    <a:pt x="2020" y="64"/>
                  </a:lnTo>
                  <a:lnTo>
                    <a:pt x="2018" y="62"/>
                  </a:lnTo>
                  <a:lnTo>
                    <a:pt x="2012" y="62"/>
                  </a:lnTo>
                  <a:lnTo>
                    <a:pt x="2010" y="64"/>
                  </a:lnTo>
                  <a:lnTo>
                    <a:pt x="2008" y="66"/>
                  </a:lnTo>
                  <a:lnTo>
                    <a:pt x="2010" y="66"/>
                  </a:lnTo>
                  <a:lnTo>
                    <a:pt x="2010" y="68"/>
                  </a:lnTo>
                  <a:lnTo>
                    <a:pt x="1996" y="70"/>
                  </a:lnTo>
                  <a:lnTo>
                    <a:pt x="1996" y="74"/>
                  </a:lnTo>
                  <a:lnTo>
                    <a:pt x="1994" y="72"/>
                  </a:lnTo>
                  <a:lnTo>
                    <a:pt x="1992" y="72"/>
                  </a:lnTo>
                  <a:lnTo>
                    <a:pt x="1994" y="74"/>
                  </a:lnTo>
                  <a:lnTo>
                    <a:pt x="1996" y="76"/>
                  </a:lnTo>
                  <a:lnTo>
                    <a:pt x="1994" y="76"/>
                  </a:lnTo>
                  <a:lnTo>
                    <a:pt x="1992" y="74"/>
                  </a:lnTo>
                  <a:lnTo>
                    <a:pt x="1992" y="70"/>
                  </a:lnTo>
                  <a:lnTo>
                    <a:pt x="1992" y="68"/>
                  </a:lnTo>
                  <a:lnTo>
                    <a:pt x="1994" y="66"/>
                  </a:lnTo>
                  <a:lnTo>
                    <a:pt x="1994" y="66"/>
                  </a:lnTo>
                  <a:lnTo>
                    <a:pt x="1990" y="64"/>
                  </a:lnTo>
                  <a:lnTo>
                    <a:pt x="1988" y="66"/>
                  </a:lnTo>
                  <a:lnTo>
                    <a:pt x="1988" y="64"/>
                  </a:lnTo>
                  <a:lnTo>
                    <a:pt x="1990" y="62"/>
                  </a:lnTo>
                  <a:lnTo>
                    <a:pt x="1988" y="60"/>
                  </a:lnTo>
                  <a:lnTo>
                    <a:pt x="1990" y="58"/>
                  </a:lnTo>
                  <a:lnTo>
                    <a:pt x="1992" y="60"/>
                  </a:lnTo>
                  <a:lnTo>
                    <a:pt x="1994" y="60"/>
                  </a:lnTo>
                  <a:lnTo>
                    <a:pt x="1996" y="58"/>
                  </a:lnTo>
                  <a:lnTo>
                    <a:pt x="1998" y="58"/>
                  </a:lnTo>
                  <a:lnTo>
                    <a:pt x="1998" y="56"/>
                  </a:lnTo>
                  <a:lnTo>
                    <a:pt x="1996" y="56"/>
                  </a:lnTo>
                  <a:lnTo>
                    <a:pt x="1992" y="56"/>
                  </a:lnTo>
                  <a:lnTo>
                    <a:pt x="1994" y="52"/>
                  </a:lnTo>
                  <a:lnTo>
                    <a:pt x="1994" y="48"/>
                  </a:lnTo>
                  <a:lnTo>
                    <a:pt x="1992" y="46"/>
                  </a:lnTo>
                  <a:lnTo>
                    <a:pt x="1990" y="44"/>
                  </a:lnTo>
                  <a:lnTo>
                    <a:pt x="1990" y="50"/>
                  </a:lnTo>
                  <a:lnTo>
                    <a:pt x="1988" y="48"/>
                  </a:lnTo>
                  <a:lnTo>
                    <a:pt x="1986" y="36"/>
                  </a:lnTo>
                  <a:lnTo>
                    <a:pt x="1988" y="34"/>
                  </a:lnTo>
                  <a:lnTo>
                    <a:pt x="1990" y="34"/>
                  </a:lnTo>
                  <a:lnTo>
                    <a:pt x="1992" y="30"/>
                  </a:lnTo>
                  <a:lnTo>
                    <a:pt x="1994" y="30"/>
                  </a:lnTo>
                  <a:lnTo>
                    <a:pt x="1996" y="28"/>
                  </a:lnTo>
                  <a:lnTo>
                    <a:pt x="1998" y="22"/>
                  </a:lnTo>
                  <a:lnTo>
                    <a:pt x="2002" y="20"/>
                  </a:lnTo>
                  <a:lnTo>
                    <a:pt x="2004" y="12"/>
                  </a:lnTo>
                  <a:lnTo>
                    <a:pt x="2006" y="12"/>
                  </a:lnTo>
                  <a:lnTo>
                    <a:pt x="2008" y="14"/>
                  </a:lnTo>
                  <a:lnTo>
                    <a:pt x="2008" y="12"/>
                  </a:lnTo>
                  <a:lnTo>
                    <a:pt x="2004" y="10"/>
                  </a:lnTo>
                  <a:lnTo>
                    <a:pt x="2006" y="8"/>
                  </a:lnTo>
                  <a:lnTo>
                    <a:pt x="2008" y="8"/>
                  </a:lnTo>
                  <a:lnTo>
                    <a:pt x="2008" y="6"/>
                  </a:lnTo>
                  <a:lnTo>
                    <a:pt x="2008" y="4"/>
                  </a:lnTo>
                  <a:lnTo>
                    <a:pt x="2008" y="2"/>
                  </a:lnTo>
                  <a:lnTo>
                    <a:pt x="2008" y="0"/>
                  </a:lnTo>
                  <a:lnTo>
                    <a:pt x="2012" y="0"/>
                  </a:lnTo>
                  <a:lnTo>
                    <a:pt x="2012" y="2"/>
                  </a:lnTo>
                  <a:lnTo>
                    <a:pt x="2012" y="6"/>
                  </a:lnTo>
                  <a:lnTo>
                    <a:pt x="2016" y="8"/>
                  </a:lnTo>
                  <a:lnTo>
                    <a:pt x="2020" y="10"/>
                  </a:lnTo>
                  <a:lnTo>
                    <a:pt x="2026" y="10"/>
                  </a:lnTo>
                  <a:lnTo>
                    <a:pt x="2030" y="10"/>
                  </a:lnTo>
                  <a:lnTo>
                    <a:pt x="2032" y="10"/>
                  </a:lnTo>
                  <a:lnTo>
                    <a:pt x="2034" y="14"/>
                  </a:lnTo>
                  <a:lnTo>
                    <a:pt x="2032" y="16"/>
                  </a:lnTo>
                  <a:lnTo>
                    <a:pt x="2030" y="20"/>
                  </a:lnTo>
                  <a:lnTo>
                    <a:pt x="2028" y="22"/>
                  </a:lnTo>
                  <a:lnTo>
                    <a:pt x="2030" y="24"/>
                  </a:lnTo>
                  <a:lnTo>
                    <a:pt x="2034" y="22"/>
                  </a:lnTo>
                  <a:lnTo>
                    <a:pt x="2036" y="18"/>
                  </a:lnTo>
                  <a:lnTo>
                    <a:pt x="2038" y="16"/>
                  </a:lnTo>
                  <a:lnTo>
                    <a:pt x="2040" y="16"/>
                  </a:lnTo>
                  <a:lnTo>
                    <a:pt x="2042" y="20"/>
                  </a:lnTo>
                  <a:lnTo>
                    <a:pt x="2042" y="26"/>
                  </a:lnTo>
                  <a:lnTo>
                    <a:pt x="2044" y="28"/>
                  </a:lnTo>
                  <a:lnTo>
                    <a:pt x="2050" y="32"/>
                  </a:lnTo>
                  <a:lnTo>
                    <a:pt x="2052" y="34"/>
                  </a:lnTo>
                  <a:lnTo>
                    <a:pt x="2056" y="32"/>
                  </a:lnTo>
                  <a:lnTo>
                    <a:pt x="2058" y="40"/>
                  </a:lnTo>
                  <a:lnTo>
                    <a:pt x="2060" y="36"/>
                  </a:lnTo>
                  <a:lnTo>
                    <a:pt x="2058" y="34"/>
                  </a:lnTo>
                  <a:lnTo>
                    <a:pt x="2064" y="30"/>
                  </a:lnTo>
                  <a:lnTo>
                    <a:pt x="2072" y="36"/>
                  </a:lnTo>
                  <a:lnTo>
                    <a:pt x="2070" y="38"/>
                  </a:lnTo>
                  <a:lnTo>
                    <a:pt x="2074" y="38"/>
                  </a:lnTo>
                  <a:lnTo>
                    <a:pt x="2074" y="38"/>
                  </a:lnTo>
                  <a:lnTo>
                    <a:pt x="2076" y="42"/>
                  </a:lnTo>
                  <a:lnTo>
                    <a:pt x="2080" y="44"/>
                  </a:lnTo>
                  <a:lnTo>
                    <a:pt x="2076" y="40"/>
                  </a:lnTo>
                  <a:lnTo>
                    <a:pt x="2078" y="38"/>
                  </a:lnTo>
                  <a:lnTo>
                    <a:pt x="2080" y="40"/>
                  </a:lnTo>
                  <a:lnTo>
                    <a:pt x="2082" y="42"/>
                  </a:lnTo>
                  <a:lnTo>
                    <a:pt x="2084" y="42"/>
                  </a:lnTo>
                  <a:lnTo>
                    <a:pt x="2084" y="40"/>
                  </a:lnTo>
                  <a:lnTo>
                    <a:pt x="2084" y="40"/>
                  </a:lnTo>
                  <a:lnTo>
                    <a:pt x="2082" y="36"/>
                  </a:lnTo>
                  <a:lnTo>
                    <a:pt x="2084" y="34"/>
                  </a:lnTo>
                  <a:lnTo>
                    <a:pt x="2084" y="34"/>
                  </a:lnTo>
                  <a:lnTo>
                    <a:pt x="2090" y="30"/>
                  </a:lnTo>
                  <a:lnTo>
                    <a:pt x="2092" y="34"/>
                  </a:lnTo>
                  <a:lnTo>
                    <a:pt x="2090" y="38"/>
                  </a:lnTo>
                  <a:lnTo>
                    <a:pt x="2090" y="40"/>
                  </a:lnTo>
                  <a:lnTo>
                    <a:pt x="2092" y="42"/>
                  </a:lnTo>
                  <a:lnTo>
                    <a:pt x="2092" y="42"/>
                  </a:lnTo>
                  <a:lnTo>
                    <a:pt x="2092" y="40"/>
                  </a:lnTo>
                  <a:lnTo>
                    <a:pt x="2098" y="38"/>
                  </a:lnTo>
                  <a:lnTo>
                    <a:pt x="2100" y="40"/>
                  </a:lnTo>
                  <a:lnTo>
                    <a:pt x="2102" y="42"/>
                  </a:lnTo>
                  <a:lnTo>
                    <a:pt x="2102" y="44"/>
                  </a:lnTo>
                  <a:lnTo>
                    <a:pt x="2100" y="48"/>
                  </a:lnTo>
                  <a:lnTo>
                    <a:pt x="2090" y="46"/>
                  </a:lnTo>
                  <a:lnTo>
                    <a:pt x="2088" y="48"/>
                  </a:lnTo>
                  <a:lnTo>
                    <a:pt x="2094" y="48"/>
                  </a:lnTo>
                  <a:lnTo>
                    <a:pt x="2098" y="48"/>
                  </a:lnTo>
                  <a:lnTo>
                    <a:pt x="2100" y="50"/>
                  </a:lnTo>
                  <a:lnTo>
                    <a:pt x="2100" y="54"/>
                  </a:lnTo>
                  <a:lnTo>
                    <a:pt x="2094" y="54"/>
                  </a:lnTo>
                  <a:lnTo>
                    <a:pt x="2098" y="54"/>
                  </a:lnTo>
                  <a:lnTo>
                    <a:pt x="2100" y="58"/>
                  </a:lnTo>
                  <a:lnTo>
                    <a:pt x="2096" y="58"/>
                  </a:lnTo>
                  <a:lnTo>
                    <a:pt x="2094" y="62"/>
                  </a:lnTo>
                  <a:lnTo>
                    <a:pt x="2092" y="62"/>
                  </a:lnTo>
                  <a:lnTo>
                    <a:pt x="2090" y="64"/>
                  </a:lnTo>
                  <a:lnTo>
                    <a:pt x="2092" y="66"/>
                  </a:lnTo>
                  <a:lnTo>
                    <a:pt x="2090" y="72"/>
                  </a:lnTo>
                  <a:lnTo>
                    <a:pt x="2086" y="70"/>
                  </a:lnTo>
                  <a:lnTo>
                    <a:pt x="2080" y="70"/>
                  </a:lnTo>
                  <a:lnTo>
                    <a:pt x="2078" y="70"/>
                  </a:lnTo>
                  <a:lnTo>
                    <a:pt x="2082" y="70"/>
                  </a:lnTo>
                  <a:lnTo>
                    <a:pt x="2086" y="70"/>
                  </a:lnTo>
                  <a:lnTo>
                    <a:pt x="2086" y="74"/>
                  </a:lnTo>
                  <a:lnTo>
                    <a:pt x="2086" y="74"/>
                  </a:lnTo>
                  <a:lnTo>
                    <a:pt x="2088" y="76"/>
                  </a:lnTo>
                  <a:lnTo>
                    <a:pt x="2090" y="74"/>
                  </a:lnTo>
                  <a:lnTo>
                    <a:pt x="2092" y="76"/>
                  </a:lnTo>
                  <a:lnTo>
                    <a:pt x="2090" y="78"/>
                  </a:lnTo>
                  <a:lnTo>
                    <a:pt x="2090" y="82"/>
                  </a:lnTo>
                  <a:lnTo>
                    <a:pt x="2088" y="82"/>
                  </a:lnTo>
                  <a:lnTo>
                    <a:pt x="2086" y="84"/>
                  </a:lnTo>
                  <a:lnTo>
                    <a:pt x="2082" y="90"/>
                  </a:lnTo>
                  <a:lnTo>
                    <a:pt x="2074" y="90"/>
                  </a:lnTo>
                  <a:lnTo>
                    <a:pt x="2072" y="92"/>
                  </a:lnTo>
                  <a:lnTo>
                    <a:pt x="2066" y="92"/>
                  </a:lnTo>
                  <a:lnTo>
                    <a:pt x="2064" y="94"/>
                  </a:lnTo>
                  <a:lnTo>
                    <a:pt x="2066" y="98"/>
                  </a:lnTo>
                  <a:lnTo>
                    <a:pt x="2064" y="100"/>
                  </a:lnTo>
                  <a:lnTo>
                    <a:pt x="2062" y="102"/>
                  </a:lnTo>
                  <a:lnTo>
                    <a:pt x="2064" y="104"/>
                  </a:lnTo>
                  <a:lnTo>
                    <a:pt x="2064" y="110"/>
                  </a:lnTo>
                  <a:lnTo>
                    <a:pt x="2064" y="114"/>
                  </a:lnTo>
                  <a:lnTo>
                    <a:pt x="2068" y="114"/>
                  </a:lnTo>
                  <a:lnTo>
                    <a:pt x="2070" y="120"/>
                  </a:lnTo>
                  <a:lnTo>
                    <a:pt x="2070" y="126"/>
                  </a:lnTo>
                  <a:lnTo>
                    <a:pt x="2072" y="130"/>
                  </a:lnTo>
                  <a:lnTo>
                    <a:pt x="2070" y="132"/>
                  </a:lnTo>
                  <a:lnTo>
                    <a:pt x="2066" y="132"/>
                  </a:lnTo>
                  <a:lnTo>
                    <a:pt x="2060" y="134"/>
                  </a:lnTo>
                  <a:lnTo>
                    <a:pt x="2062" y="136"/>
                  </a:lnTo>
                  <a:lnTo>
                    <a:pt x="2052" y="140"/>
                  </a:lnTo>
                  <a:lnTo>
                    <a:pt x="2052" y="138"/>
                  </a:lnTo>
                  <a:lnTo>
                    <a:pt x="2052" y="136"/>
                  </a:lnTo>
                  <a:lnTo>
                    <a:pt x="2050" y="134"/>
                  </a:lnTo>
                  <a:lnTo>
                    <a:pt x="2038" y="134"/>
                  </a:lnTo>
                  <a:lnTo>
                    <a:pt x="2038" y="134"/>
                  </a:lnTo>
                  <a:lnTo>
                    <a:pt x="2038" y="136"/>
                  </a:lnTo>
                  <a:lnTo>
                    <a:pt x="2046" y="138"/>
                  </a:lnTo>
                  <a:lnTo>
                    <a:pt x="2048" y="140"/>
                  </a:lnTo>
                  <a:lnTo>
                    <a:pt x="2044" y="142"/>
                  </a:lnTo>
                  <a:lnTo>
                    <a:pt x="2040" y="144"/>
                  </a:lnTo>
                  <a:lnTo>
                    <a:pt x="2044" y="144"/>
                  </a:lnTo>
                  <a:lnTo>
                    <a:pt x="2042" y="146"/>
                  </a:lnTo>
                  <a:lnTo>
                    <a:pt x="2050" y="146"/>
                  </a:lnTo>
                  <a:lnTo>
                    <a:pt x="2052" y="150"/>
                  </a:lnTo>
                  <a:lnTo>
                    <a:pt x="2050" y="150"/>
                  </a:lnTo>
                  <a:lnTo>
                    <a:pt x="2052" y="152"/>
                  </a:lnTo>
                  <a:lnTo>
                    <a:pt x="2052" y="154"/>
                  </a:lnTo>
                  <a:lnTo>
                    <a:pt x="2062" y="154"/>
                  </a:lnTo>
                  <a:lnTo>
                    <a:pt x="2068" y="148"/>
                  </a:lnTo>
                  <a:lnTo>
                    <a:pt x="2070" y="146"/>
                  </a:lnTo>
                  <a:lnTo>
                    <a:pt x="2074" y="146"/>
                  </a:lnTo>
                  <a:lnTo>
                    <a:pt x="2078" y="148"/>
                  </a:lnTo>
                  <a:lnTo>
                    <a:pt x="2082" y="148"/>
                  </a:lnTo>
                  <a:lnTo>
                    <a:pt x="2094" y="156"/>
                  </a:lnTo>
                  <a:lnTo>
                    <a:pt x="2096" y="156"/>
                  </a:lnTo>
                  <a:lnTo>
                    <a:pt x="2108" y="166"/>
                  </a:lnTo>
                  <a:lnTo>
                    <a:pt x="2112" y="174"/>
                  </a:lnTo>
                  <a:lnTo>
                    <a:pt x="2120" y="180"/>
                  </a:lnTo>
                  <a:lnTo>
                    <a:pt x="2118" y="180"/>
                  </a:lnTo>
                  <a:lnTo>
                    <a:pt x="2114" y="180"/>
                  </a:lnTo>
                  <a:lnTo>
                    <a:pt x="2116" y="184"/>
                  </a:lnTo>
                  <a:lnTo>
                    <a:pt x="2114" y="186"/>
                  </a:lnTo>
                  <a:lnTo>
                    <a:pt x="2114" y="186"/>
                  </a:lnTo>
                  <a:lnTo>
                    <a:pt x="2116" y="188"/>
                  </a:lnTo>
                  <a:lnTo>
                    <a:pt x="2114" y="194"/>
                  </a:lnTo>
                  <a:lnTo>
                    <a:pt x="2112" y="196"/>
                  </a:lnTo>
                  <a:lnTo>
                    <a:pt x="2116" y="198"/>
                  </a:lnTo>
                  <a:lnTo>
                    <a:pt x="2126" y="200"/>
                  </a:lnTo>
                  <a:lnTo>
                    <a:pt x="2130" y="198"/>
                  </a:lnTo>
                  <a:lnTo>
                    <a:pt x="2130" y="194"/>
                  </a:lnTo>
                  <a:lnTo>
                    <a:pt x="2134" y="192"/>
                  </a:lnTo>
                  <a:lnTo>
                    <a:pt x="2134" y="188"/>
                  </a:lnTo>
                  <a:lnTo>
                    <a:pt x="2132" y="186"/>
                  </a:lnTo>
                  <a:lnTo>
                    <a:pt x="2128" y="184"/>
                  </a:lnTo>
                  <a:lnTo>
                    <a:pt x="2140" y="182"/>
                  </a:lnTo>
                  <a:lnTo>
                    <a:pt x="2140" y="182"/>
                  </a:lnTo>
                  <a:lnTo>
                    <a:pt x="2140" y="186"/>
                  </a:lnTo>
                  <a:lnTo>
                    <a:pt x="2142" y="186"/>
                  </a:lnTo>
                  <a:lnTo>
                    <a:pt x="2146" y="184"/>
                  </a:lnTo>
                  <a:lnTo>
                    <a:pt x="2144" y="180"/>
                  </a:lnTo>
                  <a:lnTo>
                    <a:pt x="2166" y="178"/>
                  </a:lnTo>
                  <a:lnTo>
                    <a:pt x="2174" y="172"/>
                  </a:lnTo>
                  <a:lnTo>
                    <a:pt x="2174" y="170"/>
                  </a:lnTo>
                  <a:lnTo>
                    <a:pt x="2180" y="168"/>
                  </a:lnTo>
                  <a:lnTo>
                    <a:pt x="2180" y="170"/>
                  </a:lnTo>
                  <a:lnTo>
                    <a:pt x="2180" y="174"/>
                  </a:lnTo>
                  <a:lnTo>
                    <a:pt x="2182" y="176"/>
                  </a:lnTo>
                  <a:lnTo>
                    <a:pt x="2184" y="176"/>
                  </a:lnTo>
                  <a:lnTo>
                    <a:pt x="2186" y="176"/>
                  </a:lnTo>
                  <a:lnTo>
                    <a:pt x="2186" y="170"/>
                  </a:lnTo>
                  <a:lnTo>
                    <a:pt x="2188" y="168"/>
                  </a:lnTo>
                  <a:lnTo>
                    <a:pt x="2192" y="166"/>
                  </a:lnTo>
                  <a:lnTo>
                    <a:pt x="2196" y="168"/>
                  </a:lnTo>
                  <a:lnTo>
                    <a:pt x="2206" y="172"/>
                  </a:lnTo>
                  <a:lnTo>
                    <a:pt x="2206" y="174"/>
                  </a:lnTo>
                  <a:lnTo>
                    <a:pt x="2210" y="176"/>
                  </a:lnTo>
                  <a:lnTo>
                    <a:pt x="2212" y="178"/>
                  </a:lnTo>
                  <a:lnTo>
                    <a:pt x="2210" y="182"/>
                  </a:lnTo>
                  <a:lnTo>
                    <a:pt x="2204" y="190"/>
                  </a:lnTo>
                  <a:lnTo>
                    <a:pt x="2204" y="198"/>
                  </a:lnTo>
                  <a:lnTo>
                    <a:pt x="2202" y="200"/>
                  </a:lnTo>
                  <a:lnTo>
                    <a:pt x="2200" y="200"/>
                  </a:lnTo>
                  <a:lnTo>
                    <a:pt x="2200" y="202"/>
                  </a:lnTo>
                  <a:lnTo>
                    <a:pt x="2202" y="202"/>
                  </a:lnTo>
                  <a:lnTo>
                    <a:pt x="2204" y="202"/>
                  </a:lnTo>
                  <a:lnTo>
                    <a:pt x="2204" y="204"/>
                  </a:lnTo>
                  <a:lnTo>
                    <a:pt x="2204" y="206"/>
                  </a:lnTo>
                  <a:lnTo>
                    <a:pt x="2202" y="206"/>
                  </a:lnTo>
                  <a:lnTo>
                    <a:pt x="2202" y="206"/>
                  </a:lnTo>
                  <a:lnTo>
                    <a:pt x="2192" y="210"/>
                  </a:lnTo>
                  <a:lnTo>
                    <a:pt x="2194" y="212"/>
                  </a:lnTo>
                  <a:lnTo>
                    <a:pt x="2202" y="210"/>
                  </a:lnTo>
                  <a:lnTo>
                    <a:pt x="2204" y="208"/>
                  </a:lnTo>
                  <a:lnTo>
                    <a:pt x="2204" y="208"/>
                  </a:lnTo>
                  <a:lnTo>
                    <a:pt x="2222" y="234"/>
                  </a:lnTo>
                  <a:lnTo>
                    <a:pt x="2222" y="236"/>
                  </a:lnTo>
                  <a:lnTo>
                    <a:pt x="2228" y="244"/>
                  </a:lnTo>
                  <a:lnTo>
                    <a:pt x="2228" y="246"/>
                  </a:lnTo>
                  <a:lnTo>
                    <a:pt x="2224" y="244"/>
                  </a:lnTo>
                  <a:lnTo>
                    <a:pt x="2224" y="248"/>
                  </a:lnTo>
                  <a:lnTo>
                    <a:pt x="2230" y="248"/>
                  </a:lnTo>
                  <a:lnTo>
                    <a:pt x="2232" y="250"/>
                  </a:lnTo>
                  <a:lnTo>
                    <a:pt x="2238" y="258"/>
                  </a:lnTo>
                  <a:lnTo>
                    <a:pt x="2240" y="268"/>
                  </a:lnTo>
                  <a:lnTo>
                    <a:pt x="2246" y="272"/>
                  </a:lnTo>
                  <a:lnTo>
                    <a:pt x="2246" y="274"/>
                  </a:lnTo>
                  <a:lnTo>
                    <a:pt x="2246" y="276"/>
                  </a:lnTo>
                  <a:lnTo>
                    <a:pt x="2244" y="276"/>
                  </a:lnTo>
                  <a:lnTo>
                    <a:pt x="2242" y="278"/>
                  </a:lnTo>
                  <a:lnTo>
                    <a:pt x="2252" y="282"/>
                  </a:lnTo>
                  <a:lnTo>
                    <a:pt x="2252" y="284"/>
                  </a:lnTo>
                  <a:lnTo>
                    <a:pt x="2256" y="286"/>
                  </a:lnTo>
                  <a:lnTo>
                    <a:pt x="2258" y="288"/>
                  </a:lnTo>
                  <a:lnTo>
                    <a:pt x="2258" y="290"/>
                  </a:lnTo>
                  <a:lnTo>
                    <a:pt x="2256" y="292"/>
                  </a:lnTo>
                  <a:lnTo>
                    <a:pt x="2258" y="294"/>
                  </a:lnTo>
                  <a:lnTo>
                    <a:pt x="2260" y="292"/>
                  </a:lnTo>
                  <a:lnTo>
                    <a:pt x="2262" y="294"/>
                  </a:lnTo>
                  <a:lnTo>
                    <a:pt x="2262" y="294"/>
                  </a:lnTo>
                  <a:lnTo>
                    <a:pt x="2266" y="298"/>
                  </a:lnTo>
                  <a:lnTo>
                    <a:pt x="2266" y="302"/>
                  </a:lnTo>
                  <a:lnTo>
                    <a:pt x="2268" y="302"/>
                  </a:lnTo>
                  <a:lnTo>
                    <a:pt x="2272" y="304"/>
                  </a:lnTo>
                  <a:lnTo>
                    <a:pt x="2274" y="304"/>
                  </a:lnTo>
                  <a:lnTo>
                    <a:pt x="2272" y="306"/>
                  </a:lnTo>
                  <a:lnTo>
                    <a:pt x="2270" y="310"/>
                  </a:lnTo>
                  <a:lnTo>
                    <a:pt x="2272" y="310"/>
                  </a:lnTo>
                  <a:lnTo>
                    <a:pt x="2274" y="308"/>
                  </a:lnTo>
                  <a:lnTo>
                    <a:pt x="2276" y="308"/>
                  </a:lnTo>
                  <a:lnTo>
                    <a:pt x="2276" y="310"/>
                  </a:lnTo>
                  <a:lnTo>
                    <a:pt x="2278" y="312"/>
                  </a:lnTo>
                  <a:lnTo>
                    <a:pt x="2278" y="312"/>
                  </a:lnTo>
                  <a:lnTo>
                    <a:pt x="2278" y="316"/>
                  </a:lnTo>
                  <a:lnTo>
                    <a:pt x="2282" y="320"/>
                  </a:lnTo>
                  <a:lnTo>
                    <a:pt x="2284" y="320"/>
                  </a:lnTo>
                  <a:lnTo>
                    <a:pt x="2284" y="322"/>
                  </a:lnTo>
                  <a:lnTo>
                    <a:pt x="2290" y="328"/>
                  </a:lnTo>
                  <a:lnTo>
                    <a:pt x="2290" y="330"/>
                  </a:lnTo>
                  <a:lnTo>
                    <a:pt x="2288" y="330"/>
                  </a:lnTo>
                  <a:lnTo>
                    <a:pt x="2292" y="332"/>
                  </a:lnTo>
                  <a:lnTo>
                    <a:pt x="2292" y="334"/>
                  </a:lnTo>
                  <a:lnTo>
                    <a:pt x="2296" y="342"/>
                  </a:lnTo>
                  <a:lnTo>
                    <a:pt x="2296" y="342"/>
                  </a:lnTo>
                  <a:lnTo>
                    <a:pt x="2298" y="342"/>
                  </a:lnTo>
                  <a:lnTo>
                    <a:pt x="2308" y="348"/>
                  </a:lnTo>
                  <a:lnTo>
                    <a:pt x="2314" y="348"/>
                  </a:lnTo>
                  <a:lnTo>
                    <a:pt x="2316" y="350"/>
                  </a:lnTo>
                  <a:lnTo>
                    <a:pt x="2314" y="354"/>
                  </a:lnTo>
                  <a:lnTo>
                    <a:pt x="2312" y="354"/>
                  </a:lnTo>
                  <a:lnTo>
                    <a:pt x="2300" y="360"/>
                  </a:lnTo>
                  <a:lnTo>
                    <a:pt x="2296" y="360"/>
                  </a:lnTo>
                  <a:lnTo>
                    <a:pt x="2292" y="364"/>
                  </a:lnTo>
                  <a:lnTo>
                    <a:pt x="2288" y="372"/>
                  </a:lnTo>
                  <a:lnTo>
                    <a:pt x="2286" y="384"/>
                  </a:lnTo>
                  <a:lnTo>
                    <a:pt x="2284" y="386"/>
                  </a:lnTo>
                  <a:lnTo>
                    <a:pt x="2286" y="388"/>
                  </a:lnTo>
                  <a:lnTo>
                    <a:pt x="2286" y="392"/>
                  </a:lnTo>
                  <a:lnTo>
                    <a:pt x="2290" y="400"/>
                  </a:lnTo>
                  <a:lnTo>
                    <a:pt x="2292" y="404"/>
                  </a:lnTo>
                  <a:lnTo>
                    <a:pt x="2294" y="406"/>
                  </a:lnTo>
                  <a:lnTo>
                    <a:pt x="2290" y="408"/>
                  </a:lnTo>
                  <a:lnTo>
                    <a:pt x="2292" y="410"/>
                  </a:lnTo>
                  <a:lnTo>
                    <a:pt x="2296" y="410"/>
                  </a:lnTo>
                  <a:lnTo>
                    <a:pt x="2298" y="412"/>
                  </a:lnTo>
                  <a:lnTo>
                    <a:pt x="2312" y="430"/>
                  </a:lnTo>
                  <a:lnTo>
                    <a:pt x="2312" y="432"/>
                  </a:lnTo>
                  <a:lnTo>
                    <a:pt x="2310" y="432"/>
                  </a:lnTo>
                  <a:lnTo>
                    <a:pt x="2308" y="430"/>
                  </a:lnTo>
                  <a:lnTo>
                    <a:pt x="2298" y="424"/>
                  </a:lnTo>
                  <a:lnTo>
                    <a:pt x="2290" y="424"/>
                  </a:lnTo>
                  <a:lnTo>
                    <a:pt x="2288" y="422"/>
                  </a:lnTo>
                  <a:lnTo>
                    <a:pt x="2286" y="422"/>
                  </a:lnTo>
                  <a:lnTo>
                    <a:pt x="2284" y="422"/>
                  </a:lnTo>
                  <a:lnTo>
                    <a:pt x="2290" y="430"/>
                  </a:lnTo>
                  <a:lnTo>
                    <a:pt x="2294" y="444"/>
                  </a:lnTo>
                  <a:lnTo>
                    <a:pt x="2298" y="448"/>
                  </a:lnTo>
                  <a:lnTo>
                    <a:pt x="2310" y="452"/>
                  </a:lnTo>
                  <a:lnTo>
                    <a:pt x="2308" y="456"/>
                  </a:lnTo>
                  <a:lnTo>
                    <a:pt x="2302" y="456"/>
                  </a:lnTo>
                  <a:lnTo>
                    <a:pt x="2298" y="458"/>
                  </a:lnTo>
                  <a:lnTo>
                    <a:pt x="2300" y="464"/>
                  </a:lnTo>
                  <a:lnTo>
                    <a:pt x="2304" y="468"/>
                  </a:lnTo>
                  <a:lnTo>
                    <a:pt x="2300" y="468"/>
                  </a:lnTo>
                  <a:lnTo>
                    <a:pt x="2298" y="470"/>
                  </a:lnTo>
                  <a:lnTo>
                    <a:pt x="2302" y="476"/>
                  </a:lnTo>
                  <a:lnTo>
                    <a:pt x="2302" y="480"/>
                  </a:lnTo>
                  <a:lnTo>
                    <a:pt x="2304" y="482"/>
                  </a:lnTo>
                  <a:lnTo>
                    <a:pt x="2308" y="484"/>
                  </a:lnTo>
                  <a:lnTo>
                    <a:pt x="2312" y="488"/>
                  </a:lnTo>
                  <a:lnTo>
                    <a:pt x="2316" y="490"/>
                  </a:lnTo>
                  <a:lnTo>
                    <a:pt x="2322" y="490"/>
                  </a:lnTo>
                  <a:lnTo>
                    <a:pt x="2324" y="492"/>
                  </a:lnTo>
                  <a:lnTo>
                    <a:pt x="2324" y="496"/>
                  </a:lnTo>
                  <a:lnTo>
                    <a:pt x="2328" y="496"/>
                  </a:lnTo>
                  <a:lnTo>
                    <a:pt x="2330" y="496"/>
                  </a:lnTo>
                  <a:lnTo>
                    <a:pt x="2328" y="500"/>
                  </a:lnTo>
                  <a:lnTo>
                    <a:pt x="2330" y="502"/>
                  </a:lnTo>
                  <a:lnTo>
                    <a:pt x="2334" y="502"/>
                  </a:lnTo>
                  <a:lnTo>
                    <a:pt x="2364" y="532"/>
                  </a:lnTo>
                  <a:lnTo>
                    <a:pt x="2372" y="534"/>
                  </a:lnTo>
                  <a:lnTo>
                    <a:pt x="2376" y="536"/>
                  </a:lnTo>
                  <a:lnTo>
                    <a:pt x="2380" y="534"/>
                  </a:lnTo>
                  <a:lnTo>
                    <a:pt x="2380" y="532"/>
                  </a:lnTo>
                  <a:lnTo>
                    <a:pt x="2380" y="530"/>
                  </a:lnTo>
                  <a:lnTo>
                    <a:pt x="2374" y="526"/>
                  </a:lnTo>
                  <a:lnTo>
                    <a:pt x="2374" y="522"/>
                  </a:lnTo>
                  <a:lnTo>
                    <a:pt x="2384" y="514"/>
                  </a:lnTo>
                  <a:lnTo>
                    <a:pt x="2388" y="514"/>
                  </a:lnTo>
                  <a:lnTo>
                    <a:pt x="2394" y="520"/>
                  </a:lnTo>
                  <a:lnTo>
                    <a:pt x="2396" y="526"/>
                  </a:lnTo>
                  <a:lnTo>
                    <a:pt x="2400" y="530"/>
                  </a:lnTo>
                  <a:lnTo>
                    <a:pt x="2422" y="538"/>
                  </a:lnTo>
                  <a:lnTo>
                    <a:pt x="2424" y="536"/>
                  </a:lnTo>
                  <a:lnTo>
                    <a:pt x="2424" y="530"/>
                  </a:lnTo>
                  <a:lnTo>
                    <a:pt x="2428" y="530"/>
                  </a:lnTo>
                  <a:lnTo>
                    <a:pt x="2446" y="536"/>
                  </a:lnTo>
                  <a:lnTo>
                    <a:pt x="2452" y="542"/>
                  </a:lnTo>
                  <a:lnTo>
                    <a:pt x="2452" y="544"/>
                  </a:lnTo>
                  <a:lnTo>
                    <a:pt x="2450" y="546"/>
                  </a:lnTo>
                  <a:lnTo>
                    <a:pt x="2440" y="546"/>
                  </a:lnTo>
                  <a:lnTo>
                    <a:pt x="2438" y="544"/>
                  </a:lnTo>
                  <a:lnTo>
                    <a:pt x="2436" y="540"/>
                  </a:lnTo>
                  <a:lnTo>
                    <a:pt x="2432" y="536"/>
                  </a:lnTo>
                  <a:lnTo>
                    <a:pt x="2430" y="536"/>
                  </a:lnTo>
                  <a:lnTo>
                    <a:pt x="2432" y="540"/>
                  </a:lnTo>
                  <a:lnTo>
                    <a:pt x="2434" y="552"/>
                  </a:lnTo>
                  <a:lnTo>
                    <a:pt x="2436" y="554"/>
                  </a:lnTo>
                  <a:lnTo>
                    <a:pt x="2442" y="552"/>
                  </a:lnTo>
                  <a:lnTo>
                    <a:pt x="2444" y="560"/>
                  </a:lnTo>
                  <a:lnTo>
                    <a:pt x="2464" y="578"/>
                  </a:lnTo>
                  <a:lnTo>
                    <a:pt x="2474" y="582"/>
                  </a:lnTo>
                  <a:lnTo>
                    <a:pt x="2480" y="582"/>
                  </a:lnTo>
                  <a:lnTo>
                    <a:pt x="2494" y="578"/>
                  </a:lnTo>
                  <a:lnTo>
                    <a:pt x="2498" y="582"/>
                  </a:lnTo>
                  <a:lnTo>
                    <a:pt x="2502" y="590"/>
                  </a:lnTo>
                  <a:lnTo>
                    <a:pt x="2502" y="596"/>
                  </a:lnTo>
                  <a:lnTo>
                    <a:pt x="2502" y="600"/>
                  </a:lnTo>
                  <a:lnTo>
                    <a:pt x="2496" y="600"/>
                  </a:lnTo>
                  <a:lnTo>
                    <a:pt x="2496" y="608"/>
                  </a:lnTo>
                  <a:lnTo>
                    <a:pt x="2510" y="638"/>
                  </a:lnTo>
                  <a:lnTo>
                    <a:pt x="2538" y="650"/>
                  </a:lnTo>
                  <a:lnTo>
                    <a:pt x="2540" y="650"/>
                  </a:lnTo>
                  <a:lnTo>
                    <a:pt x="2544" y="652"/>
                  </a:lnTo>
                  <a:lnTo>
                    <a:pt x="2538" y="656"/>
                  </a:lnTo>
                  <a:lnTo>
                    <a:pt x="2542" y="676"/>
                  </a:lnTo>
                  <a:lnTo>
                    <a:pt x="2546" y="682"/>
                  </a:lnTo>
                  <a:lnTo>
                    <a:pt x="2542" y="684"/>
                  </a:lnTo>
                  <a:lnTo>
                    <a:pt x="2542" y="686"/>
                  </a:lnTo>
                  <a:lnTo>
                    <a:pt x="2544" y="690"/>
                  </a:lnTo>
                  <a:lnTo>
                    <a:pt x="2546" y="688"/>
                  </a:lnTo>
                  <a:lnTo>
                    <a:pt x="2552" y="692"/>
                  </a:lnTo>
                  <a:lnTo>
                    <a:pt x="2554" y="696"/>
                  </a:lnTo>
                  <a:lnTo>
                    <a:pt x="2568" y="702"/>
                  </a:lnTo>
                  <a:lnTo>
                    <a:pt x="2578" y="712"/>
                  </a:lnTo>
                  <a:lnTo>
                    <a:pt x="2602" y="764"/>
                  </a:lnTo>
                  <a:lnTo>
                    <a:pt x="2482" y="724"/>
                  </a:lnTo>
                  <a:lnTo>
                    <a:pt x="2480" y="724"/>
                  </a:lnTo>
                  <a:lnTo>
                    <a:pt x="2382" y="672"/>
                  </a:lnTo>
                  <a:lnTo>
                    <a:pt x="2378" y="668"/>
                  </a:lnTo>
                  <a:lnTo>
                    <a:pt x="2372" y="648"/>
                  </a:lnTo>
                  <a:lnTo>
                    <a:pt x="2358" y="636"/>
                  </a:lnTo>
                  <a:lnTo>
                    <a:pt x="2346" y="634"/>
                  </a:lnTo>
                  <a:lnTo>
                    <a:pt x="2346" y="630"/>
                  </a:lnTo>
                  <a:lnTo>
                    <a:pt x="2352" y="624"/>
                  </a:lnTo>
                  <a:lnTo>
                    <a:pt x="2346" y="616"/>
                  </a:lnTo>
                  <a:lnTo>
                    <a:pt x="2348" y="610"/>
                  </a:lnTo>
                  <a:lnTo>
                    <a:pt x="2346" y="602"/>
                  </a:lnTo>
                  <a:lnTo>
                    <a:pt x="2322" y="562"/>
                  </a:lnTo>
                  <a:lnTo>
                    <a:pt x="2316" y="560"/>
                  </a:lnTo>
                  <a:lnTo>
                    <a:pt x="2308" y="550"/>
                  </a:lnTo>
                  <a:lnTo>
                    <a:pt x="2308" y="546"/>
                  </a:lnTo>
                  <a:lnTo>
                    <a:pt x="2302" y="540"/>
                  </a:lnTo>
                  <a:lnTo>
                    <a:pt x="2298" y="530"/>
                  </a:lnTo>
                  <a:lnTo>
                    <a:pt x="2282" y="506"/>
                  </a:lnTo>
                  <a:lnTo>
                    <a:pt x="2278" y="504"/>
                  </a:lnTo>
                  <a:lnTo>
                    <a:pt x="2274" y="502"/>
                  </a:lnTo>
                  <a:lnTo>
                    <a:pt x="2272" y="500"/>
                  </a:lnTo>
                  <a:lnTo>
                    <a:pt x="2270" y="490"/>
                  </a:lnTo>
                  <a:lnTo>
                    <a:pt x="2270" y="486"/>
                  </a:lnTo>
                  <a:lnTo>
                    <a:pt x="2266" y="480"/>
                  </a:lnTo>
                  <a:lnTo>
                    <a:pt x="2264" y="474"/>
                  </a:lnTo>
                  <a:lnTo>
                    <a:pt x="2266" y="472"/>
                  </a:lnTo>
                  <a:lnTo>
                    <a:pt x="2262" y="464"/>
                  </a:lnTo>
                  <a:lnTo>
                    <a:pt x="2260" y="462"/>
                  </a:lnTo>
                  <a:lnTo>
                    <a:pt x="2256" y="464"/>
                  </a:lnTo>
                  <a:lnTo>
                    <a:pt x="2250" y="462"/>
                  </a:lnTo>
                  <a:lnTo>
                    <a:pt x="2250" y="460"/>
                  </a:lnTo>
                  <a:lnTo>
                    <a:pt x="2248" y="456"/>
                  </a:lnTo>
                  <a:lnTo>
                    <a:pt x="2242" y="454"/>
                  </a:lnTo>
                  <a:lnTo>
                    <a:pt x="2240" y="454"/>
                  </a:lnTo>
                  <a:lnTo>
                    <a:pt x="2234" y="452"/>
                  </a:lnTo>
                  <a:lnTo>
                    <a:pt x="2232" y="448"/>
                  </a:lnTo>
                  <a:lnTo>
                    <a:pt x="2210" y="438"/>
                  </a:lnTo>
                  <a:lnTo>
                    <a:pt x="2202" y="428"/>
                  </a:lnTo>
                  <a:lnTo>
                    <a:pt x="2204" y="424"/>
                  </a:lnTo>
                  <a:lnTo>
                    <a:pt x="2200" y="422"/>
                  </a:lnTo>
                  <a:lnTo>
                    <a:pt x="2194" y="424"/>
                  </a:lnTo>
                  <a:lnTo>
                    <a:pt x="2192" y="430"/>
                  </a:lnTo>
                  <a:lnTo>
                    <a:pt x="2196" y="444"/>
                  </a:lnTo>
                  <a:lnTo>
                    <a:pt x="2200" y="450"/>
                  </a:lnTo>
                  <a:lnTo>
                    <a:pt x="2202" y="452"/>
                  </a:lnTo>
                  <a:lnTo>
                    <a:pt x="2206" y="454"/>
                  </a:lnTo>
                  <a:lnTo>
                    <a:pt x="2210" y="458"/>
                  </a:lnTo>
                  <a:lnTo>
                    <a:pt x="2224" y="464"/>
                  </a:lnTo>
                  <a:lnTo>
                    <a:pt x="2226" y="464"/>
                  </a:lnTo>
                  <a:lnTo>
                    <a:pt x="2228" y="460"/>
                  </a:lnTo>
                  <a:lnTo>
                    <a:pt x="2234" y="466"/>
                  </a:lnTo>
                  <a:lnTo>
                    <a:pt x="2234" y="468"/>
                  </a:lnTo>
                  <a:lnTo>
                    <a:pt x="2230" y="468"/>
                  </a:lnTo>
                  <a:lnTo>
                    <a:pt x="2228" y="466"/>
                  </a:lnTo>
                  <a:lnTo>
                    <a:pt x="2226" y="468"/>
                  </a:lnTo>
                  <a:lnTo>
                    <a:pt x="2228" y="470"/>
                  </a:lnTo>
                  <a:lnTo>
                    <a:pt x="2230" y="472"/>
                  </a:lnTo>
                  <a:lnTo>
                    <a:pt x="2228" y="478"/>
                  </a:lnTo>
                  <a:lnTo>
                    <a:pt x="2256" y="518"/>
                  </a:lnTo>
                  <a:lnTo>
                    <a:pt x="2256" y="522"/>
                  </a:lnTo>
                  <a:lnTo>
                    <a:pt x="2260" y="530"/>
                  </a:lnTo>
                  <a:lnTo>
                    <a:pt x="2256" y="528"/>
                  </a:lnTo>
                  <a:lnTo>
                    <a:pt x="2244" y="520"/>
                  </a:lnTo>
                  <a:lnTo>
                    <a:pt x="2244" y="528"/>
                  </a:lnTo>
                  <a:lnTo>
                    <a:pt x="2242" y="530"/>
                  </a:lnTo>
                  <a:lnTo>
                    <a:pt x="2240" y="528"/>
                  </a:lnTo>
                  <a:lnTo>
                    <a:pt x="2240" y="526"/>
                  </a:lnTo>
                  <a:lnTo>
                    <a:pt x="2236" y="524"/>
                  </a:lnTo>
                  <a:lnTo>
                    <a:pt x="2234" y="526"/>
                  </a:lnTo>
                  <a:lnTo>
                    <a:pt x="2230" y="524"/>
                  </a:lnTo>
                  <a:lnTo>
                    <a:pt x="2222" y="514"/>
                  </a:lnTo>
                  <a:lnTo>
                    <a:pt x="2206" y="506"/>
                  </a:lnTo>
                  <a:lnTo>
                    <a:pt x="2214" y="520"/>
                  </a:lnTo>
                  <a:lnTo>
                    <a:pt x="2214" y="524"/>
                  </a:lnTo>
                  <a:lnTo>
                    <a:pt x="2210" y="524"/>
                  </a:lnTo>
                  <a:lnTo>
                    <a:pt x="2206" y="526"/>
                  </a:lnTo>
                  <a:lnTo>
                    <a:pt x="2202" y="528"/>
                  </a:lnTo>
                  <a:lnTo>
                    <a:pt x="2202" y="530"/>
                  </a:lnTo>
                  <a:lnTo>
                    <a:pt x="2204" y="532"/>
                  </a:lnTo>
                  <a:lnTo>
                    <a:pt x="2204" y="534"/>
                  </a:lnTo>
                  <a:lnTo>
                    <a:pt x="2202" y="548"/>
                  </a:lnTo>
                  <a:lnTo>
                    <a:pt x="2200" y="556"/>
                  </a:lnTo>
                  <a:lnTo>
                    <a:pt x="2202" y="560"/>
                  </a:lnTo>
                  <a:lnTo>
                    <a:pt x="2202" y="564"/>
                  </a:lnTo>
                  <a:lnTo>
                    <a:pt x="2208" y="576"/>
                  </a:lnTo>
                  <a:lnTo>
                    <a:pt x="2216" y="582"/>
                  </a:lnTo>
                  <a:lnTo>
                    <a:pt x="2224" y="596"/>
                  </a:lnTo>
                  <a:lnTo>
                    <a:pt x="2226" y="598"/>
                  </a:lnTo>
                  <a:lnTo>
                    <a:pt x="2228" y="600"/>
                  </a:lnTo>
                  <a:lnTo>
                    <a:pt x="2236" y="616"/>
                  </a:lnTo>
                  <a:lnTo>
                    <a:pt x="2236" y="622"/>
                  </a:lnTo>
                  <a:lnTo>
                    <a:pt x="2240" y="628"/>
                  </a:lnTo>
                  <a:lnTo>
                    <a:pt x="2254" y="644"/>
                  </a:lnTo>
                  <a:lnTo>
                    <a:pt x="2254" y="644"/>
                  </a:lnTo>
                  <a:lnTo>
                    <a:pt x="2252" y="646"/>
                  </a:lnTo>
                  <a:lnTo>
                    <a:pt x="2252" y="648"/>
                  </a:lnTo>
                  <a:lnTo>
                    <a:pt x="2262" y="648"/>
                  </a:lnTo>
                  <a:lnTo>
                    <a:pt x="2262" y="652"/>
                  </a:lnTo>
                  <a:lnTo>
                    <a:pt x="2266" y="652"/>
                  </a:lnTo>
                  <a:lnTo>
                    <a:pt x="2266" y="646"/>
                  </a:lnTo>
                  <a:lnTo>
                    <a:pt x="2272" y="640"/>
                  </a:lnTo>
                  <a:lnTo>
                    <a:pt x="2276" y="640"/>
                  </a:lnTo>
                  <a:lnTo>
                    <a:pt x="2280" y="640"/>
                  </a:lnTo>
                  <a:lnTo>
                    <a:pt x="2284" y="642"/>
                  </a:lnTo>
                  <a:lnTo>
                    <a:pt x="2282" y="646"/>
                  </a:lnTo>
                  <a:lnTo>
                    <a:pt x="2284" y="648"/>
                  </a:lnTo>
                  <a:lnTo>
                    <a:pt x="2282" y="650"/>
                  </a:lnTo>
                  <a:lnTo>
                    <a:pt x="2278" y="654"/>
                  </a:lnTo>
                  <a:lnTo>
                    <a:pt x="2282" y="656"/>
                  </a:lnTo>
                  <a:lnTo>
                    <a:pt x="2282" y="660"/>
                  </a:lnTo>
                  <a:lnTo>
                    <a:pt x="2280" y="664"/>
                  </a:lnTo>
                  <a:lnTo>
                    <a:pt x="2274" y="664"/>
                  </a:lnTo>
                  <a:lnTo>
                    <a:pt x="2272" y="668"/>
                  </a:lnTo>
                  <a:lnTo>
                    <a:pt x="2272" y="674"/>
                  </a:lnTo>
                  <a:lnTo>
                    <a:pt x="2274" y="674"/>
                  </a:lnTo>
                  <a:lnTo>
                    <a:pt x="2272" y="680"/>
                  </a:lnTo>
                  <a:lnTo>
                    <a:pt x="2276" y="684"/>
                  </a:lnTo>
                  <a:lnTo>
                    <a:pt x="2276" y="688"/>
                  </a:lnTo>
                  <a:lnTo>
                    <a:pt x="2272" y="690"/>
                  </a:lnTo>
                  <a:lnTo>
                    <a:pt x="2270" y="690"/>
                  </a:lnTo>
                  <a:lnTo>
                    <a:pt x="2270" y="694"/>
                  </a:lnTo>
                  <a:lnTo>
                    <a:pt x="2272" y="698"/>
                  </a:lnTo>
                  <a:lnTo>
                    <a:pt x="2270" y="708"/>
                  </a:lnTo>
                  <a:lnTo>
                    <a:pt x="2266" y="714"/>
                  </a:lnTo>
                  <a:lnTo>
                    <a:pt x="2258" y="714"/>
                  </a:lnTo>
                  <a:lnTo>
                    <a:pt x="2256" y="714"/>
                  </a:lnTo>
                  <a:lnTo>
                    <a:pt x="2256" y="708"/>
                  </a:lnTo>
                  <a:lnTo>
                    <a:pt x="2260" y="696"/>
                  </a:lnTo>
                  <a:lnTo>
                    <a:pt x="2260" y="692"/>
                  </a:lnTo>
                  <a:lnTo>
                    <a:pt x="2258" y="692"/>
                  </a:lnTo>
                  <a:lnTo>
                    <a:pt x="2254" y="698"/>
                  </a:lnTo>
                  <a:lnTo>
                    <a:pt x="2250" y="696"/>
                  </a:lnTo>
                  <a:lnTo>
                    <a:pt x="2242" y="700"/>
                  </a:lnTo>
                  <a:lnTo>
                    <a:pt x="2238" y="704"/>
                  </a:lnTo>
                  <a:lnTo>
                    <a:pt x="2238" y="706"/>
                  </a:lnTo>
                  <a:lnTo>
                    <a:pt x="2240" y="710"/>
                  </a:lnTo>
                  <a:lnTo>
                    <a:pt x="2238" y="712"/>
                  </a:lnTo>
                  <a:lnTo>
                    <a:pt x="2236" y="712"/>
                  </a:lnTo>
                  <a:lnTo>
                    <a:pt x="2232" y="714"/>
                  </a:lnTo>
                  <a:lnTo>
                    <a:pt x="2230" y="718"/>
                  </a:lnTo>
                  <a:lnTo>
                    <a:pt x="2218" y="728"/>
                  </a:lnTo>
                  <a:lnTo>
                    <a:pt x="2216" y="732"/>
                  </a:lnTo>
                  <a:lnTo>
                    <a:pt x="2218" y="738"/>
                  </a:lnTo>
                  <a:lnTo>
                    <a:pt x="2220" y="738"/>
                  </a:lnTo>
                  <a:lnTo>
                    <a:pt x="2222" y="738"/>
                  </a:lnTo>
                  <a:lnTo>
                    <a:pt x="2224" y="740"/>
                  </a:lnTo>
                  <a:lnTo>
                    <a:pt x="2222" y="744"/>
                  </a:lnTo>
                  <a:lnTo>
                    <a:pt x="2222" y="748"/>
                  </a:lnTo>
                  <a:lnTo>
                    <a:pt x="2226" y="748"/>
                  </a:lnTo>
                  <a:lnTo>
                    <a:pt x="2226" y="746"/>
                  </a:lnTo>
                  <a:lnTo>
                    <a:pt x="2230" y="748"/>
                  </a:lnTo>
                  <a:lnTo>
                    <a:pt x="2228" y="752"/>
                  </a:lnTo>
                  <a:lnTo>
                    <a:pt x="2228" y="754"/>
                  </a:lnTo>
                  <a:lnTo>
                    <a:pt x="2220" y="754"/>
                  </a:lnTo>
                  <a:lnTo>
                    <a:pt x="2216" y="760"/>
                  </a:lnTo>
                  <a:lnTo>
                    <a:pt x="2216" y="764"/>
                  </a:lnTo>
                  <a:lnTo>
                    <a:pt x="2220" y="766"/>
                  </a:lnTo>
                  <a:lnTo>
                    <a:pt x="2218" y="770"/>
                  </a:lnTo>
                  <a:lnTo>
                    <a:pt x="2200" y="784"/>
                  </a:lnTo>
                  <a:lnTo>
                    <a:pt x="2200" y="786"/>
                  </a:lnTo>
                  <a:lnTo>
                    <a:pt x="2206" y="790"/>
                  </a:lnTo>
                  <a:lnTo>
                    <a:pt x="2208" y="792"/>
                  </a:lnTo>
                  <a:lnTo>
                    <a:pt x="2206" y="796"/>
                  </a:lnTo>
                  <a:lnTo>
                    <a:pt x="2204" y="798"/>
                  </a:lnTo>
                  <a:lnTo>
                    <a:pt x="2202" y="796"/>
                  </a:lnTo>
                  <a:lnTo>
                    <a:pt x="2198" y="794"/>
                  </a:lnTo>
                  <a:lnTo>
                    <a:pt x="2196" y="796"/>
                  </a:lnTo>
                  <a:lnTo>
                    <a:pt x="2192" y="800"/>
                  </a:lnTo>
                  <a:lnTo>
                    <a:pt x="2190" y="802"/>
                  </a:lnTo>
                  <a:lnTo>
                    <a:pt x="2188" y="804"/>
                  </a:lnTo>
                  <a:lnTo>
                    <a:pt x="2170" y="838"/>
                  </a:lnTo>
                  <a:lnTo>
                    <a:pt x="2180" y="908"/>
                  </a:lnTo>
                  <a:lnTo>
                    <a:pt x="2188" y="918"/>
                  </a:lnTo>
                  <a:lnTo>
                    <a:pt x="2188" y="930"/>
                  </a:lnTo>
                  <a:lnTo>
                    <a:pt x="2186" y="930"/>
                  </a:lnTo>
                  <a:lnTo>
                    <a:pt x="2188" y="936"/>
                  </a:lnTo>
                  <a:lnTo>
                    <a:pt x="2190" y="946"/>
                  </a:lnTo>
                  <a:lnTo>
                    <a:pt x="2188" y="950"/>
                  </a:lnTo>
                  <a:lnTo>
                    <a:pt x="2192" y="968"/>
                  </a:lnTo>
                  <a:lnTo>
                    <a:pt x="2194" y="972"/>
                  </a:lnTo>
                  <a:lnTo>
                    <a:pt x="2192" y="974"/>
                  </a:lnTo>
                  <a:lnTo>
                    <a:pt x="2194" y="978"/>
                  </a:lnTo>
                  <a:lnTo>
                    <a:pt x="2196" y="986"/>
                  </a:lnTo>
                  <a:lnTo>
                    <a:pt x="2198" y="988"/>
                  </a:lnTo>
                  <a:lnTo>
                    <a:pt x="2200" y="992"/>
                  </a:lnTo>
                  <a:lnTo>
                    <a:pt x="2200" y="996"/>
                  </a:lnTo>
                  <a:lnTo>
                    <a:pt x="2202" y="1002"/>
                  </a:lnTo>
                  <a:lnTo>
                    <a:pt x="2204" y="1034"/>
                  </a:lnTo>
                  <a:lnTo>
                    <a:pt x="2202" y="1036"/>
                  </a:lnTo>
                  <a:lnTo>
                    <a:pt x="2202" y="1040"/>
                  </a:lnTo>
                  <a:lnTo>
                    <a:pt x="2204" y="1046"/>
                  </a:lnTo>
                  <a:lnTo>
                    <a:pt x="2204" y="1056"/>
                  </a:lnTo>
                  <a:lnTo>
                    <a:pt x="2204" y="1058"/>
                  </a:lnTo>
                  <a:lnTo>
                    <a:pt x="2202" y="1072"/>
                  </a:lnTo>
                  <a:lnTo>
                    <a:pt x="2208" y="1080"/>
                  </a:lnTo>
                  <a:lnTo>
                    <a:pt x="2214" y="1078"/>
                  </a:lnTo>
                  <a:lnTo>
                    <a:pt x="2220" y="1076"/>
                  </a:lnTo>
                  <a:lnTo>
                    <a:pt x="2230" y="1062"/>
                  </a:lnTo>
                  <a:lnTo>
                    <a:pt x="2234" y="1060"/>
                  </a:lnTo>
                  <a:lnTo>
                    <a:pt x="2238" y="1062"/>
                  </a:lnTo>
                  <a:lnTo>
                    <a:pt x="2242" y="1066"/>
                  </a:lnTo>
                  <a:lnTo>
                    <a:pt x="2242" y="1066"/>
                  </a:lnTo>
                  <a:lnTo>
                    <a:pt x="2258" y="1082"/>
                  </a:lnTo>
                  <a:lnTo>
                    <a:pt x="2260" y="1082"/>
                  </a:lnTo>
                  <a:lnTo>
                    <a:pt x="2258" y="1078"/>
                  </a:lnTo>
                  <a:lnTo>
                    <a:pt x="2260" y="1076"/>
                  </a:lnTo>
                  <a:lnTo>
                    <a:pt x="2260" y="1070"/>
                  </a:lnTo>
                  <a:lnTo>
                    <a:pt x="2258" y="1068"/>
                  </a:lnTo>
                  <a:lnTo>
                    <a:pt x="2254" y="1066"/>
                  </a:lnTo>
                  <a:lnTo>
                    <a:pt x="2252" y="1062"/>
                  </a:lnTo>
                  <a:lnTo>
                    <a:pt x="2252" y="1058"/>
                  </a:lnTo>
                  <a:lnTo>
                    <a:pt x="2256" y="1054"/>
                  </a:lnTo>
                  <a:lnTo>
                    <a:pt x="2258" y="1056"/>
                  </a:lnTo>
                  <a:lnTo>
                    <a:pt x="2258" y="1062"/>
                  </a:lnTo>
                  <a:lnTo>
                    <a:pt x="2258" y="1064"/>
                  </a:lnTo>
                  <a:lnTo>
                    <a:pt x="2262" y="1064"/>
                  </a:lnTo>
                  <a:lnTo>
                    <a:pt x="2266" y="1064"/>
                  </a:lnTo>
                  <a:lnTo>
                    <a:pt x="2270" y="1066"/>
                  </a:lnTo>
                  <a:lnTo>
                    <a:pt x="2272" y="1074"/>
                  </a:lnTo>
                  <a:lnTo>
                    <a:pt x="2270" y="1078"/>
                  </a:lnTo>
                  <a:lnTo>
                    <a:pt x="2272" y="1080"/>
                  </a:lnTo>
                  <a:lnTo>
                    <a:pt x="2276" y="1076"/>
                  </a:lnTo>
                  <a:lnTo>
                    <a:pt x="2282" y="1062"/>
                  </a:lnTo>
                  <a:lnTo>
                    <a:pt x="2280" y="1050"/>
                  </a:lnTo>
                  <a:lnTo>
                    <a:pt x="2284" y="1052"/>
                  </a:lnTo>
                  <a:lnTo>
                    <a:pt x="2286" y="1058"/>
                  </a:lnTo>
                  <a:lnTo>
                    <a:pt x="2290" y="1064"/>
                  </a:lnTo>
                  <a:lnTo>
                    <a:pt x="2290" y="1058"/>
                  </a:lnTo>
                  <a:lnTo>
                    <a:pt x="2280" y="1042"/>
                  </a:lnTo>
                  <a:lnTo>
                    <a:pt x="2278" y="1042"/>
                  </a:lnTo>
                  <a:lnTo>
                    <a:pt x="2272" y="1036"/>
                  </a:lnTo>
                  <a:lnTo>
                    <a:pt x="2280" y="1032"/>
                  </a:lnTo>
                  <a:lnTo>
                    <a:pt x="2284" y="1030"/>
                  </a:lnTo>
                  <a:lnTo>
                    <a:pt x="2286" y="1022"/>
                  </a:lnTo>
                  <a:lnTo>
                    <a:pt x="2288" y="1020"/>
                  </a:lnTo>
                  <a:lnTo>
                    <a:pt x="2290" y="1020"/>
                  </a:lnTo>
                  <a:lnTo>
                    <a:pt x="2292" y="1022"/>
                  </a:lnTo>
                  <a:lnTo>
                    <a:pt x="2296" y="1020"/>
                  </a:lnTo>
                  <a:lnTo>
                    <a:pt x="2304" y="1020"/>
                  </a:lnTo>
                  <a:lnTo>
                    <a:pt x="2308" y="1022"/>
                  </a:lnTo>
                  <a:lnTo>
                    <a:pt x="2312" y="1024"/>
                  </a:lnTo>
                  <a:lnTo>
                    <a:pt x="2338" y="1020"/>
                  </a:lnTo>
                  <a:lnTo>
                    <a:pt x="2340" y="1018"/>
                  </a:lnTo>
                  <a:lnTo>
                    <a:pt x="2344" y="1020"/>
                  </a:lnTo>
                  <a:lnTo>
                    <a:pt x="2346" y="1026"/>
                  </a:lnTo>
                  <a:lnTo>
                    <a:pt x="2346" y="1028"/>
                  </a:lnTo>
                  <a:lnTo>
                    <a:pt x="2336" y="1030"/>
                  </a:lnTo>
                  <a:lnTo>
                    <a:pt x="2334" y="1034"/>
                  </a:lnTo>
                  <a:lnTo>
                    <a:pt x="2332" y="1036"/>
                  </a:lnTo>
                  <a:lnTo>
                    <a:pt x="2326" y="1038"/>
                  </a:lnTo>
                  <a:lnTo>
                    <a:pt x="2322" y="1042"/>
                  </a:lnTo>
                  <a:lnTo>
                    <a:pt x="2322" y="1046"/>
                  </a:lnTo>
                  <a:lnTo>
                    <a:pt x="2324" y="1042"/>
                  </a:lnTo>
                  <a:lnTo>
                    <a:pt x="2328" y="1040"/>
                  </a:lnTo>
                  <a:lnTo>
                    <a:pt x="2336" y="1038"/>
                  </a:lnTo>
                  <a:lnTo>
                    <a:pt x="2338" y="1034"/>
                  </a:lnTo>
                  <a:lnTo>
                    <a:pt x="2348" y="1032"/>
                  </a:lnTo>
                  <a:lnTo>
                    <a:pt x="2358" y="1038"/>
                  </a:lnTo>
                  <a:lnTo>
                    <a:pt x="2364" y="1046"/>
                  </a:lnTo>
                  <a:lnTo>
                    <a:pt x="2376" y="1046"/>
                  </a:lnTo>
                  <a:lnTo>
                    <a:pt x="2378" y="1050"/>
                  </a:lnTo>
                  <a:lnTo>
                    <a:pt x="2382" y="1054"/>
                  </a:lnTo>
                  <a:lnTo>
                    <a:pt x="2386" y="1064"/>
                  </a:lnTo>
                  <a:lnTo>
                    <a:pt x="2384" y="1066"/>
                  </a:lnTo>
                  <a:lnTo>
                    <a:pt x="2388" y="1078"/>
                  </a:lnTo>
                  <a:lnTo>
                    <a:pt x="2390" y="1078"/>
                  </a:lnTo>
                  <a:lnTo>
                    <a:pt x="2392" y="1080"/>
                  </a:lnTo>
                  <a:lnTo>
                    <a:pt x="2392" y="1082"/>
                  </a:lnTo>
                  <a:lnTo>
                    <a:pt x="2392" y="1084"/>
                  </a:lnTo>
                  <a:lnTo>
                    <a:pt x="2402" y="1096"/>
                  </a:lnTo>
                  <a:lnTo>
                    <a:pt x="2404" y="1102"/>
                  </a:lnTo>
                  <a:lnTo>
                    <a:pt x="2422" y="1116"/>
                  </a:lnTo>
                  <a:lnTo>
                    <a:pt x="2426" y="1114"/>
                  </a:lnTo>
                  <a:lnTo>
                    <a:pt x="2428" y="1118"/>
                  </a:lnTo>
                  <a:lnTo>
                    <a:pt x="2430" y="1124"/>
                  </a:lnTo>
                  <a:lnTo>
                    <a:pt x="2446" y="1136"/>
                  </a:lnTo>
                  <a:lnTo>
                    <a:pt x="2454" y="1150"/>
                  </a:lnTo>
                  <a:lnTo>
                    <a:pt x="2458" y="1154"/>
                  </a:lnTo>
                  <a:lnTo>
                    <a:pt x="2468" y="1168"/>
                  </a:lnTo>
                  <a:lnTo>
                    <a:pt x="2468" y="1174"/>
                  </a:lnTo>
                  <a:lnTo>
                    <a:pt x="2468" y="1178"/>
                  </a:lnTo>
                  <a:lnTo>
                    <a:pt x="2496" y="1278"/>
                  </a:lnTo>
                  <a:lnTo>
                    <a:pt x="2496" y="1284"/>
                  </a:lnTo>
                  <a:lnTo>
                    <a:pt x="2498" y="1292"/>
                  </a:lnTo>
                  <a:lnTo>
                    <a:pt x="2504" y="1380"/>
                  </a:lnTo>
                  <a:lnTo>
                    <a:pt x="2506" y="1384"/>
                  </a:lnTo>
                  <a:lnTo>
                    <a:pt x="2510" y="1404"/>
                  </a:lnTo>
                  <a:lnTo>
                    <a:pt x="2498" y="1456"/>
                  </a:lnTo>
                  <a:lnTo>
                    <a:pt x="2496" y="1460"/>
                  </a:lnTo>
                  <a:lnTo>
                    <a:pt x="2490" y="1470"/>
                  </a:lnTo>
                  <a:lnTo>
                    <a:pt x="2484" y="1474"/>
                  </a:lnTo>
                  <a:lnTo>
                    <a:pt x="2480" y="1474"/>
                  </a:lnTo>
                  <a:lnTo>
                    <a:pt x="2480" y="1476"/>
                  </a:lnTo>
                  <a:lnTo>
                    <a:pt x="2474" y="1476"/>
                  </a:lnTo>
                  <a:lnTo>
                    <a:pt x="2466" y="1482"/>
                  </a:lnTo>
                  <a:lnTo>
                    <a:pt x="2464" y="1480"/>
                  </a:lnTo>
                  <a:lnTo>
                    <a:pt x="2456" y="1470"/>
                  </a:lnTo>
                  <a:lnTo>
                    <a:pt x="2452" y="1480"/>
                  </a:lnTo>
                  <a:lnTo>
                    <a:pt x="2450" y="1480"/>
                  </a:lnTo>
                  <a:lnTo>
                    <a:pt x="2448" y="1474"/>
                  </a:lnTo>
                  <a:lnTo>
                    <a:pt x="2444" y="1476"/>
                  </a:lnTo>
                  <a:lnTo>
                    <a:pt x="2440" y="1472"/>
                  </a:lnTo>
                  <a:lnTo>
                    <a:pt x="2446" y="1484"/>
                  </a:lnTo>
                  <a:lnTo>
                    <a:pt x="2444" y="1494"/>
                  </a:lnTo>
                  <a:lnTo>
                    <a:pt x="2446" y="1498"/>
                  </a:lnTo>
                  <a:lnTo>
                    <a:pt x="2446" y="1504"/>
                  </a:lnTo>
                  <a:lnTo>
                    <a:pt x="2446" y="1508"/>
                  </a:lnTo>
                  <a:lnTo>
                    <a:pt x="2434" y="1518"/>
                  </a:lnTo>
                  <a:lnTo>
                    <a:pt x="2438" y="1520"/>
                  </a:lnTo>
                  <a:lnTo>
                    <a:pt x="2440" y="1522"/>
                  </a:lnTo>
                  <a:lnTo>
                    <a:pt x="2438" y="1526"/>
                  </a:lnTo>
                  <a:lnTo>
                    <a:pt x="2434" y="1524"/>
                  </a:lnTo>
                  <a:lnTo>
                    <a:pt x="2426" y="1514"/>
                  </a:lnTo>
                  <a:lnTo>
                    <a:pt x="2430" y="1500"/>
                  </a:lnTo>
                  <a:lnTo>
                    <a:pt x="2428" y="1486"/>
                  </a:lnTo>
                  <a:lnTo>
                    <a:pt x="2400" y="1450"/>
                  </a:lnTo>
                  <a:lnTo>
                    <a:pt x="2392" y="1448"/>
                  </a:lnTo>
                  <a:lnTo>
                    <a:pt x="2398" y="1416"/>
                  </a:lnTo>
                  <a:lnTo>
                    <a:pt x="2420" y="1404"/>
                  </a:lnTo>
                  <a:lnTo>
                    <a:pt x="2424" y="1404"/>
                  </a:lnTo>
                  <a:lnTo>
                    <a:pt x="2426" y="1398"/>
                  </a:lnTo>
                  <a:lnTo>
                    <a:pt x="2420" y="1388"/>
                  </a:lnTo>
                  <a:lnTo>
                    <a:pt x="2414" y="1354"/>
                  </a:lnTo>
                  <a:lnTo>
                    <a:pt x="2392" y="1310"/>
                  </a:lnTo>
                  <a:lnTo>
                    <a:pt x="2394" y="1294"/>
                  </a:lnTo>
                  <a:lnTo>
                    <a:pt x="2388" y="1286"/>
                  </a:lnTo>
                  <a:lnTo>
                    <a:pt x="2380" y="1282"/>
                  </a:lnTo>
                  <a:lnTo>
                    <a:pt x="2374" y="1274"/>
                  </a:lnTo>
                  <a:lnTo>
                    <a:pt x="2374" y="1268"/>
                  </a:lnTo>
                  <a:lnTo>
                    <a:pt x="2372" y="1266"/>
                  </a:lnTo>
                  <a:lnTo>
                    <a:pt x="2358" y="1296"/>
                  </a:lnTo>
                  <a:lnTo>
                    <a:pt x="2352" y="1302"/>
                  </a:lnTo>
                  <a:lnTo>
                    <a:pt x="2342" y="1336"/>
                  </a:lnTo>
                  <a:lnTo>
                    <a:pt x="2336" y="1342"/>
                  </a:lnTo>
                  <a:lnTo>
                    <a:pt x="2328" y="1346"/>
                  </a:lnTo>
                  <a:lnTo>
                    <a:pt x="2320" y="1352"/>
                  </a:lnTo>
                  <a:lnTo>
                    <a:pt x="2306" y="1346"/>
                  </a:lnTo>
                  <a:lnTo>
                    <a:pt x="2296" y="1332"/>
                  </a:lnTo>
                  <a:lnTo>
                    <a:pt x="2290" y="1332"/>
                  </a:lnTo>
                  <a:lnTo>
                    <a:pt x="2286" y="1326"/>
                  </a:lnTo>
                  <a:lnTo>
                    <a:pt x="2286" y="1326"/>
                  </a:lnTo>
                  <a:lnTo>
                    <a:pt x="2284" y="1324"/>
                  </a:lnTo>
                  <a:lnTo>
                    <a:pt x="2280" y="1324"/>
                  </a:lnTo>
                  <a:lnTo>
                    <a:pt x="2276" y="1326"/>
                  </a:lnTo>
                  <a:lnTo>
                    <a:pt x="2268" y="1328"/>
                  </a:lnTo>
                  <a:lnTo>
                    <a:pt x="2248" y="1326"/>
                  </a:lnTo>
                  <a:lnTo>
                    <a:pt x="2240" y="1328"/>
                  </a:lnTo>
                  <a:lnTo>
                    <a:pt x="2232" y="1332"/>
                  </a:lnTo>
                  <a:lnTo>
                    <a:pt x="2224" y="1334"/>
                  </a:lnTo>
                  <a:lnTo>
                    <a:pt x="2218" y="1342"/>
                  </a:lnTo>
                  <a:lnTo>
                    <a:pt x="2210" y="1348"/>
                  </a:lnTo>
                  <a:lnTo>
                    <a:pt x="2202" y="1348"/>
                  </a:lnTo>
                  <a:lnTo>
                    <a:pt x="2190" y="1332"/>
                  </a:lnTo>
                  <a:lnTo>
                    <a:pt x="2190" y="1332"/>
                  </a:lnTo>
                  <a:lnTo>
                    <a:pt x="2190" y="1330"/>
                  </a:lnTo>
                  <a:lnTo>
                    <a:pt x="2120" y="1280"/>
                  </a:lnTo>
                  <a:lnTo>
                    <a:pt x="2120" y="1282"/>
                  </a:lnTo>
                  <a:lnTo>
                    <a:pt x="2118" y="1280"/>
                  </a:lnTo>
                  <a:lnTo>
                    <a:pt x="2108" y="1280"/>
                  </a:lnTo>
                  <a:lnTo>
                    <a:pt x="2106" y="1276"/>
                  </a:lnTo>
                  <a:lnTo>
                    <a:pt x="2090" y="1268"/>
                  </a:lnTo>
                  <a:lnTo>
                    <a:pt x="2078" y="1272"/>
                  </a:lnTo>
                  <a:lnTo>
                    <a:pt x="2072" y="1278"/>
                  </a:lnTo>
                  <a:lnTo>
                    <a:pt x="2066" y="1280"/>
                  </a:lnTo>
                  <a:lnTo>
                    <a:pt x="2042" y="1280"/>
                  </a:lnTo>
                  <a:lnTo>
                    <a:pt x="1996" y="1322"/>
                  </a:lnTo>
                  <a:lnTo>
                    <a:pt x="1994" y="1328"/>
                  </a:lnTo>
                  <a:lnTo>
                    <a:pt x="1994" y="1334"/>
                  </a:lnTo>
                  <a:lnTo>
                    <a:pt x="1990" y="1348"/>
                  </a:lnTo>
                  <a:lnTo>
                    <a:pt x="1992" y="1354"/>
                  </a:lnTo>
                  <a:lnTo>
                    <a:pt x="1994" y="1356"/>
                  </a:lnTo>
                  <a:lnTo>
                    <a:pt x="2004" y="1346"/>
                  </a:lnTo>
                  <a:lnTo>
                    <a:pt x="2006" y="1348"/>
                  </a:lnTo>
                  <a:lnTo>
                    <a:pt x="2012" y="1358"/>
                  </a:lnTo>
                  <a:lnTo>
                    <a:pt x="2016" y="1360"/>
                  </a:lnTo>
                  <a:lnTo>
                    <a:pt x="2018" y="1362"/>
                  </a:lnTo>
                  <a:lnTo>
                    <a:pt x="2014" y="1378"/>
                  </a:lnTo>
                  <a:lnTo>
                    <a:pt x="2010" y="1384"/>
                  </a:lnTo>
                  <a:lnTo>
                    <a:pt x="2018" y="1420"/>
                  </a:lnTo>
                  <a:lnTo>
                    <a:pt x="2016" y="1428"/>
                  </a:lnTo>
                  <a:lnTo>
                    <a:pt x="2018" y="1434"/>
                  </a:lnTo>
                  <a:lnTo>
                    <a:pt x="2022" y="1438"/>
                  </a:lnTo>
                  <a:lnTo>
                    <a:pt x="2022" y="1440"/>
                  </a:lnTo>
                  <a:lnTo>
                    <a:pt x="2006" y="1470"/>
                  </a:lnTo>
                  <a:lnTo>
                    <a:pt x="2002" y="1474"/>
                  </a:lnTo>
                  <a:lnTo>
                    <a:pt x="1960" y="1478"/>
                  </a:lnTo>
                  <a:lnTo>
                    <a:pt x="1956" y="1482"/>
                  </a:lnTo>
                  <a:lnTo>
                    <a:pt x="1950" y="1488"/>
                  </a:lnTo>
                  <a:lnTo>
                    <a:pt x="1940" y="1490"/>
                  </a:lnTo>
                  <a:lnTo>
                    <a:pt x="1920" y="1488"/>
                  </a:lnTo>
                  <a:lnTo>
                    <a:pt x="1910" y="1496"/>
                  </a:lnTo>
                  <a:lnTo>
                    <a:pt x="1894" y="1526"/>
                  </a:lnTo>
                  <a:lnTo>
                    <a:pt x="1852" y="1558"/>
                  </a:lnTo>
                  <a:lnTo>
                    <a:pt x="1842" y="1558"/>
                  </a:lnTo>
                  <a:lnTo>
                    <a:pt x="1798" y="1570"/>
                  </a:lnTo>
                  <a:lnTo>
                    <a:pt x="1784" y="1566"/>
                  </a:lnTo>
                  <a:lnTo>
                    <a:pt x="1776" y="1560"/>
                  </a:lnTo>
                  <a:lnTo>
                    <a:pt x="1756" y="1560"/>
                  </a:lnTo>
                  <a:lnTo>
                    <a:pt x="1742" y="1556"/>
                  </a:lnTo>
                  <a:lnTo>
                    <a:pt x="1740" y="1558"/>
                  </a:lnTo>
                  <a:lnTo>
                    <a:pt x="1734" y="1554"/>
                  </a:lnTo>
                  <a:lnTo>
                    <a:pt x="1698" y="1554"/>
                  </a:lnTo>
                  <a:lnTo>
                    <a:pt x="1680" y="1572"/>
                  </a:lnTo>
                  <a:lnTo>
                    <a:pt x="1668" y="1578"/>
                  </a:lnTo>
                  <a:lnTo>
                    <a:pt x="1652" y="1578"/>
                  </a:lnTo>
                  <a:lnTo>
                    <a:pt x="1632" y="1568"/>
                  </a:lnTo>
                  <a:lnTo>
                    <a:pt x="1630" y="1570"/>
                  </a:lnTo>
                  <a:lnTo>
                    <a:pt x="1622" y="1550"/>
                  </a:lnTo>
                  <a:lnTo>
                    <a:pt x="1616" y="1544"/>
                  </a:lnTo>
                  <a:lnTo>
                    <a:pt x="1588" y="1544"/>
                  </a:lnTo>
                  <a:lnTo>
                    <a:pt x="1582" y="1540"/>
                  </a:lnTo>
                  <a:lnTo>
                    <a:pt x="1566" y="1540"/>
                  </a:lnTo>
                  <a:lnTo>
                    <a:pt x="1558" y="1536"/>
                  </a:lnTo>
                  <a:lnTo>
                    <a:pt x="1550" y="1536"/>
                  </a:lnTo>
                  <a:lnTo>
                    <a:pt x="1544" y="1538"/>
                  </a:lnTo>
                  <a:lnTo>
                    <a:pt x="1524" y="1568"/>
                  </a:lnTo>
                  <a:lnTo>
                    <a:pt x="1526" y="1576"/>
                  </a:lnTo>
                  <a:lnTo>
                    <a:pt x="1528" y="1582"/>
                  </a:lnTo>
                  <a:lnTo>
                    <a:pt x="1534" y="1588"/>
                  </a:lnTo>
                  <a:lnTo>
                    <a:pt x="1536" y="1594"/>
                  </a:lnTo>
                  <a:lnTo>
                    <a:pt x="1534" y="1602"/>
                  </a:lnTo>
                  <a:lnTo>
                    <a:pt x="1534" y="1608"/>
                  </a:lnTo>
                  <a:lnTo>
                    <a:pt x="1536" y="1612"/>
                  </a:lnTo>
                  <a:lnTo>
                    <a:pt x="1536" y="1616"/>
                  </a:lnTo>
                  <a:lnTo>
                    <a:pt x="1534" y="1618"/>
                  </a:lnTo>
                  <a:lnTo>
                    <a:pt x="1498" y="1626"/>
                  </a:lnTo>
                  <a:lnTo>
                    <a:pt x="1490" y="1626"/>
                  </a:lnTo>
                  <a:lnTo>
                    <a:pt x="1470" y="1632"/>
                  </a:lnTo>
                  <a:lnTo>
                    <a:pt x="1462" y="1632"/>
                  </a:lnTo>
                  <a:lnTo>
                    <a:pt x="1444" y="1618"/>
                  </a:lnTo>
                  <a:lnTo>
                    <a:pt x="1420" y="1624"/>
                  </a:lnTo>
                  <a:lnTo>
                    <a:pt x="1414" y="1620"/>
                  </a:lnTo>
                  <a:lnTo>
                    <a:pt x="1396" y="1618"/>
                  </a:lnTo>
                  <a:lnTo>
                    <a:pt x="1358" y="1632"/>
                  </a:lnTo>
                  <a:lnTo>
                    <a:pt x="1320" y="1662"/>
                  </a:lnTo>
                  <a:lnTo>
                    <a:pt x="1304" y="1670"/>
                  </a:lnTo>
                  <a:lnTo>
                    <a:pt x="1294" y="1688"/>
                  </a:lnTo>
                  <a:lnTo>
                    <a:pt x="1292" y="1688"/>
                  </a:lnTo>
                  <a:lnTo>
                    <a:pt x="1284" y="1694"/>
                  </a:lnTo>
                  <a:lnTo>
                    <a:pt x="1272" y="1692"/>
                  </a:lnTo>
                  <a:lnTo>
                    <a:pt x="1272" y="1692"/>
                  </a:lnTo>
                  <a:lnTo>
                    <a:pt x="1278" y="1680"/>
                  </a:lnTo>
                  <a:lnTo>
                    <a:pt x="1276" y="1678"/>
                  </a:lnTo>
                  <a:lnTo>
                    <a:pt x="1272" y="1676"/>
                  </a:lnTo>
                  <a:lnTo>
                    <a:pt x="1268" y="1670"/>
                  </a:lnTo>
                  <a:lnTo>
                    <a:pt x="1266" y="1668"/>
                  </a:lnTo>
                  <a:lnTo>
                    <a:pt x="1264" y="1666"/>
                  </a:lnTo>
                  <a:lnTo>
                    <a:pt x="1262" y="1662"/>
                  </a:lnTo>
                  <a:lnTo>
                    <a:pt x="1256" y="1664"/>
                  </a:lnTo>
                  <a:lnTo>
                    <a:pt x="1254" y="1668"/>
                  </a:lnTo>
                  <a:lnTo>
                    <a:pt x="1252" y="1670"/>
                  </a:lnTo>
                  <a:lnTo>
                    <a:pt x="1246" y="1670"/>
                  </a:lnTo>
                  <a:lnTo>
                    <a:pt x="1238" y="1668"/>
                  </a:lnTo>
                  <a:lnTo>
                    <a:pt x="1232" y="1666"/>
                  </a:lnTo>
                  <a:lnTo>
                    <a:pt x="1228" y="1666"/>
                  </a:lnTo>
                  <a:lnTo>
                    <a:pt x="1226" y="1660"/>
                  </a:lnTo>
                  <a:lnTo>
                    <a:pt x="1222" y="1656"/>
                  </a:lnTo>
                  <a:lnTo>
                    <a:pt x="1218" y="1656"/>
                  </a:lnTo>
                  <a:lnTo>
                    <a:pt x="1220" y="1652"/>
                  </a:lnTo>
                  <a:lnTo>
                    <a:pt x="1218" y="1650"/>
                  </a:lnTo>
                  <a:lnTo>
                    <a:pt x="1208" y="1644"/>
                  </a:lnTo>
                  <a:lnTo>
                    <a:pt x="1204" y="1644"/>
                  </a:lnTo>
                  <a:lnTo>
                    <a:pt x="1202" y="1642"/>
                  </a:lnTo>
                  <a:lnTo>
                    <a:pt x="1202" y="1638"/>
                  </a:lnTo>
                  <a:lnTo>
                    <a:pt x="1202" y="1634"/>
                  </a:lnTo>
                  <a:lnTo>
                    <a:pt x="1202" y="1632"/>
                  </a:lnTo>
                  <a:lnTo>
                    <a:pt x="1198" y="1630"/>
                  </a:lnTo>
                  <a:lnTo>
                    <a:pt x="1194" y="1626"/>
                  </a:lnTo>
                  <a:lnTo>
                    <a:pt x="1190" y="1624"/>
                  </a:lnTo>
                  <a:lnTo>
                    <a:pt x="1188" y="1622"/>
                  </a:lnTo>
                  <a:lnTo>
                    <a:pt x="1186" y="1620"/>
                  </a:lnTo>
                  <a:lnTo>
                    <a:pt x="1178" y="1618"/>
                  </a:lnTo>
                  <a:lnTo>
                    <a:pt x="1176" y="1620"/>
                  </a:lnTo>
                  <a:lnTo>
                    <a:pt x="1174" y="1622"/>
                  </a:lnTo>
                  <a:lnTo>
                    <a:pt x="1170" y="1622"/>
                  </a:lnTo>
                  <a:lnTo>
                    <a:pt x="1166" y="1622"/>
                  </a:lnTo>
                  <a:lnTo>
                    <a:pt x="1164" y="1624"/>
                  </a:lnTo>
                  <a:lnTo>
                    <a:pt x="1164" y="1628"/>
                  </a:lnTo>
                  <a:lnTo>
                    <a:pt x="1156" y="1628"/>
                  </a:lnTo>
                  <a:lnTo>
                    <a:pt x="1154" y="1628"/>
                  </a:lnTo>
                  <a:lnTo>
                    <a:pt x="1146" y="1626"/>
                  </a:lnTo>
                  <a:lnTo>
                    <a:pt x="1134" y="1628"/>
                  </a:lnTo>
                  <a:lnTo>
                    <a:pt x="1132" y="1622"/>
                  </a:lnTo>
                  <a:lnTo>
                    <a:pt x="1130" y="1622"/>
                  </a:lnTo>
                  <a:lnTo>
                    <a:pt x="1128" y="1618"/>
                  </a:lnTo>
                  <a:lnTo>
                    <a:pt x="1130" y="1616"/>
                  </a:lnTo>
                  <a:lnTo>
                    <a:pt x="1124" y="1612"/>
                  </a:lnTo>
                  <a:lnTo>
                    <a:pt x="1120" y="1612"/>
                  </a:lnTo>
                  <a:lnTo>
                    <a:pt x="1118" y="1608"/>
                  </a:lnTo>
                  <a:lnTo>
                    <a:pt x="1116" y="1608"/>
                  </a:lnTo>
                  <a:lnTo>
                    <a:pt x="1110" y="1614"/>
                  </a:lnTo>
                  <a:lnTo>
                    <a:pt x="1110" y="1618"/>
                  </a:lnTo>
                  <a:lnTo>
                    <a:pt x="1108" y="1620"/>
                  </a:lnTo>
                  <a:lnTo>
                    <a:pt x="1102" y="1624"/>
                  </a:lnTo>
                  <a:lnTo>
                    <a:pt x="1056" y="1536"/>
                  </a:lnTo>
                  <a:lnTo>
                    <a:pt x="1026" y="1506"/>
                  </a:lnTo>
                  <a:lnTo>
                    <a:pt x="1026" y="1504"/>
                  </a:lnTo>
                  <a:lnTo>
                    <a:pt x="1026" y="1502"/>
                  </a:lnTo>
                  <a:lnTo>
                    <a:pt x="1030" y="1502"/>
                  </a:lnTo>
                  <a:lnTo>
                    <a:pt x="1032" y="1500"/>
                  </a:lnTo>
                  <a:lnTo>
                    <a:pt x="1034" y="1498"/>
                  </a:lnTo>
                  <a:lnTo>
                    <a:pt x="1034" y="1496"/>
                  </a:lnTo>
                  <a:lnTo>
                    <a:pt x="1032" y="1492"/>
                  </a:lnTo>
                  <a:lnTo>
                    <a:pt x="1028" y="1496"/>
                  </a:lnTo>
                  <a:lnTo>
                    <a:pt x="1020" y="1494"/>
                  </a:lnTo>
                  <a:lnTo>
                    <a:pt x="1018" y="1498"/>
                  </a:lnTo>
                  <a:lnTo>
                    <a:pt x="1010" y="1500"/>
                  </a:lnTo>
                  <a:lnTo>
                    <a:pt x="1006" y="1498"/>
                  </a:lnTo>
                  <a:lnTo>
                    <a:pt x="1002" y="1500"/>
                  </a:lnTo>
                  <a:lnTo>
                    <a:pt x="1000" y="1506"/>
                  </a:lnTo>
                  <a:lnTo>
                    <a:pt x="994" y="1510"/>
                  </a:lnTo>
                  <a:lnTo>
                    <a:pt x="988" y="1510"/>
                  </a:lnTo>
                  <a:lnTo>
                    <a:pt x="984" y="1514"/>
                  </a:lnTo>
                  <a:lnTo>
                    <a:pt x="980" y="1514"/>
                  </a:lnTo>
                  <a:lnTo>
                    <a:pt x="978" y="1516"/>
                  </a:lnTo>
                  <a:lnTo>
                    <a:pt x="978" y="1518"/>
                  </a:lnTo>
                  <a:lnTo>
                    <a:pt x="974" y="1518"/>
                  </a:lnTo>
                  <a:lnTo>
                    <a:pt x="972" y="1516"/>
                  </a:lnTo>
                  <a:lnTo>
                    <a:pt x="970" y="1516"/>
                  </a:lnTo>
                  <a:lnTo>
                    <a:pt x="966" y="1514"/>
                  </a:lnTo>
                  <a:lnTo>
                    <a:pt x="960" y="1516"/>
                  </a:lnTo>
                  <a:lnTo>
                    <a:pt x="958" y="1518"/>
                  </a:lnTo>
                  <a:lnTo>
                    <a:pt x="954" y="1518"/>
                  </a:lnTo>
                  <a:lnTo>
                    <a:pt x="952" y="1516"/>
                  </a:lnTo>
                  <a:lnTo>
                    <a:pt x="952" y="1512"/>
                  </a:lnTo>
                  <a:lnTo>
                    <a:pt x="954" y="1510"/>
                  </a:lnTo>
                  <a:lnTo>
                    <a:pt x="956" y="1506"/>
                  </a:lnTo>
                  <a:lnTo>
                    <a:pt x="960" y="1506"/>
                  </a:lnTo>
                  <a:lnTo>
                    <a:pt x="962" y="1504"/>
                  </a:lnTo>
                  <a:lnTo>
                    <a:pt x="964" y="1502"/>
                  </a:lnTo>
                  <a:lnTo>
                    <a:pt x="962" y="1498"/>
                  </a:lnTo>
                  <a:lnTo>
                    <a:pt x="960" y="1500"/>
                  </a:lnTo>
                  <a:lnTo>
                    <a:pt x="958" y="1502"/>
                  </a:lnTo>
                  <a:lnTo>
                    <a:pt x="954" y="1502"/>
                  </a:lnTo>
                  <a:lnTo>
                    <a:pt x="952" y="1500"/>
                  </a:lnTo>
                  <a:lnTo>
                    <a:pt x="950" y="1498"/>
                  </a:lnTo>
                  <a:lnTo>
                    <a:pt x="946" y="1496"/>
                  </a:lnTo>
                  <a:lnTo>
                    <a:pt x="940" y="1494"/>
                  </a:lnTo>
                  <a:lnTo>
                    <a:pt x="938" y="1494"/>
                  </a:lnTo>
                  <a:lnTo>
                    <a:pt x="940" y="1496"/>
                  </a:lnTo>
                  <a:lnTo>
                    <a:pt x="940" y="1500"/>
                  </a:lnTo>
                  <a:lnTo>
                    <a:pt x="934" y="1498"/>
                  </a:lnTo>
                  <a:lnTo>
                    <a:pt x="934" y="1496"/>
                  </a:lnTo>
                  <a:lnTo>
                    <a:pt x="936" y="1492"/>
                  </a:lnTo>
                  <a:lnTo>
                    <a:pt x="934" y="1490"/>
                  </a:lnTo>
                  <a:lnTo>
                    <a:pt x="932" y="1484"/>
                  </a:lnTo>
                  <a:lnTo>
                    <a:pt x="930" y="1484"/>
                  </a:lnTo>
                  <a:lnTo>
                    <a:pt x="928" y="1490"/>
                  </a:lnTo>
                  <a:lnTo>
                    <a:pt x="924" y="1488"/>
                  </a:lnTo>
                  <a:lnTo>
                    <a:pt x="922" y="1488"/>
                  </a:lnTo>
                  <a:lnTo>
                    <a:pt x="920" y="1490"/>
                  </a:lnTo>
                  <a:lnTo>
                    <a:pt x="916" y="1490"/>
                  </a:lnTo>
                  <a:lnTo>
                    <a:pt x="914" y="1488"/>
                  </a:lnTo>
                  <a:lnTo>
                    <a:pt x="908" y="1488"/>
                  </a:lnTo>
                  <a:lnTo>
                    <a:pt x="908" y="1486"/>
                  </a:lnTo>
                  <a:lnTo>
                    <a:pt x="906" y="1482"/>
                  </a:lnTo>
                  <a:lnTo>
                    <a:pt x="910" y="1478"/>
                  </a:lnTo>
                  <a:lnTo>
                    <a:pt x="912" y="1472"/>
                  </a:lnTo>
                  <a:lnTo>
                    <a:pt x="914" y="1470"/>
                  </a:lnTo>
                  <a:lnTo>
                    <a:pt x="908" y="1466"/>
                  </a:lnTo>
                  <a:lnTo>
                    <a:pt x="908" y="1462"/>
                  </a:lnTo>
                  <a:lnTo>
                    <a:pt x="910" y="1454"/>
                  </a:lnTo>
                  <a:lnTo>
                    <a:pt x="908" y="1450"/>
                  </a:lnTo>
                  <a:lnTo>
                    <a:pt x="906" y="1448"/>
                  </a:lnTo>
                  <a:lnTo>
                    <a:pt x="904" y="1446"/>
                  </a:lnTo>
                  <a:lnTo>
                    <a:pt x="898" y="1446"/>
                  </a:lnTo>
                  <a:lnTo>
                    <a:pt x="894" y="1448"/>
                  </a:lnTo>
                  <a:lnTo>
                    <a:pt x="892" y="1450"/>
                  </a:lnTo>
                  <a:lnTo>
                    <a:pt x="888" y="1446"/>
                  </a:lnTo>
                  <a:lnTo>
                    <a:pt x="886" y="1442"/>
                  </a:lnTo>
                  <a:lnTo>
                    <a:pt x="882" y="1440"/>
                  </a:lnTo>
                  <a:lnTo>
                    <a:pt x="880" y="1442"/>
                  </a:lnTo>
                  <a:lnTo>
                    <a:pt x="876" y="1440"/>
                  </a:lnTo>
                  <a:lnTo>
                    <a:pt x="874" y="1440"/>
                  </a:lnTo>
                  <a:lnTo>
                    <a:pt x="872" y="1438"/>
                  </a:lnTo>
                  <a:lnTo>
                    <a:pt x="868" y="1436"/>
                  </a:lnTo>
                  <a:lnTo>
                    <a:pt x="866" y="1438"/>
                  </a:lnTo>
                  <a:lnTo>
                    <a:pt x="864" y="1438"/>
                  </a:lnTo>
                  <a:lnTo>
                    <a:pt x="860" y="1440"/>
                  </a:lnTo>
                  <a:lnTo>
                    <a:pt x="858" y="1442"/>
                  </a:lnTo>
                  <a:lnTo>
                    <a:pt x="854" y="1442"/>
                  </a:lnTo>
                  <a:lnTo>
                    <a:pt x="852" y="1440"/>
                  </a:lnTo>
                  <a:lnTo>
                    <a:pt x="850" y="1446"/>
                  </a:lnTo>
                  <a:lnTo>
                    <a:pt x="848" y="1448"/>
                  </a:lnTo>
                  <a:lnTo>
                    <a:pt x="844" y="1450"/>
                  </a:lnTo>
                  <a:lnTo>
                    <a:pt x="842" y="1448"/>
                  </a:lnTo>
                  <a:lnTo>
                    <a:pt x="838" y="1450"/>
                  </a:lnTo>
                  <a:lnTo>
                    <a:pt x="798" y="1450"/>
                  </a:lnTo>
                  <a:lnTo>
                    <a:pt x="798" y="1450"/>
                  </a:lnTo>
                  <a:lnTo>
                    <a:pt x="792" y="1450"/>
                  </a:lnTo>
                  <a:lnTo>
                    <a:pt x="788" y="1448"/>
                  </a:lnTo>
                  <a:lnTo>
                    <a:pt x="786" y="1448"/>
                  </a:lnTo>
                  <a:lnTo>
                    <a:pt x="782" y="1450"/>
                  </a:lnTo>
                  <a:lnTo>
                    <a:pt x="776" y="1456"/>
                  </a:lnTo>
                  <a:lnTo>
                    <a:pt x="774" y="1454"/>
                  </a:lnTo>
                  <a:lnTo>
                    <a:pt x="770" y="1454"/>
                  </a:lnTo>
                  <a:lnTo>
                    <a:pt x="768" y="1454"/>
                  </a:lnTo>
                  <a:lnTo>
                    <a:pt x="764" y="1454"/>
                  </a:lnTo>
                  <a:lnTo>
                    <a:pt x="760" y="1456"/>
                  </a:lnTo>
                  <a:lnTo>
                    <a:pt x="754" y="1456"/>
                  </a:lnTo>
                  <a:lnTo>
                    <a:pt x="752" y="1458"/>
                  </a:lnTo>
                  <a:lnTo>
                    <a:pt x="748" y="1458"/>
                  </a:lnTo>
                  <a:lnTo>
                    <a:pt x="748" y="1454"/>
                  </a:lnTo>
                  <a:lnTo>
                    <a:pt x="744" y="1452"/>
                  </a:lnTo>
                  <a:lnTo>
                    <a:pt x="738" y="1456"/>
                  </a:lnTo>
                  <a:lnTo>
                    <a:pt x="734" y="1456"/>
                  </a:lnTo>
                  <a:lnTo>
                    <a:pt x="732" y="1456"/>
                  </a:lnTo>
                  <a:lnTo>
                    <a:pt x="726" y="1454"/>
                  </a:lnTo>
                  <a:lnTo>
                    <a:pt x="722" y="1454"/>
                  </a:lnTo>
                  <a:lnTo>
                    <a:pt x="716" y="1458"/>
                  </a:lnTo>
                  <a:lnTo>
                    <a:pt x="716" y="1456"/>
                  </a:lnTo>
                  <a:lnTo>
                    <a:pt x="706" y="1452"/>
                  </a:lnTo>
                  <a:lnTo>
                    <a:pt x="702" y="1452"/>
                  </a:lnTo>
                  <a:lnTo>
                    <a:pt x="696" y="1452"/>
                  </a:lnTo>
                  <a:lnTo>
                    <a:pt x="696" y="1448"/>
                  </a:lnTo>
                  <a:lnTo>
                    <a:pt x="692" y="1448"/>
                  </a:lnTo>
                  <a:lnTo>
                    <a:pt x="690" y="1450"/>
                  </a:lnTo>
                  <a:lnTo>
                    <a:pt x="684" y="1448"/>
                  </a:lnTo>
                  <a:lnTo>
                    <a:pt x="686" y="1454"/>
                  </a:lnTo>
                  <a:lnTo>
                    <a:pt x="684" y="1454"/>
                  </a:lnTo>
                  <a:lnTo>
                    <a:pt x="682" y="1458"/>
                  </a:lnTo>
                  <a:lnTo>
                    <a:pt x="680" y="1460"/>
                  </a:lnTo>
                  <a:lnTo>
                    <a:pt x="686" y="1462"/>
                  </a:lnTo>
                  <a:lnTo>
                    <a:pt x="690" y="1462"/>
                  </a:lnTo>
                  <a:lnTo>
                    <a:pt x="692" y="1464"/>
                  </a:lnTo>
                  <a:lnTo>
                    <a:pt x="690" y="1466"/>
                  </a:lnTo>
                  <a:lnTo>
                    <a:pt x="686" y="1466"/>
                  </a:lnTo>
                  <a:lnTo>
                    <a:pt x="682" y="1466"/>
                  </a:lnTo>
                  <a:lnTo>
                    <a:pt x="682" y="1468"/>
                  </a:lnTo>
                  <a:lnTo>
                    <a:pt x="682" y="1472"/>
                  </a:lnTo>
                  <a:lnTo>
                    <a:pt x="694" y="1476"/>
                  </a:lnTo>
                  <a:lnTo>
                    <a:pt x="700" y="1482"/>
                  </a:lnTo>
                  <a:lnTo>
                    <a:pt x="700" y="1484"/>
                  </a:lnTo>
                  <a:lnTo>
                    <a:pt x="698" y="1486"/>
                  </a:lnTo>
                  <a:lnTo>
                    <a:pt x="694" y="1486"/>
                  </a:lnTo>
                  <a:lnTo>
                    <a:pt x="676" y="1482"/>
                  </a:lnTo>
                  <a:lnTo>
                    <a:pt x="672" y="1482"/>
                  </a:lnTo>
                  <a:lnTo>
                    <a:pt x="670" y="1486"/>
                  </a:lnTo>
                  <a:lnTo>
                    <a:pt x="668" y="1486"/>
                  </a:lnTo>
                  <a:lnTo>
                    <a:pt x="664" y="1486"/>
                  </a:lnTo>
                  <a:lnTo>
                    <a:pt x="668" y="1500"/>
                  </a:lnTo>
                  <a:lnTo>
                    <a:pt x="666" y="1502"/>
                  </a:lnTo>
                  <a:lnTo>
                    <a:pt x="664" y="1504"/>
                  </a:lnTo>
                  <a:lnTo>
                    <a:pt x="640" y="1508"/>
                  </a:lnTo>
                  <a:lnTo>
                    <a:pt x="640" y="1512"/>
                  </a:lnTo>
                  <a:lnTo>
                    <a:pt x="646" y="1514"/>
                  </a:lnTo>
                  <a:lnTo>
                    <a:pt x="646" y="1518"/>
                  </a:lnTo>
                  <a:lnTo>
                    <a:pt x="644" y="1522"/>
                  </a:lnTo>
                  <a:lnTo>
                    <a:pt x="654" y="1526"/>
                  </a:lnTo>
                  <a:lnTo>
                    <a:pt x="656" y="1532"/>
                  </a:lnTo>
                  <a:lnTo>
                    <a:pt x="668" y="1536"/>
                  </a:lnTo>
                  <a:lnTo>
                    <a:pt x="670" y="1542"/>
                  </a:lnTo>
                  <a:lnTo>
                    <a:pt x="658" y="1556"/>
                  </a:lnTo>
                  <a:lnTo>
                    <a:pt x="650" y="1558"/>
                  </a:lnTo>
                  <a:lnTo>
                    <a:pt x="648" y="1558"/>
                  </a:lnTo>
                  <a:lnTo>
                    <a:pt x="634" y="1556"/>
                  </a:lnTo>
                  <a:lnTo>
                    <a:pt x="630" y="1550"/>
                  </a:lnTo>
                  <a:lnTo>
                    <a:pt x="628" y="1548"/>
                  </a:lnTo>
                  <a:lnTo>
                    <a:pt x="620" y="1554"/>
                  </a:lnTo>
                  <a:lnTo>
                    <a:pt x="616" y="1556"/>
                  </a:lnTo>
                  <a:lnTo>
                    <a:pt x="610" y="1554"/>
                  </a:lnTo>
                  <a:lnTo>
                    <a:pt x="610" y="1548"/>
                  </a:lnTo>
                  <a:lnTo>
                    <a:pt x="610" y="1550"/>
                  </a:lnTo>
                  <a:lnTo>
                    <a:pt x="604" y="1546"/>
                  </a:lnTo>
                  <a:lnTo>
                    <a:pt x="598" y="1544"/>
                  </a:lnTo>
                  <a:lnTo>
                    <a:pt x="596" y="1542"/>
                  </a:lnTo>
                  <a:lnTo>
                    <a:pt x="594" y="1538"/>
                  </a:lnTo>
                  <a:lnTo>
                    <a:pt x="596" y="1532"/>
                  </a:lnTo>
                  <a:lnTo>
                    <a:pt x="594" y="1530"/>
                  </a:lnTo>
                  <a:lnTo>
                    <a:pt x="590" y="1524"/>
                  </a:lnTo>
                  <a:lnTo>
                    <a:pt x="586" y="1526"/>
                  </a:lnTo>
                  <a:lnTo>
                    <a:pt x="580" y="1524"/>
                  </a:lnTo>
                  <a:lnTo>
                    <a:pt x="576" y="1526"/>
                  </a:lnTo>
                  <a:lnTo>
                    <a:pt x="570" y="1526"/>
                  </a:lnTo>
                  <a:lnTo>
                    <a:pt x="564" y="1518"/>
                  </a:lnTo>
                  <a:lnTo>
                    <a:pt x="560" y="1520"/>
                  </a:lnTo>
                  <a:lnTo>
                    <a:pt x="554" y="1516"/>
                  </a:lnTo>
                  <a:lnTo>
                    <a:pt x="554" y="1520"/>
                  </a:lnTo>
                  <a:lnTo>
                    <a:pt x="550" y="1518"/>
                  </a:lnTo>
                  <a:lnTo>
                    <a:pt x="546" y="1516"/>
                  </a:lnTo>
                  <a:lnTo>
                    <a:pt x="544" y="1518"/>
                  </a:lnTo>
                  <a:lnTo>
                    <a:pt x="540" y="1518"/>
                  </a:lnTo>
                  <a:lnTo>
                    <a:pt x="538" y="1522"/>
                  </a:lnTo>
                  <a:lnTo>
                    <a:pt x="528" y="1524"/>
                  </a:lnTo>
                  <a:lnTo>
                    <a:pt x="524" y="1524"/>
                  </a:lnTo>
                  <a:lnTo>
                    <a:pt x="514" y="1514"/>
                  </a:lnTo>
                  <a:lnTo>
                    <a:pt x="514" y="1510"/>
                  </a:lnTo>
                  <a:lnTo>
                    <a:pt x="514" y="1508"/>
                  </a:lnTo>
                  <a:lnTo>
                    <a:pt x="512" y="1504"/>
                  </a:lnTo>
                  <a:lnTo>
                    <a:pt x="512" y="1502"/>
                  </a:lnTo>
                  <a:lnTo>
                    <a:pt x="508" y="1500"/>
                  </a:lnTo>
                  <a:lnTo>
                    <a:pt x="506" y="1502"/>
                  </a:lnTo>
                  <a:lnTo>
                    <a:pt x="506" y="1506"/>
                  </a:lnTo>
                  <a:lnTo>
                    <a:pt x="502" y="1514"/>
                  </a:lnTo>
                  <a:lnTo>
                    <a:pt x="498" y="1514"/>
                  </a:lnTo>
                  <a:lnTo>
                    <a:pt x="498" y="1512"/>
                  </a:lnTo>
                  <a:lnTo>
                    <a:pt x="500" y="1506"/>
                  </a:lnTo>
                  <a:lnTo>
                    <a:pt x="498" y="1500"/>
                  </a:lnTo>
                  <a:lnTo>
                    <a:pt x="498" y="1496"/>
                  </a:lnTo>
                  <a:lnTo>
                    <a:pt x="498" y="1492"/>
                  </a:lnTo>
                  <a:lnTo>
                    <a:pt x="490" y="1484"/>
                  </a:lnTo>
                  <a:lnTo>
                    <a:pt x="490" y="1478"/>
                  </a:lnTo>
                  <a:lnTo>
                    <a:pt x="488" y="1472"/>
                  </a:lnTo>
                  <a:lnTo>
                    <a:pt x="484" y="1472"/>
                  </a:lnTo>
                  <a:lnTo>
                    <a:pt x="478" y="1470"/>
                  </a:lnTo>
                  <a:lnTo>
                    <a:pt x="476" y="1468"/>
                  </a:lnTo>
                  <a:lnTo>
                    <a:pt x="468" y="1466"/>
                  </a:lnTo>
                  <a:lnTo>
                    <a:pt x="468" y="1464"/>
                  </a:lnTo>
                  <a:lnTo>
                    <a:pt x="468" y="1456"/>
                  </a:lnTo>
                  <a:lnTo>
                    <a:pt x="464" y="1456"/>
                  </a:lnTo>
                  <a:lnTo>
                    <a:pt x="462" y="1456"/>
                  </a:lnTo>
                  <a:lnTo>
                    <a:pt x="458" y="1454"/>
                  </a:lnTo>
                  <a:lnTo>
                    <a:pt x="456" y="1456"/>
                  </a:lnTo>
                  <a:lnTo>
                    <a:pt x="452" y="1458"/>
                  </a:lnTo>
                  <a:lnTo>
                    <a:pt x="450" y="1460"/>
                  </a:lnTo>
                  <a:lnTo>
                    <a:pt x="448" y="1458"/>
                  </a:lnTo>
                  <a:lnTo>
                    <a:pt x="442" y="1456"/>
                  </a:lnTo>
                  <a:lnTo>
                    <a:pt x="442" y="1450"/>
                  </a:lnTo>
                  <a:lnTo>
                    <a:pt x="436" y="1446"/>
                  </a:lnTo>
                  <a:lnTo>
                    <a:pt x="430" y="1446"/>
                  </a:lnTo>
                  <a:lnTo>
                    <a:pt x="426" y="1446"/>
                  </a:lnTo>
                  <a:lnTo>
                    <a:pt x="424" y="1450"/>
                  </a:lnTo>
                  <a:lnTo>
                    <a:pt x="420" y="1450"/>
                  </a:lnTo>
                  <a:lnTo>
                    <a:pt x="418" y="1450"/>
                  </a:lnTo>
                  <a:lnTo>
                    <a:pt x="414" y="1452"/>
                  </a:lnTo>
                  <a:lnTo>
                    <a:pt x="408" y="1452"/>
                  </a:lnTo>
                  <a:lnTo>
                    <a:pt x="404" y="1454"/>
                  </a:lnTo>
                  <a:lnTo>
                    <a:pt x="400" y="1454"/>
                  </a:lnTo>
                  <a:lnTo>
                    <a:pt x="398" y="1452"/>
                  </a:lnTo>
                  <a:lnTo>
                    <a:pt x="394" y="1450"/>
                  </a:lnTo>
                  <a:lnTo>
                    <a:pt x="390" y="1456"/>
                  </a:lnTo>
                  <a:lnTo>
                    <a:pt x="388" y="1458"/>
                  </a:lnTo>
                  <a:lnTo>
                    <a:pt x="370" y="1460"/>
                  </a:lnTo>
                  <a:lnTo>
                    <a:pt x="366" y="1458"/>
                  </a:lnTo>
                  <a:lnTo>
                    <a:pt x="364" y="1482"/>
                  </a:lnTo>
                  <a:lnTo>
                    <a:pt x="348" y="1482"/>
                  </a:lnTo>
                  <a:lnTo>
                    <a:pt x="346" y="1480"/>
                  </a:lnTo>
                  <a:lnTo>
                    <a:pt x="346" y="1464"/>
                  </a:lnTo>
                  <a:lnTo>
                    <a:pt x="344" y="1458"/>
                  </a:lnTo>
                  <a:lnTo>
                    <a:pt x="344" y="1454"/>
                  </a:lnTo>
                  <a:lnTo>
                    <a:pt x="342" y="1452"/>
                  </a:lnTo>
                  <a:lnTo>
                    <a:pt x="336" y="1454"/>
                  </a:lnTo>
                  <a:lnTo>
                    <a:pt x="334" y="1458"/>
                  </a:lnTo>
                  <a:lnTo>
                    <a:pt x="332" y="1460"/>
                  </a:lnTo>
                  <a:lnTo>
                    <a:pt x="330" y="1464"/>
                  </a:lnTo>
                  <a:lnTo>
                    <a:pt x="328" y="1464"/>
                  </a:lnTo>
                  <a:lnTo>
                    <a:pt x="320" y="1466"/>
                  </a:lnTo>
                  <a:lnTo>
                    <a:pt x="306" y="1480"/>
                  </a:lnTo>
                  <a:lnTo>
                    <a:pt x="310" y="1486"/>
                  </a:lnTo>
                  <a:lnTo>
                    <a:pt x="308" y="1490"/>
                  </a:lnTo>
                  <a:lnTo>
                    <a:pt x="306" y="1492"/>
                  </a:lnTo>
                  <a:lnTo>
                    <a:pt x="298" y="1492"/>
                  </a:lnTo>
                  <a:lnTo>
                    <a:pt x="284" y="1506"/>
                  </a:lnTo>
                  <a:lnTo>
                    <a:pt x="294" y="1516"/>
                  </a:lnTo>
                  <a:lnTo>
                    <a:pt x="292" y="1518"/>
                  </a:lnTo>
                  <a:lnTo>
                    <a:pt x="292" y="1522"/>
                  </a:lnTo>
                  <a:lnTo>
                    <a:pt x="290" y="1524"/>
                  </a:lnTo>
                  <a:lnTo>
                    <a:pt x="290" y="1528"/>
                  </a:lnTo>
                  <a:lnTo>
                    <a:pt x="288" y="1530"/>
                  </a:lnTo>
                  <a:lnTo>
                    <a:pt x="290" y="1538"/>
                  </a:lnTo>
                  <a:lnTo>
                    <a:pt x="294" y="1534"/>
                  </a:lnTo>
                  <a:lnTo>
                    <a:pt x="298" y="1538"/>
                  </a:lnTo>
                  <a:lnTo>
                    <a:pt x="308" y="1542"/>
                  </a:lnTo>
                  <a:lnTo>
                    <a:pt x="310" y="1546"/>
                  </a:lnTo>
                  <a:lnTo>
                    <a:pt x="310" y="1556"/>
                  </a:lnTo>
                  <a:lnTo>
                    <a:pt x="314" y="1560"/>
                  </a:lnTo>
                  <a:lnTo>
                    <a:pt x="304" y="1584"/>
                  </a:lnTo>
                  <a:lnTo>
                    <a:pt x="298" y="1582"/>
                  </a:lnTo>
                  <a:lnTo>
                    <a:pt x="296" y="1578"/>
                  </a:lnTo>
                  <a:lnTo>
                    <a:pt x="292" y="1578"/>
                  </a:lnTo>
                  <a:lnTo>
                    <a:pt x="290" y="1580"/>
                  </a:lnTo>
                  <a:lnTo>
                    <a:pt x="286" y="1582"/>
                  </a:lnTo>
                  <a:lnTo>
                    <a:pt x="286" y="1584"/>
                  </a:lnTo>
                  <a:lnTo>
                    <a:pt x="288" y="1588"/>
                  </a:lnTo>
                  <a:lnTo>
                    <a:pt x="292" y="1590"/>
                  </a:lnTo>
                  <a:lnTo>
                    <a:pt x="294" y="1592"/>
                  </a:lnTo>
                  <a:lnTo>
                    <a:pt x="294" y="1594"/>
                  </a:lnTo>
                  <a:lnTo>
                    <a:pt x="298" y="1598"/>
                  </a:lnTo>
                  <a:lnTo>
                    <a:pt x="294" y="1598"/>
                  </a:lnTo>
                  <a:lnTo>
                    <a:pt x="282" y="1606"/>
                  </a:lnTo>
                  <a:lnTo>
                    <a:pt x="280" y="1606"/>
                  </a:lnTo>
                  <a:lnTo>
                    <a:pt x="278" y="1606"/>
                  </a:lnTo>
                  <a:lnTo>
                    <a:pt x="274" y="1604"/>
                  </a:lnTo>
                  <a:lnTo>
                    <a:pt x="276" y="1592"/>
                  </a:lnTo>
                  <a:lnTo>
                    <a:pt x="278" y="1588"/>
                  </a:lnTo>
                  <a:lnTo>
                    <a:pt x="268" y="1582"/>
                  </a:lnTo>
                  <a:lnTo>
                    <a:pt x="270" y="1590"/>
                  </a:lnTo>
                  <a:lnTo>
                    <a:pt x="260" y="1602"/>
                  </a:lnTo>
                  <a:lnTo>
                    <a:pt x="256" y="1600"/>
                  </a:lnTo>
                  <a:lnTo>
                    <a:pt x="246" y="1614"/>
                  </a:lnTo>
                  <a:lnTo>
                    <a:pt x="240" y="1614"/>
                  </a:lnTo>
                  <a:lnTo>
                    <a:pt x="238" y="1618"/>
                  </a:lnTo>
                  <a:lnTo>
                    <a:pt x="236" y="1620"/>
                  </a:lnTo>
                  <a:lnTo>
                    <a:pt x="234" y="1618"/>
                  </a:lnTo>
                  <a:lnTo>
                    <a:pt x="228" y="1620"/>
                  </a:lnTo>
                  <a:lnTo>
                    <a:pt x="226" y="1626"/>
                  </a:lnTo>
                  <a:lnTo>
                    <a:pt x="218" y="1630"/>
                  </a:lnTo>
                  <a:lnTo>
                    <a:pt x="218" y="1636"/>
                  </a:lnTo>
                  <a:lnTo>
                    <a:pt x="222" y="1638"/>
                  </a:lnTo>
                  <a:lnTo>
                    <a:pt x="224" y="1658"/>
                  </a:lnTo>
                  <a:lnTo>
                    <a:pt x="222" y="1664"/>
                  </a:lnTo>
                  <a:lnTo>
                    <a:pt x="222" y="1668"/>
                  </a:lnTo>
                  <a:lnTo>
                    <a:pt x="230" y="1662"/>
                  </a:lnTo>
                  <a:lnTo>
                    <a:pt x="228" y="1668"/>
                  </a:lnTo>
                  <a:lnTo>
                    <a:pt x="220" y="1676"/>
                  </a:lnTo>
                  <a:lnTo>
                    <a:pt x="214" y="1686"/>
                  </a:lnTo>
                  <a:lnTo>
                    <a:pt x="212" y="1692"/>
                  </a:lnTo>
                  <a:lnTo>
                    <a:pt x="216" y="1732"/>
                  </a:lnTo>
                  <a:lnTo>
                    <a:pt x="218" y="1736"/>
                  </a:lnTo>
                  <a:lnTo>
                    <a:pt x="210" y="1742"/>
                  </a:lnTo>
                  <a:lnTo>
                    <a:pt x="202" y="1742"/>
                  </a:lnTo>
                  <a:lnTo>
                    <a:pt x="196" y="1748"/>
                  </a:lnTo>
                  <a:lnTo>
                    <a:pt x="192" y="1748"/>
                  </a:lnTo>
                  <a:lnTo>
                    <a:pt x="188" y="1748"/>
                  </a:lnTo>
                  <a:lnTo>
                    <a:pt x="176" y="1742"/>
                  </a:lnTo>
                  <a:lnTo>
                    <a:pt x="178" y="1730"/>
                  </a:lnTo>
                  <a:lnTo>
                    <a:pt x="174" y="1728"/>
                  </a:lnTo>
                  <a:lnTo>
                    <a:pt x="172" y="1716"/>
                  </a:lnTo>
                  <a:lnTo>
                    <a:pt x="168" y="1714"/>
                  </a:lnTo>
                  <a:lnTo>
                    <a:pt x="162" y="1704"/>
                  </a:lnTo>
                  <a:lnTo>
                    <a:pt x="156" y="1698"/>
                  </a:lnTo>
                  <a:lnTo>
                    <a:pt x="154" y="1692"/>
                  </a:lnTo>
                  <a:lnTo>
                    <a:pt x="158" y="1686"/>
                  </a:lnTo>
                  <a:lnTo>
                    <a:pt x="158" y="1682"/>
                  </a:lnTo>
                  <a:lnTo>
                    <a:pt x="156" y="1678"/>
                  </a:lnTo>
                  <a:lnTo>
                    <a:pt x="152" y="1676"/>
                  </a:lnTo>
                  <a:lnTo>
                    <a:pt x="150" y="1674"/>
                  </a:lnTo>
                  <a:lnTo>
                    <a:pt x="150" y="1670"/>
                  </a:lnTo>
                  <a:lnTo>
                    <a:pt x="144" y="1666"/>
                  </a:lnTo>
                  <a:lnTo>
                    <a:pt x="140" y="1664"/>
                  </a:lnTo>
                  <a:lnTo>
                    <a:pt x="138" y="1660"/>
                  </a:lnTo>
                  <a:lnTo>
                    <a:pt x="126" y="1658"/>
                  </a:lnTo>
                  <a:lnTo>
                    <a:pt x="122" y="1658"/>
                  </a:lnTo>
                  <a:lnTo>
                    <a:pt x="118" y="1658"/>
                  </a:lnTo>
                  <a:lnTo>
                    <a:pt x="116" y="1654"/>
                  </a:lnTo>
                  <a:lnTo>
                    <a:pt x="116" y="1650"/>
                  </a:lnTo>
                  <a:lnTo>
                    <a:pt x="104" y="1632"/>
                  </a:lnTo>
                  <a:lnTo>
                    <a:pt x="104" y="1630"/>
                  </a:lnTo>
                  <a:lnTo>
                    <a:pt x="102" y="1626"/>
                  </a:lnTo>
                  <a:lnTo>
                    <a:pt x="96" y="1622"/>
                  </a:lnTo>
                  <a:lnTo>
                    <a:pt x="90" y="1616"/>
                  </a:lnTo>
                  <a:lnTo>
                    <a:pt x="74" y="1608"/>
                  </a:lnTo>
                  <a:lnTo>
                    <a:pt x="62" y="1594"/>
                  </a:lnTo>
                  <a:lnTo>
                    <a:pt x="60" y="1590"/>
                  </a:lnTo>
                  <a:lnTo>
                    <a:pt x="56" y="1584"/>
                  </a:lnTo>
                  <a:lnTo>
                    <a:pt x="52" y="1582"/>
                  </a:lnTo>
                  <a:lnTo>
                    <a:pt x="48" y="1580"/>
                  </a:lnTo>
                  <a:lnTo>
                    <a:pt x="38" y="1576"/>
                  </a:lnTo>
                  <a:lnTo>
                    <a:pt x="34" y="1568"/>
                  </a:lnTo>
                  <a:lnTo>
                    <a:pt x="32" y="1566"/>
                  </a:lnTo>
                  <a:lnTo>
                    <a:pt x="32" y="1554"/>
                  </a:lnTo>
                  <a:lnTo>
                    <a:pt x="26" y="1540"/>
                  </a:lnTo>
                  <a:lnTo>
                    <a:pt x="14" y="1520"/>
                  </a:lnTo>
                  <a:lnTo>
                    <a:pt x="12" y="1508"/>
                  </a:lnTo>
                  <a:lnTo>
                    <a:pt x="8" y="1508"/>
                  </a:lnTo>
                  <a:lnTo>
                    <a:pt x="4" y="1506"/>
                  </a:lnTo>
                  <a:lnTo>
                    <a:pt x="4" y="1498"/>
                  </a:lnTo>
                  <a:lnTo>
                    <a:pt x="6" y="1492"/>
                  </a:lnTo>
                  <a:lnTo>
                    <a:pt x="0" y="1480"/>
                  </a:lnTo>
                  <a:lnTo>
                    <a:pt x="4" y="1480"/>
                  </a:lnTo>
                  <a:lnTo>
                    <a:pt x="6" y="1478"/>
                  </a:lnTo>
                  <a:lnTo>
                    <a:pt x="10" y="1478"/>
                  </a:lnTo>
                  <a:lnTo>
                    <a:pt x="20" y="1486"/>
                  </a:lnTo>
                  <a:lnTo>
                    <a:pt x="46" y="1474"/>
                  </a:lnTo>
                  <a:lnTo>
                    <a:pt x="48" y="1476"/>
                  </a:lnTo>
                  <a:lnTo>
                    <a:pt x="54" y="1474"/>
                  </a:lnTo>
                  <a:lnTo>
                    <a:pt x="58" y="1480"/>
                  </a:lnTo>
                  <a:lnTo>
                    <a:pt x="60" y="1480"/>
                  </a:lnTo>
                  <a:lnTo>
                    <a:pt x="58" y="1466"/>
                  </a:lnTo>
                  <a:lnTo>
                    <a:pt x="54" y="1460"/>
                  </a:lnTo>
                  <a:lnTo>
                    <a:pt x="54" y="1456"/>
                  </a:lnTo>
                  <a:lnTo>
                    <a:pt x="56" y="1452"/>
                  </a:lnTo>
                  <a:lnTo>
                    <a:pt x="68" y="1458"/>
                  </a:lnTo>
                  <a:lnTo>
                    <a:pt x="72" y="1462"/>
                  </a:lnTo>
                  <a:lnTo>
                    <a:pt x="74" y="1462"/>
                  </a:lnTo>
                  <a:lnTo>
                    <a:pt x="74" y="1458"/>
                  </a:lnTo>
                  <a:lnTo>
                    <a:pt x="74" y="1456"/>
                  </a:lnTo>
                  <a:lnTo>
                    <a:pt x="94" y="1460"/>
                  </a:lnTo>
                  <a:lnTo>
                    <a:pt x="98" y="1462"/>
                  </a:lnTo>
                  <a:lnTo>
                    <a:pt x="100" y="1460"/>
                  </a:lnTo>
                  <a:lnTo>
                    <a:pt x="100" y="1458"/>
                  </a:lnTo>
                  <a:lnTo>
                    <a:pt x="98" y="1456"/>
                  </a:lnTo>
                  <a:lnTo>
                    <a:pt x="98" y="1454"/>
                  </a:lnTo>
                  <a:lnTo>
                    <a:pt x="98" y="1452"/>
                  </a:lnTo>
                  <a:lnTo>
                    <a:pt x="90" y="1448"/>
                  </a:lnTo>
                  <a:lnTo>
                    <a:pt x="86" y="1448"/>
                  </a:lnTo>
                  <a:lnTo>
                    <a:pt x="84" y="1446"/>
                  </a:lnTo>
                  <a:lnTo>
                    <a:pt x="76" y="1444"/>
                  </a:lnTo>
                  <a:lnTo>
                    <a:pt x="82" y="1436"/>
                  </a:lnTo>
                  <a:lnTo>
                    <a:pt x="90" y="1432"/>
                  </a:lnTo>
                  <a:lnTo>
                    <a:pt x="96" y="1434"/>
                  </a:lnTo>
                  <a:lnTo>
                    <a:pt x="108" y="1430"/>
                  </a:lnTo>
                  <a:lnTo>
                    <a:pt x="112" y="1436"/>
                  </a:lnTo>
                  <a:lnTo>
                    <a:pt x="114" y="1438"/>
                  </a:lnTo>
                  <a:lnTo>
                    <a:pt x="120" y="1442"/>
                  </a:lnTo>
                  <a:lnTo>
                    <a:pt x="124" y="1444"/>
                  </a:lnTo>
                  <a:lnTo>
                    <a:pt x="138" y="1432"/>
                  </a:lnTo>
                  <a:lnTo>
                    <a:pt x="136" y="1428"/>
                  </a:lnTo>
                  <a:lnTo>
                    <a:pt x="138" y="1426"/>
                  </a:lnTo>
                  <a:lnTo>
                    <a:pt x="140" y="1422"/>
                  </a:lnTo>
                  <a:lnTo>
                    <a:pt x="140" y="1420"/>
                  </a:lnTo>
                  <a:lnTo>
                    <a:pt x="142" y="1416"/>
                  </a:lnTo>
                  <a:lnTo>
                    <a:pt x="144" y="1414"/>
                  </a:lnTo>
                  <a:lnTo>
                    <a:pt x="152" y="1416"/>
                  </a:lnTo>
                  <a:lnTo>
                    <a:pt x="152" y="1414"/>
                  </a:lnTo>
                  <a:lnTo>
                    <a:pt x="148" y="1410"/>
                  </a:lnTo>
                  <a:lnTo>
                    <a:pt x="148" y="1408"/>
                  </a:lnTo>
                  <a:lnTo>
                    <a:pt x="156" y="1410"/>
                  </a:lnTo>
                  <a:lnTo>
                    <a:pt x="162" y="1406"/>
                  </a:lnTo>
                  <a:lnTo>
                    <a:pt x="166" y="1396"/>
                  </a:lnTo>
                  <a:lnTo>
                    <a:pt x="170" y="1396"/>
                  </a:lnTo>
                  <a:lnTo>
                    <a:pt x="168" y="1394"/>
                  </a:lnTo>
                  <a:lnTo>
                    <a:pt x="162" y="1388"/>
                  </a:lnTo>
                  <a:lnTo>
                    <a:pt x="160" y="1382"/>
                  </a:lnTo>
                  <a:lnTo>
                    <a:pt x="156" y="1380"/>
                  </a:lnTo>
                  <a:lnTo>
                    <a:pt x="154" y="1374"/>
                  </a:lnTo>
                  <a:lnTo>
                    <a:pt x="148" y="1370"/>
                  </a:lnTo>
                  <a:lnTo>
                    <a:pt x="148" y="1368"/>
                  </a:lnTo>
                  <a:lnTo>
                    <a:pt x="146" y="1364"/>
                  </a:lnTo>
                  <a:lnTo>
                    <a:pt x="142" y="1362"/>
                  </a:lnTo>
                  <a:lnTo>
                    <a:pt x="142" y="1360"/>
                  </a:lnTo>
                  <a:lnTo>
                    <a:pt x="140" y="1356"/>
                  </a:lnTo>
                  <a:lnTo>
                    <a:pt x="136" y="1358"/>
                  </a:lnTo>
                  <a:lnTo>
                    <a:pt x="134" y="1358"/>
                  </a:lnTo>
                  <a:lnTo>
                    <a:pt x="134" y="1336"/>
                  </a:lnTo>
                  <a:lnTo>
                    <a:pt x="132" y="1334"/>
                  </a:lnTo>
                  <a:lnTo>
                    <a:pt x="114" y="1330"/>
                  </a:lnTo>
                  <a:lnTo>
                    <a:pt x="112" y="1326"/>
                  </a:lnTo>
                  <a:lnTo>
                    <a:pt x="108" y="1326"/>
                  </a:lnTo>
                  <a:lnTo>
                    <a:pt x="108" y="1320"/>
                  </a:lnTo>
                  <a:lnTo>
                    <a:pt x="104" y="1316"/>
                  </a:lnTo>
                  <a:lnTo>
                    <a:pt x="102" y="1316"/>
                  </a:lnTo>
                  <a:lnTo>
                    <a:pt x="98" y="1314"/>
                  </a:lnTo>
                  <a:lnTo>
                    <a:pt x="96" y="1308"/>
                  </a:lnTo>
                  <a:lnTo>
                    <a:pt x="96" y="1304"/>
                  </a:lnTo>
                  <a:lnTo>
                    <a:pt x="100" y="1302"/>
                  </a:lnTo>
                  <a:lnTo>
                    <a:pt x="104" y="1292"/>
                  </a:lnTo>
                  <a:lnTo>
                    <a:pt x="104" y="1286"/>
                  </a:lnTo>
                  <a:lnTo>
                    <a:pt x="106" y="1282"/>
                  </a:lnTo>
                  <a:lnTo>
                    <a:pt x="102" y="1280"/>
                  </a:lnTo>
                  <a:lnTo>
                    <a:pt x="100" y="1280"/>
                  </a:lnTo>
                  <a:lnTo>
                    <a:pt x="92" y="1272"/>
                  </a:lnTo>
                  <a:lnTo>
                    <a:pt x="92" y="1268"/>
                  </a:lnTo>
                  <a:lnTo>
                    <a:pt x="98" y="1256"/>
                  </a:lnTo>
                  <a:lnTo>
                    <a:pt x="100" y="1258"/>
                  </a:lnTo>
                  <a:lnTo>
                    <a:pt x="104" y="1258"/>
                  </a:lnTo>
                  <a:lnTo>
                    <a:pt x="106" y="1256"/>
                  </a:lnTo>
                  <a:lnTo>
                    <a:pt x="106" y="1246"/>
                  </a:lnTo>
                  <a:lnTo>
                    <a:pt x="108" y="1242"/>
                  </a:lnTo>
                  <a:lnTo>
                    <a:pt x="108" y="1240"/>
                  </a:lnTo>
                  <a:lnTo>
                    <a:pt x="106" y="1234"/>
                  </a:lnTo>
                  <a:lnTo>
                    <a:pt x="100" y="1230"/>
                  </a:lnTo>
                  <a:lnTo>
                    <a:pt x="96" y="1226"/>
                  </a:lnTo>
                  <a:lnTo>
                    <a:pt x="90" y="1224"/>
                  </a:lnTo>
                  <a:lnTo>
                    <a:pt x="82" y="1216"/>
                  </a:lnTo>
                  <a:lnTo>
                    <a:pt x="78" y="1216"/>
                  </a:lnTo>
                  <a:lnTo>
                    <a:pt x="76" y="1218"/>
                  </a:lnTo>
                  <a:lnTo>
                    <a:pt x="72" y="1218"/>
                  </a:lnTo>
                  <a:lnTo>
                    <a:pt x="68" y="1218"/>
                  </a:lnTo>
                  <a:lnTo>
                    <a:pt x="66" y="1216"/>
                  </a:lnTo>
                  <a:lnTo>
                    <a:pt x="66" y="1212"/>
                  </a:lnTo>
                  <a:lnTo>
                    <a:pt x="66" y="1212"/>
                  </a:lnTo>
                  <a:lnTo>
                    <a:pt x="70" y="1204"/>
                  </a:lnTo>
                  <a:lnTo>
                    <a:pt x="74" y="1202"/>
                  </a:lnTo>
                  <a:lnTo>
                    <a:pt x="74" y="1200"/>
                  </a:lnTo>
                  <a:lnTo>
                    <a:pt x="74" y="1196"/>
                  </a:lnTo>
                  <a:lnTo>
                    <a:pt x="76" y="1194"/>
                  </a:lnTo>
                  <a:lnTo>
                    <a:pt x="76" y="1190"/>
                  </a:lnTo>
                  <a:lnTo>
                    <a:pt x="78" y="1190"/>
                  </a:lnTo>
                  <a:lnTo>
                    <a:pt x="80" y="1186"/>
                  </a:lnTo>
                  <a:lnTo>
                    <a:pt x="80" y="1180"/>
                  </a:lnTo>
                  <a:lnTo>
                    <a:pt x="82" y="1178"/>
                  </a:lnTo>
                  <a:lnTo>
                    <a:pt x="84" y="1178"/>
                  </a:lnTo>
                  <a:lnTo>
                    <a:pt x="88" y="1176"/>
                  </a:lnTo>
                  <a:lnTo>
                    <a:pt x="90" y="1178"/>
                  </a:lnTo>
                  <a:lnTo>
                    <a:pt x="92" y="1180"/>
                  </a:lnTo>
                  <a:lnTo>
                    <a:pt x="94" y="1186"/>
                  </a:lnTo>
                  <a:lnTo>
                    <a:pt x="98" y="1190"/>
                  </a:lnTo>
                  <a:lnTo>
                    <a:pt x="108" y="1190"/>
                  </a:lnTo>
                  <a:lnTo>
                    <a:pt x="112" y="1190"/>
                  </a:lnTo>
                  <a:lnTo>
                    <a:pt x="116" y="1190"/>
                  </a:lnTo>
                  <a:lnTo>
                    <a:pt x="118" y="1186"/>
                  </a:lnTo>
                  <a:lnTo>
                    <a:pt x="116" y="1182"/>
                  </a:lnTo>
                  <a:lnTo>
                    <a:pt x="116" y="1180"/>
                  </a:lnTo>
                  <a:lnTo>
                    <a:pt x="120" y="1178"/>
                  </a:lnTo>
                  <a:lnTo>
                    <a:pt x="118" y="1176"/>
                  </a:lnTo>
                  <a:lnTo>
                    <a:pt x="116" y="1172"/>
                  </a:lnTo>
                  <a:lnTo>
                    <a:pt x="108" y="1168"/>
                  </a:lnTo>
                  <a:lnTo>
                    <a:pt x="110" y="1164"/>
                  </a:lnTo>
                  <a:lnTo>
                    <a:pt x="112" y="1162"/>
                  </a:lnTo>
                  <a:lnTo>
                    <a:pt x="114" y="1160"/>
                  </a:lnTo>
                  <a:lnTo>
                    <a:pt x="114" y="1156"/>
                  </a:lnTo>
                  <a:lnTo>
                    <a:pt x="112" y="1150"/>
                  </a:lnTo>
                  <a:lnTo>
                    <a:pt x="118" y="1132"/>
                  </a:lnTo>
                  <a:lnTo>
                    <a:pt x="116" y="1126"/>
                  </a:lnTo>
                  <a:lnTo>
                    <a:pt x="118" y="1124"/>
                  </a:lnTo>
                  <a:lnTo>
                    <a:pt x="122" y="1122"/>
                  </a:lnTo>
                  <a:lnTo>
                    <a:pt x="124" y="1122"/>
                  </a:lnTo>
                  <a:lnTo>
                    <a:pt x="130" y="1118"/>
                  </a:lnTo>
                  <a:lnTo>
                    <a:pt x="130" y="1116"/>
                  </a:lnTo>
                  <a:lnTo>
                    <a:pt x="130" y="1114"/>
                  </a:lnTo>
                  <a:lnTo>
                    <a:pt x="134" y="1110"/>
                  </a:lnTo>
                  <a:lnTo>
                    <a:pt x="136" y="1110"/>
                  </a:lnTo>
                  <a:lnTo>
                    <a:pt x="138" y="1106"/>
                  </a:lnTo>
                  <a:lnTo>
                    <a:pt x="136" y="1104"/>
                  </a:lnTo>
                  <a:lnTo>
                    <a:pt x="138" y="1094"/>
                  </a:lnTo>
                  <a:lnTo>
                    <a:pt x="136" y="1092"/>
                  </a:lnTo>
                  <a:lnTo>
                    <a:pt x="130" y="1086"/>
                  </a:lnTo>
                  <a:lnTo>
                    <a:pt x="126" y="1086"/>
                  </a:lnTo>
                  <a:lnTo>
                    <a:pt x="124" y="1084"/>
                  </a:lnTo>
                  <a:lnTo>
                    <a:pt x="118" y="1084"/>
                  </a:lnTo>
                  <a:lnTo>
                    <a:pt x="124" y="1078"/>
                  </a:lnTo>
                  <a:lnTo>
                    <a:pt x="122" y="1072"/>
                  </a:lnTo>
                  <a:lnTo>
                    <a:pt x="120" y="1070"/>
                  </a:lnTo>
                  <a:lnTo>
                    <a:pt x="116" y="1068"/>
                  </a:lnTo>
                  <a:lnTo>
                    <a:pt x="116" y="1064"/>
                  </a:lnTo>
                  <a:lnTo>
                    <a:pt x="114" y="1062"/>
                  </a:lnTo>
                  <a:lnTo>
                    <a:pt x="110" y="1058"/>
                  </a:lnTo>
                  <a:lnTo>
                    <a:pt x="110" y="1056"/>
                  </a:lnTo>
                  <a:lnTo>
                    <a:pt x="118" y="1050"/>
                  </a:lnTo>
                  <a:lnTo>
                    <a:pt x="122" y="1036"/>
                  </a:lnTo>
                  <a:lnTo>
                    <a:pt x="124" y="1034"/>
                  </a:lnTo>
                  <a:lnTo>
                    <a:pt x="124" y="1030"/>
                  </a:lnTo>
                  <a:lnTo>
                    <a:pt x="122" y="1028"/>
                  </a:lnTo>
                  <a:lnTo>
                    <a:pt x="134" y="1022"/>
                  </a:lnTo>
                  <a:lnTo>
                    <a:pt x="136" y="1020"/>
                  </a:lnTo>
                  <a:lnTo>
                    <a:pt x="136" y="1016"/>
                  </a:lnTo>
                  <a:lnTo>
                    <a:pt x="136" y="1014"/>
                  </a:lnTo>
                  <a:lnTo>
                    <a:pt x="136" y="1008"/>
                  </a:lnTo>
                  <a:lnTo>
                    <a:pt x="138" y="1006"/>
                  </a:lnTo>
                  <a:lnTo>
                    <a:pt x="148" y="1004"/>
                  </a:lnTo>
                  <a:lnTo>
                    <a:pt x="150" y="1000"/>
                  </a:lnTo>
                  <a:lnTo>
                    <a:pt x="150" y="1008"/>
                  </a:lnTo>
                  <a:lnTo>
                    <a:pt x="154" y="1010"/>
                  </a:lnTo>
                  <a:lnTo>
                    <a:pt x="158" y="1006"/>
                  </a:lnTo>
                  <a:lnTo>
                    <a:pt x="160" y="1000"/>
                  </a:lnTo>
                  <a:lnTo>
                    <a:pt x="154" y="994"/>
                  </a:lnTo>
                  <a:lnTo>
                    <a:pt x="154" y="992"/>
                  </a:lnTo>
                  <a:lnTo>
                    <a:pt x="156" y="990"/>
                  </a:lnTo>
                  <a:lnTo>
                    <a:pt x="164" y="990"/>
                  </a:lnTo>
                  <a:lnTo>
                    <a:pt x="166" y="990"/>
                  </a:lnTo>
                  <a:lnTo>
                    <a:pt x="168" y="988"/>
                  </a:lnTo>
                  <a:lnTo>
                    <a:pt x="170" y="984"/>
                  </a:lnTo>
                  <a:lnTo>
                    <a:pt x="176" y="980"/>
                  </a:lnTo>
                  <a:lnTo>
                    <a:pt x="178" y="976"/>
                  </a:lnTo>
                  <a:lnTo>
                    <a:pt x="190" y="974"/>
                  </a:lnTo>
                  <a:lnTo>
                    <a:pt x="194" y="972"/>
                  </a:lnTo>
                  <a:lnTo>
                    <a:pt x="198" y="972"/>
                  </a:lnTo>
                  <a:lnTo>
                    <a:pt x="198" y="970"/>
                  </a:lnTo>
                  <a:lnTo>
                    <a:pt x="200" y="966"/>
                  </a:lnTo>
                  <a:lnTo>
                    <a:pt x="198" y="964"/>
                  </a:lnTo>
                  <a:lnTo>
                    <a:pt x="202" y="960"/>
                  </a:lnTo>
                  <a:lnTo>
                    <a:pt x="204" y="960"/>
                  </a:lnTo>
                  <a:lnTo>
                    <a:pt x="206" y="962"/>
                  </a:lnTo>
                  <a:lnTo>
                    <a:pt x="206" y="964"/>
                  </a:lnTo>
                  <a:lnTo>
                    <a:pt x="208" y="966"/>
                  </a:lnTo>
                  <a:lnTo>
                    <a:pt x="212" y="964"/>
                  </a:lnTo>
                  <a:lnTo>
                    <a:pt x="214" y="964"/>
                  </a:lnTo>
                  <a:lnTo>
                    <a:pt x="214" y="968"/>
                  </a:lnTo>
                  <a:lnTo>
                    <a:pt x="220" y="968"/>
                  </a:lnTo>
                  <a:lnTo>
                    <a:pt x="222" y="968"/>
                  </a:lnTo>
                  <a:lnTo>
                    <a:pt x="226" y="966"/>
                  </a:lnTo>
                  <a:lnTo>
                    <a:pt x="236" y="980"/>
                  </a:lnTo>
                  <a:lnTo>
                    <a:pt x="240" y="982"/>
                  </a:lnTo>
                  <a:lnTo>
                    <a:pt x="240" y="980"/>
                  </a:lnTo>
                  <a:lnTo>
                    <a:pt x="238" y="978"/>
                  </a:lnTo>
                  <a:lnTo>
                    <a:pt x="238" y="976"/>
                  </a:lnTo>
                  <a:lnTo>
                    <a:pt x="240" y="974"/>
                  </a:lnTo>
                  <a:lnTo>
                    <a:pt x="240" y="970"/>
                  </a:lnTo>
                  <a:lnTo>
                    <a:pt x="238" y="966"/>
                  </a:lnTo>
                  <a:lnTo>
                    <a:pt x="230" y="962"/>
                  </a:lnTo>
                  <a:lnTo>
                    <a:pt x="228" y="952"/>
                  </a:lnTo>
                  <a:lnTo>
                    <a:pt x="226" y="950"/>
                  </a:lnTo>
                  <a:lnTo>
                    <a:pt x="228" y="948"/>
                  </a:lnTo>
                  <a:lnTo>
                    <a:pt x="232" y="944"/>
                  </a:lnTo>
                  <a:lnTo>
                    <a:pt x="232" y="946"/>
                  </a:lnTo>
                  <a:lnTo>
                    <a:pt x="232" y="948"/>
                  </a:lnTo>
                  <a:lnTo>
                    <a:pt x="236" y="944"/>
                  </a:lnTo>
                  <a:lnTo>
                    <a:pt x="238" y="944"/>
                  </a:lnTo>
                  <a:lnTo>
                    <a:pt x="238" y="942"/>
                  </a:lnTo>
                  <a:lnTo>
                    <a:pt x="232" y="940"/>
                  </a:lnTo>
                  <a:lnTo>
                    <a:pt x="226" y="940"/>
                  </a:lnTo>
                  <a:lnTo>
                    <a:pt x="222" y="934"/>
                  </a:lnTo>
                  <a:lnTo>
                    <a:pt x="222" y="934"/>
                  </a:lnTo>
                  <a:lnTo>
                    <a:pt x="308" y="928"/>
                  </a:lnTo>
                  <a:lnTo>
                    <a:pt x="328" y="922"/>
                  </a:lnTo>
                  <a:lnTo>
                    <a:pt x="338" y="914"/>
                  </a:lnTo>
                  <a:lnTo>
                    <a:pt x="334" y="914"/>
                  </a:lnTo>
                  <a:lnTo>
                    <a:pt x="336" y="908"/>
                  </a:lnTo>
                  <a:lnTo>
                    <a:pt x="340" y="904"/>
                  </a:lnTo>
                  <a:lnTo>
                    <a:pt x="338" y="892"/>
                  </a:lnTo>
                  <a:lnTo>
                    <a:pt x="338" y="888"/>
                  </a:lnTo>
                  <a:lnTo>
                    <a:pt x="340" y="884"/>
                  </a:lnTo>
                  <a:lnTo>
                    <a:pt x="356" y="876"/>
                  </a:lnTo>
                  <a:lnTo>
                    <a:pt x="360" y="872"/>
                  </a:lnTo>
                  <a:lnTo>
                    <a:pt x="360" y="866"/>
                  </a:lnTo>
                  <a:lnTo>
                    <a:pt x="362" y="862"/>
                  </a:lnTo>
                  <a:lnTo>
                    <a:pt x="366" y="858"/>
                  </a:lnTo>
                  <a:lnTo>
                    <a:pt x="368" y="854"/>
                  </a:lnTo>
                  <a:lnTo>
                    <a:pt x="366" y="850"/>
                  </a:lnTo>
                  <a:lnTo>
                    <a:pt x="370" y="846"/>
                  </a:lnTo>
                  <a:lnTo>
                    <a:pt x="372" y="844"/>
                  </a:lnTo>
                  <a:lnTo>
                    <a:pt x="376" y="840"/>
                  </a:lnTo>
                  <a:lnTo>
                    <a:pt x="378" y="838"/>
                  </a:lnTo>
                  <a:lnTo>
                    <a:pt x="388" y="832"/>
                  </a:lnTo>
                  <a:lnTo>
                    <a:pt x="392" y="832"/>
                  </a:lnTo>
                  <a:lnTo>
                    <a:pt x="412" y="794"/>
                  </a:lnTo>
                  <a:lnTo>
                    <a:pt x="416" y="790"/>
                  </a:lnTo>
                  <a:lnTo>
                    <a:pt x="442" y="782"/>
                  </a:lnTo>
                  <a:lnTo>
                    <a:pt x="446" y="776"/>
                  </a:lnTo>
                  <a:lnTo>
                    <a:pt x="450" y="762"/>
                  </a:lnTo>
                  <a:lnTo>
                    <a:pt x="450" y="758"/>
                  </a:lnTo>
                  <a:lnTo>
                    <a:pt x="448" y="756"/>
                  </a:lnTo>
                  <a:lnTo>
                    <a:pt x="448" y="754"/>
                  </a:lnTo>
                  <a:lnTo>
                    <a:pt x="448" y="752"/>
                  </a:lnTo>
                  <a:lnTo>
                    <a:pt x="454" y="742"/>
                  </a:lnTo>
                  <a:lnTo>
                    <a:pt x="464" y="738"/>
                  </a:lnTo>
                  <a:lnTo>
                    <a:pt x="464" y="738"/>
                  </a:lnTo>
                  <a:lnTo>
                    <a:pt x="464" y="736"/>
                  </a:lnTo>
                  <a:lnTo>
                    <a:pt x="474" y="736"/>
                  </a:lnTo>
                  <a:lnTo>
                    <a:pt x="476" y="736"/>
                  </a:lnTo>
                  <a:lnTo>
                    <a:pt x="478" y="736"/>
                  </a:lnTo>
                  <a:lnTo>
                    <a:pt x="480" y="736"/>
                  </a:lnTo>
                  <a:lnTo>
                    <a:pt x="482" y="734"/>
                  </a:lnTo>
                  <a:lnTo>
                    <a:pt x="482" y="734"/>
                  </a:lnTo>
                  <a:lnTo>
                    <a:pt x="492" y="736"/>
                  </a:lnTo>
                  <a:lnTo>
                    <a:pt x="494" y="736"/>
                  </a:lnTo>
                  <a:lnTo>
                    <a:pt x="500" y="732"/>
                  </a:lnTo>
                  <a:lnTo>
                    <a:pt x="502" y="736"/>
                  </a:lnTo>
                  <a:lnTo>
                    <a:pt x="506" y="738"/>
                  </a:lnTo>
                  <a:lnTo>
                    <a:pt x="510" y="736"/>
                  </a:lnTo>
                  <a:lnTo>
                    <a:pt x="512" y="734"/>
                  </a:lnTo>
                  <a:lnTo>
                    <a:pt x="512" y="734"/>
                  </a:lnTo>
                  <a:lnTo>
                    <a:pt x="512" y="734"/>
                  </a:lnTo>
                  <a:lnTo>
                    <a:pt x="512" y="734"/>
                  </a:lnTo>
                  <a:lnTo>
                    <a:pt x="514" y="738"/>
                  </a:lnTo>
                  <a:lnTo>
                    <a:pt x="514" y="742"/>
                  </a:lnTo>
                  <a:lnTo>
                    <a:pt x="516" y="744"/>
                  </a:lnTo>
                  <a:lnTo>
                    <a:pt x="518" y="742"/>
                  </a:lnTo>
                  <a:lnTo>
                    <a:pt x="520" y="740"/>
                  </a:lnTo>
                  <a:lnTo>
                    <a:pt x="520" y="740"/>
                  </a:lnTo>
                  <a:lnTo>
                    <a:pt x="520" y="740"/>
                  </a:lnTo>
                  <a:lnTo>
                    <a:pt x="522" y="742"/>
                  </a:lnTo>
                  <a:lnTo>
                    <a:pt x="526" y="740"/>
                  </a:lnTo>
                  <a:lnTo>
                    <a:pt x="526" y="738"/>
                  </a:lnTo>
                  <a:lnTo>
                    <a:pt x="528" y="744"/>
                  </a:lnTo>
                  <a:lnTo>
                    <a:pt x="528" y="746"/>
                  </a:lnTo>
                  <a:lnTo>
                    <a:pt x="528" y="748"/>
                  </a:lnTo>
                  <a:lnTo>
                    <a:pt x="530" y="748"/>
                  </a:lnTo>
                  <a:lnTo>
                    <a:pt x="532" y="752"/>
                  </a:lnTo>
                  <a:lnTo>
                    <a:pt x="530" y="754"/>
                  </a:lnTo>
                  <a:lnTo>
                    <a:pt x="526" y="756"/>
                  </a:lnTo>
                  <a:lnTo>
                    <a:pt x="526" y="754"/>
                  </a:lnTo>
                  <a:lnTo>
                    <a:pt x="524" y="752"/>
                  </a:lnTo>
                  <a:lnTo>
                    <a:pt x="524" y="750"/>
                  </a:lnTo>
                  <a:lnTo>
                    <a:pt x="522" y="750"/>
                  </a:lnTo>
                  <a:lnTo>
                    <a:pt x="522" y="748"/>
                  </a:lnTo>
                  <a:lnTo>
                    <a:pt x="524" y="744"/>
                  </a:lnTo>
                  <a:lnTo>
                    <a:pt x="516" y="748"/>
                  </a:lnTo>
                  <a:lnTo>
                    <a:pt x="520" y="750"/>
                  </a:lnTo>
                  <a:lnTo>
                    <a:pt x="520" y="752"/>
                  </a:lnTo>
                  <a:lnTo>
                    <a:pt x="518" y="754"/>
                  </a:lnTo>
                  <a:lnTo>
                    <a:pt x="516" y="754"/>
                  </a:lnTo>
                  <a:lnTo>
                    <a:pt x="520" y="756"/>
                  </a:lnTo>
                  <a:lnTo>
                    <a:pt x="522" y="756"/>
                  </a:lnTo>
                  <a:lnTo>
                    <a:pt x="522" y="758"/>
                  </a:lnTo>
                  <a:lnTo>
                    <a:pt x="520" y="760"/>
                  </a:lnTo>
                  <a:lnTo>
                    <a:pt x="524" y="760"/>
                  </a:lnTo>
                  <a:lnTo>
                    <a:pt x="520" y="762"/>
                  </a:lnTo>
                  <a:lnTo>
                    <a:pt x="526" y="762"/>
                  </a:lnTo>
                  <a:lnTo>
                    <a:pt x="526" y="764"/>
                  </a:lnTo>
                  <a:lnTo>
                    <a:pt x="522" y="766"/>
                  </a:lnTo>
                  <a:lnTo>
                    <a:pt x="524" y="766"/>
                  </a:lnTo>
                  <a:lnTo>
                    <a:pt x="522" y="768"/>
                  </a:lnTo>
                  <a:lnTo>
                    <a:pt x="524" y="768"/>
                  </a:lnTo>
                  <a:lnTo>
                    <a:pt x="528" y="770"/>
                  </a:lnTo>
                  <a:lnTo>
                    <a:pt x="530" y="770"/>
                  </a:lnTo>
                  <a:lnTo>
                    <a:pt x="538" y="784"/>
                  </a:lnTo>
                  <a:lnTo>
                    <a:pt x="540" y="784"/>
                  </a:lnTo>
                  <a:lnTo>
                    <a:pt x="542" y="784"/>
                  </a:lnTo>
                  <a:lnTo>
                    <a:pt x="542" y="784"/>
                  </a:lnTo>
                  <a:lnTo>
                    <a:pt x="548" y="790"/>
                  </a:lnTo>
                  <a:lnTo>
                    <a:pt x="556" y="830"/>
                  </a:lnTo>
                  <a:lnTo>
                    <a:pt x="556" y="832"/>
                  </a:lnTo>
                  <a:lnTo>
                    <a:pt x="556" y="834"/>
                  </a:lnTo>
                  <a:lnTo>
                    <a:pt x="558" y="840"/>
                  </a:lnTo>
                  <a:lnTo>
                    <a:pt x="560" y="834"/>
                  </a:lnTo>
                  <a:lnTo>
                    <a:pt x="560" y="840"/>
                  </a:lnTo>
                  <a:lnTo>
                    <a:pt x="558" y="842"/>
                  </a:lnTo>
                  <a:lnTo>
                    <a:pt x="558" y="844"/>
                  </a:lnTo>
                  <a:lnTo>
                    <a:pt x="560" y="842"/>
                  </a:lnTo>
                  <a:lnTo>
                    <a:pt x="564" y="852"/>
                  </a:lnTo>
                  <a:lnTo>
                    <a:pt x="566" y="852"/>
                  </a:lnTo>
                  <a:lnTo>
                    <a:pt x="566" y="850"/>
                  </a:lnTo>
                  <a:lnTo>
                    <a:pt x="568" y="854"/>
                  </a:lnTo>
                  <a:lnTo>
                    <a:pt x="568" y="856"/>
                  </a:lnTo>
                  <a:lnTo>
                    <a:pt x="568" y="860"/>
                  </a:lnTo>
                  <a:lnTo>
                    <a:pt x="568" y="862"/>
                  </a:lnTo>
                  <a:lnTo>
                    <a:pt x="566" y="864"/>
                  </a:lnTo>
                  <a:lnTo>
                    <a:pt x="566" y="866"/>
                  </a:lnTo>
                  <a:lnTo>
                    <a:pt x="568" y="866"/>
                  </a:lnTo>
                  <a:lnTo>
                    <a:pt x="570" y="870"/>
                  </a:lnTo>
                  <a:lnTo>
                    <a:pt x="570" y="874"/>
                  </a:lnTo>
                  <a:lnTo>
                    <a:pt x="562" y="886"/>
                  </a:lnTo>
                  <a:lnTo>
                    <a:pt x="562" y="888"/>
                  </a:lnTo>
                  <a:lnTo>
                    <a:pt x="564" y="890"/>
                  </a:lnTo>
                  <a:lnTo>
                    <a:pt x="554" y="898"/>
                  </a:lnTo>
                  <a:lnTo>
                    <a:pt x="528" y="904"/>
                  </a:lnTo>
                  <a:lnTo>
                    <a:pt x="514" y="902"/>
                  </a:lnTo>
                  <a:lnTo>
                    <a:pt x="512" y="902"/>
                  </a:lnTo>
                  <a:lnTo>
                    <a:pt x="508" y="900"/>
                  </a:lnTo>
                  <a:lnTo>
                    <a:pt x="494" y="888"/>
                  </a:lnTo>
                  <a:lnTo>
                    <a:pt x="494" y="886"/>
                  </a:lnTo>
                  <a:lnTo>
                    <a:pt x="490" y="880"/>
                  </a:lnTo>
                  <a:lnTo>
                    <a:pt x="484" y="874"/>
                  </a:lnTo>
                  <a:lnTo>
                    <a:pt x="476" y="864"/>
                  </a:lnTo>
                  <a:lnTo>
                    <a:pt x="476" y="860"/>
                  </a:lnTo>
                  <a:lnTo>
                    <a:pt x="474" y="858"/>
                  </a:lnTo>
                  <a:lnTo>
                    <a:pt x="474" y="856"/>
                  </a:lnTo>
                  <a:lnTo>
                    <a:pt x="470" y="852"/>
                  </a:lnTo>
                  <a:lnTo>
                    <a:pt x="466" y="850"/>
                  </a:lnTo>
                  <a:lnTo>
                    <a:pt x="470" y="844"/>
                  </a:lnTo>
                  <a:lnTo>
                    <a:pt x="468" y="842"/>
                  </a:lnTo>
                  <a:lnTo>
                    <a:pt x="466" y="844"/>
                  </a:lnTo>
                  <a:lnTo>
                    <a:pt x="466" y="842"/>
                  </a:lnTo>
                  <a:lnTo>
                    <a:pt x="464" y="842"/>
                  </a:lnTo>
                  <a:lnTo>
                    <a:pt x="462" y="840"/>
                  </a:lnTo>
                  <a:lnTo>
                    <a:pt x="464" y="836"/>
                  </a:lnTo>
                  <a:lnTo>
                    <a:pt x="462" y="836"/>
                  </a:lnTo>
                  <a:lnTo>
                    <a:pt x="460" y="836"/>
                  </a:lnTo>
                  <a:lnTo>
                    <a:pt x="458" y="828"/>
                  </a:lnTo>
                  <a:lnTo>
                    <a:pt x="458" y="824"/>
                  </a:lnTo>
                  <a:lnTo>
                    <a:pt x="460" y="822"/>
                  </a:lnTo>
                  <a:lnTo>
                    <a:pt x="458" y="816"/>
                  </a:lnTo>
                  <a:lnTo>
                    <a:pt x="454" y="812"/>
                  </a:lnTo>
                  <a:lnTo>
                    <a:pt x="450" y="814"/>
                  </a:lnTo>
                  <a:lnTo>
                    <a:pt x="452" y="816"/>
                  </a:lnTo>
                  <a:lnTo>
                    <a:pt x="452" y="820"/>
                  </a:lnTo>
                  <a:lnTo>
                    <a:pt x="450" y="824"/>
                  </a:lnTo>
                  <a:lnTo>
                    <a:pt x="450" y="830"/>
                  </a:lnTo>
                  <a:lnTo>
                    <a:pt x="448" y="830"/>
                  </a:lnTo>
                  <a:lnTo>
                    <a:pt x="450" y="840"/>
                  </a:lnTo>
                  <a:lnTo>
                    <a:pt x="452" y="844"/>
                  </a:lnTo>
                  <a:lnTo>
                    <a:pt x="452" y="846"/>
                  </a:lnTo>
                  <a:lnTo>
                    <a:pt x="448" y="848"/>
                  </a:lnTo>
                  <a:lnTo>
                    <a:pt x="450" y="852"/>
                  </a:lnTo>
                  <a:lnTo>
                    <a:pt x="454" y="854"/>
                  </a:lnTo>
                  <a:lnTo>
                    <a:pt x="452" y="858"/>
                  </a:lnTo>
                  <a:lnTo>
                    <a:pt x="454" y="860"/>
                  </a:lnTo>
                  <a:lnTo>
                    <a:pt x="454" y="862"/>
                  </a:lnTo>
                  <a:lnTo>
                    <a:pt x="452" y="868"/>
                  </a:lnTo>
                  <a:lnTo>
                    <a:pt x="452" y="870"/>
                  </a:lnTo>
                  <a:lnTo>
                    <a:pt x="450" y="874"/>
                  </a:lnTo>
                  <a:lnTo>
                    <a:pt x="440" y="882"/>
                  </a:lnTo>
                  <a:lnTo>
                    <a:pt x="436" y="880"/>
                  </a:lnTo>
                  <a:lnTo>
                    <a:pt x="434" y="882"/>
                  </a:lnTo>
                  <a:lnTo>
                    <a:pt x="432" y="892"/>
                  </a:lnTo>
                  <a:lnTo>
                    <a:pt x="428" y="896"/>
                  </a:lnTo>
                  <a:lnTo>
                    <a:pt x="428" y="898"/>
                  </a:lnTo>
                  <a:lnTo>
                    <a:pt x="422" y="906"/>
                  </a:lnTo>
                  <a:lnTo>
                    <a:pt x="418" y="908"/>
                  </a:lnTo>
                  <a:lnTo>
                    <a:pt x="416" y="908"/>
                  </a:lnTo>
                  <a:lnTo>
                    <a:pt x="420" y="910"/>
                  </a:lnTo>
                  <a:lnTo>
                    <a:pt x="420" y="914"/>
                  </a:lnTo>
                  <a:lnTo>
                    <a:pt x="420" y="920"/>
                  </a:lnTo>
                  <a:lnTo>
                    <a:pt x="424" y="920"/>
                  </a:lnTo>
                  <a:lnTo>
                    <a:pt x="426" y="920"/>
                  </a:lnTo>
                  <a:lnTo>
                    <a:pt x="428" y="924"/>
                  </a:lnTo>
                  <a:lnTo>
                    <a:pt x="426" y="928"/>
                  </a:lnTo>
                  <a:lnTo>
                    <a:pt x="428" y="930"/>
                  </a:lnTo>
                  <a:lnTo>
                    <a:pt x="426" y="936"/>
                  </a:lnTo>
                  <a:lnTo>
                    <a:pt x="438" y="956"/>
                  </a:lnTo>
                  <a:lnTo>
                    <a:pt x="438" y="954"/>
                  </a:lnTo>
                  <a:lnTo>
                    <a:pt x="440" y="954"/>
                  </a:lnTo>
                  <a:lnTo>
                    <a:pt x="446" y="954"/>
                  </a:lnTo>
                  <a:lnTo>
                    <a:pt x="450" y="958"/>
                  </a:lnTo>
                  <a:lnTo>
                    <a:pt x="450" y="956"/>
                  </a:lnTo>
                  <a:lnTo>
                    <a:pt x="458" y="938"/>
                  </a:lnTo>
                  <a:lnTo>
                    <a:pt x="448" y="936"/>
                  </a:lnTo>
                  <a:lnTo>
                    <a:pt x="448" y="930"/>
                  </a:lnTo>
                  <a:lnTo>
                    <a:pt x="450" y="924"/>
                  </a:lnTo>
                  <a:lnTo>
                    <a:pt x="448" y="920"/>
                  </a:lnTo>
                  <a:lnTo>
                    <a:pt x="450" y="914"/>
                  </a:lnTo>
                  <a:lnTo>
                    <a:pt x="454" y="914"/>
                  </a:lnTo>
                  <a:lnTo>
                    <a:pt x="458" y="914"/>
                  </a:lnTo>
                  <a:lnTo>
                    <a:pt x="462" y="910"/>
                  </a:lnTo>
                  <a:lnTo>
                    <a:pt x="468" y="922"/>
                  </a:lnTo>
                  <a:lnTo>
                    <a:pt x="468" y="926"/>
                  </a:lnTo>
                  <a:lnTo>
                    <a:pt x="472" y="932"/>
                  </a:lnTo>
                  <a:lnTo>
                    <a:pt x="468" y="932"/>
                  </a:lnTo>
                  <a:lnTo>
                    <a:pt x="464" y="936"/>
                  </a:lnTo>
                  <a:lnTo>
                    <a:pt x="468" y="936"/>
                  </a:lnTo>
                  <a:lnTo>
                    <a:pt x="476" y="934"/>
                  </a:lnTo>
                  <a:lnTo>
                    <a:pt x="476" y="938"/>
                  </a:lnTo>
                  <a:lnTo>
                    <a:pt x="480" y="940"/>
                  </a:lnTo>
                  <a:lnTo>
                    <a:pt x="484" y="952"/>
                  </a:lnTo>
                  <a:lnTo>
                    <a:pt x="488" y="954"/>
                  </a:lnTo>
                  <a:lnTo>
                    <a:pt x="488" y="954"/>
                  </a:lnTo>
                  <a:lnTo>
                    <a:pt x="490" y="952"/>
                  </a:lnTo>
                  <a:lnTo>
                    <a:pt x="494" y="958"/>
                  </a:lnTo>
                  <a:lnTo>
                    <a:pt x="496" y="960"/>
                  </a:lnTo>
                  <a:lnTo>
                    <a:pt x="498" y="964"/>
                  </a:lnTo>
                  <a:lnTo>
                    <a:pt x="500" y="964"/>
                  </a:lnTo>
                  <a:lnTo>
                    <a:pt x="504" y="932"/>
                  </a:lnTo>
                  <a:lnTo>
                    <a:pt x="510" y="922"/>
                  </a:lnTo>
                  <a:lnTo>
                    <a:pt x="514" y="922"/>
                  </a:lnTo>
                  <a:lnTo>
                    <a:pt x="524" y="922"/>
                  </a:lnTo>
                  <a:lnTo>
                    <a:pt x="528" y="920"/>
                  </a:lnTo>
                  <a:lnTo>
                    <a:pt x="532" y="920"/>
                  </a:lnTo>
                  <a:lnTo>
                    <a:pt x="534" y="922"/>
                  </a:lnTo>
                  <a:lnTo>
                    <a:pt x="542" y="922"/>
                  </a:lnTo>
                  <a:lnTo>
                    <a:pt x="556" y="918"/>
                  </a:lnTo>
                  <a:lnTo>
                    <a:pt x="560" y="916"/>
                  </a:lnTo>
                  <a:lnTo>
                    <a:pt x="562" y="916"/>
                  </a:lnTo>
                  <a:lnTo>
                    <a:pt x="564" y="922"/>
                  </a:lnTo>
                  <a:lnTo>
                    <a:pt x="570" y="926"/>
                  </a:lnTo>
                  <a:lnTo>
                    <a:pt x="574" y="932"/>
                  </a:lnTo>
                  <a:lnTo>
                    <a:pt x="572" y="936"/>
                  </a:lnTo>
                  <a:lnTo>
                    <a:pt x="568" y="938"/>
                  </a:lnTo>
                  <a:lnTo>
                    <a:pt x="572" y="936"/>
                  </a:lnTo>
                  <a:lnTo>
                    <a:pt x="574" y="938"/>
                  </a:lnTo>
                  <a:lnTo>
                    <a:pt x="574" y="940"/>
                  </a:lnTo>
                  <a:lnTo>
                    <a:pt x="574" y="944"/>
                  </a:lnTo>
                  <a:lnTo>
                    <a:pt x="574" y="948"/>
                  </a:lnTo>
                  <a:lnTo>
                    <a:pt x="580" y="942"/>
                  </a:lnTo>
                  <a:lnTo>
                    <a:pt x="582" y="936"/>
                  </a:lnTo>
                  <a:lnTo>
                    <a:pt x="586" y="932"/>
                  </a:lnTo>
                  <a:lnTo>
                    <a:pt x="592" y="930"/>
                  </a:lnTo>
                  <a:lnTo>
                    <a:pt x="594" y="926"/>
                  </a:lnTo>
                  <a:lnTo>
                    <a:pt x="596" y="924"/>
                  </a:lnTo>
                  <a:lnTo>
                    <a:pt x="598" y="922"/>
                  </a:lnTo>
                  <a:lnTo>
                    <a:pt x="600" y="918"/>
                  </a:lnTo>
                  <a:lnTo>
                    <a:pt x="602" y="914"/>
                  </a:lnTo>
                  <a:lnTo>
                    <a:pt x="600" y="910"/>
                  </a:lnTo>
                  <a:lnTo>
                    <a:pt x="598" y="908"/>
                  </a:lnTo>
                  <a:lnTo>
                    <a:pt x="596" y="908"/>
                  </a:lnTo>
                  <a:lnTo>
                    <a:pt x="600" y="900"/>
                  </a:lnTo>
                  <a:lnTo>
                    <a:pt x="612" y="892"/>
                  </a:lnTo>
                  <a:lnTo>
                    <a:pt x="614" y="888"/>
                  </a:lnTo>
                  <a:lnTo>
                    <a:pt x="618" y="886"/>
                  </a:lnTo>
                  <a:lnTo>
                    <a:pt x="624" y="874"/>
                  </a:lnTo>
                  <a:lnTo>
                    <a:pt x="618" y="860"/>
                  </a:lnTo>
                  <a:lnTo>
                    <a:pt x="620" y="858"/>
                  </a:lnTo>
                  <a:lnTo>
                    <a:pt x="628" y="870"/>
                  </a:lnTo>
                  <a:lnTo>
                    <a:pt x="630" y="870"/>
                  </a:lnTo>
                  <a:lnTo>
                    <a:pt x="646" y="882"/>
                  </a:lnTo>
                  <a:lnTo>
                    <a:pt x="648" y="884"/>
                  </a:lnTo>
                  <a:lnTo>
                    <a:pt x="646" y="888"/>
                  </a:lnTo>
                  <a:lnTo>
                    <a:pt x="646" y="890"/>
                  </a:lnTo>
                  <a:lnTo>
                    <a:pt x="646" y="894"/>
                  </a:lnTo>
                  <a:lnTo>
                    <a:pt x="648" y="894"/>
                  </a:lnTo>
                  <a:lnTo>
                    <a:pt x="646" y="902"/>
                  </a:lnTo>
                  <a:lnTo>
                    <a:pt x="644" y="908"/>
                  </a:lnTo>
                  <a:lnTo>
                    <a:pt x="626" y="902"/>
                  </a:lnTo>
                  <a:lnTo>
                    <a:pt x="624" y="904"/>
                  </a:lnTo>
                  <a:lnTo>
                    <a:pt x="620" y="906"/>
                  </a:lnTo>
                  <a:lnTo>
                    <a:pt x="618" y="904"/>
                  </a:lnTo>
                  <a:lnTo>
                    <a:pt x="616" y="908"/>
                  </a:lnTo>
                  <a:lnTo>
                    <a:pt x="614" y="912"/>
                  </a:lnTo>
                  <a:lnTo>
                    <a:pt x="618" y="922"/>
                  </a:lnTo>
                  <a:lnTo>
                    <a:pt x="616" y="932"/>
                  </a:lnTo>
                  <a:lnTo>
                    <a:pt x="618" y="934"/>
                  </a:lnTo>
                  <a:lnTo>
                    <a:pt x="620" y="936"/>
                  </a:lnTo>
                  <a:lnTo>
                    <a:pt x="624" y="936"/>
                  </a:lnTo>
                  <a:lnTo>
                    <a:pt x="622" y="942"/>
                  </a:lnTo>
                  <a:lnTo>
                    <a:pt x="626" y="938"/>
                  </a:lnTo>
                  <a:lnTo>
                    <a:pt x="632" y="940"/>
                  </a:lnTo>
                  <a:lnTo>
                    <a:pt x="634" y="940"/>
                  </a:lnTo>
                  <a:lnTo>
                    <a:pt x="640" y="940"/>
                  </a:lnTo>
                  <a:lnTo>
                    <a:pt x="644" y="940"/>
                  </a:lnTo>
                  <a:lnTo>
                    <a:pt x="646" y="934"/>
                  </a:lnTo>
                  <a:lnTo>
                    <a:pt x="658" y="924"/>
                  </a:lnTo>
                  <a:lnTo>
                    <a:pt x="660" y="924"/>
                  </a:lnTo>
                  <a:lnTo>
                    <a:pt x="662" y="924"/>
                  </a:lnTo>
                  <a:lnTo>
                    <a:pt x="668" y="926"/>
                  </a:lnTo>
                  <a:lnTo>
                    <a:pt x="672" y="926"/>
                  </a:lnTo>
                  <a:lnTo>
                    <a:pt x="670" y="924"/>
                  </a:lnTo>
                  <a:lnTo>
                    <a:pt x="672" y="920"/>
                  </a:lnTo>
                  <a:lnTo>
                    <a:pt x="674" y="922"/>
                  </a:lnTo>
                  <a:lnTo>
                    <a:pt x="710" y="918"/>
                  </a:lnTo>
                  <a:lnTo>
                    <a:pt x="710" y="918"/>
                  </a:lnTo>
                  <a:lnTo>
                    <a:pt x="720" y="918"/>
                  </a:lnTo>
                  <a:lnTo>
                    <a:pt x="720" y="916"/>
                  </a:lnTo>
                  <a:lnTo>
                    <a:pt x="728" y="918"/>
                  </a:lnTo>
                  <a:lnTo>
                    <a:pt x="728" y="924"/>
                  </a:lnTo>
                  <a:lnTo>
                    <a:pt x="730" y="924"/>
                  </a:lnTo>
                  <a:lnTo>
                    <a:pt x="732" y="924"/>
                  </a:lnTo>
                  <a:lnTo>
                    <a:pt x="734" y="920"/>
                  </a:lnTo>
                  <a:lnTo>
                    <a:pt x="734" y="918"/>
                  </a:lnTo>
                  <a:lnTo>
                    <a:pt x="732" y="918"/>
                  </a:lnTo>
                  <a:lnTo>
                    <a:pt x="740" y="914"/>
                  </a:lnTo>
                  <a:lnTo>
                    <a:pt x="742" y="914"/>
                  </a:lnTo>
                  <a:lnTo>
                    <a:pt x="740" y="916"/>
                  </a:lnTo>
                  <a:lnTo>
                    <a:pt x="740" y="918"/>
                  </a:lnTo>
                  <a:lnTo>
                    <a:pt x="740" y="920"/>
                  </a:lnTo>
                  <a:lnTo>
                    <a:pt x="744" y="920"/>
                  </a:lnTo>
                  <a:lnTo>
                    <a:pt x="746" y="916"/>
                  </a:lnTo>
                  <a:lnTo>
                    <a:pt x="746" y="914"/>
                  </a:lnTo>
                  <a:lnTo>
                    <a:pt x="750" y="914"/>
                  </a:lnTo>
                  <a:lnTo>
                    <a:pt x="750" y="912"/>
                  </a:lnTo>
                  <a:lnTo>
                    <a:pt x="756" y="912"/>
                  </a:lnTo>
                  <a:lnTo>
                    <a:pt x="760" y="914"/>
                  </a:lnTo>
                  <a:lnTo>
                    <a:pt x="760" y="914"/>
                  </a:lnTo>
                  <a:lnTo>
                    <a:pt x="768" y="916"/>
                  </a:lnTo>
                  <a:lnTo>
                    <a:pt x="766" y="916"/>
                  </a:lnTo>
                  <a:lnTo>
                    <a:pt x="762" y="916"/>
                  </a:lnTo>
                  <a:lnTo>
                    <a:pt x="756" y="914"/>
                  </a:lnTo>
                  <a:lnTo>
                    <a:pt x="754" y="914"/>
                  </a:lnTo>
                  <a:lnTo>
                    <a:pt x="754" y="916"/>
                  </a:lnTo>
                  <a:lnTo>
                    <a:pt x="754" y="916"/>
                  </a:lnTo>
                  <a:lnTo>
                    <a:pt x="756" y="916"/>
                  </a:lnTo>
                  <a:lnTo>
                    <a:pt x="756" y="916"/>
                  </a:lnTo>
                  <a:lnTo>
                    <a:pt x="756" y="920"/>
                  </a:lnTo>
                  <a:lnTo>
                    <a:pt x="754" y="922"/>
                  </a:lnTo>
                  <a:lnTo>
                    <a:pt x="752" y="924"/>
                  </a:lnTo>
                  <a:lnTo>
                    <a:pt x="750" y="926"/>
                  </a:lnTo>
                  <a:lnTo>
                    <a:pt x="752" y="928"/>
                  </a:lnTo>
                  <a:lnTo>
                    <a:pt x="748" y="934"/>
                  </a:lnTo>
                  <a:lnTo>
                    <a:pt x="750" y="938"/>
                  </a:lnTo>
                  <a:lnTo>
                    <a:pt x="754" y="938"/>
                  </a:lnTo>
                  <a:lnTo>
                    <a:pt x="754" y="940"/>
                  </a:lnTo>
                  <a:lnTo>
                    <a:pt x="756" y="944"/>
                  </a:lnTo>
                  <a:lnTo>
                    <a:pt x="758" y="944"/>
                  </a:lnTo>
                  <a:lnTo>
                    <a:pt x="762" y="938"/>
                  </a:lnTo>
                  <a:lnTo>
                    <a:pt x="764" y="936"/>
                  </a:lnTo>
                  <a:lnTo>
                    <a:pt x="772" y="934"/>
                  </a:lnTo>
                  <a:lnTo>
                    <a:pt x="774" y="934"/>
                  </a:lnTo>
                  <a:lnTo>
                    <a:pt x="782" y="934"/>
                  </a:lnTo>
                  <a:lnTo>
                    <a:pt x="784" y="938"/>
                  </a:lnTo>
                  <a:lnTo>
                    <a:pt x="790" y="938"/>
                  </a:lnTo>
                  <a:lnTo>
                    <a:pt x="792" y="940"/>
                  </a:lnTo>
                  <a:lnTo>
                    <a:pt x="794" y="942"/>
                  </a:lnTo>
                  <a:lnTo>
                    <a:pt x="796" y="942"/>
                  </a:lnTo>
                  <a:lnTo>
                    <a:pt x="804" y="938"/>
                  </a:lnTo>
                  <a:lnTo>
                    <a:pt x="808" y="938"/>
                  </a:lnTo>
                  <a:lnTo>
                    <a:pt x="812" y="934"/>
                  </a:lnTo>
                  <a:lnTo>
                    <a:pt x="822" y="934"/>
                  </a:lnTo>
                  <a:lnTo>
                    <a:pt x="826" y="936"/>
                  </a:lnTo>
                  <a:lnTo>
                    <a:pt x="824" y="936"/>
                  </a:lnTo>
                  <a:lnTo>
                    <a:pt x="826" y="946"/>
                  </a:lnTo>
                  <a:lnTo>
                    <a:pt x="824" y="946"/>
                  </a:lnTo>
                  <a:lnTo>
                    <a:pt x="822" y="948"/>
                  </a:lnTo>
                  <a:lnTo>
                    <a:pt x="820" y="950"/>
                  </a:lnTo>
                  <a:lnTo>
                    <a:pt x="818" y="954"/>
                  </a:lnTo>
                  <a:lnTo>
                    <a:pt x="820" y="956"/>
                  </a:lnTo>
                  <a:lnTo>
                    <a:pt x="824" y="960"/>
                  </a:lnTo>
                  <a:lnTo>
                    <a:pt x="828" y="958"/>
                  </a:lnTo>
                  <a:lnTo>
                    <a:pt x="832" y="956"/>
                  </a:lnTo>
                  <a:lnTo>
                    <a:pt x="832" y="954"/>
                  </a:lnTo>
                  <a:lnTo>
                    <a:pt x="832" y="952"/>
                  </a:lnTo>
                  <a:lnTo>
                    <a:pt x="832" y="948"/>
                  </a:lnTo>
                  <a:lnTo>
                    <a:pt x="840" y="950"/>
                  </a:lnTo>
                  <a:lnTo>
                    <a:pt x="846" y="946"/>
                  </a:lnTo>
                  <a:lnTo>
                    <a:pt x="852" y="938"/>
                  </a:lnTo>
                  <a:lnTo>
                    <a:pt x="850" y="938"/>
                  </a:lnTo>
                  <a:lnTo>
                    <a:pt x="850" y="938"/>
                  </a:lnTo>
                  <a:lnTo>
                    <a:pt x="848" y="922"/>
                  </a:lnTo>
                  <a:lnTo>
                    <a:pt x="848" y="920"/>
                  </a:lnTo>
                  <a:lnTo>
                    <a:pt x="854" y="918"/>
                  </a:lnTo>
                  <a:lnTo>
                    <a:pt x="856" y="916"/>
                  </a:lnTo>
                  <a:lnTo>
                    <a:pt x="858" y="914"/>
                  </a:lnTo>
                  <a:lnTo>
                    <a:pt x="858" y="914"/>
                  </a:lnTo>
                  <a:lnTo>
                    <a:pt x="862" y="914"/>
                  </a:lnTo>
                  <a:lnTo>
                    <a:pt x="866" y="918"/>
                  </a:lnTo>
                  <a:lnTo>
                    <a:pt x="866" y="918"/>
                  </a:lnTo>
                  <a:lnTo>
                    <a:pt x="882" y="924"/>
                  </a:lnTo>
                  <a:lnTo>
                    <a:pt x="886" y="928"/>
                  </a:lnTo>
                  <a:lnTo>
                    <a:pt x="888" y="928"/>
                  </a:lnTo>
                  <a:lnTo>
                    <a:pt x="898" y="936"/>
                  </a:lnTo>
                  <a:lnTo>
                    <a:pt x="904" y="944"/>
                  </a:lnTo>
                  <a:lnTo>
                    <a:pt x="906" y="946"/>
                  </a:lnTo>
                  <a:lnTo>
                    <a:pt x="912" y="950"/>
                  </a:lnTo>
                  <a:lnTo>
                    <a:pt x="916" y="952"/>
                  </a:lnTo>
                  <a:lnTo>
                    <a:pt x="916" y="954"/>
                  </a:lnTo>
                  <a:lnTo>
                    <a:pt x="914" y="954"/>
                  </a:lnTo>
                  <a:lnTo>
                    <a:pt x="914" y="954"/>
                  </a:lnTo>
                  <a:lnTo>
                    <a:pt x="920" y="958"/>
                  </a:lnTo>
                  <a:lnTo>
                    <a:pt x="924" y="964"/>
                  </a:lnTo>
                  <a:lnTo>
                    <a:pt x="928" y="966"/>
                  </a:lnTo>
                  <a:lnTo>
                    <a:pt x="938" y="980"/>
                  </a:lnTo>
                  <a:lnTo>
                    <a:pt x="942" y="984"/>
                  </a:lnTo>
                  <a:lnTo>
                    <a:pt x="944" y="986"/>
                  </a:lnTo>
                  <a:lnTo>
                    <a:pt x="942" y="990"/>
                  </a:lnTo>
                  <a:lnTo>
                    <a:pt x="944" y="992"/>
                  </a:lnTo>
                  <a:lnTo>
                    <a:pt x="948" y="990"/>
                  </a:lnTo>
                  <a:lnTo>
                    <a:pt x="956" y="976"/>
                  </a:lnTo>
                  <a:lnTo>
                    <a:pt x="960" y="972"/>
                  </a:lnTo>
                  <a:lnTo>
                    <a:pt x="958" y="970"/>
                  </a:lnTo>
                  <a:lnTo>
                    <a:pt x="958" y="968"/>
                  </a:lnTo>
                  <a:lnTo>
                    <a:pt x="956" y="970"/>
                  </a:lnTo>
                  <a:lnTo>
                    <a:pt x="952" y="966"/>
                  </a:lnTo>
                  <a:lnTo>
                    <a:pt x="948" y="952"/>
                  </a:lnTo>
                  <a:lnTo>
                    <a:pt x="950" y="946"/>
                  </a:lnTo>
                  <a:lnTo>
                    <a:pt x="950" y="946"/>
                  </a:lnTo>
                  <a:lnTo>
                    <a:pt x="948" y="948"/>
                  </a:lnTo>
                  <a:lnTo>
                    <a:pt x="940" y="940"/>
                  </a:lnTo>
                  <a:lnTo>
                    <a:pt x="936" y="940"/>
                  </a:lnTo>
                  <a:lnTo>
                    <a:pt x="936" y="944"/>
                  </a:lnTo>
                  <a:lnTo>
                    <a:pt x="934" y="940"/>
                  </a:lnTo>
                  <a:lnTo>
                    <a:pt x="938" y="926"/>
                  </a:lnTo>
                  <a:lnTo>
                    <a:pt x="940" y="928"/>
                  </a:lnTo>
                  <a:lnTo>
                    <a:pt x="942" y="928"/>
                  </a:lnTo>
                  <a:lnTo>
                    <a:pt x="944" y="926"/>
                  </a:lnTo>
                  <a:lnTo>
                    <a:pt x="944" y="922"/>
                  </a:lnTo>
                  <a:lnTo>
                    <a:pt x="944" y="918"/>
                  </a:lnTo>
                  <a:lnTo>
                    <a:pt x="946" y="916"/>
                  </a:lnTo>
                  <a:lnTo>
                    <a:pt x="948" y="906"/>
                  </a:lnTo>
                  <a:lnTo>
                    <a:pt x="950" y="904"/>
                  </a:lnTo>
                  <a:lnTo>
                    <a:pt x="950" y="900"/>
                  </a:lnTo>
                  <a:lnTo>
                    <a:pt x="946" y="900"/>
                  </a:lnTo>
                  <a:lnTo>
                    <a:pt x="944" y="900"/>
                  </a:lnTo>
                  <a:lnTo>
                    <a:pt x="940" y="900"/>
                  </a:lnTo>
                  <a:lnTo>
                    <a:pt x="940" y="898"/>
                  </a:lnTo>
                  <a:lnTo>
                    <a:pt x="942" y="894"/>
                  </a:lnTo>
                  <a:lnTo>
                    <a:pt x="946" y="892"/>
                  </a:lnTo>
                  <a:lnTo>
                    <a:pt x="948" y="892"/>
                  </a:lnTo>
                  <a:lnTo>
                    <a:pt x="948" y="888"/>
                  </a:lnTo>
                  <a:lnTo>
                    <a:pt x="948" y="888"/>
                  </a:lnTo>
                  <a:lnTo>
                    <a:pt x="944" y="890"/>
                  </a:lnTo>
                  <a:lnTo>
                    <a:pt x="944" y="890"/>
                  </a:lnTo>
                  <a:lnTo>
                    <a:pt x="946" y="882"/>
                  </a:lnTo>
                  <a:lnTo>
                    <a:pt x="954" y="882"/>
                  </a:lnTo>
                  <a:lnTo>
                    <a:pt x="964" y="874"/>
                  </a:lnTo>
                  <a:lnTo>
                    <a:pt x="970" y="868"/>
                  </a:lnTo>
                  <a:lnTo>
                    <a:pt x="986" y="834"/>
                  </a:lnTo>
                  <a:lnTo>
                    <a:pt x="986" y="832"/>
                  </a:lnTo>
                  <a:lnTo>
                    <a:pt x="988" y="830"/>
                  </a:lnTo>
                  <a:lnTo>
                    <a:pt x="994" y="830"/>
                  </a:lnTo>
                  <a:lnTo>
                    <a:pt x="992" y="832"/>
                  </a:lnTo>
                  <a:lnTo>
                    <a:pt x="994" y="834"/>
                  </a:lnTo>
                  <a:lnTo>
                    <a:pt x="1014" y="836"/>
                  </a:lnTo>
                  <a:lnTo>
                    <a:pt x="1016" y="838"/>
                  </a:lnTo>
                  <a:lnTo>
                    <a:pt x="1024" y="842"/>
                  </a:lnTo>
                  <a:lnTo>
                    <a:pt x="1024" y="844"/>
                  </a:lnTo>
                  <a:lnTo>
                    <a:pt x="1024" y="846"/>
                  </a:lnTo>
                  <a:lnTo>
                    <a:pt x="1024" y="856"/>
                  </a:lnTo>
                  <a:lnTo>
                    <a:pt x="1018" y="870"/>
                  </a:lnTo>
                  <a:lnTo>
                    <a:pt x="1016" y="872"/>
                  </a:lnTo>
                  <a:lnTo>
                    <a:pt x="1016" y="876"/>
                  </a:lnTo>
                  <a:lnTo>
                    <a:pt x="1014" y="878"/>
                  </a:lnTo>
                  <a:lnTo>
                    <a:pt x="1014" y="880"/>
                  </a:lnTo>
                  <a:lnTo>
                    <a:pt x="1010" y="882"/>
                  </a:lnTo>
                  <a:lnTo>
                    <a:pt x="1010" y="882"/>
                  </a:lnTo>
                  <a:lnTo>
                    <a:pt x="1008" y="884"/>
                  </a:lnTo>
                  <a:lnTo>
                    <a:pt x="1014" y="892"/>
                  </a:lnTo>
                  <a:lnTo>
                    <a:pt x="1018" y="896"/>
                  </a:lnTo>
                  <a:lnTo>
                    <a:pt x="1016" y="902"/>
                  </a:lnTo>
                  <a:lnTo>
                    <a:pt x="1018" y="908"/>
                  </a:lnTo>
                  <a:lnTo>
                    <a:pt x="1018" y="912"/>
                  </a:lnTo>
                  <a:lnTo>
                    <a:pt x="1016" y="916"/>
                  </a:lnTo>
                  <a:lnTo>
                    <a:pt x="1016" y="924"/>
                  </a:lnTo>
                  <a:lnTo>
                    <a:pt x="1012" y="926"/>
                  </a:lnTo>
                  <a:lnTo>
                    <a:pt x="1012" y="928"/>
                  </a:lnTo>
                  <a:lnTo>
                    <a:pt x="1012" y="932"/>
                  </a:lnTo>
                  <a:lnTo>
                    <a:pt x="1012" y="934"/>
                  </a:lnTo>
                  <a:lnTo>
                    <a:pt x="1012" y="934"/>
                  </a:lnTo>
                  <a:lnTo>
                    <a:pt x="1012" y="938"/>
                  </a:lnTo>
                  <a:lnTo>
                    <a:pt x="1012" y="940"/>
                  </a:lnTo>
                  <a:lnTo>
                    <a:pt x="1012" y="942"/>
                  </a:lnTo>
                  <a:lnTo>
                    <a:pt x="1012" y="942"/>
                  </a:lnTo>
                  <a:lnTo>
                    <a:pt x="1014" y="944"/>
                  </a:lnTo>
                  <a:lnTo>
                    <a:pt x="1012" y="948"/>
                  </a:lnTo>
                  <a:lnTo>
                    <a:pt x="1010" y="952"/>
                  </a:lnTo>
                  <a:lnTo>
                    <a:pt x="1012" y="956"/>
                  </a:lnTo>
                  <a:lnTo>
                    <a:pt x="1010" y="960"/>
                  </a:lnTo>
                  <a:lnTo>
                    <a:pt x="1010" y="962"/>
                  </a:lnTo>
                  <a:lnTo>
                    <a:pt x="1006" y="972"/>
                  </a:lnTo>
                  <a:lnTo>
                    <a:pt x="1018" y="988"/>
                  </a:lnTo>
                  <a:lnTo>
                    <a:pt x="1018" y="996"/>
                  </a:lnTo>
                  <a:lnTo>
                    <a:pt x="1014" y="1000"/>
                  </a:lnTo>
                  <a:lnTo>
                    <a:pt x="1012" y="1008"/>
                  </a:lnTo>
                  <a:lnTo>
                    <a:pt x="1012" y="1016"/>
                  </a:lnTo>
                  <a:lnTo>
                    <a:pt x="1010" y="1018"/>
                  </a:lnTo>
                  <a:lnTo>
                    <a:pt x="1010" y="1020"/>
                  </a:lnTo>
                  <a:lnTo>
                    <a:pt x="1008" y="1022"/>
                  </a:lnTo>
                  <a:lnTo>
                    <a:pt x="1002" y="1024"/>
                  </a:lnTo>
                  <a:lnTo>
                    <a:pt x="1000" y="1028"/>
                  </a:lnTo>
                  <a:lnTo>
                    <a:pt x="1000" y="1030"/>
                  </a:lnTo>
                  <a:lnTo>
                    <a:pt x="998" y="1034"/>
                  </a:lnTo>
                  <a:lnTo>
                    <a:pt x="994" y="1032"/>
                  </a:lnTo>
                  <a:lnTo>
                    <a:pt x="994" y="1038"/>
                  </a:lnTo>
                  <a:lnTo>
                    <a:pt x="994" y="1038"/>
                  </a:lnTo>
                  <a:lnTo>
                    <a:pt x="988" y="1038"/>
                  </a:lnTo>
                  <a:lnTo>
                    <a:pt x="982" y="1034"/>
                  </a:lnTo>
                  <a:lnTo>
                    <a:pt x="982" y="1038"/>
                  </a:lnTo>
                  <a:lnTo>
                    <a:pt x="984" y="1040"/>
                  </a:lnTo>
                  <a:lnTo>
                    <a:pt x="986" y="1038"/>
                  </a:lnTo>
                  <a:lnTo>
                    <a:pt x="990" y="1040"/>
                  </a:lnTo>
                  <a:lnTo>
                    <a:pt x="992" y="1042"/>
                  </a:lnTo>
                  <a:lnTo>
                    <a:pt x="990" y="1044"/>
                  </a:lnTo>
                  <a:lnTo>
                    <a:pt x="986" y="1044"/>
                  </a:lnTo>
                  <a:lnTo>
                    <a:pt x="984" y="1044"/>
                  </a:lnTo>
                  <a:lnTo>
                    <a:pt x="982" y="1044"/>
                  </a:lnTo>
                  <a:lnTo>
                    <a:pt x="980" y="1046"/>
                  </a:lnTo>
                  <a:lnTo>
                    <a:pt x="976" y="1046"/>
                  </a:lnTo>
                  <a:lnTo>
                    <a:pt x="974" y="1044"/>
                  </a:lnTo>
                  <a:lnTo>
                    <a:pt x="972" y="1048"/>
                  </a:lnTo>
                  <a:lnTo>
                    <a:pt x="968" y="1048"/>
                  </a:lnTo>
                  <a:lnTo>
                    <a:pt x="966" y="1050"/>
                  </a:lnTo>
                  <a:lnTo>
                    <a:pt x="964" y="1050"/>
                  </a:lnTo>
                  <a:lnTo>
                    <a:pt x="962" y="1048"/>
                  </a:lnTo>
                  <a:lnTo>
                    <a:pt x="960" y="1044"/>
                  </a:lnTo>
                  <a:lnTo>
                    <a:pt x="956" y="1046"/>
                  </a:lnTo>
                  <a:lnTo>
                    <a:pt x="956" y="1046"/>
                  </a:lnTo>
                  <a:lnTo>
                    <a:pt x="956" y="1048"/>
                  </a:lnTo>
                  <a:lnTo>
                    <a:pt x="960" y="1050"/>
                  </a:lnTo>
                  <a:lnTo>
                    <a:pt x="960" y="1056"/>
                  </a:lnTo>
                  <a:lnTo>
                    <a:pt x="958" y="1056"/>
                  </a:lnTo>
                  <a:lnTo>
                    <a:pt x="958" y="1060"/>
                  </a:lnTo>
                  <a:lnTo>
                    <a:pt x="958" y="1060"/>
                  </a:lnTo>
                  <a:lnTo>
                    <a:pt x="968" y="1062"/>
                  </a:lnTo>
                  <a:lnTo>
                    <a:pt x="972" y="1062"/>
                  </a:lnTo>
                  <a:lnTo>
                    <a:pt x="978" y="1064"/>
                  </a:lnTo>
                  <a:lnTo>
                    <a:pt x="988" y="1070"/>
                  </a:lnTo>
                  <a:lnTo>
                    <a:pt x="992" y="1068"/>
                  </a:lnTo>
                  <a:lnTo>
                    <a:pt x="994" y="1064"/>
                  </a:lnTo>
                  <a:lnTo>
                    <a:pt x="992" y="1060"/>
                  </a:lnTo>
                  <a:lnTo>
                    <a:pt x="994" y="1058"/>
                  </a:lnTo>
                  <a:lnTo>
                    <a:pt x="1002" y="1056"/>
                  </a:lnTo>
                  <a:lnTo>
                    <a:pt x="1006" y="1054"/>
                  </a:lnTo>
                  <a:lnTo>
                    <a:pt x="1012" y="1050"/>
                  </a:lnTo>
                  <a:lnTo>
                    <a:pt x="1018" y="1044"/>
                  </a:lnTo>
                  <a:lnTo>
                    <a:pt x="1020" y="1034"/>
                  </a:lnTo>
                  <a:lnTo>
                    <a:pt x="1034" y="1022"/>
                  </a:lnTo>
                  <a:lnTo>
                    <a:pt x="1036" y="1012"/>
                  </a:lnTo>
                  <a:lnTo>
                    <a:pt x="1034" y="1010"/>
                  </a:lnTo>
                  <a:lnTo>
                    <a:pt x="1034" y="1008"/>
                  </a:lnTo>
                  <a:lnTo>
                    <a:pt x="1034" y="1004"/>
                  </a:lnTo>
                  <a:lnTo>
                    <a:pt x="1032" y="1002"/>
                  </a:lnTo>
                  <a:lnTo>
                    <a:pt x="1032" y="1000"/>
                  </a:lnTo>
                  <a:lnTo>
                    <a:pt x="1030" y="1000"/>
                  </a:lnTo>
                  <a:lnTo>
                    <a:pt x="1030" y="998"/>
                  </a:lnTo>
                  <a:lnTo>
                    <a:pt x="1032" y="992"/>
                  </a:lnTo>
                  <a:lnTo>
                    <a:pt x="1032" y="986"/>
                  </a:lnTo>
                  <a:lnTo>
                    <a:pt x="1044" y="982"/>
                  </a:lnTo>
                  <a:lnTo>
                    <a:pt x="1064" y="980"/>
                  </a:lnTo>
                  <a:lnTo>
                    <a:pt x="1066" y="984"/>
                  </a:lnTo>
                  <a:lnTo>
                    <a:pt x="1064" y="986"/>
                  </a:lnTo>
                  <a:lnTo>
                    <a:pt x="1066" y="988"/>
                  </a:lnTo>
                  <a:lnTo>
                    <a:pt x="1068" y="990"/>
                  </a:lnTo>
                  <a:lnTo>
                    <a:pt x="1070" y="992"/>
                  </a:lnTo>
                  <a:lnTo>
                    <a:pt x="1072" y="994"/>
                  </a:lnTo>
                  <a:lnTo>
                    <a:pt x="1072" y="996"/>
                  </a:lnTo>
                  <a:lnTo>
                    <a:pt x="1074" y="998"/>
                  </a:lnTo>
                  <a:lnTo>
                    <a:pt x="1072" y="1000"/>
                  </a:lnTo>
                  <a:lnTo>
                    <a:pt x="1072" y="1002"/>
                  </a:lnTo>
                  <a:lnTo>
                    <a:pt x="1072" y="1002"/>
                  </a:lnTo>
                  <a:lnTo>
                    <a:pt x="1072" y="1004"/>
                  </a:lnTo>
                  <a:lnTo>
                    <a:pt x="1072" y="1008"/>
                  </a:lnTo>
                  <a:lnTo>
                    <a:pt x="1074" y="1006"/>
                  </a:lnTo>
                  <a:lnTo>
                    <a:pt x="1074" y="1008"/>
                  </a:lnTo>
                  <a:lnTo>
                    <a:pt x="1072" y="1012"/>
                  </a:lnTo>
                  <a:lnTo>
                    <a:pt x="1072" y="1020"/>
                  </a:lnTo>
                  <a:lnTo>
                    <a:pt x="1070" y="1022"/>
                  </a:lnTo>
                  <a:lnTo>
                    <a:pt x="1070" y="1024"/>
                  </a:lnTo>
                  <a:lnTo>
                    <a:pt x="1076" y="1028"/>
                  </a:lnTo>
                  <a:lnTo>
                    <a:pt x="1078" y="1032"/>
                  </a:lnTo>
                  <a:lnTo>
                    <a:pt x="1088" y="1032"/>
                  </a:lnTo>
                  <a:lnTo>
                    <a:pt x="1094" y="1032"/>
                  </a:lnTo>
                  <a:lnTo>
                    <a:pt x="1094" y="1030"/>
                  </a:lnTo>
                  <a:lnTo>
                    <a:pt x="1090" y="1028"/>
                  </a:lnTo>
                  <a:lnTo>
                    <a:pt x="1084" y="1028"/>
                  </a:lnTo>
                  <a:lnTo>
                    <a:pt x="1080" y="1024"/>
                  </a:lnTo>
                  <a:lnTo>
                    <a:pt x="1076" y="1024"/>
                  </a:lnTo>
                  <a:lnTo>
                    <a:pt x="1076" y="1022"/>
                  </a:lnTo>
                  <a:lnTo>
                    <a:pt x="1076" y="1012"/>
                  </a:lnTo>
                  <a:lnTo>
                    <a:pt x="1076" y="1010"/>
                  </a:lnTo>
                  <a:lnTo>
                    <a:pt x="1080" y="1008"/>
                  </a:lnTo>
                  <a:lnTo>
                    <a:pt x="1084" y="1008"/>
                  </a:lnTo>
                  <a:lnTo>
                    <a:pt x="1086" y="1006"/>
                  </a:lnTo>
                  <a:lnTo>
                    <a:pt x="1084" y="1002"/>
                  </a:lnTo>
                  <a:lnTo>
                    <a:pt x="1084" y="1002"/>
                  </a:lnTo>
                  <a:lnTo>
                    <a:pt x="1080" y="992"/>
                  </a:lnTo>
                  <a:lnTo>
                    <a:pt x="1080" y="986"/>
                  </a:lnTo>
                  <a:lnTo>
                    <a:pt x="1078" y="984"/>
                  </a:lnTo>
                  <a:lnTo>
                    <a:pt x="1056" y="970"/>
                  </a:lnTo>
                  <a:lnTo>
                    <a:pt x="1052" y="970"/>
                  </a:lnTo>
                  <a:lnTo>
                    <a:pt x="1044" y="972"/>
                  </a:lnTo>
                  <a:lnTo>
                    <a:pt x="1044" y="974"/>
                  </a:lnTo>
                  <a:lnTo>
                    <a:pt x="1034" y="972"/>
                  </a:lnTo>
                  <a:lnTo>
                    <a:pt x="1030" y="972"/>
                  </a:lnTo>
                  <a:lnTo>
                    <a:pt x="1028" y="972"/>
                  </a:lnTo>
                  <a:lnTo>
                    <a:pt x="1026" y="968"/>
                  </a:lnTo>
                  <a:lnTo>
                    <a:pt x="1028" y="960"/>
                  </a:lnTo>
                  <a:lnTo>
                    <a:pt x="1024" y="948"/>
                  </a:lnTo>
                  <a:lnTo>
                    <a:pt x="1026" y="942"/>
                  </a:lnTo>
                  <a:lnTo>
                    <a:pt x="1028" y="940"/>
                  </a:lnTo>
                  <a:lnTo>
                    <a:pt x="1030" y="932"/>
                  </a:lnTo>
                  <a:lnTo>
                    <a:pt x="1034" y="930"/>
                  </a:lnTo>
                  <a:lnTo>
                    <a:pt x="1038" y="920"/>
                  </a:lnTo>
                  <a:lnTo>
                    <a:pt x="1038" y="918"/>
                  </a:lnTo>
                  <a:lnTo>
                    <a:pt x="1034" y="908"/>
                  </a:lnTo>
                  <a:lnTo>
                    <a:pt x="1032" y="900"/>
                  </a:lnTo>
                  <a:lnTo>
                    <a:pt x="1028" y="892"/>
                  </a:lnTo>
                  <a:lnTo>
                    <a:pt x="1024" y="886"/>
                  </a:lnTo>
                  <a:lnTo>
                    <a:pt x="1024" y="884"/>
                  </a:lnTo>
                  <a:lnTo>
                    <a:pt x="1028" y="882"/>
                  </a:lnTo>
                  <a:lnTo>
                    <a:pt x="1030" y="878"/>
                  </a:lnTo>
                  <a:lnTo>
                    <a:pt x="1030" y="874"/>
                  </a:lnTo>
                  <a:lnTo>
                    <a:pt x="1048" y="864"/>
                  </a:lnTo>
                  <a:lnTo>
                    <a:pt x="1050" y="862"/>
                  </a:lnTo>
                  <a:lnTo>
                    <a:pt x="1050" y="848"/>
                  </a:lnTo>
                  <a:lnTo>
                    <a:pt x="1050" y="844"/>
                  </a:lnTo>
                  <a:lnTo>
                    <a:pt x="1050" y="842"/>
                  </a:lnTo>
                  <a:lnTo>
                    <a:pt x="1052" y="842"/>
                  </a:lnTo>
                  <a:lnTo>
                    <a:pt x="1054" y="842"/>
                  </a:lnTo>
                  <a:lnTo>
                    <a:pt x="1056" y="846"/>
                  </a:lnTo>
                  <a:lnTo>
                    <a:pt x="1056" y="848"/>
                  </a:lnTo>
                  <a:lnTo>
                    <a:pt x="1056" y="850"/>
                  </a:lnTo>
                  <a:lnTo>
                    <a:pt x="1058" y="852"/>
                  </a:lnTo>
                  <a:lnTo>
                    <a:pt x="1056" y="854"/>
                  </a:lnTo>
                  <a:lnTo>
                    <a:pt x="1058" y="862"/>
                  </a:lnTo>
                  <a:lnTo>
                    <a:pt x="1054" y="870"/>
                  </a:lnTo>
                  <a:lnTo>
                    <a:pt x="1052" y="872"/>
                  </a:lnTo>
                  <a:lnTo>
                    <a:pt x="1054" y="874"/>
                  </a:lnTo>
                  <a:lnTo>
                    <a:pt x="1052" y="878"/>
                  </a:lnTo>
                  <a:lnTo>
                    <a:pt x="1052" y="880"/>
                  </a:lnTo>
                  <a:lnTo>
                    <a:pt x="1054" y="886"/>
                  </a:lnTo>
                  <a:lnTo>
                    <a:pt x="1054" y="890"/>
                  </a:lnTo>
                  <a:lnTo>
                    <a:pt x="1054" y="890"/>
                  </a:lnTo>
                  <a:lnTo>
                    <a:pt x="1052" y="890"/>
                  </a:lnTo>
                  <a:lnTo>
                    <a:pt x="1050" y="892"/>
                  </a:lnTo>
                  <a:lnTo>
                    <a:pt x="1054" y="896"/>
                  </a:lnTo>
                  <a:lnTo>
                    <a:pt x="1080" y="904"/>
                  </a:lnTo>
                  <a:lnTo>
                    <a:pt x="1082" y="904"/>
                  </a:lnTo>
                  <a:lnTo>
                    <a:pt x="1084" y="908"/>
                  </a:lnTo>
                  <a:lnTo>
                    <a:pt x="1084" y="908"/>
                  </a:lnTo>
                  <a:lnTo>
                    <a:pt x="1086" y="910"/>
                  </a:lnTo>
                  <a:lnTo>
                    <a:pt x="1090" y="910"/>
                  </a:lnTo>
                  <a:lnTo>
                    <a:pt x="1090" y="908"/>
                  </a:lnTo>
                  <a:lnTo>
                    <a:pt x="1088" y="906"/>
                  </a:lnTo>
                  <a:lnTo>
                    <a:pt x="1088" y="900"/>
                  </a:lnTo>
                  <a:lnTo>
                    <a:pt x="1084" y="900"/>
                  </a:lnTo>
                  <a:lnTo>
                    <a:pt x="1084" y="898"/>
                  </a:lnTo>
                  <a:lnTo>
                    <a:pt x="1084" y="896"/>
                  </a:lnTo>
                  <a:lnTo>
                    <a:pt x="1082" y="898"/>
                  </a:lnTo>
                  <a:lnTo>
                    <a:pt x="1080" y="898"/>
                  </a:lnTo>
                  <a:lnTo>
                    <a:pt x="1078" y="896"/>
                  </a:lnTo>
                  <a:lnTo>
                    <a:pt x="1076" y="896"/>
                  </a:lnTo>
                  <a:lnTo>
                    <a:pt x="1074" y="894"/>
                  </a:lnTo>
                  <a:lnTo>
                    <a:pt x="1072" y="892"/>
                  </a:lnTo>
                  <a:lnTo>
                    <a:pt x="1066" y="888"/>
                  </a:lnTo>
                  <a:lnTo>
                    <a:pt x="1066" y="888"/>
                  </a:lnTo>
                  <a:lnTo>
                    <a:pt x="1064" y="878"/>
                  </a:lnTo>
                  <a:lnTo>
                    <a:pt x="1062" y="876"/>
                  </a:lnTo>
                  <a:lnTo>
                    <a:pt x="1064" y="874"/>
                  </a:lnTo>
                  <a:lnTo>
                    <a:pt x="1066" y="874"/>
                  </a:lnTo>
                  <a:lnTo>
                    <a:pt x="1072" y="880"/>
                  </a:lnTo>
                  <a:lnTo>
                    <a:pt x="1072" y="884"/>
                  </a:lnTo>
                  <a:lnTo>
                    <a:pt x="1076" y="882"/>
                  </a:lnTo>
                  <a:lnTo>
                    <a:pt x="1080" y="880"/>
                  </a:lnTo>
                  <a:lnTo>
                    <a:pt x="1084" y="880"/>
                  </a:lnTo>
                  <a:lnTo>
                    <a:pt x="1086" y="876"/>
                  </a:lnTo>
                  <a:lnTo>
                    <a:pt x="1088" y="874"/>
                  </a:lnTo>
                  <a:lnTo>
                    <a:pt x="1084" y="872"/>
                  </a:lnTo>
                  <a:lnTo>
                    <a:pt x="1078" y="870"/>
                  </a:lnTo>
                  <a:lnTo>
                    <a:pt x="1080" y="868"/>
                  </a:lnTo>
                  <a:lnTo>
                    <a:pt x="1084" y="866"/>
                  </a:lnTo>
                  <a:lnTo>
                    <a:pt x="1088" y="862"/>
                  </a:lnTo>
                  <a:lnTo>
                    <a:pt x="1102" y="862"/>
                  </a:lnTo>
                  <a:lnTo>
                    <a:pt x="1108" y="864"/>
                  </a:lnTo>
                  <a:lnTo>
                    <a:pt x="1110" y="866"/>
                  </a:lnTo>
                  <a:lnTo>
                    <a:pt x="1120" y="872"/>
                  </a:lnTo>
                  <a:lnTo>
                    <a:pt x="1120" y="874"/>
                  </a:lnTo>
                  <a:lnTo>
                    <a:pt x="1126" y="882"/>
                  </a:lnTo>
                  <a:lnTo>
                    <a:pt x="1126" y="882"/>
                  </a:lnTo>
                  <a:lnTo>
                    <a:pt x="1130" y="884"/>
                  </a:lnTo>
                  <a:lnTo>
                    <a:pt x="1132" y="886"/>
                  </a:lnTo>
                  <a:lnTo>
                    <a:pt x="1146" y="882"/>
                  </a:lnTo>
                  <a:lnTo>
                    <a:pt x="1150" y="886"/>
                  </a:lnTo>
                  <a:lnTo>
                    <a:pt x="1150" y="888"/>
                  </a:lnTo>
                  <a:lnTo>
                    <a:pt x="1148" y="890"/>
                  </a:lnTo>
                  <a:lnTo>
                    <a:pt x="1148" y="896"/>
                  </a:lnTo>
                  <a:lnTo>
                    <a:pt x="1140" y="900"/>
                  </a:lnTo>
                  <a:lnTo>
                    <a:pt x="1140" y="902"/>
                  </a:lnTo>
                  <a:lnTo>
                    <a:pt x="1140" y="908"/>
                  </a:lnTo>
                  <a:lnTo>
                    <a:pt x="1140" y="912"/>
                  </a:lnTo>
                  <a:lnTo>
                    <a:pt x="1140" y="918"/>
                  </a:lnTo>
                  <a:lnTo>
                    <a:pt x="1142" y="918"/>
                  </a:lnTo>
                  <a:lnTo>
                    <a:pt x="1140" y="924"/>
                  </a:lnTo>
                  <a:lnTo>
                    <a:pt x="1142" y="938"/>
                  </a:lnTo>
                  <a:lnTo>
                    <a:pt x="1144" y="940"/>
                  </a:lnTo>
                  <a:lnTo>
                    <a:pt x="1154" y="942"/>
                  </a:lnTo>
                  <a:lnTo>
                    <a:pt x="1154" y="940"/>
                  </a:lnTo>
                  <a:lnTo>
                    <a:pt x="1152" y="936"/>
                  </a:lnTo>
                  <a:lnTo>
                    <a:pt x="1152" y="934"/>
                  </a:lnTo>
                  <a:lnTo>
                    <a:pt x="1154" y="934"/>
                  </a:lnTo>
                  <a:lnTo>
                    <a:pt x="1158" y="934"/>
                  </a:lnTo>
                  <a:lnTo>
                    <a:pt x="1160" y="930"/>
                  </a:lnTo>
                  <a:lnTo>
                    <a:pt x="1160" y="928"/>
                  </a:lnTo>
                  <a:lnTo>
                    <a:pt x="1156" y="910"/>
                  </a:lnTo>
                  <a:lnTo>
                    <a:pt x="1152" y="906"/>
                  </a:lnTo>
                  <a:lnTo>
                    <a:pt x="1152" y="904"/>
                  </a:lnTo>
                  <a:lnTo>
                    <a:pt x="1152" y="900"/>
                  </a:lnTo>
                  <a:lnTo>
                    <a:pt x="1152" y="898"/>
                  </a:lnTo>
                  <a:lnTo>
                    <a:pt x="1152" y="894"/>
                  </a:lnTo>
                  <a:lnTo>
                    <a:pt x="1156" y="892"/>
                  </a:lnTo>
                  <a:lnTo>
                    <a:pt x="1156" y="886"/>
                  </a:lnTo>
                  <a:lnTo>
                    <a:pt x="1152" y="878"/>
                  </a:lnTo>
                  <a:lnTo>
                    <a:pt x="1152" y="880"/>
                  </a:lnTo>
                  <a:lnTo>
                    <a:pt x="1150" y="880"/>
                  </a:lnTo>
                  <a:lnTo>
                    <a:pt x="1144" y="876"/>
                  </a:lnTo>
                  <a:lnTo>
                    <a:pt x="1142" y="874"/>
                  </a:lnTo>
                  <a:lnTo>
                    <a:pt x="1140" y="872"/>
                  </a:lnTo>
                  <a:lnTo>
                    <a:pt x="1138" y="872"/>
                  </a:lnTo>
                  <a:lnTo>
                    <a:pt x="1138" y="870"/>
                  </a:lnTo>
                  <a:lnTo>
                    <a:pt x="1140" y="868"/>
                  </a:lnTo>
                  <a:lnTo>
                    <a:pt x="1138" y="866"/>
                  </a:lnTo>
                  <a:lnTo>
                    <a:pt x="1136" y="866"/>
                  </a:lnTo>
                  <a:lnTo>
                    <a:pt x="1132" y="864"/>
                  </a:lnTo>
                  <a:lnTo>
                    <a:pt x="1124" y="862"/>
                  </a:lnTo>
                  <a:lnTo>
                    <a:pt x="1122" y="858"/>
                  </a:lnTo>
                  <a:lnTo>
                    <a:pt x="1120" y="856"/>
                  </a:lnTo>
                  <a:lnTo>
                    <a:pt x="1120" y="854"/>
                  </a:lnTo>
                  <a:lnTo>
                    <a:pt x="1120" y="852"/>
                  </a:lnTo>
                  <a:lnTo>
                    <a:pt x="1120" y="848"/>
                  </a:lnTo>
                  <a:lnTo>
                    <a:pt x="1120" y="846"/>
                  </a:lnTo>
                  <a:lnTo>
                    <a:pt x="1120" y="844"/>
                  </a:lnTo>
                  <a:lnTo>
                    <a:pt x="1120" y="842"/>
                  </a:lnTo>
                  <a:lnTo>
                    <a:pt x="1122" y="842"/>
                  </a:lnTo>
                  <a:lnTo>
                    <a:pt x="1120" y="840"/>
                  </a:lnTo>
                  <a:lnTo>
                    <a:pt x="1120" y="836"/>
                  </a:lnTo>
                  <a:lnTo>
                    <a:pt x="1118" y="836"/>
                  </a:lnTo>
                  <a:lnTo>
                    <a:pt x="1118" y="836"/>
                  </a:lnTo>
                  <a:lnTo>
                    <a:pt x="1118" y="834"/>
                  </a:lnTo>
                  <a:lnTo>
                    <a:pt x="1114" y="832"/>
                  </a:lnTo>
                  <a:lnTo>
                    <a:pt x="1116" y="830"/>
                  </a:lnTo>
                  <a:lnTo>
                    <a:pt x="1116" y="828"/>
                  </a:lnTo>
                  <a:lnTo>
                    <a:pt x="1114" y="828"/>
                  </a:lnTo>
                  <a:lnTo>
                    <a:pt x="1114" y="826"/>
                  </a:lnTo>
                  <a:lnTo>
                    <a:pt x="1114" y="826"/>
                  </a:lnTo>
                  <a:lnTo>
                    <a:pt x="1116" y="826"/>
                  </a:lnTo>
                  <a:lnTo>
                    <a:pt x="1116" y="826"/>
                  </a:lnTo>
                  <a:lnTo>
                    <a:pt x="1118" y="824"/>
                  </a:lnTo>
                  <a:lnTo>
                    <a:pt x="1118" y="822"/>
                  </a:lnTo>
                  <a:lnTo>
                    <a:pt x="1118" y="822"/>
                  </a:lnTo>
                  <a:lnTo>
                    <a:pt x="1118" y="822"/>
                  </a:lnTo>
                  <a:lnTo>
                    <a:pt x="1116" y="822"/>
                  </a:lnTo>
                  <a:lnTo>
                    <a:pt x="1116" y="822"/>
                  </a:lnTo>
                  <a:lnTo>
                    <a:pt x="1116" y="820"/>
                  </a:lnTo>
                  <a:lnTo>
                    <a:pt x="1118" y="818"/>
                  </a:lnTo>
                  <a:lnTo>
                    <a:pt x="1120" y="818"/>
                  </a:lnTo>
                  <a:lnTo>
                    <a:pt x="1120" y="818"/>
                  </a:lnTo>
                  <a:lnTo>
                    <a:pt x="1124" y="818"/>
                  </a:lnTo>
                  <a:lnTo>
                    <a:pt x="1124" y="818"/>
                  </a:lnTo>
                  <a:lnTo>
                    <a:pt x="1124" y="816"/>
                  </a:lnTo>
                  <a:lnTo>
                    <a:pt x="1130" y="814"/>
                  </a:lnTo>
                  <a:lnTo>
                    <a:pt x="1134" y="816"/>
                  </a:lnTo>
                  <a:lnTo>
                    <a:pt x="1138" y="814"/>
                  </a:lnTo>
                  <a:lnTo>
                    <a:pt x="1140" y="816"/>
                  </a:lnTo>
                  <a:lnTo>
                    <a:pt x="1162" y="810"/>
                  </a:lnTo>
                  <a:lnTo>
                    <a:pt x="1162" y="810"/>
                  </a:lnTo>
                  <a:lnTo>
                    <a:pt x="1162" y="812"/>
                  </a:lnTo>
                  <a:lnTo>
                    <a:pt x="1166" y="812"/>
                  </a:lnTo>
                  <a:lnTo>
                    <a:pt x="1168" y="810"/>
                  </a:lnTo>
                  <a:lnTo>
                    <a:pt x="1168" y="808"/>
                  </a:lnTo>
                  <a:lnTo>
                    <a:pt x="1170" y="808"/>
                  </a:lnTo>
                  <a:lnTo>
                    <a:pt x="1172" y="808"/>
                  </a:lnTo>
                  <a:lnTo>
                    <a:pt x="1176" y="806"/>
                  </a:lnTo>
                  <a:lnTo>
                    <a:pt x="1180" y="804"/>
                  </a:lnTo>
                  <a:lnTo>
                    <a:pt x="1182" y="804"/>
                  </a:lnTo>
                  <a:lnTo>
                    <a:pt x="1182" y="802"/>
                  </a:lnTo>
                  <a:lnTo>
                    <a:pt x="1180" y="802"/>
                  </a:lnTo>
                  <a:lnTo>
                    <a:pt x="1180" y="802"/>
                  </a:lnTo>
                  <a:lnTo>
                    <a:pt x="1180" y="800"/>
                  </a:lnTo>
                  <a:lnTo>
                    <a:pt x="1180" y="800"/>
                  </a:lnTo>
                  <a:lnTo>
                    <a:pt x="1180" y="798"/>
                  </a:lnTo>
                  <a:lnTo>
                    <a:pt x="1182" y="800"/>
                  </a:lnTo>
                  <a:lnTo>
                    <a:pt x="1184" y="798"/>
                  </a:lnTo>
                  <a:lnTo>
                    <a:pt x="1182" y="798"/>
                  </a:lnTo>
                  <a:lnTo>
                    <a:pt x="1180" y="796"/>
                  </a:lnTo>
                  <a:lnTo>
                    <a:pt x="1180" y="792"/>
                  </a:lnTo>
                  <a:lnTo>
                    <a:pt x="1172" y="790"/>
                  </a:lnTo>
                  <a:lnTo>
                    <a:pt x="1170" y="790"/>
                  </a:lnTo>
                  <a:lnTo>
                    <a:pt x="1170" y="788"/>
                  </a:lnTo>
                  <a:lnTo>
                    <a:pt x="1170" y="788"/>
                  </a:lnTo>
                  <a:lnTo>
                    <a:pt x="1172" y="786"/>
                  </a:lnTo>
                  <a:lnTo>
                    <a:pt x="1172" y="786"/>
                  </a:lnTo>
                  <a:lnTo>
                    <a:pt x="1174" y="784"/>
                  </a:lnTo>
                  <a:lnTo>
                    <a:pt x="1174" y="784"/>
                  </a:lnTo>
                  <a:lnTo>
                    <a:pt x="1178" y="784"/>
                  </a:lnTo>
                  <a:lnTo>
                    <a:pt x="1178" y="784"/>
                  </a:lnTo>
                  <a:lnTo>
                    <a:pt x="1176" y="782"/>
                  </a:lnTo>
                  <a:lnTo>
                    <a:pt x="1176" y="782"/>
                  </a:lnTo>
                  <a:lnTo>
                    <a:pt x="1178" y="780"/>
                  </a:lnTo>
                  <a:lnTo>
                    <a:pt x="1174" y="780"/>
                  </a:lnTo>
                  <a:lnTo>
                    <a:pt x="1174" y="778"/>
                  </a:lnTo>
                  <a:lnTo>
                    <a:pt x="1168" y="778"/>
                  </a:lnTo>
                  <a:lnTo>
                    <a:pt x="1168" y="778"/>
                  </a:lnTo>
                  <a:lnTo>
                    <a:pt x="1168" y="778"/>
                  </a:lnTo>
                  <a:lnTo>
                    <a:pt x="1168" y="776"/>
                  </a:lnTo>
                  <a:lnTo>
                    <a:pt x="1170" y="774"/>
                  </a:lnTo>
                  <a:lnTo>
                    <a:pt x="1168" y="772"/>
                  </a:lnTo>
                  <a:lnTo>
                    <a:pt x="1168" y="772"/>
                  </a:lnTo>
                  <a:lnTo>
                    <a:pt x="1172" y="772"/>
                  </a:lnTo>
                  <a:lnTo>
                    <a:pt x="1172" y="774"/>
                  </a:lnTo>
                  <a:lnTo>
                    <a:pt x="1176" y="776"/>
                  </a:lnTo>
                  <a:lnTo>
                    <a:pt x="1178" y="778"/>
                  </a:lnTo>
                  <a:lnTo>
                    <a:pt x="1178" y="776"/>
                  </a:lnTo>
                  <a:lnTo>
                    <a:pt x="1178" y="776"/>
                  </a:lnTo>
                  <a:lnTo>
                    <a:pt x="1178" y="774"/>
                  </a:lnTo>
                  <a:lnTo>
                    <a:pt x="1178" y="774"/>
                  </a:lnTo>
                  <a:lnTo>
                    <a:pt x="1182" y="766"/>
                  </a:lnTo>
                  <a:lnTo>
                    <a:pt x="1180" y="766"/>
                  </a:lnTo>
                  <a:lnTo>
                    <a:pt x="1182" y="764"/>
                  </a:lnTo>
                  <a:lnTo>
                    <a:pt x="1182" y="766"/>
                  </a:lnTo>
                  <a:lnTo>
                    <a:pt x="1184" y="766"/>
                  </a:lnTo>
                  <a:lnTo>
                    <a:pt x="1186" y="764"/>
                  </a:lnTo>
                  <a:lnTo>
                    <a:pt x="1186" y="764"/>
                  </a:lnTo>
                  <a:lnTo>
                    <a:pt x="1182" y="764"/>
                  </a:lnTo>
                  <a:lnTo>
                    <a:pt x="1178" y="762"/>
                  </a:lnTo>
                  <a:lnTo>
                    <a:pt x="1180" y="760"/>
                  </a:lnTo>
                  <a:lnTo>
                    <a:pt x="1186" y="760"/>
                  </a:lnTo>
                  <a:lnTo>
                    <a:pt x="1186" y="762"/>
                  </a:lnTo>
                  <a:lnTo>
                    <a:pt x="1188" y="760"/>
                  </a:lnTo>
                  <a:lnTo>
                    <a:pt x="1188" y="760"/>
                  </a:lnTo>
                  <a:lnTo>
                    <a:pt x="1188" y="758"/>
                  </a:lnTo>
                  <a:lnTo>
                    <a:pt x="1188" y="758"/>
                  </a:lnTo>
                  <a:lnTo>
                    <a:pt x="1190" y="756"/>
                  </a:lnTo>
                  <a:lnTo>
                    <a:pt x="1192" y="752"/>
                  </a:lnTo>
                  <a:lnTo>
                    <a:pt x="1194" y="752"/>
                  </a:lnTo>
                  <a:lnTo>
                    <a:pt x="1194" y="750"/>
                  </a:lnTo>
                  <a:lnTo>
                    <a:pt x="1196" y="750"/>
                  </a:lnTo>
                  <a:lnTo>
                    <a:pt x="1196" y="748"/>
                  </a:lnTo>
                  <a:lnTo>
                    <a:pt x="1194" y="748"/>
                  </a:lnTo>
                  <a:lnTo>
                    <a:pt x="1196" y="748"/>
                  </a:lnTo>
                  <a:lnTo>
                    <a:pt x="1198" y="746"/>
                  </a:lnTo>
                  <a:lnTo>
                    <a:pt x="1198" y="746"/>
                  </a:lnTo>
                  <a:lnTo>
                    <a:pt x="1202" y="748"/>
                  </a:lnTo>
                  <a:lnTo>
                    <a:pt x="1204" y="744"/>
                  </a:lnTo>
                  <a:lnTo>
                    <a:pt x="1206" y="744"/>
                  </a:lnTo>
                  <a:lnTo>
                    <a:pt x="1204" y="742"/>
                  </a:lnTo>
                  <a:lnTo>
                    <a:pt x="1206" y="740"/>
                  </a:lnTo>
                  <a:lnTo>
                    <a:pt x="1210" y="740"/>
                  </a:lnTo>
                  <a:lnTo>
                    <a:pt x="1212" y="738"/>
                  </a:lnTo>
                  <a:lnTo>
                    <a:pt x="1214" y="738"/>
                  </a:lnTo>
                  <a:lnTo>
                    <a:pt x="1218" y="736"/>
                  </a:lnTo>
                  <a:lnTo>
                    <a:pt x="1220" y="736"/>
                  </a:lnTo>
                  <a:lnTo>
                    <a:pt x="1220" y="736"/>
                  </a:lnTo>
                  <a:lnTo>
                    <a:pt x="1218" y="734"/>
                  </a:lnTo>
                  <a:lnTo>
                    <a:pt x="1220" y="734"/>
                  </a:lnTo>
                  <a:lnTo>
                    <a:pt x="1220" y="734"/>
                  </a:lnTo>
                  <a:lnTo>
                    <a:pt x="1234" y="726"/>
                  </a:lnTo>
                  <a:lnTo>
                    <a:pt x="1236" y="724"/>
                  </a:lnTo>
                  <a:lnTo>
                    <a:pt x="1234" y="724"/>
                  </a:lnTo>
                  <a:lnTo>
                    <a:pt x="1234" y="722"/>
                  </a:lnTo>
                  <a:lnTo>
                    <a:pt x="1234" y="724"/>
                  </a:lnTo>
                  <a:lnTo>
                    <a:pt x="1234" y="724"/>
                  </a:lnTo>
                  <a:lnTo>
                    <a:pt x="1234" y="724"/>
                  </a:lnTo>
                  <a:lnTo>
                    <a:pt x="1232" y="724"/>
                  </a:lnTo>
                  <a:lnTo>
                    <a:pt x="1232" y="722"/>
                  </a:lnTo>
                  <a:lnTo>
                    <a:pt x="1230" y="724"/>
                  </a:lnTo>
                  <a:lnTo>
                    <a:pt x="1228" y="724"/>
                  </a:lnTo>
                  <a:lnTo>
                    <a:pt x="1228" y="720"/>
                  </a:lnTo>
                  <a:lnTo>
                    <a:pt x="1228" y="720"/>
                  </a:lnTo>
                  <a:lnTo>
                    <a:pt x="1230" y="722"/>
                  </a:lnTo>
                  <a:lnTo>
                    <a:pt x="1232" y="720"/>
                  </a:lnTo>
                  <a:lnTo>
                    <a:pt x="1232" y="718"/>
                  </a:lnTo>
                  <a:lnTo>
                    <a:pt x="1232" y="720"/>
                  </a:lnTo>
                  <a:lnTo>
                    <a:pt x="1232" y="720"/>
                  </a:lnTo>
                  <a:lnTo>
                    <a:pt x="1236" y="718"/>
                  </a:lnTo>
                  <a:lnTo>
                    <a:pt x="1236" y="718"/>
                  </a:lnTo>
                  <a:lnTo>
                    <a:pt x="1234" y="718"/>
                  </a:lnTo>
                  <a:lnTo>
                    <a:pt x="1236" y="718"/>
                  </a:lnTo>
                  <a:lnTo>
                    <a:pt x="1240" y="716"/>
                  </a:lnTo>
                  <a:lnTo>
                    <a:pt x="1242" y="718"/>
                  </a:lnTo>
                  <a:lnTo>
                    <a:pt x="1242" y="716"/>
                  </a:lnTo>
                  <a:lnTo>
                    <a:pt x="1242" y="714"/>
                  </a:lnTo>
                  <a:lnTo>
                    <a:pt x="1248" y="714"/>
                  </a:lnTo>
                  <a:lnTo>
                    <a:pt x="1248" y="714"/>
                  </a:lnTo>
                  <a:lnTo>
                    <a:pt x="1250" y="712"/>
                  </a:lnTo>
                  <a:lnTo>
                    <a:pt x="1254" y="712"/>
                  </a:lnTo>
                  <a:lnTo>
                    <a:pt x="1258" y="712"/>
                  </a:lnTo>
                  <a:lnTo>
                    <a:pt x="1258" y="716"/>
                  </a:lnTo>
                  <a:lnTo>
                    <a:pt x="1254" y="720"/>
                  </a:lnTo>
                  <a:lnTo>
                    <a:pt x="1256" y="722"/>
                  </a:lnTo>
                  <a:lnTo>
                    <a:pt x="1258" y="720"/>
                  </a:lnTo>
                  <a:lnTo>
                    <a:pt x="1258" y="718"/>
                  </a:lnTo>
                  <a:lnTo>
                    <a:pt x="1260" y="716"/>
                  </a:lnTo>
                  <a:lnTo>
                    <a:pt x="1262" y="716"/>
                  </a:lnTo>
                  <a:lnTo>
                    <a:pt x="1262" y="716"/>
                  </a:lnTo>
                  <a:lnTo>
                    <a:pt x="1264" y="716"/>
                  </a:lnTo>
                  <a:lnTo>
                    <a:pt x="1264" y="716"/>
                  </a:lnTo>
                  <a:lnTo>
                    <a:pt x="1262" y="720"/>
                  </a:lnTo>
                  <a:lnTo>
                    <a:pt x="1264" y="720"/>
                  </a:lnTo>
                  <a:lnTo>
                    <a:pt x="1266" y="718"/>
                  </a:lnTo>
                  <a:lnTo>
                    <a:pt x="1266" y="716"/>
                  </a:lnTo>
                  <a:lnTo>
                    <a:pt x="1268" y="714"/>
                  </a:lnTo>
                  <a:lnTo>
                    <a:pt x="1268" y="714"/>
                  </a:lnTo>
                  <a:lnTo>
                    <a:pt x="1268" y="714"/>
                  </a:lnTo>
                  <a:lnTo>
                    <a:pt x="1268" y="716"/>
                  </a:lnTo>
                  <a:lnTo>
                    <a:pt x="1270" y="714"/>
                  </a:lnTo>
                  <a:lnTo>
                    <a:pt x="1274" y="714"/>
                  </a:lnTo>
                  <a:lnTo>
                    <a:pt x="1274" y="712"/>
                  </a:lnTo>
                  <a:lnTo>
                    <a:pt x="1274" y="712"/>
                  </a:lnTo>
                  <a:lnTo>
                    <a:pt x="1272" y="712"/>
                  </a:lnTo>
                  <a:lnTo>
                    <a:pt x="1272" y="712"/>
                  </a:lnTo>
                  <a:lnTo>
                    <a:pt x="1272" y="710"/>
                  </a:lnTo>
                  <a:lnTo>
                    <a:pt x="1274" y="708"/>
                  </a:lnTo>
                  <a:lnTo>
                    <a:pt x="1274" y="710"/>
                  </a:lnTo>
                  <a:lnTo>
                    <a:pt x="1274" y="708"/>
                  </a:lnTo>
                  <a:lnTo>
                    <a:pt x="1274" y="708"/>
                  </a:lnTo>
                  <a:lnTo>
                    <a:pt x="1274" y="706"/>
                  </a:lnTo>
                  <a:lnTo>
                    <a:pt x="1278" y="702"/>
                  </a:lnTo>
                  <a:lnTo>
                    <a:pt x="1278" y="700"/>
                  </a:lnTo>
                  <a:lnTo>
                    <a:pt x="1280" y="702"/>
                  </a:lnTo>
                  <a:lnTo>
                    <a:pt x="1282" y="702"/>
                  </a:lnTo>
                  <a:lnTo>
                    <a:pt x="1282" y="702"/>
                  </a:lnTo>
                  <a:lnTo>
                    <a:pt x="1282" y="704"/>
                  </a:lnTo>
                  <a:lnTo>
                    <a:pt x="1284" y="704"/>
                  </a:lnTo>
                  <a:lnTo>
                    <a:pt x="1286" y="704"/>
                  </a:lnTo>
                  <a:lnTo>
                    <a:pt x="1288" y="704"/>
                  </a:lnTo>
                  <a:lnTo>
                    <a:pt x="1288" y="706"/>
                  </a:lnTo>
                  <a:lnTo>
                    <a:pt x="1290" y="706"/>
                  </a:lnTo>
                  <a:lnTo>
                    <a:pt x="1290" y="704"/>
                  </a:lnTo>
                  <a:lnTo>
                    <a:pt x="1290" y="702"/>
                  </a:lnTo>
                  <a:lnTo>
                    <a:pt x="1290" y="700"/>
                  </a:lnTo>
                  <a:lnTo>
                    <a:pt x="1288" y="698"/>
                  </a:lnTo>
                  <a:lnTo>
                    <a:pt x="1288" y="698"/>
                  </a:lnTo>
                  <a:lnTo>
                    <a:pt x="1284" y="700"/>
                  </a:lnTo>
                  <a:lnTo>
                    <a:pt x="1284" y="698"/>
                  </a:lnTo>
                  <a:lnTo>
                    <a:pt x="1282" y="696"/>
                  </a:lnTo>
                  <a:lnTo>
                    <a:pt x="1280" y="698"/>
                  </a:lnTo>
                  <a:lnTo>
                    <a:pt x="1280" y="696"/>
                  </a:lnTo>
                  <a:lnTo>
                    <a:pt x="1278" y="694"/>
                  </a:lnTo>
                  <a:lnTo>
                    <a:pt x="1278" y="694"/>
                  </a:lnTo>
                  <a:lnTo>
                    <a:pt x="1276" y="694"/>
                  </a:lnTo>
                  <a:lnTo>
                    <a:pt x="1286" y="692"/>
                  </a:lnTo>
                  <a:lnTo>
                    <a:pt x="1288" y="690"/>
                  </a:lnTo>
                  <a:lnTo>
                    <a:pt x="1290" y="690"/>
                  </a:lnTo>
                  <a:lnTo>
                    <a:pt x="1296" y="686"/>
                  </a:lnTo>
                  <a:lnTo>
                    <a:pt x="1296" y="684"/>
                  </a:lnTo>
                  <a:lnTo>
                    <a:pt x="1296" y="684"/>
                  </a:lnTo>
                  <a:lnTo>
                    <a:pt x="1294" y="680"/>
                  </a:lnTo>
                  <a:lnTo>
                    <a:pt x="1294" y="682"/>
                  </a:lnTo>
                  <a:lnTo>
                    <a:pt x="1296" y="682"/>
                  </a:lnTo>
                  <a:lnTo>
                    <a:pt x="1296" y="682"/>
                  </a:lnTo>
                  <a:lnTo>
                    <a:pt x="1296" y="680"/>
                  </a:lnTo>
                  <a:lnTo>
                    <a:pt x="1294" y="678"/>
                  </a:lnTo>
                  <a:lnTo>
                    <a:pt x="1292" y="678"/>
                  </a:lnTo>
                  <a:lnTo>
                    <a:pt x="1290" y="678"/>
                  </a:lnTo>
                  <a:lnTo>
                    <a:pt x="1290" y="676"/>
                  </a:lnTo>
                  <a:lnTo>
                    <a:pt x="1290" y="676"/>
                  </a:lnTo>
                  <a:lnTo>
                    <a:pt x="1290" y="674"/>
                  </a:lnTo>
                  <a:lnTo>
                    <a:pt x="1290" y="672"/>
                  </a:lnTo>
                  <a:lnTo>
                    <a:pt x="1290" y="672"/>
                  </a:lnTo>
                  <a:lnTo>
                    <a:pt x="1290" y="670"/>
                  </a:lnTo>
                  <a:lnTo>
                    <a:pt x="1290" y="670"/>
                  </a:lnTo>
                  <a:lnTo>
                    <a:pt x="1290" y="668"/>
                  </a:lnTo>
                  <a:lnTo>
                    <a:pt x="1292" y="662"/>
                  </a:lnTo>
                  <a:lnTo>
                    <a:pt x="1290" y="660"/>
                  </a:lnTo>
                  <a:lnTo>
                    <a:pt x="1292" y="656"/>
                  </a:lnTo>
                  <a:lnTo>
                    <a:pt x="1294" y="648"/>
                  </a:lnTo>
                  <a:lnTo>
                    <a:pt x="1296" y="646"/>
                  </a:lnTo>
                  <a:lnTo>
                    <a:pt x="1296" y="644"/>
                  </a:lnTo>
                  <a:lnTo>
                    <a:pt x="1298" y="644"/>
                  </a:lnTo>
                  <a:lnTo>
                    <a:pt x="1300" y="642"/>
                  </a:lnTo>
                  <a:lnTo>
                    <a:pt x="1300" y="640"/>
                  </a:lnTo>
                  <a:lnTo>
                    <a:pt x="1300" y="638"/>
                  </a:lnTo>
                  <a:lnTo>
                    <a:pt x="1302" y="638"/>
                  </a:lnTo>
                  <a:lnTo>
                    <a:pt x="1304" y="638"/>
                  </a:lnTo>
                  <a:lnTo>
                    <a:pt x="1304" y="638"/>
                  </a:lnTo>
                  <a:lnTo>
                    <a:pt x="1304" y="640"/>
                  </a:lnTo>
                  <a:lnTo>
                    <a:pt x="1306" y="640"/>
                  </a:lnTo>
                  <a:lnTo>
                    <a:pt x="1306" y="638"/>
                  </a:lnTo>
                  <a:lnTo>
                    <a:pt x="1310" y="640"/>
                  </a:lnTo>
                  <a:lnTo>
                    <a:pt x="1314" y="640"/>
                  </a:lnTo>
                  <a:lnTo>
                    <a:pt x="1316" y="640"/>
                  </a:lnTo>
                  <a:lnTo>
                    <a:pt x="1316" y="638"/>
                  </a:lnTo>
                  <a:lnTo>
                    <a:pt x="1318" y="638"/>
                  </a:lnTo>
                  <a:lnTo>
                    <a:pt x="1322" y="644"/>
                  </a:lnTo>
                  <a:lnTo>
                    <a:pt x="1324" y="644"/>
                  </a:lnTo>
                  <a:lnTo>
                    <a:pt x="1322" y="644"/>
                  </a:lnTo>
                  <a:lnTo>
                    <a:pt x="1320" y="646"/>
                  </a:lnTo>
                  <a:lnTo>
                    <a:pt x="1320" y="646"/>
                  </a:lnTo>
                  <a:lnTo>
                    <a:pt x="1320" y="648"/>
                  </a:lnTo>
                  <a:lnTo>
                    <a:pt x="1320" y="650"/>
                  </a:lnTo>
                  <a:lnTo>
                    <a:pt x="1318" y="652"/>
                  </a:lnTo>
                  <a:lnTo>
                    <a:pt x="1318" y="658"/>
                  </a:lnTo>
                  <a:lnTo>
                    <a:pt x="1316" y="658"/>
                  </a:lnTo>
                  <a:lnTo>
                    <a:pt x="1316" y="662"/>
                  </a:lnTo>
                  <a:lnTo>
                    <a:pt x="1322" y="656"/>
                  </a:lnTo>
                  <a:lnTo>
                    <a:pt x="1326" y="654"/>
                  </a:lnTo>
                  <a:lnTo>
                    <a:pt x="1324" y="652"/>
                  </a:lnTo>
                  <a:lnTo>
                    <a:pt x="1326" y="654"/>
                  </a:lnTo>
                  <a:lnTo>
                    <a:pt x="1326" y="656"/>
                  </a:lnTo>
                  <a:lnTo>
                    <a:pt x="1328" y="654"/>
                  </a:lnTo>
                  <a:lnTo>
                    <a:pt x="1330" y="654"/>
                  </a:lnTo>
                  <a:lnTo>
                    <a:pt x="1330" y="654"/>
                  </a:lnTo>
                  <a:lnTo>
                    <a:pt x="1332" y="652"/>
                  </a:lnTo>
                  <a:lnTo>
                    <a:pt x="1334" y="654"/>
                  </a:lnTo>
                  <a:lnTo>
                    <a:pt x="1334" y="652"/>
                  </a:lnTo>
                  <a:lnTo>
                    <a:pt x="1340" y="652"/>
                  </a:lnTo>
                  <a:lnTo>
                    <a:pt x="1340" y="652"/>
                  </a:lnTo>
                  <a:lnTo>
                    <a:pt x="1340" y="654"/>
                  </a:lnTo>
                  <a:lnTo>
                    <a:pt x="1342" y="654"/>
                  </a:lnTo>
                  <a:lnTo>
                    <a:pt x="1342" y="654"/>
                  </a:lnTo>
                  <a:lnTo>
                    <a:pt x="1340" y="656"/>
                  </a:lnTo>
                  <a:lnTo>
                    <a:pt x="1340" y="656"/>
                  </a:lnTo>
                  <a:lnTo>
                    <a:pt x="1342" y="656"/>
                  </a:lnTo>
                  <a:lnTo>
                    <a:pt x="1342" y="656"/>
                  </a:lnTo>
                  <a:lnTo>
                    <a:pt x="1342" y="660"/>
                  </a:lnTo>
                  <a:lnTo>
                    <a:pt x="1340" y="662"/>
                  </a:lnTo>
                  <a:lnTo>
                    <a:pt x="1340" y="664"/>
                  </a:lnTo>
                  <a:lnTo>
                    <a:pt x="1340" y="666"/>
                  </a:lnTo>
                  <a:lnTo>
                    <a:pt x="1342" y="670"/>
                  </a:lnTo>
                  <a:lnTo>
                    <a:pt x="1340" y="670"/>
                  </a:lnTo>
                  <a:lnTo>
                    <a:pt x="1338" y="672"/>
                  </a:lnTo>
                  <a:lnTo>
                    <a:pt x="1340" y="672"/>
                  </a:lnTo>
                  <a:lnTo>
                    <a:pt x="1340" y="672"/>
                  </a:lnTo>
                  <a:lnTo>
                    <a:pt x="1342" y="672"/>
                  </a:lnTo>
                  <a:lnTo>
                    <a:pt x="1346" y="672"/>
                  </a:lnTo>
                  <a:lnTo>
                    <a:pt x="1346" y="670"/>
                  </a:lnTo>
                  <a:lnTo>
                    <a:pt x="1350" y="668"/>
                  </a:lnTo>
                  <a:lnTo>
                    <a:pt x="1350" y="668"/>
                  </a:lnTo>
                  <a:lnTo>
                    <a:pt x="1350" y="668"/>
                  </a:lnTo>
                  <a:lnTo>
                    <a:pt x="1352" y="666"/>
                  </a:lnTo>
                  <a:lnTo>
                    <a:pt x="1352" y="664"/>
                  </a:lnTo>
                  <a:lnTo>
                    <a:pt x="1350" y="662"/>
                  </a:lnTo>
                  <a:lnTo>
                    <a:pt x="1352" y="662"/>
                  </a:lnTo>
                  <a:lnTo>
                    <a:pt x="1352" y="660"/>
                  </a:lnTo>
                  <a:lnTo>
                    <a:pt x="1350" y="662"/>
                  </a:lnTo>
                  <a:lnTo>
                    <a:pt x="1350" y="658"/>
                  </a:lnTo>
                  <a:lnTo>
                    <a:pt x="1350" y="658"/>
                  </a:lnTo>
                  <a:lnTo>
                    <a:pt x="1350" y="656"/>
                  </a:lnTo>
                  <a:lnTo>
                    <a:pt x="1352" y="656"/>
                  </a:lnTo>
                  <a:lnTo>
                    <a:pt x="1352" y="656"/>
                  </a:lnTo>
                  <a:lnTo>
                    <a:pt x="1352" y="658"/>
                  </a:lnTo>
                  <a:lnTo>
                    <a:pt x="1352" y="658"/>
                  </a:lnTo>
                  <a:lnTo>
                    <a:pt x="1354" y="656"/>
                  </a:lnTo>
                  <a:lnTo>
                    <a:pt x="1354" y="658"/>
                  </a:lnTo>
                  <a:lnTo>
                    <a:pt x="1358" y="654"/>
                  </a:lnTo>
                  <a:lnTo>
                    <a:pt x="1360" y="654"/>
                  </a:lnTo>
                  <a:lnTo>
                    <a:pt x="1360" y="652"/>
                  </a:lnTo>
                  <a:lnTo>
                    <a:pt x="1364" y="654"/>
                  </a:lnTo>
                  <a:lnTo>
                    <a:pt x="1366" y="652"/>
                  </a:lnTo>
                  <a:lnTo>
                    <a:pt x="1366" y="652"/>
                  </a:lnTo>
                  <a:lnTo>
                    <a:pt x="1368" y="650"/>
                  </a:lnTo>
                  <a:lnTo>
                    <a:pt x="1372" y="648"/>
                  </a:lnTo>
                  <a:lnTo>
                    <a:pt x="1374" y="646"/>
                  </a:lnTo>
                  <a:lnTo>
                    <a:pt x="1376" y="648"/>
                  </a:lnTo>
                  <a:lnTo>
                    <a:pt x="1376" y="648"/>
                  </a:lnTo>
                  <a:lnTo>
                    <a:pt x="1376" y="648"/>
                  </a:lnTo>
                  <a:lnTo>
                    <a:pt x="1378" y="646"/>
                  </a:lnTo>
                  <a:lnTo>
                    <a:pt x="1380" y="648"/>
                  </a:lnTo>
                  <a:lnTo>
                    <a:pt x="1380" y="648"/>
                  </a:lnTo>
                  <a:lnTo>
                    <a:pt x="1384" y="648"/>
                  </a:lnTo>
                  <a:lnTo>
                    <a:pt x="1388" y="650"/>
                  </a:lnTo>
                  <a:lnTo>
                    <a:pt x="1388" y="652"/>
                  </a:lnTo>
                  <a:lnTo>
                    <a:pt x="1390" y="652"/>
                  </a:lnTo>
                  <a:lnTo>
                    <a:pt x="1396" y="652"/>
                  </a:lnTo>
                  <a:lnTo>
                    <a:pt x="1396" y="656"/>
                  </a:lnTo>
                  <a:lnTo>
                    <a:pt x="1396" y="656"/>
                  </a:lnTo>
                  <a:lnTo>
                    <a:pt x="1398" y="658"/>
                  </a:lnTo>
                  <a:lnTo>
                    <a:pt x="1402" y="660"/>
                  </a:lnTo>
                  <a:lnTo>
                    <a:pt x="1402" y="660"/>
                  </a:lnTo>
                  <a:lnTo>
                    <a:pt x="1402" y="658"/>
                  </a:lnTo>
                  <a:lnTo>
                    <a:pt x="1402" y="656"/>
                  </a:lnTo>
                  <a:lnTo>
                    <a:pt x="1400" y="654"/>
                  </a:lnTo>
                  <a:lnTo>
                    <a:pt x="1400" y="654"/>
                  </a:lnTo>
                  <a:lnTo>
                    <a:pt x="1406" y="656"/>
                  </a:lnTo>
                  <a:lnTo>
                    <a:pt x="1406" y="658"/>
                  </a:lnTo>
                  <a:lnTo>
                    <a:pt x="1410" y="662"/>
                  </a:lnTo>
                  <a:lnTo>
                    <a:pt x="1412" y="662"/>
                  </a:lnTo>
                  <a:lnTo>
                    <a:pt x="1412" y="660"/>
                  </a:lnTo>
                  <a:lnTo>
                    <a:pt x="1416" y="664"/>
                  </a:lnTo>
                  <a:lnTo>
                    <a:pt x="1418" y="672"/>
                  </a:lnTo>
                  <a:lnTo>
                    <a:pt x="1416" y="672"/>
                  </a:lnTo>
                  <a:lnTo>
                    <a:pt x="1416" y="670"/>
                  </a:lnTo>
                  <a:lnTo>
                    <a:pt x="1410" y="670"/>
                  </a:lnTo>
                  <a:lnTo>
                    <a:pt x="1406" y="668"/>
                  </a:lnTo>
                  <a:lnTo>
                    <a:pt x="1404" y="668"/>
                  </a:lnTo>
                  <a:lnTo>
                    <a:pt x="1404" y="670"/>
                  </a:lnTo>
                  <a:lnTo>
                    <a:pt x="1406" y="670"/>
                  </a:lnTo>
                  <a:lnTo>
                    <a:pt x="1408" y="670"/>
                  </a:lnTo>
                  <a:lnTo>
                    <a:pt x="1408" y="672"/>
                  </a:lnTo>
                  <a:lnTo>
                    <a:pt x="1410" y="674"/>
                  </a:lnTo>
                  <a:lnTo>
                    <a:pt x="1412" y="674"/>
                  </a:lnTo>
                  <a:lnTo>
                    <a:pt x="1414" y="674"/>
                  </a:lnTo>
                  <a:lnTo>
                    <a:pt x="1414" y="674"/>
                  </a:lnTo>
                  <a:lnTo>
                    <a:pt x="1412" y="672"/>
                  </a:lnTo>
                  <a:lnTo>
                    <a:pt x="1414" y="672"/>
                  </a:lnTo>
                  <a:lnTo>
                    <a:pt x="1416" y="674"/>
                  </a:lnTo>
                  <a:lnTo>
                    <a:pt x="1418" y="674"/>
                  </a:lnTo>
                  <a:lnTo>
                    <a:pt x="1420" y="672"/>
                  </a:lnTo>
                  <a:lnTo>
                    <a:pt x="1422" y="676"/>
                  </a:lnTo>
                  <a:lnTo>
                    <a:pt x="1422" y="676"/>
                  </a:lnTo>
                  <a:lnTo>
                    <a:pt x="1424" y="678"/>
                  </a:lnTo>
                  <a:lnTo>
                    <a:pt x="1424" y="678"/>
                  </a:lnTo>
                  <a:lnTo>
                    <a:pt x="1426" y="680"/>
                  </a:lnTo>
                  <a:lnTo>
                    <a:pt x="1426" y="682"/>
                  </a:lnTo>
                  <a:lnTo>
                    <a:pt x="1426" y="682"/>
                  </a:lnTo>
                  <a:lnTo>
                    <a:pt x="1426" y="686"/>
                  </a:lnTo>
                  <a:lnTo>
                    <a:pt x="1426" y="686"/>
                  </a:lnTo>
                  <a:lnTo>
                    <a:pt x="1426" y="688"/>
                  </a:lnTo>
                  <a:lnTo>
                    <a:pt x="1426" y="690"/>
                  </a:lnTo>
                  <a:lnTo>
                    <a:pt x="1424" y="692"/>
                  </a:lnTo>
                  <a:lnTo>
                    <a:pt x="1424" y="694"/>
                  </a:lnTo>
                  <a:lnTo>
                    <a:pt x="1426" y="694"/>
                  </a:lnTo>
                  <a:lnTo>
                    <a:pt x="1426" y="696"/>
                  </a:lnTo>
                  <a:lnTo>
                    <a:pt x="1424" y="696"/>
                  </a:lnTo>
                  <a:lnTo>
                    <a:pt x="1424" y="698"/>
                  </a:lnTo>
                  <a:lnTo>
                    <a:pt x="1424" y="696"/>
                  </a:lnTo>
                  <a:lnTo>
                    <a:pt x="1422" y="700"/>
                  </a:lnTo>
                  <a:lnTo>
                    <a:pt x="1422" y="702"/>
                  </a:lnTo>
                  <a:lnTo>
                    <a:pt x="1424" y="700"/>
                  </a:lnTo>
                  <a:lnTo>
                    <a:pt x="1420" y="704"/>
                  </a:lnTo>
                  <a:lnTo>
                    <a:pt x="1422" y="706"/>
                  </a:lnTo>
                  <a:lnTo>
                    <a:pt x="1422" y="708"/>
                  </a:lnTo>
                  <a:lnTo>
                    <a:pt x="1422" y="708"/>
                  </a:lnTo>
                  <a:lnTo>
                    <a:pt x="1418" y="708"/>
                  </a:lnTo>
                  <a:lnTo>
                    <a:pt x="1418" y="712"/>
                  </a:lnTo>
                  <a:lnTo>
                    <a:pt x="1416" y="712"/>
                  </a:lnTo>
                  <a:lnTo>
                    <a:pt x="1418" y="714"/>
                  </a:lnTo>
                  <a:lnTo>
                    <a:pt x="1416" y="716"/>
                  </a:lnTo>
                  <a:lnTo>
                    <a:pt x="1416" y="716"/>
                  </a:lnTo>
                  <a:lnTo>
                    <a:pt x="1414" y="716"/>
                  </a:lnTo>
                  <a:lnTo>
                    <a:pt x="1416" y="718"/>
                  </a:lnTo>
                  <a:lnTo>
                    <a:pt x="1414" y="718"/>
                  </a:lnTo>
                  <a:lnTo>
                    <a:pt x="1414" y="720"/>
                  </a:lnTo>
                  <a:lnTo>
                    <a:pt x="1414" y="722"/>
                  </a:lnTo>
                  <a:lnTo>
                    <a:pt x="1414" y="722"/>
                  </a:lnTo>
                  <a:lnTo>
                    <a:pt x="1412" y="726"/>
                  </a:lnTo>
                  <a:lnTo>
                    <a:pt x="1414" y="730"/>
                  </a:lnTo>
                  <a:lnTo>
                    <a:pt x="1414" y="734"/>
                  </a:lnTo>
                  <a:lnTo>
                    <a:pt x="1412" y="736"/>
                  </a:lnTo>
                  <a:lnTo>
                    <a:pt x="1410" y="738"/>
                  </a:lnTo>
                  <a:lnTo>
                    <a:pt x="1408" y="746"/>
                  </a:lnTo>
                  <a:lnTo>
                    <a:pt x="1408" y="748"/>
                  </a:lnTo>
                  <a:lnTo>
                    <a:pt x="1408" y="758"/>
                  </a:lnTo>
                  <a:lnTo>
                    <a:pt x="1406" y="758"/>
                  </a:lnTo>
                  <a:lnTo>
                    <a:pt x="1406" y="760"/>
                  </a:lnTo>
                  <a:lnTo>
                    <a:pt x="1398" y="762"/>
                  </a:lnTo>
                  <a:lnTo>
                    <a:pt x="1400" y="766"/>
                  </a:lnTo>
                  <a:lnTo>
                    <a:pt x="1398" y="770"/>
                  </a:lnTo>
                  <a:lnTo>
                    <a:pt x="1400" y="774"/>
                  </a:lnTo>
                  <a:lnTo>
                    <a:pt x="1396" y="776"/>
                  </a:lnTo>
                  <a:lnTo>
                    <a:pt x="1394" y="776"/>
                  </a:lnTo>
                  <a:lnTo>
                    <a:pt x="1394" y="782"/>
                  </a:lnTo>
                  <a:lnTo>
                    <a:pt x="1394" y="782"/>
                  </a:lnTo>
                  <a:lnTo>
                    <a:pt x="1394" y="794"/>
                  </a:lnTo>
                  <a:lnTo>
                    <a:pt x="1392" y="798"/>
                  </a:lnTo>
                  <a:lnTo>
                    <a:pt x="1390" y="798"/>
                  </a:lnTo>
                  <a:lnTo>
                    <a:pt x="1388" y="800"/>
                  </a:lnTo>
                  <a:lnTo>
                    <a:pt x="1388" y="802"/>
                  </a:lnTo>
                  <a:lnTo>
                    <a:pt x="1386" y="802"/>
                  </a:lnTo>
                  <a:lnTo>
                    <a:pt x="1384" y="808"/>
                  </a:lnTo>
                  <a:lnTo>
                    <a:pt x="1386" y="810"/>
                  </a:lnTo>
                  <a:lnTo>
                    <a:pt x="1386" y="808"/>
                  </a:lnTo>
                  <a:lnTo>
                    <a:pt x="1386" y="808"/>
                  </a:lnTo>
                  <a:lnTo>
                    <a:pt x="1388" y="806"/>
                  </a:lnTo>
                  <a:lnTo>
                    <a:pt x="1390" y="806"/>
                  </a:lnTo>
                  <a:lnTo>
                    <a:pt x="1390" y="808"/>
                  </a:lnTo>
                  <a:lnTo>
                    <a:pt x="1390" y="802"/>
                  </a:lnTo>
                  <a:lnTo>
                    <a:pt x="1394" y="798"/>
                  </a:lnTo>
                  <a:lnTo>
                    <a:pt x="1396" y="796"/>
                  </a:lnTo>
                  <a:lnTo>
                    <a:pt x="1396" y="794"/>
                  </a:lnTo>
                  <a:lnTo>
                    <a:pt x="1398" y="792"/>
                  </a:lnTo>
                  <a:lnTo>
                    <a:pt x="1398" y="792"/>
                  </a:lnTo>
                  <a:lnTo>
                    <a:pt x="1398" y="788"/>
                  </a:lnTo>
                  <a:lnTo>
                    <a:pt x="1408" y="788"/>
                  </a:lnTo>
                  <a:lnTo>
                    <a:pt x="1410" y="788"/>
                  </a:lnTo>
                  <a:lnTo>
                    <a:pt x="1402" y="788"/>
                  </a:lnTo>
                  <a:lnTo>
                    <a:pt x="1398" y="784"/>
                  </a:lnTo>
                  <a:lnTo>
                    <a:pt x="1396" y="782"/>
                  </a:lnTo>
                  <a:lnTo>
                    <a:pt x="1398" y="780"/>
                  </a:lnTo>
                  <a:lnTo>
                    <a:pt x="1404" y="780"/>
                  </a:lnTo>
                  <a:lnTo>
                    <a:pt x="1404" y="778"/>
                  </a:lnTo>
                  <a:lnTo>
                    <a:pt x="1410" y="776"/>
                  </a:lnTo>
                  <a:lnTo>
                    <a:pt x="1412" y="776"/>
                  </a:lnTo>
                  <a:lnTo>
                    <a:pt x="1414" y="772"/>
                  </a:lnTo>
                  <a:lnTo>
                    <a:pt x="1416" y="770"/>
                  </a:lnTo>
                  <a:lnTo>
                    <a:pt x="1416" y="770"/>
                  </a:lnTo>
                  <a:lnTo>
                    <a:pt x="1416" y="768"/>
                  </a:lnTo>
                  <a:lnTo>
                    <a:pt x="1418" y="766"/>
                  </a:lnTo>
                  <a:lnTo>
                    <a:pt x="1422" y="762"/>
                  </a:lnTo>
                  <a:lnTo>
                    <a:pt x="1422" y="760"/>
                  </a:lnTo>
                  <a:lnTo>
                    <a:pt x="1422" y="760"/>
                  </a:lnTo>
                  <a:lnTo>
                    <a:pt x="1424" y="760"/>
                  </a:lnTo>
                  <a:lnTo>
                    <a:pt x="1424" y="760"/>
                  </a:lnTo>
                  <a:lnTo>
                    <a:pt x="1420" y="756"/>
                  </a:lnTo>
                  <a:lnTo>
                    <a:pt x="1424" y="758"/>
                  </a:lnTo>
                  <a:lnTo>
                    <a:pt x="1426" y="758"/>
                  </a:lnTo>
                  <a:lnTo>
                    <a:pt x="1428" y="752"/>
                  </a:lnTo>
                  <a:lnTo>
                    <a:pt x="1430" y="752"/>
                  </a:lnTo>
                  <a:lnTo>
                    <a:pt x="1430" y="750"/>
                  </a:lnTo>
                  <a:lnTo>
                    <a:pt x="1434" y="744"/>
                  </a:lnTo>
                  <a:lnTo>
                    <a:pt x="1430" y="742"/>
                  </a:lnTo>
                  <a:lnTo>
                    <a:pt x="1428" y="742"/>
                  </a:lnTo>
                  <a:lnTo>
                    <a:pt x="1428" y="744"/>
                  </a:lnTo>
                  <a:lnTo>
                    <a:pt x="1428" y="746"/>
                  </a:lnTo>
                  <a:lnTo>
                    <a:pt x="1428" y="748"/>
                  </a:lnTo>
                  <a:lnTo>
                    <a:pt x="1424" y="750"/>
                  </a:lnTo>
                  <a:lnTo>
                    <a:pt x="1422" y="748"/>
                  </a:lnTo>
                  <a:lnTo>
                    <a:pt x="1422" y="750"/>
                  </a:lnTo>
                  <a:lnTo>
                    <a:pt x="1424" y="750"/>
                  </a:lnTo>
                  <a:lnTo>
                    <a:pt x="1424" y="752"/>
                  </a:lnTo>
                  <a:lnTo>
                    <a:pt x="1418" y="748"/>
                  </a:lnTo>
                  <a:lnTo>
                    <a:pt x="1418" y="746"/>
                  </a:lnTo>
                  <a:lnTo>
                    <a:pt x="1418" y="742"/>
                  </a:lnTo>
                  <a:lnTo>
                    <a:pt x="1418" y="740"/>
                  </a:lnTo>
                  <a:lnTo>
                    <a:pt x="1422" y="736"/>
                  </a:lnTo>
                  <a:lnTo>
                    <a:pt x="1424" y="736"/>
                  </a:lnTo>
                  <a:lnTo>
                    <a:pt x="1426" y="736"/>
                  </a:lnTo>
                  <a:lnTo>
                    <a:pt x="1428" y="738"/>
                  </a:lnTo>
                  <a:lnTo>
                    <a:pt x="1428" y="736"/>
                  </a:lnTo>
                  <a:lnTo>
                    <a:pt x="1428" y="734"/>
                  </a:lnTo>
                  <a:lnTo>
                    <a:pt x="1428" y="732"/>
                  </a:lnTo>
                  <a:lnTo>
                    <a:pt x="1432" y="730"/>
                  </a:lnTo>
                  <a:lnTo>
                    <a:pt x="1432" y="730"/>
                  </a:lnTo>
                  <a:lnTo>
                    <a:pt x="1432" y="734"/>
                  </a:lnTo>
                  <a:lnTo>
                    <a:pt x="1432" y="732"/>
                  </a:lnTo>
                  <a:lnTo>
                    <a:pt x="1432" y="734"/>
                  </a:lnTo>
                  <a:lnTo>
                    <a:pt x="1434" y="738"/>
                  </a:lnTo>
                  <a:lnTo>
                    <a:pt x="1440" y="740"/>
                  </a:lnTo>
                  <a:lnTo>
                    <a:pt x="1442" y="740"/>
                  </a:lnTo>
                  <a:lnTo>
                    <a:pt x="1442" y="738"/>
                  </a:lnTo>
                  <a:lnTo>
                    <a:pt x="1448" y="736"/>
                  </a:lnTo>
                  <a:lnTo>
                    <a:pt x="1450" y="734"/>
                  </a:lnTo>
                  <a:lnTo>
                    <a:pt x="1450" y="732"/>
                  </a:lnTo>
                  <a:lnTo>
                    <a:pt x="1448" y="728"/>
                  </a:lnTo>
                  <a:lnTo>
                    <a:pt x="1444" y="724"/>
                  </a:lnTo>
                  <a:lnTo>
                    <a:pt x="1452" y="728"/>
                  </a:lnTo>
                  <a:lnTo>
                    <a:pt x="1454" y="732"/>
                  </a:lnTo>
                  <a:lnTo>
                    <a:pt x="1456" y="732"/>
                  </a:lnTo>
                  <a:lnTo>
                    <a:pt x="1458" y="734"/>
                  </a:lnTo>
                  <a:lnTo>
                    <a:pt x="1460" y="736"/>
                  </a:lnTo>
                  <a:lnTo>
                    <a:pt x="1460" y="740"/>
                  </a:lnTo>
                  <a:lnTo>
                    <a:pt x="1462" y="742"/>
                  </a:lnTo>
                  <a:lnTo>
                    <a:pt x="1462" y="744"/>
                  </a:lnTo>
                  <a:lnTo>
                    <a:pt x="1466" y="742"/>
                  </a:lnTo>
                  <a:lnTo>
                    <a:pt x="1466" y="744"/>
                  </a:lnTo>
                  <a:lnTo>
                    <a:pt x="1464" y="746"/>
                  </a:lnTo>
                  <a:lnTo>
                    <a:pt x="1464" y="746"/>
                  </a:lnTo>
                  <a:lnTo>
                    <a:pt x="1468" y="746"/>
                  </a:lnTo>
                  <a:lnTo>
                    <a:pt x="1470" y="740"/>
                  </a:lnTo>
                  <a:lnTo>
                    <a:pt x="1468" y="738"/>
                  </a:lnTo>
                  <a:lnTo>
                    <a:pt x="1462" y="736"/>
                  </a:lnTo>
                  <a:lnTo>
                    <a:pt x="1466" y="730"/>
                  </a:lnTo>
                  <a:lnTo>
                    <a:pt x="1472" y="730"/>
                  </a:lnTo>
                  <a:lnTo>
                    <a:pt x="1476" y="724"/>
                  </a:lnTo>
                  <a:lnTo>
                    <a:pt x="1476" y="722"/>
                  </a:lnTo>
                  <a:lnTo>
                    <a:pt x="1478" y="720"/>
                  </a:lnTo>
                  <a:lnTo>
                    <a:pt x="1486" y="718"/>
                  </a:lnTo>
                  <a:lnTo>
                    <a:pt x="1488" y="716"/>
                  </a:lnTo>
                  <a:lnTo>
                    <a:pt x="1490" y="716"/>
                  </a:lnTo>
                  <a:lnTo>
                    <a:pt x="1492" y="714"/>
                  </a:lnTo>
                  <a:lnTo>
                    <a:pt x="1496" y="714"/>
                  </a:lnTo>
                  <a:lnTo>
                    <a:pt x="1500" y="714"/>
                  </a:lnTo>
                  <a:lnTo>
                    <a:pt x="1502" y="710"/>
                  </a:lnTo>
                  <a:lnTo>
                    <a:pt x="1504" y="710"/>
                  </a:lnTo>
                  <a:lnTo>
                    <a:pt x="1508" y="708"/>
                  </a:lnTo>
                  <a:lnTo>
                    <a:pt x="1510" y="708"/>
                  </a:lnTo>
                  <a:lnTo>
                    <a:pt x="1512" y="708"/>
                  </a:lnTo>
                  <a:lnTo>
                    <a:pt x="1512" y="708"/>
                  </a:lnTo>
                  <a:lnTo>
                    <a:pt x="1512" y="710"/>
                  </a:lnTo>
                  <a:lnTo>
                    <a:pt x="1510" y="712"/>
                  </a:lnTo>
                  <a:lnTo>
                    <a:pt x="1510" y="712"/>
                  </a:lnTo>
                  <a:lnTo>
                    <a:pt x="1510" y="714"/>
                  </a:lnTo>
                  <a:lnTo>
                    <a:pt x="1512" y="716"/>
                  </a:lnTo>
                  <a:lnTo>
                    <a:pt x="1512" y="716"/>
                  </a:lnTo>
                  <a:lnTo>
                    <a:pt x="1514" y="718"/>
                  </a:lnTo>
                  <a:lnTo>
                    <a:pt x="1516" y="720"/>
                  </a:lnTo>
                  <a:lnTo>
                    <a:pt x="1534" y="718"/>
                  </a:lnTo>
                  <a:lnTo>
                    <a:pt x="1534" y="716"/>
                  </a:lnTo>
                  <a:lnTo>
                    <a:pt x="1532" y="716"/>
                  </a:lnTo>
                  <a:lnTo>
                    <a:pt x="1540" y="712"/>
                  </a:lnTo>
                  <a:lnTo>
                    <a:pt x="1544" y="712"/>
                  </a:lnTo>
                  <a:lnTo>
                    <a:pt x="1544" y="710"/>
                  </a:lnTo>
                  <a:lnTo>
                    <a:pt x="1550" y="706"/>
                  </a:lnTo>
                  <a:lnTo>
                    <a:pt x="1552" y="706"/>
                  </a:lnTo>
                  <a:lnTo>
                    <a:pt x="1554" y="702"/>
                  </a:lnTo>
                  <a:lnTo>
                    <a:pt x="1556" y="702"/>
                  </a:lnTo>
                  <a:lnTo>
                    <a:pt x="1554" y="702"/>
                  </a:lnTo>
                  <a:lnTo>
                    <a:pt x="1556" y="702"/>
                  </a:lnTo>
                  <a:lnTo>
                    <a:pt x="1558" y="698"/>
                  </a:lnTo>
                  <a:lnTo>
                    <a:pt x="1560" y="694"/>
                  </a:lnTo>
                  <a:lnTo>
                    <a:pt x="1560" y="692"/>
                  </a:lnTo>
                  <a:lnTo>
                    <a:pt x="1560" y="690"/>
                  </a:lnTo>
                  <a:lnTo>
                    <a:pt x="1552" y="684"/>
                  </a:lnTo>
                  <a:lnTo>
                    <a:pt x="1550" y="684"/>
                  </a:lnTo>
                  <a:lnTo>
                    <a:pt x="1550" y="682"/>
                  </a:lnTo>
                  <a:lnTo>
                    <a:pt x="1550" y="684"/>
                  </a:lnTo>
                  <a:lnTo>
                    <a:pt x="1542" y="672"/>
                  </a:lnTo>
                  <a:lnTo>
                    <a:pt x="1546" y="674"/>
                  </a:lnTo>
                  <a:lnTo>
                    <a:pt x="1548" y="672"/>
                  </a:lnTo>
                  <a:lnTo>
                    <a:pt x="1548" y="670"/>
                  </a:lnTo>
                  <a:lnTo>
                    <a:pt x="1546" y="668"/>
                  </a:lnTo>
                  <a:lnTo>
                    <a:pt x="1544" y="668"/>
                  </a:lnTo>
                  <a:lnTo>
                    <a:pt x="1546" y="666"/>
                  </a:lnTo>
                  <a:lnTo>
                    <a:pt x="1548" y="666"/>
                  </a:lnTo>
                  <a:lnTo>
                    <a:pt x="1552" y="664"/>
                  </a:lnTo>
                  <a:lnTo>
                    <a:pt x="1554" y="664"/>
                  </a:lnTo>
                  <a:lnTo>
                    <a:pt x="1554" y="664"/>
                  </a:lnTo>
                  <a:lnTo>
                    <a:pt x="1558" y="664"/>
                  </a:lnTo>
                  <a:lnTo>
                    <a:pt x="1558" y="664"/>
                  </a:lnTo>
                  <a:lnTo>
                    <a:pt x="1560" y="664"/>
                  </a:lnTo>
                  <a:lnTo>
                    <a:pt x="1562" y="664"/>
                  </a:lnTo>
                  <a:lnTo>
                    <a:pt x="1564" y="664"/>
                  </a:lnTo>
                  <a:lnTo>
                    <a:pt x="1564" y="664"/>
                  </a:lnTo>
                  <a:lnTo>
                    <a:pt x="1566" y="664"/>
                  </a:lnTo>
                  <a:lnTo>
                    <a:pt x="1566" y="662"/>
                  </a:lnTo>
                  <a:lnTo>
                    <a:pt x="1568" y="662"/>
                  </a:lnTo>
                  <a:lnTo>
                    <a:pt x="1568" y="662"/>
                  </a:lnTo>
                  <a:lnTo>
                    <a:pt x="1570" y="662"/>
                  </a:lnTo>
                  <a:lnTo>
                    <a:pt x="1570" y="660"/>
                  </a:lnTo>
                  <a:lnTo>
                    <a:pt x="1576" y="660"/>
                  </a:lnTo>
                  <a:lnTo>
                    <a:pt x="1578" y="662"/>
                  </a:lnTo>
                  <a:lnTo>
                    <a:pt x="1578" y="662"/>
                  </a:lnTo>
                  <a:lnTo>
                    <a:pt x="1578" y="658"/>
                  </a:lnTo>
                  <a:lnTo>
                    <a:pt x="1580" y="658"/>
                  </a:lnTo>
                  <a:lnTo>
                    <a:pt x="1578" y="656"/>
                  </a:lnTo>
                  <a:lnTo>
                    <a:pt x="1578" y="654"/>
                  </a:lnTo>
                  <a:lnTo>
                    <a:pt x="1582" y="654"/>
                  </a:lnTo>
                  <a:lnTo>
                    <a:pt x="1584" y="652"/>
                  </a:lnTo>
                  <a:lnTo>
                    <a:pt x="1586" y="650"/>
                  </a:lnTo>
                  <a:lnTo>
                    <a:pt x="1590" y="650"/>
                  </a:lnTo>
                  <a:lnTo>
                    <a:pt x="1592" y="650"/>
                  </a:lnTo>
                  <a:lnTo>
                    <a:pt x="1592" y="650"/>
                  </a:lnTo>
                  <a:lnTo>
                    <a:pt x="1592" y="650"/>
                  </a:lnTo>
                  <a:lnTo>
                    <a:pt x="1594" y="650"/>
                  </a:lnTo>
                  <a:lnTo>
                    <a:pt x="1596" y="650"/>
                  </a:lnTo>
                  <a:lnTo>
                    <a:pt x="1596" y="652"/>
                  </a:lnTo>
                  <a:lnTo>
                    <a:pt x="1602" y="650"/>
                  </a:lnTo>
                  <a:lnTo>
                    <a:pt x="1604" y="650"/>
                  </a:lnTo>
                  <a:lnTo>
                    <a:pt x="1606" y="650"/>
                  </a:lnTo>
                  <a:lnTo>
                    <a:pt x="1608" y="652"/>
                  </a:lnTo>
                  <a:lnTo>
                    <a:pt x="1612" y="652"/>
                  </a:lnTo>
                  <a:lnTo>
                    <a:pt x="1612" y="652"/>
                  </a:lnTo>
                  <a:lnTo>
                    <a:pt x="1614" y="652"/>
                  </a:lnTo>
                  <a:lnTo>
                    <a:pt x="1614" y="654"/>
                  </a:lnTo>
                  <a:lnTo>
                    <a:pt x="1616" y="654"/>
                  </a:lnTo>
                  <a:lnTo>
                    <a:pt x="1616" y="654"/>
                  </a:lnTo>
                  <a:lnTo>
                    <a:pt x="1614" y="656"/>
                  </a:lnTo>
                  <a:lnTo>
                    <a:pt x="1616" y="658"/>
                  </a:lnTo>
                  <a:lnTo>
                    <a:pt x="1618" y="658"/>
                  </a:lnTo>
                  <a:lnTo>
                    <a:pt x="1618" y="660"/>
                  </a:lnTo>
                  <a:lnTo>
                    <a:pt x="1620" y="658"/>
                  </a:lnTo>
                  <a:lnTo>
                    <a:pt x="1620" y="660"/>
                  </a:lnTo>
                  <a:lnTo>
                    <a:pt x="1622" y="662"/>
                  </a:lnTo>
                  <a:lnTo>
                    <a:pt x="1622" y="662"/>
                  </a:lnTo>
                  <a:lnTo>
                    <a:pt x="1622" y="664"/>
                  </a:lnTo>
                  <a:lnTo>
                    <a:pt x="1626" y="664"/>
                  </a:lnTo>
                  <a:lnTo>
                    <a:pt x="1626" y="666"/>
                  </a:lnTo>
                  <a:lnTo>
                    <a:pt x="1626" y="668"/>
                  </a:lnTo>
                  <a:lnTo>
                    <a:pt x="1632" y="666"/>
                  </a:lnTo>
                  <a:lnTo>
                    <a:pt x="1634" y="670"/>
                  </a:lnTo>
                  <a:lnTo>
                    <a:pt x="1636" y="672"/>
                  </a:lnTo>
                  <a:lnTo>
                    <a:pt x="1636" y="672"/>
                  </a:lnTo>
                  <a:lnTo>
                    <a:pt x="1636" y="674"/>
                  </a:lnTo>
                  <a:lnTo>
                    <a:pt x="1638" y="674"/>
                  </a:lnTo>
                  <a:lnTo>
                    <a:pt x="1638" y="674"/>
                  </a:lnTo>
                  <a:lnTo>
                    <a:pt x="1638" y="676"/>
                  </a:lnTo>
                  <a:lnTo>
                    <a:pt x="1638" y="678"/>
                  </a:lnTo>
                  <a:lnTo>
                    <a:pt x="1638" y="678"/>
                  </a:lnTo>
                  <a:lnTo>
                    <a:pt x="1640" y="678"/>
                  </a:lnTo>
                  <a:lnTo>
                    <a:pt x="1638" y="680"/>
                  </a:lnTo>
                  <a:lnTo>
                    <a:pt x="1638" y="680"/>
                  </a:lnTo>
                  <a:lnTo>
                    <a:pt x="1638" y="686"/>
                  </a:lnTo>
                  <a:lnTo>
                    <a:pt x="1644" y="690"/>
                  </a:lnTo>
                  <a:lnTo>
                    <a:pt x="1644" y="690"/>
                  </a:lnTo>
                  <a:lnTo>
                    <a:pt x="1646" y="690"/>
                  </a:lnTo>
                  <a:lnTo>
                    <a:pt x="1648" y="692"/>
                  </a:lnTo>
                  <a:lnTo>
                    <a:pt x="1650" y="692"/>
                  </a:lnTo>
                  <a:lnTo>
                    <a:pt x="1650" y="690"/>
                  </a:lnTo>
                  <a:lnTo>
                    <a:pt x="1650" y="690"/>
                  </a:lnTo>
                  <a:lnTo>
                    <a:pt x="1654" y="692"/>
                  </a:lnTo>
                  <a:lnTo>
                    <a:pt x="1656" y="694"/>
                  </a:lnTo>
                  <a:lnTo>
                    <a:pt x="1656" y="694"/>
                  </a:lnTo>
                  <a:lnTo>
                    <a:pt x="1664" y="698"/>
                  </a:lnTo>
                  <a:lnTo>
                    <a:pt x="1664" y="696"/>
                  </a:lnTo>
                  <a:lnTo>
                    <a:pt x="1666" y="696"/>
                  </a:lnTo>
                  <a:lnTo>
                    <a:pt x="1670" y="698"/>
                  </a:lnTo>
                  <a:lnTo>
                    <a:pt x="1672" y="698"/>
                  </a:lnTo>
                  <a:lnTo>
                    <a:pt x="1674" y="700"/>
                  </a:lnTo>
                  <a:lnTo>
                    <a:pt x="1674" y="698"/>
                  </a:lnTo>
                  <a:lnTo>
                    <a:pt x="1678" y="698"/>
                  </a:lnTo>
                  <a:lnTo>
                    <a:pt x="1678" y="698"/>
                  </a:lnTo>
                  <a:lnTo>
                    <a:pt x="1680" y="700"/>
                  </a:lnTo>
                  <a:lnTo>
                    <a:pt x="1682" y="698"/>
                  </a:lnTo>
                  <a:lnTo>
                    <a:pt x="1684" y="698"/>
                  </a:lnTo>
                  <a:lnTo>
                    <a:pt x="1686" y="698"/>
                  </a:lnTo>
                  <a:lnTo>
                    <a:pt x="1686" y="696"/>
                  </a:lnTo>
                  <a:lnTo>
                    <a:pt x="1684" y="694"/>
                  </a:lnTo>
                  <a:lnTo>
                    <a:pt x="1686" y="694"/>
                  </a:lnTo>
                  <a:lnTo>
                    <a:pt x="1694" y="698"/>
                  </a:lnTo>
                  <a:lnTo>
                    <a:pt x="1696" y="696"/>
                  </a:lnTo>
                  <a:lnTo>
                    <a:pt x="1694" y="694"/>
                  </a:lnTo>
                  <a:lnTo>
                    <a:pt x="1694" y="690"/>
                  </a:lnTo>
                  <a:lnTo>
                    <a:pt x="1690" y="688"/>
                  </a:lnTo>
                  <a:lnTo>
                    <a:pt x="1690" y="686"/>
                  </a:lnTo>
                  <a:lnTo>
                    <a:pt x="1688" y="680"/>
                  </a:lnTo>
                  <a:lnTo>
                    <a:pt x="1688" y="678"/>
                  </a:lnTo>
                  <a:lnTo>
                    <a:pt x="1676" y="668"/>
                  </a:lnTo>
                  <a:lnTo>
                    <a:pt x="1668" y="654"/>
                  </a:lnTo>
                  <a:lnTo>
                    <a:pt x="1668" y="652"/>
                  </a:lnTo>
                  <a:lnTo>
                    <a:pt x="1676" y="656"/>
                  </a:lnTo>
                  <a:lnTo>
                    <a:pt x="1680" y="656"/>
                  </a:lnTo>
                  <a:lnTo>
                    <a:pt x="1686" y="658"/>
                  </a:lnTo>
                  <a:lnTo>
                    <a:pt x="1688" y="658"/>
                  </a:lnTo>
                  <a:lnTo>
                    <a:pt x="1694" y="658"/>
                  </a:lnTo>
                  <a:lnTo>
                    <a:pt x="1696" y="658"/>
                  </a:lnTo>
                  <a:lnTo>
                    <a:pt x="1696" y="654"/>
                  </a:lnTo>
                  <a:lnTo>
                    <a:pt x="1700" y="652"/>
                  </a:lnTo>
                  <a:lnTo>
                    <a:pt x="1700" y="650"/>
                  </a:lnTo>
                  <a:lnTo>
                    <a:pt x="1704" y="650"/>
                  </a:lnTo>
                  <a:lnTo>
                    <a:pt x="1704" y="650"/>
                  </a:lnTo>
                  <a:lnTo>
                    <a:pt x="1700" y="648"/>
                  </a:lnTo>
                  <a:lnTo>
                    <a:pt x="1700" y="646"/>
                  </a:lnTo>
                  <a:lnTo>
                    <a:pt x="1698" y="642"/>
                  </a:lnTo>
                  <a:lnTo>
                    <a:pt x="1700" y="636"/>
                  </a:lnTo>
                  <a:lnTo>
                    <a:pt x="1704" y="636"/>
                  </a:lnTo>
                  <a:lnTo>
                    <a:pt x="1704" y="634"/>
                  </a:lnTo>
                  <a:lnTo>
                    <a:pt x="1708" y="634"/>
                  </a:lnTo>
                  <a:lnTo>
                    <a:pt x="1710" y="632"/>
                  </a:lnTo>
                  <a:lnTo>
                    <a:pt x="1712" y="630"/>
                  </a:lnTo>
                  <a:lnTo>
                    <a:pt x="1720" y="628"/>
                  </a:lnTo>
                  <a:lnTo>
                    <a:pt x="1720" y="628"/>
                  </a:lnTo>
                  <a:lnTo>
                    <a:pt x="1722" y="626"/>
                  </a:lnTo>
                  <a:lnTo>
                    <a:pt x="1726" y="628"/>
                  </a:lnTo>
                  <a:lnTo>
                    <a:pt x="1728" y="626"/>
                  </a:lnTo>
                  <a:lnTo>
                    <a:pt x="1730" y="628"/>
                  </a:lnTo>
                  <a:lnTo>
                    <a:pt x="1730" y="628"/>
                  </a:lnTo>
                  <a:lnTo>
                    <a:pt x="1732" y="626"/>
                  </a:lnTo>
                  <a:lnTo>
                    <a:pt x="1734" y="626"/>
                  </a:lnTo>
                  <a:lnTo>
                    <a:pt x="1734" y="624"/>
                  </a:lnTo>
                  <a:lnTo>
                    <a:pt x="1736" y="624"/>
                  </a:lnTo>
                  <a:lnTo>
                    <a:pt x="1734" y="622"/>
                  </a:lnTo>
                  <a:lnTo>
                    <a:pt x="1734" y="618"/>
                  </a:lnTo>
                  <a:lnTo>
                    <a:pt x="1732" y="616"/>
                  </a:lnTo>
                  <a:lnTo>
                    <a:pt x="1732" y="612"/>
                  </a:lnTo>
                  <a:lnTo>
                    <a:pt x="1732" y="612"/>
                  </a:lnTo>
                  <a:lnTo>
                    <a:pt x="1732" y="610"/>
                  </a:lnTo>
                  <a:lnTo>
                    <a:pt x="1736" y="608"/>
                  </a:lnTo>
                  <a:lnTo>
                    <a:pt x="1732" y="604"/>
                  </a:lnTo>
                  <a:lnTo>
                    <a:pt x="1738" y="602"/>
                  </a:lnTo>
                  <a:lnTo>
                    <a:pt x="1738" y="602"/>
                  </a:lnTo>
                  <a:lnTo>
                    <a:pt x="1736" y="600"/>
                  </a:lnTo>
                  <a:lnTo>
                    <a:pt x="1734" y="598"/>
                  </a:lnTo>
                  <a:lnTo>
                    <a:pt x="1732" y="598"/>
                  </a:lnTo>
                  <a:lnTo>
                    <a:pt x="1730" y="598"/>
                  </a:lnTo>
                  <a:lnTo>
                    <a:pt x="1722" y="594"/>
                  </a:lnTo>
                  <a:lnTo>
                    <a:pt x="1724" y="594"/>
                  </a:lnTo>
                  <a:lnTo>
                    <a:pt x="1718" y="592"/>
                  </a:lnTo>
                  <a:lnTo>
                    <a:pt x="1718" y="590"/>
                  </a:lnTo>
                  <a:lnTo>
                    <a:pt x="1716" y="588"/>
                  </a:lnTo>
                  <a:lnTo>
                    <a:pt x="1714" y="584"/>
                  </a:lnTo>
                  <a:lnTo>
                    <a:pt x="1716" y="582"/>
                  </a:lnTo>
                  <a:lnTo>
                    <a:pt x="1712" y="576"/>
                  </a:lnTo>
                  <a:lnTo>
                    <a:pt x="1708" y="572"/>
                  </a:lnTo>
                  <a:lnTo>
                    <a:pt x="1706" y="568"/>
                  </a:lnTo>
                  <a:lnTo>
                    <a:pt x="1708" y="566"/>
                  </a:lnTo>
                  <a:lnTo>
                    <a:pt x="1704" y="566"/>
                  </a:lnTo>
                  <a:lnTo>
                    <a:pt x="1702" y="566"/>
                  </a:lnTo>
                  <a:lnTo>
                    <a:pt x="1700" y="566"/>
                  </a:lnTo>
                  <a:lnTo>
                    <a:pt x="1698" y="564"/>
                  </a:lnTo>
                  <a:lnTo>
                    <a:pt x="1698" y="562"/>
                  </a:lnTo>
                  <a:lnTo>
                    <a:pt x="1700" y="560"/>
                  </a:lnTo>
                  <a:lnTo>
                    <a:pt x="1702" y="558"/>
                  </a:lnTo>
                  <a:lnTo>
                    <a:pt x="1704" y="558"/>
                  </a:lnTo>
                  <a:lnTo>
                    <a:pt x="1706" y="558"/>
                  </a:lnTo>
                  <a:lnTo>
                    <a:pt x="1716" y="542"/>
                  </a:lnTo>
                  <a:lnTo>
                    <a:pt x="1720" y="540"/>
                  </a:lnTo>
                  <a:lnTo>
                    <a:pt x="1724" y="534"/>
                  </a:lnTo>
                  <a:lnTo>
                    <a:pt x="1728" y="532"/>
                  </a:lnTo>
                  <a:lnTo>
                    <a:pt x="1734" y="524"/>
                  </a:lnTo>
                  <a:lnTo>
                    <a:pt x="1734" y="524"/>
                  </a:lnTo>
                  <a:lnTo>
                    <a:pt x="1740" y="522"/>
                  </a:lnTo>
                  <a:lnTo>
                    <a:pt x="1742" y="520"/>
                  </a:lnTo>
                  <a:lnTo>
                    <a:pt x="1746" y="518"/>
                  </a:lnTo>
                  <a:lnTo>
                    <a:pt x="1748" y="514"/>
                  </a:lnTo>
                  <a:lnTo>
                    <a:pt x="1748" y="512"/>
                  </a:lnTo>
                  <a:lnTo>
                    <a:pt x="1752" y="506"/>
                  </a:lnTo>
                  <a:lnTo>
                    <a:pt x="1754" y="506"/>
                  </a:lnTo>
                  <a:lnTo>
                    <a:pt x="1754" y="506"/>
                  </a:lnTo>
                  <a:lnTo>
                    <a:pt x="1754" y="502"/>
                  </a:lnTo>
                  <a:lnTo>
                    <a:pt x="1758" y="498"/>
                  </a:lnTo>
                  <a:lnTo>
                    <a:pt x="1760" y="498"/>
                  </a:lnTo>
                  <a:lnTo>
                    <a:pt x="1762" y="496"/>
                  </a:lnTo>
                  <a:lnTo>
                    <a:pt x="1768" y="492"/>
                  </a:lnTo>
                  <a:lnTo>
                    <a:pt x="1778" y="494"/>
                  </a:lnTo>
                  <a:lnTo>
                    <a:pt x="1780" y="494"/>
                  </a:lnTo>
                  <a:lnTo>
                    <a:pt x="1782" y="498"/>
                  </a:lnTo>
                  <a:lnTo>
                    <a:pt x="1778" y="498"/>
                  </a:lnTo>
                  <a:lnTo>
                    <a:pt x="1776" y="500"/>
                  </a:lnTo>
                  <a:lnTo>
                    <a:pt x="1776" y="502"/>
                  </a:lnTo>
                  <a:lnTo>
                    <a:pt x="1780" y="508"/>
                  </a:lnTo>
                  <a:lnTo>
                    <a:pt x="1782" y="508"/>
                  </a:lnTo>
                  <a:lnTo>
                    <a:pt x="1782" y="506"/>
                  </a:lnTo>
                  <a:lnTo>
                    <a:pt x="1784" y="504"/>
                  </a:lnTo>
                  <a:lnTo>
                    <a:pt x="1786" y="504"/>
                  </a:lnTo>
                  <a:lnTo>
                    <a:pt x="1786" y="502"/>
                  </a:lnTo>
                  <a:lnTo>
                    <a:pt x="1786" y="500"/>
                  </a:lnTo>
                  <a:lnTo>
                    <a:pt x="1790" y="498"/>
                  </a:lnTo>
                  <a:lnTo>
                    <a:pt x="1790" y="496"/>
                  </a:lnTo>
                  <a:lnTo>
                    <a:pt x="1794" y="496"/>
                  </a:lnTo>
                  <a:lnTo>
                    <a:pt x="1796" y="494"/>
                  </a:lnTo>
                  <a:lnTo>
                    <a:pt x="1798" y="494"/>
                  </a:lnTo>
                  <a:lnTo>
                    <a:pt x="1800" y="496"/>
                  </a:lnTo>
                  <a:lnTo>
                    <a:pt x="1802" y="494"/>
                  </a:lnTo>
                  <a:lnTo>
                    <a:pt x="1802" y="484"/>
                  </a:lnTo>
                  <a:lnTo>
                    <a:pt x="1804" y="486"/>
                  </a:lnTo>
                  <a:lnTo>
                    <a:pt x="1806" y="486"/>
                  </a:lnTo>
                  <a:lnTo>
                    <a:pt x="1816" y="482"/>
                  </a:lnTo>
                  <a:lnTo>
                    <a:pt x="1820" y="482"/>
                  </a:lnTo>
                  <a:lnTo>
                    <a:pt x="1822" y="486"/>
                  </a:lnTo>
                  <a:lnTo>
                    <a:pt x="1822" y="490"/>
                  </a:lnTo>
                  <a:lnTo>
                    <a:pt x="1822" y="490"/>
                  </a:lnTo>
                  <a:lnTo>
                    <a:pt x="1824" y="488"/>
                  </a:lnTo>
                  <a:lnTo>
                    <a:pt x="1832" y="484"/>
                  </a:lnTo>
                  <a:lnTo>
                    <a:pt x="1830" y="482"/>
                  </a:lnTo>
                  <a:lnTo>
                    <a:pt x="1832" y="480"/>
                  </a:lnTo>
                  <a:lnTo>
                    <a:pt x="1830" y="474"/>
                  </a:lnTo>
                  <a:lnTo>
                    <a:pt x="1832" y="472"/>
                  </a:lnTo>
                  <a:lnTo>
                    <a:pt x="1832" y="470"/>
                  </a:lnTo>
                  <a:lnTo>
                    <a:pt x="1832" y="466"/>
                  </a:lnTo>
                  <a:lnTo>
                    <a:pt x="1834" y="466"/>
                  </a:lnTo>
                  <a:lnTo>
                    <a:pt x="1834" y="462"/>
                  </a:lnTo>
                  <a:lnTo>
                    <a:pt x="1834" y="460"/>
                  </a:lnTo>
                  <a:lnTo>
                    <a:pt x="1834" y="458"/>
                  </a:lnTo>
                  <a:lnTo>
                    <a:pt x="1836" y="454"/>
                  </a:lnTo>
                  <a:lnTo>
                    <a:pt x="1838" y="450"/>
                  </a:lnTo>
                  <a:lnTo>
                    <a:pt x="1836" y="448"/>
                  </a:lnTo>
                  <a:lnTo>
                    <a:pt x="1838" y="444"/>
                  </a:lnTo>
                  <a:lnTo>
                    <a:pt x="1838" y="444"/>
                  </a:lnTo>
                  <a:lnTo>
                    <a:pt x="1838" y="440"/>
                  </a:lnTo>
                  <a:lnTo>
                    <a:pt x="1840" y="436"/>
                  </a:lnTo>
                  <a:lnTo>
                    <a:pt x="1840" y="430"/>
                  </a:lnTo>
                  <a:lnTo>
                    <a:pt x="1842" y="424"/>
                  </a:lnTo>
                  <a:lnTo>
                    <a:pt x="1844" y="422"/>
                  </a:lnTo>
                  <a:lnTo>
                    <a:pt x="1846" y="414"/>
                  </a:lnTo>
                  <a:lnTo>
                    <a:pt x="1848" y="412"/>
                  </a:lnTo>
                  <a:lnTo>
                    <a:pt x="1852" y="412"/>
                  </a:lnTo>
                  <a:lnTo>
                    <a:pt x="1854" y="410"/>
                  </a:lnTo>
                  <a:lnTo>
                    <a:pt x="1866" y="406"/>
                  </a:lnTo>
                  <a:lnTo>
                    <a:pt x="1868" y="406"/>
                  </a:lnTo>
                  <a:lnTo>
                    <a:pt x="1872" y="404"/>
                  </a:lnTo>
                  <a:lnTo>
                    <a:pt x="1880" y="406"/>
                  </a:lnTo>
                  <a:lnTo>
                    <a:pt x="1894" y="416"/>
                  </a:lnTo>
                  <a:lnTo>
                    <a:pt x="1896" y="416"/>
                  </a:lnTo>
                  <a:lnTo>
                    <a:pt x="1898" y="412"/>
                  </a:lnTo>
                  <a:lnTo>
                    <a:pt x="1900" y="412"/>
                  </a:lnTo>
                  <a:lnTo>
                    <a:pt x="1902" y="408"/>
                  </a:lnTo>
                  <a:lnTo>
                    <a:pt x="1906" y="404"/>
                  </a:lnTo>
                  <a:lnTo>
                    <a:pt x="1910" y="402"/>
                  </a:lnTo>
                  <a:lnTo>
                    <a:pt x="1910" y="402"/>
                  </a:lnTo>
                  <a:lnTo>
                    <a:pt x="1910" y="400"/>
                  </a:lnTo>
                  <a:lnTo>
                    <a:pt x="1912" y="400"/>
                  </a:lnTo>
                  <a:lnTo>
                    <a:pt x="1916" y="400"/>
                  </a:lnTo>
                  <a:lnTo>
                    <a:pt x="1918" y="400"/>
                  </a:lnTo>
                  <a:lnTo>
                    <a:pt x="1912" y="394"/>
                  </a:lnTo>
                  <a:lnTo>
                    <a:pt x="1914" y="390"/>
                  </a:lnTo>
                  <a:lnTo>
                    <a:pt x="1910" y="388"/>
                  </a:lnTo>
                  <a:lnTo>
                    <a:pt x="1910" y="386"/>
                  </a:lnTo>
                  <a:lnTo>
                    <a:pt x="1908" y="386"/>
                  </a:lnTo>
                  <a:lnTo>
                    <a:pt x="1908" y="384"/>
                  </a:lnTo>
                  <a:lnTo>
                    <a:pt x="1908" y="382"/>
                  </a:lnTo>
                  <a:lnTo>
                    <a:pt x="1910" y="380"/>
                  </a:lnTo>
                  <a:lnTo>
                    <a:pt x="1908" y="374"/>
                  </a:lnTo>
                  <a:lnTo>
                    <a:pt x="1910" y="368"/>
                  </a:lnTo>
                  <a:lnTo>
                    <a:pt x="1908" y="362"/>
                  </a:lnTo>
                  <a:lnTo>
                    <a:pt x="1914" y="360"/>
                  </a:lnTo>
                  <a:lnTo>
                    <a:pt x="1916" y="358"/>
                  </a:lnTo>
                  <a:lnTo>
                    <a:pt x="1918" y="352"/>
                  </a:lnTo>
                  <a:lnTo>
                    <a:pt x="1918" y="352"/>
                  </a:lnTo>
                  <a:lnTo>
                    <a:pt x="1918" y="350"/>
                  </a:lnTo>
                  <a:lnTo>
                    <a:pt x="1916" y="348"/>
                  </a:lnTo>
                  <a:lnTo>
                    <a:pt x="1918" y="340"/>
                  </a:lnTo>
                  <a:lnTo>
                    <a:pt x="1922" y="336"/>
                  </a:lnTo>
                  <a:lnTo>
                    <a:pt x="1922" y="332"/>
                  </a:lnTo>
                  <a:lnTo>
                    <a:pt x="1924" y="330"/>
                  </a:lnTo>
                  <a:lnTo>
                    <a:pt x="1922" y="328"/>
                  </a:lnTo>
                  <a:lnTo>
                    <a:pt x="1912" y="318"/>
                  </a:lnTo>
                  <a:lnTo>
                    <a:pt x="1912" y="316"/>
                  </a:lnTo>
                  <a:lnTo>
                    <a:pt x="1914" y="314"/>
                  </a:lnTo>
                  <a:lnTo>
                    <a:pt x="1916" y="312"/>
                  </a:lnTo>
                  <a:lnTo>
                    <a:pt x="1916" y="314"/>
                  </a:lnTo>
                  <a:lnTo>
                    <a:pt x="1918" y="316"/>
                  </a:lnTo>
                  <a:lnTo>
                    <a:pt x="1920" y="312"/>
                  </a:lnTo>
                  <a:lnTo>
                    <a:pt x="1924" y="312"/>
                  </a:lnTo>
                  <a:lnTo>
                    <a:pt x="1934" y="314"/>
                  </a:lnTo>
                  <a:lnTo>
                    <a:pt x="1936" y="314"/>
                  </a:lnTo>
                  <a:lnTo>
                    <a:pt x="1938" y="312"/>
                  </a:lnTo>
                  <a:lnTo>
                    <a:pt x="1938" y="306"/>
                  </a:lnTo>
                  <a:lnTo>
                    <a:pt x="1940" y="304"/>
                  </a:lnTo>
                  <a:lnTo>
                    <a:pt x="1942" y="304"/>
                  </a:lnTo>
                  <a:lnTo>
                    <a:pt x="1944" y="300"/>
                  </a:lnTo>
                  <a:lnTo>
                    <a:pt x="1954" y="300"/>
                  </a:lnTo>
                  <a:lnTo>
                    <a:pt x="1954" y="298"/>
                  </a:lnTo>
                  <a:lnTo>
                    <a:pt x="1954" y="292"/>
                  </a:lnTo>
                  <a:lnTo>
                    <a:pt x="1952" y="286"/>
                  </a:lnTo>
                  <a:lnTo>
                    <a:pt x="1942" y="278"/>
                  </a:lnTo>
                  <a:lnTo>
                    <a:pt x="1934" y="278"/>
                  </a:lnTo>
                  <a:lnTo>
                    <a:pt x="1932" y="280"/>
                  </a:lnTo>
                  <a:lnTo>
                    <a:pt x="1922" y="280"/>
                  </a:lnTo>
                  <a:lnTo>
                    <a:pt x="1920" y="288"/>
                  </a:lnTo>
                  <a:lnTo>
                    <a:pt x="1916" y="286"/>
                  </a:lnTo>
                  <a:lnTo>
                    <a:pt x="1916" y="282"/>
                  </a:lnTo>
                  <a:lnTo>
                    <a:pt x="1910" y="280"/>
                  </a:lnTo>
                  <a:lnTo>
                    <a:pt x="1908" y="280"/>
                  </a:lnTo>
                  <a:lnTo>
                    <a:pt x="1904" y="280"/>
                  </a:lnTo>
                  <a:lnTo>
                    <a:pt x="1902" y="278"/>
                  </a:lnTo>
                  <a:lnTo>
                    <a:pt x="1906" y="256"/>
                  </a:lnTo>
                  <a:lnTo>
                    <a:pt x="1906" y="254"/>
                  </a:lnTo>
                  <a:lnTo>
                    <a:pt x="1910" y="250"/>
                  </a:lnTo>
                  <a:lnTo>
                    <a:pt x="1910" y="246"/>
                  </a:lnTo>
                  <a:lnTo>
                    <a:pt x="1908" y="242"/>
                  </a:lnTo>
                  <a:lnTo>
                    <a:pt x="1908" y="238"/>
                  </a:lnTo>
                  <a:lnTo>
                    <a:pt x="1908" y="234"/>
                  </a:lnTo>
                  <a:lnTo>
                    <a:pt x="1908" y="230"/>
                  </a:lnTo>
                  <a:lnTo>
                    <a:pt x="1910" y="228"/>
                  </a:lnTo>
                  <a:lnTo>
                    <a:pt x="1908" y="226"/>
                  </a:lnTo>
                  <a:lnTo>
                    <a:pt x="1908" y="224"/>
                  </a:lnTo>
                  <a:lnTo>
                    <a:pt x="1906" y="210"/>
                  </a:lnTo>
                  <a:lnTo>
                    <a:pt x="1914" y="202"/>
                  </a:lnTo>
                  <a:lnTo>
                    <a:pt x="1914" y="200"/>
                  </a:lnTo>
                  <a:lnTo>
                    <a:pt x="1916" y="194"/>
                  </a:lnTo>
                  <a:lnTo>
                    <a:pt x="1914" y="192"/>
                  </a:lnTo>
                  <a:lnTo>
                    <a:pt x="1918" y="190"/>
                  </a:lnTo>
                  <a:lnTo>
                    <a:pt x="1922" y="180"/>
                  </a:lnTo>
                  <a:lnTo>
                    <a:pt x="1920" y="180"/>
                  </a:lnTo>
                  <a:lnTo>
                    <a:pt x="1924" y="178"/>
                  </a:lnTo>
                  <a:lnTo>
                    <a:pt x="1924" y="176"/>
                  </a:lnTo>
                  <a:lnTo>
                    <a:pt x="1938" y="158"/>
                  </a:lnTo>
                  <a:lnTo>
                    <a:pt x="1938" y="158"/>
                  </a:lnTo>
                  <a:lnTo>
                    <a:pt x="1938" y="158"/>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5" name="Freeform 427"/>
            <p:cNvSpPr>
              <a:spLocks/>
            </p:cNvSpPr>
            <p:nvPr/>
          </p:nvSpPr>
          <p:spPr bwMode="auto">
            <a:xfrm>
              <a:off x="4762501" y="4484688"/>
              <a:ext cx="563563" cy="1035050"/>
            </a:xfrm>
            <a:custGeom>
              <a:avLst/>
              <a:gdLst>
                <a:gd name="T0" fmla="*/ 82 w 328"/>
                <a:gd name="T1" fmla="*/ 382 h 652"/>
                <a:gd name="T2" fmla="*/ 62 w 328"/>
                <a:gd name="T3" fmla="*/ 346 h 652"/>
                <a:gd name="T4" fmla="*/ 48 w 328"/>
                <a:gd name="T5" fmla="*/ 342 h 652"/>
                <a:gd name="T6" fmla="*/ 56 w 328"/>
                <a:gd name="T7" fmla="*/ 336 h 652"/>
                <a:gd name="T8" fmla="*/ 52 w 328"/>
                <a:gd name="T9" fmla="*/ 326 h 652"/>
                <a:gd name="T10" fmla="*/ 18 w 328"/>
                <a:gd name="T11" fmla="*/ 306 h 652"/>
                <a:gd name="T12" fmla="*/ 8 w 328"/>
                <a:gd name="T13" fmla="*/ 300 h 652"/>
                <a:gd name="T14" fmla="*/ 4 w 328"/>
                <a:gd name="T15" fmla="*/ 268 h 652"/>
                <a:gd name="T16" fmla="*/ 12 w 328"/>
                <a:gd name="T17" fmla="*/ 248 h 652"/>
                <a:gd name="T18" fmla="*/ 26 w 328"/>
                <a:gd name="T19" fmla="*/ 244 h 652"/>
                <a:gd name="T20" fmla="*/ 28 w 328"/>
                <a:gd name="T21" fmla="*/ 236 h 652"/>
                <a:gd name="T22" fmla="*/ 26 w 328"/>
                <a:gd name="T23" fmla="*/ 212 h 652"/>
                <a:gd name="T24" fmla="*/ 38 w 328"/>
                <a:gd name="T25" fmla="*/ 182 h 652"/>
                <a:gd name="T26" fmla="*/ 64 w 328"/>
                <a:gd name="T27" fmla="*/ 174 h 652"/>
                <a:gd name="T28" fmla="*/ 82 w 328"/>
                <a:gd name="T29" fmla="*/ 124 h 652"/>
                <a:gd name="T30" fmla="*/ 100 w 328"/>
                <a:gd name="T31" fmla="*/ 102 h 652"/>
                <a:gd name="T32" fmla="*/ 126 w 328"/>
                <a:gd name="T33" fmla="*/ 56 h 652"/>
                <a:gd name="T34" fmla="*/ 160 w 328"/>
                <a:gd name="T35" fmla="*/ 44 h 652"/>
                <a:gd name="T36" fmla="*/ 162 w 328"/>
                <a:gd name="T37" fmla="*/ 22 h 652"/>
                <a:gd name="T38" fmla="*/ 170 w 328"/>
                <a:gd name="T39" fmla="*/ 6 h 652"/>
                <a:gd name="T40" fmla="*/ 180 w 328"/>
                <a:gd name="T41" fmla="*/ 0 h 652"/>
                <a:gd name="T42" fmla="*/ 200 w 328"/>
                <a:gd name="T43" fmla="*/ 20 h 652"/>
                <a:gd name="T44" fmla="*/ 222 w 328"/>
                <a:gd name="T45" fmla="*/ 54 h 652"/>
                <a:gd name="T46" fmla="*/ 212 w 328"/>
                <a:gd name="T47" fmla="*/ 100 h 652"/>
                <a:gd name="T48" fmla="*/ 200 w 328"/>
                <a:gd name="T49" fmla="*/ 116 h 652"/>
                <a:gd name="T50" fmla="*/ 198 w 328"/>
                <a:gd name="T51" fmla="*/ 152 h 652"/>
                <a:gd name="T52" fmla="*/ 210 w 328"/>
                <a:gd name="T53" fmla="*/ 152 h 652"/>
                <a:gd name="T54" fmla="*/ 240 w 328"/>
                <a:gd name="T55" fmla="*/ 162 h 652"/>
                <a:gd name="T56" fmla="*/ 258 w 328"/>
                <a:gd name="T57" fmla="*/ 212 h 652"/>
                <a:gd name="T58" fmla="*/ 296 w 328"/>
                <a:gd name="T59" fmla="*/ 230 h 652"/>
                <a:gd name="T60" fmla="*/ 328 w 328"/>
                <a:gd name="T61" fmla="*/ 216 h 652"/>
                <a:gd name="T62" fmla="*/ 324 w 328"/>
                <a:gd name="T63" fmla="*/ 228 h 652"/>
                <a:gd name="T64" fmla="*/ 310 w 328"/>
                <a:gd name="T65" fmla="*/ 250 h 652"/>
                <a:gd name="T66" fmla="*/ 298 w 328"/>
                <a:gd name="T67" fmla="*/ 260 h 652"/>
                <a:gd name="T68" fmla="*/ 276 w 328"/>
                <a:gd name="T69" fmla="*/ 280 h 652"/>
                <a:gd name="T70" fmla="*/ 208 w 328"/>
                <a:gd name="T71" fmla="*/ 346 h 652"/>
                <a:gd name="T72" fmla="*/ 218 w 328"/>
                <a:gd name="T73" fmla="*/ 386 h 652"/>
                <a:gd name="T74" fmla="*/ 244 w 328"/>
                <a:gd name="T75" fmla="*/ 428 h 652"/>
                <a:gd name="T76" fmla="*/ 250 w 328"/>
                <a:gd name="T77" fmla="*/ 438 h 652"/>
                <a:gd name="T78" fmla="*/ 234 w 328"/>
                <a:gd name="T79" fmla="*/ 470 h 652"/>
                <a:gd name="T80" fmla="*/ 236 w 328"/>
                <a:gd name="T81" fmla="*/ 494 h 652"/>
                <a:gd name="T82" fmla="*/ 270 w 328"/>
                <a:gd name="T83" fmla="*/ 542 h 652"/>
                <a:gd name="T84" fmla="*/ 290 w 328"/>
                <a:gd name="T85" fmla="*/ 584 h 652"/>
                <a:gd name="T86" fmla="*/ 268 w 328"/>
                <a:gd name="T87" fmla="*/ 616 h 652"/>
                <a:gd name="T88" fmla="*/ 258 w 328"/>
                <a:gd name="T89" fmla="*/ 594 h 652"/>
                <a:gd name="T90" fmla="*/ 252 w 328"/>
                <a:gd name="T91" fmla="*/ 584 h 652"/>
                <a:gd name="T92" fmla="*/ 236 w 328"/>
                <a:gd name="T93" fmla="*/ 522 h 652"/>
                <a:gd name="T94" fmla="*/ 210 w 328"/>
                <a:gd name="T95" fmla="*/ 426 h 652"/>
                <a:gd name="T96" fmla="*/ 182 w 328"/>
                <a:gd name="T97" fmla="*/ 412 h 652"/>
                <a:gd name="T98" fmla="*/ 168 w 328"/>
                <a:gd name="T99" fmla="*/ 424 h 652"/>
                <a:gd name="T100" fmla="*/ 110 w 328"/>
                <a:gd name="T101" fmla="*/ 460 h 652"/>
                <a:gd name="T102" fmla="*/ 88 w 328"/>
                <a:gd name="T103" fmla="*/ 460 h 652"/>
                <a:gd name="T104" fmla="*/ 80 w 328"/>
                <a:gd name="T105" fmla="*/ 456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652">
                  <a:moveTo>
                    <a:pt x="78" y="444"/>
                  </a:moveTo>
                  <a:lnTo>
                    <a:pt x="86" y="414"/>
                  </a:lnTo>
                  <a:lnTo>
                    <a:pt x="82" y="382"/>
                  </a:lnTo>
                  <a:lnTo>
                    <a:pt x="80" y="376"/>
                  </a:lnTo>
                  <a:lnTo>
                    <a:pt x="80" y="372"/>
                  </a:lnTo>
                  <a:lnTo>
                    <a:pt x="62" y="346"/>
                  </a:lnTo>
                  <a:lnTo>
                    <a:pt x="60" y="354"/>
                  </a:lnTo>
                  <a:lnTo>
                    <a:pt x="52" y="350"/>
                  </a:lnTo>
                  <a:lnTo>
                    <a:pt x="48" y="342"/>
                  </a:lnTo>
                  <a:lnTo>
                    <a:pt x="50" y="336"/>
                  </a:lnTo>
                  <a:lnTo>
                    <a:pt x="58" y="338"/>
                  </a:lnTo>
                  <a:lnTo>
                    <a:pt x="56" y="336"/>
                  </a:lnTo>
                  <a:lnTo>
                    <a:pt x="52" y="332"/>
                  </a:lnTo>
                  <a:lnTo>
                    <a:pt x="54" y="328"/>
                  </a:lnTo>
                  <a:lnTo>
                    <a:pt x="52" y="326"/>
                  </a:lnTo>
                  <a:lnTo>
                    <a:pt x="24" y="314"/>
                  </a:lnTo>
                  <a:lnTo>
                    <a:pt x="24" y="308"/>
                  </a:lnTo>
                  <a:lnTo>
                    <a:pt x="18" y="306"/>
                  </a:lnTo>
                  <a:lnTo>
                    <a:pt x="14" y="302"/>
                  </a:lnTo>
                  <a:lnTo>
                    <a:pt x="14" y="304"/>
                  </a:lnTo>
                  <a:lnTo>
                    <a:pt x="8" y="300"/>
                  </a:lnTo>
                  <a:lnTo>
                    <a:pt x="0" y="286"/>
                  </a:lnTo>
                  <a:lnTo>
                    <a:pt x="0" y="270"/>
                  </a:lnTo>
                  <a:lnTo>
                    <a:pt x="4" y="268"/>
                  </a:lnTo>
                  <a:lnTo>
                    <a:pt x="12" y="268"/>
                  </a:lnTo>
                  <a:lnTo>
                    <a:pt x="10" y="250"/>
                  </a:lnTo>
                  <a:lnTo>
                    <a:pt x="12" y="248"/>
                  </a:lnTo>
                  <a:lnTo>
                    <a:pt x="16" y="244"/>
                  </a:lnTo>
                  <a:lnTo>
                    <a:pt x="24" y="244"/>
                  </a:lnTo>
                  <a:lnTo>
                    <a:pt x="26" y="244"/>
                  </a:lnTo>
                  <a:lnTo>
                    <a:pt x="30" y="240"/>
                  </a:lnTo>
                  <a:lnTo>
                    <a:pt x="30" y="236"/>
                  </a:lnTo>
                  <a:lnTo>
                    <a:pt x="28" y="236"/>
                  </a:lnTo>
                  <a:lnTo>
                    <a:pt x="26" y="230"/>
                  </a:lnTo>
                  <a:lnTo>
                    <a:pt x="26" y="220"/>
                  </a:lnTo>
                  <a:lnTo>
                    <a:pt x="26" y="212"/>
                  </a:lnTo>
                  <a:lnTo>
                    <a:pt x="34" y="212"/>
                  </a:lnTo>
                  <a:lnTo>
                    <a:pt x="36" y="210"/>
                  </a:lnTo>
                  <a:lnTo>
                    <a:pt x="38" y="182"/>
                  </a:lnTo>
                  <a:lnTo>
                    <a:pt x="42" y="176"/>
                  </a:lnTo>
                  <a:lnTo>
                    <a:pt x="52" y="174"/>
                  </a:lnTo>
                  <a:lnTo>
                    <a:pt x="64" y="174"/>
                  </a:lnTo>
                  <a:lnTo>
                    <a:pt x="68" y="170"/>
                  </a:lnTo>
                  <a:lnTo>
                    <a:pt x="84" y="128"/>
                  </a:lnTo>
                  <a:lnTo>
                    <a:pt x="82" y="124"/>
                  </a:lnTo>
                  <a:lnTo>
                    <a:pt x="86" y="118"/>
                  </a:lnTo>
                  <a:lnTo>
                    <a:pt x="96" y="110"/>
                  </a:lnTo>
                  <a:lnTo>
                    <a:pt x="100" y="102"/>
                  </a:lnTo>
                  <a:lnTo>
                    <a:pt x="98" y="86"/>
                  </a:lnTo>
                  <a:lnTo>
                    <a:pt x="102" y="76"/>
                  </a:lnTo>
                  <a:lnTo>
                    <a:pt x="126" y="56"/>
                  </a:lnTo>
                  <a:lnTo>
                    <a:pt x="130" y="48"/>
                  </a:lnTo>
                  <a:lnTo>
                    <a:pt x="148" y="42"/>
                  </a:lnTo>
                  <a:lnTo>
                    <a:pt x="160" y="44"/>
                  </a:lnTo>
                  <a:lnTo>
                    <a:pt x="162" y="40"/>
                  </a:lnTo>
                  <a:lnTo>
                    <a:pt x="160" y="30"/>
                  </a:lnTo>
                  <a:lnTo>
                    <a:pt x="162" y="22"/>
                  </a:lnTo>
                  <a:lnTo>
                    <a:pt x="168" y="18"/>
                  </a:lnTo>
                  <a:lnTo>
                    <a:pt x="172" y="14"/>
                  </a:lnTo>
                  <a:lnTo>
                    <a:pt x="170" y="6"/>
                  </a:lnTo>
                  <a:lnTo>
                    <a:pt x="176" y="4"/>
                  </a:lnTo>
                  <a:lnTo>
                    <a:pt x="178" y="0"/>
                  </a:lnTo>
                  <a:lnTo>
                    <a:pt x="180" y="0"/>
                  </a:lnTo>
                  <a:lnTo>
                    <a:pt x="188" y="2"/>
                  </a:lnTo>
                  <a:lnTo>
                    <a:pt x="198" y="10"/>
                  </a:lnTo>
                  <a:lnTo>
                    <a:pt x="200" y="20"/>
                  </a:lnTo>
                  <a:lnTo>
                    <a:pt x="204" y="24"/>
                  </a:lnTo>
                  <a:lnTo>
                    <a:pt x="214" y="22"/>
                  </a:lnTo>
                  <a:lnTo>
                    <a:pt x="222" y="54"/>
                  </a:lnTo>
                  <a:lnTo>
                    <a:pt x="222" y="76"/>
                  </a:lnTo>
                  <a:lnTo>
                    <a:pt x="218" y="92"/>
                  </a:lnTo>
                  <a:lnTo>
                    <a:pt x="212" y="100"/>
                  </a:lnTo>
                  <a:lnTo>
                    <a:pt x="208" y="102"/>
                  </a:lnTo>
                  <a:lnTo>
                    <a:pt x="206" y="108"/>
                  </a:lnTo>
                  <a:lnTo>
                    <a:pt x="200" y="116"/>
                  </a:lnTo>
                  <a:lnTo>
                    <a:pt x="196" y="136"/>
                  </a:lnTo>
                  <a:lnTo>
                    <a:pt x="198" y="146"/>
                  </a:lnTo>
                  <a:lnTo>
                    <a:pt x="198" y="152"/>
                  </a:lnTo>
                  <a:lnTo>
                    <a:pt x="192" y="162"/>
                  </a:lnTo>
                  <a:lnTo>
                    <a:pt x="196" y="166"/>
                  </a:lnTo>
                  <a:lnTo>
                    <a:pt x="210" y="152"/>
                  </a:lnTo>
                  <a:lnTo>
                    <a:pt x="236" y="146"/>
                  </a:lnTo>
                  <a:lnTo>
                    <a:pt x="236" y="154"/>
                  </a:lnTo>
                  <a:lnTo>
                    <a:pt x="240" y="162"/>
                  </a:lnTo>
                  <a:lnTo>
                    <a:pt x="242" y="174"/>
                  </a:lnTo>
                  <a:lnTo>
                    <a:pt x="262" y="182"/>
                  </a:lnTo>
                  <a:lnTo>
                    <a:pt x="258" y="212"/>
                  </a:lnTo>
                  <a:lnTo>
                    <a:pt x="280" y="214"/>
                  </a:lnTo>
                  <a:lnTo>
                    <a:pt x="284" y="220"/>
                  </a:lnTo>
                  <a:lnTo>
                    <a:pt x="296" y="230"/>
                  </a:lnTo>
                  <a:lnTo>
                    <a:pt x="310" y="226"/>
                  </a:lnTo>
                  <a:lnTo>
                    <a:pt x="320" y="216"/>
                  </a:lnTo>
                  <a:lnTo>
                    <a:pt x="328" y="216"/>
                  </a:lnTo>
                  <a:lnTo>
                    <a:pt x="328" y="220"/>
                  </a:lnTo>
                  <a:lnTo>
                    <a:pt x="328" y="224"/>
                  </a:lnTo>
                  <a:lnTo>
                    <a:pt x="324" y="228"/>
                  </a:lnTo>
                  <a:lnTo>
                    <a:pt x="308" y="242"/>
                  </a:lnTo>
                  <a:lnTo>
                    <a:pt x="308" y="246"/>
                  </a:lnTo>
                  <a:lnTo>
                    <a:pt x="310" y="250"/>
                  </a:lnTo>
                  <a:lnTo>
                    <a:pt x="302" y="254"/>
                  </a:lnTo>
                  <a:lnTo>
                    <a:pt x="298" y="256"/>
                  </a:lnTo>
                  <a:lnTo>
                    <a:pt x="298" y="260"/>
                  </a:lnTo>
                  <a:lnTo>
                    <a:pt x="294" y="262"/>
                  </a:lnTo>
                  <a:lnTo>
                    <a:pt x="286" y="276"/>
                  </a:lnTo>
                  <a:lnTo>
                    <a:pt x="276" y="280"/>
                  </a:lnTo>
                  <a:lnTo>
                    <a:pt x="248" y="306"/>
                  </a:lnTo>
                  <a:lnTo>
                    <a:pt x="218" y="314"/>
                  </a:lnTo>
                  <a:lnTo>
                    <a:pt x="208" y="346"/>
                  </a:lnTo>
                  <a:lnTo>
                    <a:pt x="210" y="352"/>
                  </a:lnTo>
                  <a:lnTo>
                    <a:pt x="204" y="358"/>
                  </a:lnTo>
                  <a:lnTo>
                    <a:pt x="218" y="386"/>
                  </a:lnTo>
                  <a:lnTo>
                    <a:pt x="234" y="394"/>
                  </a:lnTo>
                  <a:lnTo>
                    <a:pt x="240" y="400"/>
                  </a:lnTo>
                  <a:lnTo>
                    <a:pt x="244" y="428"/>
                  </a:lnTo>
                  <a:lnTo>
                    <a:pt x="250" y="428"/>
                  </a:lnTo>
                  <a:lnTo>
                    <a:pt x="254" y="434"/>
                  </a:lnTo>
                  <a:lnTo>
                    <a:pt x="250" y="438"/>
                  </a:lnTo>
                  <a:lnTo>
                    <a:pt x="244" y="454"/>
                  </a:lnTo>
                  <a:lnTo>
                    <a:pt x="244" y="460"/>
                  </a:lnTo>
                  <a:lnTo>
                    <a:pt x="234" y="470"/>
                  </a:lnTo>
                  <a:lnTo>
                    <a:pt x="232" y="474"/>
                  </a:lnTo>
                  <a:lnTo>
                    <a:pt x="232" y="484"/>
                  </a:lnTo>
                  <a:lnTo>
                    <a:pt x="236" y="494"/>
                  </a:lnTo>
                  <a:lnTo>
                    <a:pt x="264" y="512"/>
                  </a:lnTo>
                  <a:lnTo>
                    <a:pt x="268" y="520"/>
                  </a:lnTo>
                  <a:lnTo>
                    <a:pt x="270" y="542"/>
                  </a:lnTo>
                  <a:lnTo>
                    <a:pt x="274" y="554"/>
                  </a:lnTo>
                  <a:lnTo>
                    <a:pt x="276" y="554"/>
                  </a:lnTo>
                  <a:lnTo>
                    <a:pt x="290" y="584"/>
                  </a:lnTo>
                  <a:lnTo>
                    <a:pt x="290" y="590"/>
                  </a:lnTo>
                  <a:lnTo>
                    <a:pt x="276" y="610"/>
                  </a:lnTo>
                  <a:lnTo>
                    <a:pt x="268" y="616"/>
                  </a:lnTo>
                  <a:lnTo>
                    <a:pt x="254" y="652"/>
                  </a:lnTo>
                  <a:lnTo>
                    <a:pt x="246" y="646"/>
                  </a:lnTo>
                  <a:lnTo>
                    <a:pt x="258" y="594"/>
                  </a:lnTo>
                  <a:lnTo>
                    <a:pt x="246" y="588"/>
                  </a:lnTo>
                  <a:lnTo>
                    <a:pt x="246" y="584"/>
                  </a:lnTo>
                  <a:lnTo>
                    <a:pt x="252" y="584"/>
                  </a:lnTo>
                  <a:lnTo>
                    <a:pt x="250" y="578"/>
                  </a:lnTo>
                  <a:lnTo>
                    <a:pt x="252" y="568"/>
                  </a:lnTo>
                  <a:lnTo>
                    <a:pt x="236" y="522"/>
                  </a:lnTo>
                  <a:lnTo>
                    <a:pt x="234" y="526"/>
                  </a:lnTo>
                  <a:lnTo>
                    <a:pt x="232" y="528"/>
                  </a:lnTo>
                  <a:lnTo>
                    <a:pt x="210" y="426"/>
                  </a:lnTo>
                  <a:lnTo>
                    <a:pt x="204" y="426"/>
                  </a:lnTo>
                  <a:lnTo>
                    <a:pt x="188" y="418"/>
                  </a:lnTo>
                  <a:lnTo>
                    <a:pt x="182" y="412"/>
                  </a:lnTo>
                  <a:lnTo>
                    <a:pt x="178" y="414"/>
                  </a:lnTo>
                  <a:lnTo>
                    <a:pt x="170" y="396"/>
                  </a:lnTo>
                  <a:lnTo>
                    <a:pt x="168" y="424"/>
                  </a:lnTo>
                  <a:lnTo>
                    <a:pt x="118" y="462"/>
                  </a:lnTo>
                  <a:lnTo>
                    <a:pt x="114" y="460"/>
                  </a:lnTo>
                  <a:lnTo>
                    <a:pt x="110" y="460"/>
                  </a:lnTo>
                  <a:lnTo>
                    <a:pt x="106" y="456"/>
                  </a:lnTo>
                  <a:lnTo>
                    <a:pt x="102" y="464"/>
                  </a:lnTo>
                  <a:lnTo>
                    <a:pt x="88" y="460"/>
                  </a:lnTo>
                  <a:lnTo>
                    <a:pt x="84" y="456"/>
                  </a:lnTo>
                  <a:lnTo>
                    <a:pt x="86" y="452"/>
                  </a:lnTo>
                  <a:lnTo>
                    <a:pt x="80" y="456"/>
                  </a:lnTo>
                  <a:lnTo>
                    <a:pt x="76" y="454"/>
                  </a:lnTo>
                  <a:lnTo>
                    <a:pt x="78" y="44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76" name="Freeform 428"/>
            <p:cNvSpPr>
              <a:spLocks/>
            </p:cNvSpPr>
            <p:nvPr/>
          </p:nvSpPr>
          <p:spPr bwMode="auto">
            <a:xfrm>
              <a:off x="4762501" y="4484688"/>
              <a:ext cx="563563" cy="1035050"/>
            </a:xfrm>
            <a:custGeom>
              <a:avLst/>
              <a:gdLst>
                <a:gd name="T0" fmla="*/ 82 w 328"/>
                <a:gd name="T1" fmla="*/ 382 h 652"/>
                <a:gd name="T2" fmla="*/ 62 w 328"/>
                <a:gd name="T3" fmla="*/ 346 h 652"/>
                <a:gd name="T4" fmla="*/ 48 w 328"/>
                <a:gd name="T5" fmla="*/ 342 h 652"/>
                <a:gd name="T6" fmla="*/ 56 w 328"/>
                <a:gd name="T7" fmla="*/ 336 h 652"/>
                <a:gd name="T8" fmla="*/ 52 w 328"/>
                <a:gd name="T9" fmla="*/ 326 h 652"/>
                <a:gd name="T10" fmla="*/ 18 w 328"/>
                <a:gd name="T11" fmla="*/ 306 h 652"/>
                <a:gd name="T12" fmla="*/ 8 w 328"/>
                <a:gd name="T13" fmla="*/ 300 h 652"/>
                <a:gd name="T14" fmla="*/ 4 w 328"/>
                <a:gd name="T15" fmla="*/ 268 h 652"/>
                <a:gd name="T16" fmla="*/ 12 w 328"/>
                <a:gd name="T17" fmla="*/ 248 h 652"/>
                <a:gd name="T18" fmla="*/ 26 w 328"/>
                <a:gd name="T19" fmla="*/ 244 h 652"/>
                <a:gd name="T20" fmla="*/ 28 w 328"/>
                <a:gd name="T21" fmla="*/ 236 h 652"/>
                <a:gd name="T22" fmla="*/ 26 w 328"/>
                <a:gd name="T23" fmla="*/ 212 h 652"/>
                <a:gd name="T24" fmla="*/ 38 w 328"/>
                <a:gd name="T25" fmla="*/ 182 h 652"/>
                <a:gd name="T26" fmla="*/ 64 w 328"/>
                <a:gd name="T27" fmla="*/ 174 h 652"/>
                <a:gd name="T28" fmla="*/ 82 w 328"/>
                <a:gd name="T29" fmla="*/ 124 h 652"/>
                <a:gd name="T30" fmla="*/ 100 w 328"/>
                <a:gd name="T31" fmla="*/ 102 h 652"/>
                <a:gd name="T32" fmla="*/ 126 w 328"/>
                <a:gd name="T33" fmla="*/ 56 h 652"/>
                <a:gd name="T34" fmla="*/ 160 w 328"/>
                <a:gd name="T35" fmla="*/ 44 h 652"/>
                <a:gd name="T36" fmla="*/ 162 w 328"/>
                <a:gd name="T37" fmla="*/ 22 h 652"/>
                <a:gd name="T38" fmla="*/ 170 w 328"/>
                <a:gd name="T39" fmla="*/ 6 h 652"/>
                <a:gd name="T40" fmla="*/ 180 w 328"/>
                <a:gd name="T41" fmla="*/ 0 h 652"/>
                <a:gd name="T42" fmla="*/ 200 w 328"/>
                <a:gd name="T43" fmla="*/ 20 h 652"/>
                <a:gd name="T44" fmla="*/ 222 w 328"/>
                <a:gd name="T45" fmla="*/ 54 h 652"/>
                <a:gd name="T46" fmla="*/ 212 w 328"/>
                <a:gd name="T47" fmla="*/ 100 h 652"/>
                <a:gd name="T48" fmla="*/ 200 w 328"/>
                <a:gd name="T49" fmla="*/ 116 h 652"/>
                <a:gd name="T50" fmla="*/ 198 w 328"/>
                <a:gd name="T51" fmla="*/ 152 h 652"/>
                <a:gd name="T52" fmla="*/ 210 w 328"/>
                <a:gd name="T53" fmla="*/ 152 h 652"/>
                <a:gd name="T54" fmla="*/ 240 w 328"/>
                <a:gd name="T55" fmla="*/ 162 h 652"/>
                <a:gd name="T56" fmla="*/ 258 w 328"/>
                <a:gd name="T57" fmla="*/ 212 h 652"/>
                <a:gd name="T58" fmla="*/ 296 w 328"/>
                <a:gd name="T59" fmla="*/ 230 h 652"/>
                <a:gd name="T60" fmla="*/ 328 w 328"/>
                <a:gd name="T61" fmla="*/ 216 h 652"/>
                <a:gd name="T62" fmla="*/ 324 w 328"/>
                <a:gd name="T63" fmla="*/ 228 h 652"/>
                <a:gd name="T64" fmla="*/ 310 w 328"/>
                <a:gd name="T65" fmla="*/ 250 h 652"/>
                <a:gd name="T66" fmla="*/ 298 w 328"/>
                <a:gd name="T67" fmla="*/ 260 h 652"/>
                <a:gd name="T68" fmla="*/ 276 w 328"/>
                <a:gd name="T69" fmla="*/ 280 h 652"/>
                <a:gd name="T70" fmla="*/ 208 w 328"/>
                <a:gd name="T71" fmla="*/ 346 h 652"/>
                <a:gd name="T72" fmla="*/ 218 w 328"/>
                <a:gd name="T73" fmla="*/ 386 h 652"/>
                <a:gd name="T74" fmla="*/ 244 w 328"/>
                <a:gd name="T75" fmla="*/ 428 h 652"/>
                <a:gd name="T76" fmla="*/ 250 w 328"/>
                <a:gd name="T77" fmla="*/ 438 h 652"/>
                <a:gd name="T78" fmla="*/ 234 w 328"/>
                <a:gd name="T79" fmla="*/ 470 h 652"/>
                <a:gd name="T80" fmla="*/ 236 w 328"/>
                <a:gd name="T81" fmla="*/ 494 h 652"/>
                <a:gd name="T82" fmla="*/ 270 w 328"/>
                <a:gd name="T83" fmla="*/ 542 h 652"/>
                <a:gd name="T84" fmla="*/ 290 w 328"/>
                <a:gd name="T85" fmla="*/ 584 h 652"/>
                <a:gd name="T86" fmla="*/ 268 w 328"/>
                <a:gd name="T87" fmla="*/ 616 h 652"/>
                <a:gd name="T88" fmla="*/ 258 w 328"/>
                <a:gd name="T89" fmla="*/ 594 h 652"/>
                <a:gd name="T90" fmla="*/ 252 w 328"/>
                <a:gd name="T91" fmla="*/ 584 h 652"/>
                <a:gd name="T92" fmla="*/ 236 w 328"/>
                <a:gd name="T93" fmla="*/ 522 h 652"/>
                <a:gd name="T94" fmla="*/ 210 w 328"/>
                <a:gd name="T95" fmla="*/ 426 h 652"/>
                <a:gd name="T96" fmla="*/ 182 w 328"/>
                <a:gd name="T97" fmla="*/ 412 h 652"/>
                <a:gd name="T98" fmla="*/ 168 w 328"/>
                <a:gd name="T99" fmla="*/ 424 h 652"/>
                <a:gd name="T100" fmla="*/ 110 w 328"/>
                <a:gd name="T101" fmla="*/ 460 h 652"/>
                <a:gd name="T102" fmla="*/ 88 w 328"/>
                <a:gd name="T103" fmla="*/ 460 h 652"/>
                <a:gd name="T104" fmla="*/ 80 w 328"/>
                <a:gd name="T105" fmla="*/ 456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652">
                  <a:moveTo>
                    <a:pt x="78" y="444"/>
                  </a:moveTo>
                  <a:lnTo>
                    <a:pt x="86" y="414"/>
                  </a:lnTo>
                  <a:lnTo>
                    <a:pt x="82" y="382"/>
                  </a:lnTo>
                  <a:lnTo>
                    <a:pt x="80" y="376"/>
                  </a:lnTo>
                  <a:lnTo>
                    <a:pt x="80" y="372"/>
                  </a:lnTo>
                  <a:lnTo>
                    <a:pt x="62" y="346"/>
                  </a:lnTo>
                  <a:lnTo>
                    <a:pt x="60" y="354"/>
                  </a:lnTo>
                  <a:lnTo>
                    <a:pt x="52" y="350"/>
                  </a:lnTo>
                  <a:lnTo>
                    <a:pt x="48" y="342"/>
                  </a:lnTo>
                  <a:lnTo>
                    <a:pt x="50" y="336"/>
                  </a:lnTo>
                  <a:lnTo>
                    <a:pt x="58" y="338"/>
                  </a:lnTo>
                  <a:lnTo>
                    <a:pt x="56" y="336"/>
                  </a:lnTo>
                  <a:lnTo>
                    <a:pt x="52" y="332"/>
                  </a:lnTo>
                  <a:lnTo>
                    <a:pt x="54" y="328"/>
                  </a:lnTo>
                  <a:lnTo>
                    <a:pt x="52" y="326"/>
                  </a:lnTo>
                  <a:lnTo>
                    <a:pt x="24" y="314"/>
                  </a:lnTo>
                  <a:lnTo>
                    <a:pt x="24" y="308"/>
                  </a:lnTo>
                  <a:lnTo>
                    <a:pt x="18" y="306"/>
                  </a:lnTo>
                  <a:lnTo>
                    <a:pt x="14" y="302"/>
                  </a:lnTo>
                  <a:lnTo>
                    <a:pt x="14" y="304"/>
                  </a:lnTo>
                  <a:lnTo>
                    <a:pt x="8" y="300"/>
                  </a:lnTo>
                  <a:lnTo>
                    <a:pt x="0" y="286"/>
                  </a:lnTo>
                  <a:lnTo>
                    <a:pt x="0" y="270"/>
                  </a:lnTo>
                  <a:lnTo>
                    <a:pt x="4" y="268"/>
                  </a:lnTo>
                  <a:lnTo>
                    <a:pt x="12" y="268"/>
                  </a:lnTo>
                  <a:lnTo>
                    <a:pt x="10" y="250"/>
                  </a:lnTo>
                  <a:lnTo>
                    <a:pt x="12" y="248"/>
                  </a:lnTo>
                  <a:lnTo>
                    <a:pt x="16" y="244"/>
                  </a:lnTo>
                  <a:lnTo>
                    <a:pt x="24" y="244"/>
                  </a:lnTo>
                  <a:lnTo>
                    <a:pt x="26" y="244"/>
                  </a:lnTo>
                  <a:lnTo>
                    <a:pt x="30" y="240"/>
                  </a:lnTo>
                  <a:lnTo>
                    <a:pt x="30" y="236"/>
                  </a:lnTo>
                  <a:lnTo>
                    <a:pt x="28" y="236"/>
                  </a:lnTo>
                  <a:lnTo>
                    <a:pt x="26" y="230"/>
                  </a:lnTo>
                  <a:lnTo>
                    <a:pt x="26" y="220"/>
                  </a:lnTo>
                  <a:lnTo>
                    <a:pt x="26" y="212"/>
                  </a:lnTo>
                  <a:lnTo>
                    <a:pt x="34" y="212"/>
                  </a:lnTo>
                  <a:lnTo>
                    <a:pt x="36" y="210"/>
                  </a:lnTo>
                  <a:lnTo>
                    <a:pt x="38" y="182"/>
                  </a:lnTo>
                  <a:lnTo>
                    <a:pt x="42" y="176"/>
                  </a:lnTo>
                  <a:lnTo>
                    <a:pt x="52" y="174"/>
                  </a:lnTo>
                  <a:lnTo>
                    <a:pt x="64" y="174"/>
                  </a:lnTo>
                  <a:lnTo>
                    <a:pt x="68" y="170"/>
                  </a:lnTo>
                  <a:lnTo>
                    <a:pt x="84" y="128"/>
                  </a:lnTo>
                  <a:lnTo>
                    <a:pt x="82" y="124"/>
                  </a:lnTo>
                  <a:lnTo>
                    <a:pt x="86" y="118"/>
                  </a:lnTo>
                  <a:lnTo>
                    <a:pt x="96" y="110"/>
                  </a:lnTo>
                  <a:lnTo>
                    <a:pt x="100" y="102"/>
                  </a:lnTo>
                  <a:lnTo>
                    <a:pt x="98" y="86"/>
                  </a:lnTo>
                  <a:lnTo>
                    <a:pt x="102" y="76"/>
                  </a:lnTo>
                  <a:lnTo>
                    <a:pt x="126" y="56"/>
                  </a:lnTo>
                  <a:lnTo>
                    <a:pt x="130" y="48"/>
                  </a:lnTo>
                  <a:lnTo>
                    <a:pt x="148" y="42"/>
                  </a:lnTo>
                  <a:lnTo>
                    <a:pt x="160" y="44"/>
                  </a:lnTo>
                  <a:lnTo>
                    <a:pt x="162" y="40"/>
                  </a:lnTo>
                  <a:lnTo>
                    <a:pt x="160" y="30"/>
                  </a:lnTo>
                  <a:lnTo>
                    <a:pt x="162" y="22"/>
                  </a:lnTo>
                  <a:lnTo>
                    <a:pt x="168" y="18"/>
                  </a:lnTo>
                  <a:lnTo>
                    <a:pt x="172" y="14"/>
                  </a:lnTo>
                  <a:lnTo>
                    <a:pt x="170" y="6"/>
                  </a:lnTo>
                  <a:lnTo>
                    <a:pt x="176" y="4"/>
                  </a:lnTo>
                  <a:lnTo>
                    <a:pt x="178" y="0"/>
                  </a:lnTo>
                  <a:lnTo>
                    <a:pt x="180" y="0"/>
                  </a:lnTo>
                  <a:lnTo>
                    <a:pt x="188" y="2"/>
                  </a:lnTo>
                  <a:lnTo>
                    <a:pt x="198" y="10"/>
                  </a:lnTo>
                  <a:lnTo>
                    <a:pt x="200" y="20"/>
                  </a:lnTo>
                  <a:lnTo>
                    <a:pt x="204" y="24"/>
                  </a:lnTo>
                  <a:lnTo>
                    <a:pt x="214" y="22"/>
                  </a:lnTo>
                  <a:lnTo>
                    <a:pt x="222" y="54"/>
                  </a:lnTo>
                  <a:lnTo>
                    <a:pt x="222" y="76"/>
                  </a:lnTo>
                  <a:lnTo>
                    <a:pt x="218" y="92"/>
                  </a:lnTo>
                  <a:lnTo>
                    <a:pt x="212" y="100"/>
                  </a:lnTo>
                  <a:lnTo>
                    <a:pt x="208" y="102"/>
                  </a:lnTo>
                  <a:lnTo>
                    <a:pt x="206" y="108"/>
                  </a:lnTo>
                  <a:lnTo>
                    <a:pt x="200" y="116"/>
                  </a:lnTo>
                  <a:lnTo>
                    <a:pt x="196" y="136"/>
                  </a:lnTo>
                  <a:lnTo>
                    <a:pt x="198" y="146"/>
                  </a:lnTo>
                  <a:lnTo>
                    <a:pt x="198" y="152"/>
                  </a:lnTo>
                  <a:lnTo>
                    <a:pt x="192" y="162"/>
                  </a:lnTo>
                  <a:lnTo>
                    <a:pt x="196" y="166"/>
                  </a:lnTo>
                  <a:lnTo>
                    <a:pt x="210" y="152"/>
                  </a:lnTo>
                  <a:lnTo>
                    <a:pt x="236" y="146"/>
                  </a:lnTo>
                  <a:lnTo>
                    <a:pt x="236" y="154"/>
                  </a:lnTo>
                  <a:lnTo>
                    <a:pt x="240" y="162"/>
                  </a:lnTo>
                  <a:lnTo>
                    <a:pt x="242" y="174"/>
                  </a:lnTo>
                  <a:lnTo>
                    <a:pt x="262" y="182"/>
                  </a:lnTo>
                  <a:lnTo>
                    <a:pt x="258" y="212"/>
                  </a:lnTo>
                  <a:lnTo>
                    <a:pt x="280" y="214"/>
                  </a:lnTo>
                  <a:lnTo>
                    <a:pt x="284" y="220"/>
                  </a:lnTo>
                  <a:lnTo>
                    <a:pt x="296" y="230"/>
                  </a:lnTo>
                  <a:lnTo>
                    <a:pt x="310" y="226"/>
                  </a:lnTo>
                  <a:lnTo>
                    <a:pt x="320" y="216"/>
                  </a:lnTo>
                  <a:lnTo>
                    <a:pt x="328" y="216"/>
                  </a:lnTo>
                  <a:lnTo>
                    <a:pt x="328" y="220"/>
                  </a:lnTo>
                  <a:lnTo>
                    <a:pt x="328" y="224"/>
                  </a:lnTo>
                  <a:lnTo>
                    <a:pt x="324" y="228"/>
                  </a:lnTo>
                  <a:lnTo>
                    <a:pt x="308" y="242"/>
                  </a:lnTo>
                  <a:lnTo>
                    <a:pt x="308" y="246"/>
                  </a:lnTo>
                  <a:lnTo>
                    <a:pt x="310" y="250"/>
                  </a:lnTo>
                  <a:lnTo>
                    <a:pt x="302" y="254"/>
                  </a:lnTo>
                  <a:lnTo>
                    <a:pt x="298" y="256"/>
                  </a:lnTo>
                  <a:lnTo>
                    <a:pt x="298" y="260"/>
                  </a:lnTo>
                  <a:lnTo>
                    <a:pt x="294" y="262"/>
                  </a:lnTo>
                  <a:lnTo>
                    <a:pt x="286" y="276"/>
                  </a:lnTo>
                  <a:lnTo>
                    <a:pt x="276" y="280"/>
                  </a:lnTo>
                  <a:lnTo>
                    <a:pt x="248" y="306"/>
                  </a:lnTo>
                  <a:lnTo>
                    <a:pt x="218" y="314"/>
                  </a:lnTo>
                  <a:lnTo>
                    <a:pt x="208" y="346"/>
                  </a:lnTo>
                  <a:lnTo>
                    <a:pt x="210" y="352"/>
                  </a:lnTo>
                  <a:lnTo>
                    <a:pt x="204" y="358"/>
                  </a:lnTo>
                  <a:lnTo>
                    <a:pt x="218" y="386"/>
                  </a:lnTo>
                  <a:lnTo>
                    <a:pt x="234" y="394"/>
                  </a:lnTo>
                  <a:lnTo>
                    <a:pt x="240" y="400"/>
                  </a:lnTo>
                  <a:lnTo>
                    <a:pt x="244" y="428"/>
                  </a:lnTo>
                  <a:lnTo>
                    <a:pt x="250" y="428"/>
                  </a:lnTo>
                  <a:lnTo>
                    <a:pt x="254" y="434"/>
                  </a:lnTo>
                  <a:lnTo>
                    <a:pt x="250" y="438"/>
                  </a:lnTo>
                  <a:lnTo>
                    <a:pt x="244" y="454"/>
                  </a:lnTo>
                  <a:lnTo>
                    <a:pt x="244" y="460"/>
                  </a:lnTo>
                  <a:lnTo>
                    <a:pt x="234" y="470"/>
                  </a:lnTo>
                  <a:lnTo>
                    <a:pt x="232" y="474"/>
                  </a:lnTo>
                  <a:lnTo>
                    <a:pt x="232" y="484"/>
                  </a:lnTo>
                  <a:lnTo>
                    <a:pt x="236" y="494"/>
                  </a:lnTo>
                  <a:lnTo>
                    <a:pt x="264" y="512"/>
                  </a:lnTo>
                  <a:lnTo>
                    <a:pt x="268" y="520"/>
                  </a:lnTo>
                  <a:lnTo>
                    <a:pt x="270" y="542"/>
                  </a:lnTo>
                  <a:lnTo>
                    <a:pt x="274" y="554"/>
                  </a:lnTo>
                  <a:lnTo>
                    <a:pt x="276" y="554"/>
                  </a:lnTo>
                  <a:lnTo>
                    <a:pt x="290" y="584"/>
                  </a:lnTo>
                  <a:lnTo>
                    <a:pt x="290" y="590"/>
                  </a:lnTo>
                  <a:lnTo>
                    <a:pt x="276" y="610"/>
                  </a:lnTo>
                  <a:lnTo>
                    <a:pt x="268" y="616"/>
                  </a:lnTo>
                  <a:lnTo>
                    <a:pt x="254" y="652"/>
                  </a:lnTo>
                  <a:lnTo>
                    <a:pt x="246" y="646"/>
                  </a:lnTo>
                  <a:lnTo>
                    <a:pt x="258" y="594"/>
                  </a:lnTo>
                  <a:lnTo>
                    <a:pt x="246" y="588"/>
                  </a:lnTo>
                  <a:lnTo>
                    <a:pt x="246" y="584"/>
                  </a:lnTo>
                  <a:lnTo>
                    <a:pt x="252" y="584"/>
                  </a:lnTo>
                  <a:lnTo>
                    <a:pt x="250" y="578"/>
                  </a:lnTo>
                  <a:lnTo>
                    <a:pt x="252" y="568"/>
                  </a:lnTo>
                  <a:lnTo>
                    <a:pt x="236" y="522"/>
                  </a:lnTo>
                  <a:lnTo>
                    <a:pt x="234" y="526"/>
                  </a:lnTo>
                  <a:lnTo>
                    <a:pt x="232" y="528"/>
                  </a:lnTo>
                  <a:lnTo>
                    <a:pt x="210" y="426"/>
                  </a:lnTo>
                  <a:lnTo>
                    <a:pt x="204" y="426"/>
                  </a:lnTo>
                  <a:lnTo>
                    <a:pt x="188" y="418"/>
                  </a:lnTo>
                  <a:lnTo>
                    <a:pt x="182" y="412"/>
                  </a:lnTo>
                  <a:lnTo>
                    <a:pt x="178" y="414"/>
                  </a:lnTo>
                  <a:lnTo>
                    <a:pt x="170" y="396"/>
                  </a:lnTo>
                  <a:lnTo>
                    <a:pt x="168" y="424"/>
                  </a:lnTo>
                  <a:lnTo>
                    <a:pt x="118" y="462"/>
                  </a:lnTo>
                  <a:lnTo>
                    <a:pt x="114" y="460"/>
                  </a:lnTo>
                  <a:lnTo>
                    <a:pt x="110" y="460"/>
                  </a:lnTo>
                  <a:lnTo>
                    <a:pt x="106" y="456"/>
                  </a:lnTo>
                  <a:lnTo>
                    <a:pt x="102" y="464"/>
                  </a:lnTo>
                  <a:lnTo>
                    <a:pt x="88" y="460"/>
                  </a:lnTo>
                  <a:lnTo>
                    <a:pt x="84" y="456"/>
                  </a:lnTo>
                  <a:lnTo>
                    <a:pt x="86" y="452"/>
                  </a:lnTo>
                  <a:lnTo>
                    <a:pt x="80" y="456"/>
                  </a:lnTo>
                  <a:lnTo>
                    <a:pt x="76" y="454"/>
                  </a:lnTo>
                  <a:lnTo>
                    <a:pt x="78" y="44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7" name="Freeform 429"/>
            <p:cNvSpPr>
              <a:spLocks/>
            </p:cNvSpPr>
            <p:nvPr/>
          </p:nvSpPr>
          <p:spPr bwMode="auto">
            <a:xfrm>
              <a:off x="5440363" y="5164138"/>
              <a:ext cx="360363" cy="288925"/>
            </a:xfrm>
            <a:custGeom>
              <a:avLst/>
              <a:gdLst>
                <a:gd name="T0" fmla="*/ 94 w 210"/>
                <a:gd name="T1" fmla="*/ 180 h 182"/>
                <a:gd name="T2" fmla="*/ 90 w 210"/>
                <a:gd name="T3" fmla="*/ 180 h 182"/>
                <a:gd name="T4" fmla="*/ 88 w 210"/>
                <a:gd name="T5" fmla="*/ 178 h 182"/>
                <a:gd name="T6" fmla="*/ 82 w 210"/>
                <a:gd name="T7" fmla="*/ 178 h 182"/>
                <a:gd name="T8" fmla="*/ 70 w 210"/>
                <a:gd name="T9" fmla="*/ 178 h 182"/>
                <a:gd name="T10" fmla="*/ 64 w 210"/>
                <a:gd name="T11" fmla="*/ 182 h 182"/>
                <a:gd name="T12" fmla="*/ 58 w 210"/>
                <a:gd name="T13" fmla="*/ 182 h 182"/>
                <a:gd name="T14" fmla="*/ 58 w 210"/>
                <a:gd name="T15" fmla="*/ 176 h 182"/>
                <a:gd name="T16" fmla="*/ 60 w 210"/>
                <a:gd name="T17" fmla="*/ 170 h 182"/>
                <a:gd name="T18" fmla="*/ 58 w 210"/>
                <a:gd name="T19" fmla="*/ 164 h 182"/>
                <a:gd name="T20" fmla="*/ 54 w 210"/>
                <a:gd name="T21" fmla="*/ 162 h 182"/>
                <a:gd name="T22" fmla="*/ 50 w 210"/>
                <a:gd name="T23" fmla="*/ 164 h 182"/>
                <a:gd name="T24" fmla="*/ 48 w 210"/>
                <a:gd name="T25" fmla="*/ 170 h 182"/>
                <a:gd name="T26" fmla="*/ 40 w 210"/>
                <a:gd name="T27" fmla="*/ 174 h 182"/>
                <a:gd name="T28" fmla="*/ 34 w 210"/>
                <a:gd name="T29" fmla="*/ 158 h 182"/>
                <a:gd name="T30" fmla="*/ 34 w 210"/>
                <a:gd name="T31" fmla="*/ 156 h 182"/>
                <a:gd name="T32" fmla="*/ 36 w 210"/>
                <a:gd name="T33" fmla="*/ 158 h 182"/>
                <a:gd name="T34" fmla="*/ 36 w 210"/>
                <a:gd name="T35" fmla="*/ 154 h 182"/>
                <a:gd name="T36" fmla="*/ 30 w 210"/>
                <a:gd name="T37" fmla="*/ 148 h 182"/>
                <a:gd name="T38" fmla="*/ 30 w 210"/>
                <a:gd name="T39" fmla="*/ 148 h 182"/>
                <a:gd name="T40" fmla="*/ 30 w 210"/>
                <a:gd name="T41" fmla="*/ 142 h 182"/>
                <a:gd name="T42" fmla="*/ 30 w 210"/>
                <a:gd name="T43" fmla="*/ 138 h 182"/>
                <a:gd name="T44" fmla="*/ 20 w 210"/>
                <a:gd name="T45" fmla="*/ 120 h 182"/>
                <a:gd name="T46" fmla="*/ 10 w 210"/>
                <a:gd name="T47" fmla="*/ 114 h 182"/>
                <a:gd name="T48" fmla="*/ 0 w 210"/>
                <a:gd name="T49" fmla="*/ 94 h 182"/>
                <a:gd name="T50" fmla="*/ 2 w 210"/>
                <a:gd name="T51" fmla="*/ 82 h 182"/>
                <a:gd name="T52" fmla="*/ 6 w 210"/>
                <a:gd name="T53" fmla="*/ 78 h 182"/>
                <a:gd name="T54" fmla="*/ 10 w 210"/>
                <a:gd name="T55" fmla="*/ 70 h 182"/>
                <a:gd name="T56" fmla="*/ 16 w 210"/>
                <a:gd name="T57" fmla="*/ 68 h 182"/>
                <a:gd name="T58" fmla="*/ 30 w 210"/>
                <a:gd name="T59" fmla="*/ 48 h 182"/>
                <a:gd name="T60" fmla="*/ 36 w 210"/>
                <a:gd name="T61" fmla="*/ 44 h 182"/>
                <a:gd name="T62" fmla="*/ 98 w 210"/>
                <a:gd name="T63" fmla="*/ 34 h 182"/>
                <a:gd name="T64" fmla="*/ 106 w 210"/>
                <a:gd name="T65" fmla="*/ 40 h 182"/>
                <a:gd name="T66" fmla="*/ 114 w 210"/>
                <a:gd name="T67" fmla="*/ 34 h 182"/>
                <a:gd name="T68" fmla="*/ 120 w 210"/>
                <a:gd name="T69" fmla="*/ 40 h 182"/>
                <a:gd name="T70" fmla="*/ 140 w 210"/>
                <a:gd name="T71" fmla="*/ 40 h 182"/>
                <a:gd name="T72" fmla="*/ 148 w 210"/>
                <a:gd name="T73" fmla="*/ 38 h 182"/>
                <a:gd name="T74" fmla="*/ 146 w 210"/>
                <a:gd name="T75" fmla="*/ 28 h 182"/>
                <a:gd name="T76" fmla="*/ 166 w 210"/>
                <a:gd name="T77" fmla="*/ 16 h 182"/>
                <a:gd name="T78" fmla="*/ 172 w 210"/>
                <a:gd name="T79" fmla="*/ 14 h 182"/>
                <a:gd name="T80" fmla="*/ 178 w 210"/>
                <a:gd name="T81" fmla="*/ 18 h 182"/>
                <a:gd name="T82" fmla="*/ 184 w 210"/>
                <a:gd name="T83" fmla="*/ 18 h 182"/>
                <a:gd name="T84" fmla="*/ 198 w 210"/>
                <a:gd name="T85" fmla="*/ 6 h 182"/>
                <a:gd name="T86" fmla="*/ 200 w 210"/>
                <a:gd name="T87" fmla="*/ 0 h 182"/>
                <a:gd name="T88" fmla="*/ 204 w 210"/>
                <a:gd name="T89" fmla="*/ 36 h 182"/>
                <a:gd name="T90" fmla="*/ 210 w 210"/>
                <a:gd name="T91" fmla="*/ 44 h 182"/>
                <a:gd name="T92" fmla="*/ 210 w 210"/>
                <a:gd name="T93" fmla="*/ 86 h 182"/>
                <a:gd name="T94" fmla="*/ 206 w 210"/>
                <a:gd name="T95" fmla="*/ 92 h 182"/>
                <a:gd name="T96" fmla="*/ 200 w 210"/>
                <a:gd name="T97" fmla="*/ 92 h 182"/>
                <a:gd name="T98" fmla="*/ 188 w 210"/>
                <a:gd name="T99" fmla="*/ 102 h 182"/>
                <a:gd name="T100" fmla="*/ 182 w 210"/>
                <a:gd name="T101" fmla="*/ 104 h 182"/>
                <a:gd name="T102" fmla="*/ 170 w 210"/>
                <a:gd name="T103" fmla="*/ 112 h 182"/>
                <a:gd name="T104" fmla="*/ 170 w 210"/>
                <a:gd name="T105" fmla="*/ 118 h 182"/>
                <a:gd name="T106" fmla="*/ 150 w 210"/>
                <a:gd name="T107" fmla="*/ 126 h 182"/>
                <a:gd name="T108" fmla="*/ 148 w 210"/>
                <a:gd name="T109" fmla="*/ 136 h 182"/>
                <a:gd name="T110" fmla="*/ 150 w 210"/>
                <a:gd name="T111" fmla="*/ 146 h 182"/>
                <a:gd name="T112" fmla="*/ 124 w 210"/>
                <a:gd name="T113" fmla="*/ 162 h 182"/>
                <a:gd name="T114" fmla="*/ 120 w 210"/>
                <a:gd name="T115" fmla="*/ 162 h 182"/>
                <a:gd name="T116" fmla="*/ 114 w 210"/>
                <a:gd name="T117" fmla="*/ 162 h 182"/>
                <a:gd name="T118" fmla="*/ 114 w 210"/>
                <a:gd name="T119" fmla="*/ 168 h 182"/>
                <a:gd name="T120" fmla="*/ 110 w 210"/>
                <a:gd name="T121" fmla="*/ 172 h 182"/>
                <a:gd name="T122" fmla="*/ 94 w 210"/>
                <a:gd name="T123" fmla="*/ 1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0" h="182">
                  <a:moveTo>
                    <a:pt x="94" y="180"/>
                  </a:moveTo>
                  <a:lnTo>
                    <a:pt x="90" y="180"/>
                  </a:lnTo>
                  <a:lnTo>
                    <a:pt x="88" y="178"/>
                  </a:lnTo>
                  <a:lnTo>
                    <a:pt x="82" y="178"/>
                  </a:lnTo>
                  <a:lnTo>
                    <a:pt x="70" y="178"/>
                  </a:lnTo>
                  <a:lnTo>
                    <a:pt x="64" y="182"/>
                  </a:lnTo>
                  <a:lnTo>
                    <a:pt x="58" y="182"/>
                  </a:lnTo>
                  <a:lnTo>
                    <a:pt x="58" y="176"/>
                  </a:lnTo>
                  <a:lnTo>
                    <a:pt x="60" y="170"/>
                  </a:lnTo>
                  <a:lnTo>
                    <a:pt x="58" y="164"/>
                  </a:lnTo>
                  <a:lnTo>
                    <a:pt x="54" y="162"/>
                  </a:lnTo>
                  <a:lnTo>
                    <a:pt x="50" y="164"/>
                  </a:lnTo>
                  <a:lnTo>
                    <a:pt x="48" y="170"/>
                  </a:lnTo>
                  <a:lnTo>
                    <a:pt x="40" y="174"/>
                  </a:lnTo>
                  <a:lnTo>
                    <a:pt x="34" y="158"/>
                  </a:lnTo>
                  <a:lnTo>
                    <a:pt x="34" y="156"/>
                  </a:lnTo>
                  <a:lnTo>
                    <a:pt x="36" y="158"/>
                  </a:lnTo>
                  <a:lnTo>
                    <a:pt x="36" y="154"/>
                  </a:lnTo>
                  <a:lnTo>
                    <a:pt x="30" y="148"/>
                  </a:lnTo>
                  <a:lnTo>
                    <a:pt x="30" y="148"/>
                  </a:lnTo>
                  <a:lnTo>
                    <a:pt x="30" y="142"/>
                  </a:lnTo>
                  <a:lnTo>
                    <a:pt x="30" y="138"/>
                  </a:lnTo>
                  <a:lnTo>
                    <a:pt x="20" y="120"/>
                  </a:lnTo>
                  <a:lnTo>
                    <a:pt x="10" y="114"/>
                  </a:lnTo>
                  <a:lnTo>
                    <a:pt x="0" y="94"/>
                  </a:lnTo>
                  <a:lnTo>
                    <a:pt x="2" y="82"/>
                  </a:lnTo>
                  <a:lnTo>
                    <a:pt x="6" y="78"/>
                  </a:lnTo>
                  <a:lnTo>
                    <a:pt x="10" y="70"/>
                  </a:lnTo>
                  <a:lnTo>
                    <a:pt x="16" y="68"/>
                  </a:lnTo>
                  <a:lnTo>
                    <a:pt x="30" y="48"/>
                  </a:lnTo>
                  <a:lnTo>
                    <a:pt x="36" y="44"/>
                  </a:lnTo>
                  <a:lnTo>
                    <a:pt x="98" y="34"/>
                  </a:lnTo>
                  <a:lnTo>
                    <a:pt x="106" y="40"/>
                  </a:lnTo>
                  <a:lnTo>
                    <a:pt x="114" y="34"/>
                  </a:lnTo>
                  <a:lnTo>
                    <a:pt x="120" y="40"/>
                  </a:lnTo>
                  <a:lnTo>
                    <a:pt x="140" y="40"/>
                  </a:lnTo>
                  <a:lnTo>
                    <a:pt x="148" y="38"/>
                  </a:lnTo>
                  <a:lnTo>
                    <a:pt x="146" y="28"/>
                  </a:lnTo>
                  <a:lnTo>
                    <a:pt x="166" y="16"/>
                  </a:lnTo>
                  <a:lnTo>
                    <a:pt x="172" y="14"/>
                  </a:lnTo>
                  <a:lnTo>
                    <a:pt x="178" y="18"/>
                  </a:lnTo>
                  <a:lnTo>
                    <a:pt x="184" y="18"/>
                  </a:lnTo>
                  <a:lnTo>
                    <a:pt x="198" y="6"/>
                  </a:lnTo>
                  <a:lnTo>
                    <a:pt x="200" y="0"/>
                  </a:lnTo>
                  <a:lnTo>
                    <a:pt x="204" y="36"/>
                  </a:lnTo>
                  <a:lnTo>
                    <a:pt x="210" y="44"/>
                  </a:lnTo>
                  <a:lnTo>
                    <a:pt x="210" y="86"/>
                  </a:lnTo>
                  <a:lnTo>
                    <a:pt x="206" y="92"/>
                  </a:lnTo>
                  <a:lnTo>
                    <a:pt x="200" y="92"/>
                  </a:lnTo>
                  <a:lnTo>
                    <a:pt x="188" y="102"/>
                  </a:lnTo>
                  <a:lnTo>
                    <a:pt x="182" y="104"/>
                  </a:lnTo>
                  <a:lnTo>
                    <a:pt x="170" y="112"/>
                  </a:lnTo>
                  <a:lnTo>
                    <a:pt x="170" y="118"/>
                  </a:lnTo>
                  <a:lnTo>
                    <a:pt x="150" y="126"/>
                  </a:lnTo>
                  <a:lnTo>
                    <a:pt x="148" y="136"/>
                  </a:lnTo>
                  <a:lnTo>
                    <a:pt x="150" y="146"/>
                  </a:lnTo>
                  <a:lnTo>
                    <a:pt x="124" y="162"/>
                  </a:lnTo>
                  <a:lnTo>
                    <a:pt x="120" y="162"/>
                  </a:lnTo>
                  <a:lnTo>
                    <a:pt x="114" y="162"/>
                  </a:lnTo>
                  <a:lnTo>
                    <a:pt x="114" y="168"/>
                  </a:lnTo>
                  <a:lnTo>
                    <a:pt x="110" y="172"/>
                  </a:lnTo>
                  <a:lnTo>
                    <a:pt x="94" y="18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78" name="Freeform 430"/>
            <p:cNvSpPr>
              <a:spLocks/>
            </p:cNvSpPr>
            <p:nvPr/>
          </p:nvSpPr>
          <p:spPr bwMode="auto">
            <a:xfrm>
              <a:off x="5440363" y="5164138"/>
              <a:ext cx="360363" cy="288925"/>
            </a:xfrm>
            <a:custGeom>
              <a:avLst/>
              <a:gdLst>
                <a:gd name="T0" fmla="*/ 94 w 210"/>
                <a:gd name="T1" fmla="*/ 180 h 182"/>
                <a:gd name="T2" fmla="*/ 90 w 210"/>
                <a:gd name="T3" fmla="*/ 180 h 182"/>
                <a:gd name="T4" fmla="*/ 88 w 210"/>
                <a:gd name="T5" fmla="*/ 178 h 182"/>
                <a:gd name="T6" fmla="*/ 82 w 210"/>
                <a:gd name="T7" fmla="*/ 178 h 182"/>
                <a:gd name="T8" fmla="*/ 70 w 210"/>
                <a:gd name="T9" fmla="*/ 178 h 182"/>
                <a:gd name="T10" fmla="*/ 64 w 210"/>
                <a:gd name="T11" fmla="*/ 182 h 182"/>
                <a:gd name="T12" fmla="*/ 58 w 210"/>
                <a:gd name="T13" fmla="*/ 182 h 182"/>
                <a:gd name="T14" fmla="*/ 58 w 210"/>
                <a:gd name="T15" fmla="*/ 176 h 182"/>
                <a:gd name="T16" fmla="*/ 60 w 210"/>
                <a:gd name="T17" fmla="*/ 170 h 182"/>
                <a:gd name="T18" fmla="*/ 58 w 210"/>
                <a:gd name="T19" fmla="*/ 164 h 182"/>
                <a:gd name="T20" fmla="*/ 54 w 210"/>
                <a:gd name="T21" fmla="*/ 162 h 182"/>
                <a:gd name="T22" fmla="*/ 50 w 210"/>
                <a:gd name="T23" fmla="*/ 164 h 182"/>
                <a:gd name="T24" fmla="*/ 48 w 210"/>
                <a:gd name="T25" fmla="*/ 170 h 182"/>
                <a:gd name="T26" fmla="*/ 40 w 210"/>
                <a:gd name="T27" fmla="*/ 174 h 182"/>
                <a:gd name="T28" fmla="*/ 34 w 210"/>
                <a:gd name="T29" fmla="*/ 158 h 182"/>
                <a:gd name="T30" fmla="*/ 34 w 210"/>
                <a:gd name="T31" fmla="*/ 156 h 182"/>
                <a:gd name="T32" fmla="*/ 36 w 210"/>
                <a:gd name="T33" fmla="*/ 158 h 182"/>
                <a:gd name="T34" fmla="*/ 36 w 210"/>
                <a:gd name="T35" fmla="*/ 154 h 182"/>
                <a:gd name="T36" fmla="*/ 30 w 210"/>
                <a:gd name="T37" fmla="*/ 148 h 182"/>
                <a:gd name="T38" fmla="*/ 30 w 210"/>
                <a:gd name="T39" fmla="*/ 148 h 182"/>
                <a:gd name="T40" fmla="*/ 30 w 210"/>
                <a:gd name="T41" fmla="*/ 142 h 182"/>
                <a:gd name="T42" fmla="*/ 30 w 210"/>
                <a:gd name="T43" fmla="*/ 138 h 182"/>
                <a:gd name="T44" fmla="*/ 20 w 210"/>
                <a:gd name="T45" fmla="*/ 120 h 182"/>
                <a:gd name="T46" fmla="*/ 10 w 210"/>
                <a:gd name="T47" fmla="*/ 114 h 182"/>
                <a:gd name="T48" fmla="*/ 0 w 210"/>
                <a:gd name="T49" fmla="*/ 94 h 182"/>
                <a:gd name="T50" fmla="*/ 2 w 210"/>
                <a:gd name="T51" fmla="*/ 82 h 182"/>
                <a:gd name="T52" fmla="*/ 6 w 210"/>
                <a:gd name="T53" fmla="*/ 78 h 182"/>
                <a:gd name="T54" fmla="*/ 10 w 210"/>
                <a:gd name="T55" fmla="*/ 70 h 182"/>
                <a:gd name="T56" fmla="*/ 16 w 210"/>
                <a:gd name="T57" fmla="*/ 68 h 182"/>
                <a:gd name="T58" fmla="*/ 30 w 210"/>
                <a:gd name="T59" fmla="*/ 48 h 182"/>
                <a:gd name="T60" fmla="*/ 36 w 210"/>
                <a:gd name="T61" fmla="*/ 44 h 182"/>
                <a:gd name="T62" fmla="*/ 98 w 210"/>
                <a:gd name="T63" fmla="*/ 34 h 182"/>
                <a:gd name="T64" fmla="*/ 106 w 210"/>
                <a:gd name="T65" fmla="*/ 40 h 182"/>
                <a:gd name="T66" fmla="*/ 114 w 210"/>
                <a:gd name="T67" fmla="*/ 34 h 182"/>
                <a:gd name="T68" fmla="*/ 120 w 210"/>
                <a:gd name="T69" fmla="*/ 40 h 182"/>
                <a:gd name="T70" fmla="*/ 140 w 210"/>
                <a:gd name="T71" fmla="*/ 40 h 182"/>
                <a:gd name="T72" fmla="*/ 148 w 210"/>
                <a:gd name="T73" fmla="*/ 38 h 182"/>
                <a:gd name="T74" fmla="*/ 146 w 210"/>
                <a:gd name="T75" fmla="*/ 28 h 182"/>
                <a:gd name="T76" fmla="*/ 166 w 210"/>
                <a:gd name="T77" fmla="*/ 16 h 182"/>
                <a:gd name="T78" fmla="*/ 172 w 210"/>
                <a:gd name="T79" fmla="*/ 14 h 182"/>
                <a:gd name="T80" fmla="*/ 178 w 210"/>
                <a:gd name="T81" fmla="*/ 18 h 182"/>
                <a:gd name="T82" fmla="*/ 184 w 210"/>
                <a:gd name="T83" fmla="*/ 18 h 182"/>
                <a:gd name="T84" fmla="*/ 198 w 210"/>
                <a:gd name="T85" fmla="*/ 6 h 182"/>
                <a:gd name="T86" fmla="*/ 200 w 210"/>
                <a:gd name="T87" fmla="*/ 0 h 182"/>
                <a:gd name="T88" fmla="*/ 204 w 210"/>
                <a:gd name="T89" fmla="*/ 36 h 182"/>
                <a:gd name="T90" fmla="*/ 210 w 210"/>
                <a:gd name="T91" fmla="*/ 44 h 182"/>
                <a:gd name="T92" fmla="*/ 210 w 210"/>
                <a:gd name="T93" fmla="*/ 86 h 182"/>
                <a:gd name="T94" fmla="*/ 206 w 210"/>
                <a:gd name="T95" fmla="*/ 92 h 182"/>
                <a:gd name="T96" fmla="*/ 200 w 210"/>
                <a:gd name="T97" fmla="*/ 92 h 182"/>
                <a:gd name="T98" fmla="*/ 188 w 210"/>
                <a:gd name="T99" fmla="*/ 102 h 182"/>
                <a:gd name="T100" fmla="*/ 182 w 210"/>
                <a:gd name="T101" fmla="*/ 104 h 182"/>
                <a:gd name="T102" fmla="*/ 170 w 210"/>
                <a:gd name="T103" fmla="*/ 112 h 182"/>
                <a:gd name="T104" fmla="*/ 170 w 210"/>
                <a:gd name="T105" fmla="*/ 118 h 182"/>
                <a:gd name="T106" fmla="*/ 150 w 210"/>
                <a:gd name="T107" fmla="*/ 126 h 182"/>
                <a:gd name="T108" fmla="*/ 148 w 210"/>
                <a:gd name="T109" fmla="*/ 136 h 182"/>
                <a:gd name="T110" fmla="*/ 150 w 210"/>
                <a:gd name="T111" fmla="*/ 146 h 182"/>
                <a:gd name="T112" fmla="*/ 124 w 210"/>
                <a:gd name="T113" fmla="*/ 162 h 182"/>
                <a:gd name="T114" fmla="*/ 120 w 210"/>
                <a:gd name="T115" fmla="*/ 162 h 182"/>
                <a:gd name="T116" fmla="*/ 114 w 210"/>
                <a:gd name="T117" fmla="*/ 162 h 182"/>
                <a:gd name="T118" fmla="*/ 114 w 210"/>
                <a:gd name="T119" fmla="*/ 168 h 182"/>
                <a:gd name="T120" fmla="*/ 110 w 210"/>
                <a:gd name="T121" fmla="*/ 172 h 182"/>
                <a:gd name="T122" fmla="*/ 94 w 210"/>
                <a:gd name="T123" fmla="*/ 1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0" h="182">
                  <a:moveTo>
                    <a:pt x="94" y="180"/>
                  </a:moveTo>
                  <a:lnTo>
                    <a:pt x="90" y="180"/>
                  </a:lnTo>
                  <a:lnTo>
                    <a:pt x="88" y="178"/>
                  </a:lnTo>
                  <a:lnTo>
                    <a:pt x="82" y="178"/>
                  </a:lnTo>
                  <a:lnTo>
                    <a:pt x="70" y="178"/>
                  </a:lnTo>
                  <a:lnTo>
                    <a:pt x="64" y="182"/>
                  </a:lnTo>
                  <a:lnTo>
                    <a:pt x="58" y="182"/>
                  </a:lnTo>
                  <a:lnTo>
                    <a:pt x="58" y="176"/>
                  </a:lnTo>
                  <a:lnTo>
                    <a:pt x="60" y="170"/>
                  </a:lnTo>
                  <a:lnTo>
                    <a:pt x="58" y="164"/>
                  </a:lnTo>
                  <a:lnTo>
                    <a:pt x="54" y="162"/>
                  </a:lnTo>
                  <a:lnTo>
                    <a:pt x="50" y="164"/>
                  </a:lnTo>
                  <a:lnTo>
                    <a:pt x="48" y="170"/>
                  </a:lnTo>
                  <a:lnTo>
                    <a:pt x="40" y="174"/>
                  </a:lnTo>
                  <a:lnTo>
                    <a:pt x="34" y="158"/>
                  </a:lnTo>
                  <a:lnTo>
                    <a:pt x="34" y="156"/>
                  </a:lnTo>
                  <a:lnTo>
                    <a:pt x="36" y="158"/>
                  </a:lnTo>
                  <a:lnTo>
                    <a:pt x="36" y="154"/>
                  </a:lnTo>
                  <a:lnTo>
                    <a:pt x="30" y="148"/>
                  </a:lnTo>
                  <a:lnTo>
                    <a:pt x="30" y="148"/>
                  </a:lnTo>
                  <a:lnTo>
                    <a:pt x="30" y="142"/>
                  </a:lnTo>
                  <a:lnTo>
                    <a:pt x="30" y="138"/>
                  </a:lnTo>
                  <a:lnTo>
                    <a:pt x="20" y="120"/>
                  </a:lnTo>
                  <a:lnTo>
                    <a:pt x="10" y="114"/>
                  </a:lnTo>
                  <a:lnTo>
                    <a:pt x="0" y="94"/>
                  </a:lnTo>
                  <a:lnTo>
                    <a:pt x="2" y="82"/>
                  </a:lnTo>
                  <a:lnTo>
                    <a:pt x="6" y="78"/>
                  </a:lnTo>
                  <a:lnTo>
                    <a:pt x="10" y="70"/>
                  </a:lnTo>
                  <a:lnTo>
                    <a:pt x="16" y="68"/>
                  </a:lnTo>
                  <a:lnTo>
                    <a:pt x="30" y="48"/>
                  </a:lnTo>
                  <a:lnTo>
                    <a:pt x="36" y="44"/>
                  </a:lnTo>
                  <a:lnTo>
                    <a:pt x="98" y="34"/>
                  </a:lnTo>
                  <a:lnTo>
                    <a:pt x="106" y="40"/>
                  </a:lnTo>
                  <a:lnTo>
                    <a:pt x="114" y="34"/>
                  </a:lnTo>
                  <a:lnTo>
                    <a:pt x="120" y="40"/>
                  </a:lnTo>
                  <a:lnTo>
                    <a:pt x="140" y="40"/>
                  </a:lnTo>
                  <a:lnTo>
                    <a:pt x="148" y="38"/>
                  </a:lnTo>
                  <a:lnTo>
                    <a:pt x="146" y="28"/>
                  </a:lnTo>
                  <a:lnTo>
                    <a:pt x="166" y="16"/>
                  </a:lnTo>
                  <a:lnTo>
                    <a:pt x="172" y="14"/>
                  </a:lnTo>
                  <a:lnTo>
                    <a:pt x="178" y="18"/>
                  </a:lnTo>
                  <a:lnTo>
                    <a:pt x="184" y="18"/>
                  </a:lnTo>
                  <a:lnTo>
                    <a:pt x="198" y="6"/>
                  </a:lnTo>
                  <a:lnTo>
                    <a:pt x="200" y="0"/>
                  </a:lnTo>
                  <a:lnTo>
                    <a:pt x="204" y="36"/>
                  </a:lnTo>
                  <a:lnTo>
                    <a:pt x="210" y="44"/>
                  </a:lnTo>
                  <a:lnTo>
                    <a:pt x="210" y="86"/>
                  </a:lnTo>
                  <a:lnTo>
                    <a:pt x="206" y="92"/>
                  </a:lnTo>
                  <a:lnTo>
                    <a:pt x="200" y="92"/>
                  </a:lnTo>
                  <a:lnTo>
                    <a:pt x="188" y="102"/>
                  </a:lnTo>
                  <a:lnTo>
                    <a:pt x="182" y="104"/>
                  </a:lnTo>
                  <a:lnTo>
                    <a:pt x="170" y="112"/>
                  </a:lnTo>
                  <a:lnTo>
                    <a:pt x="170" y="118"/>
                  </a:lnTo>
                  <a:lnTo>
                    <a:pt x="150" y="126"/>
                  </a:lnTo>
                  <a:lnTo>
                    <a:pt x="148" y="136"/>
                  </a:lnTo>
                  <a:lnTo>
                    <a:pt x="150" y="146"/>
                  </a:lnTo>
                  <a:lnTo>
                    <a:pt x="124" y="162"/>
                  </a:lnTo>
                  <a:lnTo>
                    <a:pt x="120" y="162"/>
                  </a:lnTo>
                  <a:lnTo>
                    <a:pt x="114" y="162"/>
                  </a:lnTo>
                  <a:lnTo>
                    <a:pt x="114" y="168"/>
                  </a:lnTo>
                  <a:lnTo>
                    <a:pt x="110" y="172"/>
                  </a:lnTo>
                  <a:lnTo>
                    <a:pt x="94" y="18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79" name="Freeform 431"/>
            <p:cNvSpPr>
              <a:spLocks/>
            </p:cNvSpPr>
            <p:nvPr/>
          </p:nvSpPr>
          <p:spPr bwMode="auto">
            <a:xfrm>
              <a:off x="6299201" y="5621338"/>
              <a:ext cx="103188" cy="66675"/>
            </a:xfrm>
            <a:custGeom>
              <a:avLst/>
              <a:gdLst>
                <a:gd name="T0" fmla="*/ 52 w 60"/>
                <a:gd name="T1" fmla="*/ 2 h 42"/>
                <a:gd name="T2" fmla="*/ 56 w 60"/>
                <a:gd name="T3" fmla="*/ 4 h 42"/>
                <a:gd name="T4" fmla="*/ 58 w 60"/>
                <a:gd name="T5" fmla="*/ 8 h 42"/>
                <a:gd name="T6" fmla="*/ 60 w 60"/>
                <a:gd name="T7" fmla="*/ 16 h 42"/>
                <a:gd name="T8" fmla="*/ 58 w 60"/>
                <a:gd name="T9" fmla="*/ 20 h 42"/>
                <a:gd name="T10" fmla="*/ 54 w 60"/>
                <a:gd name="T11" fmla="*/ 22 h 42"/>
                <a:gd name="T12" fmla="*/ 50 w 60"/>
                <a:gd name="T13" fmla="*/ 20 h 42"/>
                <a:gd name="T14" fmla="*/ 44 w 60"/>
                <a:gd name="T15" fmla="*/ 12 h 42"/>
                <a:gd name="T16" fmla="*/ 42 w 60"/>
                <a:gd name="T17" fmla="*/ 10 h 42"/>
                <a:gd name="T18" fmla="*/ 40 w 60"/>
                <a:gd name="T19" fmla="*/ 10 h 42"/>
                <a:gd name="T20" fmla="*/ 36 w 60"/>
                <a:gd name="T21" fmla="*/ 14 h 42"/>
                <a:gd name="T22" fmla="*/ 32 w 60"/>
                <a:gd name="T23" fmla="*/ 16 h 42"/>
                <a:gd name="T24" fmla="*/ 34 w 60"/>
                <a:gd name="T25" fmla="*/ 34 h 42"/>
                <a:gd name="T26" fmla="*/ 32 w 60"/>
                <a:gd name="T27" fmla="*/ 40 h 42"/>
                <a:gd name="T28" fmla="*/ 28 w 60"/>
                <a:gd name="T29" fmla="*/ 42 h 42"/>
                <a:gd name="T30" fmla="*/ 24 w 60"/>
                <a:gd name="T31" fmla="*/ 42 h 42"/>
                <a:gd name="T32" fmla="*/ 4 w 60"/>
                <a:gd name="T33" fmla="*/ 28 h 42"/>
                <a:gd name="T34" fmla="*/ 0 w 60"/>
                <a:gd name="T35" fmla="*/ 28 h 42"/>
                <a:gd name="T36" fmla="*/ 2 w 60"/>
                <a:gd name="T37" fmla="*/ 26 h 42"/>
                <a:gd name="T38" fmla="*/ 20 w 60"/>
                <a:gd name="T39" fmla="*/ 18 h 42"/>
                <a:gd name="T40" fmla="*/ 38 w 60"/>
                <a:gd name="T41" fmla="*/ 0 h 42"/>
                <a:gd name="T42" fmla="*/ 40 w 60"/>
                <a:gd name="T43" fmla="*/ 4 h 42"/>
                <a:gd name="T44" fmla="*/ 52 w 60"/>
                <a:gd name="T45"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2">
                  <a:moveTo>
                    <a:pt x="52" y="2"/>
                  </a:moveTo>
                  <a:lnTo>
                    <a:pt x="56" y="4"/>
                  </a:lnTo>
                  <a:lnTo>
                    <a:pt x="58" y="8"/>
                  </a:lnTo>
                  <a:lnTo>
                    <a:pt x="60" y="16"/>
                  </a:lnTo>
                  <a:lnTo>
                    <a:pt x="58" y="20"/>
                  </a:lnTo>
                  <a:lnTo>
                    <a:pt x="54" y="22"/>
                  </a:lnTo>
                  <a:lnTo>
                    <a:pt x="50" y="20"/>
                  </a:lnTo>
                  <a:lnTo>
                    <a:pt x="44" y="12"/>
                  </a:lnTo>
                  <a:lnTo>
                    <a:pt x="42" y="10"/>
                  </a:lnTo>
                  <a:lnTo>
                    <a:pt x="40" y="10"/>
                  </a:lnTo>
                  <a:lnTo>
                    <a:pt x="36" y="14"/>
                  </a:lnTo>
                  <a:lnTo>
                    <a:pt x="32" y="16"/>
                  </a:lnTo>
                  <a:lnTo>
                    <a:pt x="34" y="34"/>
                  </a:lnTo>
                  <a:lnTo>
                    <a:pt x="32" y="40"/>
                  </a:lnTo>
                  <a:lnTo>
                    <a:pt x="28" y="42"/>
                  </a:lnTo>
                  <a:lnTo>
                    <a:pt x="24" y="42"/>
                  </a:lnTo>
                  <a:lnTo>
                    <a:pt x="4" y="28"/>
                  </a:lnTo>
                  <a:lnTo>
                    <a:pt x="0" y="28"/>
                  </a:lnTo>
                  <a:lnTo>
                    <a:pt x="2" y="26"/>
                  </a:lnTo>
                  <a:lnTo>
                    <a:pt x="20" y="18"/>
                  </a:lnTo>
                  <a:lnTo>
                    <a:pt x="38" y="0"/>
                  </a:lnTo>
                  <a:lnTo>
                    <a:pt x="40" y="4"/>
                  </a:lnTo>
                  <a:lnTo>
                    <a:pt x="52"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80" name="Freeform 432"/>
            <p:cNvSpPr>
              <a:spLocks/>
            </p:cNvSpPr>
            <p:nvPr/>
          </p:nvSpPr>
          <p:spPr bwMode="auto">
            <a:xfrm>
              <a:off x="6299201" y="5621338"/>
              <a:ext cx="103188" cy="66675"/>
            </a:xfrm>
            <a:custGeom>
              <a:avLst/>
              <a:gdLst>
                <a:gd name="T0" fmla="*/ 52 w 60"/>
                <a:gd name="T1" fmla="*/ 2 h 42"/>
                <a:gd name="T2" fmla="*/ 56 w 60"/>
                <a:gd name="T3" fmla="*/ 4 h 42"/>
                <a:gd name="T4" fmla="*/ 58 w 60"/>
                <a:gd name="T5" fmla="*/ 8 h 42"/>
                <a:gd name="T6" fmla="*/ 60 w 60"/>
                <a:gd name="T7" fmla="*/ 16 h 42"/>
                <a:gd name="T8" fmla="*/ 58 w 60"/>
                <a:gd name="T9" fmla="*/ 20 h 42"/>
                <a:gd name="T10" fmla="*/ 54 w 60"/>
                <a:gd name="T11" fmla="*/ 22 h 42"/>
                <a:gd name="T12" fmla="*/ 50 w 60"/>
                <a:gd name="T13" fmla="*/ 20 h 42"/>
                <a:gd name="T14" fmla="*/ 44 w 60"/>
                <a:gd name="T15" fmla="*/ 12 h 42"/>
                <a:gd name="T16" fmla="*/ 42 w 60"/>
                <a:gd name="T17" fmla="*/ 10 h 42"/>
                <a:gd name="T18" fmla="*/ 40 w 60"/>
                <a:gd name="T19" fmla="*/ 10 h 42"/>
                <a:gd name="T20" fmla="*/ 36 w 60"/>
                <a:gd name="T21" fmla="*/ 14 h 42"/>
                <a:gd name="T22" fmla="*/ 32 w 60"/>
                <a:gd name="T23" fmla="*/ 16 h 42"/>
                <a:gd name="T24" fmla="*/ 34 w 60"/>
                <a:gd name="T25" fmla="*/ 34 h 42"/>
                <a:gd name="T26" fmla="*/ 32 w 60"/>
                <a:gd name="T27" fmla="*/ 40 h 42"/>
                <a:gd name="T28" fmla="*/ 28 w 60"/>
                <a:gd name="T29" fmla="*/ 42 h 42"/>
                <a:gd name="T30" fmla="*/ 24 w 60"/>
                <a:gd name="T31" fmla="*/ 42 h 42"/>
                <a:gd name="T32" fmla="*/ 4 w 60"/>
                <a:gd name="T33" fmla="*/ 28 h 42"/>
                <a:gd name="T34" fmla="*/ 0 w 60"/>
                <a:gd name="T35" fmla="*/ 28 h 42"/>
                <a:gd name="T36" fmla="*/ 2 w 60"/>
                <a:gd name="T37" fmla="*/ 26 h 42"/>
                <a:gd name="T38" fmla="*/ 20 w 60"/>
                <a:gd name="T39" fmla="*/ 18 h 42"/>
                <a:gd name="T40" fmla="*/ 38 w 60"/>
                <a:gd name="T41" fmla="*/ 0 h 42"/>
                <a:gd name="T42" fmla="*/ 40 w 60"/>
                <a:gd name="T43" fmla="*/ 4 h 42"/>
                <a:gd name="T44" fmla="*/ 52 w 60"/>
                <a:gd name="T45"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2">
                  <a:moveTo>
                    <a:pt x="52" y="2"/>
                  </a:moveTo>
                  <a:lnTo>
                    <a:pt x="56" y="4"/>
                  </a:lnTo>
                  <a:lnTo>
                    <a:pt x="58" y="8"/>
                  </a:lnTo>
                  <a:lnTo>
                    <a:pt x="60" y="16"/>
                  </a:lnTo>
                  <a:lnTo>
                    <a:pt x="58" y="20"/>
                  </a:lnTo>
                  <a:lnTo>
                    <a:pt x="54" y="22"/>
                  </a:lnTo>
                  <a:lnTo>
                    <a:pt x="50" y="20"/>
                  </a:lnTo>
                  <a:lnTo>
                    <a:pt x="44" y="12"/>
                  </a:lnTo>
                  <a:lnTo>
                    <a:pt x="42" y="10"/>
                  </a:lnTo>
                  <a:lnTo>
                    <a:pt x="40" y="10"/>
                  </a:lnTo>
                  <a:lnTo>
                    <a:pt x="36" y="14"/>
                  </a:lnTo>
                  <a:lnTo>
                    <a:pt x="32" y="16"/>
                  </a:lnTo>
                  <a:lnTo>
                    <a:pt x="34" y="34"/>
                  </a:lnTo>
                  <a:lnTo>
                    <a:pt x="32" y="40"/>
                  </a:lnTo>
                  <a:lnTo>
                    <a:pt x="28" y="42"/>
                  </a:lnTo>
                  <a:lnTo>
                    <a:pt x="24" y="42"/>
                  </a:lnTo>
                  <a:lnTo>
                    <a:pt x="4" y="28"/>
                  </a:lnTo>
                  <a:lnTo>
                    <a:pt x="0" y="28"/>
                  </a:lnTo>
                  <a:lnTo>
                    <a:pt x="2" y="26"/>
                  </a:lnTo>
                  <a:lnTo>
                    <a:pt x="20" y="18"/>
                  </a:lnTo>
                  <a:lnTo>
                    <a:pt x="38" y="0"/>
                  </a:lnTo>
                  <a:lnTo>
                    <a:pt x="40" y="4"/>
                  </a:lnTo>
                  <a:lnTo>
                    <a:pt x="52"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1" name="Freeform 435"/>
            <p:cNvSpPr>
              <a:spLocks/>
            </p:cNvSpPr>
            <p:nvPr/>
          </p:nvSpPr>
          <p:spPr bwMode="auto">
            <a:xfrm>
              <a:off x="4541838" y="4525963"/>
              <a:ext cx="203200" cy="88900"/>
            </a:xfrm>
            <a:custGeom>
              <a:avLst/>
              <a:gdLst>
                <a:gd name="T0" fmla="*/ 104 w 118"/>
                <a:gd name="T1" fmla="*/ 14 h 56"/>
                <a:gd name="T2" fmla="*/ 104 w 118"/>
                <a:gd name="T3" fmla="*/ 14 h 56"/>
                <a:gd name="T4" fmla="*/ 96 w 118"/>
                <a:gd name="T5" fmla="*/ 10 h 56"/>
                <a:gd name="T6" fmla="*/ 94 w 118"/>
                <a:gd name="T7" fmla="*/ 8 h 56"/>
                <a:gd name="T8" fmla="*/ 92 w 118"/>
                <a:gd name="T9" fmla="*/ 6 h 56"/>
                <a:gd name="T10" fmla="*/ 82 w 118"/>
                <a:gd name="T11" fmla="*/ 10 h 56"/>
                <a:gd name="T12" fmla="*/ 60 w 118"/>
                <a:gd name="T13" fmla="*/ 8 h 56"/>
                <a:gd name="T14" fmla="*/ 56 w 118"/>
                <a:gd name="T15" fmla="*/ 4 h 56"/>
                <a:gd name="T16" fmla="*/ 56 w 118"/>
                <a:gd name="T17" fmla="*/ 4 h 56"/>
                <a:gd name="T18" fmla="*/ 54 w 118"/>
                <a:gd name="T19" fmla="*/ 0 h 56"/>
                <a:gd name="T20" fmla="*/ 50 w 118"/>
                <a:gd name="T21" fmla="*/ 0 h 56"/>
                <a:gd name="T22" fmla="*/ 42 w 118"/>
                <a:gd name="T23" fmla="*/ 0 h 56"/>
                <a:gd name="T24" fmla="*/ 34 w 118"/>
                <a:gd name="T25" fmla="*/ 4 h 56"/>
                <a:gd name="T26" fmla="*/ 6 w 118"/>
                <a:gd name="T27" fmla="*/ 32 h 56"/>
                <a:gd name="T28" fmla="*/ 6 w 118"/>
                <a:gd name="T29" fmla="*/ 38 h 56"/>
                <a:gd name="T30" fmla="*/ 0 w 118"/>
                <a:gd name="T31" fmla="*/ 44 h 56"/>
                <a:gd name="T32" fmla="*/ 0 w 118"/>
                <a:gd name="T33" fmla="*/ 46 h 56"/>
                <a:gd name="T34" fmla="*/ 4 w 118"/>
                <a:gd name="T35" fmla="*/ 46 h 56"/>
                <a:gd name="T36" fmla="*/ 4 w 118"/>
                <a:gd name="T37" fmla="*/ 48 h 56"/>
                <a:gd name="T38" fmla="*/ 4 w 118"/>
                <a:gd name="T39" fmla="*/ 52 h 56"/>
                <a:gd name="T40" fmla="*/ 4 w 118"/>
                <a:gd name="T41" fmla="*/ 54 h 56"/>
                <a:gd name="T42" fmla="*/ 8 w 118"/>
                <a:gd name="T43" fmla="*/ 52 h 56"/>
                <a:gd name="T44" fmla="*/ 16 w 118"/>
                <a:gd name="T45" fmla="*/ 56 h 56"/>
                <a:gd name="T46" fmla="*/ 44 w 118"/>
                <a:gd name="T47" fmla="*/ 56 h 56"/>
                <a:gd name="T48" fmla="*/ 62 w 118"/>
                <a:gd name="T49" fmla="*/ 52 h 56"/>
                <a:gd name="T50" fmla="*/ 74 w 118"/>
                <a:gd name="T51" fmla="*/ 52 h 56"/>
                <a:gd name="T52" fmla="*/ 114 w 118"/>
                <a:gd name="T53" fmla="*/ 44 h 56"/>
                <a:gd name="T54" fmla="*/ 118 w 118"/>
                <a:gd name="T55" fmla="*/ 42 h 56"/>
                <a:gd name="T56" fmla="*/ 118 w 118"/>
                <a:gd name="T57" fmla="*/ 40 h 56"/>
                <a:gd name="T58" fmla="*/ 118 w 118"/>
                <a:gd name="T59" fmla="*/ 38 h 56"/>
                <a:gd name="T60" fmla="*/ 118 w 118"/>
                <a:gd name="T61" fmla="*/ 30 h 56"/>
                <a:gd name="T62" fmla="*/ 114 w 118"/>
                <a:gd name="T63" fmla="*/ 26 h 56"/>
                <a:gd name="T64" fmla="*/ 104 w 118"/>
                <a:gd name="T65" fmla="*/ 22 h 56"/>
                <a:gd name="T66" fmla="*/ 102 w 118"/>
                <a:gd name="T67" fmla="*/ 22 h 56"/>
                <a:gd name="T68" fmla="*/ 102 w 118"/>
                <a:gd name="T69" fmla="*/ 20 h 56"/>
                <a:gd name="T70" fmla="*/ 104 w 118"/>
                <a:gd name="T71" fmla="*/ 16 h 56"/>
                <a:gd name="T72" fmla="*/ 104 w 118"/>
                <a:gd name="T7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56">
                  <a:moveTo>
                    <a:pt x="104" y="14"/>
                  </a:moveTo>
                  <a:lnTo>
                    <a:pt x="104" y="14"/>
                  </a:lnTo>
                  <a:lnTo>
                    <a:pt x="96" y="10"/>
                  </a:lnTo>
                  <a:lnTo>
                    <a:pt x="94" y="8"/>
                  </a:lnTo>
                  <a:lnTo>
                    <a:pt x="92" y="6"/>
                  </a:lnTo>
                  <a:lnTo>
                    <a:pt x="82" y="10"/>
                  </a:lnTo>
                  <a:lnTo>
                    <a:pt x="60" y="8"/>
                  </a:lnTo>
                  <a:lnTo>
                    <a:pt x="56" y="4"/>
                  </a:lnTo>
                  <a:lnTo>
                    <a:pt x="56" y="4"/>
                  </a:lnTo>
                  <a:lnTo>
                    <a:pt x="54" y="0"/>
                  </a:lnTo>
                  <a:lnTo>
                    <a:pt x="50" y="0"/>
                  </a:lnTo>
                  <a:lnTo>
                    <a:pt x="42" y="0"/>
                  </a:lnTo>
                  <a:lnTo>
                    <a:pt x="34" y="4"/>
                  </a:lnTo>
                  <a:lnTo>
                    <a:pt x="6" y="32"/>
                  </a:lnTo>
                  <a:lnTo>
                    <a:pt x="6" y="38"/>
                  </a:lnTo>
                  <a:lnTo>
                    <a:pt x="0" y="44"/>
                  </a:lnTo>
                  <a:lnTo>
                    <a:pt x="0" y="46"/>
                  </a:lnTo>
                  <a:lnTo>
                    <a:pt x="4" y="46"/>
                  </a:lnTo>
                  <a:lnTo>
                    <a:pt x="4" y="48"/>
                  </a:lnTo>
                  <a:lnTo>
                    <a:pt x="4" y="52"/>
                  </a:lnTo>
                  <a:lnTo>
                    <a:pt x="4" y="54"/>
                  </a:lnTo>
                  <a:lnTo>
                    <a:pt x="8" y="52"/>
                  </a:lnTo>
                  <a:lnTo>
                    <a:pt x="16" y="56"/>
                  </a:lnTo>
                  <a:lnTo>
                    <a:pt x="44" y="56"/>
                  </a:lnTo>
                  <a:lnTo>
                    <a:pt x="62" y="52"/>
                  </a:lnTo>
                  <a:lnTo>
                    <a:pt x="74" y="52"/>
                  </a:lnTo>
                  <a:lnTo>
                    <a:pt x="114" y="44"/>
                  </a:lnTo>
                  <a:lnTo>
                    <a:pt x="118" y="42"/>
                  </a:lnTo>
                  <a:lnTo>
                    <a:pt x="118" y="40"/>
                  </a:lnTo>
                  <a:lnTo>
                    <a:pt x="118" y="38"/>
                  </a:lnTo>
                  <a:lnTo>
                    <a:pt x="118" y="30"/>
                  </a:lnTo>
                  <a:lnTo>
                    <a:pt x="114" y="26"/>
                  </a:lnTo>
                  <a:lnTo>
                    <a:pt x="104" y="22"/>
                  </a:lnTo>
                  <a:lnTo>
                    <a:pt x="102" y="22"/>
                  </a:lnTo>
                  <a:lnTo>
                    <a:pt x="102" y="20"/>
                  </a:lnTo>
                  <a:lnTo>
                    <a:pt x="104" y="16"/>
                  </a:lnTo>
                  <a:lnTo>
                    <a:pt x="104" y="1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82" name="Freeform 436"/>
            <p:cNvSpPr>
              <a:spLocks/>
            </p:cNvSpPr>
            <p:nvPr/>
          </p:nvSpPr>
          <p:spPr bwMode="auto">
            <a:xfrm>
              <a:off x="4541838" y="4525963"/>
              <a:ext cx="203200" cy="88900"/>
            </a:xfrm>
            <a:custGeom>
              <a:avLst/>
              <a:gdLst>
                <a:gd name="T0" fmla="*/ 104 w 118"/>
                <a:gd name="T1" fmla="*/ 14 h 56"/>
                <a:gd name="T2" fmla="*/ 104 w 118"/>
                <a:gd name="T3" fmla="*/ 14 h 56"/>
                <a:gd name="T4" fmla="*/ 96 w 118"/>
                <a:gd name="T5" fmla="*/ 10 h 56"/>
                <a:gd name="T6" fmla="*/ 94 w 118"/>
                <a:gd name="T7" fmla="*/ 8 h 56"/>
                <a:gd name="T8" fmla="*/ 92 w 118"/>
                <a:gd name="T9" fmla="*/ 6 h 56"/>
                <a:gd name="T10" fmla="*/ 82 w 118"/>
                <a:gd name="T11" fmla="*/ 10 h 56"/>
                <a:gd name="T12" fmla="*/ 60 w 118"/>
                <a:gd name="T13" fmla="*/ 8 h 56"/>
                <a:gd name="T14" fmla="*/ 56 w 118"/>
                <a:gd name="T15" fmla="*/ 4 h 56"/>
                <a:gd name="T16" fmla="*/ 56 w 118"/>
                <a:gd name="T17" fmla="*/ 4 h 56"/>
                <a:gd name="T18" fmla="*/ 54 w 118"/>
                <a:gd name="T19" fmla="*/ 0 h 56"/>
                <a:gd name="T20" fmla="*/ 50 w 118"/>
                <a:gd name="T21" fmla="*/ 0 h 56"/>
                <a:gd name="T22" fmla="*/ 42 w 118"/>
                <a:gd name="T23" fmla="*/ 0 h 56"/>
                <a:gd name="T24" fmla="*/ 34 w 118"/>
                <a:gd name="T25" fmla="*/ 4 h 56"/>
                <a:gd name="T26" fmla="*/ 6 w 118"/>
                <a:gd name="T27" fmla="*/ 32 h 56"/>
                <a:gd name="T28" fmla="*/ 6 w 118"/>
                <a:gd name="T29" fmla="*/ 38 h 56"/>
                <a:gd name="T30" fmla="*/ 0 w 118"/>
                <a:gd name="T31" fmla="*/ 44 h 56"/>
                <a:gd name="T32" fmla="*/ 0 w 118"/>
                <a:gd name="T33" fmla="*/ 46 h 56"/>
                <a:gd name="T34" fmla="*/ 4 w 118"/>
                <a:gd name="T35" fmla="*/ 46 h 56"/>
                <a:gd name="T36" fmla="*/ 4 w 118"/>
                <a:gd name="T37" fmla="*/ 48 h 56"/>
                <a:gd name="T38" fmla="*/ 4 w 118"/>
                <a:gd name="T39" fmla="*/ 52 h 56"/>
                <a:gd name="T40" fmla="*/ 4 w 118"/>
                <a:gd name="T41" fmla="*/ 54 h 56"/>
                <a:gd name="T42" fmla="*/ 8 w 118"/>
                <a:gd name="T43" fmla="*/ 52 h 56"/>
                <a:gd name="T44" fmla="*/ 16 w 118"/>
                <a:gd name="T45" fmla="*/ 56 h 56"/>
                <a:gd name="T46" fmla="*/ 44 w 118"/>
                <a:gd name="T47" fmla="*/ 56 h 56"/>
                <a:gd name="T48" fmla="*/ 62 w 118"/>
                <a:gd name="T49" fmla="*/ 52 h 56"/>
                <a:gd name="T50" fmla="*/ 74 w 118"/>
                <a:gd name="T51" fmla="*/ 52 h 56"/>
                <a:gd name="T52" fmla="*/ 114 w 118"/>
                <a:gd name="T53" fmla="*/ 44 h 56"/>
                <a:gd name="T54" fmla="*/ 118 w 118"/>
                <a:gd name="T55" fmla="*/ 42 h 56"/>
                <a:gd name="T56" fmla="*/ 118 w 118"/>
                <a:gd name="T57" fmla="*/ 40 h 56"/>
                <a:gd name="T58" fmla="*/ 118 w 118"/>
                <a:gd name="T59" fmla="*/ 38 h 56"/>
                <a:gd name="T60" fmla="*/ 118 w 118"/>
                <a:gd name="T61" fmla="*/ 30 h 56"/>
                <a:gd name="T62" fmla="*/ 114 w 118"/>
                <a:gd name="T63" fmla="*/ 26 h 56"/>
                <a:gd name="T64" fmla="*/ 104 w 118"/>
                <a:gd name="T65" fmla="*/ 22 h 56"/>
                <a:gd name="T66" fmla="*/ 102 w 118"/>
                <a:gd name="T67" fmla="*/ 22 h 56"/>
                <a:gd name="T68" fmla="*/ 102 w 118"/>
                <a:gd name="T69" fmla="*/ 20 h 56"/>
                <a:gd name="T70" fmla="*/ 104 w 118"/>
                <a:gd name="T71" fmla="*/ 16 h 56"/>
                <a:gd name="T72" fmla="*/ 104 w 118"/>
                <a:gd name="T7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56">
                  <a:moveTo>
                    <a:pt x="104" y="14"/>
                  </a:moveTo>
                  <a:lnTo>
                    <a:pt x="104" y="14"/>
                  </a:lnTo>
                  <a:lnTo>
                    <a:pt x="96" y="10"/>
                  </a:lnTo>
                  <a:lnTo>
                    <a:pt x="94" y="8"/>
                  </a:lnTo>
                  <a:lnTo>
                    <a:pt x="92" y="6"/>
                  </a:lnTo>
                  <a:lnTo>
                    <a:pt x="82" y="10"/>
                  </a:lnTo>
                  <a:lnTo>
                    <a:pt x="60" y="8"/>
                  </a:lnTo>
                  <a:lnTo>
                    <a:pt x="56" y="4"/>
                  </a:lnTo>
                  <a:lnTo>
                    <a:pt x="56" y="4"/>
                  </a:lnTo>
                  <a:lnTo>
                    <a:pt x="54" y="0"/>
                  </a:lnTo>
                  <a:lnTo>
                    <a:pt x="50" y="0"/>
                  </a:lnTo>
                  <a:lnTo>
                    <a:pt x="42" y="0"/>
                  </a:lnTo>
                  <a:lnTo>
                    <a:pt x="34" y="4"/>
                  </a:lnTo>
                  <a:lnTo>
                    <a:pt x="6" y="32"/>
                  </a:lnTo>
                  <a:lnTo>
                    <a:pt x="6" y="38"/>
                  </a:lnTo>
                  <a:lnTo>
                    <a:pt x="0" y="44"/>
                  </a:lnTo>
                  <a:lnTo>
                    <a:pt x="0" y="46"/>
                  </a:lnTo>
                  <a:lnTo>
                    <a:pt x="4" y="46"/>
                  </a:lnTo>
                  <a:lnTo>
                    <a:pt x="4" y="48"/>
                  </a:lnTo>
                  <a:lnTo>
                    <a:pt x="4" y="52"/>
                  </a:lnTo>
                  <a:lnTo>
                    <a:pt x="4" y="54"/>
                  </a:lnTo>
                  <a:lnTo>
                    <a:pt x="8" y="52"/>
                  </a:lnTo>
                  <a:lnTo>
                    <a:pt x="16" y="56"/>
                  </a:lnTo>
                  <a:lnTo>
                    <a:pt x="44" y="56"/>
                  </a:lnTo>
                  <a:lnTo>
                    <a:pt x="62" y="52"/>
                  </a:lnTo>
                  <a:lnTo>
                    <a:pt x="74" y="52"/>
                  </a:lnTo>
                  <a:lnTo>
                    <a:pt x="114" y="44"/>
                  </a:lnTo>
                  <a:lnTo>
                    <a:pt x="118" y="42"/>
                  </a:lnTo>
                  <a:lnTo>
                    <a:pt x="118" y="40"/>
                  </a:lnTo>
                  <a:lnTo>
                    <a:pt x="118" y="38"/>
                  </a:lnTo>
                  <a:lnTo>
                    <a:pt x="118" y="30"/>
                  </a:lnTo>
                  <a:lnTo>
                    <a:pt x="114" y="26"/>
                  </a:lnTo>
                  <a:lnTo>
                    <a:pt x="104" y="22"/>
                  </a:lnTo>
                  <a:lnTo>
                    <a:pt x="102" y="22"/>
                  </a:lnTo>
                  <a:lnTo>
                    <a:pt x="102" y="20"/>
                  </a:lnTo>
                  <a:lnTo>
                    <a:pt x="104" y="16"/>
                  </a:lnTo>
                  <a:lnTo>
                    <a:pt x="104" y="1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3" name="Rectangle 437"/>
            <p:cNvSpPr>
              <a:spLocks noChangeArrowheads="1"/>
            </p:cNvSpPr>
            <p:nvPr/>
          </p:nvSpPr>
          <p:spPr bwMode="auto">
            <a:xfrm>
              <a:off x="1700213" y="3605213"/>
              <a:ext cx="3175" cy="1588"/>
            </a:xfrm>
            <a:prstGeom prst="rect">
              <a:avLst/>
            </a:prstGeom>
            <a:solidFill>
              <a:schemeClr val="bg2"/>
            </a:solidFill>
            <a:ln w="9525">
              <a:solidFill>
                <a:srgbClr val="000000"/>
              </a:solidFill>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584" name="Freeform 438"/>
            <p:cNvSpPr>
              <a:spLocks/>
            </p:cNvSpPr>
            <p:nvPr/>
          </p:nvSpPr>
          <p:spPr bwMode="auto">
            <a:xfrm>
              <a:off x="1700213" y="3605213"/>
              <a:ext cx="3175"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5" name="Freeform 443"/>
            <p:cNvSpPr>
              <a:spLocks/>
            </p:cNvSpPr>
            <p:nvPr/>
          </p:nvSpPr>
          <p:spPr bwMode="auto">
            <a:xfrm>
              <a:off x="1522413" y="2989263"/>
              <a:ext cx="849313" cy="606425"/>
            </a:xfrm>
            <a:custGeom>
              <a:avLst/>
              <a:gdLst>
                <a:gd name="T0" fmla="*/ 480 w 494"/>
                <a:gd name="T1" fmla="*/ 268 h 382"/>
                <a:gd name="T2" fmla="*/ 480 w 494"/>
                <a:gd name="T3" fmla="*/ 224 h 382"/>
                <a:gd name="T4" fmla="*/ 468 w 494"/>
                <a:gd name="T5" fmla="*/ 218 h 382"/>
                <a:gd name="T6" fmla="*/ 448 w 494"/>
                <a:gd name="T7" fmla="*/ 204 h 382"/>
                <a:gd name="T8" fmla="*/ 398 w 494"/>
                <a:gd name="T9" fmla="*/ 198 h 382"/>
                <a:gd name="T10" fmla="*/ 338 w 494"/>
                <a:gd name="T11" fmla="*/ 162 h 382"/>
                <a:gd name="T12" fmla="*/ 314 w 494"/>
                <a:gd name="T13" fmla="*/ 118 h 382"/>
                <a:gd name="T14" fmla="*/ 306 w 494"/>
                <a:gd name="T15" fmla="*/ 94 h 382"/>
                <a:gd name="T16" fmla="*/ 206 w 494"/>
                <a:gd name="T17" fmla="*/ 58 h 382"/>
                <a:gd name="T18" fmla="*/ 182 w 494"/>
                <a:gd name="T19" fmla="*/ 50 h 382"/>
                <a:gd name="T20" fmla="*/ 152 w 494"/>
                <a:gd name="T21" fmla="*/ 22 h 382"/>
                <a:gd name="T22" fmla="*/ 144 w 494"/>
                <a:gd name="T23" fmla="*/ 32 h 382"/>
                <a:gd name="T24" fmla="*/ 154 w 494"/>
                <a:gd name="T25" fmla="*/ 42 h 382"/>
                <a:gd name="T26" fmla="*/ 130 w 494"/>
                <a:gd name="T27" fmla="*/ 32 h 382"/>
                <a:gd name="T28" fmla="*/ 106 w 494"/>
                <a:gd name="T29" fmla="*/ 22 h 382"/>
                <a:gd name="T30" fmla="*/ 100 w 494"/>
                <a:gd name="T31" fmla="*/ 20 h 382"/>
                <a:gd name="T32" fmla="*/ 84 w 494"/>
                <a:gd name="T33" fmla="*/ 4 h 382"/>
                <a:gd name="T34" fmla="*/ 52 w 494"/>
                <a:gd name="T35" fmla="*/ 4 h 382"/>
                <a:gd name="T36" fmla="*/ 60 w 494"/>
                <a:gd name="T37" fmla="*/ 28 h 382"/>
                <a:gd name="T38" fmla="*/ 46 w 494"/>
                <a:gd name="T39" fmla="*/ 40 h 382"/>
                <a:gd name="T40" fmla="*/ 36 w 494"/>
                <a:gd name="T41" fmla="*/ 48 h 382"/>
                <a:gd name="T42" fmla="*/ 28 w 494"/>
                <a:gd name="T43" fmla="*/ 56 h 382"/>
                <a:gd name="T44" fmla="*/ 26 w 494"/>
                <a:gd name="T45" fmla="*/ 44 h 382"/>
                <a:gd name="T46" fmla="*/ 16 w 494"/>
                <a:gd name="T47" fmla="*/ 50 h 382"/>
                <a:gd name="T48" fmla="*/ 22 w 494"/>
                <a:gd name="T49" fmla="*/ 64 h 382"/>
                <a:gd name="T50" fmla="*/ 22 w 494"/>
                <a:gd name="T51" fmla="*/ 82 h 382"/>
                <a:gd name="T52" fmla="*/ 24 w 494"/>
                <a:gd name="T53" fmla="*/ 90 h 382"/>
                <a:gd name="T54" fmla="*/ 16 w 494"/>
                <a:gd name="T55" fmla="*/ 96 h 382"/>
                <a:gd name="T56" fmla="*/ 32 w 494"/>
                <a:gd name="T57" fmla="*/ 122 h 382"/>
                <a:gd name="T58" fmla="*/ 16 w 494"/>
                <a:gd name="T59" fmla="*/ 122 h 382"/>
                <a:gd name="T60" fmla="*/ 18 w 494"/>
                <a:gd name="T61" fmla="*/ 126 h 382"/>
                <a:gd name="T62" fmla="*/ 20 w 494"/>
                <a:gd name="T63" fmla="*/ 132 h 382"/>
                <a:gd name="T64" fmla="*/ 32 w 494"/>
                <a:gd name="T65" fmla="*/ 140 h 382"/>
                <a:gd name="T66" fmla="*/ 38 w 494"/>
                <a:gd name="T67" fmla="*/ 144 h 382"/>
                <a:gd name="T68" fmla="*/ 38 w 494"/>
                <a:gd name="T69" fmla="*/ 170 h 382"/>
                <a:gd name="T70" fmla="*/ 72 w 494"/>
                <a:gd name="T71" fmla="*/ 178 h 382"/>
                <a:gd name="T72" fmla="*/ 110 w 494"/>
                <a:gd name="T73" fmla="*/ 214 h 382"/>
                <a:gd name="T74" fmla="*/ 132 w 494"/>
                <a:gd name="T75" fmla="*/ 240 h 382"/>
                <a:gd name="T76" fmla="*/ 154 w 494"/>
                <a:gd name="T77" fmla="*/ 246 h 382"/>
                <a:gd name="T78" fmla="*/ 182 w 494"/>
                <a:gd name="T79" fmla="*/ 246 h 382"/>
                <a:gd name="T80" fmla="*/ 204 w 494"/>
                <a:gd name="T81" fmla="*/ 262 h 382"/>
                <a:gd name="T82" fmla="*/ 206 w 494"/>
                <a:gd name="T83" fmla="*/ 272 h 382"/>
                <a:gd name="T84" fmla="*/ 194 w 494"/>
                <a:gd name="T85" fmla="*/ 290 h 382"/>
                <a:gd name="T86" fmla="*/ 200 w 494"/>
                <a:gd name="T87" fmla="*/ 294 h 382"/>
                <a:gd name="T88" fmla="*/ 214 w 494"/>
                <a:gd name="T89" fmla="*/ 290 h 382"/>
                <a:gd name="T90" fmla="*/ 220 w 494"/>
                <a:gd name="T91" fmla="*/ 282 h 382"/>
                <a:gd name="T92" fmla="*/ 230 w 494"/>
                <a:gd name="T93" fmla="*/ 274 h 382"/>
                <a:gd name="T94" fmla="*/ 238 w 494"/>
                <a:gd name="T95" fmla="*/ 284 h 382"/>
                <a:gd name="T96" fmla="*/ 248 w 494"/>
                <a:gd name="T97" fmla="*/ 292 h 382"/>
                <a:gd name="T98" fmla="*/ 278 w 494"/>
                <a:gd name="T99" fmla="*/ 302 h 382"/>
                <a:gd name="T100" fmla="*/ 334 w 494"/>
                <a:gd name="T101" fmla="*/ 326 h 382"/>
                <a:gd name="T102" fmla="*/ 378 w 494"/>
                <a:gd name="T103" fmla="*/ 344 h 382"/>
                <a:gd name="T104" fmla="*/ 384 w 494"/>
                <a:gd name="T105" fmla="*/ 350 h 382"/>
                <a:gd name="T106" fmla="*/ 416 w 494"/>
                <a:gd name="T107" fmla="*/ 358 h 382"/>
                <a:gd name="T108" fmla="*/ 452 w 494"/>
                <a:gd name="T109" fmla="*/ 380 h 382"/>
                <a:gd name="T110" fmla="*/ 470 w 494"/>
                <a:gd name="T111" fmla="*/ 318 h 382"/>
                <a:gd name="T112" fmla="*/ 494 w 494"/>
                <a:gd name="T113" fmla="*/ 29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4" h="382">
                  <a:moveTo>
                    <a:pt x="490" y="290"/>
                  </a:moveTo>
                  <a:lnTo>
                    <a:pt x="488" y="284"/>
                  </a:lnTo>
                  <a:lnTo>
                    <a:pt x="482" y="274"/>
                  </a:lnTo>
                  <a:lnTo>
                    <a:pt x="480" y="268"/>
                  </a:lnTo>
                  <a:lnTo>
                    <a:pt x="488" y="252"/>
                  </a:lnTo>
                  <a:lnTo>
                    <a:pt x="484" y="234"/>
                  </a:lnTo>
                  <a:lnTo>
                    <a:pt x="482" y="232"/>
                  </a:lnTo>
                  <a:lnTo>
                    <a:pt x="480" y="224"/>
                  </a:lnTo>
                  <a:lnTo>
                    <a:pt x="480" y="218"/>
                  </a:lnTo>
                  <a:lnTo>
                    <a:pt x="476" y="216"/>
                  </a:lnTo>
                  <a:lnTo>
                    <a:pt x="474" y="216"/>
                  </a:lnTo>
                  <a:lnTo>
                    <a:pt x="468" y="218"/>
                  </a:lnTo>
                  <a:lnTo>
                    <a:pt x="466" y="216"/>
                  </a:lnTo>
                  <a:lnTo>
                    <a:pt x="460" y="208"/>
                  </a:lnTo>
                  <a:lnTo>
                    <a:pt x="452" y="208"/>
                  </a:lnTo>
                  <a:lnTo>
                    <a:pt x="448" y="204"/>
                  </a:lnTo>
                  <a:lnTo>
                    <a:pt x="448" y="200"/>
                  </a:lnTo>
                  <a:lnTo>
                    <a:pt x="444" y="202"/>
                  </a:lnTo>
                  <a:lnTo>
                    <a:pt x="408" y="204"/>
                  </a:lnTo>
                  <a:lnTo>
                    <a:pt x="398" y="198"/>
                  </a:lnTo>
                  <a:lnTo>
                    <a:pt x="384" y="186"/>
                  </a:lnTo>
                  <a:lnTo>
                    <a:pt x="352" y="172"/>
                  </a:lnTo>
                  <a:lnTo>
                    <a:pt x="346" y="164"/>
                  </a:lnTo>
                  <a:lnTo>
                    <a:pt x="338" y="162"/>
                  </a:lnTo>
                  <a:lnTo>
                    <a:pt x="328" y="144"/>
                  </a:lnTo>
                  <a:lnTo>
                    <a:pt x="318" y="136"/>
                  </a:lnTo>
                  <a:lnTo>
                    <a:pt x="322" y="120"/>
                  </a:lnTo>
                  <a:lnTo>
                    <a:pt x="314" y="118"/>
                  </a:lnTo>
                  <a:lnTo>
                    <a:pt x="306" y="106"/>
                  </a:lnTo>
                  <a:lnTo>
                    <a:pt x="306" y="100"/>
                  </a:lnTo>
                  <a:lnTo>
                    <a:pt x="308" y="96"/>
                  </a:lnTo>
                  <a:lnTo>
                    <a:pt x="306" y="94"/>
                  </a:lnTo>
                  <a:lnTo>
                    <a:pt x="302" y="92"/>
                  </a:lnTo>
                  <a:lnTo>
                    <a:pt x="296" y="92"/>
                  </a:lnTo>
                  <a:lnTo>
                    <a:pt x="258" y="64"/>
                  </a:lnTo>
                  <a:lnTo>
                    <a:pt x="206" y="58"/>
                  </a:lnTo>
                  <a:lnTo>
                    <a:pt x="198" y="60"/>
                  </a:lnTo>
                  <a:lnTo>
                    <a:pt x="192" y="60"/>
                  </a:lnTo>
                  <a:lnTo>
                    <a:pt x="184" y="52"/>
                  </a:lnTo>
                  <a:lnTo>
                    <a:pt x="182" y="50"/>
                  </a:lnTo>
                  <a:lnTo>
                    <a:pt x="176" y="42"/>
                  </a:lnTo>
                  <a:lnTo>
                    <a:pt x="160" y="30"/>
                  </a:lnTo>
                  <a:lnTo>
                    <a:pt x="156" y="26"/>
                  </a:lnTo>
                  <a:lnTo>
                    <a:pt x="152" y="22"/>
                  </a:lnTo>
                  <a:lnTo>
                    <a:pt x="154" y="20"/>
                  </a:lnTo>
                  <a:lnTo>
                    <a:pt x="144" y="24"/>
                  </a:lnTo>
                  <a:lnTo>
                    <a:pt x="146" y="28"/>
                  </a:lnTo>
                  <a:lnTo>
                    <a:pt x="144" y="32"/>
                  </a:lnTo>
                  <a:lnTo>
                    <a:pt x="146" y="32"/>
                  </a:lnTo>
                  <a:lnTo>
                    <a:pt x="146" y="36"/>
                  </a:lnTo>
                  <a:lnTo>
                    <a:pt x="150" y="40"/>
                  </a:lnTo>
                  <a:lnTo>
                    <a:pt x="154" y="42"/>
                  </a:lnTo>
                  <a:lnTo>
                    <a:pt x="156" y="44"/>
                  </a:lnTo>
                  <a:lnTo>
                    <a:pt x="154" y="46"/>
                  </a:lnTo>
                  <a:lnTo>
                    <a:pt x="136" y="34"/>
                  </a:lnTo>
                  <a:lnTo>
                    <a:pt x="130" y="32"/>
                  </a:lnTo>
                  <a:lnTo>
                    <a:pt x="130" y="34"/>
                  </a:lnTo>
                  <a:lnTo>
                    <a:pt x="132" y="38"/>
                  </a:lnTo>
                  <a:lnTo>
                    <a:pt x="130" y="40"/>
                  </a:lnTo>
                  <a:lnTo>
                    <a:pt x="106" y="22"/>
                  </a:lnTo>
                  <a:lnTo>
                    <a:pt x="108" y="20"/>
                  </a:lnTo>
                  <a:lnTo>
                    <a:pt x="106" y="16"/>
                  </a:lnTo>
                  <a:lnTo>
                    <a:pt x="104" y="14"/>
                  </a:lnTo>
                  <a:lnTo>
                    <a:pt x="100" y="20"/>
                  </a:lnTo>
                  <a:lnTo>
                    <a:pt x="96" y="16"/>
                  </a:lnTo>
                  <a:lnTo>
                    <a:pt x="92" y="12"/>
                  </a:lnTo>
                  <a:lnTo>
                    <a:pt x="92" y="8"/>
                  </a:lnTo>
                  <a:lnTo>
                    <a:pt x="84" y="4"/>
                  </a:lnTo>
                  <a:lnTo>
                    <a:pt x="78" y="0"/>
                  </a:lnTo>
                  <a:lnTo>
                    <a:pt x="60" y="2"/>
                  </a:lnTo>
                  <a:lnTo>
                    <a:pt x="58" y="2"/>
                  </a:lnTo>
                  <a:lnTo>
                    <a:pt x="52" y="4"/>
                  </a:lnTo>
                  <a:lnTo>
                    <a:pt x="44" y="10"/>
                  </a:lnTo>
                  <a:lnTo>
                    <a:pt x="42" y="12"/>
                  </a:lnTo>
                  <a:lnTo>
                    <a:pt x="60" y="24"/>
                  </a:lnTo>
                  <a:lnTo>
                    <a:pt x="60" y="28"/>
                  </a:lnTo>
                  <a:lnTo>
                    <a:pt x="52" y="28"/>
                  </a:lnTo>
                  <a:lnTo>
                    <a:pt x="48" y="32"/>
                  </a:lnTo>
                  <a:lnTo>
                    <a:pt x="48" y="36"/>
                  </a:lnTo>
                  <a:lnTo>
                    <a:pt x="46" y="40"/>
                  </a:lnTo>
                  <a:lnTo>
                    <a:pt x="46" y="44"/>
                  </a:lnTo>
                  <a:lnTo>
                    <a:pt x="44" y="46"/>
                  </a:lnTo>
                  <a:lnTo>
                    <a:pt x="38" y="46"/>
                  </a:lnTo>
                  <a:lnTo>
                    <a:pt x="36" y="48"/>
                  </a:lnTo>
                  <a:lnTo>
                    <a:pt x="34" y="54"/>
                  </a:lnTo>
                  <a:lnTo>
                    <a:pt x="36" y="60"/>
                  </a:lnTo>
                  <a:lnTo>
                    <a:pt x="36" y="62"/>
                  </a:lnTo>
                  <a:lnTo>
                    <a:pt x="28" y="56"/>
                  </a:lnTo>
                  <a:lnTo>
                    <a:pt x="26" y="52"/>
                  </a:lnTo>
                  <a:lnTo>
                    <a:pt x="30" y="44"/>
                  </a:lnTo>
                  <a:lnTo>
                    <a:pt x="28" y="42"/>
                  </a:lnTo>
                  <a:lnTo>
                    <a:pt x="26" y="44"/>
                  </a:lnTo>
                  <a:lnTo>
                    <a:pt x="24" y="46"/>
                  </a:lnTo>
                  <a:lnTo>
                    <a:pt x="20" y="50"/>
                  </a:lnTo>
                  <a:lnTo>
                    <a:pt x="16" y="48"/>
                  </a:lnTo>
                  <a:lnTo>
                    <a:pt x="16" y="50"/>
                  </a:lnTo>
                  <a:lnTo>
                    <a:pt x="16" y="54"/>
                  </a:lnTo>
                  <a:lnTo>
                    <a:pt x="16" y="56"/>
                  </a:lnTo>
                  <a:lnTo>
                    <a:pt x="20" y="58"/>
                  </a:lnTo>
                  <a:lnTo>
                    <a:pt x="22" y="64"/>
                  </a:lnTo>
                  <a:lnTo>
                    <a:pt x="26" y="70"/>
                  </a:lnTo>
                  <a:lnTo>
                    <a:pt x="28" y="74"/>
                  </a:lnTo>
                  <a:lnTo>
                    <a:pt x="26" y="80"/>
                  </a:lnTo>
                  <a:lnTo>
                    <a:pt x="22" y="82"/>
                  </a:lnTo>
                  <a:lnTo>
                    <a:pt x="18" y="82"/>
                  </a:lnTo>
                  <a:lnTo>
                    <a:pt x="18" y="86"/>
                  </a:lnTo>
                  <a:lnTo>
                    <a:pt x="22" y="88"/>
                  </a:lnTo>
                  <a:lnTo>
                    <a:pt x="24" y="90"/>
                  </a:lnTo>
                  <a:lnTo>
                    <a:pt x="22" y="90"/>
                  </a:lnTo>
                  <a:lnTo>
                    <a:pt x="18" y="90"/>
                  </a:lnTo>
                  <a:lnTo>
                    <a:pt x="14" y="92"/>
                  </a:lnTo>
                  <a:lnTo>
                    <a:pt x="16" y="96"/>
                  </a:lnTo>
                  <a:lnTo>
                    <a:pt x="18" y="104"/>
                  </a:lnTo>
                  <a:lnTo>
                    <a:pt x="8" y="104"/>
                  </a:lnTo>
                  <a:lnTo>
                    <a:pt x="8" y="106"/>
                  </a:lnTo>
                  <a:lnTo>
                    <a:pt x="32" y="122"/>
                  </a:lnTo>
                  <a:lnTo>
                    <a:pt x="28" y="124"/>
                  </a:lnTo>
                  <a:lnTo>
                    <a:pt x="22" y="122"/>
                  </a:lnTo>
                  <a:lnTo>
                    <a:pt x="22" y="124"/>
                  </a:lnTo>
                  <a:lnTo>
                    <a:pt x="16" y="122"/>
                  </a:lnTo>
                  <a:lnTo>
                    <a:pt x="12" y="118"/>
                  </a:lnTo>
                  <a:lnTo>
                    <a:pt x="6" y="116"/>
                  </a:lnTo>
                  <a:lnTo>
                    <a:pt x="0" y="118"/>
                  </a:lnTo>
                  <a:lnTo>
                    <a:pt x="18" y="126"/>
                  </a:lnTo>
                  <a:lnTo>
                    <a:pt x="18" y="128"/>
                  </a:lnTo>
                  <a:lnTo>
                    <a:pt x="14" y="130"/>
                  </a:lnTo>
                  <a:lnTo>
                    <a:pt x="14" y="130"/>
                  </a:lnTo>
                  <a:lnTo>
                    <a:pt x="20" y="132"/>
                  </a:lnTo>
                  <a:lnTo>
                    <a:pt x="24" y="130"/>
                  </a:lnTo>
                  <a:lnTo>
                    <a:pt x="30" y="134"/>
                  </a:lnTo>
                  <a:lnTo>
                    <a:pt x="32" y="136"/>
                  </a:lnTo>
                  <a:lnTo>
                    <a:pt x="32" y="140"/>
                  </a:lnTo>
                  <a:lnTo>
                    <a:pt x="34" y="146"/>
                  </a:lnTo>
                  <a:lnTo>
                    <a:pt x="34" y="146"/>
                  </a:lnTo>
                  <a:lnTo>
                    <a:pt x="36" y="144"/>
                  </a:lnTo>
                  <a:lnTo>
                    <a:pt x="38" y="144"/>
                  </a:lnTo>
                  <a:lnTo>
                    <a:pt x="40" y="148"/>
                  </a:lnTo>
                  <a:lnTo>
                    <a:pt x="36" y="156"/>
                  </a:lnTo>
                  <a:lnTo>
                    <a:pt x="36" y="164"/>
                  </a:lnTo>
                  <a:lnTo>
                    <a:pt x="38" y="170"/>
                  </a:lnTo>
                  <a:lnTo>
                    <a:pt x="46" y="178"/>
                  </a:lnTo>
                  <a:lnTo>
                    <a:pt x="66" y="184"/>
                  </a:lnTo>
                  <a:lnTo>
                    <a:pt x="70" y="180"/>
                  </a:lnTo>
                  <a:lnTo>
                    <a:pt x="72" y="178"/>
                  </a:lnTo>
                  <a:lnTo>
                    <a:pt x="78" y="174"/>
                  </a:lnTo>
                  <a:lnTo>
                    <a:pt x="82" y="172"/>
                  </a:lnTo>
                  <a:lnTo>
                    <a:pt x="96" y="182"/>
                  </a:lnTo>
                  <a:lnTo>
                    <a:pt x="110" y="214"/>
                  </a:lnTo>
                  <a:lnTo>
                    <a:pt x="110" y="218"/>
                  </a:lnTo>
                  <a:lnTo>
                    <a:pt x="110" y="226"/>
                  </a:lnTo>
                  <a:lnTo>
                    <a:pt x="116" y="234"/>
                  </a:lnTo>
                  <a:lnTo>
                    <a:pt x="132" y="240"/>
                  </a:lnTo>
                  <a:lnTo>
                    <a:pt x="138" y="244"/>
                  </a:lnTo>
                  <a:lnTo>
                    <a:pt x="144" y="244"/>
                  </a:lnTo>
                  <a:lnTo>
                    <a:pt x="150" y="244"/>
                  </a:lnTo>
                  <a:lnTo>
                    <a:pt x="154" y="246"/>
                  </a:lnTo>
                  <a:lnTo>
                    <a:pt x="160" y="244"/>
                  </a:lnTo>
                  <a:lnTo>
                    <a:pt x="174" y="242"/>
                  </a:lnTo>
                  <a:lnTo>
                    <a:pt x="180" y="244"/>
                  </a:lnTo>
                  <a:lnTo>
                    <a:pt x="182" y="246"/>
                  </a:lnTo>
                  <a:lnTo>
                    <a:pt x="190" y="260"/>
                  </a:lnTo>
                  <a:lnTo>
                    <a:pt x="196" y="264"/>
                  </a:lnTo>
                  <a:lnTo>
                    <a:pt x="200" y="266"/>
                  </a:lnTo>
                  <a:lnTo>
                    <a:pt x="204" y="262"/>
                  </a:lnTo>
                  <a:lnTo>
                    <a:pt x="214" y="264"/>
                  </a:lnTo>
                  <a:lnTo>
                    <a:pt x="216" y="270"/>
                  </a:lnTo>
                  <a:lnTo>
                    <a:pt x="212" y="272"/>
                  </a:lnTo>
                  <a:lnTo>
                    <a:pt x="206" y="272"/>
                  </a:lnTo>
                  <a:lnTo>
                    <a:pt x="198" y="278"/>
                  </a:lnTo>
                  <a:lnTo>
                    <a:pt x="196" y="286"/>
                  </a:lnTo>
                  <a:lnTo>
                    <a:pt x="192" y="288"/>
                  </a:lnTo>
                  <a:lnTo>
                    <a:pt x="194" y="290"/>
                  </a:lnTo>
                  <a:lnTo>
                    <a:pt x="194" y="292"/>
                  </a:lnTo>
                  <a:lnTo>
                    <a:pt x="196" y="296"/>
                  </a:lnTo>
                  <a:lnTo>
                    <a:pt x="198" y="294"/>
                  </a:lnTo>
                  <a:lnTo>
                    <a:pt x="200" y="294"/>
                  </a:lnTo>
                  <a:lnTo>
                    <a:pt x="206" y="294"/>
                  </a:lnTo>
                  <a:lnTo>
                    <a:pt x="208" y="290"/>
                  </a:lnTo>
                  <a:lnTo>
                    <a:pt x="210" y="288"/>
                  </a:lnTo>
                  <a:lnTo>
                    <a:pt x="214" y="290"/>
                  </a:lnTo>
                  <a:lnTo>
                    <a:pt x="218" y="292"/>
                  </a:lnTo>
                  <a:lnTo>
                    <a:pt x="218" y="292"/>
                  </a:lnTo>
                  <a:lnTo>
                    <a:pt x="220" y="290"/>
                  </a:lnTo>
                  <a:lnTo>
                    <a:pt x="220" y="282"/>
                  </a:lnTo>
                  <a:lnTo>
                    <a:pt x="224" y="280"/>
                  </a:lnTo>
                  <a:lnTo>
                    <a:pt x="224" y="278"/>
                  </a:lnTo>
                  <a:lnTo>
                    <a:pt x="226" y="278"/>
                  </a:lnTo>
                  <a:lnTo>
                    <a:pt x="230" y="274"/>
                  </a:lnTo>
                  <a:lnTo>
                    <a:pt x="232" y="276"/>
                  </a:lnTo>
                  <a:lnTo>
                    <a:pt x="236" y="280"/>
                  </a:lnTo>
                  <a:lnTo>
                    <a:pt x="238" y="282"/>
                  </a:lnTo>
                  <a:lnTo>
                    <a:pt x="238" y="284"/>
                  </a:lnTo>
                  <a:lnTo>
                    <a:pt x="236" y="284"/>
                  </a:lnTo>
                  <a:lnTo>
                    <a:pt x="236" y="286"/>
                  </a:lnTo>
                  <a:lnTo>
                    <a:pt x="242" y="288"/>
                  </a:lnTo>
                  <a:lnTo>
                    <a:pt x="248" y="292"/>
                  </a:lnTo>
                  <a:lnTo>
                    <a:pt x="250" y="292"/>
                  </a:lnTo>
                  <a:lnTo>
                    <a:pt x="270" y="294"/>
                  </a:lnTo>
                  <a:lnTo>
                    <a:pt x="276" y="298"/>
                  </a:lnTo>
                  <a:lnTo>
                    <a:pt x="278" y="302"/>
                  </a:lnTo>
                  <a:lnTo>
                    <a:pt x="282" y="310"/>
                  </a:lnTo>
                  <a:lnTo>
                    <a:pt x="294" y="318"/>
                  </a:lnTo>
                  <a:lnTo>
                    <a:pt x="326" y="326"/>
                  </a:lnTo>
                  <a:lnTo>
                    <a:pt x="334" y="326"/>
                  </a:lnTo>
                  <a:lnTo>
                    <a:pt x="346" y="330"/>
                  </a:lnTo>
                  <a:lnTo>
                    <a:pt x="350" y="334"/>
                  </a:lnTo>
                  <a:lnTo>
                    <a:pt x="368" y="344"/>
                  </a:lnTo>
                  <a:lnTo>
                    <a:pt x="378" y="344"/>
                  </a:lnTo>
                  <a:lnTo>
                    <a:pt x="384" y="344"/>
                  </a:lnTo>
                  <a:lnTo>
                    <a:pt x="386" y="344"/>
                  </a:lnTo>
                  <a:lnTo>
                    <a:pt x="386" y="346"/>
                  </a:lnTo>
                  <a:lnTo>
                    <a:pt x="384" y="350"/>
                  </a:lnTo>
                  <a:lnTo>
                    <a:pt x="384" y="350"/>
                  </a:lnTo>
                  <a:lnTo>
                    <a:pt x="390" y="352"/>
                  </a:lnTo>
                  <a:lnTo>
                    <a:pt x="406" y="350"/>
                  </a:lnTo>
                  <a:lnTo>
                    <a:pt x="416" y="358"/>
                  </a:lnTo>
                  <a:lnTo>
                    <a:pt x="438" y="370"/>
                  </a:lnTo>
                  <a:lnTo>
                    <a:pt x="440" y="378"/>
                  </a:lnTo>
                  <a:lnTo>
                    <a:pt x="446" y="382"/>
                  </a:lnTo>
                  <a:lnTo>
                    <a:pt x="452" y="380"/>
                  </a:lnTo>
                  <a:lnTo>
                    <a:pt x="456" y="372"/>
                  </a:lnTo>
                  <a:lnTo>
                    <a:pt x="454" y="362"/>
                  </a:lnTo>
                  <a:lnTo>
                    <a:pt x="450" y="354"/>
                  </a:lnTo>
                  <a:lnTo>
                    <a:pt x="470" y="318"/>
                  </a:lnTo>
                  <a:lnTo>
                    <a:pt x="472" y="310"/>
                  </a:lnTo>
                  <a:lnTo>
                    <a:pt x="474" y="306"/>
                  </a:lnTo>
                  <a:lnTo>
                    <a:pt x="482" y="306"/>
                  </a:lnTo>
                  <a:lnTo>
                    <a:pt x="494" y="298"/>
                  </a:lnTo>
                  <a:lnTo>
                    <a:pt x="492" y="294"/>
                  </a:lnTo>
                  <a:lnTo>
                    <a:pt x="490" y="290"/>
                  </a:lnTo>
                  <a:lnTo>
                    <a:pt x="490" y="290"/>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6" name="Freeform 444"/>
            <p:cNvSpPr>
              <a:spLocks/>
            </p:cNvSpPr>
            <p:nvPr/>
          </p:nvSpPr>
          <p:spPr bwMode="auto">
            <a:xfrm>
              <a:off x="1563688" y="3592513"/>
              <a:ext cx="330200" cy="187325"/>
            </a:xfrm>
            <a:custGeom>
              <a:avLst/>
              <a:gdLst>
                <a:gd name="T0" fmla="*/ 30 w 192"/>
                <a:gd name="T1" fmla="*/ 118 h 118"/>
                <a:gd name="T2" fmla="*/ 44 w 192"/>
                <a:gd name="T3" fmla="*/ 114 h 118"/>
                <a:gd name="T4" fmla="*/ 62 w 192"/>
                <a:gd name="T5" fmla="*/ 106 h 118"/>
                <a:gd name="T6" fmla="*/ 86 w 192"/>
                <a:gd name="T7" fmla="*/ 116 h 118"/>
                <a:gd name="T8" fmla="*/ 98 w 192"/>
                <a:gd name="T9" fmla="*/ 106 h 118"/>
                <a:gd name="T10" fmla="*/ 112 w 192"/>
                <a:gd name="T11" fmla="*/ 106 h 118"/>
                <a:gd name="T12" fmla="*/ 114 w 192"/>
                <a:gd name="T13" fmla="*/ 106 h 118"/>
                <a:gd name="T14" fmla="*/ 102 w 192"/>
                <a:gd name="T15" fmla="*/ 58 h 118"/>
                <a:gd name="T16" fmla="*/ 162 w 192"/>
                <a:gd name="T17" fmla="*/ 80 h 118"/>
                <a:gd name="T18" fmla="*/ 176 w 192"/>
                <a:gd name="T19" fmla="*/ 76 h 118"/>
                <a:gd name="T20" fmla="*/ 192 w 192"/>
                <a:gd name="T21" fmla="*/ 34 h 118"/>
                <a:gd name="T22" fmla="*/ 110 w 192"/>
                <a:gd name="T23" fmla="*/ 30 h 118"/>
                <a:gd name="T24" fmla="*/ 106 w 192"/>
                <a:gd name="T25" fmla="*/ 28 h 118"/>
                <a:gd name="T26" fmla="*/ 100 w 192"/>
                <a:gd name="T27" fmla="*/ 24 h 118"/>
                <a:gd name="T28" fmla="*/ 94 w 192"/>
                <a:gd name="T29" fmla="*/ 10 h 118"/>
                <a:gd name="T30" fmla="*/ 94 w 192"/>
                <a:gd name="T31" fmla="*/ 4 h 118"/>
                <a:gd name="T32" fmla="*/ 94 w 192"/>
                <a:gd name="T33" fmla="*/ 2 h 118"/>
                <a:gd name="T34" fmla="*/ 86 w 192"/>
                <a:gd name="T35" fmla="*/ 0 h 118"/>
                <a:gd name="T36" fmla="*/ 80 w 192"/>
                <a:gd name="T37" fmla="*/ 8 h 118"/>
                <a:gd name="T38" fmla="*/ 80 w 192"/>
                <a:gd name="T39" fmla="*/ 8 h 118"/>
                <a:gd name="T40" fmla="*/ 68 w 192"/>
                <a:gd name="T41" fmla="*/ 22 h 118"/>
                <a:gd name="T42" fmla="*/ 66 w 192"/>
                <a:gd name="T43" fmla="*/ 28 h 118"/>
                <a:gd name="T44" fmla="*/ 60 w 192"/>
                <a:gd name="T45" fmla="*/ 32 h 118"/>
                <a:gd name="T46" fmla="*/ 58 w 192"/>
                <a:gd name="T47" fmla="*/ 34 h 118"/>
                <a:gd name="T48" fmla="*/ 58 w 192"/>
                <a:gd name="T49" fmla="*/ 36 h 118"/>
                <a:gd name="T50" fmla="*/ 52 w 192"/>
                <a:gd name="T51" fmla="*/ 42 h 118"/>
                <a:gd name="T52" fmla="*/ 52 w 192"/>
                <a:gd name="T53" fmla="*/ 46 h 118"/>
                <a:gd name="T54" fmla="*/ 30 w 192"/>
                <a:gd name="T55" fmla="*/ 58 h 118"/>
                <a:gd name="T56" fmla="*/ 10 w 192"/>
                <a:gd name="T57" fmla="*/ 82 h 118"/>
                <a:gd name="T58" fmla="*/ 4 w 192"/>
                <a:gd name="T59" fmla="*/ 86 h 118"/>
                <a:gd name="T60" fmla="*/ 2 w 192"/>
                <a:gd name="T61" fmla="*/ 90 h 118"/>
                <a:gd name="T62" fmla="*/ 2 w 192"/>
                <a:gd name="T63" fmla="*/ 90 h 118"/>
                <a:gd name="T64" fmla="*/ 0 w 192"/>
                <a:gd name="T65" fmla="*/ 94 h 118"/>
                <a:gd name="T66" fmla="*/ 30 w 192"/>
                <a:gd name="T67" fmla="*/ 118 h 118"/>
                <a:gd name="T68" fmla="*/ 30 w 192"/>
                <a:gd name="T6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18">
                  <a:moveTo>
                    <a:pt x="30" y="118"/>
                  </a:moveTo>
                  <a:lnTo>
                    <a:pt x="44" y="114"/>
                  </a:lnTo>
                  <a:lnTo>
                    <a:pt x="62" y="106"/>
                  </a:lnTo>
                  <a:lnTo>
                    <a:pt x="86" y="116"/>
                  </a:lnTo>
                  <a:lnTo>
                    <a:pt x="98" y="106"/>
                  </a:lnTo>
                  <a:lnTo>
                    <a:pt x="112" y="106"/>
                  </a:lnTo>
                  <a:lnTo>
                    <a:pt x="114" y="106"/>
                  </a:lnTo>
                  <a:lnTo>
                    <a:pt x="102" y="58"/>
                  </a:lnTo>
                  <a:lnTo>
                    <a:pt x="162" y="80"/>
                  </a:lnTo>
                  <a:lnTo>
                    <a:pt x="176" y="76"/>
                  </a:lnTo>
                  <a:lnTo>
                    <a:pt x="192" y="34"/>
                  </a:lnTo>
                  <a:lnTo>
                    <a:pt x="110" y="30"/>
                  </a:lnTo>
                  <a:lnTo>
                    <a:pt x="106" y="28"/>
                  </a:lnTo>
                  <a:lnTo>
                    <a:pt x="100" y="24"/>
                  </a:lnTo>
                  <a:lnTo>
                    <a:pt x="94" y="10"/>
                  </a:lnTo>
                  <a:lnTo>
                    <a:pt x="94" y="4"/>
                  </a:lnTo>
                  <a:lnTo>
                    <a:pt x="94" y="2"/>
                  </a:lnTo>
                  <a:lnTo>
                    <a:pt x="86" y="0"/>
                  </a:lnTo>
                  <a:lnTo>
                    <a:pt x="80" y="8"/>
                  </a:lnTo>
                  <a:lnTo>
                    <a:pt x="80" y="8"/>
                  </a:lnTo>
                  <a:lnTo>
                    <a:pt x="68" y="22"/>
                  </a:lnTo>
                  <a:lnTo>
                    <a:pt x="66" y="28"/>
                  </a:lnTo>
                  <a:lnTo>
                    <a:pt x="60" y="32"/>
                  </a:lnTo>
                  <a:lnTo>
                    <a:pt x="58" y="34"/>
                  </a:lnTo>
                  <a:lnTo>
                    <a:pt x="58" y="36"/>
                  </a:lnTo>
                  <a:lnTo>
                    <a:pt x="52" y="42"/>
                  </a:lnTo>
                  <a:lnTo>
                    <a:pt x="52" y="46"/>
                  </a:lnTo>
                  <a:lnTo>
                    <a:pt x="30" y="58"/>
                  </a:lnTo>
                  <a:lnTo>
                    <a:pt x="10" y="82"/>
                  </a:lnTo>
                  <a:lnTo>
                    <a:pt x="4" y="86"/>
                  </a:lnTo>
                  <a:lnTo>
                    <a:pt x="2" y="90"/>
                  </a:lnTo>
                  <a:lnTo>
                    <a:pt x="2" y="90"/>
                  </a:lnTo>
                  <a:lnTo>
                    <a:pt x="0" y="94"/>
                  </a:lnTo>
                  <a:lnTo>
                    <a:pt x="30" y="118"/>
                  </a:lnTo>
                  <a:lnTo>
                    <a:pt x="30" y="118"/>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7" name="Freeform 446"/>
            <p:cNvSpPr>
              <a:spLocks/>
            </p:cNvSpPr>
            <p:nvPr/>
          </p:nvSpPr>
          <p:spPr bwMode="auto">
            <a:xfrm>
              <a:off x="7077076" y="6323013"/>
              <a:ext cx="30163" cy="25400"/>
            </a:xfrm>
            <a:custGeom>
              <a:avLst/>
              <a:gdLst>
                <a:gd name="T0" fmla="*/ 0 w 18"/>
                <a:gd name="T1" fmla="*/ 14 h 16"/>
                <a:gd name="T2" fmla="*/ 18 w 18"/>
                <a:gd name="T3" fmla="*/ 0 h 16"/>
                <a:gd name="T4" fmla="*/ 18 w 18"/>
                <a:gd name="T5" fmla="*/ 2 h 16"/>
                <a:gd name="T6" fmla="*/ 18 w 18"/>
                <a:gd name="T7" fmla="*/ 2 h 16"/>
                <a:gd name="T8" fmla="*/ 18 w 18"/>
                <a:gd name="T9" fmla="*/ 4 h 16"/>
                <a:gd name="T10" fmla="*/ 16 w 18"/>
                <a:gd name="T11" fmla="*/ 4 h 16"/>
                <a:gd name="T12" fmla="*/ 16 w 18"/>
                <a:gd name="T13" fmla="*/ 4 h 16"/>
                <a:gd name="T14" fmla="*/ 18 w 18"/>
                <a:gd name="T15" fmla="*/ 4 h 16"/>
                <a:gd name="T16" fmla="*/ 16 w 18"/>
                <a:gd name="T17" fmla="*/ 6 h 16"/>
                <a:gd name="T18" fmla="*/ 16 w 18"/>
                <a:gd name="T19" fmla="*/ 6 h 16"/>
                <a:gd name="T20" fmla="*/ 16 w 18"/>
                <a:gd name="T21" fmla="*/ 6 h 16"/>
                <a:gd name="T22" fmla="*/ 16 w 18"/>
                <a:gd name="T23" fmla="*/ 6 h 16"/>
                <a:gd name="T24" fmla="*/ 16 w 18"/>
                <a:gd name="T25" fmla="*/ 8 h 16"/>
                <a:gd name="T26" fmla="*/ 14 w 18"/>
                <a:gd name="T27" fmla="*/ 8 h 16"/>
                <a:gd name="T28" fmla="*/ 14 w 18"/>
                <a:gd name="T29" fmla="*/ 10 h 16"/>
                <a:gd name="T30" fmla="*/ 12 w 18"/>
                <a:gd name="T31" fmla="*/ 10 h 16"/>
                <a:gd name="T32" fmla="*/ 12 w 18"/>
                <a:gd name="T33" fmla="*/ 10 h 16"/>
                <a:gd name="T34" fmla="*/ 12 w 18"/>
                <a:gd name="T35" fmla="*/ 12 h 16"/>
                <a:gd name="T36" fmla="*/ 12 w 18"/>
                <a:gd name="T37" fmla="*/ 12 h 16"/>
                <a:gd name="T38" fmla="*/ 12 w 18"/>
                <a:gd name="T39" fmla="*/ 12 h 16"/>
                <a:gd name="T40" fmla="*/ 12 w 18"/>
                <a:gd name="T41" fmla="*/ 12 h 16"/>
                <a:gd name="T42" fmla="*/ 12 w 18"/>
                <a:gd name="T43" fmla="*/ 12 h 16"/>
                <a:gd name="T44" fmla="*/ 12 w 18"/>
                <a:gd name="T45" fmla="*/ 12 h 16"/>
                <a:gd name="T46" fmla="*/ 12 w 18"/>
                <a:gd name="T47" fmla="*/ 14 h 16"/>
                <a:gd name="T48" fmla="*/ 12 w 18"/>
                <a:gd name="T49" fmla="*/ 14 h 16"/>
                <a:gd name="T50" fmla="*/ 12 w 18"/>
                <a:gd name="T51" fmla="*/ 14 h 16"/>
                <a:gd name="T52" fmla="*/ 10 w 18"/>
                <a:gd name="T53" fmla="*/ 16 h 16"/>
                <a:gd name="T54" fmla="*/ 10 w 18"/>
                <a:gd name="T55" fmla="*/ 16 h 16"/>
                <a:gd name="T56" fmla="*/ 10 w 18"/>
                <a:gd name="T57" fmla="*/ 16 h 16"/>
                <a:gd name="T58" fmla="*/ 10 w 18"/>
                <a:gd name="T59" fmla="*/ 16 h 16"/>
                <a:gd name="T60" fmla="*/ 8 w 18"/>
                <a:gd name="T61" fmla="*/ 16 h 16"/>
                <a:gd name="T62" fmla="*/ 8 w 18"/>
                <a:gd name="T63" fmla="*/ 16 h 16"/>
                <a:gd name="T64" fmla="*/ 8 w 18"/>
                <a:gd name="T65" fmla="*/ 16 h 16"/>
                <a:gd name="T66" fmla="*/ 8 w 18"/>
                <a:gd name="T67" fmla="*/ 14 h 16"/>
                <a:gd name="T68" fmla="*/ 8 w 18"/>
                <a:gd name="T69" fmla="*/ 14 h 16"/>
                <a:gd name="T70" fmla="*/ 8 w 18"/>
                <a:gd name="T71" fmla="*/ 14 h 16"/>
                <a:gd name="T72" fmla="*/ 8 w 18"/>
                <a:gd name="T73" fmla="*/ 14 h 16"/>
                <a:gd name="T74" fmla="*/ 8 w 18"/>
                <a:gd name="T75" fmla="*/ 12 h 16"/>
                <a:gd name="T76" fmla="*/ 8 w 18"/>
                <a:gd name="T77" fmla="*/ 12 h 16"/>
                <a:gd name="T78" fmla="*/ 6 w 18"/>
                <a:gd name="T79" fmla="*/ 12 h 16"/>
                <a:gd name="T80" fmla="*/ 6 w 18"/>
                <a:gd name="T81" fmla="*/ 12 h 16"/>
                <a:gd name="T82" fmla="*/ 6 w 18"/>
                <a:gd name="T83" fmla="*/ 12 h 16"/>
                <a:gd name="T84" fmla="*/ 6 w 18"/>
                <a:gd name="T85" fmla="*/ 12 h 16"/>
                <a:gd name="T86" fmla="*/ 4 w 18"/>
                <a:gd name="T87" fmla="*/ 12 h 16"/>
                <a:gd name="T88" fmla="*/ 4 w 18"/>
                <a:gd name="T89" fmla="*/ 14 h 16"/>
                <a:gd name="T90" fmla="*/ 4 w 18"/>
                <a:gd name="T91" fmla="*/ 14 h 16"/>
                <a:gd name="T92" fmla="*/ 2 w 18"/>
                <a:gd name="T93" fmla="*/ 16 h 16"/>
                <a:gd name="T94" fmla="*/ 2 w 18"/>
                <a:gd name="T95" fmla="*/ 16 h 16"/>
                <a:gd name="T96" fmla="*/ 2 w 18"/>
                <a:gd name="T97" fmla="*/ 16 h 16"/>
                <a:gd name="T98" fmla="*/ 0 w 18"/>
                <a:gd name="T99" fmla="*/ 16 h 16"/>
                <a:gd name="T100" fmla="*/ 0 w 18"/>
                <a:gd name="T101" fmla="*/ 14 h 16"/>
                <a:gd name="T102" fmla="*/ 0 w 18"/>
                <a:gd name="T103" fmla="*/ 14 h 16"/>
                <a:gd name="T104" fmla="*/ 0 w 18"/>
                <a:gd name="T105" fmla="*/ 14 h 16"/>
                <a:gd name="T106" fmla="*/ 0 w 18"/>
                <a:gd name="T107" fmla="*/ 14 h 16"/>
                <a:gd name="T108" fmla="*/ 0 w 18"/>
                <a:gd name="T109"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 h="16">
                  <a:moveTo>
                    <a:pt x="0" y="14"/>
                  </a:moveTo>
                  <a:lnTo>
                    <a:pt x="18" y="0"/>
                  </a:lnTo>
                  <a:lnTo>
                    <a:pt x="18" y="2"/>
                  </a:lnTo>
                  <a:lnTo>
                    <a:pt x="18" y="2"/>
                  </a:lnTo>
                  <a:lnTo>
                    <a:pt x="18" y="4"/>
                  </a:lnTo>
                  <a:lnTo>
                    <a:pt x="16" y="4"/>
                  </a:lnTo>
                  <a:lnTo>
                    <a:pt x="16" y="4"/>
                  </a:lnTo>
                  <a:lnTo>
                    <a:pt x="18" y="4"/>
                  </a:lnTo>
                  <a:lnTo>
                    <a:pt x="16" y="6"/>
                  </a:lnTo>
                  <a:lnTo>
                    <a:pt x="16" y="6"/>
                  </a:lnTo>
                  <a:lnTo>
                    <a:pt x="16" y="6"/>
                  </a:lnTo>
                  <a:lnTo>
                    <a:pt x="16" y="6"/>
                  </a:lnTo>
                  <a:lnTo>
                    <a:pt x="16" y="8"/>
                  </a:lnTo>
                  <a:lnTo>
                    <a:pt x="14" y="8"/>
                  </a:lnTo>
                  <a:lnTo>
                    <a:pt x="14" y="10"/>
                  </a:lnTo>
                  <a:lnTo>
                    <a:pt x="12" y="10"/>
                  </a:lnTo>
                  <a:lnTo>
                    <a:pt x="12" y="10"/>
                  </a:lnTo>
                  <a:lnTo>
                    <a:pt x="12" y="12"/>
                  </a:lnTo>
                  <a:lnTo>
                    <a:pt x="12" y="12"/>
                  </a:lnTo>
                  <a:lnTo>
                    <a:pt x="12" y="12"/>
                  </a:lnTo>
                  <a:lnTo>
                    <a:pt x="12" y="12"/>
                  </a:lnTo>
                  <a:lnTo>
                    <a:pt x="12" y="12"/>
                  </a:lnTo>
                  <a:lnTo>
                    <a:pt x="12" y="12"/>
                  </a:lnTo>
                  <a:lnTo>
                    <a:pt x="12" y="14"/>
                  </a:lnTo>
                  <a:lnTo>
                    <a:pt x="12" y="14"/>
                  </a:lnTo>
                  <a:lnTo>
                    <a:pt x="12" y="14"/>
                  </a:lnTo>
                  <a:lnTo>
                    <a:pt x="10" y="16"/>
                  </a:lnTo>
                  <a:lnTo>
                    <a:pt x="10" y="16"/>
                  </a:lnTo>
                  <a:lnTo>
                    <a:pt x="10" y="16"/>
                  </a:lnTo>
                  <a:lnTo>
                    <a:pt x="10" y="16"/>
                  </a:lnTo>
                  <a:lnTo>
                    <a:pt x="8" y="16"/>
                  </a:lnTo>
                  <a:lnTo>
                    <a:pt x="8" y="16"/>
                  </a:lnTo>
                  <a:lnTo>
                    <a:pt x="8" y="16"/>
                  </a:lnTo>
                  <a:lnTo>
                    <a:pt x="8" y="14"/>
                  </a:lnTo>
                  <a:lnTo>
                    <a:pt x="8" y="14"/>
                  </a:lnTo>
                  <a:lnTo>
                    <a:pt x="8" y="14"/>
                  </a:lnTo>
                  <a:lnTo>
                    <a:pt x="8" y="14"/>
                  </a:lnTo>
                  <a:lnTo>
                    <a:pt x="8" y="12"/>
                  </a:lnTo>
                  <a:lnTo>
                    <a:pt x="8" y="12"/>
                  </a:lnTo>
                  <a:lnTo>
                    <a:pt x="6" y="12"/>
                  </a:lnTo>
                  <a:lnTo>
                    <a:pt x="6" y="12"/>
                  </a:lnTo>
                  <a:lnTo>
                    <a:pt x="6" y="12"/>
                  </a:lnTo>
                  <a:lnTo>
                    <a:pt x="6" y="12"/>
                  </a:lnTo>
                  <a:lnTo>
                    <a:pt x="4" y="12"/>
                  </a:lnTo>
                  <a:lnTo>
                    <a:pt x="4" y="14"/>
                  </a:lnTo>
                  <a:lnTo>
                    <a:pt x="4" y="14"/>
                  </a:lnTo>
                  <a:lnTo>
                    <a:pt x="2" y="16"/>
                  </a:lnTo>
                  <a:lnTo>
                    <a:pt x="2" y="16"/>
                  </a:lnTo>
                  <a:lnTo>
                    <a:pt x="2" y="16"/>
                  </a:lnTo>
                  <a:lnTo>
                    <a:pt x="0" y="16"/>
                  </a:lnTo>
                  <a:lnTo>
                    <a:pt x="0" y="14"/>
                  </a:lnTo>
                  <a:lnTo>
                    <a:pt x="0" y="14"/>
                  </a:lnTo>
                  <a:lnTo>
                    <a:pt x="0" y="14"/>
                  </a:lnTo>
                  <a:lnTo>
                    <a:pt x="0" y="14"/>
                  </a:lnTo>
                  <a:lnTo>
                    <a:pt x="0" y="14"/>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8" name="Freeform 447"/>
            <p:cNvSpPr>
              <a:spLocks/>
            </p:cNvSpPr>
            <p:nvPr/>
          </p:nvSpPr>
          <p:spPr bwMode="auto">
            <a:xfrm>
              <a:off x="7145338" y="6211888"/>
              <a:ext cx="176213" cy="117475"/>
            </a:xfrm>
            <a:custGeom>
              <a:avLst/>
              <a:gdLst>
                <a:gd name="T0" fmla="*/ 6 w 102"/>
                <a:gd name="T1" fmla="*/ 74 h 74"/>
                <a:gd name="T2" fmla="*/ 4 w 102"/>
                <a:gd name="T3" fmla="*/ 72 h 74"/>
                <a:gd name="T4" fmla="*/ 4 w 102"/>
                <a:gd name="T5" fmla="*/ 70 h 74"/>
                <a:gd name="T6" fmla="*/ 4 w 102"/>
                <a:gd name="T7" fmla="*/ 70 h 74"/>
                <a:gd name="T8" fmla="*/ 4 w 102"/>
                <a:gd name="T9" fmla="*/ 70 h 74"/>
                <a:gd name="T10" fmla="*/ 2 w 102"/>
                <a:gd name="T11" fmla="*/ 68 h 74"/>
                <a:gd name="T12" fmla="*/ 2 w 102"/>
                <a:gd name="T13" fmla="*/ 68 h 74"/>
                <a:gd name="T14" fmla="*/ 2 w 102"/>
                <a:gd name="T15" fmla="*/ 68 h 74"/>
                <a:gd name="T16" fmla="*/ 2 w 102"/>
                <a:gd name="T17" fmla="*/ 66 h 74"/>
                <a:gd name="T18" fmla="*/ 0 w 102"/>
                <a:gd name="T19" fmla="*/ 66 h 74"/>
                <a:gd name="T20" fmla="*/ 2 w 102"/>
                <a:gd name="T21" fmla="*/ 62 h 74"/>
                <a:gd name="T22" fmla="*/ 4 w 102"/>
                <a:gd name="T23" fmla="*/ 62 h 74"/>
                <a:gd name="T24" fmla="*/ 6 w 102"/>
                <a:gd name="T25" fmla="*/ 62 h 74"/>
                <a:gd name="T26" fmla="*/ 6 w 102"/>
                <a:gd name="T27" fmla="*/ 62 h 74"/>
                <a:gd name="T28" fmla="*/ 10 w 102"/>
                <a:gd name="T29" fmla="*/ 60 h 74"/>
                <a:gd name="T30" fmla="*/ 10 w 102"/>
                <a:gd name="T31" fmla="*/ 60 h 74"/>
                <a:gd name="T32" fmla="*/ 10 w 102"/>
                <a:gd name="T33" fmla="*/ 58 h 74"/>
                <a:gd name="T34" fmla="*/ 10 w 102"/>
                <a:gd name="T35" fmla="*/ 58 h 74"/>
                <a:gd name="T36" fmla="*/ 10 w 102"/>
                <a:gd name="T37" fmla="*/ 56 h 74"/>
                <a:gd name="T38" fmla="*/ 10 w 102"/>
                <a:gd name="T39" fmla="*/ 54 h 74"/>
                <a:gd name="T40" fmla="*/ 8 w 102"/>
                <a:gd name="T41" fmla="*/ 54 h 74"/>
                <a:gd name="T42" fmla="*/ 8 w 102"/>
                <a:gd name="T43" fmla="*/ 54 h 74"/>
                <a:gd name="T44" fmla="*/ 6 w 102"/>
                <a:gd name="T45" fmla="*/ 54 h 74"/>
                <a:gd name="T46" fmla="*/ 6 w 102"/>
                <a:gd name="T47" fmla="*/ 54 h 74"/>
                <a:gd name="T48" fmla="*/ 4 w 102"/>
                <a:gd name="T49" fmla="*/ 56 h 74"/>
                <a:gd name="T50" fmla="*/ 2 w 102"/>
                <a:gd name="T51" fmla="*/ 58 h 74"/>
                <a:gd name="T52" fmla="*/ 0 w 102"/>
                <a:gd name="T53" fmla="*/ 58 h 74"/>
                <a:gd name="T54" fmla="*/ 0 w 102"/>
                <a:gd name="T55" fmla="*/ 56 h 74"/>
                <a:gd name="T56" fmla="*/ 0 w 102"/>
                <a:gd name="T57" fmla="*/ 54 h 74"/>
                <a:gd name="T58" fmla="*/ 38 w 102"/>
                <a:gd name="T59" fmla="*/ 26 h 74"/>
                <a:gd name="T60" fmla="*/ 90 w 102"/>
                <a:gd name="T61" fmla="*/ 4 h 74"/>
                <a:gd name="T62" fmla="*/ 102 w 102"/>
                <a:gd name="T63" fmla="*/ 0 h 74"/>
                <a:gd name="T64" fmla="*/ 98 w 102"/>
                <a:gd name="T65" fmla="*/ 14 h 74"/>
                <a:gd name="T66" fmla="*/ 6 w 102"/>
                <a:gd name="T6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74">
                  <a:moveTo>
                    <a:pt x="6" y="74"/>
                  </a:moveTo>
                  <a:lnTo>
                    <a:pt x="6" y="74"/>
                  </a:lnTo>
                  <a:lnTo>
                    <a:pt x="6" y="74"/>
                  </a:lnTo>
                  <a:lnTo>
                    <a:pt x="4" y="72"/>
                  </a:lnTo>
                  <a:lnTo>
                    <a:pt x="4" y="70"/>
                  </a:lnTo>
                  <a:lnTo>
                    <a:pt x="4" y="70"/>
                  </a:lnTo>
                  <a:lnTo>
                    <a:pt x="4" y="70"/>
                  </a:lnTo>
                  <a:lnTo>
                    <a:pt x="4" y="70"/>
                  </a:lnTo>
                  <a:lnTo>
                    <a:pt x="4" y="70"/>
                  </a:lnTo>
                  <a:lnTo>
                    <a:pt x="4" y="70"/>
                  </a:lnTo>
                  <a:lnTo>
                    <a:pt x="4" y="68"/>
                  </a:lnTo>
                  <a:lnTo>
                    <a:pt x="2" y="68"/>
                  </a:lnTo>
                  <a:lnTo>
                    <a:pt x="2" y="68"/>
                  </a:lnTo>
                  <a:lnTo>
                    <a:pt x="2" y="68"/>
                  </a:lnTo>
                  <a:lnTo>
                    <a:pt x="2" y="68"/>
                  </a:lnTo>
                  <a:lnTo>
                    <a:pt x="2" y="68"/>
                  </a:lnTo>
                  <a:lnTo>
                    <a:pt x="2" y="66"/>
                  </a:lnTo>
                  <a:lnTo>
                    <a:pt x="2" y="66"/>
                  </a:lnTo>
                  <a:lnTo>
                    <a:pt x="2" y="66"/>
                  </a:lnTo>
                  <a:lnTo>
                    <a:pt x="0" y="66"/>
                  </a:lnTo>
                  <a:lnTo>
                    <a:pt x="0" y="64"/>
                  </a:lnTo>
                  <a:lnTo>
                    <a:pt x="2" y="62"/>
                  </a:lnTo>
                  <a:lnTo>
                    <a:pt x="4" y="62"/>
                  </a:lnTo>
                  <a:lnTo>
                    <a:pt x="4" y="62"/>
                  </a:lnTo>
                  <a:lnTo>
                    <a:pt x="4" y="62"/>
                  </a:lnTo>
                  <a:lnTo>
                    <a:pt x="6" y="62"/>
                  </a:lnTo>
                  <a:lnTo>
                    <a:pt x="6" y="62"/>
                  </a:lnTo>
                  <a:lnTo>
                    <a:pt x="6" y="62"/>
                  </a:lnTo>
                  <a:lnTo>
                    <a:pt x="8" y="62"/>
                  </a:lnTo>
                  <a:lnTo>
                    <a:pt x="10" y="60"/>
                  </a:lnTo>
                  <a:lnTo>
                    <a:pt x="10" y="60"/>
                  </a:lnTo>
                  <a:lnTo>
                    <a:pt x="10" y="60"/>
                  </a:lnTo>
                  <a:lnTo>
                    <a:pt x="10" y="60"/>
                  </a:lnTo>
                  <a:lnTo>
                    <a:pt x="10" y="58"/>
                  </a:lnTo>
                  <a:lnTo>
                    <a:pt x="10" y="58"/>
                  </a:lnTo>
                  <a:lnTo>
                    <a:pt x="10" y="58"/>
                  </a:lnTo>
                  <a:lnTo>
                    <a:pt x="10" y="58"/>
                  </a:lnTo>
                  <a:lnTo>
                    <a:pt x="10" y="56"/>
                  </a:lnTo>
                  <a:lnTo>
                    <a:pt x="10" y="56"/>
                  </a:lnTo>
                  <a:lnTo>
                    <a:pt x="10" y="54"/>
                  </a:lnTo>
                  <a:lnTo>
                    <a:pt x="10" y="54"/>
                  </a:lnTo>
                  <a:lnTo>
                    <a:pt x="8" y="54"/>
                  </a:lnTo>
                  <a:lnTo>
                    <a:pt x="8" y="54"/>
                  </a:lnTo>
                  <a:lnTo>
                    <a:pt x="8" y="54"/>
                  </a:lnTo>
                  <a:lnTo>
                    <a:pt x="6" y="54"/>
                  </a:lnTo>
                  <a:lnTo>
                    <a:pt x="6" y="54"/>
                  </a:lnTo>
                  <a:lnTo>
                    <a:pt x="6" y="54"/>
                  </a:lnTo>
                  <a:lnTo>
                    <a:pt x="6" y="54"/>
                  </a:lnTo>
                  <a:lnTo>
                    <a:pt x="6" y="56"/>
                  </a:lnTo>
                  <a:lnTo>
                    <a:pt x="4" y="56"/>
                  </a:lnTo>
                  <a:lnTo>
                    <a:pt x="4" y="56"/>
                  </a:lnTo>
                  <a:lnTo>
                    <a:pt x="2" y="58"/>
                  </a:lnTo>
                  <a:lnTo>
                    <a:pt x="0" y="60"/>
                  </a:lnTo>
                  <a:lnTo>
                    <a:pt x="0" y="58"/>
                  </a:lnTo>
                  <a:lnTo>
                    <a:pt x="0" y="58"/>
                  </a:lnTo>
                  <a:lnTo>
                    <a:pt x="0" y="56"/>
                  </a:lnTo>
                  <a:lnTo>
                    <a:pt x="0" y="56"/>
                  </a:lnTo>
                  <a:lnTo>
                    <a:pt x="0" y="54"/>
                  </a:lnTo>
                  <a:lnTo>
                    <a:pt x="8" y="40"/>
                  </a:lnTo>
                  <a:lnTo>
                    <a:pt x="38" y="26"/>
                  </a:lnTo>
                  <a:lnTo>
                    <a:pt x="44" y="22"/>
                  </a:lnTo>
                  <a:lnTo>
                    <a:pt x="90" y="4"/>
                  </a:lnTo>
                  <a:lnTo>
                    <a:pt x="94" y="0"/>
                  </a:lnTo>
                  <a:lnTo>
                    <a:pt x="102" y="0"/>
                  </a:lnTo>
                  <a:lnTo>
                    <a:pt x="102" y="2"/>
                  </a:lnTo>
                  <a:lnTo>
                    <a:pt x="98" y="14"/>
                  </a:lnTo>
                  <a:lnTo>
                    <a:pt x="10" y="74"/>
                  </a:lnTo>
                  <a:lnTo>
                    <a:pt x="6" y="74"/>
                  </a:lnTo>
                  <a:lnTo>
                    <a:pt x="6" y="74"/>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89" name="Freeform 448"/>
            <p:cNvSpPr>
              <a:spLocks/>
            </p:cNvSpPr>
            <p:nvPr/>
          </p:nvSpPr>
          <p:spPr bwMode="auto">
            <a:xfrm>
              <a:off x="2560638" y="4344988"/>
              <a:ext cx="58738" cy="15875"/>
            </a:xfrm>
            <a:custGeom>
              <a:avLst/>
              <a:gdLst>
                <a:gd name="T0" fmla="*/ 34 w 34"/>
                <a:gd name="T1" fmla="*/ 4 h 10"/>
                <a:gd name="T2" fmla="*/ 32 w 34"/>
                <a:gd name="T3" fmla="*/ 2 h 10"/>
                <a:gd name="T4" fmla="*/ 20 w 34"/>
                <a:gd name="T5" fmla="*/ 0 h 10"/>
                <a:gd name="T6" fmla="*/ 16 w 34"/>
                <a:gd name="T7" fmla="*/ 4 h 10"/>
                <a:gd name="T8" fmla="*/ 0 w 34"/>
                <a:gd name="T9" fmla="*/ 6 h 10"/>
                <a:gd name="T10" fmla="*/ 0 w 34"/>
                <a:gd name="T11" fmla="*/ 8 h 10"/>
                <a:gd name="T12" fmla="*/ 16 w 34"/>
                <a:gd name="T13" fmla="*/ 10 h 10"/>
                <a:gd name="T14" fmla="*/ 34 w 34"/>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0">
                  <a:moveTo>
                    <a:pt x="34" y="4"/>
                  </a:moveTo>
                  <a:lnTo>
                    <a:pt x="32" y="2"/>
                  </a:lnTo>
                  <a:lnTo>
                    <a:pt x="20" y="0"/>
                  </a:lnTo>
                  <a:lnTo>
                    <a:pt x="16" y="4"/>
                  </a:lnTo>
                  <a:lnTo>
                    <a:pt x="0" y="6"/>
                  </a:lnTo>
                  <a:lnTo>
                    <a:pt x="0" y="8"/>
                  </a:lnTo>
                  <a:lnTo>
                    <a:pt x="16" y="10"/>
                  </a:lnTo>
                  <a:lnTo>
                    <a:pt x="34" y="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90" name="Freeform 449"/>
            <p:cNvSpPr>
              <a:spLocks/>
            </p:cNvSpPr>
            <p:nvPr/>
          </p:nvSpPr>
          <p:spPr bwMode="auto">
            <a:xfrm>
              <a:off x="2560638" y="4344988"/>
              <a:ext cx="58738" cy="15875"/>
            </a:xfrm>
            <a:custGeom>
              <a:avLst/>
              <a:gdLst>
                <a:gd name="T0" fmla="*/ 34 w 34"/>
                <a:gd name="T1" fmla="*/ 4 h 10"/>
                <a:gd name="T2" fmla="*/ 32 w 34"/>
                <a:gd name="T3" fmla="*/ 2 h 10"/>
                <a:gd name="T4" fmla="*/ 20 w 34"/>
                <a:gd name="T5" fmla="*/ 0 h 10"/>
                <a:gd name="T6" fmla="*/ 16 w 34"/>
                <a:gd name="T7" fmla="*/ 4 h 10"/>
                <a:gd name="T8" fmla="*/ 0 w 34"/>
                <a:gd name="T9" fmla="*/ 6 h 10"/>
                <a:gd name="T10" fmla="*/ 0 w 34"/>
                <a:gd name="T11" fmla="*/ 8 h 10"/>
                <a:gd name="T12" fmla="*/ 16 w 34"/>
                <a:gd name="T13" fmla="*/ 10 h 10"/>
                <a:gd name="T14" fmla="*/ 34 w 34"/>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0">
                  <a:moveTo>
                    <a:pt x="34" y="4"/>
                  </a:moveTo>
                  <a:lnTo>
                    <a:pt x="32" y="2"/>
                  </a:lnTo>
                  <a:lnTo>
                    <a:pt x="20" y="0"/>
                  </a:lnTo>
                  <a:lnTo>
                    <a:pt x="16" y="4"/>
                  </a:lnTo>
                  <a:lnTo>
                    <a:pt x="0" y="6"/>
                  </a:lnTo>
                  <a:lnTo>
                    <a:pt x="0" y="8"/>
                  </a:lnTo>
                  <a:lnTo>
                    <a:pt x="16" y="10"/>
                  </a:lnTo>
                  <a:lnTo>
                    <a:pt x="34"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1" name="Freeform 450"/>
            <p:cNvSpPr>
              <a:spLocks/>
            </p:cNvSpPr>
            <p:nvPr/>
          </p:nvSpPr>
          <p:spPr bwMode="auto">
            <a:xfrm>
              <a:off x="2622551" y="4729163"/>
              <a:ext cx="26988" cy="19050"/>
            </a:xfrm>
            <a:custGeom>
              <a:avLst/>
              <a:gdLst>
                <a:gd name="T0" fmla="*/ 2 w 16"/>
                <a:gd name="T1" fmla="*/ 12 h 12"/>
                <a:gd name="T2" fmla="*/ 2 w 16"/>
                <a:gd name="T3" fmla="*/ 10 h 12"/>
                <a:gd name="T4" fmla="*/ 4 w 16"/>
                <a:gd name="T5" fmla="*/ 12 h 12"/>
                <a:gd name="T6" fmla="*/ 6 w 16"/>
                <a:gd name="T7" fmla="*/ 10 h 12"/>
                <a:gd name="T8" fmla="*/ 8 w 16"/>
                <a:gd name="T9" fmla="*/ 8 h 12"/>
                <a:gd name="T10" fmla="*/ 8 w 16"/>
                <a:gd name="T11" fmla="*/ 6 h 12"/>
                <a:gd name="T12" fmla="*/ 14 w 16"/>
                <a:gd name="T13" fmla="*/ 4 h 12"/>
                <a:gd name="T14" fmla="*/ 16 w 16"/>
                <a:gd name="T15" fmla="*/ 4 h 12"/>
                <a:gd name="T16" fmla="*/ 14 w 16"/>
                <a:gd name="T17" fmla="*/ 2 h 12"/>
                <a:gd name="T18" fmla="*/ 16 w 16"/>
                <a:gd name="T19" fmla="*/ 0 h 12"/>
                <a:gd name="T20" fmla="*/ 16 w 16"/>
                <a:gd name="T21" fmla="*/ 0 h 12"/>
                <a:gd name="T22" fmla="*/ 12 w 16"/>
                <a:gd name="T23" fmla="*/ 0 h 12"/>
                <a:gd name="T24" fmla="*/ 10 w 16"/>
                <a:gd name="T25" fmla="*/ 2 h 12"/>
                <a:gd name="T26" fmla="*/ 8 w 16"/>
                <a:gd name="T27" fmla="*/ 6 h 12"/>
                <a:gd name="T28" fmla="*/ 4 w 16"/>
                <a:gd name="T29" fmla="*/ 6 h 12"/>
                <a:gd name="T30" fmla="*/ 4 w 16"/>
                <a:gd name="T31" fmla="*/ 8 h 12"/>
                <a:gd name="T32" fmla="*/ 0 w 16"/>
                <a:gd name="T33" fmla="*/ 10 h 12"/>
                <a:gd name="T34" fmla="*/ 2 w 16"/>
                <a:gd name="T3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12">
                  <a:moveTo>
                    <a:pt x="2" y="12"/>
                  </a:moveTo>
                  <a:lnTo>
                    <a:pt x="2" y="10"/>
                  </a:lnTo>
                  <a:lnTo>
                    <a:pt x="4" y="12"/>
                  </a:lnTo>
                  <a:lnTo>
                    <a:pt x="6" y="10"/>
                  </a:lnTo>
                  <a:lnTo>
                    <a:pt x="8" y="8"/>
                  </a:lnTo>
                  <a:lnTo>
                    <a:pt x="8" y="6"/>
                  </a:lnTo>
                  <a:lnTo>
                    <a:pt x="14" y="4"/>
                  </a:lnTo>
                  <a:lnTo>
                    <a:pt x="16" y="4"/>
                  </a:lnTo>
                  <a:lnTo>
                    <a:pt x="14" y="2"/>
                  </a:lnTo>
                  <a:lnTo>
                    <a:pt x="16" y="0"/>
                  </a:lnTo>
                  <a:lnTo>
                    <a:pt x="16" y="0"/>
                  </a:lnTo>
                  <a:lnTo>
                    <a:pt x="12" y="0"/>
                  </a:lnTo>
                  <a:lnTo>
                    <a:pt x="10" y="2"/>
                  </a:lnTo>
                  <a:lnTo>
                    <a:pt x="8" y="6"/>
                  </a:lnTo>
                  <a:lnTo>
                    <a:pt x="4" y="6"/>
                  </a:lnTo>
                  <a:lnTo>
                    <a:pt x="4" y="8"/>
                  </a:lnTo>
                  <a:lnTo>
                    <a:pt x="0" y="10"/>
                  </a:lnTo>
                  <a:lnTo>
                    <a:pt x="2" y="1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92" name="Freeform 452"/>
            <p:cNvSpPr>
              <a:spLocks/>
            </p:cNvSpPr>
            <p:nvPr/>
          </p:nvSpPr>
          <p:spPr bwMode="auto">
            <a:xfrm>
              <a:off x="4768851" y="5354638"/>
              <a:ext cx="34925" cy="114300"/>
            </a:xfrm>
            <a:custGeom>
              <a:avLst/>
              <a:gdLst>
                <a:gd name="T0" fmla="*/ 18 w 20"/>
                <a:gd name="T1" fmla="*/ 2 h 72"/>
                <a:gd name="T2" fmla="*/ 8 w 20"/>
                <a:gd name="T3" fmla="*/ 48 h 72"/>
                <a:gd name="T4" fmla="*/ 0 w 20"/>
                <a:gd name="T5" fmla="*/ 60 h 72"/>
                <a:gd name="T6" fmla="*/ 0 w 20"/>
                <a:gd name="T7" fmla="*/ 70 h 72"/>
                <a:gd name="T8" fmla="*/ 4 w 20"/>
                <a:gd name="T9" fmla="*/ 72 h 72"/>
                <a:gd name="T10" fmla="*/ 8 w 20"/>
                <a:gd name="T11" fmla="*/ 72 h 72"/>
                <a:gd name="T12" fmla="*/ 6 w 20"/>
                <a:gd name="T13" fmla="*/ 68 h 72"/>
                <a:gd name="T14" fmla="*/ 18 w 20"/>
                <a:gd name="T15" fmla="*/ 28 h 72"/>
                <a:gd name="T16" fmla="*/ 16 w 20"/>
                <a:gd name="T17" fmla="*/ 24 h 72"/>
                <a:gd name="T18" fmla="*/ 16 w 20"/>
                <a:gd name="T19" fmla="*/ 18 h 72"/>
                <a:gd name="T20" fmla="*/ 20 w 20"/>
                <a:gd name="T21" fmla="*/ 16 h 72"/>
                <a:gd name="T22" fmla="*/ 20 w 20"/>
                <a:gd name="T23" fmla="*/ 0 h 72"/>
                <a:gd name="T24" fmla="*/ 18 w 20"/>
                <a:gd name="T25"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72">
                  <a:moveTo>
                    <a:pt x="18" y="2"/>
                  </a:moveTo>
                  <a:lnTo>
                    <a:pt x="8" y="48"/>
                  </a:lnTo>
                  <a:lnTo>
                    <a:pt x="0" y="60"/>
                  </a:lnTo>
                  <a:lnTo>
                    <a:pt x="0" y="70"/>
                  </a:lnTo>
                  <a:lnTo>
                    <a:pt x="4" y="72"/>
                  </a:lnTo>
                  <a:lnTo>
                    <a:pt x="8" y="72"/>
                  </a:lnTo>
                  <a:lnTo>
                    <a:pt x="6" y="68"/>
                  </a:lnTo>
                  <a:lnTo>
                    <a:pt x="18" y="28"/>
                  </a:lnTo>
                  <a:lnTo>
                    <a:pt x="16" y="24"/>
                  </a:lnTo>
                  <a:lnTo>
                    <a:pt x="16" y="18"/>
                  </a:lnTo>
                  <a:lnTo>
                    <a:pt x="20" y="16"/>
                  </a:lnTo>
                  <a:lnTo>
                    <a:pt x="20" y="0"/>
                  </a:lnTo>
                  <a:lnTo>
                    <a:pt x="18"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93" name="Freeform 453"/>
            <p:cNvSpPr>
              <a:spLocks/>
            </p:cNvSpPr>
            <p:nvPr/>
          </p:nvSpPr>
          <p:spPr bwMode="auto">
            <a:xfrm>
              <a:off x="4768851" y="5354638"/>
              <a:ext cx="34925" cy="114300"/>
            </a:xfrm>
            <a:custGeom>
              <a:avLst/>
              <a:gdLst>
                <a:gd name="T0" fmla="*/ 18 w 20"/>
                <a:gd name="T1" fmla="*/ 2 h 72"/>
                <a:gd name="T2" fmla="*/ 8 w 20"/>
                <a:gd name="T3" fmla="*/ 48 h 72"/>
                <a:gd name="T4" fmla="*/ 0 w 20"/>
                <a:gd name="T5" fmla="*/ 60 h 72"/>
                <a:gd name="T6" fmla="*/ 0 w 20"/>
                <a:gd name="T7" fmla="*/ 70 h 72"/>
                <a:gd name="T8" fmla="*/ 4 w 20"/>
                <a:gd name="T9" fmla="*/ 72 h 72"/>
                <a:gd name="T10" fmla="*/ 8 w 20"/>
                <a:gd name="T11" fmla="*/ 72 h 72"/>
                <a:gd name="T12" fmla="*/ 6 w 20"/>
                <a:gd name="T13" fmla="*/ 68 h 72"/>
                <a:gd name="T14" fmla="*/ 18 w 20"/>
                <a:gd name="T15" fmla="*/ 28 h 72"/>
                <a:gd name="T16" fmla="*/ 16 w 20"/>
                <a:gd name="T17" fmla="*/ 24 h 72"/>
                <a:gd name="T18" fmla="*/ 16 w 20"/>
                <a:gd name="T19" fmla="*/ 18 h 72"/>
                <a:gd name="T20" fmla="*/ 20 w 20"/>
                <a:gd name="T21" fmla="*/ 16 h 72"/>
                <a:gd name="T22" fmla="*/ 20 w 20"/>
                <a:gd name="T23" fmla="*/ 0 h 72"/>
                <a:gd name="T24" fmla="*/ 18 w 20"/>
                <a:gd name="T25"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72">
                  <a:moveTo>
                    <a:pt x="18" y="2"/>
                  </a:moveTo>
                  <a:lnTo>
                    <a:pt x="8" y="48"/>
                  </a:lnTo>
                  <a:lnTo>
                    <a:pt x="0" y="60"/>
                  </a:lnTo>
                  <a:lnTo>
                    <a:pt x="0" y="70"/>
                  </a:lnTo>
                  <a:lnTo>
                    <a:pt x="4" y="72"/>
                  </a:lnTo>
                  <a:lnTo>
                    <a:pt x="8" y="72"/>
                  </a:lnTo>
                  <a:lnTo>
                    <a:pt x="6" y="68"/>
                  </a:lnTo>
                  <a:lnTo>
                    <a:pt x="18" y="28"/>
                  </a:lnTo>
                  <a:lnTo>
                    <a:pt x="16" y="24"/>
                  </a:lnTo>
                  <a:lnTo>
                    <a:pt x="16" y="18"/>
                  </a:lnTo>
                  <a:lnTo>
                    <a:pt x="20" y="16"/>
                  </a:lnTo>
                  <a:lnTo>
                    <a:pt x="20" y="0"/>
                  </a:lnTo>
                  <a:lnTo>
                    <a:pt x="18"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4" name="Freeform 454"/>
            <p:cNvSpPr>
              <a:spLocks/>
            </p:cNvSpPr>
            <p:nvPr/>
          </p:nvSpPr>
          <p:spPr bwMode="auto">
            <a:xfrm>
              <a:off x="4833938" y="5707063"/>
              <a:ext cx="14288" cy="28575"/>
            </a:xfrm>
            <a:custGeom>
              <a:avLst/>
              <a:gdLst>
                <a:gd name="T0" fmla="*/ 8 w 8"/>
                <a:gd name="T1" fmla="*/ 2 h 18"/>
                <a:gd name="T2" fmla="*/ 4 w 8"/>
                <a:gd name="T3" fmla="*/ 0 h 18"/>
                <a:gd name="T4" fmla="*/ 0 w 8"/>
                <a:gd name="T5" fmla="*/ 4 h 18"/>
                <a:gd name="T6" fmla="*/ 0 w 8"/>
                <a:gd name="T7" fmla="*/ 10 h 18"/>
                <a:gd name="T8" fmla="*/ 2 w 8"/>
                <a:gd name="T9" fmla="*/ 18 h 18"/>
                <a:gd name="T10" fmla="*/ 6 w 8"/>
                <a:gd name="T11" fmla="*/ 14 h 18"/>
                <a:gd name="T12" fmla="*/ 8 w 8"/>
                <a:gd name="T13" fmla="*/ 4 h 18"/>
                <a:gd name="T14" fmla="*/ 8 w 8"/>
                <a:gd name="T15" fmla="*/ 0 h 18"/>
                <a:gd name="T16" fmla="*/ 8 w 8"/>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
                  <a:moveTo>
                    <a:pt x="8" y="2"/>
                  </a:moveTo>
                  <a:lnTo>
                    <a:pt x="4" y="0"/>
                  </a:lnTo>
                  <a:lnTo>
                    <a:pt x="0" y="4"/>
                  </a:lnTo>
                  <a:lnTo>
                    <a:pt x="0" y="10"/>
                  </a:lnTo>
                  <a:lnTo>
                    <a:pt x="2" y="18"/>
                  </a:lnTo>
                  <a:lnTo>
                    <a:pt x="6" y="14"/>
                  </a:lnTo>
                  <a:lnTo>
                    <a:pt x="8" y="4"/>
                  </a:lnTo>
                  <a:lnTo>
                    <a:pt x="8" y="0"/>
                  </a:lnTo>
                  <a:lnTo>
                    <a:pt x="8"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95" name="Freeform 455"/>
            <p:cNvSpPr>
              <a:spLocks/>
            </p:cNvSpPr>
            <p:nvPr/>
          </p:nvSpPr>
          <p:spPr bwMode="auto">
            <a:xfrm>
              <a:off x="4833938" y="5707063"/>
              <a:ext cx="14288" cy="28575"/>
            </a:xfrm>
            <a:custGeom>
              <a:avLst/>
              <a:gdLst>
                <a:gd name="T0" fmla="*/ 8 w 8"/>
                <a:gd name="T1" fmla="*/ 2 h 18"/>
                <a:gd name="T2" fmla="*/ 4 w 8"/>
                <a:gd name="T3" fmla="*/ 0 h 18"/>
                <a:gd name="T4" fmla="*/ 0 w 8"/>
                <a:gd name="T5" fmla="*/ 4 h 18"/>
                <a:gd name="T6" fmla="*/ 0 w 8"/>
                <a:gd name="T7" fmla="*/ 10 h 18"/>
                <a:gd name="T8" fmla="*/ 2 w 8"/>
                <a:gd name="T9" fmla="*/ 18 h 18"/>
                <a:gd name="T10" fmla="*/ 6 w 8"/>
                <a:gd name="T11" fmla="*/ 14 h 18"/>
                <a:gd name="T12" fmla="*/ 8 w 8"/>
                <a:gd name="T13" fmla="*/ 4 h 18"/>
                <a:gd name="T14" fmla="*/ 8 w 8"/>
                <a:gd name="T15" fmla="*/ 0 h 18"/>
                <a:gd name="T16" fmla="*/ 8 w 8"/>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
                  <a:moveTo>
                    <a:pt x="8" y="2"/>
                  </a:moveTo>
                  <a:lnTo>
                    <a:pt x="4" y="0"/>
                  </a:lnTo>
                  <a:lnTo>
                    <a:pt x="0" y="4"/>
                  </a:lnTo>
                  <a:lnTo>
                    <a:pt x="0" y="10"/>
                  </a:lnTo>
                  <a:lnTo>
                    <a:pt x="2" y="18"/>
                  </a:lnTo>
                  <a:lnTo>
                    <a:pt x="6" y="14"/>
                  </a:lnTo>
                  <a:lnTo>
                    <a:pt x="8" y="4"/>
                  </a:lnTo>
                  <a:lnTo>
                    <a:pt x="8" y="0"/>
                  </a:lnTo>
                  <a:lnTo>
                    <a:pt x="8"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6" name="Freeform 456"/>
            <p:cNvSpPr>
              <a:spLocks/>
            </p:cNvSpPr>
            <p:nvPr/>
          </p:nvSpPr>
          <p:spPr bwMode="auto">
            <a:xfrm>
              <a:off x="5559426" y="5456238"/>
              <a:ext cx="14288" cy="19050"/>
            </a:xfrm>
            <a:custGeom>
              <a:avLst/>
              <a:gdLst>
                <a:gd name="T0" fmla="*/ 4 w 8"/>
                <a:gd name="T1" fmla="*/ 0 h 12"/>
                <a:gd name="T2" fmla="*/ 8 w 8"/>
                <a:gd name="T3" fmla="*/ 4 h 12"/>
                <a:gd name="T4" fmla="*/ 8 w 8"/>
                <a:gd name="T5" fmla="*/ 8 h 12"/>
                <a:gd name="T6" fmla="*/ 8 w 8"/>
                <a:gd name="T7" fmla="*/ 12 h 12"/>
                <a:gd name="T8" fmla="*/ 4 w 8"/>
                <a:gd name="T9" fmla="*/ 10 h 12"/>
                <a:gd name="T10" fmla="*/ 0 w 8"/>
                <a:gd name="T11" fmla="*/ 6 h 12"/>
                <a:gd name="T12" fmla="*/ 0 w 8"/>
                <a:gd name="T13" fmla="*/ 2 h 12"/>
                <a:gd name="T14" fmla="*/ 4 w 8"/>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4" y="0"/>
                  </a:moveTo>
                  <a:lnTo>
                    <a:pt x="8" y="4"/>
                  </a:lnTo>
                  <a:lnTo>
                    <a:pt x="8" y="8"/>
                  </a:lnTo>
                  <a:lnTo>
                    <a:pt x="8" y="12"/>
                  </a:lnTo>
                  <a:lnTo>
                    <a:pt x="4" y="10"/>
                  </a:lnTo>
                  <a:lnTo>
                    <a:pt x="0" y="6"/>
                  </a:lnTo>
                  <a:lnTo>
                    <a:pt x="0" y="2"/>
                  </a:lnTo>
                  <a:lnTo>
                    <a:pt x="4" y="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97" name="Freeform 457"/>
            <p:cNvSpPr>
              <a:spLocks/>
            </p:cNvSpPr>
            <p:nvPr/>
          </p:nvSpPr>
          <p:spPr bwMode="auto">
            <a:xfrm>
              <a:off x="5559426" y="5456238"/>
              <a:ext cx="14288" cy="19050"/>
            </a:xfrm>
            <a:custGeom>
              <a:avLst/>
              <a:gdLst>
                <a:gd name="T0" fmla="*/ 4 w 8"/>
                <a:gd name="T1" fmla="*/ 0 h 12"/>
                <a:gd name="T2" fmla="*/ 8 w 8"/>
                <a:gd name="T3" fmla="*/ 4 h 12"/>
                <a:gd name="T4" fmla="*/ 8 w 8"/>
                <a:gd name="T5" fmla="*/ 8 h 12"/>
                <a:gd name="T6" fmla="*/ 8 w 8"/>
                <a:gd name="T7" fmla="*/ 12 h 12"/>
                <a:gd name="T8" fmla="*/ 4 w 8"/>
                <a:gd name="T9" fmla="*/ 10 h 12"/>
                <a:gd name="T10" fmla="*/ 0 w 8"/>
                <a:gd name="T11" fmla="*/ 6 h 12"/>
                <a:gd name="T12" fmla="*/ 0 w 8"/>
                <a:gd name="T13" fmla="*/ 2 h 12"/>
                <a:gd name="T14" fmla="*/ 4 w 8"/>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4" y="0"/>
                  </a:moveTo>
                  <a:lnTo>
                    <a:pt x="8" y="4"/>
                  </a:lnTo>
                  <a:lnTo>
                    <a:pt x="8" y="8"/>
                  </a:lnTo>
                  <a:lnTo>
                    <a:pt x="8" y="12"/>
                  </a:lnTo>
                  <a:lnTo>
                    <a:pt x="4" y="10"/>
                  </a:lnTo>
                  <a:lnTo>
                    <a:pt x="0" y="6"/>
                  </a:lnTo>
                  <a:lnTo>
                    <a:pt x="0" y="2"/>
                  </a:lnTo>
                  <a:lnTo>
                    <a:pt x="4"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598" name="Freeform 458"/>
            <p:cNvSpPr>
              <a:spLocks/>
            </p:cNvSpPr>
            <p:nvPr/>
          </p:nvSpPr>
          <p:spPr bwMode="auto">
            <a:xfrm>
              <a:off x="6657976" y="3567113"/>
              <a:ext cx="6350" cy="12700"/>
            </a:xfrm>
            <a:custGeom>
              <a:avLst/>
              <a:gdLst>
                <a:gd name="T0" fmla="*/ 0 w 4"/>
                <a:gd name="T1" fmla="*/ 0 h 8"/>
                <a:gd name="T2" fmla="*/ 0 w 4"/>
                <a:gd name="T3" fmla="*/ 6 h 8"/>
                <a:gd name="T4" fmla="*/ 2 w 4"/>
                <a:gd name="T5" fmla="*/ 8 h 8"/>
                <a:gd name="T6" fmla="*/ 4 w 4"/>
                <a:gd name="T7" fmla="*/ 4 h 8"/>
                <a:gd name="T8" fmla="*/ 0 w 4"/>
                <a:gd name="T9" fmla="*/ 0 h 8"/>
              </a:gdLst>
              <a:ahLst/>
              <a:cxnLst>
                <a:cxn ang="0">
                  <a:pos x="T0" y="T1"/>
                </a:cxn>
                <a:cxn ang="0">
                  <a:pos x="T2" y="T3"/>
                </a:cxn>
                <a:cxn ang="0">
                  <a:pos x="T4" y="T5"/>
                </a:cxn>
                <a:cxn ang="0">
                  <a:pos x="T6" y="T7"/>
                </a:cxn>
                <a:cxn ang="0">
                  <a:pos x="T8" y="T9"/>
                </a:cxn>
              </a:cxnLst>
              <a:rect l="0" t="0" r="r" b="b"/>
              <a:pathLst>
                <a:path w="4" h="8">
                  <a:moveTo>
                    <a:pt x="0" y="0"/>
                  </a:moveTo>
                  <a:lnTo>
                    <a:pt x="0" y="6"/>
                  </a:lnTo>
                  <a:lnTo>
                    <a:pt x="2" y="8"/>
                  </a:lnTo>
                  <a:lnTo>
                    <a:pt x="4" y="4"/>
                  </a:lnTo>
                  <a:lnTo>
                    <a:pt x="0" y="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599" name="Freeform 459"/>
            <p:cNvSpPr>
              <a:spLocks/>
            </p:cNvSpPr>
            <p:nvPr/>
          </p:nvSpPr>
          <p:spPr bwMode="auto">
            <a:xfrm>
              <a:off x="6657976" y="3567113"/>
              <a:ext cx="6350" cy="12700"/>
            </a:xfrm>
            <a:custGeom>
              <a:avLst/>
              <a:gdLst>
                <a:gd name="T0" fmla="*/ 0 w 4"/>
                <a:gd name="T1" fmla="*/ 0 h 8"/>
                <a:gd name="T2" fmla="*/ 0 w 4"/>
                <a:gd name="T3" fmla="*/ 6 h 8"/>
                <a:gd name="T4" fmla="*/ 2 w 4"/>
                <a:gd name="T5" fmla="*/ 8 h 8"/>
                <a:gd name="T6" fmla="*/ 4 w 4"/>
                <a:gd name="T7" fmla="*/ 4 h 8"/>
                <a:gd name="T8" fmla="*/ 0 w 4"/>
                <a:gd name="T9" fmla="*/ 0 h 8"/>
              </a:gdLst>
              <a:ahLst/>
              <a:cxnLst>
                <a:cxn ang="0">
                  <a:pos x="T0" y="T1"/>
                </a:cxn>
                <a:cxn ang="0">
                  <a:pos x="T2" y="T3"/>
                </a:cxn>
                <a:cxn ang="0">
                  <a:pos x="T4" y="T5"/>
                </a:cxn>
                <a:cxn ang="0">
                  <a:pos x="T6" y="T7"/>
                </a:cxn>
                <a:cxn ang="0">
                  <a:pos x="T8" y="T9"/>
                </a:cxn>
              </a:cxnLst>
              <a:rect l="0" t="0" r="r" b="b"/>
              <a:pathLst>
                <a:path w="4" h="8">
                  <a:moveTo>
                    <a:pt x="0" y="0"/>
                  </a:moveTo>
                  <a:lnTo>
                    <a:pt x="0" y="6"/>
                  </a:lnTo>
                  <a:lnTo>
                    <a:pt x="2" y="8"/>
                  </a:lnTo>
                  <a:lnTo>
                    <a:pt x="4" y="4"/>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0" name="Freeform 460"/>
            <p:cNvSpPr>
              <a:spLocks/>
            </p:cNvSpPr>
            <p:nvPr/>
          </p:nvSpPr>
          <p:spPr bwMode="auto">
            <a:xfrm>
              <a:off x="6650038" y="3544888"/>
              <a:ext cx="14288" cy="15875"/>
            </a:xfrm>
            <a:custGeom>
              <a:avLst/>
              <a:gdLst>
                <a:gd name="T0" fmla="*/ 0 w 8"/>
                <a:gd name="T1" fmla="*/ 0 h 10"/>
                <a:gd name="T2" fmla="*/ 4 w 8"/>
                <a:gd name="T3" fmla="*/ 0 h 10"/>
                <a:gd name="T4" fmla="*/ 6 w 8"/>
                <a:gd name="T5" fmla="*/ 6 h 10"/>
                <a:gd name="T6" fmla="*/ 8 w 8"/>
                <a:gd name="T7" fmla="*/ 10 h 10"/>
                <a:gd name="T8" fmla="*/ 4 w 8"/>
                <a:gd name="T9" fmla="*/ 8 h 10"/>
                <a:gd name="T10" fmla="*/ 2 w 8"/>
                <a:gd name="T11" fmla="*/ 4 h 10"/>
                <a:gd name="T12" fmla="*/ 0 w 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0" y="0"/>
                  </a:moveTo>
                  <a:lnTo>
                    <a:pt x="4" y="0"/>
                  </a:lnTo>
                  <a:lnTo>
                    <a:pt x="6" y="6"/>
                  </a:lnTo>
                  <a:lnTo>
                    <a:pt x="8" y="10"/>
                  </a:lnTo>
                  <a:lnTo>
                    <a:pt x="4" y="8"/>
                  </a:lnTo>
                  <a:lnTo>
                    <a:pt x="2" y="4"/>
                  </a:lnTo>
                  <a:lnTo>
                    <a:pt x="0" y="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01" name="Freeform 461"/>
            <p:cNvSpPr>
              <a:spLocks/>
            </p:cNvSpPr>
            <p:nvPr/>
          </p:nvSpPr>
          <p:spPr bwMode="auto">
            <a:xfrm>
              <a:off x="6650038" y="3544888"/>
              <a:ext cx="14288" cy="15875"/>
            </a:xfrm>
            <a:custGeom>
              <a:avLst/>
              <a:gdLst>
                <a:gd name="T0" fmla="*/ 0 w 8"/>
                <a:gd name="T1" fmla="*/ 0 h 10"/>
                <a:gd name="T2" fmla="*/ 4 w 8"/>
                <a:gd name="T3" fmla="*/ 0 h 10"/>
                <a:gd name="T4" fmla="*/ 6 w 8"/>
                <a:gd name="T5" fmla="*/ 6 h 10"/>
                <a:gd name="T6" fmla="*/ 8 w 8"/>
                <a:gd name="T7" fmla="*/ 10 h 10"/>
                <a:gd name="T8" fmla="*/ 4 w 8"/>
                <a:gd name="T9" fmla="*/ 8 h 10"/>
                <a:gd name="T10" fmla="*/ 2 w 8"/>
                <a:gd name="T11" fmla="*/ 4 h 10"/>
                <a:gd name="T12" fmla="*/ 0 w 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0" y="0"/>
                  </a:moveTo>
                  <a:lnTo>
                    <a:pt x="4" y="0"/>
                  </a:lnTo>
                  <a:lnTo>
                    <a:pt x="6" y="6"/>
                  </a:lnTo>
                  <a:lnTo>
                    <a:pt x="8" y="10"/>
                  </a:lnTo>
                  <a:lnTo>
                    <a:pt x="4" y="8"/>
                  </a:lnTo>
                  <a:lnTo>
                    <a:pt x="2" y="4"/>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2" name="Freeform 462"/>
            <p:cNvSpPr>
              <a:spLocks/>
            </p:cNvSpPr>
            <p:nvPr/>
          </p:nvSpPr>
          <p:spPr bwMode="auto">
            <a:xfrm>
              <a:off x="6611938" y="3344863"/>
              <a:ext cx="7938" cy="6350"/>
            </a:xfrm>
            <a:custGeom>
              <a:avLst/>
              <a:gdLst>
                <a:gd name="T0" fmla="*/ 0 w 4"/>
                <a:gd name="T1" fmla="*/ 0 h 4"/>
                <a:gd name="T2" fmla="*/ 0 w 4"/>
                <a:gd name="T3" fmla="*/ 4 h 4"/>
                <a:gd name="T4" fmla="*/ 0 w 4"/>
                <a:gd name="T5" fmla="*/ 4 h 4"/>
                <a:gd name="T6" fmla="*/ 2 w 4"/>
                <a:gd name="T7" fmla="*/ 4 h 4"/>
                <a:gd name="T8" fmla="*/ 4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4"/>
                  </a:lnTo>
                  <a:lnTo>
                    <a:pt x="0" y="4"/>
                  </a:lnTo>
                  <a:lnTo>
                    <a:pt x="2" y="4"/>
                  </a:lnTo>
                  <a:lnTo>
                    <a:pt x="4" y="0"/>
                  </a:lnTo>
                  <a:lnTo>
                    <a:pt x="0" y="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03" name="Freeform 463"/>
            <p:cNvSpPr>
              <a:spLocks/>
            </p:cNvSpPr>
            <p:nvPr/>
          </p:nvSpPr>
          <p:spPr bwMode="auto">
            <a:xfrm>
              <a:off x="6611938" y="3344863"/>
              <a:ext cx="7938" cy="6350"/>
            </a:xfrm>
            <a:custGeom>
              <a:avLst/>
              <a:gdLst>
                <a:gd name="T0" fmla="*/ 0 w 4"/>
                <a:gd name="T1" fmla="*/ 0 h 4"/>
                <a:gd name="T2" fmla="*/ 0 w 4"/>
                <a:gd name="T3" fmla="*/ 4 h 4"/>
                <a:gd name="T4" fmla="*/ 0 w 4"/>
                <a:gd name="T5" fmla="*/ 4 h 4"/>
                <a:gd name="T6" fmla="*/ 2 w 4"/>
                <a:gd name="T7" fmla="*/ 4 h 4"/>
                <a:gd name="T8" fmla="*/ 4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4"/>
                  </a:lnTo>
                  <a:lnTo>
                    <a:pt x="0" y="4"/>
                  </a:lnTo>
                  <a:lnTo>
                    <a:pt x="2" y="4"/>
                  </a:lnTo>
                  <a:lnTo>
                    <a:pt x="4" y="0"/>
                  </a:lnTo>
                  <a:lnTo>
                    <a:pt x="0"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4" name="Freeform 464"/>
            <p:cNvSpPr>
              <a:spLocks/>
            </p:cNvSpPr>
            <p:nvPr/>
          </p:nvSpPr>
          <p:spPr bwMode="auto">
            <a:xfrm>
              <a:off x="6543676" y="3678238"/>
              <a:ext cx="31750" cy="34925"/>
            </a:xfrm>
            <a:custGeom>
              <a:avLst/>
              <a:gdLst>
                <a:gd name="T0" fmla="*/ 2 w 18"/>
                <a:gd name="T1" fmla="*/ 14 h 22"/>
                <a:gd name="T2" fmla="*/ 0 w 18"/>
                <a:gd name="T3" fmla="*/ 18 h 22"/>
                <a:gd name="T4" fmla="*/ 2 w 18"/>
                <a:gd name="T5" fmla="*/ 22 h 22"/>
                <a:gd name="T6" fmla="*/ 16 w 18"/>
                <a:gd name="T7" fmla="*/ 14 h 22"/>
                <a:gd name="T8" fmla="*/ 18 w 18"/>
                <a:gd name="T9" fmla="*/ 4 h 22"/>
                <a:gd name="T10" fmla="*/ 16 w 18"/>
                <a:gd name="T11" fmla="*/ 0 h 22"/>
                <a:gd name="T12" fmla="*/ 8 w 18"/>
                <a:gd name="T13" fmla="*/ 6 h 22"/>
                <a:gd name="T14" fmla="*/ 2 w 18"/>
                <a:gd name="T15" fmla="*/ 1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2" y="14"/>
                  </a:moveTo>
                  <a:lnTo>
                    <a:pt x="0" y="18"/>
                  </a:lnTo>
                  <a:lnTo>
                    <a:pt x="2" y="22"/>
                  </a:lnTo>
                  <a:lnTo>
                    <a:pt x="16" y="14"/>
                  </a:lnTo>
                  <a:lnTo>
                    <a:pt x="18" y="4"/>
                  </a:lnTo>
                  <a:lnTo>
                    <a:pt x="16" y="0"/>
                  </a:lnTo>
                  <a:lnTo>
                    <a:pt x="8" y="6"/>
                  </a:lnTo>
                  <a:lnTo>
                    <a:pt x="2" y="1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05" name="Freeform 465"/>
            <p:cNvSpPr>
              <a:spLocks/>
            </p:cNvSpPr>
            <p:nvPr/>
          </p:nvSpPr>
          <p:spPr bwMode="auto">
            <a:xfrm>
              <a:off x="6543676" y="3678238"/>
              <a:ext cx="31750" cy="34925"/>
            </a:xfrm>
            <a:custGeom>
              <a:avLst/>
              <a:gdLst>
                <a:gd name="T0" fmla="*/ 2 w 18"/>
                <a:gd name="T1" fmla="*/ 14 h 22"/>
                <a:gd name="T2" fmla="*/ 0 w 18"/>
                <a:gd name="T3" fmla="*/ 18 h 22"/>
                <a:gd name="T4" fmla="*/ 2 w 18"/>
                <a:gd name="T5" fmla="*/ 22 h 22"/>
                <a:gd name="T6" fmla="*/ 16 w 18"/>
                <a:gd name="T7" fmla="*/ 14 h 22"/>
                <a:gd name="T8" fmla="*/ 18 w 18"/>
                <a:gd name="T9" fmla="*/ 4 h 22"/>
                <a:gd name="T10" fmla="*/ 16 w 18"/>
                <a:gd name="T11" fmla="*/ 0 h 22"/>
                <a:gd name="T12" fmla="*/ 8 w 18"/>
                <a:gd name="T13" fmla="*/ 6 h 22"/>
                <a:gd name="T14" fmla="*/ 2 w 18"/>
                <a:gd name="T15" fmla="*/ 1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2" y="14"/>
                  </a:moveTo>
                  <a:lnTo>
                    <a:pt x="0" y="18"/>
                  </a:lnTo>
                  <a:lnTo>
                    <a:pt x="2" y="22"/>
                  </a:lnTo>
                  <a:lnTo>
                    <a:pt x="16" y="14"/>
                  </a:lnTo>
                  <a:lnTo>
                    <a:pt x="18" y="4"/>
                  </a:lnTo>
                  <a:lnTo>
                    <a:pt x="16" y="0"/>
                  </a:lnTo>
                  <a:lnTo>
                    <a:pt x="8" y="6"/>
                  </a:lnTo>
                  <a:lnTo>
                    <a:pt x="2" y="1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6" name="Freeform 466"/>
            <p:cNvSpPr>
              <a:spLocks/>
            </p:cNvSpPr>
            <p:nvPr/>
          </p:nvSpPr>
          <p:spPr bwMode="auto">
            <a:xfrm>
              <a:off x="8147051" y="3097213"/>
              <a:ext cx="6350" cy="6350"/>
            </a:xfrm>
            <a:custGeom>
              <a:avLst/>
              <a:gdLst>
                <a:gd name="T0" fmla="*/ 4 w 4"/>
                <a:gd name="T1" fmla="*/ 2 h 4"/>
                <a:gd name="T2" fmla="*/ 4 w 4"/>
                <a:gd name="T3" fmla="*/ 2 h 4"/>
                <a:gd name="T4" fmla="*/ 2 w 4"/>
                <a:gd name="T5" fmla="*/ 4 h 4"/>
                <a:gd name="T6" fmla="*/ 2 w 4"/>
                <a:gd name="T7" fmla="*/ 0 h 4"/>
                <a:gd name="T8" fmla="*/ 2 w 4"/>
                <a:gd name="T9" fmla="*/ 0 h 4"/>
                <a:gd name="T10" fmla="*/ 2 w 4"/>
                <a:gd name="T11" fmla="*/ 4 h 4"/>
                <a:gd name="T12" fmla="*/ 0 w 4"/>
                <a:gd name="T13" fmla="*/ 2 h 4"/>
                <a:gd name="T14" fmla="*/ 2 w 4"/>
                <a:gd name="T15" fmla="*/ 0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4" y="2"/>
                  </a:lnTo>
                  <a:lnTo>
                    <a:pt x="2" y="4"/>
                  </a:lnTo>
                  <a:lnTo>
                    <a:pt x="2" y="0"/>
                  </a:lnTo>
                  <a:lnTo>
                    <a:pt x="2" y="0"/>
                  </a:lnTo>
                  <a:lnTo>
                    <a:pt x="2" y="4"/>
                  </a:lnTo>
                  <a:lnTo>
                    <a:pt x="0" y="2"/>
                  </a:lnTo>
                  <a:lnTo>
                    <a:pt x="2" y="0"/>
                  </a:lnTo>
                  <a:lnTo>
                    <a:pt x="4"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07" name="Freeform 467"/>
            <p:cNvSpPr>
              <a:spLocks/>
            </p:cNvSpPr>
            <p:nvPr/>
          </p:nvSpPr>
          <p:spPr bwMode="auto">
            <a:xfrm>
              <a:off x="8147051" y="3097213"/>
              <a:ext cx="6350" cy="6350"/>
            </a:xfrm>
            <a:custGeom>
              <a:avLst/>
              <a:gdLst>
                <a:gd name="T0" fmla="*/ 4 w 4"/>
                <a:gd name="T1" fmla="*/ 2 h 4"/>
                <a:gd name="T2" fmla="*/ 4 w 4"/>
                <a:gd name="T3" fmla="*/ 2 h 4"/>
                <a:gd name="T4" fmla="*/ 2 w 4"/>
                <a:gd name="T5" fmla="*/ 4 h 4"/>
                <a:gd name="T6" fmla="*/ 2 w 4"/>
                <a:gd name="T7" fmla="*/ 0 h 4"/>
                <a:gd name="T8" fmla="*/ 2 w 4"/>
                <a:gd name="T9" fmla="*/ 0 h 4"/>
                <a:gd name="T10" fmla="*/ 2 w 4"/>
                <a:gd name="T11" fmla="*/ 4 h 4"/>
                <a:gd name="T12" fmla="*/ 0 w 4"/>
                <a:gd name="T13" fmla="*/ 2 h 4"/>
                <a:gd name="T14" fmla="*/ 2 w 4"/>
                <a:gd name="T15" fmla="*/ 0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4" y="2"/>
                  </a:lnTo>
                  <a:lnTo>
                    <a:pt x="2" y="4"/>
                  </a:lnTo>
                  <a:lnTo>
                    <a:pt x="2" y="0"/>
                  </a:lnTo>
                  <a:lnTo>
                    <a:pt x="2" y="0"/>
                  </a:lnTo>
                  <a:lnTo>
                    <a:pt x="2" y="4"/>
                  </a:lnTo>
                  <a:lnTo>
                    <a:pt x="0" y="2"/>
                  </a:lnTo>
                  <a:lnTo>
                    <a:pt x="2" y="0"/>
                  </a:lnTo>
                  <a:lnTo>
                    <a:pt x="4"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08" name="Freeform 468"/>
            <p:cNvSpPr>
              <a:spLocks/>
            </p:cNvSpPr>
            <p:nvPr/>
          </p:nvSpPr>
          <p:spPr bwMode="auto">
            <a:xfrm>
              <a:off x="7961313" y="3754438"/>
              <a:ext cx="3175" cy="6350"/>
            </a:xfrm>
            <a:custGeom>
              <a:avLst/>
              <a:gdLst>
                <a:gd name="T0" fmla="*/ 0 w 2"/>
                <a:gd name="T1" fmla="*/ 2 h 4"/>
                <a:gd name="T2" fmla="*/ 2 w 2"/>
                <a:gd name="T3" fmla="*/ 0 h 4"/>
                <a:gd name="T4" fmla="*/ 2 w 2"/>
                <a:gd name="T5" fmla="*/ 2 h 4"/>
                <a:gd name="T6" fmla="*/ 2 w 2"/>
                <a:gd name="T7" fmla="*/ 4 h 4"/>
                <a:gd name="T8" fmla="*/ 0 w 2"/>
                <a:gd name="T9" fmla="*/ 2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2" y="0"/>
                  </a:lnTo>
                  <a:lnTo>
                    <a:pt x="2" y="2"/>
                  </a:lnTo>
                  <a:lnTo>
                    <a:pt x="2" y="4"/>
                  </a:lnTo>
                  <a:lnTo>
                    <a:pt x="0" y="2"/>
                  </a:lnTo>
                  <a:lnTo>
                    <a:pt x="0"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09" name="Freeform 469"/>
            <p:cNvSpPr>
              <a:spLocks/>
            </p:cNvSpPr>
            <p:nvPr/>
          </p:nvSpPr>
          <p:spPr bwMode="auto">
            <a:xfrm>
              <a:off x="7961313" y="3754438"/>
              <a:ext cx="3175" cy="6350"/>
            </a:xfrm>
            <a:custGeom>
              <a:avLst/>
              <a:gdLst>
                <a:gd name="T0" fmla="*/ 0 w 2"/>
                <a:gd name="T1" fmla="*/ 2 h 4"/>
                <a:gd name="T2" fmla="*/ 2 w 2"/>
                <a:gd name="T3" fmla="*/ 0 h 4"/>
                <a:gd name="T4" fmla="*/ 2 w 2"/>
                <a:gd name="T5" fmla="*/ 2 h 4"/>
                <a:gd name="T6" fmla="*/ 2 w 2"/>
                <a:gd name="T7" fmla="*/ 4 h 4"/>
                <a:gd name="T8" fmla="*/ 0 w 2"/>
                <a:gd name="T9" fmla="*/ 2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2" y="0"/>
                  </a:lnTo>
                  <a:lnTo>
                    <a:pt x="2" y="2"/>
                  </a:lnTo>
                  <a:lnTo>
                    <a:pt x="2" y="4"/>
                  </a:lnTo>
                  <a:lnTo>
                    <a:pt x="0" y="2"/>
                  </a:lnTo>
                  <a:lnTo>
                    <a:pt x="0"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0" name="Freeform 470"/>
            <p:cNvSpPr>
              <a:spLocks/>
            </p:cNvSpPr>
            <p:nvPr/>
          </p:nvSpPr>
          <p:spPr bwMode="auto">
            <a:xfrm>
              <a:off x="8064501" y="3833813"/>
              <a:ext cx="3175" cy="9525"/>
            </a:xfrm>
            <a:custGeom>
              <a:avLst/>
              <a:gdLst>
                <a:gd name="T0" fmla="*/ 0 w 2"/>
                <a:gd name="T1" fmla="*/ 2 h 6"/>
                <a:gd name="T2" fmla="*/ 0 w 2"/>
                <a:gd name="T3" fmla="*/ 0 h 6"/>
                <a:gd name="T4" fmla="*/ 0 w 2"/>
                <a:gd name="T5" fmla="*/ 0 h 6"/>
                <a:gd name="T6" fmla="*/ 2 w 2"/>
                <a:gd name="T7" fmla="*/ 4 h 6"/>
                <a:gd name="T8" fmla="*/ 0 w 2"/>
                <a:gd name="T9" fmla="*/ 6 h 6"/>
                <a:gd name="T10" fmla="*/ 0 w 2"/>
                <a:gd name="T11" fmla="*/ 4 h 6"/>
                <a:gd name="T12" fmla="*/ 0 w 2"/>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2"/>
                  </a:moveTo>
                  <a:lnTo>
                    <a:pt x="0" y="0"/>
                  </a:lnTo>
                  <a:lnTo>
                    <a:pt x="0" y="0"/>
                  </a:lnTo>
                  <a:lnTo>
                    <a:pt x="2" y="4"/>
                  </a:lnTo>
                  <a:lnTo>
                    <a:pt x="0" y="6"/>
                  </a:lnTo>
                  <a:lnTo>
                    <a:pt x="0" y="4"/>
                  </a:lnTo>
                  <a:lnTo>
                    <a:pt x="0"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11" name="Freeform 471"/>
            <p:cNvSpPr>
              <a:spLocks/>
            </p:cNvSpPr>
            <p:nvPr/>
          </p:nvSpPr>
          <p:spPr bwMode="auto">
            <a:xfrm>
              <a:off x="8064501" y="3833813"/>
              <a:ext cx="3175" cy="9525"/>
            </a:xfrm>
            <a:custGeom>
              <a:avLst/>
              <a:gdLst>
                <a:gd name="T0" fmla="*/ 0 w 2"/>
                <a:gd name="T1" fmla="*/ 2 h 6"/>
                <a:gd name="T2" fmla="*/ 0 w 2"/>
                <a:gd name="T3" fmla="*/ 0 h 6"/>
                <a:gd name="T4" fmla="*/ 0 w 2"/>
                <a:gd name="T5" fmla="*/ 0 h 6"/>
                <a:gd name="T6" fmla="*/ 2 w 2"/>
                <a:gd name="T7" fmla="*/ 4 h 6"/>
                <a:gd name="T8" fmla="*/ 0 w 2"/>
                <a:gd name="T9" fmla="*/ 6 h 6"/>
                <a:gd name="T10" fmla="*/ 0 w 2"/>
                <a:gd name="T11" fmla="*/ 4 h 6"/>
                <a:gd name="T12" fmla="*/ 0 w 2"/>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2"/>
                  </a:moveTo>
                  <a:lnTo>
                    <a:pt x="0" y="0"/>
                  </a:lnTo>
                  <a:lnTo>
                    <a:pt x="0" y="0"/>
                  </a:lnTo>
                  <a:lnTo>
                    <a:pt x="2" y="4"/>
                  </a:lnTo>
                  <a:lnTo>
                    <a:pt x="0" y="6"/>
                  </a:lnTo>
                  <a:lnTo>
                    <a:pt x="0" y="4"/>
                  </a:lnTo>
                  <a:lnTo>
                    <a:pt x="0"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2" name="Freeform 472"/>
            <p:cNvSpPr>
              <a:spLocks/>
            </p:cNvSpPr>
            <p:nvPr/>
          </p:nvSpPr>
          <p:spPr bwMode="auto">
            <a:xfrm>
              <a:off x="8170863" y="4021138"/>
              <a:ext cx="6350" cy="9525"/>
            </a:xfrm>
            <a:custGeom>
              <a:avLst/>
              <a:gdLst>
                <a:gd name="T0" fmla="*/ 2 w 4"/>
                <a:gd name="T1" fmla="*/ 2 h 6"/>
                <a:gd name="T2" fmla="*/ 2 w 4"/>
                <a:gd name="T3" fmla="*/ 0 h 6"/>
                <a:gd name="T4" fmla="*/ 4 w 4"/>
                <a:gd name="T5" fmla="*/ 2 h 6"/>
                <a:gd name="T6" fmla="*/ 0 w 4"/>
                <a:gd name="T7" fmla="*/ 6 h 6"/>
                <a:gd name="T8" fmla="*/ 0 w 4"/>
                <a:gd name="T9" fmla="*/ 4 h 6"/>
                <a:gd name="T10" fmla="*/ 0 w 4"/>
                <a:gd name="T11" fmla="*/ 2 h 6"/>
                <a:gd name="T12" fmla="*/ 2 w 4"/>
                <a:gd name="T13" fmla="*/ 2 h 6"/>
                <a:gd name="T14" fmla="*/ 2 w 4"/>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2"/>
                  </a:moveTo>
                  <a:lnTo>
                    <a:pt x="2" y="0"/>
                  </a:lnTo>
                  <a:lnTo>
                    <a:pt x="4" y="2"/>
                  </a:lnTo>
                  <a:lnTo>
                    <a:pt x="0" y="6"/>
                  </a:lnTo>
                  <a:lnTo>
                    <a:pt x="0" y="4"/>
                  </a:lnTo>
                  <a:lnTo>
                    <a:pt x="0" y="2"/>
                  </a:lnTo>
                  <a:lnTo>
                    <a:pt x="2" y="2"/>
                  </a:lnTo>
                  <a:lnTo>
                    <a:pt x="2"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13" name="Freeform 473"/>
            <p:cNvSpPr>
              <a:spLocks/>
            </p:cNvSpPr>
            <p:nvPr/>
          </p:nvSpPr>
          <p:spPr bwMode="auto">
            <a:xfrm>
              <a:off x="8170863" y="4021138"/>
              <a:ext cx="6350" cy="9525"/>
            </a:xfrm>
            <a:custGeom>
              <a:avLst/>
              <a:gdLst>
                <a:gd name="T0" fmla="*/ 2 w 4"/>
                <a:gd name="T1" fmla="*/ 2 h 6"/>
                <a:gd name="T2" fmla="*/ 2 w 4"/>
                <a:gd name="T3" fmla="*/ 0 h 6"/>
                <a:gd name="T4" fmla="*/ 4 w 4"/>
                <a:gd name="T5" fmla="*/ 2 h 6"/>
                <a:gd name="T6" fmla="*/ 0 w 4"/>
                <a:gd name="T7" fmla="*/ 6 h 6"/>
                <a:gd name="T8" fmla="*/ 0 w 4"/>
                <a:gd name="T9" fmla="*/ 4 h 6"/>
                <a:gd name="T10" fmla="*/ 0 w 4"/>
                <a:gd name="T11" fmla="*/ 2 h 6"/>
                <a:gd name="T12" fmla="*/ 2 w 4"/>
                <a:gd name="T13" fmla="*/ 2 h 6"/>
                <a:gd name="T14" fmla="*/ 2 w 4"/>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2"/>
                  </a:moveTo>
                  <a:lnTo>
                    <a:pt x="2" y="0"/>
                  </a:lnTo>
                  <a:lnTo>
                    <a:pt x="4" y="2"/>
                  </a:lnTo>
                  <a:lnTo>
                    <a:pt x="0" y="6"/>
                  </a:lnTo>
                  <a:lnTo>
                    <a:pt x="0" y="4"/>
                  </a:lnTo>
                  <a:lnTo>
                    <a:pt x="0" y="2"/>
                  </a:lnTo>
                  <a:lnTo>
                    <a:pt x="2" y="2"/>
                  </a:lnTo>
                  <a:lnTo>
                    <a:pt x="2"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4" name="Freeform 474"/>
            <p:cNvSpPr>
              <a:spLocks/>
            </p:cNvSpPr>
            <p:nvPr/>
          </p:nvSpPr>
          <p:spPr bwMode="auto">
            <a:xfrm>
              <a:off x="8174038" y="4151313"/>
              <a:ext cx="11113" cy="25400"/>
            </a:xfrm>
            <a:custGeom>
              <a:avLst/>
              <a:gdLst>
                <a:gd name="T0" fmla="*/ 4 w 6"/>
                <a:gd name="T1" fmla="*/ 2 h 16"/>
                <a:gd name="T2" fmla="*/ 6 w 6"/>
                <a:gd name="T3" fmla="*/ 0 h 16"/>
                <a:gd name="T4" fmla="*/ 6 w 6"/>
                <a:gd name="T5" fmla="*/ 4 h 16"/>
                <a:gd name="T6" fmla="*/ 4 w 6"/>
                <a:gd name="T7" fmla="*/ 8 h 16"/>
                <a:gd name="T8" fmla="*/ 6 w 6"/>
                <a:gd name="T9" fmla="*/ 12 h 16"/>
                <a:gd name="T10" fmla="*/ 4 w 6"/>
                <a:gd name="T11" fmla="*/ 16 h 16"/>
                <a:gd name="T12" fmla="*/ 0 w 6"/>
                <a:gd name="T13" fmla="*/ 14 h 16"/>
                <a:gd name="T14" fmla="*/ 0 w 6"/>
                <a:gd name="T15" fmla="*/ 12 h 16"/>
                <a:gd name="T16" fmla="*/ 0 w 6"/>
                <a:gd name="T17" fmla="*/ 8 h 16"/>
                <a:gd name="T18" fmla="*/ 4 w 6"/>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6">
                  <a:moveTo>
                    <a:pt x="4" y="2"/>
                  </a:moveTo>
                  <a:lnTo>
                    <a:pt x="6" y="0"/>
                  </a:lnTo>
                  <a:lnTo>
                    <a:pt x="6" y="4"/>
                  </a:lnTo>
                  <a:lnTo>
                    <a:pt x="4" y="8"/>
                  </a:lnTo>
                  <a:lnTo>
                    <a:pt x="6" y="12"/>
                  </a:lnTo>
                  <a:lnTo>
                    <a:pt x="4" y="16"/>
                  </a:lnTo>
                  <a:lnTo>
                    <a:pt x="0" y="14"/>
                  </a:lnTo>
                  <a:lnTo>
                    <a:pt x="0" y="12"/>
                  </a:lnTo>
                  <a:lnTo>
                    <a:pt x="0" y="8"/>
                  </a:lnTo>
                  <a:lnTo>
                    <a:pt x="4"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15" name="Freeform 475"/>
            <p:cNvSpPr>
              <a:spLocks/>
            </p:cNvSpPr>
            <p:nvPr/>
          </p:nvSpPr>
          <p:spPr bwMode="auto">
            <a:xfrm>
              <a:off x="8174038" y="4151313"/>
              <a:ext cx="11113" cy="25400"/>
            </a:xfrm>
            <a:custGeom>
              <a:avLst/>
              <a:gdLst>
                <a:gd name="T0" fmla="*/ 4 w 6"/>
                <a:gd name="T1" fmla="*/ 2 h 16"/>
                <a:gd name="T2" fmla="*/ 6 w 6"/>
                <a:gd name="T3" fmla="*/ 0 h 16"/>
                <a:gd name="T4" fmla="*/ 6 w 6"/>
                <a:gd name="T5" fmla="*/ 4 h 16"/>
                <a:gd name="T6" fmla="*/ 4 w 6"/>
                <a:gd name="T7" fmla="*/ 8 h 16"/>
                <a:gd name="T8" fmla="*/ 6 w 6"/>
                <a:gd name="T9" fmla="*/ 12 h 16"/>
                <a:gd name="T10" fmla="*/ 4 w 6"/>
                <a:gd name="T11" fmla="*/ 16 h 16"/>
                <a:gd name="T12" fmla="*/ 0 w 6"/>
                <a:gd name="T13" fmla="*/ 14 h 16"/>
                <a:gd name="T14" fmla="*/ 0 w 6"/>
                <a:gd name="T15" fmla="*/ 12 h 16"/>
                <a:gd name="T16" fmla="*/ 0 w 6"/>
                <a:gd name="T17" fmla="*/ 8 h 16"/>
                <a:gd name="T18" fmla="*/ 4 w 6"/>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6">
                  <a:moveTo>
                    <a:pt x="4" y="2"/>
                  </a:moveTo>
                  <a:lnTo>
                    <a:pt x="6" y="0"/>
                  </a:lnTo>
                  <a:lnTo>
                    <a:pt x="6" y="4"/>
                  </a:lnTo>
                  <a:lnTo>
                    <a:pt x="4" y="8"/>
                  </a:lnTo>
                  <a:lnTo>
                    <a:pt x="6" y="12"/>
                  </a:lnTo>
                  <a:lnTo>
                    <a:pt x="4" y="16"/>
                  </a:lnTo>
                  <a:lnTo>
                    <a:pt x="0" y="14"/>
                  </a:lnTo>
                  <a:lnTo>
                    <a:pt x="0" y="12"/>
                  </a:lnTo>
                  <a:lnTo>
                    <a:pt x="0" y="8"/>
                  </a:lnTo>
                  <a:lnTo>
                    <a:pt x="4"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6" name="Freeform 476"/>
            <p:cNvSpPr>
              <a:spLocks/>
            </p:cNvSpPr>
            <p:nvPr/>
          </p:nvSpPr>
          <p:spPr bwMode="auto">
            <a:xfrm>
              <a:off x="1704976" y="3506788"/>
              <a:ext cx="127000" cy="66675"/>
            </a:xfrm>
            <a:custGeom>
              <a:avLst/>
              <a:gdLst>
                <a:gd name="T0" fmla="*/ 24 w 74"/>
                <a:gd name="T1" fmla="*/ 38 h 42"/>
                <a:gd name="T2" fmla="*/ 28 w 74"/>
                <a:gd name="T3" fmla="*/ 38 h 42"/>
                <a:gd name="T4" fmla="*/ 38 w 74"/>
                <a:gd name="T5" fmla="*/ 38 h 42"/>
                <a:gd name="T6" fmla="*/ 36 w 74"/>
                <a:gd name="T7" fmla="*/ 34 h 42"/>
                <a:gd name="T8" fmla="*/ 40 w 74"/>
                <a:gd name="T9" fmla="*/ 30 h 42"/>
                <a:gd name="T10" fmla="*/ 44 w 74"/>
                <a:gd name="T11" fmla="*/ 28 h 42"/>
                <a:gd name="T12" fmla="*/ 52 w 74"/>
                <a:gd name="T13" fmla="*/ 34 h 42"/>
                <a:gd name="T14" fmla="*/ 54 w 74"/>
                <a:gd name="T15" fmla="*/ 34 h 42"/>
                <a:gd name="T16" fmla="*/ 52 w 74"/>
                <a:gd name="T17" fmla="*/ 30 h 42"/>
                <a:gd name="T18" fmla="*/ 56 w 74"/>
                <a:gd name="T19" fmla="*/ 30 h 42"/>
                <a:gd name="T20" fmla="*/ 60 w 74"/>
                <a:gd name="T21" fmla="*/ 28 h 42"/>
                <a:gd name="T22" fmla="*/ 66 w 74"/>
                <a:gd name="T23" fmla="*/ 30 h 42"/>
                <a:gd name="T24" fmla="*/ 70 w 74"/>
                <a:gd name="T25" fmla="*/ 28 h 42"/>
                <a:gd name="T26" fmla="*/ 70 w 74"/>
                <a:gd name="T27" fmla="*/ 24 h 42"/>
                <a:gd name="T28" fmla="*/ 72 w 74"/>
                <a:gd name="T29" fmla="*/ 20 h 42"/>
                <a:gd name="T30" fmla="*/ 72 w 74"/>
                <a:gd name="T31" fmla="*/ 14 h 42"/>
                <a:gd name="T32" fmla="*/ 70 w 74"/>
                <a:gd name="T33" fmla="*/ 12 h 42"/>
                <a:gd name="T34" fmla="*/ 72 w 74"/>
                <a:gd name="T35" fmla="*/ 10 h 42"/>
                <a:gd name="T36" fmla="*/ 74 w 74"/>
                <a:gd name="T37" fmla="*/ 10 h 42"/>
                <a:gd name="T38" fmla="*/ 72 w 74"/>
                <a:gd name="T39" fmla="*/ 8 h 42"/>
                <a:gd name="T40" fmla="*/ 72 w 74"/>
                <a:gd name="T41" fmla="*/ 6 h 42"/>
                <a:gd name="T42" fmla="*/ 62 w 74"/>
                <a:gd name="T43" fmla="*/ 0 h 42"/>
                <a:gd name="T44" fmla="*/ 46 w 74"/>
                <a:gd name="T45" fmla="*/ 8 h 42"/>
                <a:gd name="T46" fmla="*/ 32 w 74"/>
                <a:gd name="T47" fmla="*/ 16 h 42"/>
                <a:gd name="T48" fmla="*/ 30 w 74"/>
                <a:gd name="T49" fmla="*/ 16 h 42"/>
                <a:gd name="T50" fmla="*/ 20 w 74"/>
                <a:gd name="T51" fmla="*/ 22 h 42"/>
                <a:gd name="T52" fmla="*/ 0 w 74"/>
                <a:gd name="T53" fmla="*/ 32 h 42"/>
                <a:gd name="T54" fmla="*/ 6 w 74"/>
                <a:gd name="T55" fmla="*/ 38 h 42"/>
                <a:gd name="T56" fmla="*/ 8 w 74"/>
                <a:gd name="T57" fmla="*/ 40 h 42"/>
                <a:gd name="T58" fmla="*/ 12 w 74"/>
                <a:gd name="T59" fmla="*/ 42 h 42"/>
                <a:gd name="T60" fmla="*/ 18 w 74"/>
                <a:gd name="T61" fmla="*/ 36 h 42"/>
                <a:gd name="T62" fmla="*/ 18 w 74"/>
                <a:gd name="T6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 h="42">
                  <a:moveTo>
                    <a:pt x="18" y="38"/>
                  </a:moveTo>
                  <a:lnTo>
                    <a:pt x="24" y="38"/>
                  </a:lnTo>
                  <a:lnTo>
                    <a:pt x="26" y="40"/>
                  </a:lnTo>
                  <a:lnTo>
                    <a:pt x="28" y="38"/>
                  </a:lnTo>
                  <a:lnTo>
                    <a:pt x="36" y="38"/>
                  </a:lnTo>
                  <a:lnTo>
                    <a:pt x="38" y="38"/>
                  </a:lnTo>
                  <a:lnTo>
                    <a:pt x="38" y="36"/>
                  </a:lnTo>
                  <a:lnTo>
                    <a:pt x="36" y="34"/>
                  </a:lnTo>
                  <a:lnTo>
                    <a:pt x="38" y="32"/>
                  </a:lnTo>
                  <a:lnTo>
                    <a:pt x="40" y="30"/>
                  </a:lnTo>
                  <a:lnTo>
                    <a:pt x="42" y="30"/>
                  </a:lnTo>
                  <a:lnTo>
                    <a:pt x="44" y="28"/>
                  </a:lnTo>
                  <a:lnTo>
                    <a:pt x="52" y="32"/>
                  </a:lnTo>
                  <a:lnTo>
                    <a:pt x="52" y="34"/>
                  </a:lnTo>
                  <a:lnTo>
                    <a:pt x="54" y="34"/>
                  </a:lnTo>
                  <a:lnTo>
                    <a:pt x="54" y="34"/>
                  </a:lnTo>
                  <a:lnTo>
                    <a:pt x="54" y="32"/>
                  </a:lnTo>
                  <a:lnTo>
                    <a:pt x="52" y="30"/>
                  </a:lnTo>
                  <a:lnTo>
                    <a:pt x="54" y="30"/>
                  </a:lnTo>
                  <a:lnTo>
                    <a:pt x="56" y="30"/>
                  </a:lnTo>
                  <a:lnTo>
                    <a:pt x="58" y="28"/>
                  </a:lnTo>
                  <a:lnTo>
                    <a:pt x="60" y="28"/>
                  </a:lnTo>
                  <a:lnTo>
                    <a:pt x="64" y="28"/>
                  </a:lnTo>
                  <a:lnTo>
                    <a:pt x="66" y="30"/>
                  </a:lnTo>
                  <a:lnTo>
                    <a:pt x="68" y="28"/>
                  </a:lnTo>
                  <a:lnTo>
                    <a:pt x="70" y="28"/>
                  </a:lnTo>
                  <a:lnTo>
                    <a:pt x="68" y="26"/>
                  </a:lnTo>
                  <a:lnTo>
                    <a:pt x="70" y="24"/>
                  </a:lnTo>
                  <a:lnTo>
                    <a:pt x="70" y="20"/>
                  </a:lnTo>
                  <a:lnTo>
                    <a:pt x="72" y="20"/>
                  </a:lnTo>
                  <a:lnTo>
                    <a:pt x="70" y="16"/>
                  </a:lnTo>
                  <a:lnTo>
                    <a:pt x="72" y="14"/>
                  </a:lnTo>
                  <a:lnTo>
                    <a:pt x="68" y="12"/>
                  </a:lnTo>
                  <a:lnTo>
                    <a:pt x="70" y="12"/>
                  </a:lnTo>
                  <a:lnTo>
                    <a:pt x="70" y="12"/>
                  </a:lnTo>
                  <a:lnTo>
                    <a:pt x="72" y="10"/>
                  </a:lnTo>
                  <a:lnTo>
                    <a:pt x="74" y="12"/>
                  </a:lnTo>
                  <a:lnTo>
                    <a:pt x="74" y="10"/>
                  </a:lnTo>
                  <a:lnTo>
                    <a:pt x="74" y="10"/>
                  </a:lnTo>
                  <a:lnTo>
                    <a:pt x="72" y="8"/>
                  </a:lnTo>
                  <a:lnTo>
                    <a:pt x="72" y="6"/>
                  </a:lnTo>
                  <a:lnTo>
                    <a:pt x="72" y="6"/>
                  </a:lnTo>
                  <a:lnTo>
                    <a:pt x="70" y="6"/>
                  </a:lnTo>
                  <a:lnTo>
                    <a:pt x="62" y="0"/>
                  </a:lnTo>
                  <a:lnTo>
                    <a:pt x="58" y="6"/>
                  </a:lnTo>
                  <a:lnTo>
                    <a:pt x="46" y="8"/>
                  </a:lnTo>
                  <a:lnTo>
                    <a:pt x="34" y="16"/>
                  </a:lnTo>
                  <a:lnTo>
                    <a:pt x="32" y="16"/>
                  </a:lnTo>
                  <a:lnTo>
                    <a:pt x="30" y="16"/>
                  </a:lnTo>
                  <a:lnTo>
                    <a:pt x="30" y="16"/>
                  </a:lnTo>
                  <a:lnTo>
                    <a:pt x="20" y="20"/>
                  </a:lnTo>
                  <a:lnTo>
                    <a:pt x="20" y="22"/>
                  </a:lnTo>
                  <a:lnTo>
                    <a:pt x="2" y="30"/>
                  </a:lnTo>
                  <a:lnTo>
                    <a:pt x="0" y="32"/>
                  </a:lnTo>
                  <a:lnTo>
                    <a:pt x="0" y="34"/>
                  </a:lnTo>
                  <a:lnTo>
                    <a:pt x="6" y="38"/>
                  </a:lnTo>
                  <a:lnTo>
                    <a:pt x="6" y="40"/>
                  </a:lnTo>
                  <a:lnTo>
                    <a:pt x="8" y="40"/>
                  </a:lnTo>
                  <a:lnTo>
                    <a:pt x="10" y="40"/>
                  </a:lnTo>
                  <a:lnTo>
                    <a:pt x="12" y="42"/>
                  </a:lnTo>
                  <a:lnTo>
                    <a:pt x="16" y="36"/>
                  </a:lnTo>
                  <a:lnTo>
                    <a:pt x="18" y="36"/>
                  </a:lnTo>
                  <a:lnTo>
                    <a:pt x="18" y="38"/>
                  </a:lnTo>
                  <a:lnTo>
                    <a:pt x="18" y="38"/>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17" name="Freeform 477"/>
            <p:cNvSpPr>
              <a:spLocks/>
            </p:cNvSpPr>
            <p:nvPr/>
          </p:nvSpPr>
          <p:spPr bwMode="auto">
            <a:xfrm>
              <a:off x="1704976" y="3506788"/>
              <a:ext cx="127000" cy="66675"/>
            </a:xfrm>
            <a:custGeom>
              <a:avLst/>
              <a:gdLst>
                <a:gd name="T0" fmla="*/ 24 w 74"/>
                <a:gd name="T1" fmla="*/ 38 h 42"/>
                <a:gd name="T2" fmla="*/ 28 w 74"/>
                <a:gd name="T3" fmla="*/ 38 h 42"/>
                <a:gd name="T4" fmla="*/ 38 w 74"/>
                <a:gd name="T5" fmla="*/ 38 h 42"/>
                <a:gd name="T6" fmla="*/ 36 w 74"/>
                <a:gd name="T7" fmla="*/ 34 h 42"/>
                <a:gd name="T8" fmla="*/ 40 w 74"/>
                <a:gd name="T9" fmla="*/ 30 h 42"/>
                <a:gd name="T10" fmla="*/ 44 w 74"/>
                <a:gd name="T11" fmla="*/ 28 h 42"/>
                <a:gd name="T12" fmla="*/ 52 w 74"/>
                <a:gd name="T13" fmla="*/ 34 h 42"/>
                <a:gd name="T14" fmla="*/ 54 w 74"/>
                <a:gd name="T15" fmla="*/ 34 h 42"/>
                <a:gd name="T16" fmla="*/ 52 w 74"/>
                <a:gd name="T17" fmla="*/ 30 h 42"/>
                <a:gd name="T18" fmla="*/ 56 w 74"/>
                <a:gd name="T19" fmla="*/ 30 h 42"/>
                <a:gd name="T20" fmla="*/ 60 w 74"/>
                <a:gd name="T21" fmla="*/ 28 h 42"/>
                <a:gd name="T22" fmla="*/ 66 w 74"/>
                <a:gd name="T23" fmla="*/ 30 h 42"/>
                <a:gd name="T24" fmla="*/ 70 w 74"/>
                <a:gd name="T25" fmla="*/ 28 h 42"/>
                <a:gd name="T26" fmla="*/ 70 w 74"/>
                <a:gd name="T27" fmla="*/ 24 h 42"/>
                <a:gd name="T28" fmla="*/ 72 w 74"/>
                <a:gd name="T29" fmla="*/ 20 h 42"/>
                <a:gd name="T30" fmla="*/ 72 w 74"/>
                <a:gd name="T31" fmla="*/ 14 h 42"/>
                <a:gd name="T32" fmla="*/ 70 w 74"/>
                <a:gd name="T33" fmla="*/ 12 h 42"/>
                <a:gd name="T34" fmla="*/ 72 w 74"/>
                <a:gd name="T35" fmla="*/ 10 h 42"/>
                <a:gd name="T36" fmla="*/ 74 w 74"/>
                <a:gd name="T37" fmla="*/ 10 h 42"/>
                <a:gd name="T38" fmla="*/ 72 w 74"/>
                <a:gd name="T39" fmla="*/ 8 h 42"/>
                <a:gd name="T40" fmla="*/ 72 w 74"/>
                <a:gd name="T41" fmla="*/ 6 h 42"/>
                <a:gd name="T42" fmla="*/ 62 w 74"/>
                <a:gd name="T43" fmla="*/ 0 h 42"/>
                <a:gd name="T44" fmla="*/ 46 w 74"/>
                <a:gd name="T45" fmla="*/ 8 h 42"/>
                <a:gd name="T46" fmla="*/ 32 w 74"/>
                <a:gd name="T47" fmla="*/ 16 h 42"/>
                <a:gd name="T48" fmla="*/ 30 w 74"/>
                <a:gd name="T49" fmla="*/ 16 h 42"/>
                <a:gd name="T50" fmla="*/ 20 w 74"/>
                <a:gd name="T51" fmla="*/ 22 h 42"/>
                <a:gd name="T52" fmla="*/ 0 w 74"/>
                <a:gd name="T53" fmla="*/ 32 h 42"/>
                <a:gd name="T54" fmla="*/ 6 w 74"/>
                <a:gd name="T55" fmla="*/ 38 h 42"/>
                <a:gd name="T56" fmla="*/ 8 w 74"/>
                <a:gd name="T57" fmla="*/ 40 h 42"/>
                <a:gd name="T58" fmla="*/ 12 w 74"/>
                <a:gd name="T59" fmla="*/ 42 h 42"/>
                <a:gd name="T60" fmla="*/ 18 w 74"/>
                <a:gd name="T61" fmla="*/ 36 h 42"/>
                <a:gd name="T62" fmla="*/ 18 w 74"/>
                <a:gd name="T6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 h="42">
                  <a:moveTo>
                    <a:pt x="18" y="38"/>
                  </a:moveTo>
                  <a:lnTo>
                    <a:pt x="24" y="38"/>
                  </a:lnTo>
                  <a:lnTo>
                    <a:pt x="26" y="40"/>
                  </a:lnTo>
                  <a:lnTo>
                    <a:pt x="28" y="38"/>
                  </a:lnTo>
                  <a:lnTo>
                    <a:pt x="36" y="38"/>
                  </a:lnTo>
                  <a:lnTo>
                    <a:pt x="38" y="38"/>
                  </a:lnTo>
                  <a:lnTo>
                    <a:pt x="38" y="36"/>
                  </a:lnTo>
                  <a:lnTo>
                    <a:pt x="36" y="34"/>
                  </a:lnTo>
                  <a:lnTo>
                    <a:pt x="38" y="32"/>
                  </a:lnTo>
                  <a:lnTo>
                    <a:pt x="40" y="30"/>
                  </a:lnTo>
                  <a:lnTo>
                    <a:pt x="42" y="30"/>
                  </a:lnTo>
                  <a:lnTo>
                    <a:pt x="44" y="28"/>
                  </a:lnTo>
                  <a:lnTo>
                    <a:pt x="52" y="32"/>
                  </a:lnTo>
                  <a:lnTo>
                    <a:pt x="52" y="34"/>
                  </a:lnTo>
                  <a:lnTo>
                    <a:pt x="54" y="34"/>
                  </a:lnTo>
                  <a:lnTo>
                    <a:pt x="54" y="34"/>
                  </a:lnTo>
                  <a:lnTo>
                    <a:pt x="54" y="32"/>
                  </a:lnTo>
                  <a:lnTo>
                    <a:pt x="52" y="30"/>
                  </a:lnTo>
                  <a:lnTo>
                    <a:pt x="54" y="30"/>
                  </a:lnTo>
                  <a:lnTo>
                    <a:pt x="56" y="30"/>
                  </a:lnTo>
                  <a:lnTo>
                    <a:pt x="58" y="28"/>
                  </a:lnTo>
                  <a:lnTo>
                    <a:pt x="60" y="28"/>
                  </a:lnTo>
                  <a:lnTo>
                    <a:pt x="64" y="28"/>
                  </a:lnTo>
                  <a:lnTo>
                    <a:pt x="66" y="30"/>
                  </a:lnTo>
                  <a:lnTo>
                    <a:pt x="68" y="28"/>
                  </a:lnTo>
                  <a:lnTo>
                    <a:pt x="70" y="28"/>
                  </a:lnTo>
                  <a:lnTo>
                    <a:pt x="68" y="26"/>
                  </a:lnTo>
                  <a:lnTo>
                    <a:pt x="70" y="24"/>
                  </a:lnTo>
                  <a:lnTo>
                    <a:pt x="70" y="20"/>
                  </a:lnTo>
                  <a:lnTo>
                    <a:pt x="72" y="20"/>
                  </a:lnTo>
                  <a:lnTo>
                    <a:pt x="70" y="16"/>
                  </a:lnTo>
                  <a:lnTo>
                    <a:pt x="72" y="14"/>
                  </a:lnTo>
                  <a:lnTo>
                    <a:pt x="68" y="12"/>
                  </a:lnTo>
                  <a:lnTo>
                    <a:pt x="70" y="12"/>
                  </a:lnTo>
                  <a:lnTo>
                    <a:pt x="70" y="12"/>
                  </a:lnTo>
                  <a:lnTo>
                    <a:pt x="72" y="10"/>
                  </a:lnTo>
                  <a:lnTo>
                    <a:pt x="74" y="12"/>
                  </a:lnTo>
                  <a:lnTo>
                    <a:pt x="74" y="10"/>
                  </a:lnTo>
                  <a:lnTo>
                    <a:pt x="74" y="10"/>
                  </a:lnTo>
                  <a:lnTo>
                    <a:pt x="72" y="8"/>
                  </a:lnTo>
                  <a:lnTo>
                    <a:pt x="72" y="6"/>
                  </a:lnTo>
                  <a:lnTo>
                    <a:pt x="72" y="6"/>
                  </a:lnTo>
                  <a:lnTo>
                    <a:pt x="70" y="6"/>
                  </a:lnTo>
                  <a:lnTo>
                    <a:pt x="62" y="0"/>
                  </a:lnTo>
                  <a:lnTo>
                    <a:pt x="58" y="6"/>
                  </a:lnTo>
                  <a:lnTo>
                    <a:pt x="46" y="8"/>
                  </a:lnTo>
                  <a:lnTo>
                    <a:pt x="34" y="16"/>
                  </a:lnTo>
                  <a:lnTo>
                    <a:pt x="32" y="16"/>
                  </a:lnTo>
                  <a:lnTo>
                    <a:pt x="30" y="16"/>
                  </a:lnTo>
                  <a:lnTo>
                    <a:pt x="30" y="16"/>
                  </a:lnTo>
                  <a:lnTo>
                    <a:pt x="20" y="20"/>
                  </a:lnTo>
                  <a:lnTo>
                    <a:pt x="20" y="22"/>
                  </a:lnTo>
                  <a:lnTo>
                    <a:pt x="2" y="30"/>
                  </a:lnTo>
                  <a:lnTo>
                    <a:pt x="0" y="32"/>
                  </a:lnTo>
                  <a:lnTo>
                    <a:pt x="0" y="34"/>
                  </a:lnTo>
                  <a:lnTo>
                    <a:pt x="6" y="38"/>
                  </a:lnTo>
                  <a:lnTo>
                    <a:pt x="6" y="40"/>
                  </a:lnTo>
                  <a:lnTo>
                    <a:pt x="8" y="40"/>
                  </a:lnTo>
                  <a:lnTo>
                    <a:pt x="10" y="40"/>
                  </a:lnTo>
                  <a:lnTo>
                    <a:pt x="12" y="42"/>
                  </a:lnTo>
                  <a:lnTo>
                    <a:pt x="16" y="36"/>
                  </a:lnTo>
                  <a:lnTo>
                    <a:pt x="18" y="36"/>
                  </a:lnTo>
                  <a:lnTo>
                    <a:pt x="18" y="38"/>
                  </a:lnTo>
                  <a:lnTo>
                    <a:pt x="18" y="3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18" name="Freeform 478"/>
            <p:cNvSpPr>
              <a:spLocks/>
            </p:cNvSpPr>
            <p:nvPr/>
          </p:nvSpPr>
          <p:spPr bwMode="auto">
            <a:xfrm>
              <a:off x="2584451" y="4386263"/>
              <a:ext cx="31750" cy="31750"/>
            </a:xfrm>
            <a:custGeom>
              <a:avLst/>
              <a:gdLst>
                <a:gd name="T0" fmla="*/ 4 w 18"/>
                <a:gd name="T1" fmla="*/ 4 h 20"/>
                <a:gd name="T2" fmla="*/ 4 w 18"/>
                <a:gd name="T3" fmla="*/ 6 h 20"/>
                <a:gd name="T4" fmla="*/ 4 w 18"/>
                <a:gd name="T5" fmla="*/ 10 h 20"/>
                <a:gd name="T6" fmla="*/ 2 w 18"/>
                <a:gd name="T7" fmla="*/ 12 h 20"/>
                <a:gd name="T8" fmla="*/ 4 w 18"/>
                <a:gd name="T9" fmla="*/ 14 h 20"/>
                <a:gd name="T10" fmla="*/ 0 w 18"/>
                <a:gd name="T11" fmla="*/ 16 h 20"/>
                <a:gd name="T12" fmla="*/ 2 w 18"/>
                <a:gd name="T13" fmla="*/ 18 h 20"/>
                <a:gd name="T14" fmla="*/ 6 w 18"/>
                <a:gd name="T15" fmla="*/ 20 h 20"/>
                <a:gd name="T16" fmla="*/ 8 w 18"/>
                <a:gd name="T17" fmla="*/ 18 h 20"/>
                <a:gd name="T18" fmla="*/ 12 w 18"/>
                <a:gd name="T19" fmla="*/ 14 h 20"/>
                <a:gd name="T20" fmla="*/ 14 w 18"/>
                <a:gd name="T21" fmla="*/ 10 h 20"/>
                <a:gd name="T22" fmla="*/ 14 w 18"/>
                <a:gd name="T23" fmla="*/ 8 h 20"/>
                <a:gd name="T24" fmla="*/ 14 w 18"/>
                <a:gd name="T25" fmla="*/ 6 h 20"/>
                <a:gd name="T26" fmla="*/ 16 w 18"/>
                <a:gd name="T27" fmla="*/ 4 h 20"/>
                <a:gd name="T28" fmla="*/ 18 w 18"/>
                <a:gd name="T29" fmla="*/ 2 h 20"/>
                <a:gd name="T30" fmla="*/ 16 w 18"/>
                <a:gd name="T31" fmla="*/ 0 h 20"/>
                <a:gd name="T32" fmla="*/ 12 w 18"/>
                <a:gd name="T33" fmla="*/ 0 h 20"/>
                <a:gd name="T34" fmla="*/ 10 w 18"/>
                <a:gd name="T35" fmla="*/ 0 h 20"/>
                <a:gd name="T36" fmla="*/ 4 w 18"/>
                <a:gd name="T3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0">
                  <a:moveTo>
                    <a:pt x="4" y="4"/>
                  </a:moveTo>
                  <a:lnTo>
                    <a:pt x="4" y="6"/>
                  </a:lnTo>
                  <a:lnTo>
                    <a:pt x="4" y="10"/>
                  </a:lnTo>
                  <a:lnTo>
                    <a:pt x="2" y="12"/>
                  </a:lnTo>
                  <a:lnTo>
                    <a:pt x="4" y="14"/>
                  </a:lnTo>
                  <a:lnTo>
                    <a:pt x="0" y="16"/>
                  </a:lnTo>
                  <a:lnTo>
                    <a:pt x="2" y="18"/>
                  </a:lnTo>
                  <a:lnTo>
                    <a:pt x="6" y="20"/>
                  </a:lnTo>
                  <a:lnTo>
                    <a:pt x="8" y="18"/>
                  </a:lnTo>
                  <a:lnTo>
                    <a:pt x="12" y="14"/>
                  </a:lnTo>
                  <a:lnTo>
                    <a:pt x="14" y="10"/>
                  </a:lnTo>
                  <a:lnTo>
                    <a:pt x="14" y="8"/>
                  </a:lnTo>
                  <a:lnTo>
                    <a:pt x="14" y="6"/>
                  </a:lnTo>
                  <a:lnTo>
                    <a:pt x="16" y="4"/>
                  </a:lnTo>
                  <a:lnTo>
                    <a:pt x="18" y="2"/>
                  </a:lnTo>
                  <a:lnTo>
                    <a:pt x="16" y="0"/>
                  </a:lnTo>
                  <a:lnTo>
                    <a:pt x="12" y="0"/>
                  </a:lnTo>
                  <a:lnTo>
                    <a:pt x="10" y="0"/>
                  </a:lnTo>
                  <a:lnTo>
                    <a:pt x="4" y="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19" name="Freeform 479"/>
            <p:cNvSpPr>
              <a:spLocks/>
            </p:cNvSpPr>
            <p:nvPr/>
          </p:nvSpPr>
          <p:spPr bwMode="auto">
            <a:xfrm>
              <a:off x="2584451" y="4386263"/>
              <a:ext cx="31750" cy="31750"/>
            </a:xfrm>
            <a:custGeom>
              <a:avLst/>
              <a:gdLst>
                <a:gd name="T0" fmla="*/ 4 w 18"/>
                <a:gd name="T1" fmla="*/ 4 h 20"/>
                <a:gd name="T2" fmla="*/ 4 w 18"/>
                <a:gd name="T3" fmla="*/ 6 h 20"/>
                <a:gd name="T4" fmla="*/ 4 w 18"/>
                <a:gd name="T5" fmla="*/ 10 h 20"/>
                <a:gd name="T6" fmla="*/ 2 w 18"/>
                <a:gd name="T7" fmla="*/ 12 h 20"/>
                <a:gd name="T8" fmla="*/ 4 w 18"/>
                <a:gd name="T9" fmla="*/ 14 h 20"/>
                <a:gd name="T10" fmla="*/ 0 w 18"/>
                <a:gd name="T11" fmla="*/ 16 h 20"/>
                <a:gd name="T12" fmla="*/ 2 w 18"/>
                <a:gd name="T13" fmla="*/ 18 h 20"/>
                <a:gd name="T14" fmla="*/ 6 w 18"/>
                <a:gd name="T15" fmla="*/ 20 h 20"/>
                <a:gd name="T16" fmla="*/ 8 w 18"/>
                <a:gd name="T17" fmla="*/ 18 h 20"/>
                <a:gd name="T18" fmla="*/ 12 w 18"/>
                <a:gd name="T19" fmla="*/ 14 h 20"/>
                <a:gd name="T20" fmla="*/ 14 w 18"/>
                <a:gd name="T21" fmla="*/ 10 h 20"/>
                <a:gd name="T22" fmla="*/ 14 w 18"/>
                <a:gd name="T23" fmla="*/ 8 h 20"/>
                <a:gd name="T24" fmla="*/ 14 w 18"/>
                <a:gd name="T25" fmla="*/ 6 h 20"/>
                <a:gd name="T26" fmla="*/ 16 w 18"/>
                <a:gd name="T27" fmla="*/ 4 h 20"/>
                <a:gd name="T28" fmla="*/ 18 w 18"/>
                <a:gd name="T29" fmla="*/ 2 h 20"/>
                <a:gd name="T30" fmla="*/ 16 w 18"/>
                <a:gd name="T31" fmla="*/ 0 h 20"/>
                <a:gd name="T32" fmla="*/ 12 w 18"/>
                <a:gd name="T33" fmla="*/ 0 h 20"/>
                <a:gd name="T34" fmla="*/ 10 w 18"/>
                <a:gd name="T35" fmla="*/ 0 h 20"/>
                <a:gd name="T36" fmla="*/ 4 w 18"/>
                <a:gd name="T3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0">
                  <a:moveTo>
                    <a:pt x="4" y="4"/>
                  </a:moveTo>
                  <a:lnTo>
                    <a:pt x="4" y="6"/>
                  </a:lnTo>
                  <a:lnTo>
                    <a:pt x="4" y="10"/>
                  </a:lnTo>
                  <a:lnTo>
                    <a:pt x="2" y="12"/>
                  </a:lnTo>
                  <a:lnTo>
                    <a:pt x="4" y="14"/>
                  </a:lnTo>
                  <a:lnTo>
                    <a:pt x="0" y="16"/>
                  </a:lnTo>
                  <a:lnTo>
                    <a:pt x="2" y="18"/>
                  </a:lnTo>
                  <a:lnTo>
                    <a:pt x="6" y="20"/>
                  </a:lnTo>
                  <a:lnTo>
                    <a:pt x="8" y="18"/>
                  </a:lnTo>
                  <a:lnTo>
                    <a:pt x="12" y="14"/>
                  </a:lnTo>
                  <a:lnTo>
                    <a:pt x="14" y="10"/>
                  </a:lnTo>
                  <a:lnTo>
                    <a:pt x="14" y="8"/>
                  </a:lnTo>
                  <a:lnTo>
                    <a:pt x="14" y="6"/>
                  </a:lnTo>
                  <a:lnTo>
                    <a:pt x="16" y="4"/>
                  </a:lnTo>
                  <a:lnTo>
                    <a:pt x="18" y="2"/>
                  </a:lnTo>
                  <a:lnTo>
                    <a:pt x="16" y="0"/>
                  </a:lnTo>
                  <a:lnTo>
                    <a:pt x="12" y="0"/>
                  </a:lnTo>
                  <a:lnTo>
                    <a:pt x="10" y="0"/>
                  </a:lnTo>
                  <a:lnTo>
                    <a:pt x="4"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20" name="Freeform 480"/>
            <p:cNvSpPr>
              <a:spLocks/>
            </p:cNvSpPr>
            <p:nvPr/>
          </p:nvSpPr>
          <p:spPr bwMode="auto">
            <a:xfrm>
              <a:off x="3262313" y="4087813"/>
              <a:ext cx="1795463" cy="1543050"/>
            </a:xfrm>
            <a:custGeom>
              <a:avLst/>
              <a:gdLst>
                <a:gd name="T0" fmla="*/ 162 w 1044"/>
                <a:gd name="T1" fmla="*/ 730 h 972"/>
                <a:gd name="T2" fmla="*/ 270 w 1044"/>
                <a:gd name="T3" fmla="*/ 966 h 972"/>
                <a:gd name="T4" fmla="*/ 356 w 1044"/>
                <a:gd name="T5" fmla="*/ 906 h 972"/>
                <a:gd name="T6" fmla="*/ 390 w 1044"/>
                <a:gd name="T7" fmla="*/ 758 h 972"/>
                <a:gd name="T8" fmla="*/ 480 w 1044"/>
                <a:gd name="T9" fmla="*/ 690 h 972"/>
                <a:gd name="T10" fmla="*/ 672 w 1044"/>
                <a:gd name="T11" fmla="*/ 550 h 972"/>
                <a:gd name="T12" fmla="*/ 728 w 1044"/>
                <a:gd name="T13" fmla="*/ 518 h 972"/>
                <a:gd name="T14" fmla="*/ 740 w 1044"/>
                <a:gd name="T15" fmla="*/ 484 h 972"/>
                <a:gd name="T16" fmla="*/ 724 w 1044"/>
                <a:gd name="T17" fmla="*/ 412 h 972"/>
                <a:gd name="T18" fmla="*/ 726 w 1044"/>
                <a:gd name="T19" fmla="*/ 378 h 972"/>
                <a:gd name="T20" fmla="*/ 756 w 1044"/>
                <a:gd name="T21" fmla="*/ 358 h 972"/>
                <a:gd name="T22" fmla="*/ 868 w 1044"/>
                <a:gd name="T23" fmla="*/ 388 h 972"/>
                <a:gd name="T24" fmla="*/ 864 w 1044"/>
                <a:gd name="T25" fmla="*/ 434 h 972"/>
                <a:gd name="T26" fmla="*/ 906 w 1044"/>
                <a:gd name="T27" fmla="*/ 462 h 972"/>
                <a:gd name="T28" fmla="*/ 972 w 1044"/>
                <a:gd name="T29" fmla="*/ 352 h 972"/>
                <a:gd name="T30" fmla="*/ 1044 w 1044"/>
                <a:gd name="T31" fmla="*/ 264 h 972"/>
                <a:gd name="T32" fmla="*/ 990 w 1044"/>
                <a:gd name="T33" fmla="*/ 214 h 972"/>
                <a:gd name="T34" fmla="*/ 892 w 1044"/>
                <a:gd name="T35" fmla="*/ 270 h 972"/>
                <a:gd name="T36" fmla="*/ 862 w 1044"/>
                <a:gd name="T37" fmla="*/ 318 h 972"/>
                <a:gd name="T38" fmla="*/ 744 w 1044"/>
                <a:gd name="T39" fmla="*/ 322 h 972"/>
                <a:gd name="T40" fmla="*/ 744 w 1044"/>
                <a:gd name="T41" fmla="*/ 286 h 972"/>
                <a:gd name="T42" fmla="*/ 718 w 1044"/>
                <a:gd name="T43" fmla="*/ 328 h 972"/>
                <a:gd name="T44" fmla="*/ 636 w 1044"/>
                <a:gd name="T45" fmla="*/ 336 h 972"/>
                <a:gd name="T46" fmla="*/ 528 w 1044"/>
                <a:gd name="T47" fmla="*/ 302 h 972"/>
                <a:gd name="T48" fmla="*/ 462 w 1044"/>
                <a:gd name="T49" fmla="*/ 268 h 972"/>
                <a:gd name="T50" fmla="*/ 456 w 1044"/>
                <a:gd name="T51" fmla="*/ 242 h 972"/>
                <a:gd name="T52" fmla="*/ 478 w 1044"/>
                <a:gd name="T53" fmla="*/ 208 h 972"/>
                <a:gd name="T54" fmla="*/ 450 w 1044"/>
                <a:gd name="T55" fmla="*/ 188 h 972"/>
                <a:gd name="T56" fmla="*/ 426 w 1044"/>
                <a:gd name="T57" fmla="*/ 176 h 972"/>
                <a:gd name="T58" fmla="*/ 412 w 1044"/>
                <a:gd name="T59" fmla="*/ 150 h 972"/>
                <a:gd name="T60" fmla="*/ 418 w 1044"/>
                <a:gd name="T61" fmla="*/ 126 h 972"/>
                <a:gd name="T62" fmla="*/ 438 w 1044"/>
                <a:gd name="T63" fmla="*/ 124 h 972"/>
                <a:gd name="T64" fmla="*/ 426 w 1044"/>
                <a:gd name="T65" fmla="*/ 86 h 972"/>
                <a:gd name="T66" fmla="*/ 444 w 1044"/>
                <a:gd name="T67" fmla="*/ 72 h 972"/>
                <a:gd name="T68" fmla="*/ 466 w 1044"/>
                <a:gd name="T69" fmla="*/ 44 h 972"/>
                <a:gd name="T70" fmla="*/ 466 w 1044"/>
                <a:gd name="T71" fmla="*/ 20 h 972"/>
                <a:gd name="T72" fmla="*/ 450 w 1044"/>
                <a:gd name="T73" fmla="*/ 4 h 972"/>
                <a:gd name="T74" fmla="*/ 402 w 1044"/>
                <a:gd name="T75" fmla="*/ 16 h 972"/>
                <a:gd name="T76" fmla="*/ 360 w 1044"/>
                <a:gd name="T77" fmla="*/ 36 h 972"/>
                <a:gd name="T78" fmla="*/ 324 w 1044"/>
                <a:gd name="T79" fmla="*/ 42 h 972"/>
                <a:gd name="T80" fmla="*/ 270 w 1044"/>
                <a:gd name="T81" fmla="*/ 28 h 972"/>
                <a:gd name="T82" fmla="*/ 268 w 1044"/>
                <a:gd name="T83" fmla="*/ 54 h 972"/>
                <a:gd name="T84" fmla="*/ 264 w 1044"/>
                <a:gd name="T85" fmla="*/ 80 h 972"/>
                <a:gd name="T86" fmla="*/ 284 w 1044"/>
                <a:gd name="T87" fmla="*/ 106 h 972"/>
                <a:gd name="T88" fmla="*/ 292 w 1044"/>
                <a:gd name="T89" fmla="*/ 128 h 972"/>
                <a:gd name="T90" fmla="*/ 278 w 1044"/>
                <a:gd name="T91" fmla="*/ 150 h 972"/>
                <a:gd name="T92" fmla="*/ 262 w 1044"/>
                <a:gd name="T93" fmla="*/ 168 h 972"/>
                <a:gd name="T94" fmla="*/ 182 w 1044"/>
                <a:gd name="T95" fmla="*/ 234 h 972"/>
                <a:gd name="T96" fmla="*/ 80 w 1044"/>
                <a:gd name="T97" fmla="*/ 270 h 972"/>
                <a:gd name="T98" fmla="*/ 94 w 1044"/>
                <a:gd name="T99" fmla="*/ 304 h 972"/>
                <a:gd name="T100" fmla="*/ 106 w 1044"/>
                <a:gd name="T101" fmla="*/ 350 h 972"/>
                <a:gd name="T102" fmla="*/ 106 w 1044"/>
                <a:gd name="T103" fmla="*/ 376 h 972"/>
                <a:gd name="T104" fmla="*/ 74 w 1044"/>
                <a:gd name="T105" fmla="*/ 376 h 972"/>
                <a:gd name="T106" fmla="*/ 32 w 1044"/>
                <a:gd name="T107" fmla="*/ 366 h 972"/>
                <a:gd name="T108" fmla="*/ 0 w 1044"/>
                <a:gd name="T109" fmla="*/ 378 h 972"/>
                <a:gd name="T110" fmla="*/ 68 w 1044"/>
                <a:gd name="T111" fmla="*/ 428 h 972"/>
                <a:gd name="T112" fmla="*/ 116 w 1044"/>
                <a:gd name="T113" fmla="*/ 492 h 972"/>
                <a:gd name="T114" fmla="*/ 142 w 1044"/>
                <a:gd name="T115" fmla="*/ 476 h 972"/>
                <a:gd name="T116" fmla="*/ 132 w 1044"/>
                <a:gd name="T117" fmla="*/ 558 h 972"/>
                <a:gd name="T118" fmla="*/ 132 w 1044"/>
                <a:gd name="T119" fmla="*/ 612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4" h="972">
                  <a:moveTo>
                    <a:pt x="146" y="690"/>
                  </a:moveTo>
                  <a:lnTo>
                    <a:pt x="146" y="690"/>
                  </a:lnTo>
                  <a:lnTo>
                    <a:pt x="148" y="698"/>
                  </a:lnTo>
                  <a:lnTo>
                    <a:pt x="148" y="700"/>
                  </a:lnTo>
                  <a:lnTo>
                    <a:pt x="152" y="698"/>
                  </a:lnTo>
                  <a:lnTo>
                    <a:pt x="154" y="700"/>
                  </a:lnTo>
                  <a:lnTo>
                    <a:pt x="152" y="702"/>
                  </a:lnTo>
                  <a:lnTo>
                    <a:pt x="150" y="704"/>
                  </a:lnTo>
                  <a:lnTo>
                    <a:pt x="152" y="718"/>
                  </a:lnTo>
                  <a:lnTo>
                    <a:pt x="158" y="726"/>
                  </a:lnTo>
                  <a:lnTo>
                    <a:pt x="162" y="730"/>
                  </a:lnTo>
                  <a:lnTo>
                    <a:pt x="166" y="754"/>
                  </a:lnTo>
                  <a:lnTo>
                    <a:pt x="170" y="760"/>
                  </a:lnTo>
                  <a:lnTo>
                    <a:pt x="178" y="812"/>
                  </a:lnTo>
                  <a:lnTo>
                    <a:pt x="178" y="816"/>
                  </a:lnTo>
                  <a:lnTo>
                    <a:pt x="200" y="846"/>
                  </a:lnTo>
                  <a:lnTo>
                    <a:pt x="216" y="928"/>
                  </a:lnTo>
                  <a:lnTo>
                    <a:pt x="244" y="972"/>
                  </a:lnTo>
                  <a:lnTo>
                    <a:pt x="256" y="972"/>
                  </a:lnTo>
                  <a:lnTo>
                    <a:pt x="264" y="968"/>
                  </a:lnTo>
                  <a:lnTo>
                    <a:pt x="264" y="968"/>
                  </a:lnTo>
                  <a:lnTo>
                    <a:pt x="270" y="966"/>
                  </a:lnTo>
                  <a:lnTo>
                    <a:pt x="274" y="962"/>
                  </a:lnTo>
                  <a:lnTo>
                    <a:pt x="276" y="958"/>
                  </a:lnTo>
                  <a:lnTo>
                    <a:pt x="276" y="956"/>
                  </a:lnTo>
                  <a:lnTo>
                    <a:pt x="284" y="944"/>
                  </a:lnTo>
                  <a:lnTo>
                    <a:pt x="314" y="938"/>
                  </a:lnTo>
                  <a:lnTo>
                    <a:pt x="314" y="932"/>
                  </a:lnTo>
                  <a:lnTo>
                    <a:pt x="316" y="926"/>
                  </a:lnTo>
                  <a:lnTo>
                    <a:pt x="336" y="904"/>
                  </a:lnTo>
                  <a:lnTo>
                    <a:pt x="346" y="902"/>
                  </a:lnTo>
                  <a:lnTo>
                    <a:pt x="348" y="906"/>
                  </a:lnTo>
                  <a:lnTo>
                    <a:pt x="356" y="906"/>
                  </a:lnTo>
                  <a:lnTo>
                    <a:pt x="364" y="852"/>
                  </a:lnTo>
                  <a:lnTo>
                    <a:pt x="390" y="806"/>
                  </a:lnTo>
                  <a:lnTo>
                    <a:pt x="390" y="798"/>
                  </a:lnTo>
                  <a:lnTo>
                    <a:pt x="386" y="794"/>
                  </a:lnTo>
                  <a:lnTo>
                    <a:pt x="386" y="792"/>
                  </a:lnTo>
                  <a:lnTo>
                    <a:pt x="384" y="790"/>
                  </a:lnTo>
                  <a:lnTo>
                    <a:pt x="386" y="788"/>
                  </a:lnTo>
                  <a:lnTo>
                    <a:pt x="388" y="790"/>
                  </a:lnTo>
                  <a:lnTo>
                    <a:pt x="386" y="770"/>
                  </a:lnTo>
                  <a:lnTo>
                    <a:pt x="388" y="764"/>
                  </a:lnTo>
                  <a:lnTo>
                    <a:pt x="390" y="758"/>
                  </a:lnTo>
                  <a:lnTo>
                    <a:pt x="390" y="756"/>
                  </a:lnTo>
                  <a:lnTo>
                    <a:pt x="388" y="752"/>
                  </a:lnTo>
                  <a:lnTo>
                    <a:pt x="388" y="732"/>
                  </a:lnTo>
                  <a:lnTo>
                    <a:pt x="402" y="718"/>
                  </a:lnTo>
                  <a:lnTo>
                    <a:pt x="410" y="714"/>
                  </a:lnTo>
                  <a:lnTo>
                    <a:pt x="416" y="714"/>
                  </a:lnTo>
                  <a:lnTo>
                    <a:pt x="422" y="718"/>
                  </a:lnTo>
                  <a:lnTo>
                    <a:pt x="428" y="716"/>
                  </a:lnTo>
                  <a:lnTo>
                    <a:pt x="438" y="702"/>
                  </a:lnTo>
                  <a:lnTo>
                    <a:pt x="476" y="694"/>
                  </a:lnTo>
                  <a:lnTo>
                    <a:pt x="480" y="690"/>
                  </a:lnTo>
                  <a:lnTo>
                    <a:pt x="482" y="682"/>
                  </a:lnTo>
                  <a:lnTo>
                    <a:pt x="486" y="676"/>
                  </a:lnTo>
                  <a:lnTo>
                    <a:pt x="556" y="634"/>
                  </a:lnTo>
                  <a:lnTo>
                    <a:pt x="558" y="632"/>
                  </a:lnTo>
                  <a:lnTo>
                    <a:pt x="560" y="632"/>
                  </a:lnTo>
                  <a:lnTo>
                    <a:pt x="594" y="600"/>
                  </a:lnTo>
                  <a:lnTo>
                    <a:pt x="644" y="576"/>
                  </a:lnTo>
                  <a:lnTo>
                    <a:pt x="646" y="576"/>
                  </a:lnTo>
                  <a:lnTo>
                    <a:pt x="664" y="562"/>
                  </a:lnTo>
                  <a:lnTo>
                    <a:pt x="666" y="558"/>
                  </a:lnTo>
                  <a:lnTo>
                    <a:pt x="672" y="550"/>
                  </a:lnTo>
                  <a:lnTo>
                    <a:pt x="670" y="536"/>
                  </a:lnTo>
                  <a:lnTo>
                    <a:pt x="674" y="526"/>
                  </a:lnTo>
                  <a:lnTo>
                    <a:pt x="708" y="512"/>
                  </a:lnTo>
                  <a:lnTo>
                    <a:pt x="716" y="498"/>
                  </a:lnTo>
                  <a:lnTo>
                    <a:pt x="718" y="498"/>
                  </a:lnTo>
                  <a:lnTo>
                    <a:pt x="716" y="514"/>
                  </a:lnTo>
                  <a:lnTo>
                    <a:pt x="716" y="514"/>
                  </a:lnTo>
                  <a:lnTo>
                    <a:pt x="718" y="514"/>
                  </a:lnTo>
                  <a:lnTo>
                    <a:pt x="720" y="514"/>
                  </a:lnTo>
                  <a:lnTo>
                    <a:pt x="722" y="520"/>
                  </a:lnTo>
                  <a:lnTo>
                    <a:pt x="728" y="518"/>
                  </a:lnTo>
                  <a:lnTo>
                    <a:pt x="732" y="516"/>
                  </a:lnTo>
                  <a:lnTo>
                    <a:pt x="734" y="516"/>
                  </a:lnTo>
                  <a:lnTo>
                    <a:pt x="736" y="512"/>
                  </a:lnTo>
                  <a:lnTo>
                    <a:pt x="736" y="508"/>
                  </a:lnTo>
                  <a:lnTo>
                    <a:pt x="738" y="514"/>
                  </a:lnTo>
                  <a:lnTo>
                    <a:pt x="740" y="516"/>
                  </a:lnTo>
                  <a:lnTo>
                    <a:pt x="746" y="516"/>
                  </a:lnTo>
                  <a:lnTo>
                    <a:pt x="742" y="506"/>
                  </a:lnTo>
                  <a:lnTo>
                    <a:pt x="742" y="504"/>
                  </a:lnTo>
                  <a:lnTo>
                    <a:pt x="742" y="502"/>
                  </a:lnTo>
                  <a:lnTo>
                    <a:pt x="740" y="484"/>
                  </a:lnTo>
                  <a:lnTo>
                    <a:pt x="738" y="482"/>
                  </a:lnTo>
                  <a:lnTo>
                    <a:pt x="736" y="476"/>
                  </a:lnTo>
                  <a:lnTo>
                    <a:pt x="736" y="470"/>
                  </a:lnTo>
                  <a:lnTo>
                    <a:pt x="736" y="470"/>
                  </a:lnTo>
                  <a:lnTo>
                    <a:pt x="738" y="460"/>
                  </a:lnTo>
                  <a:lnTo>
                    <a:pt x="736" y="458"/>
                  </a:lnTo>
                  <a:lnTo>
                    <a:pt x="734" y="456"/>
                  </a:lnTo>
                  <a:lnTo>
                    <a:pt x="734" y="448"/>
                  </a:lnTo>
                  <a:lnTo>
                    <a:pt x="730" y="444"/>
                  </a:lnTo>
                  <a:lnTo>
                    <a:pt x="734" y="420"/>
                  </a:lnTo>
                  <a:lnTo>
                    <a:pt x="724" y="412"/>
                  </a:lnTo>
                  <a:lnTo>
                    <a:pt x="712" y="406"/>
                  </a:lnTo>
                  <a:lnTo>
                    <a:pt x="710" y="402"/>
                  </a:lnTo>
                  <a:lnTo>
                    <a:pt x="714" y="394"/>
                  </a:lnTo>
                  <a:lnTo>
                    <a:pt x="720" y="394"/>
                  </a:lnTo>
                  <a:lnTo>
                    <a:pt x="724" y="392"/>
                  </a:lnTo>
                  <a:lnTo>
                    <a:pt x="726" y="388"/>
                  </a:lnTo>
                  <a:lnTo>
                    <a:pt x="738" y="386"/>
                  </a:lnTo>
                  <a:lnTo>
                    <a:pt x="738" y="380"/>
                  </a:lnTo>
                  <a:lnTo>
                    <a:pt x="736" y="378"/>
                  </a:lnTo>
                  <a:lnTo>
                    <a:pt x="736" y="376"/>
                  </a:lnTo>
                  <a:lnTo>
                    <a:pt x="726" y="378"/>
                  </a:lnTo>
                  <a:lnTo>
                    <a:pt x="722" y="374"/>
                  </a:lnTo>
                  <a:lnTo>
                    <a:pt x="720" y="366"/>
                  </a:lnTo>
                  <a:lnTo>
                    <a:pt x="718" y="364"/>
                  </a:lnTo>
                  <a:lnTo>
                    <a:pt x="728" y="350"/>
                  </a:lnTo>
                  <a:lnTo>
                    <a:pt x="730" y="342"/>
                  </a:lnTo>
                  <a:lnTo>
                    <a:pt x="732" y="342"/>
                  </a:lnTo>
                  <a:lnTo>
                    <a:pt x="742" y="356"/>
                  </a:lnTo>
                  <a:lnTo>
                    <a:pt x="746" y="344"/>
                  </a:lnTo>
                  <a:lnTo>
                    <a:pt x="750" y="344"/>
                  </a:lnTo>
                  <a:lnTo>
                    <a:pt x="750" y="354"/>
                  </a:lnTo>
                  <a:lnTo>
                    <a:pt x="756" y="358"/>
                  </a:lnTo>
                  <a:lnTo>
                    <a:pt x="760" y="356"/>
                  </a:lnTo>
                  <a:lnTo>
                    <a:pt x="764" y="360"/>
                  </a:lnTo>
                  <a:lnTo>
                    <a:pt x="770" y="350"/>
                  </a:lnTo>
                  <a:lnTo>
                    <a:pt x="772" y="354"/>
                  </a:lnTo>
                  <a:lnTo>
                    <a:pt x="776" y="376"/>
                  </a:lnTo>
                  <a:lnTo>
                    <a:pt x="780" y="380"/>
                  </a:lnTo>
                  <a:lnTo>
                    <a:pt x="788" y="382"/>
                  </a:lnTo>
                  <a:lnTo>
                    <a:pt x="816" y="384"/>
                  </a:lnTo>
                  <a:lnTo>
                    <a:pt x="818" y="382"/>
                  </a:lnTo>
                  <a:lnTo>
                    <a:pt x="868" y="386"/>
                  </a:lnTo>
                  <a:lnTo>
                    <a:pt x="868" y="388"/>
                  </a:lnTo>
                  <a:lnTo>
                    <a:pt x="860" y="392"/>
                  </a:lnTo>
                  <a:lnTo>
                    <a:pt x="858" y="400"/>
                  </a:lnTo>
                  <a:lnTo>
                    <a:pt x="826" y="426"/>
                  </a:lnTo>
                  <a:lnTo>
                    <a:pt x="826" y="430"/>
                  </a:lnTo>
                  <a:lnTo>
                    <a:pt x="830" y="452"/>
                  </a:lnTo>
                  <a:lnTo>
                    <a:pt x="838" y="452"/>
                  </a:lnTo>
                  <a:lnTo>
                    <a:pt x="842" y="458"/>
                  </a:lnTo>
                  <a:lnTo>
                    <a:pt x="846" y="460"/>
                  </a:lnTo>
                  <a:lnTo>
                    <a:pt x="854" y="442"/>
                  </a:lnTo>
                  <a:lnTo>
                    <a:pt x="860" y="434"/>
                  </a:lnTo>
                  <a:lnTo>
                    <a:pt x="864" y="434"/>
                  </a:lnTo>
                  <a:lnTo>
                    <a:pt x="884" y="498"/>
                  </a:lnTo>
                  <a:lnTo>
                    <a:pt x="888" y="494"/>
                  </a:lnTo>
                  <a:lnTo>
                    <a:pt x="896" y="494"/>
                  </a:lnTo>
                  <a:lnTo>
                    <a:pt x="898" y="494"/>
                  </a:lnTo>
                  <a:lnTo>
                    <a:pt x="902" y="490"/>
                  </a:lnTo>
                  <a:lnTo>
                    <a:pt x="902" y="486"/>
                  </a:lnTo>
                  <a:lnTo>
                    <a:pt x="900" y="486"/>
                  </a:lnTo>
                  <a:lnTo>
                    <a:pt x="898" y="480"/>
                  </a:lnTo>
                  <a:lnTo>
                    <a:pt x="898" y="470"/>
                  </a:lnTo>
                  <a:lnTo>
                    <a:pt x="898" y="462"/>
                  </a:lnTo>
                  <a:lnTo>
                    <a:pt x="906" y="462"/>
                  </a:lnTo>
                  <a:lnTo>
                    <a:pt x="908" y="460"/>
                  </a:lnTo>
                  <a:lnTo>
                    <a:pt x="910" y="432"/>
                  </a:lnTo>
                  <a:lnTo>
                    <a:pt x="914" y="426"/>
                  </a:lnTo>
                  <a:lnTo>
                    <a:pt x="924" y="424"/>
                  </a:lnTo>
                  <a:lnTo>
                    <a:pt x="936" y="424"/>
                  </a:lnTo>
                  <a:lnTo>
                    <a:pt x="940" y="420"/>
                  </a:lnTo>
                  <a:lnTo>
                    <a:pt x="956" y="378"/>
                  </a:lnTo>
                  <a:lnTo>
                    <a:pt x="954" y="374"/>
                  </a:lnTo>
                  <a:lnTo>
                    <a:pt x="958" y="368"/>
                  </a:lnTo>
                  <a:lnTo>
                    <a:pt x="968" y="360"/>
                  </a:lnTo>
                  <a:lnTo>
                    <a:pt x="972" y="352"/>
                  </a:lnTo>
                  <a:lnTo>
                    <a:pt x="970" y="336"/>
                  </a:lnTo>
                  <a:lnTo>
                    <a:pt x="974" y="326"/>
                  </a:lnTo>
                  <a:lnTo>
                    <a:pt x="998" y="306"/>
                  </a:lnTo>
                  <a:lnTo>
                    <a:pt x="1002" y="298"/>
                  </a:lnTo>
                  <a:lnTo>
                    <a:pt x="1020" y="292"/>
                  </a:lnTo>
                  <a:lnTo>
                    <a:pt x="1032" y="294"/>
                  </a:lnTo>
                  <a:lnTo>
                    <a:pt x="1034" y="290"/>
                  </a:lnTo>
                  <a:lnTo>
                    <a:pt x="1032" y="280"/>
                  </a:lnTo>
                  <a:lnTo>
                    <a:pt x="1034" y="272"/>
                  </a:lnTo>
                  <a:lnTo>
                    <a:pt x="1040" y="268"/>
                  </a:lnTo>
                  <a:lnTo>
                    <a:pt x="1044" y="264"/>
                  </a:lnTo>
                  <a:lnTo>
                    <a:pt x="1042" y="256"/>
                  </a:lnTo>
                  <a:lnTo>
                    <a:pt x="1040" y="250"/>
                  </a:lnTo>
                  <a:lnTo>
                    <a:pt x="1032" y="248"/>
                  </a:lnTo>
                  <a:lnTo>
                    <a:pt x="1024" y="250"/>
                  </a:lnTo>
                  <a:lnTo>
                    <a:pt x="1018" y="248"/>
                  </a:lnTo>
                  <a:lnTo>
                    <a:pt x="1006" y="250"/>
                  </a:lnTo>
                  <a:lnTo>
                    <a:pt x="1006" y="232"/>
                  </a:lnTo>
                  <a:lnTo>
                    <a:pt x="1000" y="232"/>
                  </a:lnTo>
                  <a:lnTo>
                    <a:pt x="998" y="226"/>
                  </a:lnTo>
                  <a:lnTo>
                    <a:pt x="998" y="220"/>
                  </a:lnTo>
                  <a:lnTo>
                    <a:pt x="990" y="214"/>
                  </a:lnTo>
                  <a:lnTo>
                    <a:pt x="984" y="218"/>
                  </a:lnTo>
                  <a:lnTo>
                    <a:pt x="976" y="224"/>
                  </a:lnTo>
                  <a:lnTo>
                    <a:pt x="954" y="230"/>
                  </a:lnTo>
                  <a:lnTo>
                    <a:pt x="950" y="230"/>
                  </a:lnTo>
                  <a:lnTo>
                    <a:pt x="944" y="226"/>
                  </a:lnTo>
                  <a:lnTo>
                    <a:pt x="942" y="226"/>
                  </a:lnTo>
                  <a:lnTo>
                    <a:pt x="930" y="234"/>
                  </a:lnTo>
                  <a:lnTo>
                    <a:pt x="928" y="240"/>
                  </a:lnTo>
                  <a:lnTo>
                    <a:pt x="916" y="252"/>
                  </a:lnTo>
                  <a:lnTo>
                    <a:pt x="906" y="256"/>
                  </a:lnTo>
                  <a:lnTo>
                    <a:pt x="892" y="270"/>
                  </a:lnTo>
                  <a:lnTo>
                    <a:pt x="848" y="290"/>
                  </a:lnTo>
                  <a:lnTo>
                    <a:pt x="848" y="290"/>
                  </a:lnTo>
                  <a:lnTo>
                    <a:pt x="848" y="292"/>
                  </a:lnTo>
                  <a:lnTo>
                    <a:pt x="846" y="296"/>
                  </a:lnTo>
                  <a:lnTo>
                    <a:pt x="846" y="298"/>
                  </a:lnTo>
                  <a:lnTo>
                    <a:pt x="848" y="298"/>
                  </a:lnTo>
                  <a:lnTo>
                    <a:pt x="858" y="302"/>
                  </a:lnTo>
                  <a:lnTo>
                    <a:pt x="862" y="306"/>
                  </a:lnTo>
                  <a:lnTo>
                    <a:pt x="862" y="314"/>
                  </a:lnTo>
                  <a:lnTo>
                    <a:pt x="862" y="316"/>
                  </a:lnTo>
                  <a:lnTo>
                    <a:pt x="862" y="318"/>
                  </a:lnTo>
                  <a:lnTo>
                    <a:pt x="858" y="320"/>
                  </a:lnTo>
                  <a:lnTo>
                    <a:pt x="818" y="328"/>
                  </a:lnTo>
                  <a:lnTo>
                    <a:pt x="806" y="328"/>
                  </a:lnTo>
                  <a:lnTo>
                    <a:pt x="788" y="332"/>
                  </a:lnTo>
                  <a:lnTo>
                    <a:pt x="760" y="332"/>
                  </a:lnTo>
                  <a:lnTo>
                    <a:pt x="752" y="328"/>
                  </a:lnTo>
                  <a:lnTo>
                    <a:pt x="748" y="330"/>
                  </a:lnTo>
                  <a:lnTo>
                    <a:pt x="748" y="328"/>
                  </a:lnTo>
                  <a:lnTo>
                    <a:pt x="748" y="324"/>
                  </a:lnTo>
                  <a:lnTo>
                    <a:pt x="748" y="322"/>
                  </a:lnTo>
                  <a:lnTo>
                    <a:pt x="744" y="322"/>
                  </a:lnTo>
                  <a:lnTo>
                    <a:pt x="744" y="320"/>
                  </a:lnTo>
                  <a:lnTo>
                    <a:pt x="750" y="314"/>
                  </a:lnTo>
                  <a:lnTo>
                    <a:pt x="750" y="312"/>
                  </a:lnTo>
                  <a:lnTo>
                    <a:pt x="746" y="312"/>
                  </a:lnTo>
                  <a:lnTo>
                    <a:pt x="744" y="310"/>
                  </a:lnTo>
                  <a:lnTo>
                    <a:pt x="744" y="310"/>
                  </a:lnTo>
                  <a:lnTo>
                    <a:pt x="744" y="304"/>
                  </a:lnTo>
                  <a:lnTo>
                    <a:pt x="746" y="298"/>
                  </a:lnTo>
                  <a:lnTo>
                    <a:pt x="746" y="294"/>
                  </a:lnTo>
                  <a:lnTo>
                    <a:pt x="744" y="288"/>
                  </a:lnTo>
                  <a:lnTo>
                    <a:pt x="744" y="286"/>
                  </a:lnTo>
                  <a:lnTo>
                    <a:pt x="740" y="286"/>
                  </a:lnTo>
                  <a:lnTo>
                    <a:pt x="738" y="286"/>
                  </a:lnTo>
                  <a:lnTo>
                    <a:pt x="732" y="290"/>
                  </a:lnTo>
                  <a:lnTo>
                    <a:pt x="728" y="290"/>
                  </a:lnTo>
                  <a:lnTo>
                    <a:pt x="722" y="292"/>
                  </a:lnTo>
                  <a:lnTo>
                    <a:pt x="722" y="294"/>
                  </a:lnTo>
                  <a:lnTo>
                    <a:pt x="718" y="298"/>
                  </a:lnTo>
                  <a:lnTo>
                    <a:pt x="716" y="320"/>
                  </a:lnTo>
                  <a:lnTo>
                    <a:pt x="714" y="324"/>
                  </a:lnTo>
                  <a:lnTo>
                    <a:pt x="714" y="326"/>
                  </a:lnTo>
                  <a:lnTo>
                    <a:pt x="718" y="328"/>
                  </a:lnTo>
                  <a:lnTo>
                    <a:pt x="722" y="334"/>
                  </a:lnTo>
                  <a:lnTo>
                    <a:pt x="722" y="338"/>
                  </a:lnTo>
                  <a:lnTo>
                    <a:pt x="716" y="344"/>
                  </a:lnTo>
                  <a:lnTo>
                    <a:pt x="716" y="346"/>
                  </a:lnTo>
                  <a:lnTo>
                    <a:pt x="710" y="346"/>
                  </a:lnTo>
                  <a:lnTo>
                    <a:pt x="702" y="348"/>
                  </a:lnTo>
                  <a:lnTo>
                    <a:pt x="692" y="346"/>
                  </a:lnTo>
                  <a:lnTo>
                    <a:pt x="688" y="348"/>
                  </a:lnTo>
                  <a:lnTo>
                    <a:pt x="682" y="346"/>
                  </a:lnTo>
                  <a:lnTo>
                    <a:pt x="640" y="340"/>
                  </a:lnTo>
                  <a:lnTo>
                    <a:pt x="636" y="336"/>
                  </a:lnTo>
                  <a:lnTo>
                    <a:pt x="610" y="334"/>
                  </a:lnTo>
                  <a:lnTo>
                    <a:pt x="598" y="326"/>
                  </a:lnTo>
                  <a:lnTo>
                    <a:pt x="594" y="318"/>
                  </a:lnTo>
                  <a:lnTo>
                    <a:pt x="590" y="314"/>
                  </a:lnTo>
                  <a:lnTo>
                    <a:pt x="576" y="312"/>
                  </a:lnTo>
                  <a:lnTo>
                    <a:pt x="574" y="314"/>
                  </a:lnTo>
                  <a:lnTo>
                    <a:pt x="558" y="312"/>
                  </a:lnTo>
                  <a:lnTo>
                    <a:pt x="552" y="314"/>
                  </a:lnTo>
                  <a:lnTo>
                    <a:pt x="536" y="312"/>
                  </a:lnTo>
                  <a:lnTo>
                    <a:pt x="530" y="304"/>
                  </a:lnTo>
                  <a:lnTo>
                    <a:pt x="528" y="302"/>
                  </a:lnTo>
                  <a:lnTo>
                    <a:pt x="520" y="302"/>
                  </a:lnTo>
                  <a:lnTo>
                    <a:pt x="516" y="296"/>
                  </a:lnTo>
                  <a:lnTo>
                    <a:pt x="508" y="294"/>
                  </a:lnTo>
                  <a:lnTo>
                    <a:pt x="502" y="294"/>
                  </a:lnTo>
                  <a:lnTo>
                    <a:pt x="492" y="288"/>
                  </a:lnTo>
                  <a:lnTo>
                    <a:pt x="486" y="278"/>
                  </a:lnTo>
                  <a:lnTo>
                    <a:pt x="476" y="272"/>
                  </a:lnTo>
                  <a:lnTo>
                    <a:pt x="474" y="270"/>
                  </a:lnTo>
                  <a:lnTo>
                    <a:pt x="466" y="266"/>
                  </a:lnTo>
                  <a:lnTo>
                    <a:pt x="464" y="266"/>
                  </a:lnTo>
                  <a:lnTo>
                    <a:pt x="462" y="268"/>
                  </a:lnTo>
                  <a:lnTo>
                    <a:pt x="460" y="268"/>
                  </a:lnTo>
                  <a:lnTo>
                    <a:pt x="458" y="266"/>
                  </a:lnTo>
                  <a:lnTo>
                    <a:pt x="456" y="262"/>
                  </a:lnTo>
                  <a:lnTo>
                    <a:pt x="454" y="260"/>
                  </a:lnTo>
                  <a:lnTo>
                    <a:pt x="446" y="258"/>
                  </a:lnTo>
                  <a:lnTo>
                    <a:pt x="446" y="256"/>
                  </a:lnTo>
                  <a:lnTo>
                    <a:pt x="448" y="252"/>
                  </a:lnTo>
                  <a:lnTo>
                    <a:pt x="450" y="248"/>
                  </a:lnTo>
                  <a:lnTo>
                    <a:pt x="454" y="248"/>
                  </a:lnTo>
                  <a:lnTo>
                    <a:pt x="454" y="244"/>
                  </a:lnTo>
                  <a:lnTo>
                    <a:pt x="456" y="242"/>
                  </a:lnTo>
                  <a:lnTo>
                    <a:pt x="456" y="236"/>
                  </a:lnTo>
                  <a:lnTo>
                    <a:pt x="458" y="232"/>
                  </a:lnTo>
                  <a:lnTo>
                    <a:pt x="460" y="230"/>
                  </a:lnTo>
                  <a:lnTo>
                    <a:pt x="460" y="226"/>
                  </a:lnTo>
                  <a:lnTo>
                    <a:pt x="460" y="224"/>
                  </a:lnTo>
                  <a:lnTo>
                    <a:pt x="462" y="220"/>
                  </a:lnTo>
                  <a:lnTo>
                    <a:pt x="466" y="220"/>
                  </a:lnTo>
                  <a:lnTo>
                    <a:pt x="468" y="216"/>
                  </a:lnTo>
                  <a:lnTo>
                    <a:pt x="474" y="214"/>
                  </a:lnTo>
                  <a:lnTo>
                    <a:pt x="476" y="210"/>
                  </a:lnTo>
                  <a:lnTo>
                    <a:pt x="478" y="208"/>
                  </a:lnTo>
                  <a:lnTo>
                    <a:pt x="478" y="208"/>
                  </a:lnTo>
                  <a:lnTo>
                    <a:pt x="480" y="208"/>
                  </a:lnTo>
                  <a:lnTo>
                    <a:pt x="484" y="208"/>
                  </a:lnTo>
                  <a:lnTo>
                    <a:pt x="482" y="206"/>
                  </a:lnTo>
                  <a:lnTo>
                    <a:pt x="472" y="204"/>
                  </a:lnTo>
                  <a:lnTo>
                    <a:pt x="470" y="202"/>
                  </a:lnTo>
                  <a:lnTo>
                    <a:pt x="468" y="198"/>
                  </a:lnTo>
                  <a:lnTo>
                    <a:pt x="466" y="198"/>
                  </a:lnTo>
                  <a:lnTo>
                    <a:pt x="460" y="192"/>
                  </a:lnTo>
                  <a:lnTo>
                    <a:pt x="452" y="190"/>
                  </a:lnTo>
                  <a:lnTo>
                    <a:pt x="450" y="188"/>
                  </a:lnTo>
                  <a:lnTo>
                    <a:pt x="450" y="186"/>
                  </a:lnTo>
                  <a:lnTo>
                    <a:pt x="450" y="184"/>
                  </a:lnTo>
                  <a:lnTo>
                    <a:pt x="446" y="182"/>
                  </a:lnTo>
                  <a:lnTo>
                    <a:pt x="446" y="182"/>
                  </a:lnTo>
                  <a:lnTo>
                    <a:pt x="444" y="180"/>
                  </a:lnTo>
                  <a:lnTo>
                    <a:pt x="438" y="182"/>
                  </a:lnTo>
                  <a:lnTo>
                    <a:pt x="438" y="182"/>
                  </a:lnTo>
                  <a:lnTo>
                    <a:pt x="436" y="178"/>
                  </a:lnTo>
                  <a:lnTo>
                    <a:pt x="436" y="176"/>
                  </a:lnTo>
                  <a:lnTo>
                    <a:pt x="434" y="176"/>
                  </a:lnTo>
                  <a:lnTo>
                    <a:pt x="426" y="176"/>
                  </a:lnTo>
                  <a:lnTo>
                    <a:pt x="420" y="178"/>
                  </a:lnTo>
                  <a:lnTo>
                    <a:pt x="418" y="178"/>
                  </a:lnTo>
                  <a:lnTo>
                    <a:pt x="416" y="176"/>
                  </a:lnTo>
                  <a:lnTo>
                    <a:pt x="418" y="170"/>
                  </a:lnTo>
                  <a:lnTo>
                    <a:pt x="414" y="168"/>
                  </a:lnTo>
                  <a:lnTo>
                    <a:pt x="412" y="166"/>
                  </a:lnTo>
                  <a:lnTo>
                    <a:pt x="412" y="164"/>
                  </a:lnTo>
                  <a:lnTo>
                    <a:pt x="410" y="160"/>
                  </a:lnTo>
                  <a:lnTo>
                    <a:pt x="410" y="158"/>
                  </a:lnTo>
                  <a:lnTo>
                    <a:pt x="412" y="154"/>
                  </a:lnTo>
                  <a:lnTo>
                    <a:pt x="412" y="150"/>
                  </a:lnTo>
                  <a:lnTo>
                    <a:pt x="412" y="146"/>
                  </a:lnTo>
                  <a:lnTo>
                    <a:pt x="414" y="142"/>
                  </a:lnTo>
                  <a:lnTo>
                    <a:pt x="406" y="132"/>
                  </a:lnTo>
                  <a:lnTo>
                    <a:pt x="406" y="126"/>
                  </a:lnTo>
                  <a:lnTo>
                    <a:pt x="406" y="122"/>
                  </a:lnTo>
                  <a:lnTo>
                    <a:pt x="406" y="120"/>
                  </a:lnTo>
                  <a:lnTo>
                    <a:pt x="412" y="120"/>
                  </a:lnTo>
                  <a:lnTo>
                    <a:pt x="416" y="118"/>
                  </a:lnTo>
                  <a:lnTo>
                    <a:pt x="416" y="118"/>
                  </a:lnTo>
                  <a:lnTo>
                    <a:pt x="416" y="122"/>
                  </a:lnTo>
                  <a:lnTo>
                    <a:pt x="418" y="126"/>
                  </a:lnTo>
                  <a:lnTo>
                    <a:pt x="418" y="126"/>
                  </a:lnTo>
                  <a:lnTo>
                    <a:pt x="422" y="128"/>
                  </a:lnTo>
                  <a:lnTo>
                    <a:pt x="424" y="128"/>
                  </a:lnTo>
                  <a:lnTo>
                    <a:pt x="426" y="128"/>
                  </a:lnTo>
                  <a:lnTo>
                    <a:pt x="428" y="128"/>
                  </a:lnTo>
                  <a:lnTo>
                    <a:pt x="428" y="124"/>
                  </a:lnTo>
                  <a:lnTo>
                    <a:pt x="432" y="124"/>
                  </a:lnTo>
                  <a:lnTo>
                    <a:pt x="434" y="120"/>
                  </a:lnTo>
                  <a:lnTo>
                    <a:pt x="434" y="120"/>
                  </a:lnTo>
                  <a:lnTo>
                    <a:pt x="436" y="124"/>
                  </a:lnTo>
                  <a:lnTo>
                    <a:pt x="438" y="124"/>
                  </a:lnTo>
                  <a:lnTo>
                    <a:pt x="444" y="118"/>
                  </a:lnTo>
                  <a:lnTo>
                    <a:pt x="444" y="116"/>
                  </a:lnTo>
                  <a:lnTo>
                    <a:pt x="438" y="108"/>
                  </a:lnTo>
                  <a:lnTo>
                    <a:pt x="438" y="106"/>
                  </a:lnTo>
                  <a:lnTo>
                    <a:pt x="440" y="104"/>
                  </a:lnTo>
                  <a:lnTo>
                    <a:pt x="440" y="102"/>
                  </a:lnTo>
                  <a:lnTo>
                    <a:pt x="434" y="98"/>
                  </a:lnTo>
                  <a:lnTo>
                    <a:pt x="430" y="100"/>
                  </a:lnTo>
                  <a:lnTo>
                    <a:pt x="430" y="98"/>
                  </a:lnTo>
                  <a:lnTo>
                    <a:pt x="426" y="92"/>
                  </a:lnTo>
                  <a:lnTo>
                    <a:pt x="426" y="86"/>
                  </a:lnTo>
                  <a:lnTo>
                    <a:pt x="428" y="84"/>
                  </a:lnTo>
                  <a:lnTo>
                    <a:pt x="428" y="82"/>
                  </a:lnTo>
                  <a:lnTo>
                    <a:pt x="428" y="80"/>
                  </a:lnTo>
                  <a:lnTo>
                    <a:pt x="430" y="80"/>
                  </a:lnTo>
                  <a:lnTo>
                    <a:pt x="426" y="74"/>
                  </a:lnTo>
                  <a:lnTo>
                    <a:pt x="426" y="72"/>
                  </a:lnTo>
                  <a:lnTo>
                    <a:pt x="428" y="72"/>
                  </a:lnTo>
                  <a:lnTo>
                    <a:pt x="432" y="72"/>
                  </a:lnTo>
                  <a:lnTo>
                    <a:pt x="436" y="70"/>
                  </a:lnTo>
                  <a:lnTo>
                    <a:pt x="442" y="72"/>
                  </a:lnTo>
                  <a:lnTo>
                    <a:pt x="444" y="72"/>
                  </a:lnTo>
                  <a:lnTo>
                    <a:pt x="446" y="68"/>
                  </a:lnTo>
                  <a:lnTo>
                    <a:pt x="450" y="64"/>
                  </a:lnTo>
                  <a:lnTo>
                    <a:pt x="450" y="58"/>
                  </a:lnTo>
                  <a:lnTo>
                    <a:pt x="456" y="58"/>
                  </a:lnTo>
                  <a:lnTo>
                    <a:pt x="456" y="56"/>
                  </a:lnTo>
                  <a:lnTo>
                    <a:pt x="456" y="56"/>
                  </a:lnTo>
                  <a:lnTo>
                    <a:pt x="456" y="54"/>
                  </a:lnTo>
                  <a:lnTo>
                    <a:pt x="458" y="52"/>
                  </a:lnTo>
                  <a:lnTo>
                    <a:pt x="458" y="50"/>
                  </a:lnTo>
                  <a:lnTo>
                    <a:pt x="466" y="46"/>
                  </a:lnTo>
                  <a:lnTo>
                    <a:pt x="466" y="44"/>
                  </a:lnTo>
                  <a:lnTo>
                    <a:pt x="468" y="40"/>
                  </a:lnTo>
                  <a:lnTo>
                    <a:pt x="470" y="30"/>
                  </a:lnTo>
                  <a:lnTo>
                    <a:pt x="472" y="30"/>
                  </a:lnTo>
                  <a:lnTo>
                    <a:pt x="472" y="24"/>
                  </a:lnTo>
                  <a:lnTo>
                    <a:pt x="478" y="22"/>
                  </a:lnTo>
                  <a:lnTo>
                    <a:pt x="476" y="20"/>
                  </a:lnTo>
                  <a:lnTo>
                    <a:pt x="476" y="18"/>
                  </a:lnTo>
                  <a:lnTo>
                    <a:pt x="472" y="18"/>
                  </a:lnTo>
                  <a:lnTo>
                    <a:pt x="468" y="22"/>
                  </a:lnTo>
                  <a:lnTo>
                    <a:pt x="468" y="22"/>
                  </a:lnTo>
                  <a:lnTo>
                    <a:pt x="466" y="20"/>
                  </a:lnTo>
                  <a:lnTo>
                    <a:pt x="464" y="14"/>
                  </a:lnTo>
                  <a:lnTo>
                    <a:pt x="462" y="16"/>
                  </a:lnTo>
                  <a:lnTo>
                    <a:pt x="460" y="16"/>
                  </a:lnTo>
                  <a:lnTo>
                    <a:pt x="458" y="14"/>
                  </a:lnTo>
                  <a:lnTo>
                    <a:pt x="456" y="14"/>
                  </a:lnTo>
                  <a:lnTo>
                    <a:pt x="456" y="12"/>
                  </a:lnTo>
                  <a:lnTo>
                    <a:pt x="456" y="8"/>
                  </a:lnTo>
                  <a:lnTo>
                    <a:pt x="454" y="6"/>
                  </a:lnTo>
                  <a:lnTo>
                    <a:pt x="452" y="6"/>
                  </a:lnTo>
                  <a:lnTo>
                    <a:pt x="452" y="4"/>
                  </a:lnTo>
                  <a:lnTo>
                    <a:pt x="450" y="4"/>
                  </a:lnTo>
                  <a:lnTo>
                    <a:pt x="448" y="2"/>
                  </a:lnTo>
                  <a:lnTo>
                    <a:pt x="446" y="2"/>
                  </a:lnTo>
                  <a:lnTo>
                    <a:pt x="444" y="0"/>
                  </a:lnTo>
                  <a:lnTo>
                    <a:pt x="442" y="2"/>
                  </a:lnTo>
                  <a:lnTo>
                    <a:pt x="438" y="2"/>
                  </a:lnTo>
                  <a:lnTo>
                    <a:pt x="434" y="4"/>
                  </a:lnTo>
                  <a:lnTo>
                    <a:pt x="426" y="4"/>
                  </a:lnTo>
                  <a:lnTo>
                    <a:pt x="410" y="12"/>
                  </a:lnTo>
                  <a:lnTo>
                    <a:pt x="406" y="14"/>
                  </a:lnTo>
                  <a:lnTo>
                    <a:pt x="404" y="14"/>
                  </a:lnTo>
                  <a:lnTo>
                    <a:pt x="402" y="16"/>
                  </a:lnTo>
                  <a:lnTo>
                    <a:pt x="398" y="14"/>
                  </a:lnTo>
                  <a:lnTo>
                    <a:pt x="394" y="16"/>
                  </a:lnTo>
                  <a:lnTo>
                    <a:pt x="392" y="16"/>
                  </a:lnTo>
                  <a:lnTo>
                    <a:pt x="370" y="28"/>
                  </a:lnTo>
                  <a:lnTo>
                    <a:pt x="368" y="30"/>
                  </a:lnTo>
                  <a:lnTo>
                    <a:pt x="368" y="32"/>
                  </a:lnTo>
                  <a:lnTo>
                    <a:pt x="368" y="34"/>
                  </a:lnTo>
                  <a:lnTo>
                    <a:pt x="366" y="38"/>
                  </a:lnTo>
                  <a:lnTo>
                    <a:pt x="364" y="40"/>
                  </a:lnTo>
                  <a:lnTo>
                    <a:pt x="362" y="38"/>
                  </a:lnTo>
                  <a:lnTo>
                    <a:pt x="360" y="36"/>
                  </a:lnTo>
                  <a:lnTo>
                    <a:pt x="348" y="36"/>
                  </a:lnTo>
                  <a:lnTo>
                    <a:pt x="348" y="36"/>
                  </a:lnTo>
                  <a:lnTo>
                    <a:pt x="344" y="40"/>
                  </a:lnTo>
                  <a:lnTo>
                    <a:pt x="342" y="40"/>
                  </a:lnTo>
                  <a:lnTo>
                    <a:pt x="340" y="40"/>
                  </a:lnTo>
                  <a:lnTo>
                    <a:pt x="336" y="38"/>
                  </a:lnTo>
                  <a:lnTo>
                    <a:pt x="332" y="38"/>
                  </a:lnTo>
                  <a:lnTo>
                    <a:pt x="330" y="40"/>
                  </a:lnTo>
                  <a:lnTo>
                    <a:pt x="328" y="42"/>
                  </a:lnTo>
                  <a:lnTo>
                    <a:pt x="326" y="42"/>
                  </a:lnTo>
                  <a:lnTo>
                    <a:pt x="324" y="42"/>
                  </a:lnTo>
                  <a:lnTo>
                    <a:pt x="322" y="42"/>
                  </a:lnTo>
                  <a:lnTo>
                    <a:pt x="320" y="40"/>
                  </a:lnTo>
                  <a:lnTo>
                    <a:pt x="312" y="40"/>
                  </a:lnTo>
                  <a:lnTo>
                    <a:pt x="310" y="38"/>
                  </a:lnTo>
                  <a:lnTo>
                    <a:pt x="306" y="38"/>
                  </a:lnTo>
                  <a:lnTo>
                    <a:pt x="284" y="26"/>
                  </a:lnTo>
                  <a:lnTo>
                    <a:pt x="280" y="26"/>
                  </a:lnTo>
                  <a:lnTo>
                    <a:pt x="278" y="28"/>
                  </a:lnTo>
                  <a:lnTo>
                    <a:pt x="274" y="28"/>
                  </a:lnTo>
                  <a:lnTo>
                    <a:pt x="272" y="28"/>
                  </a:lnTo>
                  <a:lnTo>
                    <a:pt x="270" y="28"/>
                  </a:lnTo>
                  <a:lnTo>
                    <a:pt x="270" y="34"/>
                  </a:lnTo>
                  <a:lnTo>
                    <a:pt x="264" y="40"/>
                  </a:lnTo>
                  <a:lnTo>
                    <a:pt x="264" y="42"/>
                  </a:lnTo>
                  <a:lnTo>
                    <a:pt x="268" y="42"/>
                  </a:lnTo>
                  <a:lnTo>
                    <a:pt x="270" y="44"/>
                  </a:lnTo>
                  <a:lnTo>
                    <a:pt x="270" y="46"/>
                  </a:lnTo>
                  <a:lnTo>
                    <a:pt x="266" y="48"/>
                  </a:lnTo>
                  <a:lnTo>
                    <a:pt x="266" y="48"/>
                  </a:lnTo>
                  <a:lnTo>
                    <a:pt x="266" y="50"/>
                  </a:lnTo>
                  <a:lnTo>
                    <a:pt x="266" y="52"/>
                  </a:lnTo>
                  <a:lnTo>
                    <a:pt x="268" y="54"/>
                  </a:lnTo>
                  <a:lnTo>
                    <a:pt x="274" y="54"/>
                  </a:lnTo>
                  <a:lnTo>
                    <a:pt x="276" y="54"/>
                  </a:lnTo>
                  <a:lnTo>
                    <a:pt x="276" y="56"/>
                  </a:lnTo>
                  <a:lnTo>
                    <a:pt x="276" y="58"/>
                  </a:lnTo>
                  <a:lnTo>
                    <a:pt x="272" y="60"/>
                  </a:lnTo>
                  <a:lnTo>
                    <a:pt x="268" y="60"/>
                  </a:lnTo>
                  <a:lnTo>
                    <a:pt x="268" y="64"/>
                  </a:lnTo>
                  <a:lnTo>
                    <a:pt x="274" y="70"/>
                  </a:lnTo>
                  <a:lnTo>
                    <a:pt x="274" y="74"/>
                  </a:lnTo>
                  <a:lnTo>
                    <a:pt x="272" y="76"/>
                  </a:lnTo>
                  <a:lnTo>
                    <a:pt x="264" y="80"/>
                  </a:lnTo>
                  <a:lnTo>
                    <a:pt x="262" y="82"/>
                  </a:lnTo>
                  <a:lnTo>
                    <a:pt x="268" y="84"/>
                  </a:lnTo>
                  <a:lnTo>
                    <a:pt x="268" y="90"/>
                  </a:lnTo>
                  <a:lnTo>
                    <a:pt x="274" y="92"/>
                  </a:lnTo>
                  <a:lnTo>
                    <a:pt x="272" y="98"/>
                  </a:lnTo>
                  <a:lnTo>
                    <a:pt x="278" y="98"/>
                  </a:lnTo>
                  <a:lnTo>
                    <a:pt x="278" y="100"/>
                  </a:lnTo>
                  <a:lnTo>
                    <a:pt x="282" y="100"/>
                  </a:lnTo>
                  <a:lnTo>
                    <a:pt x="284" y="100"/>
                  </a:lnTo>
                  <a:lnTo>
                    <a:pt x="284" y="104"/>
                  </a:lnTo>
                  <a:lnTo>
                    <a:pt x="284" y="106"/>
                  </a:lnTo>
                  <a:lnTo>
                    <a:pt x="284" y="110"/>
                  </a:lnTo>
                  <a:lnTo>
                    <a:pt x="284" y="112"/>
                  </a:lnTo>
                  <a:lnTo>
                    <a:pt x="296" y="114"/>
                  </a:lnTo>
                  <a:lnTo>
                    <a:pt x="298" y="116"/>
                  </a:lnTo>
                  <a:lnTo>
                    <a:pt x="302" y="116"/>
                  </a:lnTo>
                  <a:lnTo>
                    <a:pt x="304" y="120"/>
                  </a:lnTo>
                  <a:lnTo>
                    <a:pt x="304" y="122"/>
                  </a:lnTo>
                  <a:lnTo>
                    <a:pt x="304" y="124"/>
                  </a:lnTo>
                  <a:lnTo>
                    <a:pt x="300" y="126"/>
                  </a:lnTo>
                  <a:lnTo>
                    <a:pt x="300" y="128"/>
                  </a:lnTo>
                  <a:lnTo>
                    <a:pt x="292" y="128"/>
                  </a:lnTo>
                  <a:lnTo>
                    <a:pt x="292" y="128"/>
                  </a:lnTo>
                  <a:lnTo>
                    <a:pt x="288" y="128"/>
                  </a:lnTo>
                  <a:lnTo>
                    <a:pt x="286" y="130"/>
                  </a:lnTo>
                  <a:lnTo>
                    <a:pt x="280" y="132"/>
                  </a:lnTo>
                  <a:lnTo>
                    <a:pt x="276" y="134"/>
                  </a:lnTo>
                  <a:lnTo>
                    <a:pt x="274" y="140"/>
                  </a:lnTo>
                  <a:lnTo>
                    <a:pt x="278" y="144"/>
                  </a:lnTo>
                  <a:lnTo>
                    <a:pt x="276" y="148"/>
                  </a:lnTo>
                  <a:lnTo>
                    <a:pt x="278" y="148"/>
                  </a:lnTo>
                  <a:lnTo>
                    <a:pt x="278" y="150"/>
                  </a:lnTo>
                  <a:lnTo>
                    <a:pt x="278" y="150"/>
                  </a:lnTo>
                  <a:lnTo>
                    <a:pt x="274" y="154"/>
                  </a:lnTo>
                  <a:lnTo>
                    <a:pt x="272" y="156"/>
                  </a:lnTo>
                  <a:lnTo>
                    <a:pt x="272" y="158"/>
                  </a:lnTo>
                  <a:lnTo>
                    <a:pt x="274" y="158"/>
                  </a:lnTo>
                  <a:lnTo>
                    <a:pt x="280" y="160"/>
                  </a:lnTo>
                  <a:lnTo>
                    <a:pt x="280" y="162"/>
                  </a:lnTo>
                  <a:lnTo>
                    <a:pt x="278" y="164"/>
                  </a:lnTo>
                  <a:lnTo>
                    <a:pt x="274" y="164"/>
                  </a:lnTo>
                  <a:lnTo>
                    <a:pt x="272" y="162"/>
                  </a:lnTo>
                  <a:lnTo>
                    <a:pt x="270" y="166"/>
                  </a:lnTo>
                  <a:lnTo>
                    <a:pt x="262" y="168"/>
                  </a:lnTo>
                  <a:lnTo>
                    <a:pt x="254" y="176"/>
                  </a:lnTo>
                  <a:lnTo>
                    <a:pt x="250" y="176"/>
                  </a:lnTo>
                  <a:lnTo>
                    <a:pt x="244" y="182"/>
                  </a:lnTo>
                  <a:lnTo>
                    <a:pt x="242" y="186"/>
                  </a:lnTo>
                  <a:lnTo>
                    <a:pt x="242" y="190"/>
                  </a:lnTo>
                  <a:lnTo>
                    <a:pt x="240" y="194"/>
                  </a:lnTo>
                  <a:lnTo>
                    <a:pt x="234" y="196"/>
                  </a:lnTo>
                  <a:lnTo>
                    <a:pt x="230" y="196"/>
                  </a:lnTo>
                  <a:lnTo>
                    <a:pt x="226" y="198"/>
                  </a:lnTo>
                  <a:lnTo>
                    <a:pt x="202" y="224"/>
                  </a:lnTo>
                  <a:lnTo>
                    <a:pt x="182" y="234"/>
                  </a:lnTo>
                  <a:lnTo>
                    <a:pt x="160" y="258"/>
                  </a:lnTo>
                  <a:lnTo>
                    <a:pt x="156" y="258"/>
                  </a:lnTo>
                  <a:lnTo>
                    <a:pt x="140" y="256"/>
                  </a:lnTo>
                  <a:lnTo>
                    <a:pt x="132" y="258"/>
                  </a:lnTo>
                  <a:lnTo>
                    <a:pt x="128" y="260"/>
                  </a:lnTo>
                  <a:lnTo>
                    <a:pt x="126" y="260"/>
                  </a:lnTo>
                  <a:lnTo>
                    <a:pt x="124" y="260"/>
                  </a:lnTo>
                  <a:lnTo>
                    <a:pt x="120" y="248"/>
                  </a:lnTo>
                  <a:lnTo>
                    <a:pt x="118" y="246"/>
                  </a:lnTo>
                  <a:lnTo>
                    <a:pt x="116" y="246"/>
                  </a:lnTo>
                  <a:lnTo>
                    <a:pt x="80" y="270"/>
                  </a:lnTo>
                  <a:lnTo>
                    <a:pt x="74" y="284"/>
                  </a:lnTo>
                  <a:lnTo>
                    <a:pt x="72" y="286"/>
                  </a:lnTo>
                  <a:lnTo>
                    <a:pt x="74" y="290"/>
                  </a:lnTo>
                  <a:lnTo>
                    <a:pt x="78" y="292"/>
                  </a:lnTo>
                  <a:lnTo>
                    <a:pt x="82" y="292"/>
                  </a:lnTo>
                  <a:lnTo>
                    <a:pt x="86" y="294"/>
                  </a:lnTo>
                  <a:lnTo>
                    <a:pt x="92" y="296"/>
                  </a:lnTo>
                  <a:lnTo>
                    <a:pt x="94" y="296"/>
                  </a:lnTo>
                  <a:lnTo>
                    <a:pt x="96" y="300"/>
                  </a:lnTo>
                  <a:lnTo>
                    <a:pt x="96" y="300"/>
                  </a:lnTo>
                  <a:lnTo>
                    <a:pt x="94" y="304"/>
                  </a:lnTo>
                  <a:lnTo>
                    <a:pt x="88" y="314"/>
                  </a:lnTo>
                  <a:lnTo>
                    <a:pt x="88" y="318"/>
                  </a:lnTo>
                  <a:lnTo>
                    <a:pt x="88" y="320"/>
                  </a:lnTo>
                  <a:lnTo>
                    <a:pt x="94" y="328"/>
                  </a:lnTo>
                  <a:lnTo>
                    <a:pt x="96" y="328"/>
                  </a:lnTo>
                  <a:lnTo>
                    <a:pt x="102" y="328"/>
                  </a:lnTo>
                  <a:lnTo>
                    <a:pt x="104" y="328"/>
                  </a:lnTo>
                  <a:lnTo>
                    <a:pt x="104" y="330"/>
                  </a:lnTo>
                  <a:lnTo>
                    <a:pt x="102" y="342"/>
                  </a:lnTo>
                  <a:lnTo>
                    <a:pt x="106" y="346"/>
                  </a:lnTo>
                  <a:lnTo>
                    <a:pt x="106" y="350"/>
                  </a:lnTo>
                  <a:lnTo>
                    <a:pt x="110" y="358"/>
                  </a:lnTo>
                  <a:lnTo>
                    <a:pt x="112" y="360"/>
                  </a:lnTo>
                  <a:lnTo>
                    <a:pt x="112" y="362"/>
                  </a:lnTo>
                  <a:lnTo>
                    <a:pt x="112" y="364"/>
                  </a:lnTo>
                  <a:lnTo>
                    <a:pt x="110" y="366"/>
                  </a:lnTo>
                  <a:lnTo>
                    <a:pt x="110" y="366"/>
                  </a:lnTo>
                  <a:lnTo>
                    <a:pt x="108" y="372"/>
                  </a:lnTo>
                  <a:lnTo>
                    <a:pt x="108" y="374"/>
                  </a:lnTo>
                  <a:lnTo>
                    <a:pt x="112" y="376"/>
                  </a:lnTo>
                  <a:lnTo>
                    <a:pt x="112" y="376"/>
                  </a:lnTo>
                  <a:lnTo>
                    <a:pt x="106" y="376"/>
                  </a:lnTo>
                  <a:lnTo>
                    <a:pt x="104" y="378"/>
                  </a:lnTo>
                  <a:lnTo>
                    <a:pt x="102" y="380"/>
                  </a:lnTo>
                  <a:lnTo>
                    <a:pt x="100" y="380"/>
                  </a:lnTo>
                  <a:lnTo>
                    <a:pt x="94" y="378"/>
                  </a:lnTo>
                  <a:lnTo>
                    <a:pt x="92" y="378"/>
                  </a:lnTo>
                  <a:lnTo>
                    <a:pt x="92" y="376"/>
                  </a:lnTo>
                  <a:lnTo>
                    <a:pt x="94" y="372"/>
                  </a:lnTo>
                  <a:lnTo>
                    <a:pt x="94" y="372"/>
                  </a:lnTo>
                  <a:lnTo>
                    <a:pt x="90" y="370"/>
                  </a:lnTo>
                  <a:lnTo>
                    <a:pt x="78" y="372"/>
                  </a:lnTo>
                  <a:lnTo>
                    <a:pt x="74" y="376"/>
                  </a:lnTo>
                  <a:lnTo>
                    <a:pt x="74" y="378"/>
                  </a:lnTo>
                  <a:lnTo>
                    <a:pt x="62" y="376"/>
                  </a:lnTo>
                  <a:lnTo>
                    <a:pt x="58" y="370"/>
                  </a:lnTo>
                  <a:lnTo>
                    <a:pt x="54" y="370"/>
                  </a:lnTo>
                  <a:lnTo>
                    <a:pt x="52" y="370"/>
                  </a:lnTo>
                  <a:lnTo>
                    <a:pt x="44" y="368"/>
                  </a:lnTo>
                  <a:lnTo>
                    <a:pt x="42" y="368"/>
                  </a:lnTo>
                  <a:lnTo>
                    <a:pt x="38" y="368"/>
                  </a:lnTo>
                  <a:lnTo>
                    <a:pt x="34" y="366"/>
                  </a:lnTo>
                  <a:lnTo>
                    <a:pt x="34" y="366"/>
                  </a:lnTo>
                  <a:lnTo>
                    <a:pt x="32" y="366"/>
                  </a:lnTo>
                  <a:lnTo>
                    <a:pt x="32" y="364"/>
                  </a:lnTo>
                  <a:lnTo>
                    <a:pt x="30" y="362"/>
                  </a:lnTo>
                  <a:lnTo>
                    <a:pt x="28" y="366"/>
                  </a:lnTo>
                  <a:lnTo>
                    <a:pt x="26" y="376"/>
                  </a:lnTo>
                  <a:lnTo>
                    <a:pt x="14" y="374"/>
                  </a:lnTo>
                  <a:lnTo>
                    <a:pt x="12" y="374"/>
                  </a:lnTo>
                  <a:lnTo>
                    <a:pt x="8" y="372"/>
                  </a:lnTo>
                  <a:lnTo>
                    <a:pt x="6" y="374"/>
                  </a:lnTo>
                  <a:lnTo>
                    <a:pt x="4" y="376"/>
                  </a:lnTo>
                  <a:lnTo>
                    <a:pt x="4" y="378"/>
                  </a:lnTo>
                  <a:lnTo>
                    <a:pt x="0" y="378"/>
                  </a:lnTo>
                  <a:lnTo>
                    <a:pt x="0" y="386"/>
                  </a:lnTo>
                  <a:lnTo>
                    <a:pt x="4" y="386"/>
                  </a:lnTo>
                  <a:lnTo>
                    <a:pt x="6" y="392"/>
                  </a:lnTo>
                  <a:lnTo>
                    <a:pt x="18" y="412"/>
                  </a:lnTo>
                  <a:lnTo>
                    <a:pt x="22" y="416"/>
                  </a:lnTo>
                  <a:lnTo>
                    <a:pt x="50" y="420"/>
                  </a:lnTo>
                  <a:lnTo>
                    <a:pt x="66" y="420"/>
                  </a:lnTo>
                  <a:lnTo>
                    <a:pt x="70" y="414"/>
                  </a:lnTo>
                  <a:lnTo>
                    <a:pt x="74" y="414"/>
                  </a:lnTo>
                  <a:lnTo>
                    <a:pt x="74" y="418"/>
                  </a:lnTo>
                  <a:lnTo>
                    <a:pt x="68" y="428"/>
                  </a:lnTo>
                  <a:lnTo>
                    <a:pt x="52" y="436"/>
                  </a:lnTo>
                  <a:lnTo>
                    <a:pt x="26" y="436"/>
                  </a:lnTo>
                  <a:lnTo>
                    <a:pt x="22" y="430"/>
                  </a:lnTo>
                  <a:lnTo>
                    <a:pt x="18" y="434"/>
                  </a:lnTo>
                  <a:lnTo>
                    <a:pt x="18" y="442"/>
                  </a:lnTo>
                  <a:lnTo>
                    <a:pt x="58" y="494"/>
                  </a:lnTo>
                  <a:lnTo>
                    <a:pt x="78" y="500"/>
                  </a:lnTo>
                  <a:lnTo>
                    <a:pt x="90" y="500"/>
                  </a:lnTo>
                  <a:lnTo>
                    <a:pt x="98" y="496"/>
                  </a:lnTo>
                  <a:lnTo>
                    <a:pt x="102" y="496"/>
                  </a:lnTo>
                  <a:lnTo>
                    <a:pt x="116" y="492"/>
                  </a:lnTo>
                  <a:lnTo>
                    <a:pt x="124" y="482"/>
                  </a:lnTo>
                  <a:lnTo>
                    <a:pt x="134" y="450"/>
                  </a:lnTo>
                  <a:lnTo>
                    <a:pt x="136" y="454"/>
                  </a:lnTo>
                  <a:lnTo>
                    <a:pt x="138" y="454"/>
                  </a:lnTo>
                  <a:lnTo>
                    <a:pt x="158" y="458"/>
                  </a:lnTo>
                  <a:lnTo>
                    <a:pt x="158" y="458"/>
                  </a:lnTo>
                  <a:lnTo>
                    <a:pt x="154" y="462"/>
                  </a:lnTo>
                  <a:lnTo>
                    <a:pt x="146" y="460"/>
                  </a:lnTo>
                  <a:lnTo>
                    <a:pt x="142" y="468"/>
                  </a:lnTo>
                  <a:lnTo>
                    <a:pt x="144" y="468"/>
                  </a:lnTo>
                  <a:lnTo>
                    <a:pt x="142" y="476"/>
                  </a:lnTo>
                  <a:lnTo>
                    <a:pt x="142" y="478"/>
                  </a:lnTo>
                  <a:lnTo>
                    <a:pt x="146" y="480"/>
                  </a:lnTo>
                  <a:lnTo>
                    <a:pt x="140" y="488"/>
                  </a:lnTo>
                  <a:lnTo>
                    <a:pt x="140" y="496"/>
                  </a:lnTo>
                  <a:lnTo>
                    <a:pt x="142" y="496"/>
                  </a:lnTo>
                  <a:lnTo>
                    <a:pt x="142" y="498"/>
                  </a:lnTo>
                  <a:lnTo>
                    <a:pt x="142" y="502"/>
                  </a:lnTo>
                  <a:lnTo>
                    <a:pt x="144" y="512"/>
                  </a:lnTo>
                  <a:lnTo>
                    <a:pt x="142" y="524"/>
                  </a:lnTo>
                  <a:lnTo>
                    <a:pt x="134" y="540"/>
                  </a:lnTo>
                  <a:lnTo>
                    <a:pt x="132" y="558"/>
                  </a:lnTo>
                  <a:lnTo>
                    <a:pt x="134" y="560"/>
                  </a:lnTo>
                  <a:lnTo>
                    <a:pt x="132" y="570"/>
                  </a:lnTo>
                  <a:lnTo>
                    <a:pt x="134" y="568"/>
                  </a:lnTo>
                  <a:lnTo>
                    <a:pt x="138" y="568"/>
                  </a:lnTo>
                  <a:lnTo>
                    <a:pt x="138" y="570"/>
                  </a:lnTo>
                  <a:lnTo>
                    <a:pt x="138" y="574"/>
                  </a:lnTo>
                  <a:lnTo>
                    <a:pt x="136" y="576"/>
                  </a:lnTo>
                  <a:lnTo>
                    <a:pt x="130" y="592"/>
                  </a:lnTo>
                  <a:lnTo>
                    <a:pt x="134" y="598"/>
                  </a:lnTo>
                  <a:lnTo>
                    <a:pt x="132" y="600"/>
                  </a:lnTo>
                  <a:lnTo>
                    <a:pt x="132" y="612"/>
                  </a:lnTo>
                  <a:lnTo>
                    <a:pt x="132" y="612"/>
                  </a:lnTo>
                  <a:lnTo>
                    <a:pt x="136" y="666"/>
                  </a:lnTo>
                  <a:lnTo>
                    <a:pt x="138" y="672"/>
                  </a:lnTo>
                  <a:lnTo>
                    <a:pt x="140" y="674"/>
                  </a:lnTo>
                  <a:lnTo>
                    <a:pt x="140" y="682"/>
                  </a:lnTo>
                  <a:lnTo>
                    <a:pt x="146" y="69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21" name="Freeform 481"/>
            <p:cNvSpPr>
              <a:spLocks/>
            </p:cNvSpPr>
            <p:nvPr/>
          </p:nvSpPr>
          <p:spPr bwMode="auto">
            <a:xfrm>
              <a:off x="3262313" y="4087813"/>
              <a:ext cx="1795463" cy="1543050"/>
            </a:xfrm>
            <a:custGeom>
              <a:avLst/>
              <a:gdLst>
                <a:gd name="T0" fmla="*/ 162 w 1044"/>
                <a:gd name="T1" fmla="*/ 730 h 972"/>
                <a:gd name="T2" fmla="*/ 270 w 1044"/>
                <a:gd name="T3" fmla="*/ 966 h 972"/>
                <a:gd name="T4" fmla="*/ 356 w 1044"/>
                <a:gd name="T5" fmla="*/ 906 h 972"/>
                <a:gd name="T6" fmla="*/ 390 w 1044"/>
                <a:gd name="T7" fmla="*/ 758 h 972"/>
                <a:gd name="T8" fmla="*/ 480 w 1044"/>
                <a:gd name="T9" fmla="*/ 690 h 972"/>
                <a:gd name="T10" fmla="*/ 672 w 1044"/>
                <a:gd name="T11" fmla="*/ 550 h 972"/>
                <a:gd name="T12" fmla="*/ 728 w 1044"/>
                <a:gd name="T13" fmla="*/ 518 h 972"/>
                <a:gd name="T14" fmla="*/ 740 w 1044"/>
                <a:gd name="T15" fmla="*/ 484 h 972"/>
                <a:gd name="T16" fmla="*/ 724 w 1044"/>
                <a:gd name="T17" fmla="*/ 412 h 972"/>
                <a:gd name="T18" fmla="*/ 726 w 1044"/>
                <a:gd name="T19" fmla="*/ 378 h 972"/>
                <a:gd name="T20" fmla="*/ 756 w 1044"/>
                <a:gd name="T21" fmla="*/ 358 h 972"/>
                <a:gd name="T22" fmla="*/ 868 w 1044"/>
                <a:gd name="T23" fmla="*/ 388 h 972"/>
                <a:gd name="T24" fmla="*/ 864 w 1044"/>
                <a:gd name="T25" fmla="*/ 434 h 972"/>
                <a:gd name="T26" fmla="*/ 906 w 1044"/>
                <a:gd name="T27" fmla="*/ 462 h 972"/>
                <a:gd name="T28" fmla="*/ 972 w 1044"/>
                <a:gd name="T29" fmla="*/ 352 h 972"/>
                <a:gd name="T30" fmla="*/ 1044 w 1044"/>
                <a:gd name="T31" fmla="*/ 264 h 972"/>
                <a:gd name="T32" fmla="*/ 990 w 1044"/>
                <a:gd name="T33" fmla="*/ 214 h 972"/>
                <a:gd name="T34" fmla="*/ 892 w 1044"/>
                <a:gd name="T35" fmla="*/ 270 h 972"/>
                <a:gd name="T36" fmla="*/ 862 w 1044"/>
                <a:gd name="T37" fmla="*/ 318 h 972"/>
                <a:gd name="T38" fmla="*/ 744 w 1044"/>
                <a:gd name="T39" fmla="*/ 322 h 972"/>
                <a:gd name="T40" fmla="*/ 744 w 1044"/>
                <a:gd name="T41" fmla="*/ 286 h 972"/>
                <a:gd name="T42" fmla="*/ 718 w 1044"/>
                <a:gd name="T43" fmla="*/ 328 h 972"/>
                <a:gd name="T44" fmla="*/ 636 w 1044"/>
                <a:gd name="T45" fmla="*/ 336 h 972"/>
                <a:gd name="T46" fmla="*/ 528 w 1044"/>
                <a:gd name="T47" fmla="*/ 302 h 972"/>
                <a:gd name="T48" fmla="*/ 462 w 1044"/>
                <a:gd name="T49" fmla="*/ 268 h 972"/>
                <a:gd name="T50" fmla="*/ 456 w 1044"/>
                <a:gd name="T51" fmla="*/ 242 h 972"/>
                <a:gd name="T52" fmla="*/ 478 w 1044"/>
                <a:gd name="T53" fmla="*/ 208 h 972"/>
                <a:gd name="T54" fmla="*/ 450 w 1044"/>
                <a:gd name="T55" fmla="*/ 188 h 972"/>
                <a:gd name="T56" fmla="*/ 426 w 1044"/>
                <a:gd name="T57" fmla="*/ 176 h 972"/>
                <a:gd name="T58" fmla="*/ 412 w 1044"/>
                <a:gd name="T59" fmla="*/ 150 h 972"/>
                <a:gd name="T60" fmla="*/ 418 w 1044"/>
                <a:gd name="T61" fmla="*/ 126 h 972"/>
                <a:gd name="T62" fmla="*/ 438 w 1044"/>
                <a:gd name="T63" fmla="*/ 124 h 972"/>
                <a:gd name="T64" fmla="*/ 426 w 1044"/>
                <a:gd name="T65" fmla="*/ 86 h 972"/>
                <a:gd name="T66" fmla="*/ 444 w 1044"/>
                <a:gd name="T67" fmla="*/ 72 h 972"/>
                <a:gd name="T68" fmla="*/ 466 w 1044"/>
                <a:gd name="T69" fmla="*/ 44 h 972"/>
                <a:gd name="T70" fmla="*/ 466 w 1044"/>
                <a:gd name="T71" fmla="*/ 20 h 972"/>
                <a:gd name="T72" fmla="*/ 450 w 1044"/>
                <a:gd name="T73" fmla="*/ 4 h 972"/>
                <a:gd name="T74" fmla="*/ 402 w 1044"/>
                <a:gd name="T75" fmla="*/ 16 h 972"/>
                <a:gd name="T76" fmla="*/ 360 w 1044"/>
                <a:gd name="T77" fmla="*/ 36 h 972"/>
                <a:gd name="T78" fmla="*/ 324 w 1044"/>
                <a:gd name="T79" fmla="*/ 42 h 972"/>
                <a:gd name="T80" fmla="*/ 270 w 1044"/>
                <a:gd name="T81" fmla="*/ 28 h 972"/>
                <a:gd name="T82" fmla="*/ 268 w 1044"/>
                <a:gd name="T83" fmla="*/ 54 h 972"/>
                <a:gd name="T84" fmla="*/ 264 w 1044"/>
                <a:gd name="T85" fmla="*/ 80 h 972"/>
                <a:gd name="T86" fmla="*/ 284 w 1044"/>
                <a:gd name="T87" fmla="*/ 106 h 972"/>
                <a:gd name="T88" fmla="*/ 292 w 1044"/>
                <a:gd name="T89" fmla="*/ 128 h 972"/>
                <a:gd name="T90" fmla="*/ 278 w 1044"/>
                <a:gd name="T91" fmla="*/ 150 h 972"/>
                <a:gd name="T92" fmla="*/ 262 w 1044"/>
                <a:gd name="T93" fmla="*/ 168 h 972"/>
                <a:gd name="T94" fmla="*/ 182 w 1044"/>
                <a:gd name="T95" fmla="*/ 234 h 972"/>
                <a:gd name="T96" fmla="*/ 80 w 1044"/>
                <a:gd name="T97" fmla="*/ 270 h 972"/>
                <a:gd name="T98" fmla="*/ 94 w 1044"/>
                <a:gd name="T99" fmla="*/ 304 h 972"/>
                <a:gd name="T100" fmla="*/ 106 w 1044"/>
                <a:gd name="T101" fmla="*/ 350 h 972"/>
                <a:gd name="T102" fmla="*/ 106 w 1044"/>
                <a:gd name="T103" fmla="*/ 376 h 972"/>
                <a:gd name="T104" fmla="*/ 74 w 1044"/>
                <a:gd name="T105" fmla="*/ 376 h 972"/>
                <a:gd name="T106" fmla="*/ 32 w 1044"/>
                <a:gd name="T107" fmla="*/ 366 h 972"/>
                <a:gd name="T108" fmla="*/ 0 w 1044"/>
                <a:gd name="T109" fmla="*/ 378 h 972"/>
                <a:gd name="T110" fmla="*/ 68 w 1044"/>
                <a:gd name="T111" fmla="*/ 428 h 972"/>
                <a:gd name="T112" fmla="*/ 116 w 1044"/>
                <a:gd name="T113" fmla="*/ 492 h 972"/>
                <a:gd name="T114" fmla="*/ 142 w 1044"/>
                <a:gd name="T115" fmla="*/ 476 h 972"/>
                <a:gd name="T116" fmla="*/ 132 w 1044"/>
                <a:gd name="T117" fmla="*/ 558 h 972"/>
                <a:gd name="T118" fmla="*/ 132 w 1044"/>
                <a:gd name="T119" fmla="*/ 612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4" h="972">
                  <a:moveTo>
                    <a:pt x="146" y="690"/>
                  </a:moveTo>
                  <a:lnTo>
                    <a:pt x="146" y="690"/>
                  </a:lnTo>
                  <a:lnTo>
                    <a:pt x="148" y="698"/>
                  </a:lnTo>
                  <a:lnTo>
                    <a:pt x="148" y="700"/>
                  </a:lnTo>
                  <a:lnTo>
                    <a:pt x="152" y="698"/>
                  </a:lnTo>
                  <a:lnTo>
                    <a:pt x="154" y="700"/>
                  </a:lnTo>
                  <a:lnTo>
                    <a:pt x="152" y="702"/>
                  </a:lnTo>
                  <a:lnTo>
                    <a:pt x="150" y="704"/>
                  </a:lnTo>
                  <a:lnTo>
                    <a:pt x="152" y="718"/>
                  </a:lnTo>
                  <a:lnTo>
                    <a:pt x="158" y="726"/>
                  </a:lnTo>
                  <a:lnTo>
                    <a:pt x="162" y="730"/>
                  </a:lnTo>
                  <a:lnTo>
                    <a:pt x="166" y="754"/>
                  </a:lnTo>
                  <a:lnTo>
                    <a:pt x="170" y="760"/>
                  </a:lnTo>
                  <a:lnTo>
                    <a:pt x="178" y="812"/>
                  </a:lnTo>
                  <a:lnTo>
                    <a:pt x="178" y="816"/>
                  </a:lnTo>
                  <a:lnTo>
                    <a:pt x="200" y="846"/>
                  </a:lnTo>
                  <a:lnTo>
                    <a:pt x="216" y="928"/>
                  </a:lnTo>
                  <a:lnTo>
                    <a:pt x="244" y="972"/>
                  </a:lnTo>
                  <a:lnTo>
                    <a:pt x="256" y="972"/>
                  </a:lnTo>
                  <a:lnTo>
                    <a:pt x="264" y="968"/>
                  </a:lnTo>
                  <a:lnTo>
                    <a:pt x="264" y="968"/>
                  </a:lnTo>
                  <a:lnTo>
                    <a:pt x="270" y="966"/>
                  </a:lnTo>
                  <a:lnTo>
                    <a:pt x="274" y="962"/>
                  </a:lnTo>
                  <a:lnTo>
                    <a:pt x="276" y="958"/>
                  </a:lnTo>
                  <a:lnTo>
                    <a:pt x="276" y="956"/>
                  </a:lnTo>
                  <a:lnTo>
                    <a:pt x="284" y="944"/>
                  </a:lnTo>
                  <a:lnTo>
                    <a:pt x="314" y="938"/>
                  </a:lnTo>
                  <a:lnTo>
                    <a:pt x="314" y="932"/>
                  </a:lnTo>
                  <a:lnTo>
                    <a:pt x="316" y="926"/>
                  </a:lnTo>
                  <a:lnTo>
                    <a:pt x="336" y="904"/>
                  </a:lnTo>
                  <a:lnTo>
                    <a:pt x="346" y="902"/>
                  </a:lnTo>
                  <a:lnTo>
                    <a:pt x="348" y="906"/>
                  </a:lnTo>
                  <a:lnTo>
                    <a:pt x="356" y="906"/>
                  </a:lnTo>
                  <a:lnTo>
                    <a:pt x="364" y="852"/>
                  </a:lnTo>
                  <a:lnTo>
                    <a:pt x="390" y="806"/>
                  </a:lnTo>
                  <a:lnTo>
                    <a:pt x="390" y="798"/>
                  </a:lnTo>
                  <a:lnTo>
                    <a:pt x="386" y="794"/>
                  </a:lnTo>
                  <a:lnTo>
                    <a:pt x="386" y="792"/>
                  </a:lnTo>
                  <a:lnTo>
                    <a:pt x="384" y="790"/>
                  </a:lnTo>
                  <a:lnTo>
                    <a:pt x="386" y="788"/>
                  </a:lnTo>
                  <a:lnTo>
                    <a:pt x="388" y="790"/>
                  </a:lnTo>
                  <a:lnTo>
                    <a:pt x="386" y="770"/>
                  </a:lnTo>
                  <a:lnTo>
                    <a:pt x="388" y="764"/>
                  </a:lnTo>
                  <a:lnTo>
                    <a:pt x="390" y="758"/>
                  </a:lnTo>
                  <a:lnTo>
                    <a:pt x="390" y="756"/>
                  </a:lnTo>
                  <a:lnTo>
                    <a:pt x="388" y="752"/>
                  </a:lnTo>
                  <a:lnTo>
                    <a:pt x="388" y="732"/>
                  </a:lnTo>
                  <a:lnTo>
                    <a:pt x="402" y="718"/>
                  </a:lnTo>
                  <a:lnTo>
                    <a:pt x="410" y="714"/>
                  </a:lnTo>
                  <a:lnTo>
                    <a:pt x="416" y="714"/>
                  </a:lnTo>
                  <a:lnTo>
                    <a:pt x="422" y="718"/>
                  </a:lnTo>
                  <a:lnTo>
                    <a:pt x="428" y="716"/>
                  </a:lnTo>
                  <a:lnTo>
                    <a:pt x="438" y="702"/>
                  </a:lnTo>
                  <a:lnTo>
                    <a:pt x="476" y="694"/>
                  </a:lnTo>
                  <a:lnTo>
                    <a:pt x="480" y="690"/>
                  </a:lnTo>
                  <a:lnTo>
                    <a:pt x="482" y="682"/>
                  </a:lnTo>
                  <a:lnTo>
                    <a:pt x="486" y="676"/>
                  </a:lnTo>
                  <a:lnTo>
                    <a:pt x="556" y="634"/>
                  </a:lnTo>
                  <a:lnTo>
                    <a:pt x="558" y="632"/>
                  </a:lnTo>
                  <a:lnTo>
                    <a:pt x="560" y="632"/>
                  </a:lnTo>
                  <a:lnTo>
                    <a:pt x="594" y="600"/>
                  </a:lnTo>
                  <a:lnTo>
                    <a:pt x="644" y="576"/>
                  </a:lnTo>
                  <a:lnTo>
                    <a:pt x="646" y="576"/>
                  </a:lnTo>
                  <a:lnTo>
                    <a:pt x="664" y="562"/>
                  </a:lnTo>
                  <a:lnTo>
                    <a:pt x="666" y="558"/>
                  </a:lnTo>
                  <a:lnTo>
                    <a:pt x="672" y="550"/>
                  </a:lnTo>
                  <a:lnTo>
                    <a:pt x="670" y="536"/>
                  </a:lnTo>
                  <a:lnTo>
                    <a:pt x="674" y="526"/>
                  </a:lnTo>
                  <a:lnTo>
                    <a:pt x="708" y="512"/>
                  </a:lnTo>
                  <a:lnTo>
                    <a:pt x="716" y="498"/>
                  </a:lnTo>
                  <a:lnTo>
                    <a:pt x="718" y="498"/>
                  </a:lnTo>
                  <a:lnTo>
                    <a:pt x="716" y="514"/>
                  </a:lnTo>
                  <a:lnTo>
                    <a:pt x="716" y="514"/>
                  </a:lnTo>
                  <a:lnTo>
                    <a:pt x="718" y="514"/>
                  </a:lnTo>
                  <a:lnTo>
                    <a:pt x="720" y="514"/>
                  </a:lnTo>
                  <a:lnTo>
                    <a:pt x="722" y="520"/>
                  </a:lnTo>
                  <a:lnTo>
                    <a:pt x="728" y="518"/>
                  </a:lnTo>
                  <a:lnTo>
                    <a:pt x="732" y="516"/>
                  </a:lnTo>
                  <a:lnTo>
                    <a:pt x="734" y="516"/>
                  </a:lnTo>
                  <a:lnTo>
                    <a:pt x="736" y="512"/>
                  </a:lnTo>
                  <a:lnTo>
                    <a:pt x="736" y="508"/>
                  </a:lnTo>
                  <a:lnTo>
                    <a:pt x="738" y="514"/>
                  </a:lnTo>
                  <a:lnTo>
                    <a:pt x="740" y="516"/>
                  </a:lnTo>
                  <a:lnTo>
                    <a:pt x="746" y="516"/>
                  </a:lnTo>
                  <a:lnTo>
                    <a:pt x="742" y="506"/>
                  </a:lnTo>
                  <a:lnTo>
                    <a:pt x="742" y="504"/>
                  </a:lnTo>
                  <a:lnTo>
                    <a:pt x="742" y="502"/>
                  </a:lnTo>
                  <a:lnTo>
                    <a:pt x="740" y="484"/>
                  </a:lnTo>
                  <a:lnTo>
                    <a:pt x="738" y="482"/>
                  </a:lnTo>
                  <a:lnTo>
                    <a:pt x="736" y="476"/>
                  </a:lnTo>
                  <a:lnTo>
                    <a:pt x="736" y="470"/>
                  </a:lnTo>
                  <a:lnTo>
                    <a:pt x="736" y="470"/>
                  </a:lnTo>
                  <a:lnTo>
                    <a:pt x="738" y="460"/>
                  </a:lnTo>
                  <a:lnTo>
                    <a:pt x="736" y="458"/>
                  </a:lnTo>
                  <a:lnTo>
                    <a:pt x="734" y="456"/>
                  </a:lnTo>
                  <a:lnTo>
                    <a:pt x="734" y="448"/>
                  </a:lnTo>
                  <a:lnTo>
                    <a:pt x="730" y="444"/>
                  </a:lnTo>
                  <a:lnTo>
                    <a:pt x="734" y="420"/>
                  </a:lnTo>
                  <a:lnTo>
                    <a:pt x="724" y="412"/>
                  </a:lnTo>
                  <a:lnTo>
                    <a:pt x="712" y="406"/>
                  </a:lnTo>
                  <a:lnTo>
                    <a:pt x="710" y="402"/>
                  </a:lnTo>
                  <a:lnTo>
                    <a:pt x="714" y="394"/>
                  </a:lnTo>
                  <a:lnTo>
                    <a:pt x="720" y="394"/>
                  </a:lnTo>
                  <a:lnTo>
                    <a:pt x="724" y="392"/>
                  </a:lnTo>
                  <a:lnTo>
                    <a:pt x="726" y="388"/>
                  </a:lnTo>
                  <a:lnTo>
                    <a:pt x="738" y="386"/>
                  </a:lnTo>
                  <a:lnTo>
                    <a:pt x="738" y="380"/>
                  </a:lnTo>
                  <a:lnTo>
                    <a:pt x="736" y="378"/>
                  </a:lnTo>
                  <a:lnTo>
                    <a:pt x="736" y="376"/>
                  </a:lnTo>
                  <a:lnTo>
                    <a:pt x="726" y="378"/>
                  </a:lnTo>
                  <a:lnTo>
                    <a:pt x="722" y="374"/>
                  </a:lnTo>
                  <a:lnTo>
                    <a:pt x="720" y="366"/>
                  </a:lnTo>
                  <a:lnTo>
                    <a:pt x="718" y="364"/>
                  </a:lnTo>
                  <a:lnTo>
                    <a:pt x="728" y="350"/>
                  </a:lnTo>
                  <a:lnTo>
                    <a:pt x="730" y="342"/>
                  </a:lnTo>
                  <a:lnTo>
                    <a:pt x="732" y="342"/>
                  </a:lnTo>
                  <a:lnTo>
                    <a:pt x="742" y="356"/>
                  </a:lnTo>
                  <a:lnTo>
                    <a:pt x="746" y="344"/>
                  </a:lnTo>
                  <a:lnTo>
                    <a:pt x="750" y="344"/>
                  </a:lnTo>
                  <a:lnTo>
                    <a:pt x="750" y="354"/>
                  </a:lnTo>
                  <a:lnTo>
                    <a:pt x="756" y="358"/>
                  </a:lnTo>
                  <a:lnTo>
                    <a:pt x="760" y="356"/>
                  </a:lnTo>
                  <a:lnTo>
                    <a:pt x="764" y="360"/>
                  </a:lnTo>
                  <a:lnTo>
                    <a:pt x="770" y="350"/>
                  </a:lnTo>
                  <a:lnTo>
                    <a:pt x="772" y="354"/>
                  </a:lnTo>
                  <a:lnTo>
                    <a:pt x="776" y="376"/>
                  </a:lnTo>
                  <a:lnTo>
                    <a:pt x="780" y="380"/>
                  </a:lnTo>
                  <a:lnTo>
                    <a:pt x="788" y="382"/>
                  </a:lnTo>
                  <a:lnTo>
                    <a:pt x="816" y="384"/>
                  </a:lnTo>
                  <a:lnTo>
                    <a:pt x="818" y="382"/>
                  </a:lnTo>
                  <a:lnTo>
                    <a:pt x="868" y="386"/>
                  </a:lnTo>
                  <a:lnTo>
                    <a:pt x="868" y="388"/>
                  </a:lnTo>
                  <a:lnTo>
                    <a:pt x="860" y="392"/>
                  </a:lnTo>
                  <a:lnTo>
                    <a:pt x="858" y="400"/>
                  </a:lnTo>
                  <a:lnTo>
                    <a:pt x="826" y="426"/>
                  </a:lnTo>
                  <a:lnTo>
                    <a:pt x="826" y="430"/>
                  </a:lnTo>
                  <a:lnTo>
                    <a:pt x="830" y="452"/>
                  </a:lnTo>
                  <a:lnTo>
                    <a:pt x="838" y="452"/>
                  </a:lnTo>
                  <a:lnTo>
                    <a:pt x="842" y="458"/>
                  </a:lnTo>
                  <a:lnTo>
                    <a:pt x="846" y="460"/>
                  </a:lnTo>
                  <a:lnTo>
                    <a:pt x="854" y="442"/>
                  </a:lnTo>
                  <a:lnTo>
                    <a:pt x="860" y="434"/>
                  </a:lnTo>
                  <a:lnTo>
                    <a:pt x="864" y="434"/>
                  </a:lnTo>
                  <a:lnTo>
                    <a:pt x="884" y="498"/>
                  </a:lnTo>
                  <a:lnTo>
                    <a:pt x="888" y="494"/>
                  </a:lnTo>
                  <a:lnTo>
                    <a:pt x="896" y="494"/>
                  </a:lnTo>
                  <a:lnTo>
                    <a:pt x="898" y="494"/>
                  </a:lnTo>
                  <a:lnTo>
                    <a:pt x="902" y="490"/>
                  </a:lnTo>
                  <a:lnTo>
                    <a:pt x="902" y="486"/>
                  </a:lnTo>
                  <a:lnTo>
                    <a:pt x="900" y="486"/>
                  </a:lnTo>
                  <a:lnTo>
                    <a:pt x="898" y="480"/>
                  </a:lnTo>
                  <a:lnTo>
                    <a:pt x="898" y="470"/>
                  </a:lnTo>
                  <a:lnTo>
                    <a:pt x="898" y="462"/>
                  </a:lnTo>
                  <a:lnTo>
                    <a:pt x="906" y="462"/>
                  </a:lnTo>
                  <a:lnTo>
                    <a:pt x="908" y="460"/>
                  </a:lnTo>
                  <a:lnTo>
                    <a:pt x="910" y="432"/>
                  </a:lnTo>
                  <a:lnTo>
                    <a:pt x="914" y="426"/>
                  </a:lnTo>
                  <a:lnTo>
                    <a:pt x="924" y="424"/>
                  </a:lnTo>
                  <a:lnTo>
                    <a:pt x="936" y="424"/>
                  </a:lnTo>
                  <a:lnTo>
                    <a:pt x="940" y="420"/>
                  </a:lnTo>
                  <a:lnTo>
                    <a:pt x="956" y="378"/>
                  </a:lnTo>
                  <a:lnTo>
                    <a:pt x="954" y="374"/>
                  </a:lnTo>
                  <a:lnTo>
                    <a:pt x="958" y="368"/>
                  </a:lnTo>
                  <a:lnTo>
                    <a:pt x="968" y="360"/>
                  </a:lnTo>
                  <a:lnTo>
                    <a:pt x="972" y="352"/>
                  </a:lnTo>
                  <a:lnTo>
                    <a:pt x="970" y="336"/>
                  </a:lnTo>
                  <a:lnTo>
                    <a:pt x="974" y="326"/>
                  </a:lnTo>
                  <a:lnTo>
                    <a:pt x="998" y="306"/>
                  </a:lnTo>
                  <a:lnTo>
                    <a:pt x="1002" y="298"/>
                  </a:lnTo>
                  <a:lnTo>
                    <a:pt x="1020" y="292"/>
                  </a:lnTo>
                  <a:lnTo>
                    <a:pt x="1032" y="294"/>
                  </a:lnTo>
                  <a:lnTo>
                    <a:pt x="1034" y="290"/>
                  </a:lnTo>
                  <a:lnTo>
                    <a:pt x="1032" y="280"/>
                  </a:lnTo>
                  <a:lnTo>
                    <a:pt x="1034" y="272"/>
                  </a:lnTo>
                  <a:lnTo>
                    <a:pt x="1040" y="268"/>
                  </a:lnTo>
                  <a:lnTo>
                    <a:pt x="1044" y="264"/>
                  </a:lnTo>
                  <a:lnTo>
                    <a:pt x="1042" y="256"/>
                  </a:lnTo>
                  <a:lnTo>
                    <a:pt x="1040" y="250"/>
                  </a:lnTo>
                  <a:lnTo>
                    <a:pt x="1032" y="248"/>
                  </a:lnTo>
                  <a:lnTo>
                    <a:pt x="1024" y="250"/>
                  </a:lnTo>
                  <a:lnTo>
                    <a:pt x="1018" y="248"/>
                  </a:lnTo>
                  <a:lnTo>
                    <a:pt x="1006" y="250"/>
                  </a:lnTo>
                  <a:lnTo>
                    <a:pt x="1006" y="232"/>
                  </a:lnTo>
                  <a:lnTo>
                    <a:pt x="1000" y="232"/>
                  </a:lnTo>
                  <a:lnTo>
                    <a:pt x="998" y="226"/>
                  </a:lnTo>
                  <a:lnTo>
                    <a:pt x="998" y="220"/>
                  </a:lnTo>
                  <a:lnTo>
                    <a:pt x="990" y="214"/>
                  </a:lnTo>
                  <a:lnTo>
                    <a:pt x="984" y="218"/>
                  </a:lnTo>
                  <a:lnTo>
                    <a:pt x="976" y="224"/>
                  </a:lnTo>
                  <a:lnTo>
                    <a:pt x="954" y="230"/>
                  </a:lnTo>
                  <a:lnTo>
                    <a:pt x="950" y="230"/>
                  </a:lnTo>
                  <a:lnTo>
                    <a:pt x="944" y="226"/>
                  </a:lnTo>
                  <a:lnTo>
                    <a:pt x="942" y="226"/>
                  </a:lnTo>
                  <a:lnTo>
                    <a:pt x="930" y="234"/>
                  </a:lnTo>
                  <a:lnTo>
                    <a:pt x="928" y="240"/>
                  </a:lnTo>
                  <a:lnTo>
                    <a:pt x="916" y="252"/>
                  </a:lnTo>
                  <a:lnTo>
                    <a:pt x="906" y="256"/>
                  </a:lnTo>
                  <a:lnTo>
                    <a:pt x="892" y="270"/>
                  </a:lnTo>
                  <a:lnTo>
                    <a:pt x="848" y="290"/>
                  </a:lnTo>
                  <a:lnTo>
                    <a:pt x="848" y="290"/>
                  </a:lnTo>
                  <a:lnTo>
                    <a:pt x="848" y="292"/>
                  </a:lnTo>
                  <a:lnTo>
                    <a:pt x="846" y="296"/>
                  </a:lnTo>
                  <a:lnTo>
                    <a:pt x="846" y="298"/>
                  </a:lnTo>
                  <a:lnTo>
                    <a:pt x="848" y="298"/>
                  </a:lnTo>
                  <a:lnTo>
                    <a:pt x="858" y="302"/>
                  </a:lnTo>
                  <a:lnTo>
                    <a:pt x="862" y="306"/>
                  </a:lnTo>
                  <a:lnTo>
                    <a:pt x="862" y="314"/>
                  </a:lnTo>
                  <a:lnTo>
                    <a:pt x="862" y="316"/>
                  </a:lnTo>
                  <a:lnTo>
                    <a:pt x="862" y="318"/>
                  </a:lnTo>
                  <a:lnTo>
                    <a:pt x="858" y="320"/>
                  </a:lnTo>
                  <a:lnTo>
                    <a:pt x="818" y="328"/>
                  </a:lnTo>
                  <a:lnTo>
                    <a:pt x="806" y="328"/>
                  </a:lnTo>
                  <a:lnTo>
                    <a:pt x="788" y="332"/>
                  </a:lnTo>
                  <a:lnTo>
                    <a:pt x="760" y="332"/>
                  </a:lnTo>
                  <a:lnTo>
                    <a:pt x="752" y="328"/>
                  </a:lnTo>
                  <a:lnTo>
                    <a:pt x="748" y="330"/>
                  </a:lnTo>
                  <a:lnTo>
                    <a:pt x="748" y="328"/>
                  </a:lnTo>
                  <a:lnTo>
                    <a:pt x="748" y="324"/>
                  </a:lnTo>
                  <a:lnTo>
                    <a:pt x="748" y="322"/>
                  </a:lnTo>
                  <a:lnTo>
                    <a:pt x="744" y="322"/>
                  </a:lnTo>
                  <a:lnTo>
                    <a:pt x="744" y="320"/>
                  </a:lnTo>
                  <a:lnTo>
                    <a:pt x="750" y="314"/>
                  </a:lnTo>
                  <a:lnTo>
                    <a:pt x="750" y="312"/>
                  </a:lnTo>
                  <a:lnTo>
                    <a:pt x="746" y="312"/>
                  </a:lnTo>
                  <a:lnTo>
                    <a:pt x="744" y="310"/>
                  </a:lnTo>
                  <a:lnTo>
                    <a:pt x="744" y="310"/>
                  </a:lnTo>
                  <a:lnTo>
                    <a:pt x="744" y="304"/>
                  </a:lnTo>
                  <a:lnTo>
                    <a:pt x="746" y="298"/>
                  </a:lnTo>
                  <a:lnTo>
                    <a:pt x="746" y="294"/>
                  </a:lnTo>
                  <a:lnTo>
                    <a:pt x="744" y="288"/>
                  </a:lnTo>
                  <a:lnTo>
                    <a:pt x="744" y="286"/>
                  </a:lnTo>
                  <a:lnTo>
                    <a:pt x="740" y="286"/>
                  </a:lnTo>
                  <a:lnTo>
                    <a:pt x="738" y="286"/>
                  </a:lnTo>
                  <a:lnTo>
                    <a:pt x="732" y="290"/>
                  </a:lnTo>
                  <a:lnTo>
                    <a:pt x="728" y="290"/>
                  </a:lnTo>
                  <a:lnTo>
                    <a:pt x="722" y="292"/>
                  </a:lnTo>
                  <a:lnTo>
                    <a:pt x="722" y="294"/>
                  </a:lnTo>
                  <a:lnTo>
                    <a:pt x="718" y="298"/>
                  </a:lnTo>
                  <a:lnTo>
                    <a:pt x="716" y="320"/>
                  </a:lnTo>
                  <a:lnTo>
                    <a:pt x="714" y="324"/>
                  </a:lnTo>
                  <a:lnTo>
                    <a:pt x="714" y="326"/>
                  </a:lnTo>
                  <a:lnTo>
                    <a:pt x="718" y="328"/>
                  </a:lnTo>
                  <a:lnTo>
                    <a:pt x="722" y="334"/>
                  </a:lnTo>
                  <a:lnTo>
                    <a:pt x="722" y="338"/>
                  </a:lnTo>
                  <a:lnTo>
                    <a:pt x="716" y="344"/>
                  </a:lnTo>
                  <a:lnTo>
                    <a:pt x="716" y="346"/>
                  </a:lnTo>
                  <a:lnTo>
                    <a:pt x="710" y="346"/>
                  </a:lnTo>
                  <a:lnTo>
                    <a:pt x="702" y="348"/>
                  </a:lnTo>
                  <a:lnTo>
                    <a:pt x="692" y="346"/>
                  </a:lnTo>
                  <a:lnTo>
                    <a:pt x="688" y="348"/>
                  </a:lnTo>
                  <a:lnTo>
                    <a:pt x="682" y="346"/>
                  </a:lnTo>
                  <a:lnTo>
                    <a:pt x="640" y="340"/>
                  </a:lnTo>
                  <a:lnTo>
                    <a:pt x="636" y="336"/>
                  </a:lnTo>
                  <a:lnTo>
                    <a:pt x="610" y="334"/>
                  </a:lnTo>
                  <a:lnTo>
                    <a:pt x="598" y="326"/>
                  </a:lnTo>
                  <a:lnTo>
                    <a:pt x="594" y="318"/>
                  </a:lnTo>
                  <a:lnTo>
                    <a:pt x="590" y="314"/>
                  </a:lnTo>
                  <a:lnTo>
                    <a:pt x="576" y="312"/>
                  </a:lnTo>
                  <a:lnTo>
                    <a:pt x="574" y="314"/>
                  </a:lnTo>
                  <a:lnTo>
                    <a:pt x="558" y="312"/>
                  </a:lnTo>
                  <a:lnTo>
                    <a:pt x="552" y="314"/>
                  </a:lnTo>
                  <a:lnTo>
                    <a:pt x="536" y="312"/>
                  </a:lnTo>
                  <a:lnTo>
                    <a:pt x="530" y="304"/>
                  </a:lnTo>
                  <a:lnTo>
                    <a:pt x="528" y="302"/>
                  </a:lnTo>
                  <a:lnTo>
                    <a:pt x="520" y="302"/>
                  </a:lnTo>
                  <a:lnTo>
                    <a:pt x="516" y="296"/>
                  </a:lnTo>
                  <a:lnTo>
                    <a:pt x="508" y="294"/>
                  </a:lnTo>
                  <a:lnTo>
                    <a:pt x="502" y="294"/>
                  </a:lnTo>
                  <a:lnTo>
                    <a:pt x="492" y="288"/>
                  </a:lnTo>
                  <a:lnTo>
                    <a:pt x="486" y="278"/>
                  </a:lnTo>
                  <a:lnTo>
                    <a:pt x="476" y="272"/>
                  </a:lnTo>
                  <a:lnTo>
                    <a:pt x="474" y="270"/>
                  </a:lnTo>
                  <a:lnTo>
                    <a:pt x="466" y="266"/>
                  </a:lnTo>
                  <a:lnTo>
                    <a:pt x="464" y="266"/>
                  </a:lnTo>
                  <a:lnTo>
                    <a:pt x="462" y="268"/>
                  </a:lnTo>
                  <a:lnTo>
                    <a:pt x="460" y="268"/>
                  </a:lnTo>
                  <a:lnTo>
                    <a:pt x="458" y="266"/>
                  </a:lnTo>
                  <a:lnTo>
                    <a:pt x="456" y="262"/>
                  </a:lnTo>
                  <a:lnTo>
                    <a:pt x="454" y="260"/>
                  </a:lnTo>
                  <a:lnTo>
                    <a:pt x="446" y="258"/>
                  </a:lnTo>
                  <a:lnTo>
                    <a:pt x="446" y="256"/>
                  </a:lnTo>
                  <a:lnTo>
                    <a:pt x="448" y="252"/>
                  </a:lnTo>
                  <a:lnTo>
                    <a:pt x="450" y="248"/>
                  </a:lnTo>
                  <a:lnTo>
                    <a:pt x="454" y="248"/>
                  </a:lnTo>
                  <a:lnTo>
                    <a:pt x="454" y="244"/>
                  </a:lnTo>
                  <a:lnTo>
                    <a:pt x="456" y="242"/>
                  </a:lnTo>
                  <a:lnTo>
                    <a:pt x="456" y="236"/>
                  </a:lnTo>
                  <a:lnTo>
                    <a:pt x="458" y="232"/>
                  </a:lnTo>
                  <a:lnTo>
                    <a:pt x="460" y="230"/>
                  </a:lnTo>
                  <a:lnTo>
                    <a:pt x="460" y="226"/>
                  </a:lnTo>
                  <a:lnTo>
                    <a:pt x="460" y="224"/>
                  </a:lnTo>
                  <a:lnTo>
                    <a:pt x="462" y="220"/>
                  </a:lnTo>
                  <a:lnTo>
                    <a:pt x="466" y="220"/>
                  </a:lnTo>
                  <a:lnTo>
                    <a:pt x="468" y="216"/>
                  </a:lnTo>
                  <a:lnTo>
                    <a:pt x="474" y="214"/>
                  </a:lnTo>
                  <a:lnTo>
                    <a:pt x="476" y="210"/>
                  </a:lnTo>
                  <a:lnTo>
                    <a:pt x="478" y="208"/>
                  </a:lnTo>
                  <a:lnTo>
                    <a:pt x="478" y="208"/>
                  </a:lnTo>
                  <a:lnTo>
                    <a:pt x="480" y="208"/>
                  </a:lnTo>
                  <a:lnTo>
                    <a:pt x="484" y="208"/>
                  </a:lnTo>
                  <a:lnTo>
                    <a:pt x="482" y="206"/>
                  </a:lnTo>
                  <a:lnTo>
                    <a:pt x="472" y="204"/>
                  </a:lnTo>
                  <a:lnTo>
                    <a:pt x="470" y="202"/>
                  </a:lnTo>
                  <a:lnTo>
                    <a:pt x="468" y="198"/>
                  </a:lnTo>
                  <a:lnTo>
                    <a:pt x="466" y="198"/>
                  </a:lnTo>
                  <a:lnTo>
                    <a:pt x="460" y="192"/>
                  </a:lnTo>
                  <a:lnTo>
                    <a:pt x="452" y="190"/>
                  </a:lnTo>
                  <a:lnTo>
                    <a:pt x="450" y="188"/>
                  </a:lnTo>
                  <a:lnTo>
                    <a:pt x="450" y="186"/>
                  </a:lnTo>
                  <a:lnTo>
                    <a:pt x="450" y="184"/>
                  </a:lnTo>
                  <a:lnTo>
                    <a:pt x="446" y="182"/>
                  </a:lnTo>
                  <a:lnTo>
                    <a:pt x="446" y="182"/>
                  </a:lnTo>
                  <a:lnTo>
                    <a:pt x="444" y="180"/>
                  </a:lnTo>
                  <a:lnTo>
                    <a:pt x="438" y="182"/>
                  </a:lnTo>
                  <a:lnTo>
                    <a:pt x="438" y="182"/>
                  </a:lnTo>
                  <a:lnTo>
                    <a:pt x="436" y="178"/>
                  </a:lnTo>
                  <a:lnTo>
                    <a:pt x="436" y="176"/>
                  </a:lnTo>
                  <a:lnTo>
                    <a:pt x="434" y="176"/>
                  </a:lnTo>
                  <a:lnTo>
                    <a:pt x="426" y="176"/>
                  </a:lnTo>
                  <a:lnTo>
                    <a:pt x="420" y="178"/>
                  </a:lnTo>
                  <a:lnTo>
                    <a:pt x="418" y="178"/>
                  </a:lnTo>
                  <a:lnTo>
                    <a:pt x="416" y="176"/>
                  </a:lnTo>
                  <a:lnTo>
                    <a:pt x="418" y="170"/>
                  </a:lnTo>
                  <a:lnTo>
                    <a:pt x="414" y="168"/>
                  </a:lnTo>
                  <a:lnTo>
                    <a:pt x="412" y="166"/>
                  </a:lnTo>
                  <a:lnTo>
                    <a:pt x="412" y="164"/>
                  </a:lnTo>
                  <a:lnTo>
                    <a:pt x="410" y="160"/>
                  </a:lnTo>
                  <a:lnTo>
                    <a:pt x="410" y="158"/>
                  </a:lnTo>
                  <a:lnTo>
                    <a:pt x="412" y="154"/>
                  </a:lnTo>
                  <a:lnTo>
                    <a:pt x="412" y="150"/>
                  </a:lnTo>
                  <a:lnTo>
                    <a:pt x="412" y="146"/>
                  </a:lnTo>
                  <a:lnTo>
                    <a:pt x="414" y="142"/>
                  </a:lnTo>
                  <a:lnTo>
                    <a:pt x="406" y="132"/>
                  </a:lnTo>
                  <a:lnTo>
                    <a:pt x="406" y="126"/>
                  </a:lnTo>
                  <a:lnTo>
                    <a:pt x="406" y="122"/>
                  </a:lnTo>
                  <a:lnTo>
                    <a:pt x="406" y="120"/>
                  </a:lnTo>
                  <a:lnTo>
                    <a:pt x="412" y="120"/>
                  </a:lnTo>
                  <a:lnTo>
                    <a:pt x="416" y="118"/>
                  </a:lnTo>
                  <a:lnTo>
                    <a:pt x="416" y="118"/>
                  </a:lnTo>
                  <a:lnTo>
                    <a:pt x="416" y="122"/>
                  </a:lnTo>
                  <a:lnTo>
                    <a:pt x="418" y="126"/>
                  </a:lnTo>
                  <a:lnTo>
                    <a:pt x="418" y="126"/>
                  </a:lnTo>
                  <a:lnTo>
                    <a:pt x="422" y="128"/>
                  </a:lnTo>
                  <a:lnTo>
                    <a:pt x="424" y="128"/>
                  </a:lnTo>
                  <a:lnTo>
                    <a:pt x="426" y="128"/>
                  </a:lnTo>
                  <a:lnTo>
                    <a:pt x="428" y="128"/>
                  </a:lnTo>
                  <a:lnTo>
                    <a:pt x="428" y="124"/>
                  </a:lnTo>
                  <a:lnTo>
                    <a:pt x="432" y="124"/>
                  </a:lnTo>
                  <a:lnTo>
                    <a:pt x="434" y="120"/>
                  </a:lnTo>
                  <a:lnTo>
                    <a:pt x="434" y="120"/>
                  </a:lnTo>
                  <a:lnTo>
                    <a:pt x="436" y="124"/>
                  </a:lnTo>
                  <a:lnTo>
                    <a:pt x="438" y="124"/>
                  </a:lnTo>
                  <a:lnTo>
                    <a:pt x="444" y="118"/>
                  </a:lnTo>
                  <a:lnTo>
                    <a:pt x="444" y="116"/>
                  </a:lnTo>
                  <a:lnTo>
                    <a:pt x="438" y="108"/>
                  </a:lnTo>
                  <a:lnTo>
                    <a:pt x="438" y="106"/>
                  </a:lnTo>
                  <a:lnTo>
                    <a:pt x="440" y="104"/>
                  </a:lnTo>
                  <a:lnTo>
                    <a:pt x="440" y="102"/>
                  </a:lnTo>
                  <a:lnTo>
                    <a:pt x="434" y="98"/>
                  </a:lnTo>
                  <a:lnTo>
                    <a:pt x="430" y="100"/>
                  </a:lnTo>
                  <a:lnTo>
                    <a:pt x="430" y="98"/>
                  </a:lnTo>
                  <a:lnTo>
                    <a:pt x="426" y="92"/>
                  </a:lnTo>
                  <a:lnTo>
                    <a:pt x="426" y="86"/>
                  </a:lnTo>
                  <a:lnTo>
                    <a:pt x="428" y="84"/>
                  </a:lnTo>
                  <a:lnTo>
                    <a:pt x="428" y="82"/>
                  </a:lnTo>
                  <a:lnTo>
                    <a:pt x="428" y="80"/>
                  </a:lnTo>
                  <a:lnTo>
                    <a:pt x="430" y="80"/>
                  </a:lnTo>
                  <a:lnTo>
                    <a:pt x="426" y="74"/>
                  </a:lnTo>
                  <a:lnTo>
                    <a:pt x="426" y="72"/>
                  </a:lnTo>
                  <a:lnTo>
                    <a:pt x="428" y="72"/>
                  </a:lnTo>
                  <a:lnTo>
                    <a:pt x="432" y="72"/>
                  </a:lnTo>
                  <a:lnTo>
                    <a:pt x="436" y="70"/>
                  </a:lnTo>
                  <a:lnTo>
                    <a:pt x="442" y="72"/>
                  </a:lnTo>
                  <a:lnTo>
                    <a:pt x="444" y="72"/>
                  </a:lnTo>
                  <a:lnTo>
                    <a:pt x="446" y="68"/>
                  </a:lnTo>
                  <a:lnTo>
                    <a:pt x="450" y="64"/>
                  </a:lnTo>
                  <a:lnTo>
                    <a:pt x="450" y="58"/>
                  </a:lnTo>
                  <a:lnTo>
                    <a:pt x="456" y="58"/>
                  </a:lnTo>
                  <a:lnTo>
                    <a:pt x="456" y="56"/>
                  </a:lnTo>
                  <a:lnTo>
                    <a:pt x="456" y="56"/>
                  </a:lnTo>
                  <a:lnTo>
                    <a:pt x="456" y="54"/>
                  </a:lnTo>
                  <a:lnTo>
                    <a:pt x="458" y="52"/>
                  </a:lnTo>
                  <a:lnTo>
                    <a:pt x="458" y="50"/>
                  </a:lnTo>
                  <a:lnTo>
                    <a:pt x="466" y="46"/>
                  </a:lnTo>
                  <a:lnTo>
                    <a:pt x="466" y="44"/>
                  </a:lnTo>
                  <a:lnTo>
                    <a:pt x="468" y="40"/>
                  </a:lnTo>
                  <a:lnTo>
                    <a:pt x="470" y="30"/>
                  </a:lnTo>
                  <a:lnTo>
                    <a:pt x="472" y="30"/>
                  </a:lnTo>
                  <a:lnTo>
                    <a:pt x="472" y="24"/>
                  </a:lnTo>
                  <a:lnTo>
                    <a:pt x="478" y="22"/>
                  </a:lnTo>
                  <a:lnTo>
                    <a:pt x="476" y="20"/>
                  </a:lnTo>
                  <a:lnTo>
                    <a:pt x="476" y="18"/>
                  </a:lnTo>
                  <a:lnTo>
                    <a:pt x="472" y="18"/>
                  </a:lnTo>
                  <a:lnTo>
                    <a:pt x="468" y="22"/>
                  </a:lnTo>
                  <a:lnTo>
                    <a:pt x="468" y="22"/>
                  </a:lnTo>
                  <a:lnTo>
                    <a:pt x="466" y="20"/>
                  </a:lnTo>
                  <a:lnTo>
                    <a:pt x="464" y="14"/>
                  </a:lnTo>
                  <a:lnTo>
                    <a:pt x="462" y="16"/>
                  </a:lnTo>
                  <a:lnTo>
                    <a:pt x="460" y="16"/>
                  </a:lnTo>
                  <a:lnTo>
                    <a:pt x="458" y="14"/>
                  </a:lnTo>
                  <a:lnTo>
                    <a:pt x="456" y="14"/>
                  </a:lnTo>
                  <a:lnTo>
                    <a:pt x="456" y="12"/>
                  </a:lnTo>
                  <a:lnTo>
                    <a:pt x="456" y="8"/>
                  </a:lnTo>
                  <a:lnTo>
                    <a:pt x="454" y="6"/>
                  </a:lnTo>
                  <a:lnTo>
                    <a:pt x="452" y="6"/>
                  </a:lnTo>
                  <a:lnTo>
                    <a:pt x="452" y="4"/>
                  </a:lnTo>
                  <a:lnTo>
                    <a:pt x="450" y="4"/>
                  </a:lnTo>
                  <a:lnTo>
                    <a:pt x="448" y="2"/>
                  </a:lnTo>
                  <a:lnTo>
                    <a:pt x="446" y="2"/>
                  </a:lnTo>
                  <a:lnTo>
                    <a:pt x="444" y="0"/>
                  </a:lnTo>
                  <a:lnTo>
                    <a:pt x="442" y="2"/>
                  </a:lnTo>
                  <a:lnTo>
                    <a:pt x="438" y="2"/>
                  </a:lnTo>
                  <a:lnTo>
                    <a:pt x="434" y="4"/>
                  </a:lnTo>
                  <a:lnTo>
                    <a:pt x="426" y="4"/>
                  </a:lnTo>
                  <a:lnTo>
                    <a:pt x="410" y="12"/>
                  </a:lnTo>
                  <a:lnTo>
                    <a:pt x="406" y="14"/>
                  </a:lnTo>
                  <a:lnTo>
                    <a:pt x="404" y="14"/>
                  </a:lnTo>
                  <a:lnTo>
                    <a:pt x="402" y="16"/>
                  </a:lnTo>
                  <a:lnTo>
                    <a:pt x="398" y="14"/>
                  </a:lnTo>
                  <a:lnTo>
                    <a:pt x="394" y="16"/>
                  </a:lnTo>
                  <a:lnTo>
                    <a:pt x="392" y="16"/>
                  </a:lnTo>
                  <a:lnTo>
                    <a:pt x="370" y="28"/>
                  </a:lnTo>
                  <a:lnTo>
                    <a:pt x="368" y="30"/>
                  </a:lnTo>
                  <a:lnTo>
                    <a:pt x="368" y="32"/>
                  </a:lnTo>
                  <a:lnTo>
                    <a:pt x="368" y="34"/>
                  </a:lnTo>
                  <a:lnTo>
                    <a:pt x="366" y="38"/>
                  </a:lnTo>
                  <a:lnTo>
                    <a:pt x="364" y="40"/>
                  </a:lnTo>
                  <a:lnTo>
                    <a:pt x="362" y="38"/>
                  </a:lnTo>
                  <a:lnTo>
                    <a:pt x="360" y="36"/>
                  </a:lnTo>
                  <a:lnTo>
                    <a:pt x="348" y="36"/>
                  </a:lnTo>
                  <a:lnTo>
                    <a:pt x="348" y="36"/>
                  </a:lnTo>
                  <a:lnTo>
                    <a:pt x="344" y="40"/>
                  </a:lnTo>
                  <a:lnTo>
                    <a:pt x="342" y="40"/>
                  </a:lnTo>
                  <a:lnTo>
                    <a:pt x="340" y="40"/>
                  </a:lnTo>
                  <a:lnTo>
                    <a:pt x="336" y="38"/>
                  </a:lnTo>
                  <a:lnTo>
                    <a:pt x="332" y="38"/>
                  </a:lnTo>
                  <a:lnTo>
                    <a:pt x="330" y="40"/>
                  </a:lnTo>
                  <a:lnTo>
                    <a:pt x="328" y="42"/>
                  </a:lnTo>
                  <a:lnTo>
                    <a:pt x="326" y="42"/>
                  </a:lnTo>
                  <a:lnTo>
                    <a:pt x="324" y="42"/>
                  </a:lnTo>
                  <a:lnTo>
                    <a:pt x="322" y="42"/>
                  </a:lnTo>
                  <a:lnTo>
                    <a:pt x="320" y="40"/>
                  </a:lnTo>
                  <a:lnTo>
                    <a:pt x="312" y="40"/>
                  </a:lnTo>
                  <a:lnTo>
                    <a:pt x="310" y="38"/>
                  </a:lnTo>
                  <a:lnTo>
                    <a:pt x="306" y="38"/>
                  </a:lnTo>
                  <a:lnTo>
                    <a:pt x="284" y="26"/>
                  </a:lnTo>
                  <a:lnTo>
                    <a:pt x="280" y="26"/>
                  </a:lnTo>
                  <a:lnTo>
                    <a:pt x="278" y="28"/>
                  </a:lnTo>
                  <a:lnTo>
                    <a:pt x="274" y="28"/>
                  </a:lnTo>
                  <a:lnTo>
                    <a:pt x="272" y="28"/>
                  </a:lnTo>
                  <a:lnTo>
                    <a:pt x="270" y="28"/>
                  </a:lnTo>
                  <a:lnTo>
                    <a:pt x="270" y="34"/>
                  </a:lnTo>
                  <a:lnTo>
                    <a:pt x="264" y="40"/>
                  </a:lnTo>
                  <a:lnTo>
                    <a:pt x="264" y="42"/>
                  </a:lnTo>
                  <a:lnTo>
                    <a:pt x="268" y="42"/>
                  </a:lnTo>
                  <a:lnTo>
                    <a:pt x="270" y="44"/>
                  </a:lnTo>
                  <a:lnTo>
                    <a:pt x="270" y="46"/>
                  </a:lnTo>
                  <a:lnTo>
                    <a:pt x="266" y="48"/>
                  </a:lnTo>
                  <a:lnTo>
                    <a:pt x="266" y="48"/>
                  </a:lnTo>
                  <a:lnTo>
                    <a:pt x="266" y="50"/>
                  </a:lnTo>
                  <a:lnTo>
                    <a:pt x="266" y="52"/>
                  </a:lnTo>
                  <a:lnTo>
                    <a:pt x="268" y="54"/>
                  </a:lnTo>
                  <a:lnTo>
                    <a:pt x="274" y="54"/>
                  </a:lnTo>
                  <a:lnTo>
                    <a:pt x="276" y="54"/>
                  </a:lnTo>
                  <a:lnTo>
                    <a:pt x="276" y="56"/>
                  </a:lnTo>
                  <a:lnTo>
                    <a:pt x="276" y="58"/>
                  </a:lnTo>
                  <a:lnTo>
                    <a:pt x="272" y="60"/>
                  </a:lnTo>
                  <a:lnTo>
                    <a:pt x="268" y="60"/>
                  </a:lnTo>
                  <a:lnTo>
                    <a:pt x="268" y="64"/>
                  </a:lnTo>
                  <a:lnTo>
                    <a:pt x="274" y="70"/>
                  </a:lnTo>
                  <a:lnTo>
                    <a:pt x="274" y="74"/>
                  </a:lnTo>
                  <a:lnTo>
                    <a:pt x="272" y="76"/>
                  </a:lnTo>
                  <a:lnTo>
                    <a:pt x="264" y="80"/>
                  </a:lnTo>
                  <a:lnTo>
                    <a:pt x="262" y="82"/>
                  </a:lnTo>
                  <a:lnTo>
                    <a:pt x="268" y="84"/>
                  </a:lnTo>
                  <a:lnTo>
                    <a:pt x="268" y="90"/>
                  </a:lnTo>
                  <a:lnTo>
                    <a:pt x="274" y="92"/>
                  </a:lnTo>
                  <a:lnTo>
                    <a:pt x="272" y="98"/>
                  </a:lnTo>
                  <a:lnTo>
                    <a:pt x="278" y="98"/>
                  </a:lnTo>
                  <a:lnTo>
                    <a:pt x="278" y="100"/>
                  </a:lnTo>
                  <a:lnTo>
                    <a:pt x="282" y="100"/>
                  </a:lnTo>
                  <a:lnTo>
                    <a:pt x="284" y="100"/>
                  </a:lnTo>
                  <a:lnTo>
                    <a:pt x="284" y="104"/>
                  </a:lnTo>
                  <a:lnTo>
                    <a:pt x="284" y="106"/>
                  </a:lnTo>
                  <a:lnTo>
                    <a:pt x="284" y="110"/>
                  </a:lnTo>
                  <a:lnTo>
                    <a:pt x="284" y="112"/>
                  </a:lnTo>
                  <a:lnTo>
                    <a:pt x="296" y="114"/>
                  </a:lnTo>
                  <a:lnTo>
                    <a:pt x="298" y="116"/>
                  </a:lnTo>
                  <a:lnTo>
                    <a:pt x="302" y="116"/>
                  </a:lnTo>
                  <a:lnTo>
                    <a:pt x="304" y="120"/>
                  </a:lnTo>
                  <a:lnTo>
                    <a:pt x="304" y="122"/>
                  </a:lnTo>
                  <a:lnTo>
                    <a:pt x="304" y="124"/>
                  </a:lnTo>
                  <a:lnTo>
                    <a:pt x="300" y="126"/>
                  </a:lnTo>
                  <a:lnTo>
                    <a:pt x="300" y="128"/>
                  </a:lnTo>
                  <a:lnTo>
                    <a:pt x="292" y="128"/>
                  </a:lnTo>
                  <a:lnTo>
                    <a:pt x="292" y="128"/>
                  </a:lnTo>
                  <a:lnTo>
                    <a:pt x="288" y="128"/>
                  </a:lnTo>
                  <a:lnTo>
                    <a:pt x="286" y="130"/>
                  </a:lnTo>
                  <a:lnTo>
                    <a:pt x="280" y="132"/>
                  </a:lnTo>
                  <a:lnTo>
                    <a:pt x="276" y="134"/>
                  </a:lnTo>
                  <a:lnTo>
                    <a:pt x="274" y="140"/>
                  </a:lnTo>
                  <a:lnTo>
                    <a:pt x="278" y="144"/>
                  </a:lnTo>
                  <a:lnTo>
                    <a:pt x="276" y="148"/>
                  </a:lnTo>
                  <a:lnTo>
                    <a:pt x="278" y="148"/>
                  </a:lnTo>
                  <a:lnTo>
                    <a:pt x="278" y="150"/>
                  </a:lnTo>
                  <a:lnTo>
                    <a:pt x="278" y="150"/>
                  </a:lnTo>
                  <a:lnTo>
                    <a:pt x="274" y="154"/>
                  </a:lnTo>
                  <a:lnTo>
                    <a:pt x="272" y="156"/>
                  </a:lnTo>
                  <a:lnTo>
                    <a:pt x="272" y="158"/>
                  </a:lnTo>
                  <a:lnTo>
                    <a:pt x="274" y="158"/>
                  </a:lnTo>
                  <a:lnTo>
                    <a:pt x="280" y="160"/>
                  </a:lnTo>
                  <a:lnTo>
                    <a:pt x="280" y="162"/>
                  </a:lnTo>
                  <a:lnTo>
                    <a:pt x="278" y="164"/>
                  </a:lnTo>
                  <a:lnTo>
                    <a:pt x="274" y="164"/>
                  </a:lnTo>
                  <a:lnTo>
                    <a:pt x="272" y="162"/>
                  </a:lnTo>
                  <a:lnTo>
                    <a:pt x="270" y="166"/>
                  </a:lnTo>
                  <a:lnTo>
                    <a:pt x="262" y="168"/>
                  </a:lnTo>
                  <a:lnTo>
                    <a:pt x="254" y="176"/>
                  </a:lnTo>
                  <a:lnTo>
                    <a:pt x="250" y="176"/>
                  </a:lnTo>
                  <a:lnTo>
                    <a:pt x="244" y="182"/>
                  </a:lnTo>
                  <a:lnTo>
                    <a:pt x="242" y="186"/>
                  </a:lnTo>
                  <a:lnTo>
                    <a:pt x="242" y="190"/>
                  </a:lnTo>
                  <a:lnTo>
                    <a:pt x="240" y="194"/>
                  </a:lnTo>
                  <a:lnTo>
                    <a:pt x="234" y="196"/>
                  </a:lnTo>
                  <a:lnTo>
                    <a:pt x="230" y="196"/>
                  </a:lnTo>
                  <a:lnTo>
                    <a:pt x="226" y="198"/>
                  </a:lnTo>
                  <a:lnTo>
                    <a:pt x="202" y="224"/>
                  </a:lnTo>
                  <a:lnTo>
                    <a:pt x="182" y="234"/>
                  </a:lnTo>
                  <a:lnTo>
                    <a:pt x="160" y="258"/>
                  </a:lnTo>
                  <a:lnTo>
                    <a:pt x="156" y="258"/>
                  </a:lnTo>
                  <a:lnTo>
                    <a:pt x="140" y="256"/>
                  </a:lnTo>
                  <a:lnTo>
                    <a:pt x="132" y="258"/>
                  </a:lnTo>
                  <a:lnTo>
                    <a:pt x="128" y="260"/>
                  </a:lnTo>
                  <a:lnTo>
                    <a:pt x="126" y="260"/>
                  </a:lnTo>
                  <a:lnTo>
                    <a:pt x="124" y="260"/>
                  </a:lnTo>
                  <a:lnTo>
                    <a:pt x="120" y="248"/>
                  </a:lnTo>
                  <a:lnTo>
                    <a:pt x="118" y="246"/>
                  </a:lnTo>
                  <a:lnTo>
                    <a:pt x="116" y="246"/>
                  </a:lnTo>
                  <a:lnTo>
                    <a:pt x="80" y="270"/>
                  </a:lnTo>
                  <a:lnTo>
                    <a:pt x="74" y="284"/>
                  </a:lnTo>
                  <a:lnTo>
                    <a:pt x="72" y="286"/>
                  </a:lnTo>
                  <a:lnTo>
                    <a:pt x="74" y="290"/>
                  </a:lnTo>
                  <a:lnTo>
                    <a:pt x="78" y="292"/>
                  </a:lnTo>
                  <a:lnTo>
                    <a:pt x="82" y="292"/>
                  </a:lnTo>
                  <a:lnTo>
                    <a:pt x="86" y="294"/>
                  </a:lnTo>
                  <a:lnTo>
                    <a:pt x="92" y="296"/>
                  </a:lnTo>
                  <a:lnTo>
                    <a:pt x="94" y="296"/>
                  </a:lnTo>
                  <a:lnTo>
                    <a:pt x="96" y="300"/>
                  </a:lnTo>
                  <a:lnTo>
                    <a:pt x="96" y="300"/>
                  </a:lnTo>
                  <a:lnTo>
                    <a:pt x="94" y="304"/>
                  </a:lnTo>
                  <a:lnTo>
                    <a:pt x="88" y="314"/>
                  </a:lnTo>
                  <a:lnTo>
                    <a:pt x="88" y="318"/>
                  </a:lnTo>
                  <a:lnTo>
                    <a:pt x="88" y="320"/>
                  </a:lnTo>
                  <a:lnTo>
                    <a:pt x="94" y="328"/>
                  </a:lnTo>
                  <a:lnTo>
                    <a:pt x="96" y="328"/>
                  </a:lnTo>
                  <a:lnTo>
                    <a:pt x="102" y="328"/>
                  </a:lnTo>
                  <a:lnTo>
                    <a:pt x="104" y="328"/>
                  </a:lnTo>
                  <a:lnTo>
                    <a:pt x="104" y="330"/>
                  </a:lnTo>
                  <a:lnTo>
                    <a:pt x="102" y="342"/>
                  </a:lnTo>
                  <a:lnTo>
                    <a:pt x="106" y="346"/>
                  </a:lnTo>
                  <a:lnTo>
                    <a:pt x="106" y="350"/>
                  </a:lnTo>
                  <a:lnTo>
                    <a:pt x="110" y="358"/>
                  </a:lnTo>
                  <a:lnTo>
                    <a:pt x="112" y="360"/>
                  </a:lnTo>
                  <a:lnTo>
                    <a:pt x="112" y="362"/>
                  </a:lnTo>
                  <a:lnTo>
                    <a:pt x="112" y="364"/>
                  </a:lnTo>
                  <a:lnTo>
                    <a:pt x="110" y="366"/>
                  </a:lnTo>
                  <a:lnTo>
                    <a:pt x="110" y="366"/>
                  </a:lnTo>
                  <a:lnTo>
                    <a:pt x="108" y="372"/>
                  </a:lnTo>
                  <a:lnTo>
                    <a:pt x="108" y="374"/>
                  </a:lnTo>
                  <a:lnTo>
                    <a:pt x="112" y="376"/>
                  </a:lnTo>
                  <a:lnTo>
                    <a:pt x="112" y="376"/>
                  </a:lnTo>
                  <a:lnTo>
                    <a:pt x="106" y="376"/>
                  </a:lnTo>
                  <a:lnTo>
                    <a:pt x="104" y="378"/>
                  </a:lnTo>
                  <a:lnTo>
                    <a:pt x="102" y="380"/>
                  </a:lnTo>
                  <a:lnTo>
                    <a:pt x="100" y="380"/>
                  </a:lnTo>
                  <a:lnTo>
                    <a:pt x="94" y="378"/>
                  </a:lnTo>
                  <a:lnTo>
                    <a:pt x="92" y="378"/>
                  </a:lnTo>
                  <a:lnTo>
                    <a:pt x="92" y="376"/>
                  </a:lnTo>
                  <a:lnTo>
                    <a:pt x="94" y="372"/>
                  </a:lnTo>
                  <a:lnTo>
                    <a:pt x="94" y="372"/>
                  </a:lnTo>
                  <a:lnTo>
                    <a:pt x="90" y="370"/>
                  </a:lnTo>
                  <a:lnTo>
                    <a:pt x="78" y="372"/>
                  </a:lnTo>
                  <a:lnTo>
                    <a:pt x="74" y="376"/>
                  </a:lnTo>
                  <a:lnTo>
                    <a:pt x="74" y="378"/>
                  </a:lnTo>
                  <a:lnTo>
                    <a:pt x="62" y="376"/>
                  </a:lnTo>
                  <a:lnTo>
                    <a:pt x="58" y="370"/>
                  </a:lnTo>
                  <a:lnTo>
                    <a:pt x="54" y="370"/>
                  </a:lnTo>
                  <a:lnTo>
                    <a:pt x="52" y="370"/>
                  </a:lnTo>
                  <a:lnTo>
                    <a:pt x="44" y="368"/>
                  </a:lnTo>
                  <a:lnTo>
                    <a:pt x="42" y="368"/>
                  </a:lnTo>
                  <a:lnTo>
                    <a:pt x="38" y="368"/>
                  </a:lnTo>
                  <a:lnTo>
                    <a:pt x="34" y="366"/>
                  </a:lnTo>
                  <a:lnTo>
                    <a:pt x="34" y="366"/>
                  </a:lnTo>
                  <a:lnTo>
                    <a:pt x="32" y="366"/>
                  </a:lnTo>
                  <a:lnTo>
                    <a:pt x="32" y="364"/>
                  </a:lnTo>
                  <a:lnTo>
                    <a:pt x="30" y="362"/>
                  </a:lnTo>
                  <a:lnTo>
                    <a:pt x="28" y="366"/>
                  </a:lnTo>
                  <a:lnTo>
                    <a:pt x="26" y="376"/>
                  </a:lnTo>
                  <a:lnTo>
                    <a:pt x="14" y="374"/>
                  </a:lnTo>
                  <a:lnTo>
                    <a:pt x="12" y="374"/>
                  </a:lnTo>
                  <a:lnTo>
                    <a:pt x="8" y="372"/>
                  </a:lnTo>
                  <a:lnTo>
                    <a:pt x="6" y="374"/>
                  </a:lnTo>
                  <a:lnTo>
                    <a:pt x="4" y="376"/>
                  </a:lnTo>
                  <a:lnTo>
                    <a:pt x="4" y="378"/>
                  </a:lnTo>
                  <a:lnTo>
                    <a:pt x="0" y="378"/>
                  </a:lnTo>
                  <a:lnTo>
                    <a:pt x="0" y="386"/>
                  </a:lnTo>
                  <a:lnTo>
                    <a:pt x="4" y="386"/>
                  </a:lnTo>
                  <a:lnTo>
                    <a:pt x="6" y="392"/>
                  </a:lnTo>
                  <a:lnTo>
                    <a:pt x="18" y="412"/>
                  </a:lnTo>
                  <a:lnTo>
                    <a:pt x="22" y="416"/>
                  </a:lnTo>
                  <a:lnTo>
                    <a:pt x="50" y="420"/>
                  </a:lnTo>
                  <a:lnTo>
                    <a:pt x="66" y="420"/>
                  </a:lnTo>
                  <a:lnTo>
                    <a:pt x="70" y="414"/>
                  </a:lnTo>
                  <a:lnTo>
                    <a:pt x="74" y="414"/>
                  </a:lnTo>
                  <a:lnTo>
                    <a:pt x="74" y="418"/>
                  </a:lnTo>
                  <a:lnTo>
                    <a:pt x="68" y="428"/>
                  </a:lnTo>
                  <a:lnTo>
                    <a:pt x="52" y="436"/>
                  </a:lnTo>
                  <a:lnTo>
                    <a:pt x="26" y="436"/>
                  </a:lnTo>
                  <a:lnTo>
                    <a:pt x="22" y="430"/>
                  </a:lnTo>
                  <a:lnTo>
                    <a:pt x="18" y="434"/>
                  </a:lnTo>
                  <a:lnTo>
                    <a:pt x="18" y="442"/>
                  </a:lnTo>
                  <a:lnTo>
                    <a:pt x="58" y="494"/>
                  </a:lnTo>
                  <a:lnTo>
                    <a:pt x="78" y="500"/>
                  </a:lnTo>
                  <a:lnTo>
                    <a:pt x="90" y="500"/>
                  </a:lnTo>
                  <a:lnTo>
                    <a:pt x="98" y="496"/>
                  </a:lnTo>
                  <a:lnTo>
                    <a:pt x="102" y="496"/>
                  </a:lnTo>
                  <a:lnTo>
                    <a:pt x="116" y="492"/>
                  </a:lnTo>
                  <a:lnTo>
                    <a:pt x="124" y="482"/>
                  </a:lnTo>
                  <a:lnTo>
                    <a:pt x="134" y="450"/>
                  </a:lnTo>
                  <a:lnTo>
                    <a:pt x="136" y="454"/>
                  </a:lnTo>
                  <a:lnTo>
                    <a:pt x="138" y="454"/>
                  </a:lnTo>
                  <a:lnTo>
                    <a:pt x="158" y="458"/>
                  </a:lnTo>
                  <a:lnTo>
                    <a:pt x="158" y="458"/>
                  </a:lnTo>
                  <a:lnTo>
                    <a:pt x="154" y="462"/>
                  </a:lnTo>
                  <a:lnTo>
                    <a:pt x="146" y="460"/>
                  </a:lnTo>
                  <a:lnTo>
                    <a:pt x="142" y="468"/>
                  </a:lnTo>
                  <a:lnTo>
                    <a:pt x="144" y="468"/>
                  </a:lnTo>
                  <a:lnTo>
                    <a:pt x="142" y="476"/>
                  </a:lnTo>
                  <a:lnTo>
                    <a:pt x="142" y="478"/>
                  </a:lnTo>
                  <a:lnTo>
                    <a:pt x="146" y="480"/>
                  </a:lnTo>
                  <a:lnTo>
                    <a:pt x="140" y="488"/>
                  </a:lnTo>
                  <a:lnTo>
                    <a:pt x="140" y="496"/>
                  </a:lnTo>
                  <a:lnTo>
                    <a:pt x="142" y="496"/>
                  </a:lnTo>
                  <a:lnTo>
                    <a:pt x="142" y="498"/>
                  </a:lnTo>
                  <a:lnTo>
                    <a:pt x="142" y="502"/>
                  </a:lnTo>
                  <a:lnTo>
                    <a:pt x="144" y="512"/>
                  </a:lnTo>
                  <a:lnTo>
                    <a:pt x="142" y="524"/>
                  </a:lnTo>
                  <a:lnTo>
                    <a:pt x="134" y="540"/>
                  </a:lnTo>
                  <a:lnTo>
                    <a:pt x="132" y="558"/>
                  </a:lnTo>
                  <a:lnTo>
                    <a:pt x="134" y="560"/>
                  </a:lnTo>
                  <a:lnTo>
                    <a:pt x="132" y="570"/>
                  </a:lnTo>
                  <a:lnTo>
                    <a:pt x="134" y="568"/>
                  </a:lnTo>
                  <a:lnTo>
                    <a:pt x="138" y="568"/>
                  </a:lnTo>
                  <a:lnTo>
                    <a:pt x="138" y="570"/>
                  </a:lnTo>
                  <a:lnTo>
                    <a:pt x="138" y="574"/>
                  </a:lnTo>
                  <a:lnTo>
                    <a:pt x="136" y="576"/>
                  </a:lnTo>
                  <a:lnTo>
                    <a:pt x="130" y="592"/>
                  </a:lnTo>
                  <a:lnTo>
                    <a:pt x="134" y="598"/>
                  </a:lnTo>
                  <a:lnTo>
                    <a:pt x="132" y="600"/>
                  </a:lnTo>
                  <a:lnTo>
                    <a:pt x="132" y="612"/>
                  </a:lnTo>
                  <a:lnTo>
                    <a:pt x="132" y="612"/>
                  </a:lnTo>
                  <a:lnTo>
                    <a:pt x="136" y="666"/>
                  </a:lnTo>
                  <a:lnTo>
                    <a:pt x="138" y="672"/>
                  </a:lnTo>
                  <a:lnTo>
                    <a:pt x="140" y="674"/>
                  </a:lnTo>
                  <a:lnTo>
                    <a:pt x="140" y="682"/>
                  </a:lnTo>
                  <a:lnTo>
                    <a:pt x="146" y="69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22" name="Freeform 482"/>
            <p:cNvSpPr>
              <a:spLocks/>
            </p:cNvSpPr>
            <p:nvPr/>
          </p:nvSpPr>
          <p:spPr bwMode="auto">
            <a:xfrm>
              <a:off x="5381626" y="4700588"/>
              <a:ext cx="542925" cy="854075"/>
            </a:xfrm>
            <a:custGeom>
              <a:avLst/>
              <a:gdLst>
                <a:gd name="T0" fmla="*/ 212 w 316"/>
                <a:gd name="T1" fmla="*/ 484 h 538"/>
                <a:gd name="T2" fmla="*/ 214 w 316"/>
                <a:gd name="T3" fmla="*/ 474 h 538"/>
                <a:gd name="T4" fmla="*/ 216 w 316"/>
                <a:gd name="T5" fmla="*/ 464 h 538"/>
                <a:gd name="T6" fmla="*/ 232 w 316"/>
                <a:gd name="T7" fmla="*/ 454 h 538"/>
                <a:gd name="T8" fmla="*/ 268 w 316"/>
                <a:gd name="T9" fmla="*/ 436 h 538"/>
                <a:gd name="T10" fmla="*/ 300 w 316"/>
                <a:gd name="T11" fmla="*/ 406 h 538"/>
                <a:gd name="T12" fmla="*/ 312 w 316"/>
                <a:gd name="T13" fmla="*/ 390 h 538"/>
                <a:gd name="T14" fmla="*/ 312 w 316"/>
                <a:gd name="T15" fmla="*/ 380 h 538"/>
                <a:gd name="T16" fmla="*/ 308 w 316"/>
                <a:gd name="T17" fmla="*/ 360 h 538"/>
                <a:gd name="T18" fmla="*/ 312 w 316"/>
                <a:gd name="T19" fmla="*/ 350 h 538"/>
                <a:gd name="T20" fmla="*/ 314 w 316"/>
                <a:gd name="T21" fmla="*/ 340 h 538"/>
                <a:gd name="T22" fmla="*/ 306 w 316"/>
                <a:gd name="T23" fmla="*/ 316 h 538"/>
                <a:gd name="T24" fmla="*/ 266 w 316"/>
                <a:gd name="T25" fmla="*/ 248 h 538"/>
                <a:gd name="T26" fmla="*/ 258 w 316"/>
                <a:gd name="T27" fmla="*/ 236 h 538"/>
                <a:gd name="T28" fmla="*/ 248 w 316"/>
                <a:gd name="T29" fmla="*/ 230 h 538"/>
                <a:gd name="T30" fmla="*/ 180 w 316"/>
                <a:gd name="T31" fmla="*/ 186 h 538"/>
                <a:gd name="T32" fmla="*/ 146 w 316"/>
                <a:gd name="T33" fmla="*/ 158 h 538"/>
                <a:gd name="T34" fmla="*/ 174 w 316"/>
                <a:gd name="T35" fmla="*/ 82 h 538"/>
                <a:gd name="T36" fmla="*/ 198 w 316"/>
                <a:gd name="T37" fmla="*/ 54 h 538"/>
                <a:gd name="T38" fmla="*/ 218 w 316"/>
                <a:gd name="T39" fmla="*/ 42 h 538"/>
                <a:gd name="T40" fmla="*/ 192 w 316"/>
                <a:gd name="T41" fmla="*/ 42 h 538"/>
                <a:gd name="T42" fmla="*/ 166 w 316"/>
                <a:gd name="T43" fmla="*/ 28 h 538"/>
                <a:gd name="T44" fmla="*/ 160 w 316"/>
                <a:gd name="T45" fmla="*/ 4 h 538"/>
                <a:gd name="T46" fmla="*/ 104 w 316"/>
                <a:gd name="T47" fmla="*/ 2 h 538"/>
                <a:gd name="T48" fmla="*/ 74 w 316"/>
                <a:gd name="T49" fmla="*/ 24 h 538"/>
                <a:gd name="T50" fmla="*/ 60 w 316"/>
                <a:gd name="T51" fmla="*/ 30 h 538"/>
                <a:gd name="T52" fmla="*/ 34 w 316"/>
                <a:gd name="T53" fmla="*/ 42 h 538"/>
                <a:gd name="T54" fmla="*/ 14 w 316"/>
                <a:gd name="T55" fmla="*/ 38 h 538"/>
                <a:gd name="T56" fmla="*/ 4 w 316"/>
                <a:gd name="T57" fmla="*/ 48 h 538"/>
                <a:gd name="T58" fmla="*/ 34 w 316"/>
                <a:gd name="T59" fmla="*/ 78 h 538"/>
                <a:gd name="T60" fmla="*/ 46 w 316"/>
                <a:gd name="T61" fmla="*/ 98 h 538"/>
                <a:gd name="T62" fmla="*/ 94 w 316"/>
                <a:gd name="T63" fmla="*/ 102 h 538"/>
                <a:gd name="T64" fmla="*/ 104 w 316"/>
                <a:gd name="T65" fmla="*/ 114 h 538"/>
                <a:gd name="T66" fmla="*/ 100 w 316"/>
                <a:gd name="T67" fmla="*/ 134 h 538"/>
                <a:gd name="T68" fmla="*/ 84 w 316"/>
                <a:gd name="T69" fmla="*/ 138 h 538"/>
                <a:gd name="T70" fmla="*/ 80 w 316"/>
                <a:gd name="T71" fmla="*/ 152 h 538"/>
                <a:gd name="T72" fmla="*/ 146 w 316"/>
                <a:gd name="T73" fmla="*/ 186 h 538"/>
                <a:gd name="T74" fmla="*/ 166 w 316"/>
                <a:gd name="T75" fmla="*/ 202 h 538"/>
                <a:gd name="T76" fmla="*/ 186 w 316"/>
                <a:gd name="T77" fmla="*/ 224 h 538"/>
                <a:gd name="T78" fmla="*/ 198 w 316"/>
                <a:gd name="T79" fmla="*/ 230 h 538"/>
                <a:gd name="T80" fmla="*/ 238 w 316"/>
                <a:gd name="T81" fmla="*/ 328 h 538"/>
                <a:gd name="T82" fmla="*/ 240 w 316"/>
                <a:gd name="T83" fmla="*/ 384 h 538"/>
                <a:gd name="T84" fmla="*/ 216 w 316"/>
                <a:gd name="T85" fmla="*/ 396 h 538"/>
                <a:gd name="T86" fmla="*/ 184 w 316"/>
                <a:gd name="T87" fmla="*/ 418 h 538"/>
                <a:gd name="T88" fmla="*/ 158 w 316"/>
                <a:gd name="T89" fmla="*/ 454 h 538"/>
                <a:gd name="T90" fmla="*/ 148 w 316"/>
                <a:gd name="T91" fmla="*/ 460 h 538"/>
                <a:gd name="T92" fmla="*/ 134 w 316"/>
                <a:gd name="T93" fmla="*/ 478 h 538"/>
                <a:gd name="T94" fmla="*/ 144 w 316"/>
                <a:gd name="T95" fmla="*/ 498 h 538"/>
                <a:gd name="T96" fmla="*/ 146 w 316"/>
                <a:gd name="T97" fmla="*/ 536 h 538"/>
                <a:gd name="T98" fmla="*/ 178 w 316"/>
                <a:gd name="T99" fmla="*/ 510 h 538"/>
                <a:gd name="T100" fmla="*/ 196 w 316"/>
                <a:gd name="T101" fmla="*/ 49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538">
                  <a:moveTo>
                    <a:pt x="202" y="490"/>
                  </a:moveTo>
                  <a:lnTo>
                    <a:pt x="210" y="490"/>
                  </a:lnTo>
                  <a:lnTo>
                    <a:pt x="212" y="484"/>
                  </a:lnTo>
                  <a:lnTo>
                    <a:pt x="208" y="478"/>
                  </a:lnTo>
                  <a:lnTo>
                    <a:pt x="210" y="474"/>
                  </a:lnTo>
                  <a:lnTo>
                    <a:pt x="214" y="474"/>
                  </a:lnTo>
                  <a:lnTo>
                    <a:pt x="216" y="470"/>
                  </a:lnTo>
                  <a:lnTo>
                    <a:pt x="218" y="470"/>
                  </a:lnTo>
                  <a:lnTo>
                    <a:pt x="216" y="464"/>
                  </a:lnTo>
                  <a:lnTo>
                    <a:pt x="220" y="462"/>
                  </a:lnTo>
                  <a:lnTo>
                    <a:pt x="222" y="458"/>
                  </a:lnTo>
                  <a:lnTo>
                    <a:pt x="232" y="454"/>
                  </a:lnTo>
                  <a:lnTo>
                    <a:pt x="236" y="454"/>
                  </a:lnTo>
                  <a:lnTo>
                    <a:pt x="242" y="454"/>
                  </a:lnTo>
                  <a:lnTo>
                    <a:pt x="268" y="436"/>
                  </a:lnTo>
                  <a:lnTo>
                    <a:pt x="274" y="426"/>
                  </a:lnTo>
                  <a:lnTo>
                    <a:pt x="296" y="412"/>
                  </a:lnTo>
                  <a:lnTo>
                    <a:pt x="300" y="406"/>
                  </a:lnTo>
                  <a:lnTo>
                    <a:pt x="306" y="404"/>
                  </a:lnTo>
                  <a:lnTo>
                    <a:pt x="308" y="394"/>
                  </a:lnTo>
                  <a:lnTo>
                    <a:pt x="312" y="390"/>
                  </a:lnTo>
                  <a:lnTo>
                    <a:pt x="312" y="386"/>
                  </a:lnTo>
                  <a:lnTo>
                    <a:pt x="310" y="384"/>
                  </a:lnTo>
                  <a:lnTo>
                    <a:pt x="312" y="380"/>
                  </a:lnTo>
                  <a:lnTo>
                    <a:pt x="314" y="382"/>
                  </a:lnTo>
                  <a:lnTo>
                    <a:pt x="308" y="364"/>
                  </a:lnTo>
                  <a:lnTo>
                    <a:pt x="308" y="360"/>
                  </a:lnTo>
                  <a:lnTo>
                    <a:pt x="312" y="362"/>
                  </a:lnTo>
                  <a:lnTo>
                    <a:pt x="310" y="354"/>
                  </a:lnTo>
                  <a:lnTo>
                    <a:pt x="312" y="350"/>
                  </a:lnTo>
                  <a:lnTo>
                    <a:pt x="316" y="350"/>
                  </a:lnTo>
                  <a:lnTo>
                    <a:pt x="316" y="352"/>
                  </a:lnTo>
                  <a:lnTo>
                    <a:pt x="314" y="340"/>
                  </a:lnTo>
                  <a:lnTo>
                    <a:pt x="310" y="338"/>
                  </a:lnTo>
                  <a:lnTo>
                    <a:pt x="308" y="320"/>
                  </a:lnTo>
                  <a:lnTo>
                    <a:pt x="306" y="316"/>
                  </a:lnTo>
                  <a:lnTo>
                    <a:pt x="306" y="310"/>
                  </a:lnTo>
                  <a:lnTo>
                    <a:pt x="284" y="258"/>
                  </a:lnTo>
                  <a:lnTo>
                    <a:pt x="266" y="248"/>
                  </a:lnTo>
                  <a:lnTo>
                    <a:pt x="260" y="242"/>
                  </a:lnTo>
                  <a:lnTo>
                    <a:pt x="258" y="234"/>
                  </a:lnTo>
                  <a:lnTo>
                    <a:pt x="258" y="236"/>
                  </a:lnTo>
                  <a:lnTo>
                    <a:pt x="254" y="238"/>
                  </a:lnTo>
                  <a:lnTo>
                    <a:pt x="252" y="234"/>
                  </a:lnTo>
                  <a:lnTo>
                    <a:pt x="248" y="230"/>
                  </a:lnTo>
                  <a:lnTo>
                    <a:pt x="236" y="230"/>
                  </a:lnTo>
                  <a:lnTo>
                    <a:pt x="182" y="194"/>
                  </a:lnTo>
                  <a:lnTo>
                    <a:pt x="180" y="186"/>
                  </a:lnTo>
                  <a:lnTo>
                    <a:pt x="174" y="178"/>
                  </a:lnTo>
                  <a:lnTo>
                    <a:pt x="150" y="164"/>
                  </a:lnTo>
                  <a:lnTo>
                    <a:pt x="146" y="158"/>
                  </a:lnTo>
                  <a:lnTo>
                    <a:pt x="154" y="116"/>
                  </a:lnTo>
                  <a:lnTo>
                    <a:pt x="172" y="92"/>
                  </a:lnTo>
                  <a:lnTo>
                    <a:pt x="174" y="82"/>
                  </a:lnTo>
                  <a:lnTo>
                    <a:pt x="180" y="74"/>
                  </a:lnTo>
                  <a:lnTo>
                    <a:pt x="198" y="60"/>
                  </a:lnTo>
                  <a:lnTo>
                    <a:pt x="198" y="54"/>
                  </a:lnTo>
                  <a:lnTo>
                    <a:pt x="210" y="44"/>
                  </a:lnTo>
                  <a:lnTo>
                    <a:pt x="216" y="44"/>
                  </a:lnTo>
                  <a:lnTo>
                    <a:pt x="218" y="42"/>
                  </a:lnTo>
                  <a:lnTo>
                    <a:pt x="218" y="40"/>
                  </a:lnTo>
                  <a:lnTo>
                    <a:pt x="212" y="38"/>
                  </a:lnTo>
                  <a:lnTo>
                    <a:pt x="192" y="42"/>
                  </a:lnTo>
                  <a:lnTo>
                    <a:pt x="190" y="40"/>
                  </a:lnTo>
                  <a:lnTo>
                    <a:pt x="172" y="34"/>
                  </a:lnTo>
                  <a:lnTo>
                    <a:pt x="166" y="28"/>
                  </a:lnTo>
                  <a:lnTo>
                    <a:pt x="162" y="20"/>
                  </a:lnTo>
                  <a:lnTo>
                    <a:pt x="164" y="10"/>
                  </a:lnTo>
                  <a:lnTo>
                    <a:pt x="160" y="4"/>
                  </a:lnTo>
                  <a:lnTo>
                    <a:pt x="138" y="6"/>
                  </a:lnTo>
                  <a:lnTo>
                    <a:pt x="108" y="0"/>
                  </a:lnTo>
                  <a:lnTo>
                    <a:pt x="104" y="2"/>
                  </a:lnTo>
                  <a:lnTo>
                    <a:pt x="92" y="16"/>
                  </a:lnTo>
                  <a:lnTo>
                    <a:pt x="80" y="24"/>
                  </a:lnTo>
                  <a:lnTo>
                    <a:pt x="74" y="24"/>
                  </a:lnTo>
                  <a:lnTo>
                    <a:pt x="68" y="30"/>
                  </a:lnTo>
                  <a:lnTo>
                    <a:pt x="62" y="34"/>
                  </a:lnTo>
                  <a:lnTo>
                    <a:pt x="60" y="30"/>
                  </a:lnTo>
                  <a:lnTo>
                    <a:pt x="50" y="34"/>
                  </a:lnTo>
                  <a:lnTo>
                    <a:pt x="46" y="32"/>
                  </a:lnTo>
                  <a:lnTo>
                    <a:pt x="34" y="42"/>
                  </a:lnTo>
                  <a:lnTo>
                    <a:pt x="30" y="42"/>
                  </a:lnTo>
                  <a:lnTo>
                    <a:pt x="24" y="38"/>
                  </a:lnTo>
                  <a:lnTo>
                    <a:pt x="14" y="38"/>
                  </a:lnTo>
                  <a:lnTo>
                    <a:pt x="12" y="38"/>
                  </a:lnTo>
                  <a:lnTo>
                    <a:pt x="10" y="38"/>
                  </a:lnTo>
                  <a:lnTo>
                    <a:pt x="4" y="48"/>
                  </a:lnTo>
                  <a:lnTo>
                    <a:pt x="6" y="50"/>
                  </a:lnTo>
                  <a:lnTo>
                    <a:pt x="0" y="50"/>
                  </a:lnTo>
                  <a:lnTo>
                    <a:pt x="34" y="78"/>
                  </a:lnTo>
                  <a:lnTo>
                    <a:pt x="32" y="86"/>
                  </a:lnTo>
                  <a:lnTo>
                    <a:pt x="34" y="92"/>
                  </a:lnTo>
                  <a:lnTo>
                    <a:pt x="46" y="98"/>
                  </a:lnTo>
                  <a:lnTo>
                    <a:pt x="58" y="98"/>
                  </a:lnTo>
                  <a:lnTo>
                    <a:pt x="82" y="92"/>
                  </a:lnTo>
                  <a:lnTo>
                    <a:pt x="94" y="102"/>
                  </a:lnTo>
                  <a:lnTo>
                    <a:pt x="96" y="106"/>
                  </a:lnTo>
                  <a:lnTo>
                    <a:pt x="102" y="108"/>
                  </a:lnTo>
                  <a:lnTo>
                    <a:pt x="104" y="114"/>
                  </a:lnTo>
                  <a:lnTo>
                    <a:pt x="110" y="118"/>
                  </a:lnTo>
                  <a:lnTo>
                    <a:pt x="110" y="122"/>
                  </a:lnTo>
                  <a:lnTo>
                    <a:pt x="100" y="134"/>
                  </a:lnTo>
                  <a:lnTo>
                    <a:pt x="96" y="136"/>
                  </a:lnTo>
                  <a:lnTo>
                    <a:pt x="88" y="136"/>
                  </a:lnTo>
                  <a:lnTo>
                    <a:pt x="84" y="138"/>
                  </a:lnTo>
                  <a:lnTo>
                    <a:pt x="82" y="142"/>
                  </a:lnTo>
                  <a:lnTo>
                    <a:pt x="80" y="148"/>
                  </a:lnTo>
                  <a:lnTo>
                    <a:pt x="80" y="152"/>
                  </a:lnTo>
                  <a:lnTo>
                    <a:pt x="126" y="168"/>
                  </a:lnTo>
                  <a:lnTo>
                    <a:pt x="128" y="176"/>
                  </a:lnTo>
                  <a:lnTo>
                    <a:pt x="146" y="186"/>
                  </a:lnTo>
                  <a:lnTo>
                    <a:pt x="150" y="192"/>
                  </a:lnTo>
                  <a:lnTo>
                    <a:pt x="162" y="202"/>
                  </a:lnTo>
                  <a:lnTo>
                    <a:pt x="166" y="202"/>
                  </a:lnTo>
                  <a:lnTo>
                    <a:pt x="180" y="208"/>
                  </a:lnTo>
                  <a:lnTo>
                    <a:pt x="186" y="222"/>
                  </a:lnTo>
                  <a:lnTo>
                    <a:pt x="186" y="224"/>
                  </a:lnTo>
                  <a:lnTo>
                    <a:pt x="188" y="224"/>
                  </a:lnTo>
                  <a:lnTo>
                    <a:pt x="192" y="232"/>
                  </a:lnTo>
                  <a:lnTo>
                    <a:pt x="198" y="230"/>
                  </a:lnTo>
                  <a:lnTo>
                    <a:pt x="214" y="240"/>
                  </a:lnTo>
                  <a:lnTo>
                    <a:pt x="232" y="270"/>
                  </a:lnTo>
                  <a:lnTo>
                    <a:pt x="238" y="328"/>
                  </a:lnTo>
                  <a:lnTo>
                    <a:pt x="244" y="336"/>
                  </a:lnTo>
                  <a:lnTo>
                    <a:pt x="244" y="378"/>
                  </a:lnTo>
                  <a:lnTo>
                    <a:pt x="240" y="384"/>
                  </a:lnTo>
                  <a:lnTo>
                    <a:pt x="234" y="384"/>
                  </a:lnTo>
                  <a:lnTo>
                    <a:pt x="222" y="394"/>
                  </a:lnTo>
                  <a:lnTo>
                    <a:pt x="216" y="396"/>
                  </a:lnTo>
                  <a:lnTo>
                    <a:pt x="204" y="404"/>
                  </a:lnTo>
                  <a:lnTo>
                    <a:pt x="204" y="410"/>
                  </a:lnTo>
                  <a:lnTo>
                    <a:pt x="184" y="418"/>
                  </a:lnTo>
                  <a:lnTo>
                    <a:pt x="182" y="428"/>
                  </a:lnTo>
                  <a:lnTo>
                    <a:pt x="184" y="438"/>
                  </a:lnTo>
                  <a:lnTo>
                    <a:pt x="158" y="454"/>
                  </a:lnTo>
                  <a:lnTo>
                    <a:pt x="154" y="454"/>
                  </a:lnTo>
                  <a:lnTo>
                    <a:pt x="148" y="454"/>
                  </a:lnTo>
                  <a:lnTo>
                    <a:pt x="148" y="460"/>
                  </a:lnTo>
                  <a:lnTo>
                    <a:pt x="144" y="464"/>
                  </a:lnTo>
                  <a:lnTo>
                    <a:pt x="128" y="472"/>
                  </a:lnTo>
                  <a:lnTo>
                    <a:pt x="134" y="478"/>
                  </a:lnTo>
                  <a:lnTo>
                    <a:pt x="146" y="482"/>
                  </a:lnTo>
                  <a:lnTo>
                    <a:pt x="152" y="484"/>
                  </a:lnTo>
                  <a:lnTo>
                    <a:pt x="144" y="498"/>
                  </a:lnTo>
                  <a:lnTo>
                    <a:pt x="144" y="516"/>
                  </a:lnTo>
                  <a:lnTo>
                    <a:pt x="150" y="532"/>
                  </a:lnTo>
                  <a:lnTo>
                    <a:pt x="146" y="536"/>
                  </a:lnTo>
                  <a:lnTo>
                    <a:pt x="148" y="538"/>
                  </a:lnTo>
                  <a:lnTo>
                    <a:pt x="154" y="538"/>
                  </a:lnTo>
                  <a:lnTo>
                    <a:pt x="178" y="510"/>
                  </a:lnTo>
                  <a:lnTo>
                    <a:pt x="194" y="502"/>
                  </a:lnTo>
                  <a:lnTo>
                    <a:pt x="196" y="498"/>
                  </a:lnTo>
                  <a:lnTo>
                    <a:pt x="196" y="494"/>
                  </a:lnTo>
                  <a:lnTo>
                    <a:pt x="202" y="49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23" name="Freeform 483"/>
            <p:cNvSpPr>
              <a:spLocks/>
            </p:cNvSpPr>
            <p:nvPr/>
          </p:nvSpPr>
          <p:spPr bwMode="auto">
            <a:xfrm>
              <a:off x="5381626" y="4700588"/>
              <a:ext cx="542925" cy="854075"/>
            </a:xfrm>
            <a:custGeom>
              <a:avLst/>
              <a:gdLst>
                <a:gd name="T0" fmla="*/ 212 w 316"/>
                <a:gd name="T1" fmla="*/ 484 h 538"/>
                <a:gd name="T2" fmla="*/ 214 w 316"/>
                <a:gd name="T3" fmla="*/ 474 h 538"/>
                <a:gd name="T4" fmla="*/ 216 w 316"/>
                <a:gd name="T5" fmla="*/ 464 h 538"/>
                <a:gd name="T6" fmla="*/ 232 w 316"/>
                <a:gd name="T7" fmla="*/ 454 h 538"/>
                <a:gd name="T8" fmla="*/ 268 w 316"/>
                <a:gd name="T9" fmla="*/ 436 h 538"/>
                <a:gd name="T10" fmla="*/ 300 w 316"/>
                <a:gd name="T11" fmla="*/ 406 h 538"/>
                <a:gd name="T12" fmla="*/ 312 w 316"/>
                <a:gd name="T13" fmla="*/ 390 h 538"/>
                <a:gd name="T14" fmla="*/ 312 w 316"/>
                <a:gd name="T15" fmla="*/ 380 h 538"/>
                <a:gd name="T16" fmla="*/ 308 w 316"/>
                <a:gd name="T17" fmla="*/ 360 h 538"/>
                <a:gd name="T18" fmla="*/ 312 w 316"/>
                <a:gd name="T19" fmla="*/ 350 h 538"/>
                <a:gd name="T20" fmla="*/ 314 w 316"/>
                <a:gd name="T21" fmla="*/ 340 h 538"/>
                <a:gd name="T22" fmla="*/ 306 w 316"/>
                <a:gd name="T23" fmla="*/ 316 h 538"/>
                <a:gd name="T24" fmla="*/ 266 w 316"/>
                <a:gd name="T25" fmla="*/ 248 h 538"/>
                <a:gd name="T26" fmla="*/ 258 w 316"/>
                <a:gd name="T27" fmla="*/ 236 h 538"/>
                <a:gd name="T28" fmla="*/ 248 w 316"/>
                <a:gd name="T29" fmla="*/ 230 h 538"/>
                <a:gd name="T30" fmla="*/ 180 w 316"/>
                <a:gd name="T31" fmla="*/ 186 h 538"/>
                <a:gd name="T32" fmla="*/ 146 w 316"/>
                <a:gd name="T33" fmla="*/ 158 h 538"/>
                <a:gd name="T34" fmla="*/ 174 w 316"/>
                <a:gd name="T35" fmla="*/ 82 h 538"/>
                <a:gd name="T36" fmla="*/ 198 w 316"/>
                <a:gd name="T37" fmla="*/ 54 h 538"/>
                <a:gd name="T38" fmla="*/ 218 w 316"/>
                <a:gd name="T39" fmla="*/ 42 h 538"/>
                <a:gd name="T40" fmla="*/ 192 w 316"/>
                <a:gd name="T41" fmla="*/ 42 h 538"/>
                <a:gd name="T42" fmla="*/ 166 w 316"/>
                <a:gd name="T43" fmla="*/ 28 h 538"/>
                <a:gd name="T44" fmla="*/ 160 w 316"/>
                <a:gd name="T45" fmla="*/ 4 h 538"/>
                <a:gd name="T46" fmla="*/ 104 w 316"/>
                <a:gd name="T47" fmla="*/ 2 h 538"/>
                <a:gd name="T48" fmla="*/ 74 w 316"/>
                <a:gd name="T49" fmla="*/ 24 h 538"/>
                <a:gd name="T50" fmla="*/ 60 w 316"/>
                <a:gd name="T51" fmla="*/ 30 h 538"/>
                <a:gd name="T52" fmla="*/ 34 w 316"/>
                <a:gd name="T53" fmla="*/ 42 h 538"/>
                <a:gd name="T54" fmla="*/ 14 w 316"/>
                <a:gd name="T55" fmla="*/ 38 h 538"/>
                <a:gd name="T56" fmla="*/ 4 w 316"/>
                <a:gd name="T57" fmla="*/ 48 h 538"/>
                <a:gd name="T58" fmla="*/ 34 w 316"/>
                <a:gd name="T59" fmla="*/ 78 h 538"/>
                <a:gd name="T60" fmla="*/ 46 w 316"/>
                <a:gd name="T61" fmla="*/ 98 h 538"/>
                <a:gd name="T62" fmla="*/ 94 w 316"/>
                <a:gd name="T63" fmla="*/ 102 h 538"/>
                <a:gd name="T64" fmla="*/ 104 w 316"/>
                <a:gd name="T65" fmla="*/ 114 h 538"/>
                <a:gd name="T66" fmla="*/ 100 w 316"/>
                <a:gd name="T67" fmla="*/ 134 h 538"/>
                <a:gd name="T68" fmla="*/ 84 w 316"/>
                <a:gd name="T69" fmla="*/ 138 h 538"/>
                <a:gd name="T70" fmla="*/ 80 w 316"/>
                <a:gd name="T71" fmla="*/ 152 h 538"/>
                <a:gd name="T72" fmla="*/ 146 w 316"/>
                <a:gd name="T73" fmla="*/ 186 h 538"/>
                <a:gd name="T74" fmla="*/ 166 w 316"/>
                <a:gd name="T75" fmla="*/ 202 h 538"/>
                <a:gd name="T76" fmla="*/ 186 w 316"/>
                <a:gd name="T77" fmla="*/ 224 h 538"/>
                <a:gd name="T78" fmla="*/ 198 w 316"/>
                <a:gd name="T79" fmla="*/ 230 h 538"/>
                <a:gd name="T80" fmla="*/ 238 w 316"/>
                <a:gd name="T81" fmla="*/ 328 h 538"/>
                <a:gd name="T82" fmla="*/ 240 w 316"/>
                <a:gd name="T83" fmla="*/ 384 h 538"/>
                <a:gd name="T84" fmla="*/ 216 w 316"/>
                <a:gd name="T85" fmla="*/ 396 h 538"/>
                <a:gd name="T86" fmla="*/ 184 w 316"/>
                <a:gd name="T87" fmla="*/ 418 h 538"/>
                <a:gd name="T88" fmla="*/ 158 w 316"/>
                <a:gd name="T89" fmla="*/ 454 h 538"/>
                <a:gd name="T90" fmla="*/ 148 w 316"/>
                <a:gd name="T91" fmla="*/ 460 h 538"/>
                <a:gd name="T92" fmla="*/ 134 w 316"/>
                <a:gd name="T93" fmla="*/ 478 h 538"/>
                <a:gd name="T94" fmla="*/ 144 w 316"/>
                <a:gd name="T95" fmla="*/ 498 h 538"/>
                <a:gd name="T96" fmla="*/ 146 w 316"/>
                <a:gd name="T97" fmla="*/ 536 h 538"/>
                <a:gd name="T98" fmla="*/ 178 w 316"/>
                <a:gd name="T99" fmla="*/ 510 h 538"/>
                <a:gd name="T100" fmla="*/ 196 w 316"/>
                <a:gd name="T101" fmla="*/ 49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538">
                  <a:moveTo>
                    <a:pt x="202" y="490"/>
                  </a:moveTo>
                  <a:lnTo>
                    <a:pt x="210" y="490"/>
                  </a:lnTo>
                  <a:lnTo>
                    <a:pt x="212" y="484"/>
                  </a:lnTo>
                  <a:lnTo>
                    <a:pt x="208" y="478"/>
                  </a:lnTo>
                  <a:lnTo>
                    <a:pt x="210" y="474"/>
                  </a:lnTo>
                  <a:lnTo>
                    <a:pt x="214" y="474"/>
                  </a:lnTo>
                  <a:lnTo>
                    <a:pt x="216" y="470"/>
                  </a:lnTo>
                  <a:lnTo>
                    <a:pt x="218" y="470"/>
                  </a:lnTo>
                  <a:lnTo>
                    <a:pt x="216" y="464"/>
                  </a:lnTo>
                  <a:lnTo>
                    <a:pt x="220" y="462"/>
                  </a:lnTo>
                  <a:lnTo>
                    <a:pt x="222" y="458"/>
                  </a:lnTo>
                  <a:lnTo>
                    <a:pt x="232" y="454"/>
                  </a:lnTo>
                  <a:lnTo>
                    <a:pt x="236" y="454"/>
                  </a:lnTo>
                  <a:lnTo>
                    <a:pt x="242" y="454"/>
                  </a:lnTo>
                  <a:lnTo>
                    <a:pt x="268" y="436"/>
                  </a:lnTo>
                  <a:lnTo>
                    <a:pt x="274" y="426"/>
                  </a:lnTo>
                  <a:lnTo>
                    <a:pt x="296" y="412"/>
                  </a:lnTo>
                  <a:lnTo>
                    <a:pt x="300" y="406"/>
                  </a:lnTo>
                  <a:lnTo>
                    <a:pt x="306" y="404"/>
                  </a:lnTo>
                  <a:lnTo>
                    <a:pt x="308" y="394"/>
                  </a:lnTo>
                  <a:lnTo>
                    <a:pt x="312" y="390"/>
                  </a:lnTo>
                  <a:lnTo>
                    <a:pt x="312" y="386"/>
                  </a:lnTo>
                  <a:lnTo>
                    <a:pt x="310" y="384"/>
                  </a:lnTo>
                  <a:lnTo>
                    <a:pt x="312" y="380"/>
                  </a:lnTo>
                  <a:lnTo>
                    <a:pt x="314" y="382"/>
                  </a:lnTo>
                  <a:lnTo>
                    <a:pt x="308" y="364"/>
                  </a:lnTo>
                  <a:lnTo>
                    <a:pt x="308" y="360"/>
                  </a:lnTo>
                  <a:lnTo>
                    <a:pt x="312" y="362"/>
                  </a:lnTo>
                  <a:lnTo>
                    <a:pt x="310" y="354"/>
                  </a:lnTo>
                  <a:lnTo>
                    <a:pt x="312" y="350"/>
                  </a:lnTo>
                  <a:lnTo>
                    <a:pt x="316" y="350"/>
                  </a:lnTo>
                  <a:lnTo>
                    <a:pt x="316" y="352"/>
                  </a:lnTo>
                  <a:lnTo>
                    <a:pt x="314" y="340"/>
                  </a:lnTo>
                  <a:lnTo>
                    <a:pt x="310" y="338"/>
                  </a:lnTo>
                  <a:lnTo>
                    <a:pt x="308" y="320"/>
                  </a:lnTo>
                  <a:lnTo>
                    <a:pt x="306" y="316"/>
                  </a:lnTo>
                  <a:lnTo>
                    <a:pt x="306" y="310"/>
                  </a:lnTo>
                  <a:lnTo>
                    <a:pt x="284" y="258"/>
                  </a:lnTo>
                  <a:lnTo>
                    <a:pt x="266" y="248"/>
                  </a:lnTo>
                  <a:lnTo>
                    <a:pt x="260" y="242"/>
                  </a:lnTo>
                  <a:lnTo>
                    <a:pt x="258" y="234"/>
                  </a:lnTo>
                  <a:lnTo>
                    <a:pt x="258" y="236"/>
                  </a:lnTo>
                  <a:lnTo>
                    <a:pt x="254" y="238"/>
                  </a:lnTo>
                  <a:lnTo>
                    <a:pt x="252" y="234"/>
                  </a:lnTo>
                  <a:lnTo>
                    <a:pt x="248" y="230"/>
                  </a:lnTo>
                  <a:lnTo>
                    <a:pt x="236" y="230"/>
                  </a:lnTo>
                  <a:lnTo>
                    <a:pt x="182" y="194"/>
                  </a:lnTo>
                  <a:lnTo>
                    <a:pt x="180" y="186"/>
                  </a:lnTo>
                  <a:lnTo>
                    <a:pt x="174" y="178"/>
                  </a:lnTo>
                  <a:lnTo>
                    <a:pt x="150" y="164"/>
                  </a:lnTo>
                  <a:lnTo>
                    <a:pt x="146" y="158"/>
                  </a:lnTo>
                  <a:lnTo>
                    <a:pt x="154" y="116"/>
                  </a:lnTo>
                  <a:lnTo>
                    <a:pt x="172" y="92"/>
                  </a:lnTo>
                  <a:lnTo>
                    <a:pt x="174" y="82"/>
                  </a:lnTo>
                  <a:lnTo>
                    <a:pt x="180" y="74"/>
                  </a:lnTo>
                  <a:lnTo>
                    <a:pt x="198" y="60"/>
                  </a:lnTo>
                  <a:lnTo>
                    <a:pt x="198" y="54"/>
                  </a:lnTo>
                  <a:lnTo>
                    <a:pt x="210" y="44"/>
                  </a:lnTo>
                  <a:lnTo>
                    <a:pt x="216" y="44"/>
                  </a:lnTo>
                  <a:lnTo>
                    <a:pt x="218" y="42"/>
                  </a:lnTo>
                  <a:lnTo>
                    <a:pt x="218" y="40"/>
                  </a:lnTo>
                  <a:lnTo>
                    <a:pt x="212" y="38"/>
                  </a:lnTo>
                  <a:lnTo>
                    <a:pt x="192" y="42"/>
                  </a:lnTo>
                  <a:lnTo>
                    <a:pt x="190" y="40"/>
                  </a:lnTo>
                  <a:lnTo>
                    <a:pt x="172" y="34"/>
                  </a:lnTo>
                  <a:lnTo>
                    <a:pt x="166" y="28"/>
                  </a:lnTo>
                  <a:lnTo>
                    <a:pt x="162" y="20"/>
                  </a:lnTo>
                  <a:lnTo>
                    <a:pt x="164" y="10"/>
                  </a:lnTo>
                  <a:lnTo>
                    <a:pt x="160" y="4"/>
                  </a:lnTo>
                  <a:lnTo>
                    <a:pt x="138" y="6"/>
                  </a:lnTo>
                  <a:lnTo>
                    <a:pt x="108" y="0"/>
                  </a:lnTo>
                  <a:lnTo>
                    <a:pt x="104" y="2"/>
                  </a:lnTo>
                  <a:lnTo>
                    <a:pt x="92" y="16"/>
                  </a:lnTo>
                  <a:lnTo>
                    <a:pt x="80" y="24"/>
                  </a:lnTo>
                  <a:lnTo>
                    <a:pt x="74" y="24"/>
                  </a:lnTo>
                  <a:lnTo>
                    <a:pt x="68" y="30"/>
                  </a:lnTo>
                  <a:lnTo>
                    <a:pt x="62" y="34"/>
                  </a:lnTo>
                  <a:lnTo>
                    <a:pt x="60" y="30"/>
                  </a:lnTo>
                  <a:lnTo>
                    <a:pt x="50" y="34"/>
                  </a:lnTo>
                  <a:lnTo>
                    <a:pt x="46" y="32"/>
                  </a:lnTo>
                  <a:lnTo>
                    <a:pt x="34" y="42"/>
                  </a:lnTo>
                  <a:lnTo>
                    <a:pt x="30" y="42"/>
                  </a:lnTo>
                  <a:lnTo>
                    <a:pt x="24" y="38"/>
                  </a:lnTo>
                  <a:lnTo>
                    <a:pt x="14" y="38"/>
                  </a:lnTo>
                  <a:lnTo>
                    <a:pt x="12" y="38"/>
                  </a:lnTo>
                  <a:lnTo>
                    <a:pt x="10" y="38"/>
                  </a:lnTo>
                  <a:lnTo>
                    <a:pt x="4" y="48"/>
                  </a:lnTo>
                  <a:lnTo>
                    <a:pt x="6" y="50"/>
                  </a:lnTo>
                  <a:lnTo>
                    <a:pt x="0" y="50"/>
                  </a:lnTo>
                  <a:lnTo>
                    <a:pt x="34" y="78"/>
                  </a:lnTo>
                  <a:lnTo>
                    <a:pt x="32" y="86"/>
                  </a:lnTo>
                  <a:lnTo>
                    <a:pt x="34" y="92"/>
                  </a:lnTo>
                  <a:lnTo>
                    <a:pt x="46" y="98"/>
                  </a:lnTo>
                  <a:lnTo>
                    <a:pt x="58" y="98"/>
                  </a:lnTo>
                  <a:lnTo>
                    <a:pt x="82" y="92"/>
                  </a:lnTo>
                  <a:lnTo>
                    <a:pt x="94" y="102"/>
                  </a:lnTo>
                  <a:lnTo>
                    <a:pt x="96" y="106"/>
                  </a:lnTo>
                  <a:lnTo>
                    <a:pt x="102" y="108"/>
                  </a:lnTo>
                  <a:lnTo>
                    <a:pt x="104" y="114"/>
                  </a:lnTo>
                  <a:lnTo>
                    <a:pt x="110" y="118"/>
                  </a:lnTo>
                  <a:lnTo>
                    <a:pt x="110" y="122"/>
                  </a:lnTo>
                  <a:lnTo>
                    <a:pt x="100" y="134"/>
                  </a:lnTo>
                  <a:lnTo>
                    <a:pt x="96" y="136"/>
                  </a:lnTo>
                  <a:lnTo>
                    <a:pt x="88" y="136"/>
                  </a:lnTo>
                  <a:lnTo>
                    <a:pt x="84" y="138"/>
                  </a:lnTo>
                  <a:lnTo>
                    <a:pt x="82" y="142"/>
                  </a:lnTo>
                  <a:lnTo>
                    <a:pt x="80" y="148"/>
                  </a:lnTo>
                  <a:lnTo>
                    <a:pt x="80" y="152"/>
                  </a:lnTo>
                  <a:lnTo>
                    <a:pt x="126" y="168"/>
                  </a:lnTo>
                  <a:lnTo>
                    <a:pt x="128" y="176"/>
                  </a:lnTo>
                  <a:lnTo>
                    <a:pt x="146" y="186"/>
                  </a:lnTo>
                  <a:lnTo>
                    <a:pt x="150" y="192"/>
                  </a:lnTo>
                  <a:lnTo>
                    <a:pt x="162" y="202"/>
                  </a:lnTo>
                  <a:lnTo>
                    <a:pt x="166" y="202"/>
                  </a:lnTo>
                  <a:lnTo>
                    <a:pt x="180" y="208"/>
                  </a:lnTo>
                  <a:lnTo>
                    <a:pt x="186" y="222"/>
                  </a:lnTo>
                  <a:lnTo>
                    <a:pt x="186" y="224"/>
                  </a:lnTo>
                  <a:lnTo>
                    <a:pt x="188" y="224"/>
                  </a:lnTo>
                  <a:lnTo>
                    <a:pt x="192" y="232"/>
                  </a:lnTo>
                  <a:lnTo>
                    <a:pt x="198" y="230"/>
                  </a:lnTo>
                  <a:lnTo>
                    <a:pt x="214" y="240"/>
                  </a:lnTo>
                  <a:lnTo>
                    <a:pt x="232" y="270"/>
                  </a:lnTo>
                  <a:lnTo>
                    <a:pt x="238" y="328"/>
                  </a:lnTo>
                  <a:lnTo>
                    <a:pt x="244" y="336"/>
                  </a:lnTo>
                  <a:lnTo>
                    <a:pt x="244" y="378"/>
                  </a:lnTo>
                  <a:lnTo>
                    <a:pt x="240" y="384"/>
                  </a:lnTo>
                  <a:lnTo>
                    <a:pt x="234" y="384"/>
                  </a:lnTo>
                  <a:lnTo>
                    <a:pt x="222" y="394"/>
                  </a:lnTo>
                  <a:lnTo>
                    <a:pt x="216" y="396"/>
                  </a:lnTo>
                  <a:lnTo>
                    <a:pt x="204" y="404"/>
                  </a:lnTo>
                  <a:lnTo>
                    <a:pt x="204" y="410"/>
                  </a:lnTo>
                  <a:lnTo>
                    <a:pt x="184" y="418"/>
                  </a:lnTo>
                  <a:lnTo>
                    <a:pt x="182" y="428"/>
                  </a:lnTo>
                  <a:lnTo>
                    <a:pt x="184" y="438"/>
                  </a:lnTo>
                  <a:lnTo>
                    <a:pt x="158" y="454"/>
                  </a:lnTo>
                  <a:lnTo>
                    <a:pt x="154" y="454"/>
                  </a:lnTo>
                  <a:lnTo>
                    <a:pt x="148" y="454"/>
                  </a:lnTo>
                  <a:lnTo>
                    <a:pt x="148" y="460"/>
                  </a:lnTo>
                  <a:lnTo>
                    <a:pt x="144" y="464"/>
                  </a:lnTo>
                  <a:lnTo>
                    <a:pt x="128" y="472"/>
                  </a:lnTo>
                  <a:lnTo>
                    <a:pt x="134" y="478"/>
                  </a:lnTo>
                  <a:lnTo>
                    <a:pt x="146" y="482"/>
                  </a:lnTo>
                  <a:lnTo>
                    <a:pt x="152" y="484"/>
                  </a:lnTo>
                  <a:lnTo>
                    <a:pt x="144" y="498"/>
                  </a:lnTo>
                  <a:lnTo>
                    <a:pt x="144" y="516"/>
                  </a:lnTo>
                  <a:lnTo>
                    <a:pt x="150" y="532"/>
                  </a:lnTo>
                  <a:lnTo>
                    <a:pt x="146" y="536"/>
                  </a:lnTo>
                  <a:lnTo>
                    <a:pt x="148" y="538"/>
                  </a:lnTo>
                  <a:lnTo>
                    <a:pt x="154" y="538"/>
                  </a:lnTo>
                  <a:lnTo>
                    <a:pt x="178" y="510"/>
                  </a:lnTo>
                  <a:lnTo>
                    <a:pt x="194" y="502"/>
                  </a:lnTo>
                  <a:lnTo>
                    <a:pt x="196" y="498"/>
                  </a:lnTo>
                  <a:lnTo>
                    <a:pt x="196" y="494"/>
                  </a:lnTo>
                  <a:lnTo>
                    <a:pt x="202" y="49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24" name="Freeform 484"/>
            <p:cNvSpPr>
              <a:spLocks/>
            </p:cNvSpPr>
            <p:nvPr/>
          </p:nvSpPr>
          <p:spPr bwMode="auto">
            <a:xfrm>
              <a:off x="6413501" y="3363913"/>
              <a:ext cx="209550" cy="285750"/>
            </a:xfrm>
            <a:custGeom>
              <a:avLst/>
              <a:gdLst>
                <a:gd name="T0" fmla="*/ 88 w 122"/>
                <a:gd name="T1" fmla="*/ 26 h 180"/>
                <a:gd name="T2" fmla="*/ 116 w 122"/>
                <a:gd name="T3" fmla="*/ 62 h 180"/>
                <a:gd name="T4" fmla="*/ 120 w 122"/>
                <a:gd name="T5" fmla="*/ 100 h 180"/>
                <a:gd name="T6" fmla="*/ 106 w 122"/>
                <a:gd name="T7" fmla="*/ 110 h 180"/>
                <a:gd name="T8" fmla="*/ 102 w 122"/>
                <a:gd name="T9" fmla="*/ 124 h 180"/>
                <a:gd name="T10" fmla="*/ 94 w 122"/>
                <a:gd name="T11" fmla="*/ 126 h 180"/>
                <a:gd name="T12" fmla="*/ 90 w 122"/>
                <a:gd name="T13" fmla="*/ 136 h 180"/>
                <a:gd name="T14" fmla="*/ 90 w 122"/>
                <a:gd name="T15" fmla="*/ 144 h 180"/>
                <a:gd name="T16" fmla="*/ 82 w 122"/>
                <a:gd name="T17" fmla="*/ 142 h 180"/>
                <a:gd name="T18" fmla="*/ 84 w 122"/>
                <a:gd name="T19" fmla="*/ 154 h 180"/>
                <a:gd name="T20" fmla="*/ 80 w 122"/>
                <a:gd name="T21" fmla="*/ 156 h 180"/>
                <a:gd name="T22" fmla="*/ 80 w 122"/>
                <a:gd name="T23" fmla="*/ 146 h 180"/>
                <a:gd name="T24" fmla="*/ 74 w 122"/>
                <a:gd name="T25" fmla="*/ 164 h 180"/>
                <a:gd name="T26" fmla="*/ 68 w 122"/>
                <a:gd name="T27" fmla="*/ 162 h 180"/>
                <a:gd name="T28" fmla="*/ 62 w 122"/>
                <a:gd name="T29" fmla="*/ 170 h 180"/>
                <a:gd name="T30" fmla="*/ 60 w 122"/>
                <a:gd name="T31" fmla="*/ 180 h 180"/>
                <a:gd name="T32" fmla="*/ 56 w 122"/>
                <a:gd name="T33" fmla="*/ 172 h 180"/>
                <a:gd name="T34" fmla="*/ 62 w 122"/>
                <a:gd name="T35" fmla="*/ 166 h 180"/>
                <a:gd name="T36" fmla="*/ 58 w 122"/>
                <a:gd name="T37" fmla="*/ 158 h 180"/>
                <a:gd name="T38" fmla="*/ 54 w 122"/>
                <a:gd name="T39" fmla="*/ 162 h 180"/>
                <a:gd name="T40" fmla="*/ 50 w 122"/>
                <a:gd name="T41" fmla="*/ 150 h 180"/>
                <a:gd name="T42" fmla="*/ 46 w 122"/>
                <a:gd name="T43" fmla="*/ 132 h 180"/>
                <a:gd name="T44" fmla="*/ 46 w 122"/>
                <a:gd name="T45" fmla="*/ 124 h 180"/>
                <a:gd name="T46" fmla="*/ 42 w 122"/>
                <a:gd name="T47" fmla="*/ 118 h 180"/>
                <a:gd name="T48" fmla="*/ 34 w 122"/>
                <a:gd name="T49" fmla="*/ 114 h 180"/>
                <a:gd name="T50" fmla="*/ 18 w 122"/>
                <a:gd name="T51" fmla="*/ 96 h 180"/>
                <a:gd name="T52" fmla="*/ 20 w 122"/>
                <a:gd name="T53" fmla="*/ 106 h 180"/>
                <a:gd name="T54" fmla="*/ 12 w 122"/>
                <a:gd name="T55" fmla="*/ 104 h 180"/>
                <a:gd name="T56" fmla="*/ 12 w 122"/>
                <a:gd name="T57" fmla="*/ 92 h 180"/>
                <a:gd name="T58" fmla="*/ 20 w 122"/>
                <a:gd name="T59" fmla="*/ 82 h 180"/>
                <a:gd name="T60" fmla="*/ 30 w 122"/>
                <a:gd name="T61" fmla="*/ 84 h 180"/>
                <a:gd name="T62" fmla="*/ 22 w 122"/>
                <a:gd name="T63" fmla="*/ 76 h 180"/>
                <a:gd name="T64" fmla="*/ 18 w 122"/>
                <a:gd name="T65" fmla="*/ 72 h 180"/>
                <a:gd name="T66" fmla="*/ 14 w 122"/>
                <a:gd name="T67" fmla="*/ 68 h 180"/>
                <a:gd name="T68" fmla="*/ 10 w 122"/>
                <a:gd name="T69" fmla="*/ 68 h 180"/>
                <a:gd name="T70" fmla="*/ 10 w 122"/>
                <a:gd name="T71" fmla="*/ 64 h 180"/>
                <a:gd name="T72" fmla="*/ 2 w 122"/>
                <a:gd name="T73" fmla="*/ 62 h 180"/>
                <a:gd name="T74" fmla="*/ 2 w 122"/>
                <a:gd name="T75" fmla="*/ 58 h 180"/>
                <a:gd name="T76" fmla="*/ 26 w 122"/>
                <a:gd name="T77" fmla="*/ 22 h 180"/>
                <a:gd name="T78" fmla="*/ 34 w 122"/>
                <a:gd name="T7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2" h="180">
                  <a:moveTo>
                    <a:pt x="34" y="0"/>
                  </a:moveTo>
                  <a:lnTo>
                    <a:pt x="88" y="26"/>
                  </a:lnTo>
                  <a:lnTo>
                    <a:pt x="112" y="64"/>
                  </a:lnTo>
                  <a:lnTo>
                    <a:pt x="116" y="62"/>
                  </a:lnTo>
                  <a:lnTo>
                    <a:pt x="122" y="90"/>
                  </a:lnTo>
                  <a:lnTo>
                    <a:pt x="120" y="100"/>
                  </a:lnTo>
                  <a:lnTo>
                    <a:pt x="112" y="110"/>
                  </a:lnTo>
                  <a:lnTo>
                    <a:pt x="106" y="110"/>
                  </a:lnTo>
                  <a:lnTo>
                    <a:pt x="106" y="126"/>
                  </a:lnTo>
                  <a:lnTo>
                    <a:pt x="102" y="124"/>
                  </a:lnTo>
                  <a:lnTo>
                    <a:pt x="100" y="126"/>
                  </a:lnTo>
                  <a:lnTo>
                    <a:pt x="94" y="126"/>
                  </a:lnTo>
                  <a:lnTo>
                    <a:pt x="86" y="136"/>
                  </a:lnTo>
                  <a:lnTo>
                    <a:pt x="90" y="136"/>
                  </a:lnTo>
                  <a:lnTo>
                    <a:pt x="90" y="142"/>
                  </a:lnTo>
                  <a:lnTo>
                    <a:pt x="90" y="144"/>
                  </a:lnTo>
                  <a:lnTo>
                    <a:pt x="86" y="142"/>
                  </a:lnTo>
                  <a:lnTo>
                    <a:pt x="82" y="142"/>
                  </a:lnTo>
                  <a:lnTo>
                    <a:pt x="86" y="150"/>
                  </a:lnTo>
                  <a:lnTo>
                    <a:pt x="84" y="154"/>
                  </a:lnTo>
                  <a:lnTo>
                    <a:pt x="82" y="156"/>
                  </a:lnTo>
                  <a:lnTo>
                    <a:pt x="80" y="156"/>
                  </a:lnTo>
                  <a:lnTo>
                    <a:pt x="82" y="150"/>
                  </a:lnTo>
                  <a:lnTo>
                    <a:pt x="80" y="146"/>
                  </a:lnTo>
                  <a:lnTo>
                    <a:pt x="76" y="154"/>
                  </a:lnTo>
                  <a:lnTo>
                    <a:pt x="74" y="164"/>
                  </a:lnTo>
                  <a:lnTo>
                    <a:pt x="72" y="166"/>
                  </a:lnTo>
                  <a:lnTo>
                    <a:pt x="68" y="162"/>
                  </a:lnTo>
                  <a:lnTo>
                    <a:pt x="66" y="174"/>
                  </a:lnTo>
                  <a:lnTo>
                    <a:pt x="62" y="170"/>
                  </a:lnTo>
                  <a:lnTo>
                    <a:pt x="58" y="174"/>
                  </a:lnTo>
                  <a:lnTo>
                    <a:pt x="60" y="180"/>
                  </a:lnTo>
                  <a:lnTo>
                    <a:pt x="56" y="178"/>
                  </a:lnTo>
                  <a:lnTo>
                    <a:pt x="56" y="172"/>
                  </a:lnTo>
                  <a:lnTo>
                    <a:pt x="54" y="166"/>
                  </a:lnTo>
                  <a:lnTo>
                    <a:pt x="62" y="166"/>
                  </a:lnTo>
                  <a:lnTo>
                    <a:pt x="58" y="162"/>
                  </a:lnTo>
                  <a:lnTo>
                    <a:pt x="58" y="158"/>
                  </a:lnTo>
                  <a:lnTo>
                    <a:pt x="54" y="158"/>
                  </a:lnTo>
                  <a:lnTo>
                    <a:pt x="54" y="162"/>
                  </a:lnTo>
                  <a:lnTo>
                    <a:pt x="50" y="158"/>
                  </a:lnTo>
                  <a:lnTo>
                    <a:pt x="50" y="150"/>
                  </a:lnTo>
                  <a:lnTo>
                    <a:pt x="46" y="146"/>
                  </a:lnTo>
                  <a:lnTo>
                    <a:pt x="46" y="132"/>
                  </a:lnTo>
                  <a:lnTo>
                    <a:pt x="44" y="130"/>
                  </a:lnTo>
                  <a:lnTo>
                    <a:pt x="46" y="124"/>
                  </a:lnTo>
                  <a:lnTo>
                    <a:pt x="44" y="120"/>
                  </a:lnTo>
                  <a:lnTo>
                    <a:pt x="42" y="118"/>
                  </a:lnTo>
                  <a:lnTo>
                    <a:pt x="40" y="114"/>
                  </a:lnTo>
                  <a:lnTo>
                    <a:pt x="34" y="114"/>
                  </a:lnTo>
                  <a:lnTo>
                    <a:pt x="22" y="96"/>
                  </a:lnTo>
                  <a:lnTo>
                    <a:pt x="18" y="96"/>
                  </a:lnTo>
                  <a:lnTo>
                    <a:pt x="22" y="102"/>
                  </a:lnTo>
                  <a:lnTo>
                    <a:pt x="20" y="106"/>
                  </a:lnTo>
                  <a:lnTo>
                    <a:pt x="16" y="102"/>
                  </a:lnTo>
                  <a:lnTo>
                    <a:pt x="12" y="104"/>
                  </a:lnTo>
                  <a:lnTo>
                    <a:pt x="10" y="98"/>
                  </a:lnTo>
                  <a:lnTo>
                    <a:pt x="12" y="92"/>
                  </a:lnTo>
                  <a:lnTo>
                    <a:pt x="16" y="90"/>
                  </a:lnTo>
                  <a:lnTo>
                    <a:pt x="20" y="82"/>
                  </a:lnTo>
                  <a:lnTo>
                    <a:pt x="28" y="84"/>
                  </a:lnTo>
                  <a:lnTo>
                    <a:pt x="30" y="84"/>
                  </a:lnTo>
                  <a:lnTo>
                    <a:pt x="24" y="80"/>
                  </a:lnTo>
                  <a:lnTo>
                    <a:pt x="22" y="76"/>
                  </a:lnTo>
                  <a:lnTo>
                    <a:pt x="18" y="74"/>
                  </a:lnTo>
                  <a:lnTo>
                    <a:pt x="18" y="72"/>
                  </a:lnTo>
                  <a:lnTo>
                    <a:pt x="18" y="70"/>
                  </a:lnTo>
                  <a:lnTo>
                    <a:pt x="14" y="68"/>
                  </a:lnTo>
                  <a:lnTo>
                    <a:pt x="12" y="70"/>
                  </a:lnTo>
                  <a:lnTo>
                    <a:pt x="10" y="68"/>
                  </a:lnTo>
                  <a:lnTo>
                    <a:pt x="8" y="66"/>
                  </a:lnTo>
                  <a:lnTo>
                    <a:pt x="10" y="64"/>
                  </a:lnTo>
                  <a:lnTo>
                    <a:pt x="4" y="64"/>
                  </a:lnTo>
                  <a:lnTo>
                    <a:pt x="2" y="62"/>
                  </a:lnTo>
                  <a:lnTo>
                    <a:pt x="0" y="58"/>
                  </a:lnTo>
                  <a:lnTo>
                    <a:pt x="2" y="58"/>
                  </a:lnTo>
                  <a:lnTo>
                    <a:pt x="10" y="32"/>
                  </a:lnTo>
                  <a:lnTo>
                    <a:pt x="26" y="22"/>
                  </a:lnTo>
                  <a:lnTo>
                    <a:pt x="30" y="14"/>
                  </a:lnTo>
                  <a:lnTo>
                    <a:pt x="34" y="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25" name="Freeform 485"/>
            <p:cNvSpPr>
              <a:spLocks/>
            </p:cNvSpPr>
            <p:nvPr/>
          </p:nvSpPr>
          <p:spPr bwMode="auto">
            <a:xfrm>
              <a:off x="6413501" y="3363913"/>
              <a:ext cx="209550" cy="285750"/>
            </a:xfrm>
            <a:custGeom>
              <a:avLst/>
              <a:gdLst>
                <a:gd name="T0" fmla="*/ 88 w 122"/>
                <a:gd name="T1" fmla="*/ 26 h 180"/>
                <a:gd name="T2" fmla="*/ 116 w 122"/>
                <a:gd name="T3" fmla="*/ 62 h 180"/>
                <a:gd name="T4" fmla="*/ 120 w 122"/>
                <a:gd name="T5" fmla="*/ 100 h 180"/>
                <a:gd name="T6" fmla="*/ 106 w 122"/>
                <a:gd name="T7" fmla="*/ 110 h 180"/>
                <a:gd name="T8" fmla="*/ 102 w 122"/>
                <a:gd name="T9" fmla="*/ 124 h 180"/>
                <a:gd name="T10" fmla="*/ 94 w 122"/>
                <a:gd name="T11" fmla="*/ 126 h 180"/>
                <a:gd name="T12" fmla="*/ 90 w 122"/>
                <a:gd name="T13" fmla="*/ 136 h 180"/>
                <a:gd name="T14" fmla="*/ 90 w 122"/>
                <a:gd name="T15" fmla="*/ 144 h 180"/>
                <a:gd name="T16" fmla="*/ 82 w 122"/>
                <a:gd name="T17" fmla="*/ 142 h 180"/>
                <a:gd name="T18" fmla="*/ 84 w 122"/>
                <a:gd name="T19" fmla="*/ 154 h 180"/>
                <a:gd name="T20" fmla="*/ 80 w 122"/>
                <a:gd name="T21" fmla="*/ 156 h 180"/>
                <a:gd name="T22" fmla="*/ 80 w 122"/>
                <a:gd name="T23" fmla="*/ 146 h 180"/>
                <a:gd name="T24" fmla="*/ 74 w 122"/>
                <a:gd name="T25" fmla="*/ 164 h 180"/>
                <a:gd name="T26" fmla="*/ 68 w 122"/>
                <a:gd name="T27" fmla="*/ 162 h 180"/>
                <a:gd name="T28" fmla="*/ 62 w 122"/>
                <a:gd name="T29" fmla="*/ 170 h 180"/>
                <a:gd name="T30" fmla="*/ 60 w 122"/>
                <a:gd name="T31" fmla="*/ 180 h 180"/>
                <a:gd name="T32" fmla="*/ 56 w 122"/>
                <a:gd name="T33" fmla="*/ 172 h 180"/>
                <a:gd name="T34" fmla="*/ 62 w 122"/>
                <a:gd name="T35" fmla="*/ 166 h 180"/>
                <a:gd name="T36" fmla="*/ 58 w 122"/>
                <a:gd name="T37" fmla="*/ 158 h 180"/>
                <a:gd name="T38" fmla="*/ 54 w 122"/>
                <a:gd name="T39" fmla="*/ 162 h 180"/>
                <a:gd name="T40" fmla="*/ 50 w 122"/>
                <a:gd name="T41" fmla="*/ 150 h 180"/>
                <a:gd name="T42" fmla="*/ 46 w 122"/>
                <a:gd name="T43" fmla="*/ 132 h 180"/>
                <a:gd name="T44" fmla="*/ 46 w 122"/>
                <a:gd name="T45" fmla="*/ 124 h 180"/>
                <a:gd name="T46" fmla="*/ 42 w 122"/>
                <a:gd name="T47" fmla="*/ 118 h 180"/>
                <a:gd name="T48" fmla="*/ 34 w 122"/>
                <a:gd name="T49" fmla="*/ 114 h 180"/>
                <a:gd name="T50" fmla="*/ 18 w 122"/>
                <a:gd name="T51" fmla="*/ 96 h 180"/>
                <a:gd name="T52" fmla="*/ 20 w 122"/>
                <a:gd name="T53" fmla="*/ 106 h 180"/>
                <a:gd name="T54" fmla="*/ 12 w 122"/>
                <a:gd name="T55" fmla="*/ 104 h 180"/>
                <a:gd name="T56" fmla="*/ 12 w 122"/>
                <a:gd name="T57" fmla="*/ 92 h 180"/>
                <a:gd name="T58" fmla="*/ 20 w 122"/>
                <a:gd name="T59" fmla="*/ 82 h 180"/>
                <a:gd name="T60" fmla="*/ 30 w 122"/>
                <a:gd name="T61" fmla="*/ 84 h 180"/>
                <a:gd name="T62" fmla="*/ 22 w 122"/>
                <a:gd name="T63" fmla="*/ 76 h 180"/>
                <a:gd name="T64" fmla="*/ 18 w 122"/>
                <a:gd name="T65" fmla="*/ 72 h 180"/>
                <a:gd name="T66" fmla="*/ 14 w 122"/>
                <a:gd name="T67" fmla="*/ 68 h 180"/>
                <a:gd name="T68" fmla="*/ 10 w 122"/>
                <a:gd name="T69" fmla="*/ 68 h 180"/>
                <a:gd name="T70" fmla="*/ 10 w 122"/>
                <a:gd name="T71" fmla="*/ 64 h 180"/>
                <a:gd name="T72" fmla="*/ 2 w 122"/>
                <a:gd name="T73" fmla="*/ 62 h 180"/>
                <a:gd name="T74" fmla="*/ 2 w 122"/>
                <a:gd name="T75" fmla="*/ 58 h 180"/>
                <a:gd name="T76" fmla="*/ 26 w 122"/>
                <a:gd name="T77" fmla="*/ 22 h 180"/>
                <a:gd name="T78" fmla="*/ 34 w 122"/>
                <a:gd name="T7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2" h="180">
                  <a:moveTo>
                    <a:pt x="34" y="0"/>
                  </a:moveTo>
                  <a:lnTo>
                    <a:pt x="88" y="26"/>
                  </a:lnTo>
                  <a:lnTo>
                    <a:pt x="112" y="64"/>
                  </a:lnTo>
                  <a:lnTo>
                    <a:pt x="116" y="62"/>
                  </a:lnTo>
                  <a:lnTo>
                    <a:pt x="122" y="90"/>
                  </a:lnTo>
                  <a:lnTo>
                    <a:pt x="120" y="100"/>
                  </a:lnTo>
                  <a:lnTo>
                    <a:pt x="112" y="110"/>
                  </a:lnTo>
                  <a:lnTo>
                    <a:pt x="106" y="110"/>
                  </a:lnTo>
                  <a:lnTo>
                    <a:pt x="106" y="126"/>
                  </a:lnTo>
                  <a:lnTo>
                    <a:pt x="102" y="124"/>
                  </a:lnTo>
                  <a:lnTo>
                    <a:pt x="100" y="126"/>
                  </a:lnTo>
                  <a:lnTo>
                    <a:pt x="94" y="126"/>
                  </a:lnTo>
                  <a:lnTo>
                    <a:pt x="86" y="136"/>
                  </a:lnTo>
                  <a:lnTo>
                    <a:pt x="90" y="136"/>
                  </a:lnTo>
                  <a:lnTo>
                    <a:pt x="90" y="142"/>
                  </a:lnTo>
                  <a:lnTo>
                    <a:pt x="90" y="144"/>
                  </a:lnTo>
                  <a:lnTo>
                    <a:pt x="86" y="142"/>
                  </a:lnTo>
                  <a:lnTo>
                    <a:pt x="82" y="142"/>
                  </a:lnTo>
                  <a:lnTo>
                    <a:pt x="86" y="150"/>
                  </a:lnTo>
                  <a:lnTo>
                    <a:pt x="84" y="154"/>
                  </a:lnTo>
                  <a:lnTo>
                    <a:pt x="82" y="156"/>
                  </a:lnTo>
                  <a:lnTo>
                    <a:pt x="80" y="156"/>
                  </a:lnTo>
                  <a:lnTo>
                    <a:pt x="82" y="150"/>
                  </a:lnTo>
                  <a:lnTo>
                    <a:pt x="80" y="146"/>
                  </a:lnTo>
                  <a:lnTo>
                    <a:pt x="76" y="154"/>
                  </a:lnTo>
                  <a:lnTo>
                    <a:pt x="74" y="164"/>
                  </a:lnTo>
                  <a:lnTo>
                    <a:pt x="72" y="166"/>
                  </a:lnTo>
                  <a:lnTo>
                    <a:pt x="68" y="162"/>
                  </a:lnTo>
                  <a:lnTo>
                    <a:pt x="66" y="174"/>
                  </a:lnTo>
                  <a:lnTo>
                    <a:pt x="62" y="170"/>
                  </a:lnTo>
                  <a:lnTo>
                    <a:pt x="58" y="174"/>
                  </a:lnTo>
                  <a:lnTo>
                    <a:pt x="60" y="180"/>
                  </a:lnTo>
                  <a:lnTo>
                    <a:pt x="56" y="178"/>
                  </a:lnTo>
                  <a:lnTo>
                    <a:pt x="56" y="172"/>
                  </a:lnTo>
                  <a:lnTo>
                    <a:pt x="54" y="166"/>
                  </a:lnTo>
                  <a:lnTo>
                    <a:pt x="62" y="166"/>
                  </a:lnTo>
                  <a:lnTo>
                    <a:pt x="58" y="162"/>
                  </a:lnTo>
                  <a:lnTo>
                    <a:pt x="58" y="158"/>
                  </a:lnTo>
                  <a:lnTo>
                    <a:pt x="54" y="158"/>
                  </a:lnTo>
                  <a:lnTo>
                    <a:pt x="54" y="162"/>
                  </a:lnTo>
                  <a:lnTo>
                    <a:pt x="50" y="158"/>
                  </a:lnTo>
                  <a:lnTo>
                    <a:pt x="50" y="150"/>
                  </a:lnTo>
                  <a:lnTo>
                    <a:pt x="46" y="146"/>
                  </a:lnTo>
                  <a:lnTo>
                    <a:pt x="46" y="132"/>
                  </a:lnTo>
                  <a:lnTo>
                    <a:pt x="44" y="130"/>
                  </a:lnTo>
                  <a:lnTo>
                    <a:pt x="46" y="124"/>
                  </a:lnTo>
                  <a:lnTo>
                    <a:pt x="44" y="120"/>
                  </a:lnTo>
                  <a:lnTo>
                    <a:pt x="42" y="118"/>
                  </a:lnTo>
                  <a:lnTo>
                    <a:pt x="40" y="114"/>
                  </a:lnTo>
                  <a:lnTo>
                    <a:pt x="34" y="114"/>
                  </a:lnTo>
                  <a:lnTo>
                    <a:pt x="22" y="96"/>
                  </a:lnTo>
                  <a:lnTo>
                    <a:pt x="18" y="96"/>
                  </a:lnTo>
                  <a:lnTo>
                    <a:pt x="22" y="102"/>
                  </a:lnTo>
                  <a:lnTo>
                    <a:pt x="20" y="106"/>
                  </a:lnTo>
                  <a:lnTo>
                    <a:pt x="16" y="102"/>
                  </a:lnTo>
                  <a:lnTo>
                    <a:pt x="12" y="104"/>
                  </a:lnTo>
                  <a:lnTo>
                    <a:pt x="10" y="98"/>
                  </a:lnTo>
                  <a:lnTo>
                    <a:pt x="12" y="92"/>
                  </a:lnTo>
                  <a:lnTo>
                    <a:pt x="16" y="90"/>
                  </a:lnTo>
                  <a:lnTo>
                    <a:pt x="20" y="82"/>
                  </a:lnTo>
                  <a:lnTo>
                    <a:pt x="28" y="84"/>
                  </a:lnTo>
                  <a:lnTo>
                    <a:pt x="30" y="84"/>
                  </a:lnTo>
                  <a:lnTo>
                    <a:pt x="24" y="80"/>
                  </a:lnTo>
                  <a:lnTo>
                    <a:pt x="22" y="76"/>
                  </a:lnTo>
                  <a:lnTo>
                    <a:pt x="18" y="74"/>
                  </a:lnTo>
                  <a:lnTo>
                    <a:pt x="18" y="72"/>
                  </a:lnTo>
                  <a:lnTo>
                    <a:pt x="18" y="70"/>
                  </a:lnTo>
                  <a:lnTo>
                    <a:pt x="14" y="68"/>
                  </a:lnTo>
                  <a:lnTo>
                    <a:pt x="12" y="70"/>
                  </a:lnTo>
                  <a:lnTo>
                    <a:pt x="10" y="68"/>
                  </a:lnTo>
                  <a:lnTo>
                    <a:pt x="8" y="66"/>
                  </a:lnTo>
                  <a:lnTo>
                    <a:pt x="10" y="64"/>
                  </a:lnTo>
                  <a:lnTo>
                    <a:pt x="4" y="64"/>
                  </a:lnTo>
                  <a:lnTo>
                    <a:pt x="2" y="62"/>
                  </a:lnTo>
                  <a:lnTo>
                    <a:pt x="0" y="58"/>
                  </a:lnTo>
                  <a:lnTo>
                    <a:pt x="2" y="58"/>
                  </a:lnTo>
                  <a:lnTo>
                    <a:pt x="10" y="32"/>
                  </a:lnTo>
                  <a:lnTo>
                    <a:pt x="26" y="22"/>
                  </a:lnTo>
                  <a:lnTo>
                    <a:pt x="30" y="14"/>
                  </a:lnTo>
                  <a:lnTo>
                    <a:pt x="34"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26" name="Freeform 486"/>
            <p:cNvSpPr>
              <a:spLocks/>
            </p:cNvSpPr>
            <p:nvPr/>
          </p:nvSpPr>
          <p:spPr bwMode="auto">
            <a:xfrm>
              <a:off x="5983288" y="5465763"/>
              <a:ext cx="690563" cy="473075"/>
            </a:xfrm>
            <a:custGeom>
              <a:avLst/>
              <a:gdLst>
                <a:gd name="T0" fmla="*/ 188 w 402"/>
                <a:gd name="T1" fmla="*/ 126 h 298"/>
                <a:gd name="T2" fmla="*/ 212 w 402"/>
                <a:gd name="T3" fmla="*/ 140 h 298"/>
                <a:gd name="T4" fmla="*/ 218 w 402"/>
                <a:gd name="T5" fmla="*/ 132 h 298"/>
                <a:gd name="T6" fmla="*/ 220 w 402"/>
                <a:gd name="T7" fmla="*/ 112 h 298"/>
                <a:gd name="T8" fmla="*/ 226 w 402"/>
                <a:gd name="T9" fmla="*/ 108 h 298"/>
                <a:gd name="T10" fmla="*/ 234 w 402"/>
                <a:gd name="T11" fmla="*/ 118 h 298"/>
                <a:gd name="T12" fmla="*/ 242 w 402"/>
                <a:gd name="T13" fmla="*/ 118 h 298"/>
                <a:gd name="T14" fmla="*/ 242 w 402"/>
                <a:gd name="T15" fmla="*/ 106 h 298"/>
                <a:gd name="T16" fmla="*/ 236 w 402"/>
                <a:gd name="T17" fmla="*/ 100 h 298"/>
                <a:gd name="T18" fmla="*/ 244 w 402"/>
                <a:gd name="T19" fmla="*/ 94 h 298"/>
                <a:gd name="T20" fmla="*/ 244 w 402"/>
                <a:gd name="T21" fmla="*/ 86 h 298"/>
                <a:gd name="T22" fmla="*/ 244 w 402"/>
                <a:gd name="T23" fmla="*/ 76 h 298"/>
                <a:gd name="T24" fmla="*/ 256 w 402"/>
                <a:gd name="T25" fmla="*/ 72 h 298"/>
                <a:gd name="T26" fmla="*/ 268 w 402"/>
                <a:gd name="T27" fmla="*/ 46 h 298"/>
                <a:gd name="T28" fmla="*/ 286 w 402"/>
                <a:gd name="T29" fmla="*/ 10 h 298"/>
                <a:gd name="T30" fmla="*/ 292 w 402"/>
                <a:gd name="T31" fmla="*/ 4 h 298"/>
                <a:gd name="T32" fmla="*/ 292 w 402"/>
                <a:gd name="T33" fmla="*/ 14 h 298"/>
                <a:gd name="T34" fmla="*/ 292 w 402"/>
                <a:gd name="T35" fmla="*/ 20 h 298"/>
                <a:gd name="T36" fmla="*/ 306 w 402"/>
                <a:gd name="T37" fmla="*/ 0 h 298"/>
                <a:gd name="T38" fmla="*/ 314 w 402"/>
                <a:gd name="T39" fmla="*/ 10 h 298"/>
                <a:gd name="T40" fmla="*/ 322 w 402"/>
                <a:gd name="T41" fmla="*/ 8 h 298"/>
                <a:gd name="T42" fmla="*/ 332 w 402"/>
                <a:gd name="T43" fmla="*/ 20 h 298"/>
                <a:gd name="T44" fmla="*/ 332 w 402"/>
                <a:gd name="T45" fmla="*/ 32 h 298"/>
                <a:gd name="T46" fmla="*/ 336 w 402"/>
                <a:gd name="T47" fmla="*/ 32 h 298"/>
                <a:gd name="T48" fmla="*/ 342 w 402"/>
                <a:gd name="T49" fmla="*/ 28 h 298"/>
                <a:gd name="T50" fmla="*/ 350 w 402"/>
                <a:gd name="T51" fmla="*/ 28 h 298"/>
                <a:gd name="T52" fmla="*/ 346 w 402"/>
                <a:gd name="T53" fmla="*/ 36 h 298"/>
                <a:gd name="T54" fmla="*/ 352 w 402"/>
                <a:gd name="T55" fmla="*/ 36 h 298"/>
                <a:gd name="T56" fmla="*/ 366 w 402"/>
                <a:gd name="T57" fmla="*/ 32 h 298"/>
                <a:gd name="T58" fmla="*/ 396 w 402"/>
                <a:gd name="T59" fmla="*/ 34 h 298"/>
                <a:gd name="T60" fmla="*/ 402 w 402"/>
                <a:gd name="T61" fmla="*/ 40 h 298"/>
                <a:gd name="T62" fmla="*/ 372 w 402"/>
                <a:gd name="T63" fmla="*/ 62 h 298"/>
                <a:gd name="T64" fmla="*/ 362 w 402"/>
                <a:gd name="T65" fmla="*/ 66 h 298"/>
                <a:gd name="T66" fmla="*/ 364 w 402"/>
                <a:gd name="T67" fmla="*/ 74 h 298"/>
                <a:gd name="T68" fmla="*/ 372 w 402"/>
                <a:gd name="T69" fmla="*/ 76 h 298"/>
                <a:gd name="T70" fmla="*/ 378 w 402"/>
                <a:gd name="T71" fmla="*/ 80 h 298"/>
                <a:gd name="T72" fmla="*/ 346 w 402"/>
                <a:gd name="T73" fmla="*/ 94 h 298"/>
                <a:gd name="T74" fmla="*/ 340 w 402"/>
                <a:gd name="T75" fmla="*/ 94 h 298"/>
                <a:gd name="T76" fmla="*/ 338 w 402"/>
                <a:gd name="T77" fmla="*/ 100 h 298"/>
                <a:gd name="T78" fmla="*/ 316 w 402"/>
                <a:gd name="T79" fmla="*/ 100 h 298"/>
                <a:gd name="T80" fmla="*/ 258 w 402"/>
                <a:gd name="T81" fmla="*/ 122 h 298"/>
                <a:gd name="T82" fmla="*/ 230 w 402"/>
                <a:gd name="T83" fmla="*/ 186 h 298"/>
                <a:gd name="T84" fmla="*/ 174 w 402"/>
                <a:gd name="T85" fmla="*/ 258 h 298"/>
                <a:gd name="T86" fmla="*/ 144 w 402"/>
                <a:gd name="T87" fmla="*/ 256 h 298"/>
                <a:gd name="T88" fmla="*/ 116 w 402"/>
                <a:gd name="T89" fmla="*/ 260 h 298"/>
                <a:gd name="T90" fmla="*/ 92 w 402"/>
                <a:gd name="T91" fmla="*/ 286 h 298"/>
                <a:gd name="T92" fmla="*/ 70 w 402"/>
                <a:gd name="T93" fmla="*/ 294 h 298"/>
                <a:gd name="T94" fmla="*/ 44 w 402"/>
                <a:gd name="T95" fmla="*/ 298 h 298"/>
                <a:gd name="T96" fmla="*/ 22 w 402"/>
                <a:gd name="T97" fmla="*/ 292 h 298"/>
                <a:gd name="T98" fmla="*/ 0 w 402"/>
                <a:gd name="T99" fmla="*/ 266 h 298"/>
                <a:gd name="T100" fmla="*/ 10 w 402"/>
                <a:gd name="T101" fmla="*/ 266 h 298"/>
                <a:gd name="T102" fmla="*/ 28 w 402"/>
                <a:gd name="T103" fmla="*/ 270 h 298"/>
                <a:gd name="T104" fmla="*/ 48 w 402"/>
                <a:gd name="T105" fmla="*/ 270 h 298"/>
                <a:gd name="T106" fmla="*/ 74 w 402"/>
                <a:gd name="T107" fmla="*/ 246 h 298"/>
                <a:gd name="T108" fmla="*/ 76 w 402"/>
                <a:gd name="T109" fmla="*/ 236 h 298"/>
                <a:gd name="T110" fmla="*/ 82 w 402"/>
                <a:gd name="T111" fmla="*/ 238 h 298"/>
                <a:gd name="T112" fmla="*/ 88 w 402"/>
                <a:gd name="T113" fmla="*/ 216 h 298"/>
                <a:gd name="T114" fmla="*/ 108 w 402"/>
                <a:gd name="T115" fmla="*/ 208 h 298"/>
                <a:gd name="T116" fmla="*/ 136 w 402"/>
                <a:gd name="T117" fmla="*/ 198 h 298"/>
                <a:gd name="T118" fmla="*/ 184 w 402"/>
                <a:gd name="T119" fmla="*/ 12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2" h="298">
                  <a:moveTo>
                    <a:pt x="184" y="126"/>
                  </a:moveTo>
                  <a:lnTo>
                    <a:pt x="188" y="126"/>
                  </a:lnTo>
                  <a:lnTo>
                    <a:pt x="208" y="140"/>
                  </a:lnTo>
                  <a:lnTo>
                    <a:pt x="212" y="140"/>
                  </a:lnTo>
                  <a:lnTo>
                    <a:pt x="216" y="138"/>
                  </a:lnTo>
                  <a:lnTo>
                    <a:pt x="218" y="132"/>
                  </a:lnTo>
                  <a:lnTo>
                    <a:pt x="216" y="114"/>
                  </a:lnTo>
                  <a:lnTo>
                    <a:pt x="220" y="112"/>
                  </a:lnTo>
                  <a:lnTo>
                    <a:pt x="224" y="108"/>
                  </a:lnTo>
                  <a:lnTo>
                    <a:pt x="226" y="108"/>
                  </a:lnTo>
                  <a:lnTo>
                    <a:pt x="228" y="110"/>
                  </a:lnTo>
                  <a:lnTo>
                    <a:pt x="234" y="118"/>
                  </a:lnTo>
                  <a:lnTo>
                    <a:pt x="238" y="120"/>
                  </a:lnTo>
                  <a:lnTo>
                    <a:pt x="242" y="118"/>
                  </a:lnTo>
                  <a:lnTo>
                    <a:pt x="244" y="114"/>
                  </a:lnTo>
                  <a:lnTo>
                    <a:pt x="242" y="106"/>
                  </a:lnTo>
                  <a:lnTo>
                    <a:pt x="240" y="102"/>
                  </a:lnTo>
                  <a:lnTo>
                    <a:pt x="236" y="100"/>
                  </a:lnTo>
                  <a:lnTo>
                    <a:pt x="240" y="98"/>
                  </a:lnTo>
                  <a:lnTo>
                    <a:pt x="244" y="94"/>
                  </a:lnTo>
                  <a:lnTo>
                    <a:pt x="248" y="86"/>
                  </a:lnTo>
                  <a:lnTo>
                    <a:pt x="244" y="86"/>
                  </a:lnTo>
                  <a:lnTo>
                    <a:pt x="242" y="82"/>
                  </a:lnTo>
                  <a:lnTo>
                    <a:pt x="244" y="76"/>
                  </a:lnTo>
                  <a:lnTo>
                    <a:pt x="248" y="74"/>
                  </a:lnTo>
                  <a:lnTo>
                    <a:pt x="256" y="72"/>
                  </a:lnTo>
                  <a:lnTo>
                    <a:pt x="268" y="50"/>
                  </a:lnTo>
                  <a:lnTo>
                    <a:pt x="268" y="46"/>
                  </a:lnTo>
                  <a:lnTo>
                    <a:pt x="286" y="14"/>
                  </a:lnTo>
                  <a:lnTo>
                    <a:pt x="286" y="10"/>
                  </a:lnTo>
                  <a:lnTo>
                    <a:pt x="290" y="4"/>
                  </a:lnTo>
                  <a:lnTo>
                    <a:pt x="292" y="4"/>
                  </a:lnTo>
                  <a:lnTo>
                    <a:pt x="292" y="6"/>
                  </a:lnTo>
                  <a:lnTo>
                    <a:pt x="292" y="14"/>
                  </a:lnTo>
                  <a:lnTo>
                    <a:pt x="292" y="18"/>
                  </a:lnTo>
                  <a:lnTo>
                    <a:pt x="292" y="20"/>
                  </a:lnTo>
                  <a:lnTo>
                    <a:pt x="302" y="2"/>
                  </a:lnTo>
                  <a:lnTo>
                    <a:pt x="306" y="0"/>
                  </a:lnTo>
                  <a:lnTo>
                    <a:pt x="308" y="2"/>
                  </a:lnTo>
                  <a:lnTo>
                    <a:pt x="314" y="10"/>
                  </a:lnTo>
                  <a:lnTo>
                    <a:pt x="320" y="12"/>
                  </a:lnTo>
                  <a:lnTo>
                    <a:pt x="322" y="8"/>
                  </a:lnTo>
                  <a:lnTo>
                    <a:pt x="330" y="12"/>
                  </a:lnTo>
                  <a:lnTo>
                    <a:pt x="332" y="20"/>
                  </a:lnTo>
                  <a:lnTo>
                    <a:pt x="330" y="24"/>
                  </a:lnTo>
                  <a:lnTo>
                    <a:pt x="332" y="32"/>
                  </a:lnTo>
                  <a:lnTo>
                    <a:pt x="334" y="34"/>
                  </a:lnTo>
                  <a:lnTo>
                    <a:pt x="336" y="32"/>
                  </a:lnTo>
                  <a:lnTo>
                    <a:pt x="340" y="30"/>
                  </a:lnTo>
                  <a:lnTo>
                    <a:pt x="342" y="28"/>
                  </a:lnTo>
                  <a:lnTo>
                    <a:pt x="348" y="26"/>
                  </a:lnTo>
                  <a:lnTo>
                    <a:pt x="350" y="28"/>
                  </a:lnTo>
                  <a:lnTo>
                    <a:pt x="350" y="32"/>
                  </a:lnTo>
                  <a:lnTo>
                    <a:pt x="346" y="36"/>
                  </a:lnTo>
                  <a:lnTo>
                    <a:pt x="348" y="38"/>
                  </a:lnTo>
                  <a:lnTo>
                    <a:pt x="352" y="36"/>
                  </a:lnTo>
                  <a:lnTo>
                    <a:pt x="356" y="32"/>
                  </a:lnTo>
                  <a:lnTo>
                    <a:pt x="366" y="32"/>
                  </a:lnTo>
                  <a:lnTo>
                    <a:pt x="378" y="36"/>
                  </a:lnTo>
                  <a:lnTo>
                    <a:pt x="396" y="34"/>
                  </a:lnTo>
                  <a:lnTo>
                    <a:pt x="400" y="36"/>
                  </a:lnTo>
                  <a:lnTo>
                    <a:pt x="402" y="40"/>
                  </a:lnTo>
                  <a:lnTo>
                    <a:pt x="400" y="44"/>
                  </a:lnTo>
                  <a:lnTo>
                    <a:pt x="372" y="62"/>
                  </a:lnTo>
                  <a:lnTo>
                    <a:pt x="366" y="60"/>
                  </a:lnTo>
                  <a:lnTo>
                    <a:pt x="362" y="66"/>
                  </a:lnTo>
                  <a:lnTo>
                    <a:pt x="360" y="70"/>
                  </a:lnTo>
                  <a:lnTo>
                    <a:pt x="364" y="74"/>
                  </a:lnTo>
                  <a:lnTo>
                    <a:pt x="368" y="76"/>
                  </a:lnTo>
                  <a:lnTo>
                    <a:pt x="372" y="76"/>
                  </a:lnTo>
                  <a:lnTo>
                    <a:pt x="376" y="78"/>
                  </a:lnTo>
                  <a:lnTo>
                    <a:pt x="378" y="80"/>
                  </a:lnTo>
                  <a:lnTo>
                    <a:pt x="354" y="94"/>
                  </a:lnTo>
                  <a:lnTo>
                    <a:pt x="346" y="94"/>
                  </a:lnTo>
                  <a:lnTo>
                    <a:pt x="342" y="92"/>
                  </a:lnTo>
                  <a:lnTo>
                    <a:pt x="340" y="94"/>
                  </a:lnTo>
                  <a:lnTo>
                    <a:pt x="340" y="96"/>
                  </a:lnTo>
                  <a:lnTo>
                    <a:pt x="338" y="100"/>
                  </a:lnTo>
                  <a:lnTo>
                    <a:pt x="322" y="102"/>
                  </a:lnTo>
                  <a:lnTo>
                    <a:pt x="316" y="100"/>
                  </a:lnTo>
                  <a:lnTo>
                    <a:pt x="262" y="114"/>
                  </a:lnTo>
                  <a:lnTo>
                    <a:pt x="258" y="122"/>
                  </a:lnTo>
                  <a:lnTo>
                    <a:pt x="250" y="160"/>
                  </a:lnTo>
                  <a:lnTo>
                    <a:pt x="230" y="186"/>
                  </a:lnTo>
                  <a:lnTo>
                    <a:pt x="214" y="236"/>
                  </a:lnTo>
                  <a:lnTo>
                    <a:pt x="174" y="258"/>
                  </a:lnTo>
                  <a:lnTo>
                    <a:pt x="146" y="260"/>
                  </a:lnTo>
                  <a:lnTo>
                    <a:pt x="144" y="256"/>
                  </a:lnTo>
                  <a:lnTo>
                    <a:pt x="140" y="254"/>
                  </a:lnTo>
                  <a:lnTo>
                    <a:pt x="116" y="260"/>
                  </a:lnTo>
                  <a:lnTo>
                    <a:pt x="98" y="284"/>
                  </a:lnTo>
                  <a:lnTo>
                    <a:pt x="92" y="286"/>
                  </a:lnTo>
                  <a:lnTo>
                    <a:pt x="76" y="290"/>
                  </a:lnTo>
                  <a:lnTo>
                    <a:pt x="70" y="294"/>
                  </a:lnTo>
                  <a:lnTo>
                    <a:pt x="62" y="290"/>
                  </a:lnTo>
                  <a:lnTo>
                    <a:pt x="44" y="298"/>
                  </a:lnTo>
                  <a:lnTo>
                    <a:pt x="32" y="298"/>
                  </a:lnTo>
                  <a:lnTo>
                    <a:pt x="22" y="292"/>
                  </a:lnTo>
                  <a:lnTo>
                    <a:pt x="2" y="268"/>
                  </a:lnTo>
                  <a:lnTo>
                    <a:pt x="0" y="266"/>
                  </a:lnTo>
                  <a:lnTo>
                    <a:pt x="6" y="260"/>
                  </a:lnTo>
                  <a:lnTo>
                    <a:pt x="10" y="266"/>
                  </a:lnTo>
                  <a:lnTo>
                    <a:pt x="12" y="268"/>
                  </a:lnTo>
                  <a:lnTo>
                    <a:pt x="28" y="270"/>
                  </a:lnTo>
                  <a:lnTo>
                    <a:pt x="38" y="266"/>
                  </a:lnTo>
                  <a:lnTo>
                    <a:pt x="48" y="270"/>
                  </a:lnTo>
                  <a:lnTo>
                    <a:pt x="68" y="268"/>
                  </a:lnTo>
                  <a:lnTo>
                    <a:pt x="74" y="246"/>
                  </a:lnTo>
                  <a:lnTo>
                    <a:pt x="72" y="240"/>
                  </a:lnTo>
                  <a:lnTo>
                    <a:pt x="76" y="236"/>
                  </a:lnTo>
                  <a:lnTo>
                    <a:pt x="80" y="236"/>
                  </a:lnTo>
                  <a:lnTo>
                    <a:pt x="82" y="238"/>
                  </a:lnTo>
                  <a:lnTo>
                    <a:pt x="82" y="228"/>
                  </a:lnTo>
                  <a:lnTo>
                    <a:pt x="88" y="216"/>
                  </a:lnTo>
                  <a:lnTo>
                    <a:pt x="92" y="214"/>
                  </a:lnTo>
                  <a:lnTo>
                    <a:pt x="108" y="208"/>
                  </a:lnTo>
                  <a:lnTo>
                    <a:pt x="106" y="208"/>
                  </a:lnTo>
                  <a:lnTo>
                    <a:pt x="136" y="198"/>
                  </a:lnTo>
                  <a:lnTo>
                    <a:pt x="182" y="136"/>
                  </a:lnTo>
                  <a:lnTo>
                    <a:pt x="184" y="128"/>
                  </a:lnTo>
                  <a:lnTo>
                    <a:pt x="184" y="126"/>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27" name="Freeform 487"/>
            <p:cNvSpPr>
              <a:spLocks/>
            </p:cNvSpPr>
            <p:nvPr/>
          </p:nvSpPr>
          <p:spPr bwMode="auto">
            <a:xfrm>
              <a:off x="5983288" y="5465763"/>
              <a:ext cx="690563" cy="473075"/>
            </a:xfrm>
            <a:custGeom>
              <a:avLst/>
              <a:gdLst>
                <a:gd name="T0" fmla="*/ 188 w 402"/>
                <a:gd name="T1" fmla="*/ 126 h 298"/>
                <a:gd name="T2" fmla="*/ 212 w 402"/>
                <a:gd name="T3" fmla="*/ 140 h 298"/>
                <a:gd name="T4" fmla="*/ 218 w 402"/>
                <a:gd name="T5" fmla="*/ 132 h 298"/>
                <a:gd name="T6" fmla="*/ 220 w 402"/>
                <a:gd name="T7" fmla="*/ 112 h 298"/>
                <a:gd name="T8" fmla="*/ 226 w 402"/>
                <a:gd name="T9" fmla="*/ 108 h 298"/>
                <a:gd name="T10" fmla="*/ 234 w 402"/>
                <a:gd name="T11" fmla="*/ 118 h 298"/>
                <a:gd name="T12" fmla="*/ 242 w 402"/>
                <a:gd name="T13" fmla="*/ 118 h 298"/>
                <a:gd name="T14" fmla="*/ 242 w 402"/>
                <a:gd name="T15" fmla="*/ 106 h 298"/>
                <a:gd name="T16" fmla="*/ 236 w 402"/>
                <a:gd name="T17" fmla="*/ 100 h 298"/>
                <a:gd name="T18" fmla="*/ 244 w 402"/>
                <a:gd name="T19" fmla="*/ 94 h 298"/>
                <a:gd name="T20" fmla="*/ 244 w 402"/>
                <a:gd name="T21" fmla="*/ 86 h 298"/>
                <a:gd name="T22" fmla="*/ 244 w 402"/>
                <a:gd name="T23" fmla="*/ 76 h 298"/>
                <a:gd name="T24" fmla="*/ 256 w 402"/>
                <a:gd name="T25" fmla="*/ 72 h 298"/>
                <a:gd name="T26" fmla="*/ 268 w 402"/>
                <a:gd name="T27" fmla="*/ 46 h 298"/>
                <a:gd name="T28" fmla="*/ 286 w 402"/>
                <a:gd name="T29" fmla="*/ 10 h 298"/>
                <a:gd name="T30" fmla="*/ 292 w 402"/>
                <a:gd name="T31" fmla="*/ 4 h 298"/>
                <a:gd name="T32" fmla="*/ 292 w 402"/>
                <a:gd name="T33" fmla="*/ 14 h 298"/>
                <a:gd name="T34" fmla="*/ 292 w 402"/>
                <a:gd name="T35" fmla="*/ 20 h 298"/>
                <a:gd name="T36" fmla="*/ 306 w 402"/>
                <a:gd name="T37" fmla="*/ 0 h 298"/>
                <a:gd name="T38" fmla="*/ 314 w 402"/>
                <a:gd name="T39" fmla="*/ 10 h 298"/>
                <a:gd name="T40" fmla="*/ 322 w 402"/>
                <a:gd name="T41" fmla="*/ 8 h 298"/>
                <a:gd name="T42" fmla="*/ 332 w 402"/>
                <a:gd name="T43" fmla="*/ 20 h 298"/>
                <a:gd name="T44" fmla="*/ 332 w 402"/>
                <a:gd name="T45" fmla="*/ 32 h 298"/>
                <a:gd name="T46" fmla="*/ 336 w 402"/>
                <a:gd name="T47" fmla="*/ 32 h 298"/>
                <a:gd name="T48" fmla="*/ 342 w 402"/>
                <a:gd name="T49" fmla="*/ 28 h 298"/>
                <a:gd name="T50" fmla="*/ 350 w 402"/>
                <a:gd name="T51" fmla="*/ 28 h 298"/>
                <a:gd name="T52" fmla="*/ 346 w 402"/>
                <a:gd name="T53" fmla="*/ 36 h 298"/>
                <a:gd name="T54" fmla="*/ 352 w 402"/>
                <a:gd name="T55" fmla="*/ 36 h 298"/>
                <a:gd name="T56" fmla="*/ 366 w 402"/>
                <a:gd name="T57" fmla="*/ 32 h 298"/>
                <a:gd name="T58" fmla="*/ 396 w 402"/>
                <a:gd name="T59" fmla="*/ 34 h 298"/>
                <a:gd name="T60" fmla="*/ 402 w 402"/>
                <a:gd name="T61" fmla="*/ 40 h 298"/>
                <a:gd name="T62" fmla="*/ 372 w 402"/>
                <a:gd name="T63" fmla="*/ 62 h 298"/>
                <a:gd name="T64" fmla="*/ 362 w 402"/>
                <a:gd name="T65" fmla="*/ 66 h 298"/>
                <a:gd name="T66" fmla="*/ 364 w 402"/>
                <a:gd name="T67" fmla="*/ 74 h 298"/>
                <a:gd name="T68" fmla="*/ 372 w 402"/>
                <a:gd name="T69" fmla="*/ 76 h 298"/>
                <a:gd name="T70" fmla="*/ 378 w 402"/>
                <a:gd name="T71" fmla="*/ 80 h 298"/>
                <a:gd name="T72" fmla="*/ 346 w 402"/>
                <a:gd name="T73" fmla="*/ 94 h 298"/>
                <a:gd name="T74" fmla="*/ 340 w 402"/>
                <a:gd name="T75" fmla="*/ 94 h 298"/>
                <a:gd name="T76" fmla="*/ 338 w 402"/>
                <a:gd name="T77" fmla="*/ 100 h 298"/>
                <a:gd name="T78" fmla="*/ 316 w 402"/>
                <a:gd name="T79" fmla="*/ 100 h 298"/>
                <a:gd name="T80" fmla="*/ 258 w 402"/>
                <a:gd name="T81" fmla="*/ 122 h 298"/>
                <a:gd name="T82" fmla="*/ 230 w 402"/>
                <a:gd name="T83" fmla="*/ 186 h 298"/>
                <a:gd name="T84" fmla="*/ 174 w 402"/>
                <a:gd name="T85" fmla="*/ 258 h 298"/>
                <a:gd name="T86" fmla="*/ 144 w 402"/>
                <a:gd name="T87" fmla="*/ 256 h 298"/>
                <a:gd name="T88" fmla="*/ 116 w 402"/>
                <a:gd name="T89" fmla="*/ 260 h 298"/>
                <a:gd name="T90" fmla="*/ 92 w 402"/>
                <a:gd name="T91" fmla="*/ 286 h 298"/>
                <a:gd name="T92" fmla="*/ 70 w 402"/>
                <a:gd name="T93" fmla="*/ 294 h 298"/>
                <a:gd name="T94" fmla="*/ 44 w 402"/>
                <a:gd name="T95" fmla="*/ 298 h 298"/>
                <a:gd name="T96" fmla="*/ 22 w 402"/>
                <a:gd name="T97" fmla="*/ 292 h 298"/>
                <a:gd name="T98" fmla="*/ 0 w 402"/>
                <a:gd name="T99" fmla="*/ 266 h 298"/>
                <a:gd name="T100" fmla="*/ 10 w 402"/>
                <a:gd name="T101" fmla="*/ 266 h 298"/>
                <a:gd name="T102" fmla="*/ 28 w 402"/>
                <a:gd name="T103" fmla="*/ 270 h 298"/>
                <a:gd name="T104" fmla="*/ 48 w 402"/>
                <a:gd name="T105" fmla="*/ 270 h 298"/>
                <a:gd name="T106" fmla="*/ 74 w 402"/>
                <a:gd name="T107" fmla="*/ 246 h 298"/>
                <a:gd name="T108" fmla="*/ 76 w 402"/>
                <a:gd name="T109" fmla="*/ 236 h 298"/>
                <a:gd name="T110" fmla="*/ 82 w 402"/>
                <a:gd name="T111" fmla="*/ 238 h 298"/>
                <a:gd name="T112" fmla="*/ 88 w 402"/>
                <a:gd name="T113" fmla="*/ 216 h 298"/>
                <a:gd name="T114" fmla="*/ 108 w 402"/>
                <a:gd name="T115" fmla="*/ 208 h 298"/>
                <a:gd name="T116" fmla="*/ 136 w 402"/>
                <a:gd name="T117" fmla="*/ 198 h 298"/>
                <a:gd name="T118" fmla="*/ 184 w 402"/>
                <a:gd name="T119" fmla="*/ 12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2" h="298">
                  <a:moveTo>
                    <a:pt x="184" y="126"/>
                  </a:moveTo>
                  <a:lnTo>
                    <a:pt x="188" y="126"/>
                  </a:lnTo>
                  <a:lnTo>
                    <a:pt x="208" y="140"/>
                  </a:lnTo>
                  <a:lnTo>
                    <a:pt x="212" y="140"/>
                  </a:lnTo>
                  <a:lnTo>
                    <a:pt x="216" y="138"/>
                  </a:lnTo>
                  <a:lnTo>
                    <a:pt x="218" y="132"/>
                  </a:lnTo>
                  <a:lnTo>
                    <a:pt x="216" y="114"/>
                  </a:lnTo>
                  <a:lnTo>
                    <a:pt x="220" y="112"/>
                  </a:lnTo>
                  <a:lnTo>
                    <a:pt x="224" y="108"/>
                  </a:lnTo>
                  <a:lnTo>
                    <a:pt x="226" y="108"/>
                  </a:lnTo>
                  <a:lnTo>
                    <a:pt x="228" y="110"/>
                  </a:lnTo>
                  <a:lnTo>
                    <a:pt x="234" y="118"/>
                  </a:lnTo>
                  <a:lnTo>
                    <a:pt x="238" y="120"/>
                  </a:lnTo>
                  <a:lnTo>
                    <a:pt x="242" y="118"/>
                  </a:lnTo>
                  <a:lnTo>
                    <a:pt x="244" y="114"/>
                  </a:lnTo>
                  <a:lnTo>
                    <a:pt x="242" y="106"/>
                  </a:lnTo>
                  <a:lnTo>
                    <a:pt x="240" y="102"/>
                  </a:lnTo>
                  <a:lnTo>
                    <a:pt x="236" y="100"/>
                  </a:lnTo>
                  <a:lnTo>
                    <a:pt x="240" y="98"/>
                  </a:lnTo>
                  <a:lnTo>
                    <a:pt x="244" y="94"/>
                  </a:lnTo>
                  <a:lnTo>
                    <a:pt x="248" y="86"/>
                  </a:lnTo>
                  <a:lnTo>
                    <a:pt x="244" y="86"/>
                  </a:lnTo>
                  <a:lnTo>
                    <a:pt x="242" y="82"/>
                  </a:lnTo>
                  <a:lnTo>
                    <a:pt x="244" y="76"/>
                  </a:lnTo>
                  <a:lnTo>
                    <a:pt x="248" y="74"/>
                  </a:lnTo>
                  <a:lnTo>
                    <a:pt x="256" y="72"/>
                  </a:lnTo>
                  <a:lnTo>
                    <a:pt x="268" y="50"/>
                  </a:lnTo>
                  <a:lnTo>
                    <a:pt x="268" y="46"/>
                  </a:lnTo>
                  <a:lnTo>
                    <a:pt x="286" y="14"/>
                  </a:lnTo>
                  <a:lnTo>
                    <a:pt x="286" y="10"/>
                  </a:lnTo>
                  <a:lnTo>
                    <a:pt x="290" y="4"/>
                  </a:lnTo>
                  <a:lnTo>
                    <a:pt x="292" y="4"/>
                  </a:lnTo>
                  <a:lnTo>
                    <a:pt x="292" y="6"/>
                  </a:lnTo>
                  <a:lnTo>
                    <a:pt x="292" y="14"/>
                  </a:lnTo>
                  <a:lnTo>
                    <a:pt x="292" y="18"/>
                  </a:lnTo>
                  <a:lnTo>
                    <a:pt x="292" y="20"/>
                  </a:lnTo>
                  <a:lnTo>
                    <a:pt x="302" y="2"/>
                  </a:lnTo>
                  <a:lnTo>
                    <a:pt x="306" y="0"/>
                  </a:lnTo>
                  <a:lnTo>
                    <a:pt x="308" y="2"/>
                  </a:lnTo>
                  <a:lnTo>
                    <a:pt x="314" y="10"/>
                  </a:lnTo>
                  <a:lnTo>
                    <a:pt x="320" y="12"/>
                  </a:lnTo>
                  <a:lnTo>
                    <a:pt x="322" y="8"/>
                  </a:lnTo>
                  <a:lnTo>
                    <a:pt x="330" y="12"/>
                  </a:lnTo>
                  <a:lnTo>
                    <a:pt x="332" y="20"/>
                  </a:lnTo>
                  <a:lnTo>
                    <a:pt x="330" y="24"/>
                  </a:lnTo>
                  <a:lnTo>
                    <a:pt x="332" y="32"/>
                  </a:lnTo>
                  <a:lnTo>
                    <a:pt x="334" y="34"/>
                  </a:lnTo>
                  <a:lnTo>
                    <a:pt x="336" y="32"/>
                  </a:lnTo>
                  <a:lnTo>
                    <a:pt x="340" y="30"/>
                  </a:lnTo>
                  <a:lnTo>
                    <a:pt x="342" y="28"/>
                  </a:lnTo>
                  <a:lnTo>
                    <a:pt x="348" y="26"/>
                  </a:lnTo>
                  <a:lnTo>
                    <a:pt x="350" y="28"/>
                  </a:lnTo>
                  <a:lnTo>
                    <a:pt x="350" y="32"/>
                  </a:lnTo>
                  <a:lnTo>
                    <a:pt x="346" y="36"/>
                  </a:lnTo>
                  <a:lnTo>
                    <a:pt x="348" y="38"/>
                  </a:lnTo>
                  <a:lnTo>
                    <a:pt x="352" y="36"/>
                  </a:lnTo>
                  <a:lnTo>
                    <a:pt x="356" y="32"/>
                  </a:lnTo>
                  <a:lnTo>
                    <a:pt x="366" y="32"/>
                  </a:lnTo>
                  <a:lnTo>
                    <a:pt x="378" y="36"/>
                  </a:lnTo>
                  <a:lnTo>
                    <a:pt x="396" y="34"/>
                  </a:lnTo>
                  <a:lnTo>
                    <a:pt x="400" y="36"/>
                  </a:lnTo>
                  <a:lnTo>
                    <a:pt x="402" y="40"/>
                  </a:lnTo>
                  <a:lnTo>
                    <a:pt x="400" y="44"/>
                  </a:lnTo>
                  <a:lnTo>
                    <a:pt x="372" y="62"/>
                  </a:lnTo>
                  <a:lnTo>
                    <a:pt x="366" y="60"/>
                  </a:lnTo>
                  <a:lnTo>
                    <a:pt x="362" y="66"/>
                  </a:lnTo>
                  <a:lnTo>
                    <a:pt x="360" y="70"/>
                  </a:lnTo>
                  <a:lnTo>
                    <a:pt x="364" y="74"/>
                  </a:lnTo>
                  <a:lnTo>
                    <a:pt x="368" y="76"/>
                  </a:lnTo>
                  <a:lnTo>
                    <a:pt x="372" y="76"/>
                  </a:lnTo>
                  <a:lnTo>
                    <a:pt x="376" y="78"/>
                  </a:lnTo>
                  <a:lnTo>
                    <a:pt x="378" y="80"/>
                  </a:lnTo>
                  <a:lnTo>
                    <a:pt x="354" y="94"/>
                  </a:lnTo>
                  <a:lnTo>
                    <a:pt x="346" y="94"/>
                  </a:lnTo>
                  <a:lnTo>
                    <a:pt x="342" y="92"/>
                  </a:lnTo>
                  <a:lnTo>
                    <a:pt x="340" y="94"/>
                  </a:lnTo>
                  <a:lnTo>
                    <a:pt x="340" y="96"/>
                  </a:lnTo>
                  <a:lnTo>
                    <a:pt x="338" y="100"/>
                  </a:lnTo>
                  <a:lnTo>
                    <a:pt x="322" y="102"/>
                  </a:lnTo>
                  <a:lnTo>
                    <a:pt x="316" y="100"/>
                  </a:lnTo>
                  <a:lnTo>
                    <a:pt x="262" y="114"/>
                  </a:lnTo>
                  <a:lnTo>
                    <a:pt x="258" y="122"/>
                  </a:lnTo>
                  <a:lnTo>
                    <a:pt x="250" y="160"/>
                  </a:lnTo>
                  <a:lnTo>
                    <a:pt x="230" y="186"/>
                  </a:lnTo>
                  <a:lnTo>
                    <a:pt x="214" y="236"/>
                  </a:lnTo>
                  <a:lnTo>
                    <a:pt x="174" y="258"/>
                  </a:lnTo>
                  <a:lnTo>
                    <a:pt x="146" y="260"/>
                  </a:lnTo>
                  <a:lnTo>
                    <a:pt x="144" y="256"/>
                  </a:lnTo>
                  <a:lnTo>
                    <a:pt x="140" y="254"/>
                  </a:lnTo>
                  <a:lnTo>
                    <a:pt x="116" y="260"/>
                  </a:lnTo>
                  <a:lnTo>
                    <a:pt x="98" y="284"/>
                  </a:lnTo>
                  <a:lnTo>
                    <a:pt x="92" y="286"/>
                  </a:lnTo>
                  <a:lnTo>
                    <a:pt x="76" y="290"/>
                  </a:lnTo>
                  <a:lnTo>
                    <a:pt x="70" y="294"/>
                  </a:lnTo>
                  <a:lnTo>
                    <a:pt x="62" y="290"/>
                  </a:lnTo>
                  <a:lnTo>
                    <a:pt x="44" y="298"/>
                  </a:lnTo>
                  <a:lnTo>
                    <a:pt x="32" y="298"/>
                  </a:lnTo>
                  <a:lnTo>
                    <a:pt x="22" y="292"/>
                  </a:lnTo>
                  <a:lnTo>
                    <a:pt x="2" y="268"/>
                  </a:lnTo>
                  <a:lnTo>
                    <a:pt x="0" y="266"/>
                  </a:lnTo>
                  <a:lnTo>
                    <a:pt x="6" y="260"/>
                  </a:lnTo>
                  <a:lnTo>
                    <a:pt x="10" y="266"/>
                  </a:lnTo>
                  <a:lnTo>
                    <a:pt x="12" y="268"/>
                  </a:lnTo>
                  <a:lnTo>
                    <a:pt x="28" y="270"/>
                  </a:lnTo>
                  <a:lnTo>
                    <a:pt x="38" y="266"/>
                  </a:lnTo>
                  <a:lnTo>
                    <a:pt x="48" y="270"/>
                  </a:lnTo>
                  <a:lnTo>
                    <a:pt x="68" y="268"/>
                  </a:lnTo>
                  <a:lnTo>
                    <a:pt x="74" y="246"/>
                  </a:lnTo>
                  <a:lnTo>
                    <a:pt x="72" y="240"/>
                  </a:lnTo>
                  <a:lnTo>
                    <a:pt x="76" y="236"/>
                  </a:lnTo>
                  <a:lnTo>
                    <a:pt x="80" y="236"/>
                  </a:lnTo>
                  <a:lnTo>
                    <a:pt x="82" y="238"/>
                  </a:lnTo>
                  <a:lnTo>
                    <a:pt x="82" y="228"/>
                  </a:lnTo>
                  <a:lnTo>
                    <a:pt x="88" y="216"/>
                  </a:lnTo>
                  <a:lnTo>
                    <a:pt x="92" y="214"/>
                  </a:lnTo>
                  <a:lnTo>
                    <a:pt x="108" y="208"/>
                  </a:lnTo>
                  <a:lnTo>
                    <a:pt x="106" y="208"/>
                  </a:lnTo>
                  <a:lnTo>
                    <a:pt x="136" y="198"/>
                  </a:lnTo>
                  <a:lnTo>
                    <a:pt x="182" y="136"/>
                  </a:lnTo>
                  <a:lnTo>
                    <a:pt x="184" y="128"/>
                  </a:lnTo>
                  <a:lnTo>
                    <a:pt x="184" y="12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28" name="Freeform 488"/>
            <p:cNvSpPr>
              <a:spLocks/>
            </p:cNvSpPr>
            <p:nvPr/>
          </p:nvSpPr>
          <p:spPr bwMode="auto">
            <a:xfrm>
              <a:off x="2292351" y="3179763"/>
              <a:ext cx="220663" cy="254000"/>
            </a:xfrm>
            <a:custGeom>
              <a:avLst/>
              <a:gdLst>
                <a:gd name="T0" fmla="*/ 0 w 128"/>
                <a:gd name="T1" fmla="*/ 84 h 160"/>
                <a:gd name="T2" fmla="*/ 12 w 128"/>
                <a:gd name="T3" fmla="*/ 88 h 160"/>
                <a:gd name="T4" fmla="*/ 20 w 128"/>
                <a:gd name="T5" fmla="*/ 98 h 160"/>
                <a:gd name="T6" fmla="*/ 28 w 128"/>
                <a:gd name="T7" fmla="*/ 96 h 160"/>
                <a:gd name="T8" fmla="*/ 32 w 128"/>
                <a:gd name="T9" fmla="*/ 104 h 160"/>
                <a:gd name="T10" fmla="*/ 36 w 128"/>
                <a:gd name="T11" fmla="*/ 114 h 160"/>
                <a:gd name="T12" fmla="*/ 48 w 128"/>
                <a:gd name="T13" fmla="*/ 126 h 160"/>
                <a:gd name="T14" fmla="*/ 60 w 128"/>
                <a:gd name="T15" fmla="*/ 128 h 160"/>
                <a:gd name="T16" fmla="*/ 70 w 128"/>
                <a:gd name="T17" fmla="*/ 134 h 160"/>
                <a:gd name="T18" fmla="*/ 98 w 128"/>
                <a:gd name="T19" fmla="*/ 140 h 160"/>
                <a:gd name="T20" fmla="*/ 104 w 128"/>
                <a:gd name="T21" fmla="*/ 150 h 160"/>
                <a:gd name="T22" fmla="*/ 118 w 128"/>
                <a:gd name="T23" fmla="*/ 160 h 160"/>
                <a:gd name="T24" fmla="*/ 122 w 128"/>
                <a:gd name="T25" fmla="*/ 154 h 160"/>
                <a:gd name="T26" fmla="*/ 118 w 128"/>
                <a:gd name="T27" fmla="*/ 142 h 160"/>
                <a:gd name="T28" fmla="*/ 120 w 128"/>
                <a:gd name="T29" fmla="*/ 136 h 160"/>
                <a:gd name="T30" fmla="*/ 124 w 128"/>
                <a:gd name="T31" fmla="*/ 128 h 160"/>
                <a:gd name="T32" fmla="*/ 116 w 128"/>
                <a:gd name="T33" fmla="*/ 116 h 160"/>
                <a:gd name="T34" fmla="*/ 120 w 128"/>
                <a:gd name="T35" fmla="*/ 106 h 160"/>
                <a:gd name="T36" fmla="*/ 114 w 128"/>
                <a:gd name="T37" fmla="*/ 100 h 160"/>
                <a:gd name="T38" fmla="*/ 112 w 128"/>
                <a:gd name="T39" fmla="*/ 94 h 160"/>
                <a:gd name="T40" fmla="*/ 102 w 128"/>
                <a:gd name="T41" fmla="*/ 88 h 160"/>
                <a:gd name="T42" fmla="*/ 88 w 128"/>
                <a:gd name="T43" fmla="*/ 82 h 160"/>
                <a:gd name="T44" fmla="*/ 80 w 128"/>
                <a:gd name="T45" fmla="*/ 82 h 160"/>
                <a:gd name="T46" fmla="*/ 78 w 128"/>
                <a:gd name="T47" fmla="*/ 74 h 160"/>
                <a:gd name="T48" fmla="*/ 66 w 128"/>
                <a:gd name="T49" fmla="*/ 54 h 160"/>
                <a:gd name="T50" fmla="*/ 58 w 128"/>
                <a:gd name="T51" fmla="*/ 46 h 160"/>
                <a:gd name="T52" fmla="*/ 36 w 128"/>
                <a:gd name="T53" fmla="*/ 32 h 160"/>
                <a:gd name="T54" fmla="*/ 22 w 128"/>
                <a:gd name="T55" fmla="*/ 14 h 160"/>
                <a:gd name="T56" fmla="*/ 14 w 128"/>
                <a:gd name="T57" fmla="*/ 6 h 160"/>
                <a:gd name="T58" fmla="*/ 0 w 128"/>
                <a:gd name="T59" fmla="*/ 0 h 160"/>
                <a:gd name="T60" fmla="*/ 14 w 128"/>
                <a:gd name="T61" fmla="*/ 28 h 160"/>
                <a:gd name="T62" fmla="*/ 20 w 128"/>
                <a:gd name="T63" fmla="*/ 46 h 160"/>
                <a:gd name="T64" fmla="*/ 14 w 128"/>
                <a:gd name="T65" fmla="*/ 68 h 160"/>
                <a:gd name="T66" fmla="*/ 2 w 128"/>
                <a:gd name="T67" fmla="*/ 80 h 160"/>
                <a:gd name="T68" fmla="*/ 0 w 128"/>
                <a:gd name="T69"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60">
                  <a:moveTo>
                    <a:pt x="0" y="80"/>
                  </a:moveTo>
                  <a:lnTo>
                    <a:pt x="0" y="84"/>
                  </a:lnTo>
                  <a:lnTo>
                    <a:pt x="4" y="88"/>
                  </a:lnTo>
                  <a:lnTo>
                    <a:pt x="12" y="88"/>
                  </a:lnTo>
                  <a:lnTo>
                    <a:pt x="18" y="96"/>
                  </a:lnTo>
                  <a:lnTo>
                    <a:pt x="20" y="98"/>
                  </a:lnTo>
                  <a:lnTo>
                    <a:pt x="26" y="96"/>
                  </a:lnTo>
                  <a:lnTo>
                    <a:pt x="28" y="96"/>
                  </a:lnTo>
                  <a:lnTo>
                    <a:pt x="32" y="98"/>
                  </a:lnTo>
                  <a:lnTo>
                    <a:pt x="32" y="104"/>
                  </a:lnTo>
                  <a:lnTo>
                    <a:pt x="34" y="112"/>
                  </a:lnTo>
                  <a:lnTo>
                    <a:pt x="36" y="114"/>
                  </a:lnTo>
                  <a:lnTo>
                    <a:pt x="38" y="120"/>
                  </a:lnTo>
                  <a:lnTo>
                    <a:pt x="48" y="126"/>
                  </a:lnTo>
                  <a:lnTo>
                    <a:pt x="52" y="124"/>
                  </a:lnTo>
                  <a:lnTo>
                    <a:pt x="60" y="128"/>
                  </a:lnTo>
                  <a:lnTo>
                    <a:pt x="64" y="128"/>
                  </a:lnTo>
                  <a:lnTo>
                    <a:pt x="70" y="134"/>
                  </a:lnTo>
                  <a:lnTo>
                    <a:pt x="92" y="134"/>
                  </a:lnTo>
                  <a:lnTo>
                    <a:pt x="98" y="140"/>
                  </a:lnTo>
                  <a:lnTo>
                    <a:pt x="100" y="144"/>
                  </a:lnTo>
                  <a:lnTo>
                    <a:pt x="104" y="150"/>
                  </a:lnTo>
                  <a:lnTo>
                    <a:pt x="108" y="152"/>
                  </a:lnTo>
                  <a:lnTo>
                    <a:pt x="118" y="160"/>
                  </a:lnTo>
                  <a:lnTo>
                    <a:pt x="122" y="158"/>
                  </a:lnTo>
                  <a:lnTo>
                    <a:pt x="122" y="154"/>
                  </a:lnTo>
                  <a:lnTo>
                    <a:pt x="118" y="146"/>
                  </a:lnTo>
                  <a:lnTo>
                    <a:pt x="118" y="142"/>
                  </a:lnTo>
                  <a:lnTo>
                    <a:pt x="118" y="140"/>
                  </a:lnTo>
                  <a:lnTo>
                    <a:pt x="120" y="136"/>
                  </a:lnTo>
                  <a:lnTo>
                    <a:pt x="128" y="134"/>
                  </a:lnTo>
                  <a:lnTo>
                    <a:pt x="124" y="128"/>
                  </a:lnTo>
                  <a:lnTo>
                    <a:pt x="118" y="122"/>
                  </a:lnTo>
                  <a:lnTo>
                    <a:pt x="116" y="116"/>
                  </a:lnTo>
                  <a:lnTo>
                    <a:pt x="120" y="110"/>
                  </a:lnTo>
                  <a:lnTo>
                    <a:pt x="120" y="106"/>
                  </a:lnTo>
                  <a:lnTo>
                    <a:pt x="118" y="102"/>
                  </a:lnTo>
                  <a:lnTo>
                    <a:pt x="114" y="100"/>
                  </a:lnTo>
                  <a:lnTo>
                    <a:pt x="112" y="98"/>
                  </a:lnTo>
                  <a:lnTo>
                    <a:pt x="112" y="94"/>
                  </a:lnTo>
                  <a:lnTo>
                    <a:pt x="106" y="90"/>
                  </a:lnTo>
                  <a:lnTo>
                    <a:pt x="102" y="88"/>
                  </a:lnTo>
                  <a:lnTo>
                    <a:pt x="100" y="84"/>
                  </a:lnTo>
                  <a:lnTo>
                    <a:pt x="88" y="82"/>
                  </a:lnTo>
                  <a:lnTo>
                    <a:pt x="84" y="82"/>
                  </a:lnTo>
                  <a:lnTo>
                    <a:pt x="80" y="82"/>
                  </a:lnTo>
                  <a:lnTo>
                    <a:pt x="78" y="78"/>
                  </a:lnTo>
                  <a:lnTo>
                    <a:pt x="78" y="74"/>
                  </a:lnTo>
                  <a:lnTo>
                    <a:pt x="66" y="56"/>
                  </a:lnTo>
                  <a:lnTo>
                    <a:pt x="66" y="54"/>
                  </a:lnTo>
                  <a:lnTo>
                    <a:pt x="64" y="50"/>
                  </a:lnTo>
                  <a:lnTo>
                    <a:pt x="58" y="46"/>
                  </a:lnTo>
                  <a:lnTo>
                    <a:pt x="52" y="40"/>
                  </a:lnTo>
                  <a:lnTo>
                    <a:pt x="36" y="32"/>
                  </a:lnTo>
                  <a:lnTo>
                    <a:pt x="24" y="18"/>
                  </a:lnTo>
                  <a:lnTo>
                    <a:pt x="22" y="14"/>
                  </a:lnTo>
                  <a:lnTo>
                    <a:pt x="18" y="8"/>
                  </a:lnTo>
                  <a:lnTo>
                    <a:pt x="14" y="6"/>
                  </a:lnTo>
                  <a:lnTo>
                    <a:pt x="10" y="4"/>
                  </a:lnTo>
                  <a:lnTo>
                    <a:pt x="0" y="0"/>
                  </a:lnTo>
                  <a:lnTo>
                    <a:pt x="2" y="14"/>
                  </a:lnTo>
                  <a:lnTo>
                    <a:pt x="14" y="28"/>
                  </a:lnTo>
                  <a:lnTo>
                    <a:pt x="18" y="40"/>
                  </a:lnTo>
                  <a:lnTo>
                    <a:pt x="20" y="46"/>
                  </a:lnTo>
                  <a:lnTo>
                    <a:pt x="12" y="64"/>
                  </a:lnTo>
                  <a:lnTo>
                    <a:pt x="14" y="68"/>
                  </a:lnTo>
                  <a:lnTo>
                    <a:pt x="6" y="80"/>
                  </a:lnTo>
                  <a:lnTo>
                    <a:pt x="2" y="80"/>
                  </a:lnTo>
                  <a:lnTo>
                    <a:pt x="0" y="80"/>
                  </a:lnTo>
                  <a:lnTo>
                    <a:pt x="0" y="8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29" name="Freeform 489"/>
            <p:cNvSpPr>
              <a:spLocks/>
            </p:cNvSpPr>
            <p:nvPr/>
          </p:nvSpPr>
          <p:spPr bwMode="auto">
            <a:xfrm>
              <a:off x="2292351" y="3179763"/>
              <a:ext cx="220663" cy="254000"/>
            </a:xfrm>
            <a:custGeom>
              <a:avLst/>
              <a:gdLst>
                <a:gd name="T0" fmla="*/ 0 w 128"/>
                <a:gd name="T1" fmla="*/ 84 h 160"/>
                <a:gd name="T2" fmla="*/ 12 w 128"/>
                <a:gd name="T3" fmla="*/ 88 h 160"/>
                <a:gd name="T4" fmla="*/ 20 w 128"/>
                <a:gd name="T5" fmla="*/ 98 h 160"/>
                <a:gd name="T6" fmla="*/ 28 w 128"/>
                <a:gd name="T7" fmla="*/ 96 h 160"/>
                <a:gd name="T8" fmla="*/ 32 w 128"/>
                <a:gd name="T9" fmla="*/ 104 h 160"/>
                <a:gd name="T10" fmla="*/ 36 w 128"/>
                <a:gd name="T11" fmla="*/ 114 h 160"/>
                <a:gd name="T12" fmla="*/ 48 w 128"/>
                <a:gd name="T13" fmla="*/ 126 h 160"/>
                <a:gd name="T14" fmla="*/ 60 w 128"/>
                <a:gd name="T15" fmla="*/ 128 h 160"/>
                <a:gd name="T16" fmla="*/ 70 w 128"/>
                <a:gd name="T17" fmla="*/ 134 h 160"/>
                <a:gd name="T18" fmla="*/ 98 w 128"/>
                <a:gd name="T19" fmla="*/ 140 h 160"/>
                <a:gd name="T20" fmla="*/ 104 w 128"/>
                <a:gd name="T21" fmla="*/ 150 h 160"/>
                <a:gd name="T22" fmla="*/ 118 w 128"/>
                <a:gd name="T23" fmla="*/ 160 h 160"/>
                <a:gd name="T24" fmla="*/ 122 w 128"/>
                <a:gd name="T25" fmla="*/ 154 h 160"/>
                <a:gd name="T26" fmla="*/ 118 w 128"/>
                <a:gd name="T27" fmla="*/ 142 h 160"/>
                <a:gd name="T28" fmla="*/ 120 w 128"/>
                <a:gd name="T29" fmla="*/ 136 h 160"/>
                <a:gd name="T30" fmla="*/ 124 w 128"/>
                <a:gd name="T31" fmla="*/ 128 h 160"/>
                <a:gd name="T32" fmla="*/ 116 w 128"/>
                <a:gd name="T33" fmla="*/ 116 h 160"/>
                <a:gd name="T34" fmla="*/ 120 w 128"/>
                <a:gd name="T35" fmla="*/ 106 h 160"/>
                <a:gd name="T36" fmla="*/ 114 w 128"/>
                <a:gd name="T37" fmla="*/ 100 h 160"/>
                <a:gd name="T38" fmla="*/ 112 w 128"/>
                <a:gd name="T39" fmla="*/ 94 h 160"/>
                <a:gd name="T40" fmla="*/ 102 w 128"/>
                <a:gd name="T41" fmla="*/ 88 h 160"/>
                <a:gd name="T42" fmla="*/ 88 w 128"/>
                <a:gd name="T43" fmla="*/ 82 h 160"/>
                <a:gd name="T44" fmla="*/ 80 w 128"/>
                <a:gd name="T45" fmla="*/ 82 h 160"/>
                <a:gd name="T46" fmla="*/ 78 w 128"/>
                <a:gd name="T47" fmla="*/ 74 h 160"/>
                <a:gd name="T48" fmla="*/ 66 w 128"/>
                <a:gd name="T49" fmla="*/ 54 h 160"/>
                <a:gd name="T50" fmla="*/ 58 w 128"/>
                <a:gd name="T51" fmla="*/ 46 h 160"/>
                <a:gd name="T52" fmla="*/ 36 w 128"/>
                <a:gd name="T53" fmla="*/ 32 h 160"/>
                <a:gd name="T54" fmla="*/ 22 w 128"/>
                <a:gd name="T55" fmla="*/ 14 h 160"/>
                <a:gd name="T56" fmla="*/ 14 w 128"/>
                <a:gd name="T57" fmla="*/ 6 h 160"/>
                <a:gd name="T58" fmla="*/ 0 w 128"/>
                <a:gd name="T59" fmla="*/ 0 h 160"/>
                <a:gd name="T60" fmla="*/ 14 w 128"/>
                <a:gd name="T61" fmla="*/ 28 h 160"/>
                <a:gd name="T62" fmla="*/ 20 w 128"/>
                <a:gd name="T63" fmla="*/ 46 h 160"/>
                <a:gd name="T64" fmla="*/ 14 w 128"/>
                <a:gd name="T65" fmla="*/ 68 h 160"/>
                <a:gd name="T66" fmla="*/ 2 w 128"/>
                <a:gd name="T67" fmla="*/ 80 h 160"/>
                <a:gd name="T68" fmla="*/ 0 w 128"/>
                <a:gd name="T69"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60">
                  <a:moveTo>
                    <a:pt x="0" y="80"/>
                  </a:moveTo>
                  <a:lnTo>
                    <a:pt x="0" y="84"/>
                  </a:lnTo>
                  <a:lnTo>
                    <a:pt x="4" y="88"/>
                  </a:lnTo>
                  <a:lnTo>
                    <a:pt x="12" y="88"/>
                  </a:lnTo>
                  <a:lnTo>
                    <a:pt x="18" y="96"/>
                  </a:lnTo>
                  <a:lnTo>
                    <a:pt x="20" y="98"/>
                  </a:lnTo>
                  <a:lnTo>
                    <a:pt x="26" y="96"/>
                  </a:lnTo>
                  <a:lnTo>
                    <a:pt x="28" y="96"/>
                  </a:lnTo>
                  <a:lnTo>
                    <a:pt x="32" y="98"/>
                  </a:lnTo>
                  <a:lnTo>
                    <a:pt x="32" y="104"/>
                  </a:lnTo>
                  <a:lnTo>
                    <a:pt x="34" y="112"/>
                  </a:lnTo>
                  <a:lnTo>
                    <a:pt x="36" y="114"/>
                  </a:lnTo>
                  <a:lnTo>
                    <a:pt x="38" y="120"/>
                  </a:lnTo>
                  <a:lnTo>
                    <a:pt x="48" y="126"/>
                  </a:lnTo>
                  <a:lnTo>
                    <a:pt x="52" y="124"/>
                  </a:lnTo>
                  <a:lnTo>
                    <a:pt x="60" y="128"/>
                  </a:lnTo>
                  <a:lnTo>
                    <a:pt x="64" y="128"/>
                  </a:lnTo>
                  <a:lnTo>
                    <a:pt x="70" y="134"/>
                  </a:lnTo>
                  <a:lnTo>
                    <a:pt x="92" y="134"/>
                  </a:lnTo>
                  <a:lnTo>
                    <a:pt x="98" y="140"/>
                  </a:lnTo>
                  <a:lnTo>
                    <a:pt x="100" y="144"/>
                  </a:lnTo>
                  <a:lnTo>
                    <a:pt x="104" y="150"/>
                  </a:lnTo>
                  <a:lnTo>
                    <a:pt x="108" y="152"/>
                  </a:lnTo>
                  <a:lnTo>
                    <a:pt x="118" y="160"/>
                  </a:lnTo>
                  <a:lnTo>
                    <a:pt x="122" y="158"/>
                  </a:lnTo>
                  <a:lnTo>
                    <a:pt x="122" y="154"/>
                  </a:lnTo>
                  <a:lnTo>
                    <a:pt x="118" y="146"/>
                  </a:lnTo>
                  <a:lnTo>
                    <a:pt x="118" y="142"/>
                  </a:lnTo>
                  <a:lnTo>
                    <a:pt x="118" y="140"/>
                  </a:lnTo>
                  <a:lnTo>
                    <a:pt x="120" y="136"/>
                  </a:lnTo>
                  <a:lnTo>
                    <a:pt x="128" y="134"/>
                  </a:lnTo>
                  <a:lnTo>
                    <a:pt x="124" y="128"/>
                  </a:lnTo>
                  <a:lnTo>
                    <a:pt x="118" y="122"/>
                  </a:lnTo>
                  <a:lnTo>
                    <a:pt x="116" y="116"/>
                  </a:lnTo>
                  <a:lnTo>
                    <a:pt x="120" y="110"/>
                  </a:lnTo>
                  <a:lnTo>
                    <a:pt x="120" y="106"/>
                  </a:lnTo>
                  <a:lnTo>
                    <a:pt x="118" y="102"/>
                  </a:lnTo>
                  <a:lnTo>
                    <a:pt x="114" y="100"/>
                  </a:lnTo>
                  <a:lnTo>
                    <a:pt x="112" y="98"/>
                  </a:lnTo>
                  <a:lnTo>
                    <a:pt x="112" y="94"/>
                  </a:lnTo>
                  <a:lnTo>
                    <a:pt x="106" y="90"/>
                  </a:lnTo>
                  <a:lnTo>
                    <a:pt x="102" y="88"/>
                  </a:lnTo>
                  <a:lnTo>
                    <a:pt x="100" y="84"/>
                  </a:lnTo>
                  <a:lnTo>
                    <a:pt x="88" y="82"/>
                  </a:lnTo>
                  <a:lnTo>
                    <a:pt x="84" y="82"/>
                  </a:lnTo>
                  <a:lnTo>
                    <a:pt x="80" y="82"/>
                  </a:lnTo>
                  <a:lnTo>
                    <a:pt x="78" y="78"/>
                  </a:lnTo>
                  <a:lnTo>
                    <a:pt x="78" y="74"/>
                  </a:lnTo>
                  <a:lnTo>
                    <a:pt x="66" y="56"/>
                  </a:lnTo>
                  <a:lnTo>
                    <a:pt x="66" y="54"/>
                  </a:lnTo>
                  <a:lnTo>
                    <a:pt x="64" y="50"/>
                  </a:lnTo>
                  <a:lnTo>
                    <a:pt x="58" y="46"/>
                  </a:lnTo>
                  <a:lnTo>
                    <a:pt x="52" y="40"/>
                  </a:lnTo>
                  <a:lnTo>
                    <a:pt x="36" y="32"/>
                  </a:lnTo>
                  <a:lnTo>
                    <a:pt x="24" y="18"/>
                  </a:lnTo>
                  <a:lnTo>
                    <a:pt x="22" y="14"/>
                  </a:lnTo>
                  <a:lnTo>
                    <a:pt x="18" y="8"/>
                  </a:lnTo>
                  <a:lnTo>
                    <a:pt x="14" y="6"/>
                  </a:lnTo>
                  <a:lnTo>
                    <a:pt x="10" y="4"/>
                  </a:lnTo>
                  <a:lnTo>
                    <a:pt x="0" y="0"/>
                  </a:lnTo>
                  <a:lnTo>
                    <a:pt x="2" y="14"/>
                  </a:lnTo>
                  <a:lnTo>
                    <a:pt x="14" y="28"/>
                  </a:lnTo>
                  <a:lnTo>
                    <a:pt x="18" y="40"/>
                  </a:lnTo>
                  <a:lnTo>
                    <a:pt x="20" y="46"/>
                  </a:lnTo>
                  <a:lnTo>
                    <a:pt x="12" y="64"/>
                  </a:lnTo>
                  <a:lnTo>
                    <a:pt x="14" y="68"/>
                  </a:lnTo>
                  <a:lnTo>
                    <a:pt x="6" y="80"/>
                  </a:lnTo>
                  <a:lnTo>
                    <a:pt x="2" y="80"/>
                  </a:lnTo>
                  <a:lnTo>
                    <a:pt x="0" y="80"/>
                  </a:lnTo>
                  <a:lnTo>
                    <a:pt x="0" y="8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30" name="Freeform 490"/>
            <p:cNvSpPr>
              <a:spLocks/>
            </p:cNvSpPr>
            <p:nvPr/>
          </p:nvSpPr>
          <p:spPr bwMode="auto">
            <a:xfrm>
              <a:off x="3627438" y="3811588"/>
              <a:ext cx="12700" cy="19050"/>
            </a:xfrm>
            <a:custGeom>
              <a:avLst/>
              <a:gdLst>
                <a:gd name="T0" fmla="*/ 8 w 8"/>
                <a:gd name="T1" fmla="*/ 10 h 12"/>
                <a:gd name="T2" fmla="*/ 8 w 8"/>
                <a:gd name="T3" fmla="*/ 8 h 12"/>
                <a:gd name="T4" fmla="*/ 4 w 8"/>
                <a:gd name="T5" fmla="*/ 0 h 12"/>
                <a:gd name="T6" fmla="*/ 0 w 8"/>
                <a:gd name="T7" fmla="*/ 2 h 12"/>
                <a:gd name="T8" fmla="*/ 2 w 8"/>
                <a:gd name="T9" fmla="*/ 10 h 12"/>
                <a:gd name="T10" fmla="*/ 6 w 8"/>
                <a:gd name="T11" fmla="*/ 12 h 12"/>
                <a:gd name="T12" fmla="*/ 8 w 8"/>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8" y="10"/>
                  </a:moveTo>
                  <a:lnTo>
                    <a:pt x="8" y="8"/>
                  </a:lnTo>
                  <a:lnTo>
                    <a:pt x="4" y="0"/>
                  </a:lnTo>
                  <a:lnTo>
                    <a:pt x="0" y="2"/>
                  </a:lnTo>
                  <a:lnTo>
                    <a:pt x="2" y="10"/>
                  </a:lnTo>
                  <a:lnTo>
                    <a:pt x="6" y="12"/>
                  </a:lnTo>
                  <a:lnTo>
                    <a:pt x="8" y="1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31" name="Freeform 491"/>
            <p:cNvSpPr>
              <a:spLocks/>
            </p:cNvSpPr>
            <p:nvPr/>
          </p:nvSpPr>
          <p:spPr bwMode="auto">
            <a:xfrm>
              <a:off x="3627438" y="3811588"/>
              <a:ext cx="12700" cy="19050"/>
            </a:xfrm>
            <a:custGeom>
              <a:avLst/>
              <a:gdLst>
                <a:gd name="T0" fmla="*/ 8 w 8"/>
                <a:gd name="T1" fmla="*/ 10 h 12"/>
                <a:gd name="T2" fmla="*/ 8 w 8"/>
                <a:gd name="T3" fmla="*/ 8 h 12"/>
                <a:gd name="T4" fmla="*/ 4 w 8"/>
                <a:gd name="T5" fmla="*/ 0 h 12"/>
                <a:gd name="T6" fmla="*/ 0 w 8"/>
                <a:gd name="T7" fmla="*/ 2 h 12"/>
                <a:gd name="T8" fmla="*/ 2 w 8"/>
                <a:gd name="T9" fmla="*/ 10 h 12"/>
                <a:gd name="T10" fmla="*/ 6 w 8"/>
                <a:gd name="T11" fmla="*/ 12 h 12"/>
                <a:gd name="T12" fmla="*/ 8 w 8"/>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8" y="10"/>
                  </a:moveTo>
                  <a:lnTo>
                    <a:pt x="8" y="8"/>
                  </a:lnTo>
                  <a:lnTo>
                    <a:pt x="4" y="0"/>
                  </a:lnTo>
                  <a:lnTo>
                    <a:pt x="0" y="2"/>
                  </a:lnTo>
                  <a:lnTo>
                    <a:pt x="2" y="10"/>
                  </a:lnTo>
                  <a:lnTo>
                    <a:pt x="6" y="12"/>
                  </a:lnTo>
                  <a:lnTo>
                    <a:pt x="8" y="1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32" name="Freeform 492"/>
            <p:cNvSpPr>
              <a:spLocks/>
            </p:cNvSpPr>
            <p:nvPr/>
          </p:nvSpPr>
          <p:spPr bwMode="auto">
            <a:xfrm>
              <a:off x="3657601" y="3827463"/>
              <a:ext cx="14288" cy="6350"/>
            </a:xfrm>
            <a:custGeom>
              <a:avLst/>
              <a:gdLst>
                <a:gd name="T0" fmla="*/ 8 w 8"/>
                <a:gd name="T1" fmla="*/ 2 h 4"/>
                <a:gd name="T2" fmla="*/ 4 w 8"/>
                <a:gd name="T3" fmla="*/ 0 h 4"/>
                <a:gd name="T4" fmla="*/ 0 w 8"/>
                <a:gd name="T5" fmla="*/ 0 h 4"/>
                <a:gd name="T6" fmla="*/ 2 w 8"/>
                <a:gd name="T7" fmla="*/ 4 h 4"/>
                <a:gd name="T8" fmla="*/ 8 w 8"/>
                <a:gd name="T9" fmla="*/ 4 h 4"/>
                <a:gd name="T10" fmla="*/ 8 w 8"/>
                <a:gd name="T11" fmla="*/ 2 h 4"/>
              </a:gdLst>
              <a:ahLst/>
              <a:cxnLst>
                <a:cxn ang="0">
                  <a:pos x="T0" y="T1"/>
                </a:cxn>
                <a:cxn ang="0">
                  <a:pos x="T2" y="T3"/>
                </a:cxn>
                <a:cxn ang="0">
                  <a:pos x="T4" y="T5"/>
                </a:cxn>
                <a:cxn ang="0">
                  <a:pos x="T6" y="T7"/>
                </a:cxn>
                <a:cxn ang="0">
                  <a:pos x="T8" y="T9"/>
                </a:cxn>
                <a:cxn ang="0">
                  <a:pos x="T10" y="T11"/>
                </a:cxn>
              </a:cxnLst>
              <a:rect l="0" t="0" r="r" b="b"/>
              <a:pathLst>
                <a:path w="8" h="4">
                  <a:moveTo>
                    <a:pt x="8" y="2"/>
                  </a:moveTo>
                  <a:lnTo>
                    <a:pt x="4" y="0"/>
                  </a:lnTo>
                  <a:lnTo>
                    <a:pt x="0" y="0"/>
                  </a:lnTo>
                  <a:lnTo>
                    <a:pt x="2" y="4"/>
                  </a:lnTo>
                  <a:lnTo>
                    <a:pt x="8" y="4"/>
                  </a:lnTo>
                  <a:lnTo>
                    <a:pt x="8" y="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33" name="Freeform 493"/>
            <p:cNvSpPr>
              <a:spLocks/>
            </p:cNvSpPr>
            <p:nvPr/>
          </p:nvSpPr>
          <p:spPr bwMode="auto">
            <a:xfrm>
              <a:off x="3657601" y="3827463"/>
              <a:ext cx="14288" cy="6350"/>
            </a:xfrm>
            <a:custGeom>
              <a:avLst/>
              <a:gdLst>
                <a:gd name="T0" fmla="*/ 8 w 8"/>
                <a:gd name="T1" fmla="*/ 2 h 4"/>
                <a:gd name="T2" fmla="*/ 4 w 8"/>
                <a:gd name="T3" fmla="*/ 0 h 4"/>
                <a:gd name="T4" fmla="*/ 0 w 8"/>
                <a:gd name="T5" fmla="*/ 0 h 4"/>
                <a:gd name="T6" fmla="*/ 2 w 8"/>
                <a:gd name="T7" fmla="*/ 4 h 4"/>
                <a:gd name="T8" fmla="*/ 8 w 8"/>
                <a:gd name="T9" fmla="*/ 4 h 4"/>
                <a:gd name="T10" fmla="*/ 8 w 8"/>
                <a:gd name="T11" fmla="*/ 2 h 4"/>
              </a:gdLst>
              <a:ahLst/>
              <a:cxnLst>
                <a:cxn ang="0">
                  <a:pos x="T0" y="T1"/>
                </a:cxn>
                <a:cxn ang="0">
                  <a:pos x="T2" y="T3"/>
                </a:cxn>
                <a:cxn ang="0">
                  <a:pos x="T4" y="T5"/>
                </a:cxn>
                <a:cxn ang="0">
                  <a:pos x="T6" y="T7"/>
                </a:cxn>
                <a:cxn ang="0">
                  <a:pos x="T8" y="T9"/>
                </a:cxn>
                <a:cxn ang="0">
                  <a:pos x="T10" y="T11"/>
                </a:cxn>
              </a:cxnLst>
              <a:rect l="0" t="0" r="r" b="b"/>
              <a:pathLst>
                <a:path w="8" h="4">
                  <a:moveTo>
                    <a:pt x="8" y="2"/>
                  </a:moveTo>
                  <a:lnTo>
                    <a:pt x="4" y="0"/>
                  </a:lnTo>
                  <a:lnTo>
                    <a:pt x="0" y="0"/>
                  </a:lnTo>
                  <a:lnTo>
                    <a:pt x="2" y="4"/>
                  </a:lnTo>
                  <a:lnTo>
                    <a:pt x="8" y="4"/>
                  </a:lnTo>
                  <a:lnTo>
                    <a:pt x="8" y="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34" name="Freeform 494"/>
            <p:cNvSpPr>
              <a:spLocks/>
            </p:cNvSpPr>
            <p:nvPr/>
          </p:nvSpPr>
          <p:spPr bwMode="auto">
            <a:xfrm>
              <a:off x="2224088" y="3462338"/>
              <a:ext cx="863600" cy="1069975"/>
            </a:xfrm>
            <a:custGeom>
              <a:avLst/>
              <a:gdLst>
                <a:gd name="T0" fmla="*/ 386 w 502"/>
                <a:gd name="T1" fmla="*/ 674 h 674"/>
                <a:gd name="T2" fmla="*/ 352 w 502"/>
                <a:gd name="T3" fmla="*/ 656 h 674"/>
                <a:gd name="T4" fmla="*/ 308 w 502"/>
                <a:gd name="T5" fmla="*/ 642 h 674"/>
                <a:gd name="T6" fmla="*/ 254 w 502"/>
                <a:gd name="T7" fmla="*/ 568 h 674"/>
                <a:gd name="T8" fmla="*/ 210 w 502"/>
                <a:gd name="T9" fmla="*/ 554 h 674"/>
                <a:gd name="T10" fmla="*/ 192 w 502"/>
                <a:gd name="T11" fmla="*/ 556 h 674"/>
                <a:gd name="T12" fmla="*/ 166 w 502"/>
                <a:gd name="T13" fmla="*/ 552 h 674"/>
                <a:gd name="T14" fmla="*/ 142 w 502"/>
                <a:gd name="T15" fmla="*/ 540 h 674"/>
                <a:gd name="T16" fmla="*/ 140 w 502"/>
                <a:gd name="T17" fmla="*/ 530 h 674"/>
                <a:gd name="T18" fmla="*/ 120 w 502"/>
                <a:gd name="T19" fmla="*/ 502 h 674"/>
                <a:gd name="T20" fmla="*/ 94 w 502"/>
                <a:gd name="T21" fmla="*/ 478 h 674"/>
                <a:gd name="T22" fmla="*/ 88 w 502"/>
                <a:gd name="T23" fmla="*/ 434 h 674"/>
                <a:gd name="T24" fmla="*/ 78 w 502"/>
                <a:gd name="T25" fmla="*/ 402 h 674"/>
                <a:gd name="T26" fmla="*/ 76 w 502"/>
                <a:gd name="T27" fmla="*/ 382 h 674"/>
                <a:gd name="T28" fmla="*/ 60 w 502"/>
                <a:gd name="T29" fmla="*/ 382 h 674"/>
                <a:gd name="T30" fmla="*/ 56 w 502"/>
                <a:gd name="T31" fmla="*/ 374 h 674"/>
                <a:gd name="T32" fmla="*/ 54 w 502"/>
                <a:gd name="T33" fmla="*/ 358 h 674"/>
                <a:gd name="T34" fmla="*/ 46 w 502"/>
                <a:gd name="T35" fmla="*/ 352 h 674"/>
                <a:gd name="T36" fmla="*/ 40 w 502"/>
                <a:gd name="T37" fmla="*/ 362 h 674"/>
                <a:gd name="T38" fmla="*/ 22 w 502"/>
                <a:gd name="T39" fmla="*/ 344 h 674"/>
                <a:gd name="T40" fmla="*/ 18 w 502"/>
                <a:gd name="T41" fmla="*/ 320 h 674"/>
                <a:gd name="T42" fmla="*/ 30 w 502"/>
                <a:gd name="T43" fmla="*/ 266 h 674"/>
                <a:gd name="T44" fmla="*/ 8 w 502"/>
                <a:gd name="T45" fmla="*/ 226 h 674"/>
                <a:gd name="T46" fmla="*/ 6 w 502"/>
                <a:gd name="T47" fmla="*/ 208 h 674"/>
                <a:gd name="T48" fmla="*/ 2 w 502"/>
                <a:gd name="T49" fmla="*/ 194 h 674"/>
                <a:gd name="T50" fmla="*/ 16 w 502"/>
                <a:gd name="T51" fmla="*/ 180 h 674"/>
                <a:gd name="T52" fmla="*/ 26 w 502"/>
                <a:gd name="T53" fmla="*/ 176 h 674"/>
                <a:gd name="T54" fmla="*/ 56 w 502"/>
                <a:gd name="T55" fmla="*/ 150 h 674"/>
                <a:gd name="T56" fmla="*/ 40 w 502"/>
                <a:gd name="T57" fmla="*/ 128 h 674"/>
                <a:gd name="T58" fmla="*/ 38 w 502"/>
                <a:gd name="T59" fmla="*/ 98 h 674"/>
                <a:gd name="T60" fmla="*/ 42 w 502"/>
                <a:gd name="T61" fmla="*/ 56 h 674"/>
                <a:gd name="T62" fmla="*/ 66 w 502"/>
                <a:gd name="T63" fmla="*/ 8 h 674"/>
                <a:gd name="T64" fmla="*/ 92 w 502"/>
                <a:gd name="T65" fmla="*/ 38 h 674"/>
                <a:gd name="T66" fmla="*/ 132 w 502"/>
                <a:gd name="T67" fmla="*/ 52 h 674"/>
                <a:gd name="T68" fmla="*/ 168 w 502"/>
                <a:gd name="T69" fmla="*/ 46 h 674"/>
                <a:gd name="T70" fmla="*/ 170 w 502"/>
                <a:gd name="T71" fmla="*/ 70 h 674"/>
                <a:gd name="T72" fmla="*/ 162 w 502"/>
                <a:gd name="T73" fmla="*/ 78 h 674"/>
                <a:gd name="T74" fmla="*/ 168 w 502"/>
                <a:gd name="T75" fmla="*/ 90 h 674"/>
                <a:gd name="T76" fmla="*/ 168 w 502"/>
                <a:gd name="T77" fmla="*/ 118 h 674"/>
                <a:gd name="T78" fmla="*/ 180 w 502"/>
                <a:gd name="T79" fmla="*/ 140 h 674"/>
                <a:gd name="T80" fmla="*/ 196 w 502"/>
                <a:gd name="T81" fmla="*/ 158 h 674"/>
                <a:gd name="T82" fmla="*/ 286 w 502"/>
                <a:gd name="T83" fmla="*/ 198 h 674"/>
                <a:gd name="T84" fmla="*/ 284 w 502"/>
                <a:gd name="T85" fmla="*/ 204 h 674"/>
                <a:gd name="T86" fmla="*/ 300 w 502"/>
                <a:gd name="T87" fmla="*/ 184 h 674"/>
                <a:gd name="T88" fmla="*/ 366 w 502"/>
                <a:gd name="T89" fmla="*/ 182 h 674"/>
                <a:gd name="T90" fmla="*/ 380 w 502"/>
                <a:gd name="T91" fmla="*/ 186 h 674"/>
                <a:gd name="T92" fmla="*/ 408 w 502"/>
                <a:gd name="T93" fmla="*/ 202 h 674"/>
                <a:gd name="T94" fmla="*/ 456 w 502"/>
                <a:gd name="T95" fmla="*/ 232 h 674"/>
                <a:gd name="T96" fmla="*/ 486 w 502"/>
                <a:gd name="T97" fmla="*/ 276 h 674"/>
                <a:gd name="T98" fmla="*/ 496 w 502"/>
                <a:gd name="T99" fmla="*/ 302 h 674"/>
                <a:gd name="T100" fmla="*/ 470 w 502"/>
                <a:gd name="T101" fmla="*/ 348 h 674"/>
                <a:gd name="T102" fmla="*/ 448 w 502"/>
                <a:gd name="T103" fmla="*/ 372 h 674"/>
                <a:gd name="T104" fmla="*/ 442 w 502"/>
                <a:gd name="T105" fmla="*/ 400 h 674"/>
                <a:gd name="T106" fmla="*/ 438 w 502"/>
                <a:gd name="T107" fmla="*/ 448 h 674"/>
                <a:gd name="T108" fmla="*/ 458 w 502"/>
                <a:gd name="T109" fmla="*/ 472 h 674"/>
                <a:gd name="T110" fmla="*/ 416 w 502"/>
                <a:gd name="T111" fmla="*/ 512 h 674"/>
                <a:gd name="T112" fmla="*/ 444 w 502"/>
                <a:gd name="T113" fmla="*/ 568 h 674"/>
                <a:gd name="T114" fmla="*/ 456 w 502"/>
                <a:gd name="T115" fmla="*/ 612 h 674"/>
                <a:gd name="T116" fmla="*/ 468 w 502"/>
                <a:gd name="T117" fmla="*/ 626 h 674"/>
                <a:gd name="T118" fmla="*/ 428 w 502"/>
                <a:gd name="T119" fmla="*/ 636 h 674"/>
                <a:gd name="T120" fmla="*/ 392 w 502"/>
                <a:gd name="T121" fmla="*/ 67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2" h="674">
                  <a:moveTo>
                    <a:pt x="392" y="674"/>
                  </a:moveTo>
                  <a:lnTo>
                    <a:pt x="390" y="672"/>
                  </a:lnTo>
                  <a:lnTo>
                    <a:pt x="386" y="674"/>
                  </a:lnTo>
                  <a:lnTo>
                    <a:pt x="360" y="660"/>
                  </a:lnTo>
                  <a:lnTo>
                    <a:pt x="356" y="654"/>
                  </a:lnTo>
                  <a:lnTo>
                    <a:pt x="352" y="656"/>
                  </a:lnTo>
                  <a:lnTo>
                    <a:pt x="314" y="640"/>
                  </a:lnTo>
                  <a:lnTo>
                    <a:pt x="310" y="640"/>
                  </a:lnTo>
                  <a:lnTo>
                    <a:pt x="308" y="642"/>
                  </a:lnTo>
                  <a:lnTo>
                    <a:pt x="296" y="630"/>
                  </a:lnTo>
                  <a:lnTo>
                    <a:pt x="256" y="614"/>
                  </a:lnTo>
                  <a:lnTo>
                    <a:pt x="254" y="568"/>
                  </a:lnTo>
                  <a:lnTo>
                    <a:pt x="242" y="556"/>
                  </a:lnTo>
                  <a:lnTo>
                    <a:pt x="236" y="554"/>
                  </a:lnTo>
                  <a:lnTo>
                    <a:pt x="210" y="554"/>
                  </a:lnTo>
                  <a:lnTo>
                    <a:pt x="204" y="558"/>
                  </a:lnTo>
                  <a:lnTo>
                    <a:pt x="198" y="558"/>
                  </a:lnTo>
                  <a:lnTo>
                    <a:pt x="192" y="556"/>
                  </a:lnTo>
                  <a:lnTo>
                    <a:pt x="180" y="558"/>
                  </a:lnTo>
                  <a:lnTo>
                    <a:pt x="174" y="556"/>
                  </a:lnTo>
                  <a:lnTo>
                    <a:pt x="166" y="552"/>
                  </a:lnTo>
                  <a:lnTo>
                    <a:pt x="162" y="548"/>
                  </a:lnTo>
                  <a:lnTo>
                    <a:pt x="154" y="542"/>
                  </a:lnTo>
                  <a:lnTo>
                    <a:pt x="142" y="540"/>
                  </a:lnTo>
                  <a:lnTo>
                    <a:pt x="138" y="532"/>
                  </a:lnTo>
                  <a:lnTo>
                    <a:pt x="140" y="534"/>
                  </a:lnTo>
                  <a:lnTo>
                    <a:pt x="140" y="530"/>
                  </a:lnTo>
                  <a:lnTo>
                    <a:pt x="120" y="514"/>
                  </a:lnTo>
                  <a:lnTo>
                    <a:pt x="118" y="506"/>
                  </a:lnTo>
                  <a:lnTo>
                    <a:pt x="120" y="502"/>
                  </a:lnTo>
                  <a:lnTo>
                    <a:pt x="116" y="496"/>
                  </a:lnTo>
                  <a:lnTo>
                    <a:pt x="102" y="484"/>
                  </a:lnTo>
                  <a:lnTo>
                    <a:pt x="94" y="478"/>
                  </a:lnTo>
                  <a:lnTo>
                    <a:pt x="90" y="474"/>
                  </a:lnTo>
                  <a:lnTo>
                    <a:pt x="86" y="468"/>
                  </a:lnTo>
                  <a:lnTo>
                    <a:pt x="88" y="434"/>
                  </a:lnTo>
                  <a:lnTo>
                    <a:pt x="80" y="420"/>
                  </a:lnTo>
                  <a:lnTo>
                    <a:pt x="82" y="406"/>
                  </a:lnTo>
                  <a:lnTo>
                    <a:pt x="78" y="402"/>
                  </a:lnTo>
                  <a:lnTo>
                    <a:pt x="76" y="390"/>
                  </a:lnTo>
                  <a:lnTo>
                    <a:pt x="76" y="386"/>
                  </a:lnTo>
                  <a:lnTo>
                    <a:pt x="76" y="382"/>
                  </a:lnTo>
                  <a:lnTo>
                    <a:pt x="74" y="380"/>
                  </a:lnTo>
                  <a:lnTo>
                    <a:pt x="66" y="378"/>
                  </a:lnTo>
                  <a:lnTo>
                    <a:pt x="60" y="382"/>
                  </a:lnTo>
                  <a:lnTo>
                    <a:pt x="60" y="380"/>
                  </a:lnTo>
                  <a:lnTo>
                    <a:pt x="56" y="376"/>
                  </a:lnTo>
                  <a:lnTo>
                    <a:pt x="56" y="374"/>
                  </a:lnTo>
                  <a:lnTo>
                    <a:pt x="54" y="370"/>
                  </a:lnTo>
                  <a:lnTo>
                    <a:pt x="52" y="364"/>
                  </a:lnTo>
                  <a:lnTo>
                    <a:pt x="54" y="358"/>
                  </a:lnTo>
                  <a:lnTo>
                    <a:pt x="52" y="356"/>
                  </a:lnTo>
                  <a:lnTo>
                    <a:pt x="48" y="352"/>
                  </a:lnTo>
                  <a:lnTo>
                    <a:pt x="46" y="352"/>
                  </a:lnTo>
                  <a:lnTo>
                    <a:pt x="44" y="356"/>
                  </a:lnTo>
                  <a:lnTo>
                    <a:pt x="42" y="358"/>
                  </a:lnTo>
                  <a:lnTo>
                    <a:pt x="40" y="362"/>
                  </a:lnTo>
                  <a:lnTo>
                    <a:pt x="36" y="360"/>
                  </a:lnTo>
                  <a:lnTo>
                    <a:pt x="34" y="366"/>
                  </a:lnTo>
                  <a:lnTo>
                    <a:pt x="22" y="344"/>
                  </a:lnTo>
                  <a:lnTo>
                    <a:pt x="20" y="338"/>
                  </a:lnTo>
                  <a:lnTo>
                    <a:pt x="24" y="328"/>
                  </a:lnTo>
                  <a:lnTo>
                    <a:pt x="18" y="320"/>
                  </a:lnTo>
                  <a:lnTo>
                    <a:pt x="32" y="298"/>
                  </a:lnTo>
                  <a:lnTo>
                    <a:pt x="32" y="272"/>
                  </a:lnTo>
                  <a:lnTo>
                    <a:pt x="30" y="266"/>
                  </a:lnTo>
                  <a:lnTo>
                    <a:pt x="18" y="254"/>
                  </a:lnTo>
                  <a:lnTo>
                    <a:pt x="6" y="232"/>
                  </a:lnTo>
                  <a:lnTo>
                    <a:pt x="8" y="226"/>
                  </a:lnTo>
                  <a:lnTo>
                    <a:pt x="8" y="218"/>
                  </a:lnTo>
                  <a:lnTo>
                    <a:pt x="6" y="214"/>
                  </a:lnTo>
                  <a:lnTo>
                    <a:pt x="6" y="208"/>
                  </a:lnTo>
                  <a:lnTo>
                    <a:pt x="2" y="206"/>
                  </a:lnTo>
                  <a:lnTo>
                    <a:pt x="0" y="202"/>
                  </a:lnTo>
                  <a:lnTo>
                    <a:pt x="2" y="194"/>
                  </a:lnTo>
                  <a:lnTo>
                    <a:pt x="4" y="194"/>
                  </a:lnTo>
                  <a:lnTo>
                    <a:pt x="8" y="192"/>
                  </a:lnTo>
                  <a:lnTo>
                    <a:pt x="16" y="180"/>
                  </a:lnTo>
                  <a:lnTo>
                    <a:pt x="20" y="178"/>
                  </a:lnTo>
                  <a:lnTo>
                    <a:pt x="26" y="178"/>
                  </a:lnTo>
                  <a:lnTo>
                    <a:pt x="26" y="176"/>
                  </a:lnTo>
                  <a:lnTo>
                    <a:pt x="46" y="166"/>
                  </a:lnTo>
                  <a:lnTo>
                    <a:pt x="48" y="156"/>
                  </a:lnTo>
                  <a:lnTo>
                    <a:pt x="56" y="150"/>
                  </a:lnTo>
                  <a:lnTo>
                    <a:pt x="60" y="148"/>
                  </a:lnTo>
                  <a:lnTo>
                    <a:pt x="42" y="136"/>
                  </a:lnTo>
                  <a:lnTo>
                    <a:pt x="40" y="128"/>
                  </a:lnTo>
                  <a:lnTo>
                    <a:pt x="42" y="116"/>
                  </a:lnTo>
                  <a:lnTo>
                    <a:pt x="40" y="110"/>
                  </a:lnTo>
                  <a:lnTo>
                    <a:pt x="38" y="98"/>
                  </a:lnTo>
                  <a:lnTo>
                    <a:pt x="48" y="74"/>
                  </a:lnTo>
                  <a:lnTo>
                    <a:pt x="46" y="64"/>
                  </a:lnTo>
                  <a:lnTo>
                    <a:pt x="42" y="56"/>
                  </a:lnTo>
                  <a:lnTo>
                    <a:pt x="62" y="20"/>
                  </a:lnTo>
                  <a:lnTo>
                    <a:pt x="64" y="12"/>
                  </a:lnTo>
                  <a:lnTo>
                    <a:pt x="66" y="8"/>
                  </a:lnTo>
                  <a:lnTo>
                    <a:pt x="74" y="8"/>
                  </a:lnTo>
                  <a:lnTo>
                    <a:pt x="86" y="0"/>
                  </a:lnTo>
                  <a:lnTo>
                    <a:pt x="92" y="38"/>
                  </a:lnTo>
                  <a:lnTo>
                    <a:pt x="114" y="52"/>
                  </a:lnTo>
                  <a:lnTo>
                    <a:pt x="124" y="56"/>
                  </a:lnTo>
                  <a:lnTo>
                    <a:pt x="132" y="52"/>
                  </a:lnTo>
                  <a:lnTo>
                    <a:pt x="138" y="46"/>
                  </a:lnTo>
                  <a:lnTo>
                    <a:pt x="154" y="42"/>
                  </a:lnTo>
                  <a:lnTo>
                    <a:pt x="168" y="46"/>
                  </a:lnTo>
                  <a:lnTo>
                    <a:pt x="174" y="54"/>
                  </a:lnTo>
                  <a:lnTo>
                    <a:pt x="170" y="60"/>
                  </a:lnTo>
                  <a:lnTo>
                    <a:pt x="170" y="70"/>
                  </a:lnTo>
                  <a:lnTo>
                    <a:pt x="160" y="72"/>
                  </a:lnTo>
                  <a:lnTo>
                    <a:pt x="156" y="72"/>
                  </a:lnTo>
                  <a:lnTo>
                    <a:pt x="162" y="78"/>
                  </a:lnTo>
                  <a:lnTo>
                    <a:pt x="162" y="82"/>
                  </a:lnTo>
                  <a:lnTo>
                    <a:pt x="164" y="84"/>
                  </a:lnTo>
                  <a:lnTo>
                    <a:pt x="168" y="90"/>
                  </a:lnTo>
                  <a:lnTo>
                    <a:pt x="174" y="94"/>
                  </a:lnTo>
                  <a:lnTo>
                    <a:pt x="176" y="94"/>
                  </a:lnTo>
                  <a:lnTo>
                    <a:pt x="168" y="118"/>
                  </a:lnTo>
                  <a:lnTo>
                    <a:pt x="168" y="126"/>
                  </a:lnTo>
                  <a:lnTo>
                    <a:pt x="172" y="132"/>
                  </a:lnTo>
                  <a:lnTo>
                    <a:pt x="180" y="140"/>
                  </a:lnTo>
                  <a:lnTo>
                    <a:pt x="194" y="146"/>
                  </a:lnTo>
                  <a:lnTo>
                    <a:pt x="196" y="150"/>
                  </a:lnTo>
                  <a:lnTo>
                    <a:pt x="196" y="158"/>
                  </a:lnTo>
                  <a:lnTo>
                    <a:pt x="208" y="176"/>
                  </a:lnTo>
                  <a:lnTo>
                    <a:pt x="230" y="192"/>
                  </a:lnTo>
                  <a:lnTo>
                    <a:pt x="286" y="198"/>
                  </a:lnTo>
                  <a:lnTo>
                    <a:pt x="282" y="200"/>
                  </a:lnTo>
                  <a:lnTo>
                    <a:pt x="274" y="200"/>
                  </a:lnTo>
                  <a:lnTo>
                    <a:pt x="284" y="204"/>
                  </a:lnTo>
                  <a:lnTo>
                    <a:pt x="296" y="206"/>
                  </a:lnTo>
                  <a:lnTo>
                    <a:pt x="300" y="196"/>
                  </a:lnTo>
                  <a:lnTo>
                    <a:pt x="300" y="184"/>
                  </a:lnTo>
                  <a:lnTo>
                    <a:pt x="318" y="188"/>
                  </a:lnTo>
                  <a:lnTo>
                    <a:pt x="350" y="178"/>
                  </a:lnTo>
                  <a:lnTo>
                    <a:pt x="366" y="182"/>
                  </a:lnTo>
                  <a:lnTo>
                    <a:pt x="370" y="184"/>
                  </a:lnTo>
                  <a:lnTo>
                    <a:pt x="376" y="186"/>
                  </a:lnTo>
                  <a:lnTo>
                    <a:pt x="380" y="186"/>
                  </a:lnTo>
                  <a:lnTo>
                    <a:pt x="382" y="182"/>
                  </a:lnTo>
                  <a:lnTo>
                    <a:pt x="402" y="188"/>
                  </a:lnTo>
                  <a:lnTo>
                    <a:pt x="408" y="202"/>
                  </a:lnTo>
                  <a:lnTo>
                    <a:pt x="438" y="224"/>
                  </a:lnTo>
                  <a:lnTo>
                    <a:pt x="444" y="224"/>
                  </a:lnTo>
                  <a:lnTo>
                    <a:pt x="456" y="232"/>
                  </a:lnTo>
                  <a:lnTo>
                    <a:pt x="458" y="240"/>
                  </a:lnTo>
                  <a:lnTo>
                    <a:pt x="458" y="246"/>
                  </a:lnTo>
                  <a:lnTo>
                    <a:pt x="486" y="276"/>
                  </a:lnTo>
                  <a:lnTo>
                    <a:pt x="500" y="280"/>
                  </a:lnTo>
                  <a:lnTo>
                    <a:pt x="502" y="284"/>
                  </a:lnTo>
                  <a:lnTo>
                    <a:pt x="496" y="302"/>
                  </a:lnTo>
                  <a:lnTo>
                    <a:pt x="496" y="308"/>
                  </a:lnTo>
                  <a:lnTo>
                    <a:pt x="480" y="340"/>
                  </a:lnTo>
                  <a:lnTo>
                    <a:pt x="470" y="348"/>
                  </a:lnTo>
                  <a:lnTo>
                    <a:pt x="466" y="356"/>
                  </a:lnTo>
                  <a:lnTo>
                    <a:pt x="454" y="358"/>
                  </a:lnTo>
                  <a:lnTo>
                    <a:pt x="448" y="372"/>
                  </a:lnTo>
                  <a:lnTo>
                    <a:pt x="456" y="378"/>
                  </a:lnTo>
                  <a:lnTo>
                    <a:pt x="454" y="382"/>
                  </a:lnTo>
                  <a:lnTo>
                    <a:pt x="442" y="400"/>
                  </a:lnTo>
                  <a:lnTo>
                    <a:pt x="442" y="416"/>
                  </a:lnTo>
                  <a:lnTo>
                    <a:pt x="434" y="442"/>
                  </a:lnTo>
                  <a:lnTo>
                    <a:pt x="438" y="448"/>
                  </a:lnTo>
                  <a:lnTo>
                    <a:pt x="452" y="454"/>
                  </a:lnTo>
                  <a:lnTo>
                    <a:pt x="456" y="462"/>
                  </a:lnTo>
                  <a:lnTo>
                    <a:pt x="458" y="472"/>
                  </a:lnTo>
                  <a:lnTo>
                    <a:pt x="454" y="478"/>
                  </a:lnTo>
                  <a:lnTo>
                    <a:pt x="448" y="486"/>
                  </a:lnTo>
                  <a:lnTo>
                    <a:pt x="416" y="512"/>
                  </a:lnTo>
                  <a:lnTo>
                    <a:pt x="424" y="526"/>
                  </a:lnTo>
                  <a:lnTo>
                    <a:pt x="430" y="554"/>
                  </a:lnTo>
                  <a:lnTo>
                    <a:pt x="444" y="568"/>
                  </a:lnTo>
                  <a:lnTo>
                    <a:pt x="458" y="576"/>
                  </a:lnTo>
                  <a:lnTo>
                    <a:pt x="462" y="582"/>
                  </a:lnTo>
                  <a:lnTo>
                    <a:pt x="456" y="612"/>
                  </a:lnTo>
                  <a:lnTo>
                    <a:pt x="466" y="618"/>
                  </a:lnTo>
                  <a:lnTo>
                    <a:pt x="468" y="620"/>
                  </a:lnTo>
                  <a:lnTo>
                    <a:pt x="468" y="626"/>
                  </a:lnTo>
                  <a:lnTo>
                    <a:pt x="466" y="630"/>
                  </a:lnTo>
                  <a:lnTo>
                    <a:pt x="454" y="634"/>
                  </a:lnTo>
                  <a:lnTo>
                    <a:pt x="428" y="636"/>
                  </a:lnTo>
                  <a:lnTo>
                    <a:pt x="410" y="644"/>
                  </a:lnTo>
                  <a:lnTo>
                    <a:pt x="396" y="666"/>
                  </a:lnTo>
                  <a:lnTo>
                    <a:pt x="392" y="67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35" name="Freeform 495"/>
            <p:cNvSpPr>
              <a:spLocks/>
            </p:cNvSpPr>
            <p:nvPr/>
          </p:nvSpPr>
          <p:spPr bwMode="auto">
            <a:xfrm>
              <a:off x="2224088" y="3462338"/>
              <a:ext cx="863600" cy="1069975"/>
            </a:xfrm>
            <a:custGeom>
              <a:avLst/>
              <a:gdLst>
                <a:gd name="T0" fmla="*/ 386 w 502"/>
                <a:gd name="T1" fmla="*/ 674 h 674"/>
                <a:gd name="T2" fmla="*/ 352 w 502"/>
                <a:gd name="T3" fmla="*/ 656 h 674"/>
                <a:gd name="T4" fmla="*/ 308 w 502"/>
                <a:gd name="T5" fmla="*/ 642 h 674"/>
                <a:gd name="T6" fmla="*/ 254 w 502"/>
                <a:gd name="T7" fmla="*/ 568 h 674"/>
                <a:gd name="T8" fmla="*/ 210 w 502"/>
                <a:gd name="T9" fmla="*/ 554 h 674"/>
                <a:gd name="T10" fmla="*/ 192 w 502"/>
                <a:gd name="T11" fmla="*/ 556 h 674"/>
                <a:gd name="T12" fmla="*/ 166 w 502"/>
                <a:gd name="T13" fmla="*/ 552 h 674"/>
                <a:gd name="T14" fmla="*/ 142 w 502"/>
                <a:gd name="T15" fmla="*/ 540 h 674"/>
                <a:gd name="T16" fmla="*/ 140 w 502"/>
                <a:gd name="T17" fmla="*/ 530 h 674"/>
                <a:gd name="T18" fmla="*/ 120 w 502"/>
                <a:gd name="T19" fmla="*/ 502 h 674"/>
                <a:gd name="T20" fmla="*/ 94 w 502"/>
                <a:gd name="T21" fmla="*/ 478 h 674"/>
                <a:gd name="T22" fmla="*/ 88 w 502"/>
                <a:gd name="T23" fmla="*/ 434 h 674"/>
                <a:gd name="T24" fmla="*/ 78 w 502"/>
                <a:gd name="T25" fmla="*/ 402 h 674"/>
                <a:gd name="T26" fmla="*/ 76 w 502"/>
                <a:gd name="T27" fmla="*/ 382 h 674"/>
                <a:gd name="T28" fmla="*/ 60 w 502"/>
                <a:gd name="T29" fmla="*/ 382 h 674"/>
                <a:gd name="T30" fmla="*/ 56 w 502"/>
                <a:gd name="T31" fmla="*/ 374 h 674"/>
                <a:gd name="T32" fmla="*/ 54 w 502"/>
                <a:gd name="T33" fmla="*/ 358 h 674"/>
                <a:gd name="T34" fmla="*/ 46 w 502"/>
                <a:gd name="T35" fmla="*/ 352 h 674"/>
                <a:gd name="T36" fmla="*/ 40 w 502"/>
                <a:gd name="T37" fmla="*/ 362 h 674"/>
                <a:gd name="T38" fmla="*/ 22 w 502"/>
                <a:gd name="T39" fmla="*/ 344 h 674"/>
                <a:gd name="T40" fmla="*/ 18 w 502"/>
                <a:gd name="T41" fmla="*/ 320 h 674"/>
                <a:gd name="T42" fmla="*/ 30 w 502"/>
                <a:gd name="T43" fmla="*/ 266 h 674"/>
                <a:gd name="T44" fmla="*/ 8 w 502"/>
                <a:gd name="T45" fmla="*/ 226 h 674"/>
                <a:gd name="T46" fmla="*/ 6 w 502"/>
                <a:gd name="T47" fmla="*/ 208 h 674"/>
                <a:gd name="T48" fmla="*/ 2 w 502"/>
                <a:gd name="T49" fmla="*/ 194 h 674"/>
                <a:gd name="T50" fmla="*/ 16 w 502"/>
                <a:gd name="T51" fmla="*/ 180 h 674"/>
                <a:gd name="T52" fmla="*/ 26 w 502"/>
                <a:gd name="T53" fmla="*/ 176 h 674"/>
                <a:gd name="T54" fmla="*/ 56 w 502"/>
                <a:gd name="T55" fmla="*/ 150 h 674"/>
                <a:gd name="T56" fmla="*/ 40 w 502"/>
                <a:gd name="T57" fmla="*/ 128 h 674"/>
                <a:gd name="T58" fmla="*/ 38 w 502"/>
                <a:gd name="T59" fmla="*/ 98 h 674"/>
                <a:gd name="T60" fmla="*/ 42 w 502"/>
                <a:gd name="T61" fmla="*/ 56 h 674"/>
                <a:gd name="T62" fmla="*/ 66 w 502"/>
                <a:gd name="T63" fmla="*/ 8 h 674"/>
                <a:gd name="T64" fmla="*/ 92 w 502"/>
                <a:gd name="T65" fmla="*/ 38 h 674"/>
                <a:gd name="T66" fmla="*/ 132 w 502"/>
                <a:gd name="T67" fmla="*/ 52 h 674"/>
                <a:gd name="T68" fmla="*/ 168 w 502"/>
                <a:gd name="T69" fmla="*/ 46 h 674"/>
                <a:gd name="T70" fmla="*/ 170 w 502"/>
                <a:gd name="T71" fmla="*/ 70 h 674"/>
                <a:gd name="T72" fmla="*/ 162 w 502"/>
                <a:gd name="T73" fmla="*/ 78 h 674"/>
                <a:gd name="T74" fmla="*/ 168 w 502"/>
                <a:gd name="T75" fmla="*/ 90 h 674"/>
                <a:gd name="T76" fmla="*/ 168 w 502"/>
                <a:gd name="T77" fmla="*/ 118 h 674"/>
                <a:gd name="T78" fmla="*/ 180 w 502"/>
                <a:gd name="T79" fmla="*/ 140 h 674"/>
                <a:gd name="T80" fmla="*/ 196 w 502"/>
                <a:gd name="T81" fmla="*/ 158 h 674"/>
                <a:gd name="T82" fmla="*/ 286 w 502"/>
                <a:gd name="T83" fmla="*/ 198 h 674"/>
                <a:gd name="T84" fmla="*/ 284 w 502"/>
                <a:gd name="T85" fmla="*/ 204 h 674"/>
                <a:gd name="T86" fmla="*/ 300 w 502"/>
                <a:gd name="T87" fmla="*/ 184 h 674"/>
                <a:gd name="T88" fmla="*/ 366 w 502"/>
                <a:gd name="T89" fmla="*/ 182 h 674"/>
                <a:gd name="T90" fmla="*/ 380 w 502"/>
                <a:gd name="T91" fmla="*/ 186 h 674"/>
                <a:gd name="T92" fmla="*/ 408 w 502"/>
                <a:gd name="T93" fmla="*/ 202 h 674"/>
                <a:gd name="T94" fmla="*/ 456 w 502"/>
                <a:gd name="T95" fmla="*/ 232 h 674"/>
                <a:gd name="T96" fmla="*/ 486 w 502"/>
                <a:gd name="T97" fmla="*/ 276 h 674"/>
                <a:gd name="T98" fmla="*/ 496 w 502"/>
                <a:gd name="T99" fmla="*/ 302 h 674"/>
                <a:gd name="T100" fmla="*/ 470 w 502"/>
                <a:gd name="T101" fmla="*/ 348 h 674"/>
                <a:gd name="T102" fmla="*/ 448 w 502"/>
                <a:gd name="T103" fmla="*/ 372 h 674"/>
                <a:gd name="T104" fmla="*/ 442 w 502"/>
                <a:gd name="T105" fmla="*/ 400 h 674"/>
                <a:gd name="T106" fmla="*/ 438 w 502"/>
                <a:gd name="T107" fmla="*/ 448 h 674"/>
                <a:gd name="T108" fmla="*/ 458 w 502"/>
                <a:gd name="T109" fmla="*/ 472 h 674"/>
                <a:gd name="T110" fmla="*/ 416 w 502"/>
                <a:gd name="T111" fmla="*/ 512 h 674"/>
                <a:gd name="T112" fmla="*/ 444 w 502"/>
                <a:gd name="T113" fmla="*/ 568 h 674"/>
                <a:gd name="T114" fmla="*/ 456 w 502"/>
                <a:gd name="T115" fmla="*/ 612 h 674"/>
                <a:gd name="T116" fmla="*/ 468 w 502"/>
                <a:gd name="T117" fmla="*/ 626 h 674"/>
                <a:gd name="T118" fmla="*/ 428 w 502"/>
                <a:gd name="T119" fmla="*/ 636 h 674"/>
                <a:gd name="T120" fmla="*/ 392 w 502"/>
                <a:gd name="T121" fmla="*/ 67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2" h="674">
                  <a:moveTo>
                    <a:pt x="392" y="674"/>
                  </a:moveTo>
                  <a:lnTo>
                    <a:pt x="390" y="672"/>
                  </a:lnTo>
                  <a:lnTo>
                    <a:pt x="386" y="674"/>
                  </a:lnTo>
                  <a:lnTo>
                    <a:pt x="360" y="660"/>
                  </a:lnTo>
                  <a:lnTo>
                    <a:pt x="356" y="654"/>
                  </a:lnTo>
                  <a:lnTo>
                    <a:pt x="352" y="656"/>
                  </a:lnTo>
                  <a:lnTo>
                    <a:pt x="314" y="640"/>
                  </a:lnTo>
                  <a:lnTo>
                    <a:pt x="310" y="640"/>
                  </a:lnTo>
                  <a:lnTo>
                    <a:pt x="308" y="642"/>
                  </a:lnTo>
                  <a:lnTo>
                    <a:pt x="296" y="630"/>
                  </a:lnTo>
                  <a:lnTo>
                    <a:pt x="256" y="614"/>
                  </a:lnTo>
                  <a:lnTo>
                    <a:pt x="254" y="568"/>
                  </a:lnTo>
                  <a:lnTo>
                    <a:pt x="242" y="556"/>
                  </a:lnTo>
                  <a:lnTo>
                    <a:pt x="236" y="554"/>
                  </a:lnTo>
                  <a:lnTo>
                    <a:pt x="210" y="554"/>
                  </a:lnTo>
                  <a:lnTo>
                    <a:pt x="204" y="558"/>
                  </a:lnTo>
                  <a:lnTo>
                    <a:pt x="198" y="558"/>
                  </a:lnTo>
                  <a:lnTo>
                    <a:pt x="192" y="556"/>
                  </a:lnTo>
                  <a:lnTo>
                    <a:pt x="180" y="558"/>
                  </a:lnTo>
                  <a:lnTo>
                    <a:pt x="174" y="556"/>
                  </a:lnTo>
                  <a:lnTo>
                    <a:pt x="166" y="552"/>
                  </a:lnTo>
                  <a:lnTo>
                    <a:pt x="162" y="548"/>
                  </a:lnTo>
                  <a:lnTo>
                    <a:pt x="154" y="542"/>
                  </a:lnTo>
                  <a:lnTo>
                    <a:pt x="142" y="540"/>
                  </a:lnTo>
                  <a:lnTo>
                    <a:pt x="138" y="532"/>
                  </a:lnTo>
                  <a:lnTo>
                    <a:pt x="140" y="534"/>
                  </a:lnTo>
                  <a:lnTo>
                    <a:pt x="140" y="530"/>
                  </a:lnTo>
                  <a:lnTo>
                    <a:pt x="120" y="514"/>
                  </a:lnTo>
                  <a:lnTo>
                    <a:pt x="118" y="506"/>
                  </a:lnTo>
                  <a:lnTo>
                    <a:pt x="120" y="502"/>
                  </a:lnTo>
                  <a:lnTo>
                    <a:pt x="116" y="496"/>
                  </a:lnTo>
                  <a:lnTo>
                    <a:pt x="102" y="484"/>
                  </a:lnTo>
                  <a:lnTo>
                    <a:pt x="94" y="478"/>
                  </a:lnTo>
                  <a:lnTo>
                    <a:pt x="90" y="474"/>
                  </a:lnTo>
                  <a:lnTo>
                    <a:pt x="86" y="468"/>
                  </a:lnTo>
                  <a:lnTo>
                    <a:pt x="88" y="434"/>
                  </a:lnTo>
                  <a:lnTo>
                    <a:pt x="80" y="420"/>
                  </a:lnTo>
                  <a:lnTo>
                    <a:pt x="82" y="406"/>
                  </a:lnTo>
                  <a:lnTo>
                    <a:pt x="78" y="402"/>
                  </a:lnTo>
                  <a:lnTo>
                    <a:pt x="76" y="390"/>
                  </a:lnTo>
                  <a:lnTo>
                    <a:pt x="76" y="386"/>
                  </a:lnTo>
                  <a:lnTo>
                    <a:pt x="76" y="382"/>
                  </a:lnTo>
                  <a:lnTo>
                    <a:pt x="74" y="380"/>
                  </a:lnTo>
                  <a:lnTo>
                    <a:pt x="66" y="378"/>
                  </a:lnTo>
                  <a:lnTo>
                    <a:pt x="60" y="382"/>
                  </a:lnTo>
                  <a:lnTo>
                    <a:pt x="60" y="380"/>
                  </a:lnTo>
                  <a:lnTo>
                    <a:pt x="56" y="376"/>
                  </a:lnTo>
                  <a:lnTo>
                    <a:pt x="56" y="374"/>
                  </a:lnTo>
                  <a:lnTo>
                    <a:pt x="54" y="370"/>
                  </a:lnTo>
                  <a:lnTo>
                    <a:pt x="52" y="364"/>
                  </a:lnTo>
                  <a:lnTo>
                    <a:pt x="54" y="358"/>
                  </a:lnTo>
                  <a:lnTo>
                    <a:pt x="52" y="356"/>
                  </a:lnTo>
                  <a:lnTo>
                    <a:pt x="48" y="352"/>
                  </a:lnTo>
                  <a:lnTo>
                    <a:pt x="46" y="352"/>
                  </a:lnTo>
                  <a:lnTo>
                    <a:pt x="44" y="356"/>
                  </a:lnTo>
                  <a:lnTo>
                    <a:pt x="42" y="358"/>
                  </a:lnTo>
                  <a:lnTo>
                    <a:pt x="40" y="362"/>
                  </a:lnTo>
                  <a:lnTo>
                    <a:pt x="36" y="360"/>
                  </a:lnTo>
                  <a:lnTo>
                    <a:pt x="34" y="366"/>
                  </a:lnTo>
                  <a:lnTo>
                    <a:pt x="22" y="344"/>
                  </a:lnTo>
                  <a:lnTo>
                    <a:pt x="20" y="338"/>
                  </a:lnTo>
                  <a:lnTo>
                    <a:pt x="24" y="328"/>
                  </a:lnTo>
                  <a:lnTo>
                    <a:pt x="18" y="320"/>
                  </a:lnTo>
                  <a:lnTo>
                    <a:pt x="32" y="298"/>
                  </a:lnTo>
                  <a:lnTo>
                    <a:pt x="32" y="272"/>
                  </a:lnTo>
                  <a:lnTo>
                    <a:pt x="30" y="266"/>
                  </a:lnTo>
                  <a:lnTo>
                    <a:pt x="18" y="254"/>
                  </a:lnTo>
                  <a:lnTo>
                    <a:pt x="6" y="232"/>
                  </a:lnTo>
                  <a:lnTo>
                    <a:pt x="8" y="226"/>
                  </a:lnTo>
                  <a:lnTo>
                    <a:pt x="8" y="218"/>
                  </a:lnTo>
                  <a:lnTo>
                    <a:pt x="6" y="214"/>
                  </a:lnTo>
                  <a:lnTo>
                    <a:pt x="6" y="208"/>
                  </a:lnTo>
                  <a:lnTo>
                    <a:pt x="2" y="206"/>
                  </a:lnTo>
                  <a:lnTo>
                    <a:pt x="0" y="202"/>
                  </a:lnTo>
                  <a:lnTo>
                    <a:pt x="2" y="194"/>
                  </a:lnTo>
                  <a:lnTo>
                    <a:pt x="4" y="194"/>
                  </a:lnTo>
                  <a:lnTo>
                    <a:pt x="8" y="192"/>
                  </a:lnTo>
                  <a:lnTo>
                    <a:pt x="16" y="180"/>
                  </a:lnTo>
                  <a:lnTo>
                    <a:pt x="20" y="178"/>
                  </a:lnTo>
                  <a:lnTo>
                    <a:pt x="26" y="178"/>
                  </a:lnTo>
                  <a:lnTo>
                    <a:pt x="26" y="176"/>
                  </a:lnTo>
                  <a:lnTo>
                    <a:pt x="46" y="166"/>
                  </a:lnTo>
                  <a:lnTo>
                    <a:pt x="48" y="156"/>
                  </a:lnTo>
                  <a:lnTo>
                    <a:pt x="56" y="150"/>
                  </a:lnTo>
                  <a:lnTo>
                    <a:pt x="60" y="148"/>
                  </a:lnTo>
                  <a:lnTo>
                    <a:pt x="42" y="136"/>
                  </a:lnTo>
                  <a:lnTo>
                    <a:pt x="40" y="128"/>
                  </a:lnTo>
                  <a:lnTo>
                    <a:pt x="42" y="116"/>
                  </a:lnTo>
                  <a:lnTo>
                    <a:pt x="40" y="110"/>
                  </a:lnTo>
                  <a:lnTo>
                    <a:pt x="38" y="98"/>
                  </a:lnTo>
                  <a:lnTo>
                    <a:pt x="48" y="74"/>
                  </a:lnTo>
                  <a:lnTo>
                    <a:pt x="46" y="64"/>
                  </a:lnTo>
                  <a:lnTo>
                    <a:pt x="42" y="56"/>
                  </a:lnTo>
                  <a:lnTo>
                    <a:pt x="62" y="20"/>
                  </a:lnTo>
                  <a:lnTo>
                    <a:pt x="64" y="12"/>
                  </a:lnTo>
                  <a:lnTo>
                    <a:pt x="66" y="8"/>
                  </a:lnTo>
                  <a:lnTo>
                    <a:pt x="74" y="8"/>
                  </a:lnTo>
                  <a:lnTo>
                    <a:pt x="86" y="0"/>
                  </a:lnTo>
                  <a:lnTo>
                    <a:pt x="92" y="38"/>
                  </a:lnTo>
                  <a:lnTo>
                    <a:pt x="114" y="52"/>
                  </a:lnTo>
                  <a:lnTo>
                    <a:pt x="124" y="56"/>
                  </a:lnTo>
                  <a:lnTo>
                    <a:pt x="132" y="52"/>
                  </a:lnTo>
                  <a:lnTo>
                    <a:pt x="138" y="46"/>
                  </a:lnTo>
                  <a:lnTo>
                    <a:pt x="154" y="42"/>
                  </a:lnTo>
                  <a:lnTo>
                    <a:pt x="168" y="46"/>
                  </a:lnTo>
                  <a:lnTo>
                    <a:pt x="174" y="54"/>
                  </a:lnTo>
                  <a:lnTo>
                    <a:pt x="170" y="60"/>
                  </a:lnTo>
                  <a:lnTo>
                    <a:pt x="170" y="70"/>
                  </a:lnTo>
                  <a:lnTo>
                    <a:pt x="160" y="72"/>
                  </a:lnTo>
                  <a:lnTo>
                    <a:pt x="156" y="72"/>
                  </a:lnTo>
                  <a:lnTo>
                    <a:pt x="162" y="78"/>
                  </a:lnTo>
                  <a:lnTo>
                    <a:pt x="162" y="82"/>
                  </a:lnTo>
                  <a:lnTo>
                    <a:pt x="164" y="84"/>
                  </a:lnTo>
                  <a:lnTo>
                    <a:pt x="168" y="90"/>
                  </a:lnTo>
                  <a:lnTo>
                    <a:pt x="174" y="94"/>
                  </a:lnTo>
                  <a:lnTo>
                    <a:pt x="176" y="94"/>
                  </a:lnTo>
                  <a:lnTo>
                    <a:pt x="168" y="118"/>
                  </a:lnTo>
                  <a:lnTo>
                    <a:pt x="168" y="126"/>
                  </a:lnTo>
                  <a:lnTo>
                    <a:pt x="172" y="132"/>
                  </a:lnTo>
                  <a:lnTo>
                    <a:pt x="180" y="140"/>
                  </a:lnTo>
                  <a:lnTo>
                    <a:pt x="194" y="146"/>
                  </a:lnTo>
                  <a:lnTo>
                    <a:pt x="196" y="150"/>
                  </a:lnTo>
                  <a:lnTo>
                    <a:pt x="196" y="158"/>
                  </a:lnTo>
                  <a:lnTo>
                    <a:pt x="208" y="176"/>
                  </a:lnTo>
                  <a:lnTo>
                    <a:pt x="230" y="192"/>
                  </a:lnTo>
                  <a:lnTo>
                    <a:pt x="286" y="198"/>
                  </a:lnTo>
                  <a:lnTo>
                    <a:pt x="282" y="200"/>
                  </a:lnTo>
                  <a:lnTo>
                    <a:pt x="274" y="200"/>
                  </a:lnTo>
                  <a:lnTo>
                    <a:pt x="284" y="204"/>
                  </a:lnTo>
                  <a:lnTo>
                    <a:pt x="296" y="206"/>
                  </a:lnTo>
                  <a:lnTo>
                    <a:pt x="300" y="196"/>
                  </a:lnTo>
                  <a:lnTo>
                    <a:pt x="300" y="184"/>
                  </a:lnTo>
                  <a:lnTo>
                    <a:pt x="318" y="188"/>
                  </a:lnTo>
                  <a:lnTo>
                    <a:pt x="350" y="178"/>
                  </a:lnTo>
                  <a:lnTo>
                    <a:pt x="366" y="182"/>
                  </a:lnTo>
                  <a:lnTo>
                    <a:pt x="370" y="184"/>
                  </a:lnTo>
                  <a:lnTo>
                    <a:pt x="376" y="186"/>
                  </a:lnTo>
                  <a:lnTo>
                    <a:pt x="380" y="186"/>
                  </a:lnTo>
                  <a:lnTo>
                    <a:pt x="382" y="182"/>
                  </a:lnTo>
                  <a:lnTo>
                    <a:pt x="402" y="188"/>
                  </a:lnTo>
                  <a:lnTo>
                    <a:pt x="408" y="202"/>
                  </a:lnTo>
                  <a:lnTo>
                    <a:pt x="438" y="224"/>
                  </a:lnTo>
                  <a:lnTo>
                    <a:pt x="444" y="224"/>
                  </a:lnTo>
                  <a:lnTo>
                    <a:pt x="456" y="232"/>
                  </a:lnTo>
                  <a:lnTo>
                    <a:pt x="458" y="240"/>
                  </a:lnTo>
                  <a:lnTo>
                    <a:pt x="458" y="246"/>
                  </a:lnTo>
                  <a:lnTo>
                    <a:pt x="486" y="276"/>
                  </a:lnTo>
                  <a:lnTo>
                    <a:pt x="500" y="280"/>
                  </a:lnTo>
                  <a:lnTo>
                    <a:pt x="502" y="284"/>
                  </a:lnTo>
                  <a:lnTo>
                    <a:pt x="496" y="302"/>
                  </a:lnTo>
                  <a:lnTo>
                    <a:pt x="496" y="308"/>
                  </a:lnTo>
                  <a:lnTo>
                    <a:pt x="480" y="340"/>
                  </a:lnTo>
                  <a:lnTo>
                    <a:pt x="470" y="348"/>
                  </a:lnTo>
                  <a:lnTo>
                    <a:pt x="466" y="356"/>
                  </a:lnTo>
                  <a:lnTo>
                    <a:pt x="454" y="358"/>
                  </a:lnTo>
                  <a:lnTo>
                    <a:pt x="448" y="372"/>
                  </a:lnTo>
                  <a:lnTo>
                    <a:pt x="456" y="378"/>
                  </a:lnTo>
                  <a:lnTo>
                    <a:pt x="454" y="382"/>
                  </a:lnTo>
                  <a:lnTo>
                    <a:pt x="442" y="400"/>
                  </a:lnTo>
                  <a:lnTo>
                    <a:pt x="442" y="416"/>
                  </a:lnTo>
                  <a:lnTo>
                    <a:pt x="434" y="442"/>
                  </a:lnTo>
                  <a:lnTo>
                    <a:pt x="438" y="448"/>
                  </a:lnTo>
                  <a:lnTo>
                    <a:pt x="452" y="454"/>
                  </a:lnTo>
                  <a:lnTo>
                    <a:pt x="456" y="462"/>
                  </a:lnTo>
                  <a:lnTo>
                    <a:pt x="458" y="472"/>
                  </a:lnTo>
                  <a:lnTo>
                    <a:pt x="454" y="478"/>
                  </a:lnTo>
                  <a:lnTo>
                    <a:pt x="448" y="486"/>
                  </a:lnTo>
                  <a:lnTo>
                    <a:pt x="416" y="512"/>
                  </a:lnTo>
                  <a:lnTo>
                    <a:pt x="424" y="526"/>
                  </a:lnTo>
                  <a:lnTo>
                    <a:pt x="430" y="554"/>
                  </a:lnTo>
                  <a:lnTo>
                    <a:pt x="444" y="568"/>
                  </a:lnTo>
                  <a:lnTo>
                    <a:pt x="458" y="576"/>
                  </a:lnTo>
                  <a:lnTo>
                    <a:pt x="462" y="582"/>
                  </a:lnTo>
                  <a:lnTo>
                    <a:pt x="456" y="612"/>
                  </a:lnTo>
                  <a:lnTo>
                    <a:pt x="466" y="618"/>
                  </a:lnTo>
                  <a:lnTo>
                    <a:pt x="468" y="620"/>
                  </a:lnTo>
                  <a:lnTo>
                    <a:pt x="468" y="626"/>
                  </a:lnTo>
                  <a:lnTo>
                    <a:pt x="466" y="630"/>
                  </a:lnTo>
                  <a:lnTo>
                    <a:pt x="454" y="634"/>
                  </a:lnTo>
                  <a:lnTo>
                    <a:pt x="428" y="636"/>
                  </a:lnTo>
                  <a:lnTo>
                    <a:pt x="410" y="644"/>
                  </a:lnTo>
                  <a:lnTo>
                    <a:pt x="396" y="666"/>
                  </a:lnTo>
                  <a:lnTo>
                    <a:pt x="392" y="67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36" name="Freeform 496"/>
            <p:cNvSpPr>
              <a:spLocks/>
            </p:cNvSpPr>
            <p:nvPr/>
          </p:nvSpPr>
          <p:spPr bwMode="auto">
            <a:xfrm>
              <a:off x="3430588" y="3757613"/>
              <a:ext cx="382588" cy="254000"/>
            </a:xfrm>
            <a:custGeom>
              <a:avLst/>
              <a:gdLst>
                <a:gd name="T0" fmla="*/ 12 w 222"/>
                <a:gd name="T1" fmla="*/ 130 h 160"/>
                <a:gd name="T2" fmla="*/ 28 w 222"/>
                <a:gd name="T3" fmla="*/ 126 h 160"/>
                <a:gd name="T4" fmla="*/ 36 w 222"/>
                <a:gd name="T5" fmla="*/ 124 h 160"/>
                <a:gd name="T6" fmla="*/ 48 w 222"/>
                <a:gd name="T7" fmla="*/ 132 h 160"/>
                <a:gd name="T8" fmla="*/ 50 w 222"/>
                <a:gd name="T9" fmla="*/ 128 h 160"/>
                <a:gd name="T10" fmla="*/ 56 w 222"/>
                <a:gd name="T11" fmla="*/ 116 h 160"/>
                <a:gd name="T12" fmla="*/ 66 w 222"/>
                <a:gd name="T13" fmla="*/ 118 h 160"/>
                <a:gd name="T14" fmla="*/ 74 w 222"/>
                <a:gd name="T15" fmla="*/ 122 h 160"/>
                <a:gd name="T16" fmla="*/ 78 w 222"/>
                <a:gd name="T17" fmla="*/ 114 h 160"/>
                <a:gd name="T18" fmla="*/ 94 w 222"/>
                <a:gd name="T19" fmla="*/ 98 h 160"/>
                <a:gd name="T20" fmla="*/ 100 w 222"/>
                <a:gd name="T21" fmla="*/ 96 h 160"/>
                <a:gd name="T22" fmla="*/ 114 w 222"/>
                <a:gd name="T23" fmla="*/ 104 h 160"/>
                <a:gd name="T24" fmla="*/ 110 w 222"/>
                <a:gd name="T25" fmla="*/ 112 h 160"/>
                <a:gd name="T26" fmla="*/ 116 w 222"/>
                <a:gd name="T27" fmla="*/ 114 h 160"/>
                <a:gd name="T28" fmla="*/ 118 w 222"/>
                <a:gd name="T29" fmla="*/ 120 h 160"/>
                <a:gd name="T30" fmla="*/ 114 w 222"/>
                <a:gd name="T31" fmla="*/ 130 h 160"/>
                <a:gd name="T32" fmla="*/ 110 w 222"/>
                <a:gd name="T33" fmla="*/ 142 h 160"/>
                <a:gd name="T34" fmla="*/ 116 w 222"/>
                <a:gd name="T35" fmla="*/ 160 h 160"/>
                <a:gd name="T36" fmla="*/ 148 w 222"/>
                <a:gd name="T37" fmla="*/ 152 h 160"/>
                <a:gd name="T38" fmla="*/ 158 w 222"/>
                <a:gd name="T39" fmla="*/ 146 h 160"/>
                <a:gd name="T40" fmla="*/ 166 w 222"/>
                <a:gd name="T41" fmla="*/ 142 h 160"/>
                <a:gd name="T42" fmla="*/ 176 w 222"/>
                <a:gd name="T43" fmla="*/ 140 h 160"/>
                <a:gd name="T44" fmla="*/ 182 w 222"/>
                <a:gd name="T45" fmla="*/ 148 h 160"/>
                <a:gd name="T46" fmla="*/ 190 w 222"/>
                <a:gd name="T47" fmla="*/ 148 h 160"/>
                <a:gd name="T48" fmla="*/ 210 w 222"/>
                <a:gd name="T49" fmla="*/ 148 h 160"/>
                <a:gd name="T50" fmla="*/ 216 w 222"/>
                <a:gd name="T51" fmla="*/ 152 h 160"/>
                <a:gd name="T52" fmla="*/ 218 w 222"/>
                <a:gd name="T53" fmla="*/ 154 h 160"/>
                <a:gd name="T54" fmla="*/ 218 w 222"/>
                <a:gd name="T55" fmla="*/ 112 h 160"/>
                <a:gd name="T56" fmla="*/ 194 w 222"/>
                <a:gd name="T57" fmla="*/ 106 h 160"/>
                <a:gd name="T58" fmla="*/ 188 w 222"/>
                <a:gd name="T59" fmla="*/ 84 h 160"/>
                <a:gd name="T60" fmla="*/ 186 w 222"/>
                <a:gd name="T61" fmla="*/ 64 h 160"/>
                <a:gd name="T62" fmla="*/ 174 w 222"/>
                <a:gd name="T63" fmla="*/ 72 h 160"/>
                <a:gd name="T64" fmla="*/ 148 w 222"/>
                <a:gd name="T65" fmla="*/ 72 h 160"/>
                <a:gd name="T66" fmla="*/ 134 w 222"/>
                <a:gd name="T67" fmla="*/ 60 h 160"/>
                <a:gd name="T68" fmla="*/ 110 w 222"/>
                <a:gd name="T69" fmla="*/ 58 h 160"/>
                <a:gd name="T70" fmla="*/ 94 w 222"/>
                <a:gd name="T71" fmla="*/ 52 h 160"/>
                <a:gd name="T72" fmla="*/ 70 w 222"/>
                <a:gd name="T73" fmla="*/ 48 h 160"/>
                <a:gd name="T74" fmla="*/ 66 w 222"/>
                <a:gd name="T75" fmla="*/ 32 h 160"/>
                <a:gd name="T76" fmla="*/ 102 w 222"/>
                <a:gd name="T77" fmla="*/ 38 h 160"/>
                <a:gd name="T78" fmla="*/ 114 w 222"/>
                <a:gd name="T79" fmla="*/ 34 h 160"/>
                <a:gd name="T80" fmla="*/ 104 w 222"/>
                <a:gd name="T81" fmla="*/ 20 h 160"/>
                <a:gd name="T82" fmla="*/ 114 w 222"/>
                <a:gd name="T83" fmla="*/ 12 h 160"/>
                <a:gd name="T84" fmla="*/ 112 w 222"/>
                <a:gd name="T85" fmla="*/ 2 h 160"/>
                <a:gd name="T86" fmla="*/ 102 w 222"/>
                <a:gd name="T87" fmla="*/ 6 h 160"/>
                <a:gd name="T88" fmla="*/ 78 w 222"/>
                <a:gd name="T89" fmla="*/ 8 h 160"/>
                <a:gd name="T90" fmla="*/ 70 w 222"/>
                <a:gd name="T91" fmla="*/ 14 h 160"/>
                <a:gd name="T92" fmla="*/ 68 w 222"/>
                <a:gd name="T93" fmla="*/ 26 h 160"/>
                <a:gd name="T94" fmla="*/ 52 w 222"/>
                <a:gd name="T95" fmla="*/ 28 h 160"/>
                <a:gd name="T96" fmla="*/ 38 w 222"/>
                <a:gd name="T97" fmla="*/ 42 h 160"/>
                <a:gd name="T98" fmla="*/ 14 w 222"/>
                <a:gd name="T99" fmla="*/ 36 h 160"/>
                <a:gd name="T100" fmla="*/ 6 w 222"/>
                <a:gd name="T101" fmla="*/ 46 h 160"/>
                <a:gd name="T102" fmla="*/ 16 w 222"/>
                <a:gd name="T103" fmla="*/ 58 h 160"/>
                <a:gd name="T104" fmla="*/ 24 w 222"/>
                <a:gd name="T105" fmla="*/ 64 h 160"/>
                <a:gd name="T106" fmla="*/ 20 w 222"/>
                <a:gd name="T107" fmla="*/ 80 h 160"/>
                <a:gd name="T108" fmla="*/ 26 w 222"/>
                <a:gd name="T109" fmla="*/ 90 h 160"/>
                <a:gd name="T110" fmla="*/ 16 w 222"/>
                <a:gd name="T111" fmla="*/ 96 h 160"/>
                <a:gd name="T112" fmla="*/ 0 w 222"/>
                <a:gd name="T113"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160">
                  <a:moveTo>
                    <a:pt x="0" y="118"/>
                  </a:moveTo>
                  <a:lnTo>
                    <a:pt x="8" y="130"/>
                  </a:lnTo>
                  <a:lnTo>
                    <a:pt x="12" y="130"/>
                  </a:lnTo>
                  <a:lnTo>
                    <a:pt x="16" y="130"/>
                  </a:lnTo>
                  <a:lnTo>
                    <a:pt x="16" y="128"/>
                  </a:lnTo>
                  <a:lnTo>
                    <a:pt x="28" y="126"/>
                  </a:lnTo>
                  <a:lnTo>
                    <a:pt x="30" y="126"/>
                  </a:lnTo>
                  <a:lnTo>
                    <a:pt x="32" y="126"/>
                  </a:lnTo>
                  <a:lnTo>
                    <a:pt x="36" y="124"/>
                  </a:lnTo>
                  <a:lnTo>
                    <a:pt x="38" y="126"/>
                  </a:lnTo>
                  <a:lnTo>
                    <a:pt x="40" y="128"/>
                  </a:lnTo>
                  <a:lnTo>
                    <a:pt x="48" y="132"/>
                  </a:lnTo>
                  <a:lnTo>
                    <a:pt x="50" y="132"/>
                  </a:lnTo>
                  <a:lnTo>
                    <a:pt x="50" y="130"/>
                  </a:lnTo>
                  <a:lnTo>
                    <a:pt x="50" y="128"/>
                  </a:lnTo>
                  <a:lnTo>
                    <a:pt x="50" y="126"/>
                  </a:lnTo>
                  <a:lnTo>
                    <a:pt x="50" y="122"/>
                  </a:lnTo>
                  <a:lnTo>
                    <a:pt x="56" y="116"/>
                  </a:lnTo>
                  <a:lnTo>
                    <a:pt x="58" y="118"/>
                  </a:lnTo>
                  <a:lnTo>
                    <a:pt x="62" y="120"/>
                  </a:lnTo>
                  <a:lnTo>
                    <a:pt x="66" y="118"/>
                  </a:lnTo>
                  <a:lnTo>
                    <a:pt x="70" y="122"/>
                  </a:lnTo>
                  <a:lnTo>
                    <a:pt x="72" y="122"/>
                  </a:lnTo>
                  <a:lnTo>
                    <a:pt x="74" y="122"/>
                  </a:lnTo>
                  <a:lnTo>
                    <a:pt x="80" y="118"/>
                  </a:lnTo>
                  <a:lnTo>
                    <a:pt x="80" y="116"/>
                  </a:lnTo>
                  <a:lnTo>
                    <a:pt x="78" y="114"/>
                  </a:lnTo>
                  <a:lnTo>
                    <a:pt x="78" y="110"/>
                  </a:lnTo>
                  <a:lnTo>
                    <a:pt x="92" y="98"/>
                  </a:lnTo>
                  <a:lnTo>
                    <a:pt x="94" y="98"/>
                  </a:lnTo>
                  <a:lnTo>
                    <a:pt x="96" y="94"/>
                  </a:lnTo>
                  <a:lnTo>
                    <a:pt x="98" y="94"/>
                  </a:lnTo>
                  <a:lnTo>
                    <a:pt x="100" y="96"/>
                  </a:lnTo>
                  <a:lnTo>
                    <a:pt x="104" y="94"/>
                  </a:lnTo>
                  <a:lnTo>
                    <a:pt x="108" y="96"/>
                  </a:lnTo>
                  <a:lnTo>
                    <a:pt x="114" y="104"/>
                  </a:lnTo>
                  <a:lnTo>
                    <a:pt x="114" y="106"/>
                  </a:lnTo>
                  <a:lnTo>
                    <a:pt x="112" y="110"/>
                  </a:lnTo>
                  <a:lnTo>
                    <a:pt x="110" y="112"/>
                  </a:lnTo>
                  <a:lnTo>
                    <a:pt x="110" y="114"/>
                  </a:lnTo>
                  <a:lnTo>
                    <a:pt x="114" y="116"/>
                  </a:lnTo>
                  <a:lnTo>
                    <a:pt x="116" y="114"/>
                  </a:lnTo>
                  <a:lnTo>
                    <a:pt x="118" y="116"/>
                  </a:lnTo>
                  <a:lnTo>
                    <a:pt x="118" y="118"/>
                  </a:lnTo>
                  <a:lnTo>
                    <a:pt x="118" y="120"/>
                  </a:lnTo>
                  <a:lnTo>
                    <a:pt x="116" y="122"/>
                  </a:lnTo>
                  <a:lnTo>
                    <a:pt x="116" y="128"/>
                  </a:lnTo>
                  <a:lnTo>
                    <a:pt x="114" y="130"/>
                  </a:lnTo>
                  <a:lnTo>
                    <a:pt x="112" y="132"/>
                  </a:lnTo>
                  <a:lnTo>
                    <a:pt x="112" y="138"/>
                  </a:lnTo>
                  <a:lnTo>
                    <a:pt x="110" y="142"/>
                  </a:lnTo>
                  <a:lnTo>
                    <a:pt x="110" y="148"/>
                  </a:lnTo>
                  <a:lnTo>
                    <a:pt x="114" y="160"/>
                  </a:lnTo>
                  <a:lnTo>
                    <a:pt x="116" y="160"/>
                  </a:lnTo>
                  <a:lnTo>
                    <a:pt x="118" y="160"/>
                  </a:lnTo>
                  <a:lnTo>
                    <a:pt x="136" y="154"/>
                  </a:lnTo>
                  <a:lnTo>
                    <a:pt x="148" y="152"/>
                  </a:lnTo>
                  <a:lnTo>
                    <a:pt x="150" y="152"/>
                  </a:lnTo>
                  <a:lnTo>
                    <a:pt x="152" y="148"/>
                  </a:lnTo>
                  <a:lnTo>
                    <a:pt x="158" y="146"/>
                  </a:lnTo>
                  <a:lnTo>
                    <a:pt x="158" y="146"/>
                  </a:lnTo>
                  <a:lnTo>
                    <a:pt x="160" y="146"/>
                  </a:lnTo>
                  <a:lnTo>
                    <a:pt x="166" y="142"/>
                  </a:lnTo>
                  <a:lnTo>
                    <a:pt x="170" y="142"/>
                  </a:lnTo>
                  <a:lnTo>
                    <a:pt x="174" y="140"/>
                  </a:lnTo>
                  <a:lnTo>
                    <a:pt x="176" y="140"/>
                  </a:lnTo>
                  <a:lnTo>
                    <a:pt x="178" y="142"/>
                  </a:lnTo>
                  <a:lnTo>
                    <a:pt x="182" y="142"/>
                  </a:lnTo>
                  <a:lnTo>
                    <a:pt x="182" y="148"/>
                  </a:lnTo>
                  <a:lnTo>
                    <a:pt x="184" y="150"/>
                  </a:lnTo>
                  <a:lnTo>
                    <a:pt x="186" y="150"/>
                  </a:lnTo>
                  <a:lnTo>
                    <a:pt x="190" y="148"/>
                  </a:lnTo>
                  <a:lnTo>
                    <a:pt x="190" y="148"/>
                  </a:lnTo>
                  <a:lnTo>
                    <a:pt x="208" y="146"/>
                  </a:lnTo>
                  <a:lnTo>
                    <a:pt x="210" y="148"/>
                  </a:lnTo>
                  <a:lnTo>
                    <a:pt x="214" y="148"/>
                  </a:lnTo>
                  <a:lnTo>
                    <a:pt x="216" y="150"/>
                  </a:lnTo>
                  <a:lnTo>
                    <a:pt x="216" y="152"/>
                  </a:lnTo>
                  <a:lnTo>
                    <a:pt x="212" y="152"/>
                  </a:lnTo>
                  <a:lnTo>
                    <a:pt x="216" y="154"/>
                  </a:lnTo>
                  <a:lnTo>
                    <a:pt x="218" y="154"/>
                  </a:lnTo>
                  <a:lnTo>
                    <a:pt x="222" y="136"/>
                  </a:lnTo>
                  <a:lnTo>
                    <a:pt x="218" y="122"/>
                  </a:lnTo>
                  <a:lnTo>
                    <a:pt x="218" y="112"/>
                  </a:lnTo>
                  <a:lnTo>
                    <a:pt x="216" y="106"/>
                  </a:lnTo>
                  <a:lnTo>
                    <a:pt x="206" y="104"/>
                  </a:lnTo>
                  <a:lnTo>
                    <a:pt x="194" y="106"/>
                  </a:lnTo>
                  <a:lnTo>
                    <a:pt x="188" y="102"/>
                  </a:lnTo>
                  <a:lnTo>
                    <a:pt x="188" y="92"/>
                  </a:lnTo>
                  <a:lnTo>
                    <a:pt x="188" y="84"/>
                  </a:lnTo>
                  <a:lnTo>
                    <a:pt x="196" y="68"/>
                  </a:lnTo>
                  <a:lnTo>
                    <a:pt x="196" y="68"/>
                  </a:lnTo>
                  <a:lnTo>
                    <a:pt x="186" y="64"/>
                  </a:lnTo>
                  <a:lnTo>
                    <a:pt x="184" y="72"/>
                  </a:lnTo>
                  <a:lnTo>
                    <a:pt x="178" y="70"/>
                  </a:lnTo>
                  <a:lnTo>
                    <a:pt x="174" y="72"/>
                  </a:lnTo>
                  <a:lnTo>
                    <a:pt x="166" y="68"/>
                  </a:lnTo>
                  <a:lnTo>
                    <a:pt x="156" y="68"/>
                  </a:lnTo>
                  <a:lnTo>
                    <a:pt x="148" y="72"/>
                  </a:lnTo>
                  <a:lnTo>
                    <a:pt x="144" y="70"/>
                  </a:lnTo>
                  <a:lnTo>
                    <a:pt x="136" y="68"/>
                  </a:lnTo>
                  <a:lnTo>
                    <a:pt x="134" y="60"/>
                  </a:lnTo>
                  <a:lnTo>
                    <a:pt x="130" y="60"/>
                  </a:lnTo>
                  <a:lnTo>
                    <a:pt x="126" y="56"/>
                  </a:lnTo>
                  <a:lnTo>
                    <a:pt x="110" y="58"/>
                  </a:lnTo>
                  <a:lnTo>
                    <a:pt x="106" y="58"/>
                  </a:lnTo>
                  <a:lnTo>
                    <a:pt x="104" y="54"/>
                  </a:lnTo>
                  <a:lnTo>
                    <a:pt x="94" y="52"/>
                  </a:lnTo>
                  <a:lnTo>
                    <a:pt x="82" y="52"/>
                  </a:lnTo>
                  <a:lnTo>
                    <a:pt x="74" y="48"/>
                  </a:lnTo>
                  <a:lnTo>
                    <a:pt x="70" y="48"/>
                  </a:lnTo>
                  <a:lnTo>
                    <a:pt x="66" y="48"/>
                  </a:lnTo>
                  <a:lnTo>
                    <a:pt x="64" y="44"/>
                  </a:lnTo>
                  <a:lnTo>
                    <a:pt x="66" y="32"/>
                  </a:lnTo>
                  <a:lnTo>
                    <a:pt x="78" y="30"/>
                  </a:lnTo>
                  <a:lnTo>
                    <a:pt x="96" y="32"/>
                  </a:lnTo>
                  <a:lnTo>
                    <a:pt x="102" y="38"/>
                  </a:lnTo>
                  <a:lnTo>
                    <a:pt x="106" y="38"/>
                  </a:lnTo>
                  <a:lnTo>
                    <a:pt x="110" y="34"/>
                  </a:lnTo>
                  <a:lnTo>
                    <a:pt x="114" y="34"/>
                  </a:lnTo>
                  <a:lnTo>
                    <a:pt x="116" y="30"/>
                  </a:lnTo>
                  <a:lnTo>
                    <a:pt x="106" y="30"/>
                  </a:lnTo>
                  <a:lnTo>
                    <a:pt x="104" y="20"/>
                  </a:lnTo>
                  <a:lnTo>
                    <a:pt x="106" y="16"/>
                  </a:lnTo>
                  <a:lnTo>
                    <a:pt x="110" y="16"/>
                  </a:lnTo>
                  <a:lnTo>
                    <a:pt x="114" y="12"/>
                  </a:lnTo>
                  <a:lnTo>
                    <a:pt x="114" y="8"/>
                  </a:lnTo>
                  <a:lnTo>
                    <a:pt x="112" y="6"/>
                  </a:lnTo>
                  <a:lnTo>
                    <a:pt x="112" y="2"/>
                  </a:lnTo>
                  <a:lnTo>
                    <a:pt x="108" y="0"/>
                  </a:lnTo>
                  <a:lnTo>
                    <a:pt x="104" y="2"/>
                  </a:lnTo>
                  <a:lnTo>
                    <a:pt x="102" y="6"/>
                  </a:lnTo>
                  <a:lnTo>
                    <a:pt x="86" y="10"/>
                  </a:lnTo>
                  <a:lnTo>
                    <a:pt x="82" y="10"/>
                  </a:lnTo>
                  <a:lnTo>
                    <a:pt x="78" y="8"/>
                  </a:lnTo>
                  <a:lnTo>
                    <a:pt x="74" y="8"/>
                  </a:lnTo>
                  <a:lnTo>
                    <a:pt x="72" y="12"/>
                  </a:lnTo>
                  <a:lnTo>
                    <a:pt x="70" y="14"/>
                  </a:lnTo>
                  <a:lnTo>
                    <a:pt x="70" y="18"/>
                  </a:lnTo>
                  <a:lnTo>
                    <a:pt x="70" y="22"/>
                  </a:lnTo>
                  <a:lnTo>
                    <a:pt x="68" y="26"/>
                  </a:lnTo>
                  <a:lnTo>
                    <a:pt x="64" y="28"/>
                  </a:lnTo>
                  <a:lnTo>
                    <a:pt x="56" y="26"/>
                  </a:lnTo>
                  <a:lnTo>
                    <a:pt x="52" y="28"/>
                  </a:lnTo>
                  <a:lnTo>
                    <a:pt x="50" y="32"/>
                  </a:lnTo>
                  <a:lnTo>
                    <a:pt x="42" y="42"/>
                  </a:lnTo>
                  <a:lnTo>
                    <a:pt x="38" y="42"/>
                  </a:lnTo>
                  <a:lnTo>
                    <a:pt x="24" y="40"/>
                  </a:lnTo>
                  <a:lnTo>
                    <a:pt x="22" y="36"/>
                  </a:lnTo>
                  <a:lnTo>
                    <a:pt x="14" y="36"/>
                  </a:lnTo>
                  <a:lnTo>
                    <a:pt x="10" y="40"/>
                  </a:lnTo>
                  <a:lnTo>
                    <a:pt x="10" y="44"/>
                  </a:lnTo>
                  <a:lnTo>
                    <a:pt x="6" y="46"/>
                  </a:lnTo>
                  <a:lnTo>
                    <a:pt x="12" y="52"/>
                  </a:lnTo>
                  <a:lnTo>
                    <a:pt x="12" y="56"/>
                  </a:lnTo>
                  <a:lnTo>
                    <a:pt x="16" y="58"/>
                  </a:lnTo>
                  <a:lnTo>
                    <a:pt x="22" y="58"/>
                  </a:lnTo>
                  <a:lnTo>
                    <a:pt x="24" y="60"/>
                  </a:lnTo>
                  <a:lnTo>
                    <a:pt x="24" y="64"/>
                  </a:lnTo>
                  <a:lnTo>
                    <a:pt x="24" y="68"/>
                  </a:lnTo>
                  <a:lnTo>
                    <a:pt x="20" y="72"/>
                  </a:lnTo>
                  <a:lnTo>
                    <a:pt x="20" y="80"/>
                  </a:lnTo>
                  <a:lnTo>
                    <a:pt x="22" y="84"/>
                  </a:lnTo>
                  <a:lnTo>
                    <a:pt x="26" y="86"/>
                  </a:lnTo>
                  <a:lnTo>
                    <a:pt x="26" y="90"/>
                  </a:lnTo>
                  <a:lnTo>
                    <a:pt x="24" y="94"/>
                  </a:lnTo>
                  <a:lnTo>
                    <a:pt x="20" y="96"/>
                  </a:lnTo>
                  <a:lnTo>
                    <a:pt x="16" y="96"/>
                  </a:lnTo>
                  <a:lnTo>
                    <a:pt x="2" y="110"/>
                  </a:lnTo>
                  <a:lnTo>
                    <a:pt x="2" y="118"/>
                  </a:lnTo>
                  <a:lnTo>
                    <a:pt x="0" y="118"/>
                  </a:lnTo>
                  <a:lnTo>
                    <a:pt x="0" y="118"/>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37" name="Freeform 497"/>
            <p:cNvSpPr>
              <a:spLocks/>
            </p:cNvSpPr>
            <p:nvPr/>
          </p:nvSpPr>
          <p:spPr bwMode="auto">
            <a:xfrm>
              <a:off x="3430588" y="3757613"/>
              <a:ext cx="382588" cy="254000"/>
            </a:xfrm>
            <a:custGeom>
              <a:avLst/>
              <a:gdLst>
                <a:gd name="T0" fmla="*/ 12 w 222"/>
                <a:gd name="T1" fmla="*/ 130 h 160"/>
                <a:gd name="T2" fmla="*/ 28 w 222"/>
                <a:gd name="T3" fmla="*/ 126 h 160"/>
                <a:gd name="T4" fmla="*/ 36 w 222"/>
                <a:gd name="T5" fmla="*/ 124 h 160"/>
                <a:gd name="T6" fmla="*/ 48 w 222"/>
                <a:gd name="T7" fmla="*/ 132 h 160"/>
                <a:gd name="T8" fmla="*/ 50 w 222"/>
                <a:gd name="T9" fmla="*/ 128 h 160"/>
                <a:gd name="T10" fmla="*/ 56 w 222"/>
                <a:gd name="T11" fmla="*/ 116 h 160"/>
                <a:gd name="T12" fmla="*/ 66 w 222"/>
                <a:gd name="T13" fmla="*/ 118 h 160"/>
                <a:gd name="T14" fmla="*/ 74 w 222"/>
                <a:gd name="T15" fmla="*/ 122 h 160"/>
                <a:gd name="T16" fmla="*/ 78 w 222"/>
                <a:gd name="T17" fmla="*/ 114 h 160"/>
                <a:gd name="T18" fmla="*/ 94 w 222"/>
                <a:gd name="T19" fmla="*/ 98 h 160"/>
                <a:gd name="T20" fmla="*/ 100 w 222"/>
                <a:gd name="T21" fmla="*/ 96 h 160"/>
                <a:gd name="T22" fmla="*/ 114 w 222"/>
                <a:gd name="T23" fmla="*/ 104 h 160"/>
                <a:gd name="T24" fmla="*/ 110 w 222"/>
                <a:gd name="T25" fmla="*/ 112 h 160"/>
                <a:gd name="T26" fmla="*/ 116 w 222"/>
                <a:gd name="T27" fmla="*/ 114 h 160"/>
                <a:gd name="T28" fmla="*/ 118 w 222"/>
                <a:gd name="T29" fmla="*/ 120 h 160"/>
                <a:gd name="T30" fmla="*/ 114 w 222"/>
                <a:gd name="T31" fmla="*/ 130 h 160"/>
                <a:gd name="T32" fmla="*/ 110 w 222"/>
                <a:gd name="T33" fmla="*/ 142 h 160"/>
                <a:gd name="T34" fmla="*/ 116 w 222"/>
                <a:gd name="T35" fmla="*/ 160 h 160"/>
                <a:gd name="T36" fmla="*/ 148 w 222"/>
                <a:gd name="T37" fmla="*/ 152 h 160"/>
                <a:gd name="T38" fmla="*/ 158 w 222"/>
                <a:gd name="T39" fmla="*/ 146 h 160"/>
                <a:gd name="T40" fmla="*/ 166 w 222"/>
                <a:gd name="T41" fmla="*/ 142 h 160"/>
                <a:gd name="T42" fmla="*/ 176 w 222"/>
                <a:gd name="T43" fmla="*/ 140 h 160"/>
                <a:gd name="T44" fmla="*/ 182 w 222"/>
                <a:gd name="T45" fmla="*/ 148 h 160"/>
                <a:gd name="T46" fmla="*/ 190 w 222"/>
                <a:gd name="T47" fmla="*/ 148 h 160"/>
                <a:gd name="T48" fmla="*/ 210 w 222"/>
                <a:gd name="T49" fmla="*/ 148 h 160"/>
                <a:gd name="T50" fmla="*/ 216 w 222"/>
                <a:gd name="T51" fmla="*/ 152 h 160"/>
                <a:gd name="T52" fmla="*/ 218 w 222"/>
                <a:gd name="T53" fmla="*/ 154 h 160"/>
                <a:gd name="T54" fmla="*/ 218 w 222"/>
                <a:gd name="T55" fmla="*/ 112 h 160"/>
                <a:gd name="T56" fmla="*/ 194 w 222"/>
                <a:gd name="T57" fmla="*/ 106 h 160"/>
                <a:gd name="T58" fmla="*/ 188 w 222"/>
                <a:gd name="T59" fmla="*/ 84 h 160"/>
                <a:gd name="T60" fmla="*/ 186 w 222"/>
                <a:gd name="T61" fmla="*/ 64 h 160"/>
                <a:gd name="T62" fmla="*/ 174 w 222"/>
                <a:gd name="T63" fmla="*/ 72 h 160"/>
                <a:gd name="T64" fmla="*/ 148 w 222"/>
                <a:gd name="T65" fmla="*/ 72 h 160"/>
                <a:gd name="T66" fmla="*/ 134 w 222"/>
                <a:gd name="T67" fmla="*/ 60 h 160"/>
                <a:gd name="T68" fmla="*/ 110 w 222"/>
                <a:gd name="T69" fmla="*/ 58 h 160"/>
                <a:gd name="T70" fmla="*/ 94 w 222"/>
                <a:gd name="T71" fmla="*/ 52 h 160"/>
                <a:gd name="T72" fmla="*/ 70 w 222"/>
                <a:gd name="T73" fmla="*/ 48 h 160"/>
                <a:gd name="T74" fmla="*/ 66 w 222"/>
                <a:gd name="T75" fmla="*/ 32 h 160"/>
                <a:gd name="T76" fmla="*/ 102 w 222"/>
                <a:gd name="T77" fmla="*/ 38 h 160"/>
                <a:gd name="T78" fmla="*/ 114 w 222"/>
                <a:gd name="T79" fmla="*/ 34 h 160"/>
                <a:gd name="T80" fmla="*/ 104 w 222"/>
                <a:gd name="T81" fmla="*/ 20 h 160"/>
                <a:gd name="T82" fmla="*/ 114 w 222"/>
                <a:gd name="T83" fmla="*/ 12 h 160"/>
                <a:gd name="T84" fmla="*/ 112 w 222"/>
                <a:gd name="T85" fmla="*/ 2 h 160"/>
                <a:gd name="T86" fmla="*/ 102 w 222"/>
                <a:gd name="T87" fmla="*/ 6 h 160"/>
                <a:gd name="T88" fmla="*/ 78 w 222"/>
                <a:gd name="T89" fmla="*/ 8 h 160"/>
                <a:gd name="T90" fmla="*/ 70 w 222"/>
                <a:gd name="T91" fmla="*/ 14 h 160"/>
                <a:gd name="T92" fmla="*/ 68 w 222"/>
                <a:gd name="T93" fmla="*/ 26 h 160"/>
                <a:gd name="T94" fmla="*/ 52 w 222"/>
                <a:gd name="T95" fmla="*/ 28 h 160"/>
                <a:gd name="T96" fmla="*/ 38 w 222"/>
                <a:gd name="T97" fmla="*/ 42 h 160"/>
                <a:gd name="T98" fmla="*/ 14 w 222"/>
                <a:gd name="T99" fmla="*/ 36 h 160"/>
                <a:gd name="T100" fmla="*/ 6 w 222"/>
                <a:gd name="T101" fmla="*/ 46 h 160"/>
                <a:gd name="T102" fmla="*/ 16 w 222"/>
                <a:gd name="T103" fmla="*/ 58 h 160"/>
                <a:gd name="T104" fmla="*/ 24 w 222"/>
                <a:gd name="T105" fmla="*/ 64 h 160"/>
                <a:gd name="T106" fmla="*/ 20 w 222"/>
                <a:gd name="T107" fmla="*/ 80 h 160"/>
                <a:gd name="T108" fmla="*/ 26 w 222"/>
                <a:gd name="T109" fmla="*/ 90 h 160"/>
                <a:gd name="T110" fmla="*/ 16 w 222"/>
                <a:gd name="T111" fmla="*/ 96 h 160"/>
                <a:gd name="T112" fmla="*/ 0 w 222"/>
                <a:gd name="T113"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160">
                  <a:moveTo>
                    <a:pt x="0" y="118"/>
                  </a:moveTo>
                  <a:lnTo>
                    <a:pt x="8" y="130"/>
                  </a:lnTo>
                  <a:lnTo>
                    <a:pt x="12" y="130"/>
                  </a:lnTo>
                  <a:lnTo>
                    <a:pt x="16" y="130"/>
                  </a:lnTo>
                  <a:lnTo>
                    <a:pt x="16" y="128"/>
                  </a:lnTo>
                  <a:lnTo>
                    <a:pt x="28" y="126"/>
                  </a:lnTo>
                  <a:lnTo>
                    <a:pt x="30" y="126"/>
                  </a:lnTo>
                  <a:lnTo>
                    <a:pt x="32" y="126"/>
                  </a:lnTo>
                  <a:lnTo>
                    <a:pt x="36" y="124"/>
                  </a:lnTo>
                  <a:lnTo>
                    <a:pt x="38" y="126"/>
                  </a:lnTo>
                  <a:lnTo>
                    <a:pt x="40" y="128"/>
                  </a:lnTo>
                  <a:lnTo>
                    <a:pt x="48" y="132"/>
                  </a:lnTo>
                  <a:lnTo>
                    <a:pt x="50" y="132"/>
                  </a:lnTo>
                  <a:lnTo>
                    <a:pt x="50" y="130"/>
                  </a:lnTo>
                  <a:lnTo>
                    <a:pt x="50" y="128"/>
                  </a:lnTo>
                  <a:lnTo>
                    <a:pt x="50" y="126"/>
                  </a:lnTo>
                  <a:lnTo>
                    <a:pt x="50" y="122"/>
                  </a:lnTo>
                  <a:lnTo>
                    <a:pt x="56" y="116"/>
                  </a:lnTo>
                  <a:lnTo>
                    <a:pt x="58" y="118"/>
                  </a:lnTo>
                  <a:lnTo>
                    <a:pt x="62" y="120"/>
                  </a:lnTo>
                  <a:lnTo>
                    <a:pt x="66" y="118"/>
                  </a:lnTo>
                  <a:lnTo>
                    <a:pt x="70" y="122"/>
                  </a:lnTo>
                  <a:lnTo>
                    <a:pt x="72" y="122"/>
                  </a:lnTo>
                  <a:lnTo>
                    <a:pt x="74" y="122"/>
                  </a:lnTo>
                  <a:lnTo>
                    <a:pt x="80" y="118"/>
                  </a:lnTo>
                  <a:lnTo>
                    <a:pt x="80" y="116"/>
                  </a:lnTo>
                  <a:lnTo>
                    <a:pt x="78" y="114"/>
                  </a:lnTo>
                  <a:lnTo>
                    <a:pt x="78" y="110"/>
                  </a:lnTo>
                  <a:lnTo>
                    <a:pt x="92" y="98"/>
                  </a:lnTo>
                  <a:lnTo>
                    <a:pt x="94" y="98"/>
                  </a:lnTo>
                  <a:lnTo>
                    <a:pt x="96" y="94"/>
                  </a:lnTo>
                  <a:lnTo>
                    <a:pt x="98" y="94"/>
                  </a:lnTo>
                  <a:lnTo>
                    <a:pt x="100" y="96"/>
                  </a:lnTo>
                  <a:lnTo>
                    <a:pt x="104" y="94"/>
                  </a:lnTo>
                  <a:lnTo>
                    <a:pt x="108" y="96"/>
                  </a:lnTo>
                  <a:lnTo>
                    <a:pt x="114" y="104"/>
                  </a:lnTo>
                  <a:lnTo>
                    <a:pt x="114" y="106"/>
                  </a:lnTo>
                  <a:lnTo>
                    <a:pt x="112" y="110"/>
                  </a:lnTo>
                  <a:lnTo>
                    <a:pt x="110" y="112"/>
                  </a:lnTo>
                  <a:lnTo>
                    <a:pt x="110" y="114"/>
                  </a:lnTo>
                  <a:lnTo>
                    <a:pt x="114" y="116"/>
                  </a:lnTo>
                  <a:lnTo>
                    <a:pt x="116" y="114"/>
                  </a:lnTo>
                  <a:lnTo>
                    <a:pt x="118" y="116"/>
                  </a:lnTo>
                  <a:lnTo>
                    <a:pt x="118" y="118"/>
                  </a:lnTo>
                  <a:lnTo>
                    <a:pt x="118" y="120"/>
                  </a:lnTo>
                  <a:lnTo>
                    <a:pt x="116" y="122"/>
                  </a:lnTo>
                  <a:lnTo>
                    <a:pt x="116" y="128"/>
                  </a:lnTo>
                  <a:lnTo>
                    <a:pt x="114" y="130"/>
                  </a:lnTo>
                  <a:lnTo>
                    <a:pt x="112" y="132"/>
                  </a:lnTo>
                  <a:lnTo>
                    <a:pt x="112" y="138"/>
                  </a:lnTo>
                  <a:lnTo>
                    <a:pt x="110" y="142"/>
                  </a:lnTo>
                  <a:lnTo>
                    <a:pt x="110" y="148"/>
                  </a:lnTo>
                  <a:lnTo>
                    <a:pt x="114" y="160"/>
                  </a:lnTo>
                  <a:lnTo>
                    <a:pt x="116" y="160"/>
                  </a:lnTo>
                  <a:lnTo>
                    <a:pt x="118" y="160"/>
                  </a:lnTo>
                  <a:lnTo>
                    <a:pt x="136" y="154"/>
                  </a:lnTo>
                  <a:lnTo>
                    <a:pt x="148" y="152"/>
                  </a:lnTo>
                  <a:lnTo>
                    <a:pt x="150" y="152"/>
                  </a:lnTo>
                  <a:lnTo>
                    <a:pt x="152" y="148"/>
                  </a:lnTo>
                  <a:lnTo>
                    <a:pt x="158" y="146"/>
                  </a:lnTo>
                  <a:lnTo>
                    <a:pt x="158" y="146"/>
                  </a:lnTo>
                  <a:lnTo>
                    <a:pt x="160" y="146"/>
                  </a:lnTo>
                  <a:lnTo>
                    <a:pt x="166" y="142"/>
                  </a:lnTo>
                  <a:lnTo>
                    <a:pt x="170" y="142"/>
                  </a:lnTo>
                  <a:lnTo>
                    <a:pt x="174" y="140"/>
                  </a:lnTo>
                  <a:lnTo>
                    <a:pt x="176" y="140"/>
                  </a:lnTo>
                  <a:lnTo>
                    <a:pt x="178" y="142"/>
                  </a:lnTo>
                  <a:lnTo>
                    <a:pt x="182" y="142"/>
                  </a:lnTo>
                  <a:lnTo>
                    <a:pt x="182" y="148"/>
                  </a:lnTo>
                  <a:lnTo>
                    <a:pt x="184" y="150"/>
                  </a:lnTo>
                  <a:lnTo>
                    <a:pt x="186" y="150"/>
                  </a:lnTo>
                  <a:lnTo>
                    <a:pt x="190" y="148"/>
                  </a:lnTo>
                  <a:lnTo>
                    <a:pt x="190" y="148"/>
                  </a:lnTo>
                  <a:lnTo>
                    <a:pt x="208" y="146"/>
                  </a:lnTo>
                  <a:lnTo>
                    <a:pt x="210" y="148"/>
                  </a:lnTo>
                  <a:lnTo>
                    <a:pt x="214" y="148"/>
                  </a:lnTo>
                  <a:lnTo>
                    <a:pt x="216" y="150"/>
                  </a:lnTo>
                  <a:lnTo>
                    <a:pt x="216" y="152"/>
                  </a:lnTo>
                  <a:lnTo>
                    <a:pt x="212" y="152"/>
                  </a:lnTo>
                  <a:lnTo>
                    <a:pt x="216" y="154"/>
                  </a:lnTo>
                  <a:lnTo>
                    <a:pt x="218" y="154"/>
                  </a:lnTo>
                  <a:lnTo>
                    <a:pt x="222" y="136"/>
                  </a:lnTo>
                  <a:lnTo>
                    <a:pt x="218" y="122"/>
                  </a:lnTo>
                  <a:lnTo>
                    <a:pt x="218" y="112"/>
                  </a:lnTo>
                  <a:lnTo>
                    <a:pt x="216" y="106"/>
                  </a:lnTo>
                  <a:lnTo>
                    <a:pt x="206" y="104"/>
                  </a:lnTo>
                  <a:lnTo>
                    <a:pt x="194" y="106"/>
                  </a:lnTo>
                  <a:lnTo>
                    <a:pt x="188" y="102"/>
                  </a:lnTo>
                  <a:lnTo>
                    <a:pt x="188" y="92"/>
                  </a:lnTo>
                  <a:lnTo>
                    <a:pt x="188" y="84"/>
                  </a:lnTo>
                  <a:lnTo>
                    <a:pt x="196" y="68"/>
                  </a:lnTo>
                  <a:lnTo>
                    <a:pt x="196" y="68"/>
                  </a:lnTo>
                  <a:lnTo>
                    <a:pt x="186" y="64"/>
                  </a:lnTo>
                  <a:lnTo>
                    <a:pt x="184" y="72"/>
                  </a:lnTo>
                  <a:lnTo>
                    <a:pt x="178" y="70"/>
                  </a:lnTo>
                  <a:lnTo>
                    <a:pt x="174" y="72"/>
                  </a:lnTo>
                  <a:lnTo>
                    <a:pt x="166" y="68"/>
                  </a:lnTo>
                  <a:lnTo>
                    <a:pt x="156" y="68"/>
                  </a:lnTo>
                  <a:lnTo>
                    <a:pt x="148" y="72"/>
                  </a:lnTo>
                  <a:lnTo>
                    <a:pt x="144" y="70"/>
                  </a:lnTo>
                  <a:lnTo>
                    <a:pt x="136" y="68"/>
                  </a:lnTo>
                  <a:lnTo>
                    <a:pt x="134" y="60"/>
                  </a:lnTo>
                  <a:lnTo>
                    <a:pt x="130" y="60"/>
                  </a:lnTo>
                  <a:lnTo>
                    <a:pt x="126" y="56"/>
                  </a:lnTo>
                  <a:lnTo>
                    <a:pt x="110" y="58"/>
                  </a:lnTo>
                  <a:lnTo>
                    <a:pt x="106" y="58"/>
                  </a:lnTo>
                  <a:lnTo>
                    <a:pt x="104" y="54"/>
                  </a:lnTo>
                  <a:lnTo>
                    <a:pt x="94" y="52"/>
                  </a:lnTo>
                  <a:lnTo>
                    <a:pt x="82" y="52"/>
                  </a:lnTo>
                  <a:lnTo>
                    <a:pt x="74" y="48"/>
                  </a:lnTo>
                  <a:lnTo>
                    <a:pt x="70" y="48"/>
                  </a:lnTo>
                  <a:lnTo>
                    <a:pt x="66" y="48"/>
                  </a:lnTo>
                  <a:lnTo>
                    <a:pt x="64" y="44"/>
                  </a:lnTo>
                  <a:lnTo>
                    <a:pt x="66" y="32"/>
                  </a:lnTo>
                  <a:lnTo>
                    <a:pt x="78" y="30"/>
                  </a:lnTo>
                  <a:lnTo>
                    <a:pt x="96" y="32"/>
                  </a:lnTo>
                  <a:lnTo>
                    <a:pt x="102" y="38"/>
                  </a:lnTo>
                  <a:lnTo>
                    <a:pt x="106" y="38"/>
                  </a:lnTo>
                  <a:lnTo>
                    <a:pt x="110" y="34"/>
                  </a:lnTo>
                  <a:lnTo>
                    <a:pt x="114" y="34"/>
                  </a:lnTo>
                  <a:lnTo>
                    <a:pt x="116" y="30"/>
                  </a:lnTo>
                  <a:lnTo>
                    <a:pt x="106" y="30"/>
                  </a:lnTo>
                  <a:lnTo>
                    <a:pt x="104" y="20"/>
                  </a:lnTo>
                  <a:lnTo>
                    <a:pt x="106" y="16"/>
                  </a:lnTo>
                  <a:lnTo>
                    <a:pt x="110" y="16"/>
                  </a:lnTo>
                  <a:lnTo>
                    <a:pt x="114" y="12"/>
                  </a:lnTo>
                  <a:lnTo>
                    <a:pt x="114" y="8"/>
                  </a:lnTo>
                  <a:lnTo>
                    <a:pt x="112" y="6"/>
                  </a:lnTo>
                  <a:lnTo>
                    <a:pt x="112" y="2"/>
                  </a:lnTo>
                  <a:lnTo>
                    <a:pt x="108" y="0"/>
                  </a:lnTo>
                  <a:lnTo>
                    <a:pt x="104" y="2"/>
                  </a:lnTo>
                  <a:lnTo>
                    <a:pt x="102" y="6"/>
                  </a:lnTo>
                  <a:lnTo>
                    <a:pt x="86" y="10"/>
                  </a:lnTo>
                  <a:lnTo>
                    <a:pt x="82" y="10"/>
                  </a:lnTo>
                  <a:lnTo>
                    <a:pt x="78" y="8"/>
                  </a:lnTo>
                  <a:lnTo>
                    <a:pt x="74" y="8"/>
                  </a:lnTo>
                  <a:lnTo>
                    <a:pt x="72" y="12"/>
                  </a:lnTo>
                  <a:lnTo>
                    <a:pt x="70" y="14"/>
                  </a:lnTo>
                  <a:lnTo>
                    <a:pt x="70" y="18"/>
                  </a:lnTo>
                  <a:lnTo>
                    <a:pt x="70" y="22"/>
                  </a:lnTo>
                  <a:lnTo>
                    <a:pt x="68" y="26"/>
                  </a:lnTo>
                  <a:lnTo>
                    <a:pt x="64" y="28"/>
                  </a:lnTo>
                  <a:lnTo>
                    <a:pt x="56" y="26"/>
                  </a:lnTo>
                  <a:lnTo>
                    <a:pt x="52" y="28"/>
                  </a:lnTo>
                  <a:lnTo>
                    <a:pt x="50" y="32"/>
                  </a:lnTo>
                  <a:lnTo>
                    <a:pt x="42" y="42"/>
                  </a:lnTo>
                  <a:lnTo>
                    <a:pt x="38" y="42"/>
                  </a:lnTo>
                  <a:lnTo>
                    <a:pt x="24" y="40"/>
                  </a:lnTo>
                  <a:lnTo>
                    <a:pt x="22" y="36"/>
                  </a:lnTo>
                  <a:lnTo>
                    <a:pt x="14" y="36"/>
                  </a:lnTo>
                  <a:lnTo>
                    <a:pt x="10" y="40"/>
                  </a:lnTo>
                  <a:lnTo>
                    <a:pt x="10" y="44"/>
                  </a:lnTo>
                  <a:lnTo>
                    <a:pt x="6" y="46"/>
                  </a:lnTo>
                  <a:lnTo>
                    <a:pt x="12" y="52"/>
                  </a:lnTo>
                  <a:lnTo>
                    <a:pt x="12" y="56"/>
                  </a:lnTo>
                  <a:lnTo>
                    <a:pt x="16" y="58"/>
                  </a:lnTo>
                  <a:lnTo>
                    <a:pt x="22" y="58"/>
                  </a:lnTo>
                  <a:lnTo>
                    <a:pt x="24" y="60"/>
                  </a:lnTo>
                  <a:lnTo>
                    <a:pt x="24" y="64"/>
                  </a:lnTo>
                  <a:lnTo>
                    <a:pt x="24" y="68"/>
                  </a:lnTo>
                  <a:lnTo>
                    <a:pt x="20" y="72"/>
                  </a:lnTo>
                  <a:lnTo>
                    <a:pt x="20" y="80"/>
                  </a:lnTo>
                  <a:lnTo>
                    <a:pt x="22" y="84"/>
                  </a:lnTo>
                  <a:lnTo>
                    <a:pt x="26" y="86"/>
                  </a:lnTo>
                  <a:lnTo>
                    <a:pt x="26" y="90"/>
                  </a:lnTo>
                  <a:lnTo>
                    <a:pt x="24" y="94"/>
                  </a:lnTo>
                  <a:lnTo>
                    <a:pt x="20" y="96"/>
                  </a:lnTo>
                  <a:lnTo>
                    <a:pt x="16" y="96"/>
                  </a:lnTo>
                  <a:lnTo>
                    <a:pt x="2" y="110"/>
                  </a:lnTo>
                  <a:lnTo>
                    <a:pt x="2" y="118"/>
                  </a:lnTo>
                  <a:lnTo>
                    <a:pt x="0" y="118"/>
                  </a:lnTo>
                  <a:lnTo>
                    <a:pt x="0" y="118"/>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38" name="Freeform 498"/>
            <p:cNvSpPr>
              <a:spLocks/>
            </p:cNvSpPr>
            <p:nvPr/>
          </p:nvSpPr>
          <p:spPr bwMode="auto">
            <a:xfrm>
              <a:off x="4452938" y="3021013"/>
              <a:ext cx="1368425" cy="644525"/>
            </a:xfrm>
            <a:custGeom>
              <a:avLst/>
              <a:gdLst>
                <a:gd name="T0" fmla="*/ 64 w 796"/>
                <a:gd name="T1" fmla="*/ 156 h 406"/>
                <a:gd name="T2" fmla="*/ 112 w 796"/>
                <a:gd name="T3" fmla="*/ 142 h 406"/>
                <a:gd name="T4" fmla="*/ 150 w 796"/>
                <a:gd name="T5" fmla="*/ 142 h 406"/>
                <a:gd name="T6" fmla="*/ 196 w 796"/>
                <a:gd name="T7" fmla="*/ 150 h 406"/>
                <a:gd name="T8" fmla="*/ 242 w 796"/>
                <a:gd name="T9" fmla="*/ 140 h 406"/>
                <a:gd name="T10" fmla="*/ 240 w 796"/>
                <a:gd name="T11" fmla="*/ 126 h 406"/>
                <a:gd name="T12" fmla="*/ 234 w 796"/>
                <a:gd name="T13" fmla="*/ 106 h 406"/>
                <a:gd name="T14" fmla="*/ 250 w 796"/>
                <a:gd name="T15" fmla="*/ 62 h 406"/>
                <a:gd name="T16" fmla="*/ 272 w 796"/>
                <a:gd name="T17" fmla="*/ 64 h 406"/>
                <a:gd name="T18" fmla="*/ 322 w 796"/>
                <a:gd name="T19" fmla="*/ 68 h 406"/>
                <a:gd name="T20" fmla="*/ 338 w 796"/>
                <a:gd name="T21" fmla="*/ 92 h 406"/>
                <a:gd name="T22" fmla="*/ 386 w 796"/>
                <a:gd name="T23" fmla="*/ 96 h 406"/>
                <a:gd name="T24" fmla="*/ 446 w 796"/>
                <a:gd name="T25" fmla="*/ 82 h 406"/>
                <a:gd name="T26" fmla="*/ 482 w 796"/>
                <a:gd name="T27" fmla="*/ 84 h 406"/>
                <a:gd name="T28" fmla="*/ 548 w 796"/>
                <a:gd name="T29" fmla="*/ 82 h 406"/>
                <a:gd name="T30" fmla="*/ 616 w 796"/>
                <a:gd name="T31" fmla="*/ 20 h 406"/>
                <a:gd name="T32" fmla="*/ 656 w 796"/>
                <a:gd name="T33" fmla="*/ 12 h 406"/>
                <a:gd name="T34" fmla="*/ 670 w 796"/>
                <a:gd name="T35" fmla="*/ 0 h 406"/>
                <a:gd name="T36" fmla="*/ 666 w 796"/>
                <a:gd name="T37" fmla="*/ 34 h 406"/>
                <a:gd name="T38" fmla="*/ 688 w 796"/>
                <a:gd name="T39" fmla="*/ 82 h 406"/>
                <a:gd name="T40" fmla="*/ 732 w 796"/>
                <a:gd name="T41" fmla="*/ 68 h 406"/>
                <a:gd name="T42" fmla="*/ 776 w 796"/>
                <a:gd name="T43" fmla="*/ 54 h 406"/>
                <a:gd name="T44" fmla="*/ 794 w 796"/>
                <a:gd name="T45" fmla="*/ 70 h 406"/>
                <a:gd name="T46" fmla="*/ 776 w 796"/>
                <a:gd name="T47" fmla="*/ 84 h 406"/>
                <a:gd name="T48" fmla="*/ 716 w 796"/>
                <a:gd name="T49" fmla="*/ 164 h 406"/>
                <a:gd name="T50" fmla="*/ 688 w 796"/>
                <a:gd name="T51" fmla="*/ 208 h 406"/>
                <a:gd name="T52" fmla="*/ 652 w 796"/>
                <a:gd name="T53" fmla="*/ 210 h 406"/>
                <a:gd name="T54" fmla="*/ 642 w 796"/>
                <a:gd name="T55" fmla="*/ 246 h 406"/>
                <a:gd name="T56" fmla="*/ 642 w 796"/>
                <a:gd name="T57" fmla="*/ 294 h 406"/>
                <a:gd name="T58" fmla="*/ 602 w 796"/>
                <a:gd name="T59" fmla="*/ 334 h 406"/>
                <a:gd name="T60" fmla="*/ 578 w 796"/>
                <a:gd name="T61" fmla="*/ 344 h 406"/>
                <a:gd name="T62" fmla="*/ 532 w 796"/>
                <a:gd name="T63" fmla="*/ 370 h 406"/>
                <a:gd name="T64" fmla="*/ 494 w 796"/>
                <a:gd name="T65" fmla="*/ 400 h 406"/>
                <a:gd name="T66" fmla="*/ 464 w 796"/>
                <a:gd name="T67" fmla="*/ 398 h 406"/>
                <a:gd name="T68" fmla="*/ 364 w 796"/>
                <a:gd name="T69" fmla="*/ 382 h 406"/>
                <a:gd name="T70" fmla="*/ 212 w 796"/>
                <a:gd name="T71" fmla="*/ 356 h 406"/>
                <a:gd name="T72" fmla="*/ 140 w 796"/>
                <a:gd name="T73" fmla="*/ 342 h 406"/>
                <a:gd name="T74" fmla="*/ 84 w 796"/>
                <a:gd name="T75" fmla="*/ 336 h 406"/>
                <a:gd name="T76" fmla="*/ 82 w 796"/>
                <a:gd name="T77" fmla="*/ 292 h 406"/>
                <a:gd name="T78" fmla="*/ 46 w 796"/>
                <a:gd name="T79" fmla="*/ 246 h 406"/>
                <a:gd name="T80" fmla="*/ 28 w 796"/>
                <a:gd name="T81" fmla="*/ 246 h 406"/>
                <a:gd name="T82" fmla="*/ 0 w 796"/>
                <a:gd name="T83" fmla="*/ 21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6" h="406">
                  <a:moveTo>
                    <a:pt x="0" y="212"/>
                  </a:moveTo>
                  <a:lnTo>
                    <a:pt x="10" y="194"/>
                  </a:lnTo>
                  <a:lnTo>
                    <a:pt x="64" y="156"/>
                  </a:lnTo>
                  <a:lnTo>
                    <a:pt x="92" y="144"/>
                  </a:lnTo>
                  <a:lnTo>
                    <a:pt x="102" y="142"/>
                  </a:lnTo>
                  <a:lnTo>
                    <a:pt x="112" y="142"/>
                  </a:lnTo>
                  <a:lnTo>
                    <a:pt x="120" y="144"/>
                  </a:lnTo>
                  <a:lnTo>
                    <a:pt x="126" y="148"/>
                  </a:lnTo>
                  <a:lnTo>
                    <a:pt x="150" y="142"/>
                  </a:lnTo>
                  <a:lnTo>
                    <a:pt x="168" y="156"/>
                  </a:lnTo>
                  <a:lnTo>
                    <a:pt x="176" y="156"/>
                  </a:lnTo>
                  <a:lnTo>
                    <a:pt x="196" y="150"/>
                  </a:lnTo>
                  <a:lnTo>
                    <a:pt x="204" y="150"/>
                  </a:lnTo>
                  <a:lnTo>
                    <a:pt x="240" y="142"/>
                  </a:lnTo>
                  <a:lnTo>
                    <a:pt x="242" y="140"/>
                  </a:lnTo>
                  <a:lnTo>
                    <a:pt x="242" y="136"/>
                  </a:lnTo>
                  <a:lnTo>
                    <a:pt x="240" y="132"/>
                  </a:lnTo>
                  <a:lnTo>
                    <a:pt x="240" y="126"/>
                  </a:lnTo>
                  <a:lnTo>
                    <a:pt x="242" y="118"/>
                  </a:lnTo>
                  <a:lnTo>
                    <a:pt x="240" y="112"/>
                  </a:lnTo>
                  <a:lnTo>
                    <a:pt x="234" y="106"/>
                  </a:lnTo>
                  <a:lnTo>
                    <a:pt x="232" y="100"/>
                  </a:lnTo>
                  <a:lnTo>
                    <a:pt x="230" y="92"/>
                  </a:lnTo>
                  <a:lnTo>
                    <a:pt x="250" y="62"/>
                  </a:lnTo>
                  <a:lnTo>
                    <a:pt x="256" y="60"/>
                  </a:lnTo>
                  <a:lnTo>
                    <a:pt x="264" y="60"/>
                  </a:lnTo>
                  <a:lnTo>
                    <a:pt x="272" y="64"/>
                  </a:lnTo>
                  <a:lnTo>
                    <a:pt x="288" y="64"/>
                  </a:lnTo>
                  <a:lnTo>
                    <a:pt x="294" y="68"/>
                  </a:lnTo>
                  <a:lnTo>
                    <a:pt x="322" y="68"/>
                  </a:lnTo>
                  <a:lnTo>
                    <a:pt x="328" y="74"/>
                  </a:lnTo>
                  <a:lnTo>
                    <a:pt x="336" y="94"/>
                  </a:lnTo>
                  <a:lnTo>
                    <a:pt x="338" y="92"/>
                  </a:lnTo>
                  <a:lnTo>
                    <a:pt x="358" y="102"/>
                  </a:lnTo>
                  <a:lnTo>
                    <a:pt x="374" y="102"/>
                  </a:lnTo>
                  <a:lnTo>
                    <a:pt x="386" y="96"/>
                  </a:lnTo>
                  <a:lnTo>
                    <a:pt x="404" y="78"/>
                  </a:lnTo>
                  <a:lnTo>
                    <a:pt x="440" y="78"/>
                  </a:lnTo>
                  <a:lnTo>
                    <a:pt x="446" y="82"/>
                  </a:lnTo>
                  <a:lnTo>
                    <a:pt x="448" y="80"/>
                  </a:lnTo>
                  <a:lnTo>
                    <a:pt x="462" y="84"/>
                  </a:lnTo>
                  <a:lnTo>
                    <a:pt x="482" y="84"/>
                  </a:lnTo>
                  <a:lnTo>
                    <a:pt x="490" y="90"/>
                  </a:lnTo>
                  <a:lnTo>
                    <a:pt x="504" y="94"/>
                  </a:lnTo>
                  <a:lnTo>
                    <a:pt x="548" y="82"/>
                  </a:lnTo>
                  <a:lnTo>
                    <a:pt x="558" y="82"/>
                  </a:lnTo>
                  <a:lnTo>
                    <a:pt x="600" y="50"/>
                  </a:lnTo>
                  <a:lnTo>
                    <a:pt x="616" y="20"/>
                  </a:lnTo>
                  <a:lnTo>
                    <a:pt x="626" y="12"/>
                  </a:lnTo>
                  <a:lnTo>
                    <a:pt x="646" y="14"/>
                  </a:lnTo>
                  <a:lnTo>
                    <a:pt x="656" y="12"/>
                  </a:lnTo>
                  <a:lnTo>
                    <a:pt x="662" y="6"/>
                  </a:lnTo>
                  <a:lnTo>
                    <a:pt x="666" y="2"/>
                  </a:lnTo>
                  <a:lnTo>
                    <a:pt x="670" y="0"/>
                  </a:lnTo>
                  <a:lnTo>
                    <a:pt x="670" y="2"/>
                  </a:lnTo>
                  <a:lnTo>
                    <a:pt x="668" y="8"/>
                  </a:lnTo>
                  <a:lnTo>
                    <a:pt x="666" y="34"/>
                  </a:lnTo>
                  <a:lnTo>
                    <a:pt x="678" y="56"/>
                  </a:lnTo>
                  <a:lnTo>
                    <a:pt x="678" y="64"/>
                  </a:lnTo>
                  <a:lnTo>
                    <a:pt x="688" y="82"/>
                  </a:lnTo>
                  <a:lnTo>
                    <a:pt x="694" y="86"/>
                  </a:lnTo>
                  <a:lnTo>
                    <a:pt x="712" y="82"/>
                  </a:lnTo>
                  <a:lnTo>
                    <a:pt x="732" y="68"/>
                  </a:lnTo>
                  <a:lnTo>
                    <a:pt x="744" y="44"/>
                  </a:lnTo>
                  <a:lnTo>
                    <a:pt x="758" y="52"/>
                  </a:lnTo>
                  <a:lnTo>
                    <a:pt x="776" y="54"/>
                  </a:lnTo>
                  <a:lnTo>
                    <a:pt x="782" y="60"/>
                  </a:lnTo>
                  <a:lnTo>
                    <a:pt x="786" y="68"/>
                  </a:lnTo>
                  <a:lnTo>
                    <a:pt x="794" y="70"/>
                  </a:lnTo>
                  <a:lnTo>
                    <a:pt x="796" y="74"/>
                  </a:lnTo>
                  <a:lnTo>
                    <a:pt x="794" y="78"/>
                  </a:lnTo>
                  <a:lnTo>
                    <a:pt x="776" y="84"/>
                  </a:lnTo>
                  <a:lnTo>
                    <a:pt x="738" y="110"/>
                  </a:lnTo>
                  <a:lnTo>
                    <a:pt x="724" y="154"/>
                  </a:lnTo>
                  <a:lnTo>
                    <a:pt x="716" y="164"/>
                  </a:lnTo>
                  <a:lnTo>
                    <a:pt x="706" y="170"/>
                  </a:lnTo>
                  <a:lnTo>
                    <a:pt x="696" y="196"/>
                  </a:lnTo>
                  <a:lnTo>
                    <a:pt x="688" y="208"/>
                  </a:lnTo>
                  <a:lnTo>
                    <a:pt x="668" y="214"/>
                  </a:lnTo>
                  <a:lnTo>
                    <a:pt x="660" y="210"/>
                  </a:lnTo>
                  <a:lnTo>
                    <a:pt x="652" y="210"/>
                  </a:lnTo>
                  <a:lnTo>
                    <a:pt x="644" y="218"/>
                  </a:lnTo>
                  <a:lnTo>
                    <a:pt x="640" y="238"/>
                  </a:lnTo>
                  <a:lnTo>
                    <a:pt x="642" y="246"/>
                  </a:lnTo>
                  <a:lnTo>
                    <a:pt x="658" y="254"/>
                  </a:lnTo>
                  <a:lnTo>
                    <a:pt x="660" y="260"/>
                  </a:lnTo>
                  <a:lnTo>
                    <a:pt x="642" y="294"/>
                  </a:lnTo>
                  <a:lnTo>
                    <a:pt x="640" y="302"/>
                  </a:lnTo>
                  <a:lnTo>
                    <a:pt x="616" y="330"/>
                  </a:lnTo>
                  <a:lnTo>
                    <a:pt x="602" y="334"/>
                  </a:lnTo>
                  <a:lnTo>
                    <a:pt x="600" y="338"/>
                  </a:lnTo>
                  <a:lnTo>
                    <a:pt x="584" y="338"/>
                  </a:lnTo>
                  <a:lnTo>
                    <a:pt x="578" y="344"/>
                  </a:lnTo>
                  <a:lnTo>
                    <a:pt x="564" y="346"/>
                  </a:lnTo>
                  <a:lnTo>
                    <a:pt x="534" y="366"/>
                  </a:lnTo>
                  <a:lnTo>
                    <a:pt x="532" y="370"/>
                  </a:lnTo>
                  <a:lnTo>
                    <a:pt x="508" y="386"/>
                  </a:lnTo>
                  <a:lnTo>
                    <a:pt x="500" y="396"/>
                  </a:lnTo>
                  <a:lnTo>
                    <a:pt x="494" y="400"/>
                  </a:lnTo>
                  <a:lnTo>
                    <a:pt x="488" y="398"/>
                  </a:lnTo>
                  <a:lnTo>
                    <a:pt x="482" y="396"/>
                  </a:lnTo>
                  <a:lnTo>
                    <a:pt x="464" y="398"/>
                  </a:lnTo>
                  <a:lnTo>
                    <a:pt x="410" y="392"/>
                  </a:lnTo>
                  <a:lnTo>
                    <a:pt x="396" y="384"/>
                  </a:lnTo>
                  <a:lnTo>
                    <a:pt x="364" y="382"/>
                  </a:lnTo>
                  <a:lnTo>
                    <a:pt x="270" y="406"/>
                  </a:lnTo>
                  <a:lnTo>
                    <a:pt x="262" y="404"/>
                  </a:lnTo>
                  <a:lnTo>
                    <a:pt x="212" y="356"/>
                  </a:lnTo>
                  <a:lnTo>
                    <a:pt x="206" y="356"/>
                  </a:lnTo>
                  <a:lnTo>
                    <a:pt x="146" y="340"/>
                  </a:lnTo>
                  <a:lnTo>
                    <a:pt x="140" y="342"/>
                  </a:lnTo>
                  <a:lnTo>
                    <a:pt x="134" y="344"/>
                  </a:lnTo>
                  <a:lnTo>
                    <a:pt x="88" y="338"/>
                  </a:lnTo>
                  <a:lnTo>
                    <a:pt x="84" y="336"/>
                  </a:lnTo>
                  <a:lnTo>
                    <a:pt x="84" y="330"/>
                  </a:lnTo>
                  <a:lnTo>
                    <a:pt x="86" y="322"/>
                  </a:lnTo>
                  <a:lnTo>
                    <a:pt x="82" y="292"/>
                  </a:lnTo>
                  <a:lnTo>
                    <a:pt x="60" y="250"/>
                  </a:lnTo>
                  <a:lnTo>
                    <a:pt x="52" y="250"/>
                  </a:lnTo>
                  <a:lnTo>
                    <a:pt x="46" y="246"/>
                  </a:lnTo>
                  <a:lnTo>
                    <a:pt x="38" y="246"/>
                  </a:lnTo>
                  <a:lnTo>
                    <a:pt x="34" y="250"/>
                  </a:lnTo>
                  <a:lnTo>
                    <a:pt x="28" y="246"/>
                  </a:lnTo>
                  <a:lnTo>
                    <a:pt x="22" y="238"/>
                  </a:lnTo>
                  <a:lnTo>
                    <a:pt x="6" y="228"/>
                  </a:lnTo>
                  <a:lnTo>
                    <a:pt x="0" y="212"/>
                  </a:lnTo>
                  <a:lnTo>
                    <a:pt x="0" y="212"/>
                  </a:lnTo>
                  <a:lnTo>
                    <a:pt x="0" y="21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39" name="Freeform 499"/>
            <p:cNvSpPr>
              <a:spLocks/>
            </p:cNvSpPr>
            <p:nvPr/>
          </p:nvSpPr>
          <p:spPr bwMode="auto">
            <a:xfrm>
              <a:off x="4452938" y="3021013"/>
              <a:ext cx="1368425" cy="644525"/>
            </a:xfrm>
            <a:custGeom>
              <a:avLst/>
              <a:gdLst>
                <a:gd name="T0" fmla="*/ 64 w 796"/>
                <a:gd name="T1" fmla="*/ 156 h 406"/>
                <a:gd name="T2" fmla="*/ 112 w 796"/>
                <a:gd name="T3" fmla="*/ 142 h 406"/>
                <a:gd name="T4" fmla="*/ 150 w 796"/>
                <a:gd name="T5" fmla="*/ 142 h 406"/>
                <a:gd name="T6" fmla="*/ 196 w 796"/>
                <a:gd name="T7" fmla="*/ 150 h 406"/>
                <a:gd name="T8" fmla="*/ 242 w 796"/>
                <a:gd name="T9" fmla="*/ 140 h 406"/>
                <a:gd name="T10" fmla="*/ 240 w 796"/>
                <a:gd name="T11" fmla="*/ 126 h 406"/>
                <a:gd name="T12" fmla="*/ 234 w 796"/>
                <a:gd name="T13" fmla="*/ 106 h 406"/>
                <a:gd name="T14" fmla="*/ 250 w 796"/>
                <a:gd name="T15" fmla="*/ 62 h 406"/>
                <a:gd name="T16" fmla="*/ 272 w 796"/>
                <a:gd name="T17" fmla="*/ 64 h 406"/>
                <a:gd name="T18" fmla="*/ 322 w 796"/>
                <a:gd name="T19" fmla="*/ 68 h 406"/>
                <a:gd name="T20" fmla="*/ 338 w 796"/>
                <a:gd name="T21" fmla="*/ 92 h 406"/>
                <a:gd name="T22" fmla="*/ 386 w 796"/>
                <a:gd name="T23" fmla="*/ 96 h 406"/>
                <a:gd name="T24" fmla="*/ 446 w 796"/>
                <a:gd name="T25" fmla="*/ 82 h 406"/>
                <a:gd name="T26" fmla="*/ 482 w 796"/>
                <a:gd name="T27" fmla="*/ 84 h 406"/>
                <a:gd name="T28" fmla="*/ 548 w 796"/>
                <a:gd name="T29" fmla="*/ 82 h 406"/>
                <a:gd name="T30" fmla="*/ 616 w 796"/>
                <a:gd name="T31" fmla="*/ 20 h 406"/>
                <a:gd name="T32" fmla="*/ 656 w 796"/>
                <a:gd name="T33" fmla="*/ 12 h 406"/>
                <a:gd name="T34" fmla="*/ 670 w 796"/>
                <a:gd name="T35" fmla="*/ 0 h 406"/>
                <a:gd name="T36" fmla="*/ 666 w 796"/>
                <a:gd name="T37" fmla="*/ 34 h 406"/>
                <a:gd name="T38" fmla="*/ 688 w 796"/>
                <a:gd name="T39" fmla="*/ 82 h 406"/>
                <a:gd name="T40" fmla="*/ 732 w 796"/>
                <a:gd name="T41" fmla="*/ 68 h 406"/>
                <a:gd name="T42" fmla="*/ 776 w 796"/>
                <a:gd name="T43" fmla="*/ 54 h 406"/>
                <a:gd name="T44" fmla="*/ 794 w 796"/>
                <a:gd name="T45" fmla="*/ 70 h 406"/>
                <a:gd name="T46" fmla="*/ 776 w 796"/>
                <a:gd name="T47" fmla="*/ 84 h 406"/>
                <a:gd name="T48" fmla="*/ 716 w 796"/>
                <a:gd name="T49" fmla="*/ 164 h 406"/>
                <a:gd name="T50" fmla="*/ 688 w 796"/>
                <a:gd name="T51" fmla="*/ 208 h 406"/>
                <a:gd name="T52" fmla="*/ 652 w 796"/>
                <a:gd name="T53" fmla="*/ 210 h 406"/>
                <a:gd name="T54" fmla="*/ 642 w 796"/>
                <a:gd name="T55" fmla="*/ 246 h 406"/>
                <a:gd name="T56" fmla="*/ 642 w 796"/>
                <a:gd name="T57" fmla="*/ 294 h 406"/>
                <a:gd name="T58" fmla="*/ 602 w 796"/>
                <a:gd name="T59" fmla="*/ 334 h 406"/>
                <a:gd name="T60" fmla="*/ 578 w 796"/>
                <a:gd name="T61" fmla="*/ 344 h 406"/>
                <a:gd name="T62" fmla="*/ 532 w 796"/>
                <a:gd name="T63" fmla="*/ 370 h 406"/>
                <a:gd name="T64" fmla="*/ 494 w 796"/>
                <a:gd name="T65" fmla="*/ 400 h 406"/>
                <a:gd name="T66" fmla="*/ 464 w 796"/>
                <a:gd name="T67" fmla="*/ 398 h 406"/>
                <a:gd name="T68" fmla="*/ 364 w 796"/>
                <a:gd name="T69" fmla="*/ 382 h 406"/>
                <a:gd name="T70" fmla="*/ 212 w 796"/>
                <a:gd name="T71" fmla="*/ 356 h 406"/>
                <a:gd name="T72" fmla="*/ 140 w 796"/>
                <a:gd name="T73" fmla="*/ 342 h 406"/>
                <a:gd name="T74" fmla="*/ 84 w 796"/>
                <a:gd name="T75" fmla="*/ 336 h 406"/>
                <a:gd name="T76" fmla="*/ 82 w 796"/>
                <a:gd name="T77" fmla="*/ 292 h 406"/>
                <a:gd name="T78" fmla="*/ 46 w 796"/>
                <a:gd name="T79" fmla="*/ 246 h 406"/>
                <a:gd name="T80" fmla="*/ 28 w 796"/>
                <a:gd name="T81" fmla="*/ 246 h 406"/>
                <a:gd name="T82" fmla="*/ 0 w 796"/>
                <a:gd name="T83" fmla="*/ 21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6" h="406">
                  <a:moveTo>
                    <a:pt x="0" y="212"/>
                  </a:moveTo>
                  <a:lnTo>
                    <a:pt x="10" y="194"/>
                  </a:lnTo>
                  <a:lnTo>
                    <a:pt x="64" y="156"/>
                  </a:lnTo>
                  <a:lnTo>
                    <a:pt x="92" y="144"/>
                  </a:lnTo>
                  <a:lnTo>
                    <a:pt x="102" y="142"/>
                  </a:lnTo>
                  <a:lnTo>
                    <a:pt x="112" y="142"/>
                  </a:lnTo>
                  <a:lnTo>
                    <a:pt x="120" y="144"/>
                  </a:lnTo>
                  <a:lnTo>
                    <a:pt x="126" y="148"/>
                  </a:lnTo>
                  <a:lnTo>
                    <a:pt x="150" y="142"/>
                  </a:lnTo>
                  <a:lnTo>
                    <a:pt x="168" y="156"/>
                  </a:lnTo>
                  <a:lnTo>
                    <a:pt x="176" y="156"/>
                  </a:lnTo>
                  <a:lnTo>
                    <a:pt x="196" y="150"/>
                  </a:lnTo>
                  <a:lnTo>
                    <a:pt x="204" y="150"/>
                  </a:lnTo>
                  <a:lnTo>
                    <a:pt x="240" y="142"/>
                  </a:lnTo>
                  <a:lnTo>
                    <a:pt x="242" y="140"/>
                  </a:lnTo>
                  <a:lnTo>
                    <a:pt x="242" y="136"/>
                  </a:lnTo>
                  <a:lnTo>
                    <a:pt x="240" y="132"/>
                  </a:lnTo>
                  <a:lnTo>
                    <a:pt x="240" y="126"/>
                  </a:lnTo>
                  <a:lnTo>
                    <a:pt x="242" y="118"/>
                  </a:lnTo>
                  <a:lnTo>
                    <a:pt x="240" y="112"/>
                  </a:lnTo>
                  <a:lnTo>
                    <a:pt x="234" y="106"/>
                  </a:lnTo>
                  <a:lnTo>
                    <a:pt x="232" y="100"/>
                  </a:lnTo>
                  <a:lnTo>
                    <a:pt x="230" y="92"/>
                  </a:lnTo>
                  <a:lnTo>
                    <a:pt x="250" y="62"/>
                  </a:lnTo>
                  <a:lnTo>
                    <a:pt x="256" y="60"/>
                  </a:lnTo>
                  <a:lnTo>
                    <a:pt x="264" y="60"/>
                  </a:lnTo>
                  <a:lnTo>
                    <a:pt x="272" y="64"/>
                  </a:lnTo>
                  <a:lnTo>
                    <a:pt x="288" y="64"/>
                  </a:lnTo>
                  <a:lnTo>
                    <a:pt x="294" y="68"/>
                  </a:lnTo>
                  <a:lnTo>
                    <a:pt x="322" y="68"/>
                  </a:lnTo>
                  <a:lnTo>
                    <a:pt x="328" y="74"/>
                  </a:lnTo>
                  <a:lnTo>
                    <a:pt x="336" y="94"/>
                  </a:lnTo>
                  <a:lnTo>
                    <a:pt x="338" y="92"/>
                  </a:lnTo>
                  <a:lnTo>
                    <a:pt x="358" y="102"/>
                  </a:lnTo>
                  <a:lnTo>
                    <a:pt x="374" y="102"/>
                  </a:lnTo>
                  <a:lnTo>
                    <a:pt x="386" y="96"/>
                  </a:lnTo>
                  <a:lnTo>
                    <a:pt x="404" y="78"/>
                  </a:lnTo>
                  <a:lnTo>
                    <a:pt x="440" y="78"/>
                  </a:lnTo>
                  <a:lnTo>
                    <a:pt x="446" y="82"/>
                  </a:lnTo>
                  <a:lnTo>
                    <a:pt x="448" y="80"/>
                  </a:lnTo>
                  <a:lnTo>
                    <a:pt x="462" y="84"/>
                  </a:lnTo>
                  <a:lnTo>
                    <a:pt x="482" y="84"/>
                  </a:lnTo>
                  <a:lnTo>
                    <a:pt x="490" y="90"/>
                  </a:lnTo>
                  <a:lnTo>
                    <a:pt x="504" y="94"/>
                  </a:lnTo>
                  <a:lnTo>
                    <a:pt x="548" y="82"/>
                  </a:lnTo>
                  <a:lnTo>
                    <a:pt x="558" y="82"/>
                  </a:lnTo>
                  <a:lnTo>
                    <a:pt x="600" y="50"/>
                  </a:lnTo>
                  <a:lnTo>
                    <a:pt x="616" y="20"/>
                  </a:lnTo>
                  <a:lnTo>
                    <a:pt x="626" y="12"/>
                  </a:lnTo>
                  <a:lnTo>
                    <a:pt x="646" y="14"/>
                  </a:lnTo>
                  <a:lnTo>
                    <a:pt x="656" y="12"/>
                  </a:lnTo>
                  <a:lnTo>
                    <a:pt x="662" y="6"/>
                  </a:lnTo>
                  <a:lnTo>
                    <a:pt x="666" y="2"/>
                  </a:lnTo>
                  <a:lnTo>
                    <a:pt x="670" y="0"/>
                  </a:lnTo>
                  <a:lnTo>
                    <a:pt x="670" y="2"/>
                  </a:lnTo>
                  <a:lnTo>
                    <a:pt x="668" y="8"/>
                  </a:lnTo>
                  <a:lnTo>
                    <a:pt x="666" y="34"/>
                  </a:lnTo>
                  <a:lnTo>
                    <a:pt x="678" y="56"/>
                  </a:lnTo>
                  <a:lnTo>
                    <a:pt x="678" y="64"/>
                  </a:lnTo>
                  <a:lnTo>
                    <a:pt x="688" y="82"/>
                  </a:lnTo>
                  <a:lnTo>
                    <a:pt x="694" y="86"/>
                  </a:lnTo>
                  <a:lnTo>
                    <a:pt x="712" y="82"/>
                  </a:lnTo>
                  <a:lnTo>
                    <a:pt x="732" y="68"/>
                  </a:lnTo>
                  <a:lnTo>
                    <a:pt x="744" y="44"/>
                  </a:lnTo>
                  <a:lnTo>
                    <a:pt x="758" y="52"/>
                  </a:lnTo>
                  <a:lnTo>
                    <a:pt x="776" y="54"/>
                  </a:lnTo>
                  <a:lnTo>
                    <a:pt x="782" y="60"/>
                  </a:lnTo>
                  <a:lnTo>
                    <a:pt x="786" y="68"/>
                  </a:lnTo>
                  <a:lnTo>
                    <a:pt x="794" y="70"/>
                  </a:lnTo>
                  <a:lnTo>
                    <a:pt x="796" y="74"/>
                  </a:lnTo>
                  <a:lnTo>
                    <a:pt x="794" y="78"/>
                  </a:lnTo>
                  <a:lnTo>
                    <a:pt x="776" y="84"/>
                  </a:lnTo>
                  <a:lnTo>
                    <a:pt x="738" y="110"/>
                  </a:lnTo>
                  <a:lnTo>
                    <a:pt x="724" y="154"/>
                  </a:lnTo>
                  <a:lnTo>
                    <a:pt x="716" y="164"/>
                  </a:lnTo>
                  <a:lnTo>
                    <a:pt x="706" y="170"/>
                  </a:lnTo>
                  <a:lnTo>
                    <a:pt x="696" y="196"/>
                  </a:lnTo>
                  <a:lnTo>
                    <a:pt x="688" y="208"/>
                  </a:lnTo>
                  <a:lnTo>
                    <a:pt x="668" y="214"/>
                  </a:lnTo>
                  <a:lnTo>
                    <a:pt x="660" y="210"/>
                  </a:lnTo>
                  <a:lnTo>
                    <a:pt x="652" y="210"/>
                  </a:lnTo>
                  <a:lnTo>
                    <a:pt x="644" y="218"/>
                  </a:lnTo>
                  <a:lnTo>
                    <a:pt x="640" y="238"/>
                  </a:lnTo>
                  <a:lnTo>
                    <a:pt x="642" y="246"/>
                  </a:lnTo>
                  <a:lnTo>
                    <a:pt x="658" y="254"/>
                  </a:lnTo>
                  <a:lnTo>
                    <a:pt x="660" y="260"/>
                  </a:lnTo>
                  <a:lnTo>
                    <a:pt x="642" y="294"/>
                  </a:lnTo>
                  <a:lnTo>
                    <a:pt x="640" y="302"/>
                  </a:lnTo>
                  <a:lnTo>
                    <a:pt x="616" y="330"/>
                  </a:lnTo>
                  <a:lnTo>
                    <a:pt x="602" y="334"/>
                  </a:lnTo>
                  <a:lnTo>
                    <a:pt x="600" y="338"/>
                  </a:lnTo>
                  <a:lnTo>
                    <a:pt x="584" y="338"/>
                  </a:lnTo>
                  <a:lnTo>
                    <a:pt x="578" y="344"/>
                  </a:lnTo>
                  <a:lnTo>
                    <a:pt x="564" y="346"/>
                  </a:lnTo>
                  <a:lnTo>
                    <a:pt x="534" y="366"/>
                  </a:lnTo>
                  <a:lnTo>
                    <a:pt x="532" y="370"/>
                  </a:lnTo>
                  <a:lnTo>
                    <a:pt x="508" y="386"/>
                  </a:lnTo>
                  <a:lnTo>
                    <a:pt x="500" y="396"/>
                  </a:lnTo>
                  <a:lnTo>
                    <a:pt x="494" y="400"/>
                  </a:lnTo>
                  <a:lnTo>
                    <a:pt x="488" y="398"/>
                  </a:lnTo>
                  <a:lnTo>
                    <a:pt x="482" y="396"/>
                  </a:lnTo>
                  <a:lnTo>
                    <a:pt x="464" y="398"/>
                  </a:lnTo>
                  <a:lnTo>
                    <a:pt x="410" y="392"/>
                  </a:lnTo>
                  <a:lnTo>
                    <a:pt x="396" y="384"/>
                  </a:lnTo>
                  <a:lnTo>
                    <a:pt x="364" y="382"/>
                  </a:lnTo>
                  <a:lnTo>
                    <a:pt x="270" y="406"/>
                  </a:lnTo>
                  <a:lnTo>
                    <a:pt x="262" y="404"/>
                  </a:lnTo>
                  <a:lnTo>
                    <a:pt x="212" y="356"/>
                  </a:lnTo>
                  <a:lnTo>
                    <a:pt x="206" y="356"/>
                  </a:lnTo>
                  <a:lnTo>
                    <a:pt x="146" y="340"/>
                  </a:lnTo>
                  <a:lnTo>
                    <a:pt x="140" y="342"/>
                  </a:lnTo>
                  <a:lnTo>
                    <a:pt x="134" y="344"/>
                  </a:lnTo>
                  <a:lnTo>
                    <a:pt x="88" y="338"/>
                  </a:lnTo>
                  <a:lnTo>
                    <a:pt x="84" y="336"/>
                  </a:lnTo>
                  <a:lnTo>
                    <a:pt x="84" y="330"/>
                  </a:lnTo>
                  <a:lnTo>
                    <a:pt x="86" y="322"/>
                  </a:lnTo>
                  <a:lnTo>
                    <a:pt x="82" y="292"/>
                  </a:lnTo>
                  <a:lnTo>
                    <a:pt x="60" y="250"/>
                  </a:lnTo>
                  <a:lnTo>
                    <a:pt x="52" y="250"/>
                  </a:lnTo>
                  <a:lnTo>
                    <a:pt x="46" y="246"/>
                  </a:lnTo>
                  <a:lnTo>
                    <a:pt x="38" y="246"/>
                  </a:lnTo>
                  <a:lnTo>
                    <a:pt x="34" y="250"/>
                  </a:lnTo>
                  <a:lnTo>
                    <a:pt x="28" y="246"/>
                  </a:lnTo>
                  <a:lnTo>
                    <a:pt x="22" y="238"/>
                  </a:lnTo>
                  <a:lnTo>
                    <a:pt x="6" y="228"/>
                  </a:lnTo>
                  <a:lnTo>
                    <a:pt x="0" y="212"/>
                  </a:lnTo>
                  <a:lnTo>
                    <a:pt x="0" y="212"/>
                  </a:lnTo>
                  <a:lnTo>
                    <a:pt x="0" y="21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40" name="Freeform 500"/>
            <p:cNvSpPr>
              <a:spLocks/>
            </p:cNvSpPr>
            <p:nvPr/>
          </p:nvSpPr>
          <p:spPr bwMode="auto">
            <a:xfrm>
              <a:off x="5302251" y="5707063"/>
              <a:ext cx="292100" cy="282575"/>
            </a:xfrm>
            <a:custGeom>
              <a:avLst/>
              <a:gdLst>
                <a:gd name="T0" fmla="*/ 2 w 170"/>
                <a:gd name="T1" fmla="*/ 10 h 178"/>
                <a:gd name="T2" fmla="*/ 2 w 170"/>
                <a:gd name="T3" fmla="*/ 10 h 178"/>
                <a:gd name="T4" fmla="*/ 4 w 170"/>
                <a:gd name="T5" fmla="*/ 16 h 178"/>
                <a:gd name="T6" fmla="*/ 12 w 170"/>
                <a:gd name="T7" fmla="*/ 64 h 178"/>
                <a:gd name="T8" fmla="*/ 18 w 170"/>
                <a:gd name="T9" fmla="*/ 68 h 178"/>
                <a:gd name="T10" fmla="*/ 18 w 170"/>
                <a:gd name="T11" fmla="*/ 86 h 178"/>
                <a:gd name="T12" fmla="*/ 22 w 170"/>
                <a:gd name="T13" fmla="*/ 92 h 178"/>
                <a:gd name="T14" fmla="*/ 22 w 170"/>
                <a:gd name="T15" fmla="*/ 96 h 178"/>
                <a:gd name="T16" fmla="*/ 44 w 170"/>
                <a:gd name="T17" fmla="*/ 118 h 178"/>
                <a:gd name="T18" fmla="*/ 48 w 170"/>
                <a:gd name="T19" fmla="*/ 126 h 178"/>
                <a:gd name="T20" fmla="*/ 48 w 170"/>
                <a:gd name="T21" fmla="*/ 134 h 178"/>
                <a:gd name="T22" fmla="*/ 132 w 170"/>
                <a:gd name="T23" fmla="*/ 176 h 178"/>
                <a:gd name="T24" fmla="*/ 136 w 170"/>
                <a:gd name="T25" fmla="*/ 174 h 178"/>
                <a:gd name="T26" fmla="*/ 138 w 170"/>
                <a:gd name="T27" fmla="*/ 178 h 178"/>
                <a:gd name="T28" fmla="*/ 142 w 170"/>
                <a:gd name="T29" fmla="*/ 176 h 178"/>
                <a:gd name="T30" fmla="*/ 144 w 170"/>
                <a:gd name="T31" fmla="*/ 170 h 178"/>
                <a:gd name="T32" fmla="*/ 148 w 170"/>
                <a:gd name="T33" fmla="*/ 168 h 178"/>
                <a:gd name="T34" fmla="*/ 160 w 170"/>
                <a:gd name="T35" fmla="*/ 168 h 178"/>
                <a:gd name="T36" fmla="*/ 166 w 170"/>
                <a:gd name="T37" fmla="*/ 172 h 178"/>
                <a:gd name="T38" fmla="*/ 168 w 170"/>
                <a:gd name="T39" fmla="*/ 168 h 178"/>
                <a:gd name="T40" fmla="*/ 170 w 170"/>
                <a:gd name="T41" fmla="*/ 156 h 178"/>
                <a:gd name="T42" fmla="*/ 156 w 170"/>
                <a:gd name="T43" fmla="*/ 130 h 178"/>
                <a:gd name="T44" fmla="*/ 142 w 170"/>
                <a:gd name="T45" fmla="*/ 124 h 178"/>
                <a:gd name="T46" fmla="*/ 138 w 170"/>
                <a:gd name="T47" fmla="*/ 110 h 178"/>
                <a:gd name="T48" fmla="*/ 138 w 170"/>
                <a:gd name="T49" fmla="*/ 46 h 178"/>
                <a:gd name="T50" fmla="*/ 120 w 170"/>
                <a:gd name="T51" fmla="*/ 26 h 178"/>
                <a:gd name="T52" fmla="*/ 92 w 170"/>
                <a:gd name="T53" fmla="*/ 8 h 178"/>
                <a:gd name="T54" fmla="*/ 84 w 170"/>
                <a:gd name="T55" fmla="*/ 10 h 178"/>
                <a:gd name="T56" fmla="*/ 78 w 170"/>
                <a:gd name="T57" fmla="*/ 18 h 178"/>
                <a:gd name="T58" fmla="*/ 62 w 170"/>
                <a:gd name="T59" fmla="*/ 20 h 178"/>
                <a:gd name="T60" fmla="*/ 44 w 170"/>
                <a:gd name="T61" fmla="*/ 32 h 178"/>
                <a:gd name="T62" fmla="*/ 40 w 170"/>
                <a:gd name="T63" fmla="*/ 26 h 178"/>
                <a:gd name="T64" fmla="*/ 42 w 170"/>
                <a:gd name="T65" fmla="*/ 14 h 178"/>
                <a:gd name="T66" fmla="*/ 34 w 170"/>
                <a:gd name="T67" fmla="*/ 6 h 178"/>
                <a:gd name="T68" fmla="*/ 14 w 170"/>
                <a:gd name="T69" fmla="*/ 4 h 178"/>
                <a:gd name="T70" fmla="*/ 8 w 170"/>
                <a:gd name="T71" fmla="*/ 0 h 178"/>
                <a:gd name="T72" fmla="*/ 0 w 170"/>
                <a:gd name="T73" fmla="*/ 0 h 178"/>
                <a:gd name="T74" fmla="*/ 2 w 170"/>
                <a:gd name="T75" fmla="*/ 1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178">
                  <a:moveTo>
                    <a:pt x="2" y="10"/>
                  </a:moveTo>
                  <a:lnTo>
                    <a:pt x="2" y="10"/>
                  </a:lnTo>
                  <a:lnTo>
                    <a:pt x="4" y="16"/>
                  </a:lnTo>
                  <a:lnTo>
                    <a:pt x="12" y="64"/>
                  </a:lnTo>
                  <a:lnTo>
                    <a:pt x="18" y="68"/>
                  </a:lnTo>
                  <a:lnTo>
                    <a:pt x="18" y="86"/>
                  </a:lnTo>
                  <a:lnTo>
                    <a:pt x="22" y="92"/>
                  </a:lnTo>
                  <a:lnTo>
                    <a:pt x="22" y="96"/>
                  </a:lnTo>
                  <a:lnTo>
                    <a:pt x="44" y="118"/>
                  </a:lnTo>
                  <a:lnTo>
                    <a:pt x="48" y="126"/>
                  </a:lnTo>
                  <a:lnTo>
                    <a:pt x="48" y="134"/>
                  </a:lnTo>
                  <a:lnTo>
                    <a:pt x="132" y="176"/>
                  </a:lnTo>
                  <a:lnTo>
                    <a:pt x="136" y="174"/>
                  </a:lnTo>
                  <a:lnTo>
                    <a:pt x="138" y="178"/>
                  </a:lnTo>
                  <a:lnTo>
                    <a:pt x="142" y="176"/>
                  </a:lnTo>
                  <a:lnTo>
                    <a:pt x="144" y="170"/>
                  </a:lnTo>
                  <a:lnTo>
                    <a:pt x="148" y="168"/>
                  </a:lnTo>
                  <a:lnTo>
                    <a:pt x="160" y="168"/>
                  </a:lnTo>
                  <a:lnTo>
                    <a:pt x="166" y="172"/>
                  </a:lnTo>
                  <a:lnTo>
                    <a:pt x="168" y="168"/>
                  </a:lnTo>
                  <a:lnTo>
                    <a:pt x="170" y="156"/>
                  </a:lnTo>
                  <a:lnTo>
                    <a:pt x="156" y="130"/>
                  </a:lnTo>
                  <a:lnTo>
                    <a:pt x="142" y="124"/>
                  </a:lnTo>
                  <a:lnTo>
                    <a:pt x="138" y="110"/>
                  </a:lnTo>
                  <a:lnTo>
                    <a:pt x="138" y="46"/>
                  </a:lnTo>
                  <a:lnTo>
                    <a:pt x="120" y="26"/>
                  </a:lnTo>
                  <a:lnTo>
                    <a:pt x="92" y="8"/>
                  </a:lnTo>
                  <a:lnTo>
                    <a:pt x="84" y="10"/>
                  </a:lnTo>
                  <a:lnTo>
                    <a:pt x="78" y="18"/>
                  </a:lnTo>
                  <a:lnTo>
                    <a:pt x="62" y="20"/>
                  </a:lnTo>
                  <a:lnTo>
                    <a:pt x="44" y="32"/>
                  </a:lnTo>
                  <a:lnTo>
                    <a:pt x="40" y="26"/>
                  </a:lnTo>
                  <a:lnTo>
                    <a:pt x="42" y="14"/>
                  </a:lnTo>
                  <a:lnTo>
                    <a:pt x="34" y="6"/>
                  </a:lnTo>
                  <a:lnTo>
                    <a:pt x="14" y="4"/>
                  </a:lnTo>
                  <a:lnTo>
                    <a:pt x="8" y="0"/>
                  </a:lnTo>
                  <a:lnTo>
                    <a:pt x="0" y="0"/>
                  </a:lnTo>
                  <a:lnTo>
                    <a:pt x="2" y="1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41" name="Freeform 501"/>
            <p:cNvSpPr>
              <a:spLocks/>
            </p:cNvSpPr>
            <p:nvPr/>
          </p:nvSpPr>
          <p:spPr bwMode="auto">
            <a:xfrm>
              <a:off x="5302251" y="5707063"/>
              <a:ext cx="292100" cy="282575"/>
            </a:xfrm>
            <a:custGeom>
              <a:avLst/>
              <a:gdLst>
                <a:gd name="T0" fmla="*/ 2 w 170"/>
                <a:gd name="T1" fmla="*/ 10 h 178"/>
                <a:gd name="T2" fmla="*/ 2 w 170"/>
                <a:gd name="T3" fmla="*/ 10 h 178"/>
                <a:gd name="T4" fmla="*/ 4 w 170"/>
                <a:gd name="T5" fmla="*/ 16 h 178"/>
                <a:gd name="T6" fmla="*/ 12 w 170"/>
                <a:gd name="T7" fmla="*/ 64 h 178"/>
                <a:gd name="T8" fmla="*/ 18 w 170"/>
                <a:gd name="T9" fmla="*/ 68 h 178"/>
                <a:gd name="T10" fmla="*/ 18 w 170"/>
                <a:gd name="T11" fmla="*/ 86 h 178"/>
                <a:gd name="T12" fmla="*/ 22 w 170"/>
                <a:gd name="T13" fmla="*/ 92 h 178"/>
                <a:gd name="T14" fmla="*/ 22 w 170"/>
                <a:gd name="T15" fmla="*/ 96 h 178"/>
                <a:gd name="T16" fmla="*/ 44 w 170"/>
                <a:gd name="T17" fmla="*/ 118 h 178"/>
                <a:gd name="T18" fmla="*/ 48 w 170"/>
                <a:gd name="T19" fmla="*/ 126 h 178"/>
                <a:gd name="T20" fmla="*/ 48 w 170"/>
                <a:gd name="T21" fmla="*/ 134 h 178"/>
                <a:gd name="T22" fmla="*/ 132 w 170"/>
                <a:gd name="T23" fmla="*/ 176 h 178"/>
                <a:gd name="T24" fmla="*/ 136 w 170"/>
                <a:gd name="T25" fmla="*/ 174 h 178"/>
                <a:gd name="T26" fmla="*/ 138 w 170"/>
                <a:gd name="T27" fmla="*/ 178 h 178"/>
                <a:gd name="T28" fmla="*/ 142 w 170"/>
                <a:gd name="T29" fmla="*/ 176 h 178"/>
                <a:gd name="T30" fmla="*/ 144 w 170"/>
                <a:gd name="T31" fmla="*/ 170 h 178"/>
                <a:gd name="T32" fmla="*/ 148 w 170"/>
                <a:gd name="T33" fmla="*/ 168 h 178"/>
                <a:gd name="T34" fmla="*/ 160 w 170"/>
                <a:gd name="T35" fmla="*/ 168 h 178"/>
                <a:gd name="T36" fmla="*/ 166 w 170"/>
                <a:gd name="T37" fmla="*/ 172 h 178"/>
                <a:gd name="T38" fmla="*/ 168 w 170"/>
                <a:gd name="T39" fmla="*/ 168 h 178"/>
                <a:gd name="T40" fmla="*/ 170 w 170"/>
                <a:gd name="T41" fmla="*/ 156 h 178"/>
                <a:gd name="T42" fmla="*/ 156 w 170"/>
                <a:gd name="T43" fmla="*/ 130 h 178"/>
                <a:gd name="T44" fmla="*/ 142 w 170"/>
                <a:gd name="T45" fmla="*/ 124 h 178"/>
                <a:gd name="T46" fmla="*/ 138 w 170"/>
                <a:gd name="T47" fmla="*/ 110 h 178"/>
                <a:gd name="T48" fmla="*/ 138 w 170"/>
                <a:gd name="T49" fmla="*/ 46 h 178"/>
                <a:gd name="T50" fmla="*/ 120 w 170"/>
                <a:gd name="T51" fmla="*/ 26 h 178"/>
                <a:gd name="T52" fmla="*/ 92 w 170"/>
                <a:gd name="T53" fmla="*/ 8 h 178"/>
                <a:gd name="T54" fmla="*/ 84 w 170"/>
                <a:gd name="T55" fmla="*/ 10 h 178"/>
                <a:gd name="T56" fmla="*/ 78 w 170"/>
                <a:gd name="T57" fmla="*/ 18 h 178"/>
                <a:gd name="T58" fmla="*/ 62 w 170"/>
                <a:gd name="T59" fmla="*/ 20 h 178"/>
                <a:gd name="T60" fmla="*/ 44 w 170"/>
                <a:gd name="T61" fmla="*/ 32 h 178"/>
                <a:gd name="T62" fmla="*/ 40 w 170"/>
                <a:gd name="T63" fmla="*/ 26 h 178"/>
                <a:gd name="T64" fmla="*/ 42 w 170"/>
                <a:gd name="T65" fmla="*/ 14 h 178"/>
                <a:gd name="T66" fmla="*/ 34 w 170"/>
                <a:gd name="T67" fmla="*/ 6 h 178"/>
                <a:gd name="T68" fmla="*/ 14 w 170"/>
                <a:gd name="T69" fmla="*/ 4 h 178"/>
                <a:gd name="T70" fmla="*/ 8 w 170"/>
                <a:gd name="T71" fmla="*/ 0 h 178"/>
                <a:gd name="T72" fmla="*/ 0 w 170"/>
                <a:gd name="T73" fmla="*/ 0 h 178"/>
                <a:gd name="T74" fmla="*/ 2 w 170"/>
                <a:gd name="T75" fmla="*/ 1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178">
                  <a:moveTo>
                    <a:pt x="2" y="10"/>
                  </a:moveTo>
                  <a:lnTo>
                    <a:pt x="2" y="10"/>
                  </a:lnTo>
                  <a:lnTo>
                    <a:pt x="4" y="16"/>
                  </a:lnTo>
                  <a:lnTo>
                    <a:pt x="12" y="64"/>
                  </a:lnTo>
                  <a:lnTo>
                    <a:pt x="18" y="68"/>
                  </a:lnTo>
                  <a:lnTo>
                    <a:pt x="18" y="86"/>
                  </a:lnTo>
                  <a:lnTo>
                    <a:pt x="22" y="92"/>
                  </a:lnTo>
                  <a:lnTo>
                    <a:pt x="22" y="96"/>
                  </a:lnTo>
                  <a:lnTo>
                    <a:pt x="44" y="118"/>
                  </a:lnTo>
                  <a:lnTo>
                    <a:pt x="48" y="126"/>
                  </a:lnTo>
                  <a:lnTo>
                    <a:pt x="48" y="134"/>
                  </a:lnTo>
                  <a:lnTo>
                    <a:pt x="132" y="176"/>
                  </a:lnTo>
                  <a:lnTo>
                    <a:pt x="136" y="174"/>
                  </a:lnTo>
                  <a:lnTo>
                    <a:pt x="138" y="178"/>
                  </a:lnTo>
                  <a:lnTo>
                    <a:pt x="142" y="176"/>
                  </a:lnTo>
                  <a:lnTo>
                    <a:pt x="144" y="170"/>
                  </a:lnTo>
                  <a:lnTo>
                    <a:pt x="148" y="168"/>
                  </a:lnTo>
                  <a:lnTo>
                    <a:pt x="160" y="168"/>
                  </a:lnTo>
                  <a:lnTo>
                    <a:pt x="166" y="172"/>
                  </a:lnTo>
                  <a:lnTo>
                    <a:pt x="168" y="168"/>
                  </a:lnTo>
                  <a:lnTo>
                    <a:pt x="170" y="156"/>
                  </a:lnTo>
                  <a:lnTo>
                    <a:pt x="156" y="130"/>
                  </a:lnTo>
                  <a:lnTo>
                    <a:pt x="142" y="124"/>
                  </a:lnTo>
                  <a:lnTo>
                    <a:pt x="138" y="110"/>
                  </a:lnTo>
                  <a:lnTo>
                    <a:pt x="138" y="46"/>
                  </a:lnTo>
                  <a:lnTo>
                    <a:pt x="120" y="26"/>
                  </a:lnTo>
                  <a:lnTo>
                    <a:pt x="92" y="8"/>
                  </a:lnTo>
                  <a:lnTo>
                    <a:pt x="84" y="10"/>
                  </a:lnTo>
                  <a:lnTo>
                    <a:pt x="78" y="18"/>
                  </a:lnTo>
                  <a:lnTo>
                    <a:pt x="62" y="20"/>
                  </a:lnTo>
                  <a:lnTo>
                    <a:pt x="44" y="32"/>
                  </a:lnTo>
                  <a:lnTo>
                    <a:pt x="40" y="26"/>
                  </a:lnTo>
                  <a:lnTo>
                    <a:pt x="42" y="14"/>
                  </a:lnTo>
                  <a:lnTo>
                    <a:pt x="34" y="6"/>
                  </a:lnTo>
                  <a:lnTo>
                    <a:pt x="14" y="4"/>
                  </a:lnTo>
                  <a:lnTo>
                    <a:pt x="8" y="0"/>
                  </a:lnTo>
                  <a:lnTo>
                    <a:pt x="0" y="0"/>
                  </a:lnTo>
                  <a:lnTo>
                    <a:pt x="2" y="1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42" name="Freeform 503"/>
            <p:cNvSpPr>
              <a:spLocks/>
            </p:cNvSpPr>
            <p:nvPr/>
          </p:nvSpPr>
          <p:spPr bwMode="auto">
            <a:xfrm>
              <a:off x="1655763" y="3395663"/>
              <a:ext cx="85725" cy="50800"/>
            </a:xfrm>
            <a:custGeom>
              <a:avLst/>
              <a:gdLst>
                <a:gd name="T0" fmla="*/ 38 w 50"/>
                <a:gd name="T1" fmla="*/ 22 h 32"/>
                <a:gd name="T2" fmla="*/ 32 w 50"/>
                <a:gd name="T3" fmla="*/ 20 h 32"/>
                <a:gd name="T4" fmla="*/ 26 w 50"/>
                <a:gd name="T5" fmla="*/ 16 h 32"/>
                <a:gd name="T6" fmla="*/ 22 w 50"/>
                <a:gd name="T7" fmla="*/ 14 h 32"/>
                <a:gd name="T8" fmla="*/ 20 w 50"/>
                <a:gd name="T9" fmla="*/ 10 h 32"/>
                <a:gd name="T10" fmla="*/ 16 w 50"/>
                <a:gd name="T11" fmla="*/ 8 h 32"/>
                <a:gd name="T12" fmla="*/ 18 w 50"/>
                <a:gd name="T13" fmla="*/ 4 h 32"/>
                <a:gd name="T14" fmla="*/ 2 w 50"/>
                <a:gd name="T15" fmla="*/ 0 h 32"/>
                <a:gd name="T16" fmla="*/ 0 w 50"/>
                <a:gd name="T17" fmla="*/ 12 h 32"/>
                <a:gd name="T18" fmla="*/ 4 w 50"/>
                <a:gd name="T19" fmla="*/ 20 h 32"/>
                <a:gd name="T20" fmla="*/ 12 w 50"/>
                <a:gd name="T21" fmla="*/ 26 h 32"/>
                <a:gd name="T22" fmla="*/ 18 w 50"/>
                <a:gd name="T23" fmla="*/ 26 h 32"/>
                <a:gd name="T24" fmla="*/ 28 w 50"/>
                <a:gd name="T25" fmla="*/ 30 h 32"/>
                <a:gd name="T26" fmla="*/ 36 w 50"/>
                <a:gd name="T27" fmla="*/ 28 h 32"/>
                <a:gd name="T28" fmla="*/ 42 w 50"/>
                <a:gd name="T29" fmla="*/ 32 h 32"/>
                <a:gd name="T30" fmla="*/ 48 w 50"/>
                <a:gd name="T31" fmla="*/ 30 h 32"/>
                <a:gd name="T32" fmla="*/ 50 w 50"/>
                <a:gd name="T33" fmla="*/ 26 h 32"/>
                <a:gd name="T34" fmla="*/ 46 w 50"/>
                <a:gd name="T35" fmla="*/ 24 h 32"/>
                <a:gd name="T36" fmla="*/ 38 w 50"/>
                <a:gd name="T37"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32">
                  <a:moveTo>
                    <a:pt x="38" y="22"/>
                  </a:moveTo>
                  <a:lnTo>
                    <a:pt x="32" y="20"/>
                  </a:lnTo>
                  <a:lnTo>
                    <a:pt x="26" y="16"/>
                  </a:lnTo>
                  <a:lnTo>
                    <a:pt x="22" y="14"/>
                  </a:lnTo>
                  <a:lnTo>
                    <a:pt x="20" y="10"/>
                  </a:lnTo>
                  <a:lnTo>
                    <a:pt x="16" y="8"/>
                  </a:lnTo>
                  <a:lnTo>
                    <a:pt x="18" y="4"/>
                  </a:lnTo>
                  <a:lnTo>
                    <a:pt x="2" y="0"/>
                  </a:lnTo>
                  <a:lnTo>
                    <a:pt x="0" y="12"/>
                  </a:lnTo>
                  <a:lnTo>
                    <a:pt x="4" y="20"/>
                  </a:lnTo>
                  <a:lnTo>
                    <a:pt x="12" y="26"/>
                  </a:lnTo>
                  <a:lnTo>
                    <a:pt x="18" y="26"/>
                  </a:lnTo>
                  <a:lnTo>
                    <a:pt x="28" y="30"/>
                  </a:lnTo>
                  <a:lnTo>
                    <a:pt x="36" y="28"/>
                  </a:lnTo>
                  <a:lnTo>
                    <a:pt x="42" y="32"/>
                  </a:lnTo>
                  <a:lnTo>
                    <a:pt x="48" y="30"/>
                  </a:lnTo>
                  <a:lnTo>
                    <a:pt x="50" y="26"/>
                  </a:lnTo>
                  <a:lnTo>
                    <a:pt x="46" y="24"/>
                  </a:lnTo>
                  <a:lnTo>
                    <a:pt x="38" y="22"/>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43" name="Freeform 504"/>
            <p:cNvSpPr>
              <a:spLocks/>
            </p:cNvSpPr>
            <p:nvPr/>
          </p:nvSpPr>
          <p:spPr bwMode="auto">
            <a:xfrm>
              <a:off x="1684338" y="3398838"/>
              <a:ext cx="103188" cy="38100"/>
            </a:xfrm>
            <a:custGeom>
              <a:avLst/>
              <a:gdLst>
                <a:gd name="T0" fmla="*/ 48 w 60"/>
                <a:gd name="T1" fmla="*/ 22 h 24"/>
                <a:gd name="T2" fmla="*/ 56 w 60"/>
                <a:gd name="T3" fmla="*/ 20 h 24"/>
                <a:gd name="T4" fmla="*/ 60 w 60"/>
                <a:gd name="T5" fmla="*/ 16 h 24"/>
                <a:gd name="T6" fmla="*/ 58 w 60"/>
                <a:gd name="T7" fmla="*/ 16 h 24"/>
                <a:gd name="T8" fmla="*/ 38 w 60"/>
                <a:gd name="T9" fmla="*/ 14 h 24"/>
                <a:gd name="T10" fmla="*/ 12 w 60"/>
                <a:gd name="T11" fmla="*/ 2 h 24"/>
                <a:gd name="T12" fmla="*/ 10 w 60"/>
                <a:gd name="T13" fmla="*/ 0 h 24"/>
                <a:gd name="T14" fmla="*/ 8 w 60"/>
                <a:gd name="T15" fmla="*/ 4 h 24"/>
                <a:gd name="T16" fmla="*/ 2 w 60"/>
                <a:gd name="T17" fmla="*/ 2 h 24"/>
                <a:gd name="T18" fmla="*/ 0 w 60"/>
                <a:gd name="T19" fmla="*/ 6 h 24"/>
                <a:gd name="T20" fmla="*/ 4 w 60"/>
                <a:gd name="T21" fmla="*/ 8 h 24"/>
                <a:gd name="T22" fmla="*/ 6 w 60"/>
                <a:gd name="T23" fmla="*/ 12 h 24"/>
                <a:gd name="T24" fmla="*/ 10 w 60"/>
                <a:gd name="T25" fmla="*/ 14 h 24"/>
                <a:gd name="T26" fmla="*/ 16 w 60"/>
                <a:gd name="T27" fmla="*/ 18 h 24"/>
                <a:gd name="T28" fmla="*/ 22 w 60"/>
                <a:gd name="T29" fmla="*/ 20 h 24"/>
                <a:gd name="T30" fmla="*/ 30 w 60"/>
                <a:gd name="T31" fmla="*/ 22 h 24"/>
                <a:gd name="T32" fmla="*/ 34 w 60"/>
                <a:gd name="T33" fmla="*/ 24 h 24"/>
                <a:gd name="T34" fmla="*/ 44 w 60"/>
                <a:gd name="T35" fmla="*/ 20 h 24"/>
                <a:gd name="T36" fmla="*/ 48 w 60"/>
                <a:gd name="T3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24">
                  <a:moveTo>
                    <a:pt x="48" y="22"/>
                  </a:moveTo>
                  <a:lnTo>
                    <a:pt x="56" y="20"/>
                  </a:lnTo>
                  <a:lnTo>
                    <a:pt x="60" y="16"/>
                  </a:lnTo>
                  <a:lnTo>
                    <a:pt x="58" y="16"/>
                  </a:lnTo>
                  <a:lnTo>
                    <a:pt x="38" y="14"/>
                  </a:lnTo>
                  <a:lnTo>
                    <a:pt x="12" y="2"/>
                  </a:lnTo>
                  <a:lnTo>
                    <a:pt x="10" y="0"/>
                  </a:lnTo>
                  <a:lnTo>
                    <a:pt x="8" y="4"/>
                  </a:lnTo>
                  <a:lnTo>
                    <a:pt x="2" y="2"/>
                  </a:lnTo>
                  <a:lnTo>
                    <a:pt x="0" y="6"/>
                  </a:lnTo>
                  <a:lnTo>
                    <a:pt x="4" y="8"/>
                  </a:lnTo>
                  <a:lnTo>
                    <a:pt x="6" y="12"/>
                  </a:lnTo>
                  <a:lnTo>
                    <a:pt x="10" y="14"/>
                  </a:lnTo>
                  <a:lnTo>
                    <a:pt x="16" y="18"/>
                  </a:lnTo>
                  <a:lnTo>
                    <a:pt x="22" y="20"/>
                  </a:lnTo>
                  <a:lnTo>
                    <a:pt x="30" y="22"/>
                  </a:lnTo>
                  <a:lnTo>
                    <a:pt x="34" y="24"/>
                  </a:lnTo>
                  <a:lnTo>
                    <a:pt x="44" y="20"/>
                  </a:lnTo>
                  <a:lnTo>
                    <a:pt x="48" y="22"/>
                  </a:lnTo>
                  <a:close/>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44" name="Freeform 505"/>
            <p:cNvSpPr>
              <a:spLocks/>
            </p:cNvSpPr>
            <p:nvPr/>
          </p:nvSpPr>
          <p:spPr bwMode="auto">
            <a:xfrm>
              <a:off x="3090863" y="3360738"/>
              <a:ext cx="203200" cy="161925"/>
            </a:xfrm>
            <a:custGeom>
              <a:avLst/>
              <a:gdLst>
                <a:gd name="T0" fmla="*/ 40 w 118"/>
                <a:gd name="T1" fmla="*/ 102 h 102"/>
                <a:gd name="T2" fmla="*/ 52 w 118"/>
                <a:gd name="T3" fmla="*/ 102 h 102"/>
                <a:gd name="T4" fmla="*/ 56 w 118"/>
                <a:gd name="T5" fmla="*/ 98 h 102"/>
                <a:gd name="T6" fmla="*/ 60 w 118"/>
                <a:gd name="T7" fmla="*/ 96 h 102"/>
                <a:gd name="T8" fmla="*/ 64 w 118"/>
                <a:gd name="T9" fmla="*/ 90 h 102"/>
                <a:gd name="T10" fmla="*/ 70 w 118"/>
                <a:gd name="T11" fmla="*/ 88 h 102"/>
                <a:gd name="T12" fmla="*/ 74 w 118"/>
                <a:gd name="T13" fmla="*/ 84 h 102"/>
                <a:gd name="T14" fmla="*/ 84 w 118"/>
                <a:gd name="T15" fmla="*/ 74 h 102"/>
                <a:gd name="T16" fmla="*/ 92 w 118"/>
                <a:gd name="T17" fmla="*/ 74 h 102"/>
                <a:gd name="T18" fmla="*/ 96 w 118"/>
                <a:gd name="T19" fmla="*/ 72 h 102"/>
                <a:gd name="T20" fmla="*/ 102 w 118"/>
                <a:gd name="T21" fmla="*/ 66 h 102"/>
                <a:gd name="T22" fmla="*/ 100 w 118"/>
                <a:gd name="T23" fmla="*/ 50 h 102"/>
                <a:gd name="T24" fmla="*/ 98 w 118"/>
                <a:gd name="T25" fmla="*/ 46 h 102"/>
                <a:gd name="T26" fmla="*/ 94 w 118"/>
                <a:gd name="T27" fmla="*/ 40 h 102"/>
                <a:gd name="T28" fmla="*/ 92 w 118"/>
                <a:gd name="T29" fmla="*/ 34 h 102"/>
                <a:gd name="T30" fmla="*/ 94 w 118"/>
                <a:gd name="T31" fmla="*/ 26 h 102"/>
                <a:gd name="T32" fmla="*/ 94 w 118"/>
                <a:gd name="T33" fmla="*/ 24 h 102"/>
                <a:gd name="T34" fmla="*/ 116 w 118"/>
                <a:gd name="T35" fmla="*/ 8 h 102"/>
                <a:gd name="T36" fmla="*/ 118 w 118"/>
                <a:gd name="T37" fmla="*/ 4 h 102"/>
                <a:gd name="T38" fmla="*/ 114 w 118"/>
                <a:gd name="T39" fmla="*/ 4 h 102"/>
                <a:gd name="T40" fmla="*/ 96 w 118"/>
                <a:gd name="T41" fmla="*/ 10 h 102"/>
                <a:gd name="T42" fmla="*/ 96 w 118"/>
                <a:gd name="T43" fmla="*/ 2 h 102"/>
                <a:gd name="T44" fmla="*/ 92 w 118"/>
                <a:gd name="T45" fmla="*/ 0 h 102"/>
                <a:gd name="T46" fmla="*/ 90 w 118"/>
                <a:gd name="T47" fmla="*/ 4 h 102"/>
                <a:gd name="T48" fmla="*/ 88 w 118"/>
                <a:gd name="T49" fmla="*/ 6 h 102"/>
                <a:gd name="T50" fmla="*/ 86 w 118"/>
                <a:gd name="T51" fmla="*/ 6 h 102"/>
                <a:gd name="T52" fmla="*/ 82 w 118"/>
                <a:gd name="T53" fmla="*/ 0 h 102"/>
                <a:gd name="T54" fmla="*/ 76 w 118"/>
                <a:gd name="T55" fmla="*/ 6 h 102"/>
                <a:gd name="T56" fmla="*/ 76 w 118"/>
                <a:gd name="T57" fmla="*/ 10 h 102"/>
                <a:gd name="T58" fmla="*/ 78 w 118"/>
                <a:gd name="T59" fmla="*/ 12 h 102"/>
                <a:gd name="T60" fmla="*/ 92 w 118"/>
                <a:gd name="T61" fmla="*/ 16 h 102"/>
                <a:gd name="T62" fmla="*/ 90 w 118"/>
                <a:gd name="T63" fmla="*/ 20 h 102"/>
                <a:gd name="T64" fmla="*/ 82 w 118"/>
                <a:gd name="T65" fmla="*/ 20 h 102"/>
                <a:gd name="T66" fmla="*/ 82 w 118"/>
                <a:gd name="T67" fmla="*/ 18 h 102"/>
                <a:gd name="T68" fmla="*/ 78 w 118"/>
                <a:gd name="T69" fmla="*/ 14 h 102"/>
                <a:gd name="T70" fmla="*/ 74 w 118"/>
                <a:gd name="T71" fmla="*/ 16 h 102"/>
                <a:gd name="T72" fmla="*/ 70 w 118"/>
                <a:gd name="T73" fmla="*/ 16 h 102"/>
                <a:gd name="T74" fmla="*/ 70 w 118"/>
                <a:gd name="T75" fmla="*/ 10 h 102"/>
                <a:gd name="T76" fmla="*/ 68 w 118"/>
                <a:gd name="T77" fmla="*/ 6 h 102"/>
                <a:gd name="T78" fmla="*/ 64 w 118"/>
                <a:gd name="T79" fmla="*/ 8 h 102"/>
                <a:gd name="T80" fmla="*/ 60 w 118"/>
                <a:gd name="T81" fmla="*/ 16 h 102"/>
                <a:gd name="T82" fmla="*/ 56 w 118"/>
                <a:gd name="T83" fmla="*/ 20 h 102"/>
                <a:gd name="T84" fmla="*/ 50 w 118"/>
                <a:gd name="T85" fmla="*/ 20 h 102"/>
                <a:gd name="T86" fmla="*/ 50 w 118"/>
                <a:gd name="T87" fmla="*/ 16 h 102"/>
                <a:gd name="T88" fmla="*/ 52 w 118"/>
                <a:gd name="T89" fmla="*/ 14 h 102"/>
                <a:gd name="T90" fmla="*/ 38 w 118"/>
                <a:gd name="T91" fmla="*/ 16 h 102"/>
                <a:gd name="T92" fmla="*/ 22 w 118"/>
                <a:gd name="T93" fmla="*/ 32 h 102"/>
                <a:gd name="T94" fmla="*/ 10 w 118"/>
                <a:gd name="T95" fmla="*/ 40 h 102"/>
                <a:gd name="T96" fmla="*/ 8 w 118"/>
                <a:gd name="T97" fmla="*/ 46 h 102"/>
                <a:gd name="T98" fmla="*/ 8 w 118"/>
                <a:gd name="T99" fmla="*/ 52 h 102"/>
                <a:gd name="T100" fmla="*/ 4 w 118"/>
                <a:gd name="T101" fmla="*/ 58 h 102"/>
                <a:gd name="T102" fmla="*/ 0 w 118"/>
                <a:gd name="T103" fmla="*/ 84 h 102"/>
                <a:gd name="T104" fmla="*/ 4 w 118"/>
                <a:gd name="T105" fmla="*/ 86 h 102"/>
                <a:gd name="T106" fmla="*/ 6 w 118"/>
                <a:gd name="T107" fmla="*/ 86 h 102"/>
                <a:gd name="T108" fmla="*/ 12 w 118"/>
                <a:gd name="T109" fmla="*/ 86 h 102"/>
                <a:gd name="T110" fmla="*/ 18 w 118"/>
                <a:gd name="T111" fmla="*/ 92 h 102"/>
                <a:gd name="T112" fmla="*/ 28 w 118"/>
                <a:gd name="T113" fmla="*/ 90 h 102"/>
                <a:gd name="T114" fmla="*/ 32 w 118"/>
                <a:gd name="T115" fmla="*/ 94 h 102"/>
                <a:gd name="T116" fmla="*/ 34 w 118"/>
                <a:gd name="T117" fmla="*/ 100 h 102"/>
                <a:gd name="T118" fmla="*/ 40 w 118"/>
                <a:gd name="T1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02">
                  <a:moveTo>
                    <a:pt x="40" y="102"/>
                  </a:moveTo>
                  <a:lnTo>
                    <a:pt x="52" y="102"/>
                  </a:lnTo>
                  <a:lnTo>
                    <a:pt x="56" y="98"/>
                  </a:lnTo>
                  <a:lnTo>
                    <a:pt x="60" y="96"/>
                  </a:lnTo>
                  <a:lnTo>
                    <a:pt x="64" y="90"/>
                  </a:lnTo>
                  <a:lnTo>
                    <a:pt x="70" y="88"/>
                  </a:lnTo>
                  <a:lnTo>
                    <a:pt x="74" y="84"/>
                  </a:lnTo>
                  <a:lnTo>
                    <a:pt x="84" y="74"/>
                  </a:lnTo>
                  <a:lnTo>
                    <a:pt x="92" y="74"/>
                  </a:lnTo>
                  <a:lnTo>
                    <a:pt x="96" y="72"/>
                  </a:lnTo>
                  <a:lnTo>
                    <a:pt x="102" y="66"/>
                  </a:lnTo>
                  <a:lnTo>
                    <a:pt x="100" y="50"/>
                  </a:lnTo>
                  <a:lnTo>
                    <a:pt x="98" y="46"/>
                  </a:lnTo>
                  <a:lnTo>
                    <a:pt x="94" y="40"/>
                  </a:lnTo>
                  <a:lnTo>
                    <a:pt x="92" y="34"/>
                  </a:lnTo>
                  <a:lnTo>
                    <a:pt x="94" y="26"/>
                  </a:lnTo>
                  <a:lnTo>
                    <a:pt x="94" y="24"/>
                  </a:lnTo>
                  <a:lnTo>
                    <a:pt x="116" y="8"/>
                  </a:lnTo>
                  <a:lnTo>
                    <a:pt x="118" y="4"/>
                  </a:lnTo>
                  <a:lnTo>
                    <a:pt x="114" y="4"/>
                  </a:lnTo>
                  <a:lnTo>
                    <a:pt x="96" y="10"/>
                  </a:lnTo>
                  <a:lnTo>
                    <a:pt x="96" y="2"/>
                  </a:lnTo>
                  <a:lnTo>
                    <a:pt x="92" y="0"/>
                  </a:lnTo>
                  <a:lnTo>
                    <a:pt x="90" y="4"/>
                  </a:lnTo>
                  <a:lnTo>
                    <a:pt x="88" y="6"/>
                  </a:lnTo>
                  <a:lnTo>
                    <a:pt x="86" y="6"/>
                  </a:lnTo>
                  <a:lnTo>
                    <a:pt x="82" y="0"/>
                  </a:lnTo>
                  <a:lnTo>
                    <a:pt x="76" y="6"/>
                  </a:lnTo>
                  <a:lnTo>
                    <a:pt x="76" y="10"/>
                  </a:lnTo>
                  <a:lnTo>
                    <a:pt x="78" y="12"/>
                  </a:lnTo>
                  <a:lnTo>
                    <a:pt x="92" y="16"/>
                  </a:lnTo>
                  <a:lnTo>
                    <a:pt x="90" y="20"/>
                  </a:lnTo>
                  <a:lnTo>
                    <a:pt x="82" y="20"/>
                  </a:lnTo>
                  <a:lnTo>
                    <a:pt x="82" y="18"/>
                  </a:lnTo>
                  <a:lnTo>
                    <a:pt x="78" y="14"/>
                  </a:lnTo>
                  <a:lnTo>
                    <a:pt x="74" y="16"/>
                  </a:lnTo>
                  <a:lnTo>
                    <a:pt x="70" y="16"/>
                  </a:lnTo>
                  <a:lnTo>
                    <a:pt x="70" y="10"/>
                  </a:lnTo>
                  <a:lnTo>
                    <a:pt x="68" y="6"/>
                  </a:lnTo>
                  <a:lnTo>
                    <a:pt x="64" y="8"/>
                  </a:lnTo>
                  <a:lnTo>
                    <a:pt x="60" y="16"/>
                  </a:lnTo>
                  <a:lnTo>
                    <a:pt x="56" y="20"/>
                  </a:lnTo>
                  <a:lnTo>
                    <a:pt x="50" y="20"/>
                  </a:lnTo>
                  <a:lnTo>
                    <a:pt x="50" y="16"/>
                  </a:lnTo>
                  <a:lnTo>
                    <a:pt x="52" y="14"/>
                  </a:lnTo>
                  <a:lnTo>
                    <a:pt x="38" y="16"/>
                  </a:lnTo>
                  <a:lnTo>
                    <a:pt x="22" y="32"/>
                  </a:lnTo>
                  <a:lnTo>
                    <a:pt x="10" y="40"/>
                  </a:lnTo>
                  <a:lnTo>
                    <a:pt x="8" y="46"/>
                  </a:lnTo>
                  <a:lnTo>
                    <a:pt x="8" y="52"/>
                  </a:lnTo>
                  <a:lnTo>
                    <a:pt x="4" y="58"/>
                  </a:lnTo>
                  <a:lnTo>
                    <a:pt x="0" y="84"/>
                  </a:lnTo>
                  <a:lnTo>
                    <a:pt x="4" y="86"/>
                  </a:lnTo>
                  <a:lnTo>
                    <a:pt x="6" y="86"/>
                  </a:lnTo>
                  <a:lnTo>
                    <a:pt x="12" y="86"/>
                  </a:lnTo>
                  <a:lnTo>
                    <a:pt x="18" y="92"/>
                  </a:lnTo>
                  <a:lnTo>
                    <a:pt x="28" y="90"/>
                  </a:lnTo>
                  <a:lnTo>
                    <a:pt x="32" y="94"/>
                  </a:lnTo>
                  <a:lnTo>
                    <a:pt x="34" y="100"/>
                  </a:lnTo>
                  <a:lnTo>
                    <a:pt x="40" y="102"/>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45" name="Freeform 506"/>
            <p:cNvSpPr>
              <a:spLocks/>
            </p:cNvSpPr>
            <p:nvPr/>
          </p:nvSpPr>
          <p:spPr bwMode="auto">
            <a:xfrm>
              <a:off x="3090863" y="3360738"/>
              <a:ext cx="203200" cy="161925"/>
            </a:xfrm>
            <a:custGeom>
              <a:avLst/>
              <a:gdLst>
                <a:gd name="T0" fmla="*/ 40 w 118"/>
                <a:gd name="T1" fmla="*/ 102 h 102"/>
                <a:gd name="T2" fmla="*/ 52 w 118"/>
                <a:gd name="T3" fmla="*/ 102 h 102"/>
                <a:gd name="T4" fmla="*/ 56 w 118"/>
                <a:gd name="T5" fmla="*/ 98 h 102"/>
                <a:gd name="T6" fmla="*/ 60 w 118"/>
                <a:gd name="T7" fmla="*/ 96 h 102"/>
                <a:gd name="T8" fmla="*/ 64 w 118"/>
                <a:gd name="T9" fmla="*/ 90 h 102"/>
                <a:gd name="T10" fmla="*/ 70 w 118"/>
                <a:gd name="T11" fmla="*/ 88 h 102"/>
                <a:gd name="T12" fmla="*/ 74 w 118"/>
                <a:gd name="T13" fmla="*/ 84 h 102"/>
                <a:gd name="T14" fmla="*/ 84 w 118"/>
                <a:gd name="T15" fmla="*/ 74 h 102"/>
                <a:gd name="T16" fmla="*/ 92 w 118"/>
                <a:gd name="T17" fmla="*/ 74 h 102"/>
                <a:gd name="T18" fmla="*/ 96 w 118"/>
                <a:gd name="T19" fmla="*/ 72 h 102"/>
                <a:gd name="T20" fmla="*/ 102 w 118"/>
                <a:gd name="T21" fmla="*/ 66 h 102"/>
                <a:gd name="T22" fmla="*/ 100 w 118"/>
                <a:gd name="T23" fmla="*/ 50 h 102"/>
                <a:gd name="T24" fmla="*/ 98 w 118"/>
                <a:gd name="T25" fmla="*/ 46 h 102"/>
                <a:gd name="T26" fmla="*/ 94 w 118"/>
                <a:gd name="T27" fmla="*/ 40 h 102"/>
                <a:gd name="T28" fmla="*/ 92 w 118"/>
                <a:gd name="T29" fmla="*/ 34 h 102"/>
                <a:gd name="T30" fmla="*/ 94 w 118"/>
                <a:gd name="T31" fmla="*/ 26 h 102"/>
                <a:gd name="T32" fmla="*/ 94 w 118"/>
                <a:gd name="T33" fmla="*/ 24 h 102"/>
                <a:gd name="T34" fmla="*/ 116 w 118"/>
                <a:gd name="T35" fmla="*/ 8 h 102"/>
                <a:gd name="T36" fmla="*/ 118 w 118"/>
                <a:gd name="T37" fmla="*/ 4 h 102"/>
                <a:gd name="T38" fmla="*/ 114 w 118"/>
                <a:gd name="T39" fmla="*/ 4 h 102"/>
                <a:gd name="T40" fmla="*/ 96 w 118"/>
                <a:gd name="T41" fmla="*/ 10 h 102"/>
                <a:gd name="T42" fmla="*/ 96 w 118"/>
                <a:gd name="T43" fmla="*/ 2 h 102"/>
                <a:gd name="T44" fmla="*/ 92 w 118"/>
                <a:gd name="T45" fmla="*/ 0 h 102"/>
                <a:gd name="T46" fmla="*/ 90 w 118"/>
                <a:gd name="T47" fmla="*/ 4 h 102"/>
                <a:gd name="T48" fmla="*/ 88 w 118"/>
                <a:gd name="T49" fmla="*/ 6 h 102"/>
                <a:gd name="T50" fmla="*/ 86 w 118"/>
                <a:gd name="T51" fmla="*/ 6 h 102"/>
                <a:gd name="T52" fmla="*/ 82 w 118"/>
                <a:gd name="T53" fmla="*/ 0 h 102"/>
                <a:gd name="T54" fmla="*/ 76 w 118"/>
                <a:gd name="T55" fmla="*/ 6 h 102"/>
                <a:gd name="T56" fmla="*/ 76 w 118"/>
                <a:gd name="T57" fmla="*/ 10 h 102"/>
                <a:gd name="T58" fmla="*/ 78 w 118"/>
                <a:gd name="T59" fmla="*/ 12 h 102"/>
                <a:gd name="T60" fmla="*/ 92 w 118"/>
                <a:gd name="T61" fmla="*/ 16 h 102"/>
                <a:gd name="T62" fmla="*/ 90 w 118"/>
                <a:gd name="T63" fmla="*/ 20 h 102"/>
                <a:gd name="T64" fmla="*/ 82 w 118"/>
                <a:gd name="T65" fmla="*/ 20 h 102"/>
                <a:gd name="T66" fmla="*/ 82 w 118"/>
                <a:gd name="T67" fmla="*/ 18 h 102"/>
                <a:gd name="T68" fmla="*/ 78 w 118"/>
                <a:gd name="T69" fmla="*/ 14 h 102"/>
                <a:gd name="T70" fmla="*/ 74 w 118"/>
                <a:gd name="T71" fmla="*/ 16 h 102"/>
                <a:gd name="T72" fmla="*/ 70 w 118"/>
                <a:gd name="T73" fmla="*/ 16 h 102"/>
                <a:gd name="T74" fmla="*/ 70 w 118"/>
                <a:gd name="T75" fmla="*/ 10 h 102"/>
                <a:gd name="T76" fmla="*/ 68 w 118"/>
                <a:gd name="T77" fmla="*/ 6 h 102"/>
                <a:gd name="T78" fmla="*/ 64 w 118"/>
                <a:gd name="T79" fmla="*/ 8 h 102"/>
                <a:gd name="T80" fmla="*/ 60 w 118"/>
                <a:gd name="T81" fmla="*/ 16 h 102"/>
                <a:gd name="T82" fmla="*/ 56 w 118"/>
                <a:gd name="T83" fmla="*/ 20 h 102"/>
                <a:gd name="T84" fmla="*/ 50 w 118"/>
                <a:gd name="T85" fmla="*/ 20 h 102"/>
                <a:gd name="T86" fmla="*/ 50 w 118"/>
                <a:gd name="T87" fmla="*/ 16 h 102"/>
                <a:gd name="T88" fmla="*/ 52 w 118"/>
                <a:gd name="T89" fmla="*/ 14 h 102"/>
                <a:gd name="T90" fmla="*/ 38 w 118"/>
                <a:gd name="T91" fmla="*/ 16 h 102"/>
                <a:gd name="T92" fmla="*/ 22 w 118"/>
                <a:gd name="T93" fmla="*/ 32 h 102"/>
                <a:gd name="T94" fmla="*/ 10 w 118"/>
                <a:gd name="T95" fmla="*/ 40 h 102"/>
                <a:gd name="T96" fmla="*/ 8 w 118"/>
                <a:gd name="T97" fmla="*/ 46 h 102"/>
                <a:gd name="T98" fmla="*/ 8 w 118"/>
                <a:gd name="T99" fmla="*/ 52 h 102"/>
                <a:gd name="T100" fmla="*/ 4 w 118"/>
                <a:gd name="T101" fmla="*/ 58 h 102"/>
                <a:gd name="T102" fmla="*/ 0 w 118"/>
                <a:gd name="T103" fmla="*/ 84 h 102"/>
                <a:gd name="T104" fmla="*/ 4 w 118"/>
                <a:gd name="T105" fmla="*/ 86 h 102"/>
                <a:gd name="T106" fmla="*/ 6 w 118"/>
                <a:gd name="T107" fmla="*/ 86 h 102"/>
                <a:gd name="T108" fmla="*/ 12 w 118"/>
                <a:gd name="T109" fmla="*/ 86 h 102"/>
                <a:gd name="T110" fmla="*/ 18 w 118"/>
                <a:gd name="T111" fmla="*/ 92 h 102"/>
                <a:gd name="T112" fmla="*/ 28 w 118"/>
                <a:gd name="T113" fmla="*/ 90 h 102"/>
                <a:gd name="T114" fmla="*/ 32 w 118"/>
                <a:gd name="T115" fmla="*/ 94 h 102"/>
                <a:gd name="T116" fmla="*/ 34 w 118"/>
                <a:gd name="T117" fmla="*/ 100 h 102"/>
                <a:gd name="T118" fmla="*/ 40 w 118"/>
                <a:gd name="T1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02">
                  <a:moveTo>
                    <a:pt x="40" y="102"/>
                  </a:moveTo>
                  <a:lnTo>
                    <a:pt x="52" y="102"/>
                  </a:lnTo>
                  <a:lnTo>
                    <a:pt x="56" y="98"/>
                  </a:lnTo>
                  <a:lnTo>
                    <a:pt x="60" y="96"/>
                  </a:lnTo>
                  <a:lnTo>
                    <a:pt x="64" y="90"/>
                  </a:lnTo>
                  <a:lnTo>
                    <a:pt x="70" y="88"/>
                  </a:lnTo>
                  <a:lnTo>
                    <a:pt x="74" y="84"/>
                  </a:lnTo>
                  <a:lnTo>
                    <a:pt x="84" y="74"/>
                  </a:lnTo>
                  <a:lnTo>
                    <a:pt x="92" y="74"/>
                  </a:lnTo>
                  <a:lnTo>
                    <a:pt x="96" y="72"/>
                  </a:lnTo>
                  <a:lnTo>
                    <a:pt x="102" y="66"/>
                  </a:lnTo>
                  <a:lnTo>
                    <a:pt x="100" y="50"/>
                  </a:lnTo>
                  <a:lnTo>
                    <a:pt x="98" y="46"/>
                  </a:lnTo>
                  <a:lnTo>
                    <a:pt x="94" y="40"/>
                  </a:lnTo>
                  <a:lnTo>
                    <a:pt x="92" y="34"/>
                  </a:lnTo>
                  <a:lnTo>
                    <a:pt x="94" y="26"/>
                  </a:lnTo>
                  <a:lnTo>
                    <a:pt x="94" y="24"/>
                  </a:lnTo>
                  <a:lnTo>
                    <a:pt x="116" y="8"/>
                  </a:lnTo>
                  <a:lnTo>
                    <a:pt x="118" y="4"/>
                  </a:lnTo>
                  <a:lnTo>
                    <a:pt x="114" y="4"/>
                  </a:lnTo>
                  <a:lnTo>
                    <a:pt x="96" y="10"/>
                  </a:lnTo>
                  <a:lnTo>
                    <a:pt x="96" y="2"/>
                  </a:lnTo>
                  <a:lnTo>
                    <a:pt x="92" y="0"/>
                  </a:lnTo>
                  <a:lnTo>
                    <a:pt x="90" y="4"/>
                  </a:lnTo>
                  <a:lnTo>
                    <a:pt x="88" y="6"/>
                  </a:lnTo>
                  <a:lnTo>
                    <a:pt x="86" y="6"/>
                  </a:lnTo>
                  <a:lnTo>
                    <a:pt x="82" y="0"/>
                  </a:lnTo>
                  <a:lnTo>
                    <a:pt x="76" y="6"/>
                  </a:lnTo>
                  <a:lnTo>
                    <a:pt x="76" y="10"/>
                  </a:lnTo>
                  <a:lnTo>
                    <a:pt x="78" y="12"/>
                  </a:lnTo>
                  <a:lnTo>
                    <a:pt x="92" y="16"/>
                  </a:lnTo>
                  <a:lnTo>
                    <a:pt x="90" y="20"/>
                  </a:lnTo>
                  <a:lnTo>
                    <a:pt x="82" y="20"/>
                  </a:lnTo>
                  <a:lnTo>
                    <a:pt x="82" y="18"/>
                  </a:lnTo>
                  <a:lnTo>
                    <a:pt x="78" y="14"/>
                  </a:lnTo>
                  <a:lnTo>
                    <a:pt x="74" y="16"/>
                  </a:lnTo>
                  <a:lnTo>
                    <a:pt x="70" y="16"/>
                  </a:lnTo>
                  <a:lnTo>
                    <a:pt x="70" y="10"/>
                  </a:lnTo>
                  <a:lnTo>
                    <a:pt x="68" y="6"/>
                  </a:lnTo>
                  <a:lnTo>
                    <a:pt x="64" y="8"/>
                  </a:lnTo>
                  <a:lnTo>
                    <a:pt x="60" y="16"/>
                  </a:lnTo>
                  <a:lnTo>
                    <a:pt x="56" y="20"/>
                  </a:lnTo>
                  <a:lnTo>
                    <a:pt x="50" y="20"/>
                  </a:lnTo>
                  <a:lnTo>
                    <a:pt x="50" y="16"/>
                  </a:lnTo>
                  <a:lnTo>
                    <a:pt x="52" y="14"/>
                  </a:lnTo>
                  <a:lnTo>
                    <a:pt x="38" y="16"/>
                  </a:lnTo>
                  <a:lnTo>
                    <a:pt x="22" y="32"/>
                  </a:lnTo>
                  <a:lnTo>
                    <a:pt x="10" y="40"/>
                  </a:lnTo>
                  <a:lnTo>
                    <a:pt x="8" y="46"/>
                  </a:lnTo>
                  <a:lnTo>
                    <a:pt x="8" y="52"/>
                  </a:lnTo>
                  <a:lnTo>
                    <a:pt x="4" y="58"/>
                  </a:lnTo>
                  <a:lnTo>
                    <a:pt x="0" y="84"/>
                  </a:lnTo>
                  <a:lnTo>
                    <a:pt x="4" y="86"/>
                  </a:lnTo>
                  <a:lnTo>
                    <a:pt x="6" y="86"/>
                  </a:lnTo>
                  <a:lnTo>
                    <a:pt x="12" y="86"/>
                  </a:lnTo>
                  <a:lnTo>
                    <a:pt x="18" y="92"/>
                  </a:lnTo>
                  <a:lnTo>
                    <a:pt x="28" y="90"/>
                  </a:lnTo>
                  <a:lnTo>
                    <a:pt x="32" y="94"/>
                  </a:lnTo>
                  <a:lnTo>
                    <a:pt x="34" y="100"/>
                  </a:lnTo>
                  <a:lnTo>
                    <a:pt x="40" y="102"/>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46" name="Freeform 507"/>
            <p:cNvSpPr>
              <a:spLocks/>
            </p:cNvSpPr>
            <p:nvPr/>
          </p:nvSpPr>
          <p:spPr bwMode="auto">
            <a:xfrm>
              <a:off x="3802063" y="3465513"/>
              <a:ext cx="265113" cy="111125"/>
            </a:xfrm>
            <a:custGeom>
              <a:avLst/>
              <a:gdLst>
                <a:gd name="T0" fmla="*/ 44 w 154"/>
                <a:gd name="T1" fmla="*/ 0 h 70"/>
                <a:gd name="T2" fmla="*/ 52 w 154"/>
                <a:gd name="T3" fmla="*/ 4 h 70"/>
                <a:gd name="T4" fmla="*/ 66 w 154"/>
                <a:gd name="T5" fmla="*/ 4 h 70"/>
                <a:gd name="T6" fmla="*/ 104 w 154"/>
                <a:gd name="T7" fmla="*/ 14 h 70"/>
                <a:gd name="T8" fmla="*/ 120 w 154"/>
                <a:gd name="T9" fmla="*/ 12 h 70"/>
                <a:gd name="T10" fmla="*/ 130 w 154"/>
                <a:gd name="T11" fmla="*/ 18 h 70"/>
                <a:gd name="T12" fmla="*/ 140 w 154"/>
                <a:gd name="T13" fmla="*/ 10 h 70"/>
                <a:gd name="T14" fmla="*/ 150 w 154"/>
                <a:gd name="T15" fmla="*/ 10 h 70"/>
                <a:gd name="T16" fmla="*/ 154 w 154"/>
                <a:gd name="T17" fmla="*/ 12 h 70"/>
                <a:gd name="T18" fmla="*/ 154 w 154"/>
                <a:gd name="T19" fmla="*/ 18 h 70"/>
                <a:gd name="T20" fmla="*/ 148 w 154"/>
                <a:gd name="T21" fmla="*/ 24 h 70"/>
                <a:gd name="T22" fmla="*/ 142 w 154"/>
                <a:gd name="T23" fmla="*/ 24 h 70"/>
                <a:gd name="T24" fmla="*/ 138 w 154"/>
                <a:gd name="T25" fmla="*/ 22 h 70"/>
                <a:gd name="T26" fmla="*/ 132 w 154"/>
                <a:gd name="T27" fmla="*/ 24 h 70"/>
                <a:gd name="T28" fmla="*/ 122 w 154"/>
                <a:gd name="T29" fmla="*/ 24 h 70"/>
                <a:gd name="T30" fmla="*/ 108 w 154"/>
                <a:gd name="T31" fmla="*/ 18 h 70"/>
                <a:gd name="T32" fmla="*/ 60 w 154"/>
                <a:gd name="T33" fmla="*/ 14 h 70"/>
                <a:gd name="T34" fmla="*/ 56 w 154"/>
                <a:gd name="T35" fmla="*/ 12 h 70"/>
                <a:gd name="T36" fmla="*/ 56 w 154"/>
                <a:gd name="T37" fmla="*/ 10 h 70"/>
                <a:gd name="T38" fmla="*/ 54 w 154"/>
                <a:gd name="T39" fmla="*/ 8 h 70"/>
                <a:gd name="T40" fmla="*/ 52 w 154"/>
                <a:gd name="T41" fmla="*/ 14 h 70"/>
                <a:gd name="T42" fmla="*/ 50 w 154"/>
                <a:gd name="T43" fmla="*/ 16 h 70"/>
                <a:gd name="T44" fmla="*/ 44 w 154"/>
                <a:gd name="T45" fmla="*/ 16 h 70"/>
                <a:gd name="T46" fmla="*/ 40 w 154"/>
                <a:gd name="T47" fmla="*/ 18 h 70"/>
                <a:gd name="T48" fmla="*/ 34 w 154"/>
                <a:gd name="T49" fmla="*/ 24 h 70"/>
                <a:gd name="T50" fmla="*/ 24 w 154"/>
                <a:gd name="T51" fmla="*/ 28 h 70"/>
                <a:gd name="T52" fmla="*/ 16 w 154"/>
                <a:gd name="T53" fmla="*/ 46 h 70"/>
                <a:gd name="T54" fmla="*/ 16 w 154"/>
                <a:gd name="T55" fmla="*/ 62 h 70"/>
                <a:gd name="T56" fmla="*/ 20 w 154"/>
                <a:gd name="T57" fmla="*/ 70 h 70"/>
                <a:gd name="T58" fmla="*/ 14 w 154"/>
                <a:gd name="T59" fmla="*/ 68 h 70"/>
                <a:gd name="T60" fmla="*/ 6 w 154"/>
                <a:gd name="T61" fmla="*/ 50 h 70"/>
                <a:gd name="T62" fmla="*/ 0 w 154"/>
                <a:gd name="T63" fmla="*/ 44 h 70"/>
                <a:gd name="T64" fmla="*/ 0 w 154"/>
                <a:gd name="T65" fmla="*/ 36 h 70"/>
                <a:gd name="T66" fmla="*/ 2 w 154"/>
                <a:gd name="T67" fmla="*/ 28 h 70"/>
                <a:gd name="T68" fmla="*/ 6 w 154"/>
                <a:gd name="T69" fmla="*/ 22 h 70"/>
                <a:gd name="T70" fmla="*/ 12 w 154"/>
                <a:gd name="T71" fmla="*/ 22 h 70"/>
                <a:gd name="T72" fmla="*/ 40 w 154"/>
                <a:gd name="T73" fmla="*/ 0 h 70"/>
                <a:gd name="T74" fmla="*/ 44 w 154"/>
                <a:gd name="T7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70">
                  <a:moveTo>
                    <a:pt x="44" y="0"/>
                  </a:moveTo>
                  <a:lnTo>
                    <a:pt x="52" y="4"/>
                  </a:lnTo>
                  <a:lnTo>
                    <a:pt x="66" y="4"/>
                  </a:lnTo>
                  <a:lnTo>
                    <a:pt x="104" y="14"/>
                  </a:lnTo>
                  <a:lnTo>
                    <a:pt x="120" y="12"/>
                  </a:lnTo>
                  <a:lnTo>
                    <a:pt x="130" y="18"/>
                  </a:lnTo>
                  <a:lnTo>
                    <a:pt x="140" y="10"/>
                  </a:lnTo>
                  <a:lnTo>
                    <a:pt x="150" y="10"/>
                  </a:lnTo>
                  <a:lnTo>
                    <a:pt x="154" y="12"/>
                  </a:lnTo>
                  <a:lnTo>
                    <a:pt x="154" y="18"/>
                  </a:lnTo>
                  <a:lnTo>
                    <a:pt x="148" y="24"/>
                  </a:lnTo>
                  <a:lnTo>
                    <a:pt x="142" y="24"/>
                  </a:lnTo>
                  <a:lnTo>
                    <a:pt x="138" y="22"/>
                  </a:lnTo>
                  <a:lnTo>
                    <a:pt x="132" y="24"/>
                  </a:lnTo>
                  <a:lnTo>
                    <a:pt x="122" y="24"/>
                  </a:lnTo>
                  <a:lnTo>
                    <a:pt x="108" y="18"/>
                  </a:lnTo>
                  <a:lnTo>
                    <a:pt x="60" y="14"/>
                  </a:lnTo>
                  <a:lnTo>
                    <a:pt x="56" y="12"/>
                  </a:lnTo>
                  <a:lnTo>
                    <a:pt x="56" y="10"/>
                  </a:lnTo>
                  <a:lnTo>
                    <a:pt x="54" y="8"/>
                  </a:lnTo>
                  <a:lnTo>
                    <a:pt x="52" y="14"/>
                  </a:lnTo>
                  <a:lnTo>
                    <a:pt x="50" y="16"/>
                  </a:lnTo>
                  <a:lnTo>
                    <a:pt x="44" y="16"/>
                  </a:lnTo>
                  <a:lnTo>
                    <a:pt x="40" y="18"/>
                  </a:lnTo>
                  <a:lnTo>
                    <a:pt x="34" y="24"/>
                  </a:lnTo>
                  <a:lnTo>
                    <a:pt x="24" y="28"/>
                  </a:lnTo>
                  <a:lnTo>
                    <a:pt x="16" y="46"/>
                  </a:lnTo>
                  <a:lnTo>
                    <a:pt x="16" y="62"/>
                  </a:lnTo>
                  <a:lnTo>
                    <a:pt x="20" y="70"/>
                  </a:lnTo>
                  <a:lnTo>
                    <a:pt x="14" y="68"/>
                  </a:lnTo>
                  <a:lnTo>
                    <a:pt x="6" y="50"/>
                  </a:lnTo>
                  <a:lnTo>
                    <a:pt x="0" y="44"/>
                  </a:lnTo>
                  <a:lnTo>
                    <a:pt x="0" y="36"/>
                  </a:lnTo>
                  <a:lnTo>
                    <a:pt x="2" y="28"/>
                  </a:lnTo>
                  <a:lnTo>
                    <a:pt x="6" y="22"/>
                  </a:lnTo>
                  <a:lnTo>
                    <a:pt x="12" y="22"/>
                  </a:lnTo>
                  <a:lnTo>
                    <a:pt x="40" y="0"/>
                  </a:lnTo>
                  <a:lnTo>
                    <a:pt x="44" y="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47" name="Freeform 508"/>
            <p:cNvSpPr>
              <a:spLocks/>
            </p:cNvSpPr>
            <p:nvPr/>
          </p:nvSpPr>
          <p:spPr bwMode="auto">
            <a:xfrm>
              <a:off x="3802063" y="3465513"/>
              <a:ext cx="265113" cy="111125"/>
            </a:xfrm>
            <a:custGeom>
              <a:avLst/>
              <a:gdLst>
                <a:gd name="T0" fmla="*/ 44 w 154"/>
                <a:gd name="T1" fmla="*/ 0 h 70"/>
                <a:gd name="T2" fmla="*/ 52 w 154"/>
                <a:gd name="T3" fmla="*/ 4 h 70"/>
                <a:gd name="T4" fmla="*/ 66 w 154"/>
                <a:gd name="T5" fmla="*/ 4 h 70"/>
                <a:gd name="T6" fmla="*/ 104 w 154"/>
                <a:gd name="T7" fmla="*/ 14 h 70"/>
                <a:gd name="T8" fmla="*/ 120 w 154"/>
                <a:gd name="T9" fmla="*/ 12 h 70"/>
                <a:gd name="T10" fmla="*/ 130 w 154"/>
                <a:gd name="T11" fmla="*/ 18 h 70"/>
                <a:gd name="T12" fmla="*/ 140 w 154"/>
                <a:gd name="T13" fmla="*/ 10 h 70"/>
                <a:gd name="T14" fmla="*/ 150 w 154"/>
                <a:gd name="T15" fmla="*/ 10 h 70"/>
                <a:gd name="T16" fmla="*/ 154 w 154"/>
                <a:gd name="T17" fmla="*/ 12 h 70"/>
                <a:gd name="T18" fmla="*/ 154 w 154"/>
                <a:gd name="T19" fmla="*/ 18 h 70"/>
                <a:gd name="T20" fmla="*/ 148 w 154"/>
                <a:gd name="T21" fmla="*/ 24 h 70"/>
                <a:gd name="T22" fmla="*/ 142 w 154"/>
                <a:gd name="T23" fmla="*/ 24 h 70"/>
                <a:gd name="T24" fmla="*/ 138 w 154"/>
                <a:gd name="T25" fmla="*/ 22 h 70"/>
                <a:gd name="T26" fmla="*/ 132 w 154"/>
                <a:gd name="T27" fmla="*/ 24 h 70"/>
                <a:gd name="T28" fmla="*/ 122 w 154"/>
                <a:gd name="T29" fmla="*/ 24 h 70"/>
                <a:gd name="T30" fmla="*/ 108 w 154"/>
                <a:gd name="T31" fmla="*/ 18 h 70"/>
                <a:gd name="T32" fmla="*/ 60 w 154"/>
                <a:gd name="T33" fmla="*/ 14 h 70"/>
                <a:gd name="T34" fmla="*/ 56 w 154"/>
                <a:gd name="T35" fmla="*/ 12 h 70"/>
                <a:gd name="T36" fmla="*/ 56 w 154"/>
                <a:gd name="T37" fmla="*/ 10 h 70"/>
                <a:gd name="T38" fmla="*/ 54 w 154"/>
                <a:gd name="T39" fmla="*/ 8 h 70"/>
                <a:gd name="T40" fmla="*/ 52 w 154"/>
                <a:gd name="T41" fmla="*/ 14 h 70"/>
                <a:gd name="T42" fmla="*/ 50 w 154"/>
                <a:gd name="T43" fmla="*/ 16 h 70"/>
                <a:gd name="T44" fmla="*/ 44 w 154"/>
                <a:gd name="T45" fmla="*/ 16 h 70"/>
                <a:gd name="T46" fmla="*/ 40 w 154"/>
                <a:gd name="T47" fmla="*/ 18 h 70"/>
                <a:gd name="T48" fmla="*/ 34 w 154"/>
                <a:gd name="T49" fmla="*/ 24 h 70"/>
                <a:gd name="T50" fmla="*/ 24 w 154"/>
                <a:gd name="T51" fmla="*/ 28 h 70"/>
                <a:gd name="T52" fmla="*/ 16 w 154"/>
                <a:gd name="T53" fmla="*/ 46 h 70"/>
                <a:gd name="T54" fmla="*/ 16 w 154"/>
                <a:gd name="T55" fmla="*/ 62 h 70"/>
                <a:gd name="T56" fmla="*/ 20 w 154"/>
                <a:gd name="T57" fmla="*/ 70 h 70"/>
                <a:gd name="T58" fmla="*/ 14 w 154"/>
                <a:gd name="T59" fmla="*/ 68 h 70"/>
                <a:gd name="T60" fmla="*/ 6 w 154"/>
                <a:gd name="T61" fmla="*/ 50 h 70"/>
                <a:gd name="T62" fmla="*/ 0 w 154"/>
                <a:gd name="T63" fmla="*/ 44 h 70"/>
                <a:gd name="T64" fmla="*/ 0 w 154"/>
                <a:gd name="T65" fmla="*/ 36 h 70"/>
                <a:gd name="T66" fmla="*/ 2 w 154"/>
                <a:gd name="T67" fmla="*/ 28 h 70"/>
                <a:gd name="T68" fmla="*/ 6 w 154"/>
                <a:gd name="T69" fmla="*/ 22 h 70"/>
                <a:gd name="T70" fmla="*/ 12 w 154"/>
                <a:gd name="T71" fmla="*/ 22 h 70"/>
                <a:gd name="T72" fmla="*/ 40 w 154"/>
                <a:gd name="T73" fmla="*/ 0 h 70"/>
                <a:gd name="T74" fmla="*/ 44 w 154"/>
                <a:gd name="T7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70">
                  <a:moveTo>
                    <a:pt x="44" y="0"/>
                  </a:moveTo>
                  <a:lnTo>
                    <a:pt x="52" y="4"/>
                  </a:lnTo>
                  <a:lnTo>
                    <a:pt x="66" y="4"/>
                  </a:lnTo>
                  <a:lnTo>
                    <a:pt x="104" y="14"/>
                  </a:lnTo>
                  <a:lnTo>
                    <a:pt x="120" y="12"/>
                  </a:lnTo>
                  <a:lnTo>
                    <a:pt x="130" y="18"/>
                  </a:lnTo>
                  <a:lnTo>
                    <a:pt x="140" y="10"/>
                  </a:lnTo>
                  <a:lnTo>
                    <a:pt x="150" y="10"/>
                  </a:lnTo>
                  <a:lnTo>
                    <a:pt x="154" y="12"/>
                  </a:lnTo>
                  <a:lnTo>
                    <a:pt x="154" y="18"/>
                  </a:lnTo>
                  <a:lnTo>
                    <a:pt x="148" y="24"/>
                  </a:lnTo>
                  <a:lnTo>
                    <a:pt x="142" y="24"/>
                  </a:lnTo>
                  <a:lnTo>
                    <a:pt x="138" y="22"/>
                  </a:lnTo>
                  <a:lnTo>
                    <a:pt x="132" y="24"/>
                  </a:lnTo>
                  <a:lnTo>
                    <a:pt x="122" y="24"/>
                  </a:lnTo>
                  <a:lnTo>
                    <a:pt x="108" y="18"/>
                  </a:lnTo>
                  <a:lnTo>
                    <a:pt x="60" y="14"/>
                  </a:lnTo>
                  <a:lnTo>
                    <a:pt x="56" y="12"/>
                  </a:lnTo>
                  <a:lnTo>
                    <a:pt x="56" y="10"/>
                  </a:lnTo>
                  <a:lnTo>
                    <a:pt x="54" y="8"/>
                  </a:lnTo>
                  <a:lnTo>
                    <a:pt x="52" y="14"/>
                  </a:lnTo>
                  <a:lnTo>
                    <a:pt x="50" y="16"/>
                  </a:lnTo>
                  <a:lnTo>
                    <a:pt x="44" y="16"/>
                  </a:lnTo>
                  <a:lnTo>
                    <a:pt x="40" y="18"/>
                  </a:lnTo>
                  <a:lnTo>
                    <a:pt x="34" y="24"/>
                  </a:lnTo>
                  <a:lnTo>
                    <a:pt x="24" y="28"/>
                  </a:lnTo>
                  <a:lnTo>
                    <a:pt x="16" y="46"/>
                  </a:lnTo>
                  <a:lnTo>
                    <a:pt x="16" y="62"/>
                  </a:lnTo>
                  <a:lnTo>
                    <a:pt x="20" y="70"/>
                  </a:lnTo>
                  <a:lnTo>
                    <a:pt x="14" y="68"/>
                  </a:lnTo>
                  <a:lnTo>
                    <a:pt x="6" y="50"/>
                  </a:lnTo>
                  <a:lnTo>
                    <a:pt x="0" y="44"/>
                  </a:lnTo>
                  <a:lnTo>
                    <a:pt x="0" y="36"/>
                  </a:lnTo>
                  <a:lnTo>
                    <a:pt x="2" y="28"/>
                  </a:lnTo>
                  <a:lnTo>
                    <a:pt x="6" y="22"/>
                  </a:lnTo>
                  <a:lnTo>
                    <a:pt x="12" y="22"/>
                  </a:lnTo>
                  <a:lnTo>
                    <a:pt x="40" y="0"/>
                  </a:lnTo>
                  <a:lnTo>
                    <a:pt x="44"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48" name="Freeform 509"/>
            <p:cNvSpPr>
              <a:spLocks/>
            </p:cNvSpPr>
            <p:nvPr/>
          </p:nvSpPr>
          <p:spPr bwMode="auto">
            <a:xfrm>
              <a:off x="2657476" y="2170113"/>
              <a:ext cx="88900" cy="95250"/>
            </a:xfrm>
            <a:custGeom>
              <a:avLst/>
              <a:gdLst>
                <a:gd name="T0" fmla="*/ 46 w 52"/>
                <a:gd name="T1" fmla="*/ 4 h 60"/>
                <a:gd name="T2" fmla="*/ 46 w 52"/>
                <a:gd name="T3" fmla="*/ 4 h 60"/>
                <a:gd name="T4" fmla="*/ 48 w 52"/>
                <a:gd name="T5" fmla="*/ 6 h 60"/>
                <a:gd name="T6" fmla="*/ 48 w 52"/>
                <a:gd name="T7" fmla="*/ 10 h 60"/>
                <a:gd name="T8" fmla="*/ 48 w 52"/>
                <a:gd name="T9" fmla="*/ 24 h 60"/>
                <a:gd name="T10" fmla="*/ 52 w 52"/>
                <a:gd name="T11" fmla="*/ 30 h 60"/>
                <a:gd name="T12" fmla="*/ 52 w 52"/>
                <a:gd name="T13" fmla="*/ 36 h 60"/>
                <a:gd name="T14" fmla="*/ 48 w 52"/>
                <a:gd name="T15" fmla="*/ 44 h 60"/>
                <a:gd name="T16" fmla="*/ 48 w 52"/>
                <a:gd name="T17" fmla="*/ 46 h 60"/>
                <a:gd name="T18" fmla="*/ 46 w 52"/>
                <a:gd name="T19" fmla="*/ 48 h 60"/>
                <a:gd name="T20" fmla="*/ 46 w 52"/>
                <a:gd name="T21" fmla="*/ 52 h 60"/>
                <a:gd name="T22" fmla="*/ 42 w 52"/>
                <a:gd name="T23" fmla="*/ 54 h 60"/>
                <a:gd name="T24" fmla="*/ 38 w 52"/>
                <a:gd name="T25" fmla="*/ 54 h 60"/>
                <a:gd name="T26" fmla="*/ 36 w 52"/>
                <a:gd name="T27" fmla="*/ 58 h 60"/>
                <a:gd name="T28" fmla="*/ 26 w 52"/>
                <a:gd name="T29" fmla="*/ 60 h 60"/>
                <a:gd name="T30" fmla="*/ 24 w 52"/>
                <a:gd name="T31" fmla="*/ 58 h 60"/>
                <a:gd name="T32" fmla="*/ 24 w 52"/>
                <a:gd name="T33" fmla="*/ 56 h 60"/>
                <a:gd name="T34" fmla="*/ 22 w 52"/>
                <a:gd name="T35" fmla="*/ 54 h 60"/>
                <a:gd name="T36" fmla="*/ 18 w 52"/>
                <a:gd name="T37" fmla="*/ 52 h 60"/>
                <a:gd name="T38" fmla="*/ 14 w 52"/>
                <a:gd name="T39" fmla="*/ 52 h 60"/>
                <a:gd name="T40" fmla="*/ 10 w 52"/>
                <a:gd name="T41" fmla="*/ 52 h 60"/>
                <a:gd name="T42" fmla="*/ 8 w 52"/>
                <a:gd name="T43" fmla="*/ 56 h 60"/>
                <a:gd name="T44" fmla="*/ 6 w 52"/>
                <a:gd name="T45" fmla="*/ 56 h 60"/>
                <a:gd name="T46" fmla="*/ 2 w 52"/>
                <a:gd name="T47" fmla="*/ 54 h 60"/>
                <a:gd name="T48" fmla="*/ 0 w 52"/>
                <a:gd name="T49" fmla="*/ 50 h 60"/>
                <a:gd name="T50" fmla="*/ 12 w 52"/>
                <a:gd name="T51" fmla="*/ 36 h 60"/>
                <a:gd name="T52" fmla="*/ 14 w 52"/>
                <a:gd name="T53" fmla="*/ 32 h 60"/>
                <a:gd name="T54" fmla="*/ 14 w 52"/>
                <a:gd name="T55" fmla="*/ 22 h 60"/>
                <a:gd name="T56" fmla="*/ 16 w 52"/>
                <a:gd name="T57" fmla="*/ 22 h 60"/>
                <a:gd name="T58" fmla="*/ 18 w 52"/>
                <a:gd name="T59" fmla="*/ 16 h 60"/>
                <a:gd name="T60" fmla="*/ 20 w 52"/>
                <a:gd name="T61" fmla="*/ 14 h 60"/>
                <a:gd name="T62" fmla="*/ 18 w 52"/>
                <a:gd name="T63" fmla="*/ 10 h 60"/>
                <a:gd name="T64" fmla="*/ 16 w 52"/>
                <a:gd name="T65" fmla="*/ 10 h 60"/>
                <a:gd name="T66" fmla="*/ 24 w 52"/>
                <a:gd name="T67" fmla="*/ 4 h 60"/>
                <a:gd name="T68" fmla="*/ 28 w 52"/>
                <a:gd name="T69" fmla="*/ 2 h 60"/>
                <a:gd name="T70" fmla="*/ 30 w 52"/>
                <a:gd name="T71" fmla="*/ 0 h 60"/>
                <a:gd name="T72" fmla="*/ 32 w 52"/>
                <a:gd name="T73" fmla="*/ 0 h 60"/>
                <a:gd name="T74" fmla="*/ 34 w 52"/>
                <a:gd name="T75" fmla="*/ 2 h 60"/>
                <a:gd name="T76" fmla="*/ 36 w 52"/>
                <a:gd name="T77" fmla="*/ 0 h 60"/>
                <a:gd name="T78" fmla="*/ 42 w 52"/>
                <a:gd name="T79" fmla="*/ 2 h 60"/>
                <a:gd name="T80" fmla="*/ 46 w 52"/>
                <a:gd name="T81"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60">
                  <a:moveTo>
                    <a:pt x="46" y="4"/>
                  </a:moveTo>
                  <a:lnTo>
                    <a:pt x="46" y="4"/>
                  </a:lnTo>
                  <a:lnTo>
                    <a:pt x="48" y="6"/>
                  </a:lnTo>
                  <a:lnTo>
                    <a:pt x="48" y="10"/>
                  </a:lnTo>
                  <a:lnTo>
                    <a:pt x="48" y="24"/>
                  </a:lnTo>
                  <a:lnTo>
                    <a:pt x="52" y="30"/>
                  </a:lnTo>
                  <a:lnTo>
                    <a:pt x="52" y="36"/>
                  </a:lnTo>
                  <a:lnTo>
                    <a:pt x="48" y="44"/>
                  </a:lnTo>
                  <a:lnTo>
                    <a:pt x="48" y="46"/>
                  </a:lnTo>
                  <a:lnTo>
                    <a:pt x="46" y="48"/>
                  </a:lnTo>
                  <a:lnTo>
                    <a:pt x="46" y="52"/>
                  </a:lnTo>
                  <a:lnTo>
                    <a:pt x="42" y="54"/>
                  </a:lnTo>
                  <a:lnTo>
                    <a:pt x="38" y="54"/>
                  </a:lnTo>
                  <a:lnTo>
                    <a:pt x="36" y="58"/>
                  </a:lnTo>
                  <a:lnTo>
                    <a:pt x="26" y="60"/>
                  </a:lnTo>
                  <a:lnTo>
                    <a:pt x="24" y="58"/>
                  </a:lnTo>
                  <a:lnTo>
                    <a:pt x="24" y="56"/>
                  </a:lnTo>
                  <a:lnTo>
                    <a:pt x="22" y="54"/>
                  </a:lnTo>
                  <a:lnTo>
                    <a:pt x="18" y="52"/>
                  </a:lnTo>
                  <a:lnTo>
                    <a:pt x="14" y="52"/>
                  </a:lnTo>
                  <a:lnTo>
                    <a:pt x="10" y="52"/>
                  </a:lnTo>
                  <a:lnTo>
                    <a:pt x="8" y="56"/>
                  </a:lnTo>
                  <a:lnTo>
                    <a:pt x="6" y="56"/>
                  </a:lnTo>
                  <a:lnTo>
                    <a:pt x="2" y="54"/>
                  </a:lnTo>
                  <a:lnTo>
                    <a:pt x="0" y="50"/>
                  </a:lnTo>
                  <a:lnTo>
                    <a:pt x="12" y="36"/>
                  </a:lnTo>
                  <a:lnTo>
                    <a:pt x="14" y="32"/>
                  </a:lnTo>
                  <a:lnTo>
                    <a:pt x="14" y="22"/>
                  </a:lnTo>
                  <a:lnTo>
                    <a:pt x="16" y="22"/>
                  </a:lnTo>
                  <a:lnTo>
                    <a:pt x="18" y="16"/>
                  </a:lnTo>
                  <a:lnTo>
                    <a:pt x="20" y="14"/>
                  </a:lnTo>
                  <a:lnTo>
                    <a:pt x="18" y="10"/>
                  </a:lnTo>
                  <a:lnTo>
                    <a:pt x="16" y="10"/>
                  </a:lnTo>
                  <a:lnTo>
                    <a:pt x="24" y="4"/>
                  </a:lnTo>
                  <a:lnTo>
                    <a:pt x="28" y="2"/>
                  </a:lnTo>
                  <a:lnTo>
                    <a:pt x="30" y="0"/>
                  </a:lnTo>
                  <a:lnTo>
                    <a:pt x="32" y="0"/>
                  </a:lnTo>
                  <a:lnTo>
                    <a:pt x="34" y="2"/>
                  </a:lnTo>
                  <a:lnTo>
                    <a:pt x="36" y="0"/>
                  </a:lnTo>
                  <a:lnTo>
                    <a:pt x="42" y="2"/>
                  </a:lnTo>
                  <a:lnTo>
                    <a:pt x="46" y="4"/>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49" name="Freeform 510"/>
            <p:cNvSpPr>
              <a:spLocks/>
            </p:cNvSpPr>
            <p:nvPr/>
          </p:nvSpPr>
          <p:spPr bwMode="auto">
            <a:xfrm>
              <a:off x="2657476" y="2170113"/>
              <a:ext cx="88900" cy="95250"/>
            </a:xfrm>
            <a:custGeom>
              <a:avLst/>
              <a:gdLst>
                <a:gd name="T0" fmla="*/ 46 w 52"/>
                <a:gd name="T1" fmla="*/ 4 h 60"/>
                <a:gd name="T2" fmla="*/ 46 w 52"/>
                <a:gd name="T3" fmla="*/ 4 h 60"/>
                <a:gd name="T4" fmla="*/ 48 w 52"/>
                <a:gd name="T5" fmla="*/ 6 h 60"/>
                <a:gd name="T6" fmla="*/ 48 w 52"/>
                <a:gd name="T7" fmla="*/ 10 h 60"/>
                <a:gd name="T8" fmla="*/ 48 w 52"/>
                <a:gd name="T9" fmla="*/ 24 h 60"/>
                <a:gd name="T10" fmla="*/ 52 w 52"/>
                <a:gd name="T11" fmla="*/ 30 h 60"/>
                <a:gd name="T12" fmla="*/ 52 w 52"/>
                <a:gd name="T13" fmla="*/ 36 h 60"/>
                <a:gd name="T14" fmla="*/ 48 w 52"/>
                <a:gd name="T15" fmla="*/ 44 h 60"/>
                <a:gd name="T16" fmla="*/ 48 w 52"/>
                <a:gd name="T17" fmla="*/ 46 h 60"/>
                <a:gd name="T18" fmla="*/ 46 w 52"/>
                <a:gd name="T19" fmla="*/ 48 h 60"/>
                <a:gd name="T20" fmla="*/ 46 w 52"/>
                <a:gd name="T21" fmla="*/ 52 h 60"/>
                <a:gd name="T22" fmla="*/ 42 w 52"/>
                <a:gd name="T23" fmla="*/ 54 h 60"/>
                <a:gd name="T24" fmla="*/ 38 w 52"/>
                <a:gd name="T25" fmla="*/ 54 h 60"/>
                <a:gd name="T26" fmla="*/ 36 w 52"/>
                <a:gd name="T27" fmla="*/ 58 h 60"/>
                <a:gd name="T28" fmla="*/ 26 w 52"/>
                <a:gd name="T29" fmla="*/ 60 h 60"/>
                <a:gd name="T30" fmla="*/ 24 w 52"/>
                <a:gd name="T31" fmla="*/ 58 h 60"/>
                <a:gd name="T32" fmla="*/ 24 w 52"/>
                <a:gd name="T33" fmla="*/ 56 h 60"/>
                <a:gd name="T34" fmla="*/ 22 w 52"/>
                <a:gd name="T35" fmla="*/ 54 h 60"/>
                <a:gd name="T36" fmla="*/ 18 w 52"/>
                <a:gd name="T37" fmla="*/ 52 h 60"/>
                <a:gd name="T38" fmla="*/ 14 w 52"/>
                <a:gd name="T39" fmla="*/ 52 h 60"/>
                <a:gd name="T40" fmla="*/ 10 w 52"/>
                <a:gd name="T41" fmla="*/ 52 h 60"/>
                <a:gd name="T42" fmla="*/ 8 w 52"/>
                <a:gd name="T43" fmla="*/ 56 h 60"/>
                <a:gd name="T44" fmla="*/ 6 w 52"/>
                <a:gd name="T45" fmla="*/ 56 h 60"/>
                <a:gd name="T46" fmla="*/ 2 w 52"/>
                <a:gd name="T47" fmla="*/ 54 h 60"/>
                <a:gd name="T48" fmla="*/ 0 w 52"/>
                <a:gd name="T49" fmla="*/ 50 h 60"/>
                <a:gd name="T50" fmla="*/ 12 w 52"/>
                <a:gd name="T51" fmla="*/ 36 h 60"/>
                <a:gd name="T52" fmla="*/ 14 w 52"/>
                <a:gd name="T53" fmla="*/ 32 h 60"/>
                <a:gd name="T54" fmla="*/ 14 w 52"/>
                <a:gd name="T55" fmla="*/ 22 h 60"/>
                <a:gd name="T56" fmla="*/ 16 w 52"/>
                <a:gd name="T57" fmla="*/ 22 h 60"/>
                <a:gd name="T58" fmla="*/ 18 w 52"/>
                <a:gd name="T59" fmla="*/ 16 h 60"/>
                <a:gd name="T60" fmla="*/ 20 w 52"/>
                <a:gd name="T61" fmla="*/ 14 h 60"/>
                <a:gd name="T62" fmla="*/ 18 w 52"/>
                <a:gd name="T63" fmla="*/ 10 h 60"/>
                <a:gd name="T64" fmla="*/ 16 w 52"/>
                <a:gd name="T65" fmla="*/ 10 h 60"/>
                <a:gd name="T66" fmla="*/ 24 w 52"/>
                <a:gd name="T67" fmla="*/ 4 h 60"/>
                <a:gd name="T68" fmla="*/ 28 w 52"/>
                <a:gd name="T69" fmla="*/ 2 h 60"/>
                <a:gd name="T70" fmla="*/ 30 w 52"/>
                <a:gd name="T71" fmla="*/ 0 h 60"/>
                <a:gd name="T72" fmla="*/ 32 w 52"/>
                <a:gd name="T73" fmla="*/ 0 h 60"/>
                <a:gd name="T74" fmla="*/ 34 w 52"/>
                <a:gd name="T75" fmla="*/ 2 h 60"/>
                <a:gd name="T76" fmla="*/ 36 w 52"/>
                <a:gd name="T77" fmla="*/ 0 h 60"/>
                <a:gd name="T78" fmla="*/ 42 w 52"/>
                <a:gd name="T79" fmla="*/ 2 h 60"/>
                <a:gd name="T80" fmla="*/ 46 w 52"/>
                <a:gd name="T81"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60">
                  <a:moveTo>
                    <a:pt x="46" y="4"/>
                  </a:moveTo>
                  <a:lnTo>
                    <a:pt x="46" y="4"/>
                  </a:lnTo>
                  <a:lnTo>
                    <a:pt x="48" y="6"/>
                  </a:lnTo>
                  <a:lnTo>
                    <a:pt x="48" y="10"/>
                  </a:lnTo>
                  <a:lnTo>
                    <a:pt x="48" y="24"/>
                  </a:lnTo>
                  <a:lnTo>
                    <a:pt x="52" y="30"/>
                  </a:lnTo>
                  <a:lnTo>
                    <a:pt x="52" y="36"/>
                  </a:lnTo>
                  <a:lnTo>
                    <a:pt x="48" y="44"/>
                  </a:lnTo>
                  <a:lnTo>
                    <a:pt x="48" y="46"/>
                  </a:lnTo>
                  <a:lnTo>
                    <a:pt x="46" y="48"/>
                  </a:lnTo>
                  <a:lnTo>
                    <a:pt x="46" y="52"/>
                  </a:lnTo>
                  <a:lnTo>
                    <a:pt x="42" y="54"/>
                  </a:lnTo>
                  <a:lnTo>
                    <a:pt x="38" y="54"/>
                  </a:lnTo>
                  <a:lnTo>
                    <a:pt x="36" y="58"/>
                  </a:lnTo>
                  <a:lnTo>
                    <a:pt x="26" y="60"/>
                  </a:lnTo>
                  <a:lnTo>
                    <a:pt x="24" y="58"/>
                  </a:lnTo>
                  <a:lnTo>
                    <a:pt x="24" y="56"/>
                  </a:lnTo>
                  <a:lnTo>
                    <a:pt x="22" y="54"/>
                  </a:lnTo>
                  <a:lnTo>
                    <a:pt x="18" y="52"/>
                  </a:lnTo>
                  <a:lnTo>
                    <a:pt x="14" y="52"/>
                  </a:lnTo>
                  <a:lnTo>
                    <a:pt x="10" y="52"/>
                  </a:lnTo>
                  <a:lnTo>
                    <a:pt x="8" y="56"/>
                  </a:lnTo>
                  <a:lnTo>
                    <a:pt x="6" y="56"/>
                  </a:lnTo>
                  <a:lnTo>
                    <a:pt x="2" y="54"/>
                  </a:lnTo>
                  <a:lnTo>
                    <a:pt x="0" y="50"/>
                  </a:lnTo>
                  <a:lnTo>
                    <a:pt x="12" y="36"/>
                  </a:lnTo>
                  <a:lnTo>
                    <a:pt x="14" y="32"/>
                  </a:lnTo>
                  <a:lnTo>
                    <a:pt x="14" y="22"/>
                  </a:lnTo>
                  <a:lnTo>
                    <a:pt x="16" y="22"/>
                  </a:lnTo>
                  <a:lnTo>
                    <a:pt x="18" y="16"/>
                  </a:lnTo>
                  <a:lnTo>
                    <a:pt x="20" y="14"/>
                  </a:lnTo>
                  <a:lnTo>
                    <a:pt x="18" y="10"/>
                  </a:lnTo>
                  <a:lnTo>
                    <a:pt x="16" y="10"/>
                  </a:lnTo>
                  <a:lnTo>
                    <a:pt x="24" y="4"/>
                  </a:lnTo>
                  <a:lnTo>
                    <a:pt x="28" y="2"/>
                  </a:lnTo>
                  <a:lnTo>
                    <a:pt x="30" y="0"/>
                  </a:lnTo>
                  <a:lnTo>
                    <a:pt x="32" y="0"/>
                  </a:lnTo>
                  <a:lnTo>
                    <a:pt x="34" y="2"/>
                  </a:lnTo>
                  <a:lnTo>
                    <a:pt x="36" y="0"/>
                  </a:lnTo>
                  <a:lnTo>
                    <a:pt x="42" y="2"/>
                  </a:lnTo>
                  <a:lnTo>
                    <a:pt x="46" y="4"/>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50" name="Freeform 511"/>
            <p:cNvSpPr>
              <a:spLocks/>
            </p:cNvSpPr>
            <p:nvPr/>
          </p:nvSpPr>
          <p:spPr bwMode="auto">
            <a:xfrm>
              <a:off x="5081588" y="2814638"/>
              <a:ext cx="155575" cy="298450"/>
            </a:xfrm>
            <a:custGeom>
              <a:avLst/>
              <a:gdLst>
                <a:gd name="T0" fmla="*/ 68 w 90"/>
                <a:gd name="T1" fmla="*/ 0 h 188"/>
                <a:gd name="T2" fmla="*/ 70 w 90"/>
                <a:gd name="T3" fmla="*/ 0 h 188"/>
                <a:gd name="T4" fmla="*/ 74 w 90"/>
                <a:gd name="T5" fmla="*/ 0 h 188"/>
                <a:gd name="T6" fmla="*/ 76 w 90"/>
                <a:gd name="T7" fmla="*/ 4 h 188"/>
                <a:gd name="T8" fmla="*/ 90 w 90"/>
                <a:gd name="T9" fmla="*/ 64 h 188"/>
                <a:gd name="T10" fmla="*/ 88 w 90"/>
                <a:gd name="T11" fmla="*/ 78 h 188"/>
                <a:gd name="T12" fmla="*/ 86 w 90"/>
                <a:gd name="T13" fmla="*/ 72 h 188"/>
                <a:gd name="T14" fmla="*/ 82 w 90"/>
                <a:gd name="T15" fmla="*/ 76 h 188"/>
                <a:gd name="T16" fmla="*/ 80 w 90"/>
                <a:gd name="T17" fmla="*/ 86 h 188"/>
                <a:gd name="T18" fmla="*/ 82 w 90"/>
                <a:gd name="T19" fmla="*/ 86 h 188"/>
                <a:gd name="T20" fmla="*/ 86 w 90"/>
                <a:gd name="T21" fmla="*/ 82 h 188"/>
                <a:gd name="T22" fmla="*/ 88 w 90"/>
                <a:gd name="T23" fmla="*/ 88 h 188"/>
                <a:gd name="T24" fmla="*/ 82 w 90"/>
                <a:gd name="T25" fmla="*/ 98 h 188"/>
                <a:gd name="T26" fmla="*/ 82 w 90"/>
                <a:gd name="T27" fmla="*/ 108 h 188"/>
                <a:gd name="T28" fmla="*/ 78 w 90"/>
                <a:gd name="T29" fmla="*/ 116 h 188"/>
                <a:gd name="T30" fmla="*/ 62 w 90"/>
                <a:gd name="T31" fmla="*/ 128 h 188"/>
                <a:gd name="T32" fmla="*/ 60 w 90"/>
                <a:gd name="T33" fmla="*/ 136 h 188"/>
                <a:gd name="T34" fmla="*/ 52 w 90"/>
                <a:gd name="T35" fmla="*/ 142 h 188"/>
                <a:gd name="T36" fmla="*/ 48 w 90"/>
                <a:gd name="T37" fmla="*/ 162 h 188"/>
                <a:gd name="T38" fmla="*/ 42 w 90"/>
                <a:gd name="T39" fmla="*/ 172 h 188"/>
                <a:gd name="T40" fmla="*/ 22 w 90"/>
                <a:gd name="T41" fmla="*/ 186 h 188"/>
                <a:gd name="T42" fmla="*/ 6 w 90"/>
                <a:gd name="T43" fmla="*/ 188 h 188"/>
                <a:gd name="T44" fmla="*/ 0 w 90"/>
                <a:gd name="T45" fmla="*/ 184 h 188"/>
                <a:gd name="T46" fmla="*/ 0 w 90"/>
                <a:gd name="T47" fmla="*/ 182 h 188"/>
                <a:gd name="T48" fmla="*/ 14 w 90"/>
                <a:gd name="T49" fmla="*/ 174 h 188"/>
                <a:gd name="T50" fmla="*/ 18 w 90"/>
                <a:gd name="T51" fmla="*/ 172 h 188"/>
                <a:gd name="T52" fmla="*/ 28 w 90"/>
                <a:gd name="T53" fmla="*/ 166 h 188"/>
                <a:gd name="T54" fmla="*/ 66 w 90"/>
                <a:gd name="T55" fmla="*/ 98 h 188"/>
                <a:gd name="T56" fmla="*/ 56 w 90"/>
                <a:gd name="T57" fmla="*/ 110 h 188"/>
                <a:gd name="T58" fmla="*/ 52 w 90"/>
                <a:gd name="T59" fmla="*/ 114 h 188"/>
                <a:gd name="T60" fmla="*/ 52 w 90"/>
                <a:gd name="T61" fmla="*/ 104 h 188"/>
                <a:gd name="T62" fmla="*/ 56 w 90"/>
                <a:gd name="T63" fmla="*/ 98 h 188"/>
                <a:gd name="T64" fmla="*/ 68 w 90"/>
                <a:gd name="T65" fmla="*/ 20 h 188"/>
                <a:gd name="T66" fmla="*/ 64 w 90"/>
                <a:gd name="T67" fmla="*/ 8 h 188"/>
                <a:gd name="T68" fmla="*/ 66 w 90"/>
                <a:gd name="T69" fmla="*/ 4 h 188"/>
                <a:gd name="T70" fmla="*/ 66 w 90"/>
                <a:gd name="T71" fmla="*/ 2 h 188"/>
                <a:gd name="T72" fmla="*/ 68 w 90"/>
                <a:gd name="T7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88">
                  <a:moveTo>
                    <a:pt x="68" y="0"/>
                  </a:moveTo>
                  <a:lnTo>
                    <a:pt x="70" y="0"/>
                  </a:lnTo>
                  <a:lnTo>
                    <a:pt x="74" y="0"/>
                  </a:lnTo>
                  <a:lnTo>
                    <a:pt x="76" y="4"/>
                  </a:lnTo>
                  <a:lnTo>
                    <a:pt x="90" y="64"/>
                  </a:lnTo>
                  <a:lnTo>
                    <a:pt x="88" y="78"/>
                  </a:lnTo>
                  <a:lnTo>
                    <a:pt x="86" y="72"/>
                  </a:lnTo>
                  <a:lnTo>
                    <a:pt x="82" y="76"/>
                  </a:lnTo>
                  <a:lnTo>
                    <a:pt x="80" y="86"/>
                  </a:lnTo>
                  <a:lnTo>
                    <a:pt x="82" y="86"/>
                  </a:lnTo>
                  <a:lnTo>
                    <a:pt x="86" y="82"/>
                  </a:lnTo>
                  <a:lnTo>
                    <a:pt x="88" y="88"/>
                  </a:lnTo>
                  <a:lnTo>
                    <a:pt x="82" y="98"/>
                  </a:lnTo>
                  <a:lnTo>
                    <a:pt x="82" y="108"/>
                  </a:lnTo>
                  <a:lnTo>
                    <a:pt x="78" y="116"/>
                  </a:lnTo>
                  <a:lnTo>
                    <a:pt x="62" y="128"/>
                  </a:lnTo>
                  <a:lnTo>
                    <a:pt x="60" y="136"/>
                  </a:lnTo>
                  <a:lnTo>
                    <a:pt x="52" y="142"/>
                  </a:lnTo>
                  <a:lnTo>
                    <a:pt x="48" y="162"/>
                  </a:lnTo>
                  <a:lnTo>
                    <a:pt x="42" y="172"/>
                  </a:lnTo>
                  <a:lnTo>
                    <a:pt x="22" y="186"/>
                  </a:lnTo>
                  <a:lnTo>
                    <a:pt x="6" y="188"/>
                  </a:lnTo>
                  <a:lnTo>
                    <a:pt x="0" y="184"/>
                  </a:lnTo>
                  <a:lnTo>
                    <a:pt x="0" y="182"/>
                  </a:lnTo>
                  <a:lnTo>
                    <a:pt x="14" y="174"/>
                  </a:lnTo>
                  <a:lnTo>
                    <a:pt x="18" y="172"/>
                  </a:lnTo>
                  <a:lnTo>
                    <a:pt x="28" y="166"/>
                  </a:lnTo>
                  <a:lnTo>
                    <a:pt x="66" y="98"/>
                  </a:lnTo>
                  <a:lnTo>
                    <a:pt x="56" y="110"/>
                  </a:lnTo>
                  <a:lnTo>
                    <a:pt x="52" y="114"/>
                  </a:lnTo>
                  <a:lnTo>
                    <a:pt x="52" y="104"/>
                  </a:lnTo>
                  <a:lnTo>
                    <a:pt x="56" y="98"/>
                  </a:lnTo>
                  <a:lnTo>
                    <a:pt x="68" y="20"/>
                  </a:lnTo>
                  <a:lnTo>
                    <a:pt x="64" y="8"/>
                  </a:lnTo>
                  <a:lnTo>
                    <a:pt x="66" y="4"/>
                  </a:lnTo>
                  <a:lnTo>
                    <a:pt x="66" y="2"/>
                  </a:lnTo>
                  <a:lnTo>
                    <a:pt x="68" y="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51" name="Freeform 512"/>
            <p:cNvSpPr>
              <a:spLocks/>
            </p:cNvSpPr>
            <p:nvPr/>
          </p:nvSpPr>
          <p:spPr bwMode="auto">
            <a:xfrm>
              <a:off x="5081588" y="2814638"/>
              <a:ext cx="155575" cy="298450"/>
            </a:xfrm>
            <a:custGeom>
              <a:avLst/>
              <a:gdLst>
                <a:gd name="T0" fmla="*/ 68 w 90"/>
                <a:gd name="T1" fmla="*/ 0 h 188"/>
                <a:gd name="T2" fmla="*/ 70 w 90"/>
                <a:gd name="T3" fmla="*/ 0 h 188"/>
                <a:gd name="T4" fmla="*/ 74 w 90"/>
                <a:gd name="T5" fmla="*/ 0 h 188"/>
                <a:gd name="T6" fmla="*/ 76 w 90"/>
                <a:gd name="T7" fmla="*/ 4 h 188"/>
                <a:gd name="T8" fmla="*/ 90 w 90"/>
                <a:gd name="T9" fmla="*/ 64 h 188"/>
                <a:gd name="T10" fmla="*/ 88 w 90"/>
                <a:gd name="T11" fmla="*/ 78 h 188"/>
                <a:gd name="T12" fmla="*/ 86 w 90"/>
                <a:gd name="T13" fmla="*/ 72 h 188"/>
                <a:gd name="T14" fmla="*/ 82 w 90"/>
                <a:gd name="T15" fmla="*/ 76 h 188"/>
                <a:gd name="T16" fmla="*/ 80 w 90"/>
                <a:gd name="T17" fmla="*/ 86 h 188"/>
                <a:gd name="T18" fmla="*/ 82 w 90"/>
                <a:gd name="T19" fmla="*/ 86 h 188"/>
                <a:gd name="T20" fmla="*/ 86 w 90"/>
                <a:gd name="T21" fmla="*/ 82 h 188"/>
                <a:gd name="T22" fmla="*/ 88 w 90"/>
                <a:gd name="T23" fmla="*/ 88 h 188"/>
                <a:gd name="T24" fmla="*/ 82 w 90"/>
                <a:gd name="T25" fmla="*/ 98 h 188"/>
                <a:gd name="T26" fmla="*/ 82 w 90"/>
                <a:gd name="T27" fmla="*/ 108 h 188"/>
                <a:gd name="T28" fmla="*/ 78 w 90"/>
                <a:gd name="T29" fmla="*/ 116 h 188"/>
                <a:gd name="T30" fmla="*/ 62 w 90"/>
                <a:gd name="T31" fmla="*/ 128 h 188"/>
                <a:gd name="T32" fmla="*/ 60 w 90"/>
                <a:gd name="T33" fmla="*/ 136 h 188"/>
                <a:gd name="T34" fmla="*/ 52 w 90"/>
                <a:gd name="T35" fmla="*/ 142 h 188"/>
                <a:gd name="T36" fmla="*/ 48 w 90"/>
                <a:gd name="T37" fmla="*/ 162 h 188"/>
                <a:gd name="T38" fmla="*/ 42 w 90"/>
                <a:gd name="T39" fmla="*/ 172 h 188"/>
                <a:gd name="T40" fmla="*/ 22 w 90"/>
                <a:gd name="T41" fmla="*/ 186 h 188"/>
                <a:gd name="T42" fmla="*/ 6 w 90"/>
                <a:gd name="T43" fmla="*/ 188 h 188"/>
                <a:gd name="T44" fmla="*/ 0 w 90"/>
                <a:gd name="T45" fmla="*/ 184 h 188"/>
                <a:gd name="T46" fmla="*/ 0 w 90"/>
                <a:gd name="T47" fmla="*/ 182 h 188"/>
                <a:gd name="T48" fmla="*/ 14 w 90"/>
                <a:gd name="T49" fmla="*/ 174 h 188"/>
                <a:gd name="T50" fmla="*/ 18 w 90"/>
                <a:gd name="T51" fmla="*/ 172 h 188"/>
                <a:gd name="T52" fmla="*/ 28 w 90"/>
                <a:gd name="T53" fmla="*/ 166 h 188"/>
                <a:gd name="T54" fmla="*/ 66 w 90"/>
                <a:gd name="T55" fmla="*/ 98 h 188"/>
                <a:gd name="T56" fmla="*/ 56 w 90"/>
                <a:gd name="T57" fmla="*/ 110 h 188"/>
                <a:gd name="T58" fmla="*/ 52 w 90"/>
                <a:gd name="T59" fmla="*/ 114 h 188"/>
                <a:gd name="T60" fmla="*/ 52 w 90"/>
                <a:gd name="T61" fmla="*/ 104 h 188"/>
                <a:gd name="T62" fmla="*/ 56 w 90"/>
                <a:gd name="T63" fmla="*/ 98 h 188"/>
                <a:gd name="T64" fmla="*/ 68 w 90"/>
                <a:gd name="T65" fmla="*/ 20 h 188"/>
                <a:gd name="T66" fmla="*/ 64 w 90"/>
                <a:gd name="T67" fmla="*/ 8 h 188"/>
                <a:gd name="T68" fmla="*/ 66 w 90"/>
                <a:gd name="T69" fmla="*/ 4 h 188"/>
                <a:gd name="T70" fmla="*/ 66 w 90"/>
                <a:gd name="T71" fmla="*/ 2 h 188"/>
                <a:gd name="T72" fmla="*/ 68 w 90"/>
                <a:gd name="T7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88">
                  <a:moveTo>
                    <a:pt x="68" y="0"/>
                  </a:moveTo>
                  <a:lnTo>
                    <a:pt x="70" y="0"/>
                  </a:lnTo>
                  <a:lnTo>
                    <a:pt x="74" y="0"/>
                  </a:lnTo>
                  <a:lnTo>
                    <a:pt x="76" y="4"/>
                  </a:lnTo>
                  <a:lnTo>
                    <a:pt x="90" y="64"/>
                  </a:lnTo>
                  <a:lnTo>
                    <a:pt x="88" y="78"/>
                  </a:lnTo>
                  <a:lnTo>
                    <a:pt x="86" y="72"/>
                  </a:lnTo>
                  <a:lnTo>
                    <a:pt x="82" y="76"/>
                  </a:lnTo>
                  <a:lnTo>
                    <a:pt x="80" y="86"/>
                  </a:lnTo>
                  <a:lnTo>
                    <a:pt x="82" y="86"/>
                  </a:lnTo>
                  <a:lnTo>
                    <a:pt x="86" y="82"/>
                  </a:lnTo>
                  <a:lnTo>
                    <a:pt x="88" y="88"/>
                  </a:lnTo>
                  <a:lnTo>
                    <a:pt x="82" y="98"/>
                  </a:lnTo>
                  <a:lnTo>
                    <a:pt x="82" y="108"/>
                  </a:lnTo>
                  <a:lnTo>
                    <a:pt x="78" y="116"/>
                  </a:lnTo>
                  <a:lnTo>
                    <a:pt x="62" y="128"/>
                  </a:lnTo>
                  <a:lnTo>
                    <a:pt x="60" y="136"/>
                  </a:lnTo>
                  <a:lnTo>
                    <a:pt x="52" y="142"/>
                  </a:lnTo>
                  <a:lnTo>
                    <a:pt x="48" y="162"/>
                  </a:lnTo>
                  <a:lnTo>
                    <a:pt x="42" y="172"/>
                  </a:lnTo>
                  <a:lnTo>
                    <a:pt x="22" y="186"/>
                  </a:lnTo>
                  <a:lnTo>
                    <a:pt x="6" y="188"/>
                  </a:lnTo>
                  <a:lnTo>
                    <a:pt x="0" y="184"/>
                  </a:lnTo>
                  <a:lnTo>
                    <a:pt x="0" y="182"/>
                  </a:lnTo>
                  <a:lnTo>
                    <a:pt x="14" y="174"/>
                  </a:lnTo>
                  <a:lnTo>
                    <a:pt x="18" y="172"/>
                  </a:lnTo>
                  <a:lnTo>
                    <a:pt x="28" y="166"/>
                  </a:lnTo>
                  <a:lnTo>
                    <a:pt x="66" y="98"/>
                  </a:lnTo>
                  <a:lnTo>
                    <a:pt x="56" y="110"/>
                  </a:lnTo>
                  <a:lnTo>
                    <a:pt x="52" y="114"/>
                  </a:lnTo>
                  <a:lnTo>
                    <a:pt x="52" y="104"/>
                  </a:lnTo>
                  <a:lnTo>
                    <a:pt x="56" y="98"/>
                  </a:lnTo>
                  <a:lnTo>
                    <a:pt x="68" y="20"/>
                  </a:lnTo>
                  <a:lnTo>
                    <a:pt x="64" y="8"/>
                  </a:lnTo>
                  <a:lnTo>
                    <a:pt x="66" y="4"/>
                  </a:lnTo>
                  <a:lnTo>
                    <a:pt x="66" y="2"/>
                  </a:lnTo>
                  <a:lnTo>
                    <a:pt x="68" y="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52" name="Freeform 513"/>
            <p:cNvSpPr>
              <a:spLocks/>
            </p:cNvSpPr>
            <p:nvPr/>
          </p:nvSpPr>
          <p:spPr bwMode="auto">
            <a:xfrm>
              <a:off x="2811463" y="2182813"/>
              <a:ext cx="73025" cy="114300"/>
            </a:xfrm>
            <a:custGeom>
              <a:avLst/>
              <a:gdLst>
                <a:gd name="T0" fmla="*/ 14 w 42"/>
                <a:gd name="T1" fmla="*/ 70 h 72"/>
                <a:gd name="T2" fmla="*/ 20 w 42"/>
                <a:gd name="T3" fmla="*/ 70 h 72"/>
                <a:gd name="T4" fmla="*/ 20 w 42"/>
                <a:gd name="T5" fmla="*/ 66 h 72"/>
                <a:gd name="T6" fmla="*/ 22 w 42"/>
                <a:gd name="T7" fmla="*/ 66 h 72"/>
                <a:gd name="T8" fmla="*/ 26 w 42"/>
                <a:gd name="T9" fmla="*/ 60 h 72"/>
                <a:gd name="T10" fmla="*/ 24 w 42"/>
                <a:gd name="T11" fmla="*/ 58 h 72"/>
                <a:gd name="T12" fmla="*/ 26 w 42"/>
                <a:gd name="T13" fmla="*/ 50 h 72"/>
                <a:gd name="T14" fmla="*/ 28 w 42"/>
                <a:gd name="T15" fmla="*/ 50 h 72"/>
                <a:gd name="T16" fmla="*/ 28 w 42"/>
                <a:gd name="T17" fmla="*/ 44 h 72"/>
                <a:gd name="T18" fmla="*/ 30 w 42"/>
                <a:gd name="T19" fmla="*/ 42 h 72"/>
                <a:gd name="T20" fmla="*/ 30 w 42"/>
                <a:gd name="T21" fmla="*/ 40 h 72"/>
                <a:gd name="T22" fmla="*/ 30 w 42"/>
                <a:gd name="T23" fmla="*/ 38 h 72"/>
                <a:gd name="T24" fmla="*/ 32 w 42"/>
                <a:gd name="T25" fmla="*/ 34 h 72"/>
                <a:gd name="T26" fmla="*/ 40 w 42"/>
                <a:gd name="T27" fmla="*/ 28 h 72"/>
                <a:gd name="T28" fmla="*/ 42 w 42"/>
                <a:gd name="T29" fmla="*/ 26 h 72"/>
                <a:gd name="T30" fmla="*/ 40 w 42"/>
                <a:gd name="T31" fmla="*/ 18 h 72"/>
                <a:gd name="T32" fmla="*/ 38 w 42"/>
                <a:gd name="T33" fmla="*/ 10 h 72"/>
                <a:gd name="T34" fmla="*/ 38 w 42"/>
                <a:gd name="T35" fmla="*/ 6 h 72"/>
                <a:gd name="T36" fmla="*/ 36 w 42"/>
                <a:gd name="T37" fmla="*/ 0 h 72"/>
                <a:gd name="T38" fmla="*/ 34 w 42"/>
                <a:gd name="T39" fmla="*/ 2 h 72"/>
                <a:gd name="T40" fmla="*/ 32 w 42"/>
                <a:gd name="T41" fmla="*/ 14 h 72"/>
                <a:gd name="T42" fmla="*/ 34 w 42"/>
                <a:gd name="T43" fmla="*/ 12 h 72"/>
                <a:gd name="T44" fmla="*/ 38 w 42"/>
                <a:gd name="T45" fmla="*/ 18 h 72"/>
                <a:gd name="T46" fmla="*/ 34 w 42"/>
                <a:gd name="T47" fmla="*/ 30 h 72"/>
                <a:gd name="T48" fmla="*/ 28 w 42"/>
                <a:gd name="T49" fmla="*/ 30 h 72"/>
                <a:gd name="T50" fmla="*/ 26 w 42"/>
                <a:gd name="T51" fmla="*/ 24 h 72"/>
                <a:gd name="T52" fmla="*/ 26 w 42"/>
                <a:gd name="T53" fmla="*/ 26 h 72"/>
                <a:gd name="T54" fmla="*/ 24 w 42"/>
                <a:gd name="T55" fmla="*/ 30 h 72"/>
                <a:gd name="T56" fmla="*/ 22 w 42"/>
                <a:gd name="T57" fmla="*/ 30 h 72"/>
                <a:gd name="T58" fmla="*/ 22 w 42"/>
                <a:gd name="T59" fmla="*/ 24 h 72"/>
                <a:gd name="T60" fmla="*/ 26 w 42"/>
                <a:gd name="T61" fmla="*/ 16 h 72"/>
                <a:gd name="T62" fmla="*/ 26 w 42"/>
                <a:gd name="T63" fmla="*/ 10 h 72"/>
                <a:gd name="T64" fmla="*/ 22 w 42"/>
                <a:gd name="T65" fmla="*/ 12 h 72"/>
                <a:gd name="T66" fmla="*/ 18 w 42"/>
                <a:gd name="T67" fmla="*/ 20 h 72"/>
                <a:gd name="T68" fmla="*/ 18 w 42"/>
                <a:gd name="T69" fmla="*/ 26 h 72"/>
                <a:gd name="T70" fmla="*/ 16 w 42"/>
                <a:gd name="T71" fmla="*/ 28 h 72"/>
                <a:gd name="T72" fmla="*/ 14 w 42"/>
                <a:gd name="T73" fmla="*/ 20 h 72"/>
                <a:gd name="T74" fmla="*/ 12 w 42"/>
                <a:gd name="T75" fmla="*/ 20 h 72"/>
                <a:gd name="T76" fmla="*/ 14 w 42"/>
                <a:gd name="T77" fmla="*/ 26 h 72"/>
                <a:gd name="T78" fmla="*/ 12 w 42"/>
                <a:gd name="T79" fmla="*/ 30 h 72"/>
                <a:gd name="T80" fmla="*/ 8 w 42"/>
                <a:gd name="T81" fmla="*/ 32 h 72"/>
                <a:gd name="T82" fmla="*/ 6 w 42"/>
                <a:gd name="T83" fmla="*/ 28 h 72"/>
                <a:gd name="T84" fmla="*/ 6 w 42"/>
                <a:gd name="T85" fmla="*/ 30 h 72"/>
                <a:gd name="T86" fmla="*/ 6 w 42"/>
                <a:gd name="T87" fmla="*/ 38 h 72"/>
                <a:gd name="T88" fmla="*/ 10 w 42"/>
                <a:gd name="T89" fmla="*/ 48 h 72"/>
                <a:gd name="T90" fmla="*/ 10 w 42"/>
                <a:gd name="T91" fmla="*/ 58 h 72"/>
                <a:gd name="T92" fmla="*/ 6 w 42"/>
                <a:gd name="T93" fmla="*/ 64 h 72"/>
                <a:gd name="T94" fmla="*/ 2 w 42"/>
                <a:gd name="T95" fmla="*/ 64 h 72"/>
                <a:gd name="T96" fmla="*/ 0 w 42"/>
                <a:gd name="T97" fmla="*/ 66 h 72"/>
                <a:gd name="T98" fmla="*/ 4 w 42"/>
                <a:gd name="T99" fmla="*/ 68 h 72"/>
                <a:gd name="T100" fmla="*/ 4 w 42"/>
                <a:gd name="T101" fmla="*/ 72 h 72"/>
                <a:gd name="T102" fmla="*/ 12 w 42"/>
                <a:gd name="T103" fmla="*/ 68 h 72"/>
                <a:gd name="T104" fmla="*/ 14 w 42"/>
                <a:gd name="T105"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 h="72">
                  <a:moveTo>
                    <a:pt x="14" y="70"/>
                  </a:moveTo>
                  <a:lnTo>
                    <a:pt x="20" y="70"/>
                  </a:lnTo>
                  <a:lnTo>
                    <a:pt x="20" y="66"/>
                  </a:lnTo>
                  <a:lnTo>
                    <a:pt x="22" y="66"/>
                  </a:lnTo>
                  <a:lnTo>
                    <a:pt x="26" y="60"/>
                  </a:lnTo>
                  <a:lnTo>
                    <a:pt x="24" y="58"/>
                  </a:lnTo>
                  <a:lnTo>
                    <a:pt x="26" y="50"/>
                  </a:lnTo>
                  <a:lnTo>
                    <a:pt x="28" y="50"/>
                  </a:lnTo>
                  <a:lnTo>
                    <a:pt x="28" y="44"/>
                  </a:lnTo>
                  <a:lnTo>
                    <a:pt x="30" y="42"/>
                  </a:lnTo>
                  <a:lnTo>
                    <a:pt x="30" y="40"/>
                  </a:lnTo>
                  <a:lnTo>
                    <a:pt x="30" y="38"/>
                  </a:lnTo>
                  <a:lnTo>
                    <a:pt x="32" y="34"/>
                  </a:lnTo>
                  <a:lnTo>
                    <a:pt x="40" y="28"/>
                  </a:lnTo>
                  <a:lnTo>
                    <a:pt x="42" y="26"/>
                  </a:lnTo>
                  <a:lnTo>
                    <a:pt x="40" y="18"/>
                  </a:lnTo>
                  <a:lnTo>
                    <a:pt x="38" y="10"/>
                  </a:lnTo>
                  <a:lnTo>
                    <a:pt x="38" y="6"/>
                  </a:lnTo>
                  <a:lnTo>
                    <a:pt x="36" y="0"/>
                  </a:lnTo>
                  <a:lnTo>
                    <a:pt x="34" y="2"/>
                  </a:lnTo>
                  <a:lnTo>
                    <a:pt x="32" y="14"/>
                  </a:lnTo>
                  <a:lnTo>
                    <a:pt x="34" y="12"/>
                  </a:lnTo>
                  <a:lnTo>
                    <a:pt x="38" y="18"/>
                  </a:lnTo>
                  <a:lnTo>
                    <a:pt x="34" y="30"/>
                  </a:lnTo>
                  <a:lnTo>
                    <a:pt x="28" y="30"/>
                  </a:lnTo>
                  <a:lnTo>
                    <a:pt x="26" y="24"/>
                  </a:lnTo>
                  <a:lnTo>
                    <a:pt x="26" y="26"/>
                  </a:lnTo>
                  <a:lnTo>
                    <a:pt x="24" y="30"/>
                  </a:lnTo>
                  <a:lnTo>
                    <a:pt x="22" y="30"/>
                  </a:lnTo>
                  <a:lnTo>
                    <a:pt x="22" y="24"/>
                  </a:lnTo>
                  <a:lnTo>
                    <a:pt x="26" y="16"/>
                  </a:lnTo>
                  <a:lnTo>
                    <a:pt x="26" y="10"/>
                  </a:lnTo>
                  <a:lnTo>
                    <a:pt x="22" y="12"/>
                  </a:lnTo>
                  <a:lnTo>
                    <a:pt x="18" y="20"/>
                  </a:lnTo>
                  <a:lnTo>
                    <a:pt x="18" y="26"/>
                  </a:lnTo>
                  <a:lnTo>
                    <a:pt x="16" y="28"/>
                  </a:lnTo>
                  <a:lnTo>
                    <a:pt x="14" y="20"/>
                  </a:lnTo>
                  <a:lnTo>
                    <a:pt x="12" y="20"/>
                  </a:lnTo>
                  <a:lnTo>
                    <a:pt x="14" y="26"/>
                  </a:lnTo>
                  <a:lnTo>
                    <a:pt x="12" y="30"/>
                  </a:lnTo>
                  <a:lnTo>
                    <a:pt x="8" y="32"/>
                  </a:lnTo>
                  <a:lnTo>
                    <a:pt x="6" y="28"/>
                  </a:lnTo>
                  <a:lnTo>
                    <a:pt x="6" y="30"/>
                  </a:lnTo>
                  <a:lnTo>
                    <a:pt x="6" y="38"/>
                  </a:lnTo>
                  <a:lnTo>
                    <a:pt x="10" y="48"/>
                  </a:lnTo>
                  <a:lnTo>
                    <a:pt x="10" y="58"/>
                  </a:lnTo>
                  <a:lnTo>
                    <a:pt x="6" y="64"/>
                  </a:lnTo>
                  <a:lnTo>
                    <a:pt x="2" y="64"/>
                  </a:lnTo>
                  <a:lnTo>
                    <a:pt x="0" y="66"/>
                  </a:lnTo>
                  <a:lnTo>
                    <a:pt x="4" y="68"/>
                  </a:lnTo>
                  <a:lnTo>
                    <a:pt x="4" y="72"/>
                  </a:lnTo>
                  <a:lnTo>
                    <a:pt x="12" y="68"/>
                  </a:lnTo>
                  <a:lnTo>
                    <a:pt x="14" y="70"/>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53" name="Freeform 514"/>
            <p:cNvSpPr>
              <a:spLocks/>
            </p:cNvSpPr>
            <p:nvPr/>
          </p:nvSpPr>
          <p:spPr bwMode="auto">
            <a:xfrm>
              <a:off x="2811463" y="2182813"/>
              <a:ext cx="73025" cy="114300"/>
            </a:xfrm>
            <a:custGeom>
              <a:avLst/>
              <a:gdLst>
                <a:gd name="T0" fmla="*/ 14 w 42"/>
                <a:gd name="T1" fmla="*/ 70 h 72"/>
                <a:gd name="T2" fmla="*/ 20 w 42"/>
                <a:gd name="T3" fmla="*/ 70 h 72"/>
                <a:gd name="T4" fmla="*/ 20 w 42"/>
                <a:gd name="T5" fmla="*/ 66 h 72"/>
                <a:gd name="T6" fmla="*/ 22 w 42"/>
                <a:gd name="T7" fmla="*/ 66 h 72"/>
                <a:gd name="T8" fmla="*/ 26 w 42"/>
                <a:gd name="T9" fmla="*/ 60 h 72"/>
                <a:gd name="T10" fmla="*/ 24 w 42"/>
                <a:gd name="T11" fmla="*/ 58 h 72"/>
                <a:gd name="T12" fmla="*/ 26 w 42"/>
                <a:gd name="T13" fmla="*/ 50 h 72"/>
                <a:gd name="T14" fmla="*/ 28 w 42"/>
                <a:gd name="T15" fmla="*/ 50 h 72"/>
                <a:gd name="T16" fmla="*/ 28 w 42"/>
                <a:gd name="T17" fmla="*/ 44 h 72"/>
                <a:gd name="T18" fmla="*/ 30 w 42"/>
                <a:gd name="T19" fmla="*/ 42 h 72"/>
                <a:gd name="T20" fmla="*/ 30 w 42"/>
                <a:gd name="T21" fmla="*/ 40 h 72"/>
                <a:gd name="T22" fmla="*/ 30 w 42"/>
                <a:gd name="T23" fmla="*/ 38 h 72"/>
                <a:gd name="T24" fmla="*/ 32 w 42"/>
                <a:gd name="T25" fmla="*/ 34 h 72"/>
                <a:gd name="T26" fmla="*/ 40 w 42"/>
                <a:gd name="T27" fmla="*/ 28 h 72"/>
                <a:gd name="T28" fmla="*/ 42 w 42"/>
                <a:gd name="T29" fmla="*/ 26 h 72"/>
                <a:gd name="T30" fmla="*/ 40 w 42"/>
                <a:gd name="T31" fmla="*/ 18 h 72"/>
                <a:gd name="T32" fmla="*/ 38 w 42"/>
                <a:gd name="T33" fmla="*/ 10 h 72"/>
                <a:gd name="T34" fmla="*/ 38 w 42"/>
                <a:gd name="T35" fmla="*/ 6 h 72"/>
                <a:gd name="T36" fmla="*/ 36 w 42"/>
                <a:gd name="T37" fmla="*/ 0 h 72"/>
                <a:gd name="T38" fmla="*/ 34 w 42"/>
                <a:gd name="T39" fmla="*/ 2 h 72"/>
                <a:gd name="T40" fmla="*/ 32 w 42"/>
                <a:gd name="T41" fmla="*/ 14 h 72"/>
                <a:gd name="T42" fmla="*/ 34 w 42"/>
                <a:gd name="T43" fmla="*/ 12 h 72"/>
                <a:gd name="T44" fmla="*/ 38 w 42"/>
                <a:gd name="T45" fmla="*/ 18 h 72"/>
                <a:gd name="T46" fmla="*/ 34 w 42"/>
                <a:gd name="T47" fmla="*/ 30 h 72"/>
                <a:gd name="T48" fmla="*/ 28 w 42"/>
                <a:gd name="T49" fmla="*/ 30 h 72"/>
                <a:gd name="T50" fmla="*/ 26 w 42"/>
                <a:gd name="T51" fmla="*/ 24 h 72"/>
                <a:gd name="T52" fmla="*/ 26 w 42"/>
                <a:gd name="T53" fmla="*/ 26 h 72"/>
                <a:gd name="T54" fmla="*/ 24 w 42"/>
                <a:gd name="T55" fmla="*/ 30 h 72"/>
                <a:gd name="T56" fmla="*/ 22 w 42"/>
                <a:gd name="T57" fmla="*/ 30 h 72"/>
                <a:gd name="T58" fmla="*/ 22 w 42"/>
                <a:gd name="T59" fmla="*/ 24 h 72"/>
                <a:gd name="T60" fmla="*/ 26 w 42"/>
                <a:gd name="T61" fmla="*/ 16 h 72"/>
                <a:gd name="T62" fmla="*/ 26 w 42"/>
                <a:gd name="T63" fmla="*/ 10 h 72"/>
                <a:gd name="T64" fmla="*/ 22 w 42"/>
                <a:gd name="T65" fmla="*/ 12 h 72"/>
                <a:gd name="T66" fmla="*/ 18 w 42"/>
                <a:gd name="T67" fmla="*/ 20 h 72"/>
                <a:gd name="T68" fmla="*/ 18 w 42"/>
                <a:gd name="T69" fmla="*/ 26 h 72"/>
                <a:gd name="T70" fmla="*/ 16 w 42"/>
                <a:gd name="T71" fmla="*/ 28 h 72"/>
                <a:gd name="T72" fmla="*/ 14 w 42"/>
                <a:gd name="T73" fmla="*/ 20 h 72"/>
                <a:gd name="T74" fmla="*/ 12 w 42"/>
                <a:gd name="T75" fmla="*/ 20 h 72"/>
                <a:gd name="T76" fmla="*/ 14 w 42"/>
                <a:gd name="T77" fmla="*/ 26 h 72"/>
                <a:gd name="T78" fmla="*/ 12 w 42"/>
                <a:gd name="T79" fmla="*/ 30 h 72"/>
                <a:gd name="T80" fmla="*/ 8 w 42"/>
                <a:gd name="T81" fmla="*/ 32 h 72"/>
                <a:gd name="T82" fmla="*/ 6 w 42"/>
                <a:gd name="T83" fmla="*/ 28 h 72"/>
                <a:gd name="T84" fmla="*/ 6 w 42"/>
                <a:gd name="T85" fmla="*/ 30 h 72"/>
                <a:gd name="T86" fmla="*/ 6 w 42"/>
                <a:gd name="T87" fmla="*/ 38 h 72"/>
                <a:gd name="T88" fmla="*/ 10 w 42"/>
                <a:gd name="T89" fmla="*/ 48 h 72"/>
                <a:gd name="T90" fmla="*/ 10 w 42"/>
                <a:gd name="T91" fmla="*/ 58 h 72"/>
                <a:gd name="T92" fmla="*/ 6 w 42"/>
                <a:gd name="T93" fmla="*/ 64 h 72"/>
                <a:gd name="T94" fmla="*/ 2 w 42"/>
                <a:gd name="T95" fmla="*/ 64 h 72"/>
                <a:gd name="T96" fmla="*/ 0 w 42"/>
                <a:gd name="T97" fmla="*/ 66 h 72"/>
                <a:gd name="T98" fmla="*/ 4 w 42"/>
                <a:gd name="T99" fmla="*/ 68 h 72"/>
                <a:gd name="T100" fmla="*/ 4 w 42"/>
                <a:gd name="T101" fmla="*/ 72 h 72"/>
                <a:gd name="T102" fmla="*/ 12 w 42"/>
                <a:gd name="T103" fmla="*/ 68 h 72"/>
                <a:gd name="T104" fmla="*/ 14 w 42"/>
                <a:gd name="T105"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 h="72">
                  <a:moveTo>
                    <a:pt x="14" y="70"/>
                  </a:moveTo>
                  <a:lnTo>
                    <a:pt x="20" y="70"/>
                  </a:lnTo>
                  <a:lnTo>
                    <a:pt x="20" y="66"/>
                  </a:lnTo>
                  <a:lnTo>
                    <a:pt x="22" y="66"/>
                  </a:lnTo>
                  <a:lnTo>
                    <a:pt x="26" y="60"/>
                  </a:lnTo>
                  <a:lnTo>
                    <a:pt x="24" y="58"/>
                  </a:lnTo>
                  <a:lnTo>
                    <a:pt x="26" y="50"/>
                  </a:lnTo>
                  <a:lnTo>
                    <a:pt x="28" y="50"/>
                  </a:lnTo>
                  <a:lnTo>
                    <a:pt x="28" y="44"/>
                  </a:lnTo>
                  <a:lnTo>
                    <a:pt x="30" y="42"/>
                  </a:lnTo>
                  <a:lnTo>
                    <a:pt x="30" y="40"/>
                  </a:lnTo>
                  <a:lnTo>
                    <a:pt x="30" y="38"/>
                  </a:lnTo>
                  <a:lnTo>
                    <a:pt x="32" y="34"/>
                  </a:lnTo>
                  <a:lnTo>
                    <a:pt x="40" y="28"/>
                  </a:lnTo>
                  <a:lnTo>
                    <a:pt x="42" y="26"/>
                  </a:lnTo>
                  <a:lnTo>
                    <a:pt x="40" y="18"/>
                  </a:lnTo>
                  <a:lnTo>
                    <a:pt x="38" y="10"/>
                  </a:lnTo>
                  <a:lnTo>
                    <a:pt x="38" y="6"/>
                  </a:lnTo>
                  <a:lnTo>
                    <a:pt x="36" y="0"/>
                  </a:lnTo>
                  <a:lnTo>
                    <a:pt x="34" y="2"/>
                  </a:lnTo>
                  <a:lnTo>
                    <a:pt x="32" y="14"/>
                  </a:lnTo>
                  <a:lnTo>
                    <a:pt x="34" y="12"/>
                  </a:lnTo>
                  <a:lnTo>
                    <a:pt x="38" y="18"/>
                  </a:lnTo>
                  <a:lnTo>
                    <a:pt x="34" y="30"/>
                  </a:lnTo>
                  <a:lnTo>
                    <a:pt x="28" y="30"/>
                  </a:lnTo>
                  <a:lnTo>
                    <a:pt x="26" y="24"/>
                  </a:lnTo>
                  <a:lnTo>
                    <a:pt x="26" y="26"/>
                  </a:lnTo>
                  <a:lnTo>
                    <a:pt x="24" y="30"/>
                  </a:lnTo>
                  <a:lnTo>
                    <a:pt x="22" y="30"/>
                  </a:lnTo>
                  <a:lnTo>
                    <a:pt x="22" y="24"/>
                  </a:lnTo>
                  <a:lnTo>
                    <a:pt x="26" y="16"/>
                  </a:lnTo>
                  <a:lnTo>
                    <a:pt x="26" y="10"/>
                  </a:lnTo>
                  <a:lnTo>
                    <a:pt x="22" y="12"/>
                  </a:lnTo>
                  <a:lnTo>
                    <a:pt x="18" y="20"/>
                  </a:lnTo>
                  <a:lnTo>
                    <a:pt x="18" y="26"/>
                  </a:lnTo>
                  <a:lnTo>
                    <a:pt x="16" y="28"/>
                  </a:lnTo>
                  <a:lnTo>
                    <a:pt x="14" y="20"/>
                  </a:lnTo>
                  <a:lnTo>
                    <a:pt x="12" y="20"/>
                  </a:lnTo>
                  <a:lnTo>
                    <a:pt x="14" y="26"/>
                  </a:lnTo>
                  <a:lnTo>
                    <a:pt x="12" y="30"/>
                  </a:lnTo>
                  <a:lnTo>
                    <a:pt x="8" y="32"/>
                  </a:lnTo>
                  <a:lnTo>
                    <a:pt x="6" y="28"/>
                  </a:lnTo>
                  <a:lnTo>
                    <a:pt x="6" y="30"/>
                  </a:lnTo>
                  <a:lnTo>
                    <a:pt x="6" y="38"/>
                  </a:lnTo>
                  <a:lnTo>
                    <a:pt x="10" y="48"/>
                  </a:lnTo>
                  <a:lnTo>
                    <a:pt x="10" y="58"/>
                  </a:lnTo>
                  <a:lnTo>
                    <a:pt x="6" y="64"/>
                  </a:lnTo>
                  <a:lnTo>
                    <a:pt x="2" y="64"/>
                  </a:lnTo>
                  <a:lnTo>
                    <a:pt x="0" y="66"/>
                  </a:lnTo>
                  <a:lnTo>
                    <a:pt x="4" y="68"/>
                  </a:lnTo>
                  <a:lnTo>
                    <a:pt x="4" y="72"/>
                  </a:lnTo>
                  <a:lnTo>
                    <a:pt x="12" y="68"/>
                  </a:lnTo>
                  <a:lnTo>
                    <a:pt x="14" y="70"/>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sp>
          <p:nvSpPr>
            <p:cNvPr id="654" name="Freeform 515"/>
            <p:cNvSpPr>
              <a:spLocks/>
            </p:cNvSpPr>
            <p:nvPr/>
          </p:nvSpPr>
          <p:spPr bwMode="auto">
            <a:xfrm>
              <a:off x="2513013" y="3189288"/>
              <a:ext cx="457200" cy="600075"/>
            </a:xfrm>
            <a:custGeom>
              <a:avLst/>
              <a:gdLst>
                <a:gd name="T0" fmla="*/ 114 w 266"/>
                <a:gd name="T1" fmla="*/ 372 h 378"/>
                <a:gd name="T2" fmla="*/ 40 w 266"/>
                <a:gd name="T3" fmla="*/ 348 h 378"/>
                <a:gd name="T4" fmla="*/ 26 w 266"/>
                <a:gd name="T5" fmla="*/ 318 h 378"/>
                <a:gd name="T6" fmla="*/ 0 w 266"/>
                <a:gd name="T7" fmla="*/ 298 h 378"/>
                <a:gd name="T8" fmla="*/ 24 w 266"/>
                <a:gd name="T9" fmla="*/ 244 h 378"/>
                <a:gd name="T10" fmla="*/ 58 w 266"/>
                <a:gd name="T11" fmla="*/ 218 h 378"/>
                <a:gd name="T12" fmla="*/ 76 w 266"/>
                <a:gd name="T13" fmla="*/ 226 h 378"/>
                <a:gd name="T14" fmla="*/ 70 w 266"/>
                <a:gd name="T15" fmla="*/ 210 h 378"/>
                <a:gd name="T16" fmla="*/ 52 w 266"/>
                <a:gd name="T17" fmla="*/ 154 h 378"/>
                <a:gd name="T18" fmla="*/ 48 w 266"/>
                <a:gd name="T19" fmla="*/ 104 h 378"/>
                <a:gd name="T20" fmla="*/ 64 w 266"/>
                <a:gd name="T21" fmla="*/ 80 h 378"/>
                <a:gd name="T22" fmla="*/ 58 w 266"/>
                <a:gd name="T23" fmla="*/ 76 h 378"/>
                <a:gd name="T24" fmla="*/ 52 w 266"/>
                <a:gd name="T25" fmla="*/ 48 h 378"/>
                <a:gd name="T26" fmla="*/ 68 w 266"/>
                <a:gd name="T27" fmla="*/ 36 h 378"/>
                <a:gd name="T28" fmla="*/ 74 w 266"/>
                <a:gd name="T29" fmla="*/ 32 h 378"/>
                <a:gd name="T30" fmla="*/ 94 w 266"/>
                <a:gd name="T31" fmla="*/ 20 h 378"/>
                <a:gd name="T32" fmla="*/ 112 w 266"/>
                <a:gd name="T33" fmla="*/ 6 h 378"/>
                <a:gd name="T34" fmla="*/ 112 w 266"/>
                <a:gd name="T35" fmla="*/ 24 h 378"/>
                <a:gd name="T36" fmla="*/ 128 w 266"/>
                <a:gd name="T37" fmla="*/ 16 h 378"/>
                <a:gd name="T38" fmla="*/ 178 w 266"/>
                <a:gd name="T39" fmla="*/ 16 h 378"/>
                <a:gd name="T40" fmla="*/ 212 w 266"/>
                <a:gd name="T41" fmla="*/ 16 h 378"/>
                <a:gd name="T42" fmla="*/ 234 w 266"/>
                <a:gd name="T43" fmla="*/ 24 h 378"/>
                <a:gd name="T44" fmla="*/ 244 w 266"/>
                <a:gd name="T45" fmla="*/ 32 h 378"/>
                <a:gd name="T46" fmla="*/ 250 w 266"/>
                <a:gd name="T47" fmla="*/ 48 h 378"/>
                <a:gd name="T48" fmla="*/ 254 w 266"/>
                <a:gd name="T49" fmla="*/ 60 h 378"/>
                <a:gd name="T50" fmla="*/ 258 w 266"/>
                <a:gd name="T51" fmla="*/ 82 h 378"/>
                <a:gd name="T52" fmla="*/ 266 w 266"/>
                <a:gd name="T53" fmla="*/ 106 h 378"/>
                <a:gd name="T54" fmla="*/ 260 w 266"/>
                <a:gd name="T55" fmla="*/ 114 h 378"/>
                <a:gd name="T56" fmla="*/ 238 w 266"/>
                <a:gd name="T57" fmla="*/ 100 h 378"/>
                <a:gd name="T58" fmla="*/ 228 w 266"/>
                <a:gd name="T59" fmla="*/ 96 h 378"/>
                <a:gd name="T60" fmla="*/ 202 w 266"/>
                <a:gd name="T61" fmla="*/ 80 h 378"/>
                <a:gd name="T62" fmla="*/ 186 w 266"/>
                <a:gd name="T63" fmla="*/ 86 h 378"/>
                <a:gd name="T64" fmla="*/ 178 w 266"/>
                <a:gd name="T65" fmla="*/ 80 h 378"/>
                <a:gd name="T66" fmla="*/ 170 w 266"/>
                <a:gd name="T67" fmla="*/ 102 h 378"/>
                <a:gd name="T68" fmla="*/ 150 w 266"/>
                <a:gd name="T69" fmla="*/ 88 h 378"/>
                <a:gd name="T70" fmla="*/ 140 w 266"/>
                <a:gd name="T71" fmla="*/ 96 h 378"/>
                <a:gd name="T72" fmla="*/ 150 w 266"/>
                <a:gd name="T73" fmla="*/ 116 h 378"/>
                <a:gd name="T74" fmla="*/ 154 w 266"/>
                <a:gd name="T75" fmla="*/ 148 h 378"/>
                <a:gd name="T76" fmla="*/ 168 w 266"/>
                <a:gd name="T77" fmla="*/ 166 h 378"/>
                <a:gd name="T78" fmla="*/ 162 w 266"/>
                <a:gd name="T79" fmla="*/ 182 h 378"/>
                <a:gd name="T80" fmla="*/ 154 w 266"/>
                <a:gd name="T81" fmla="*/ 224 h 378"/>
                <a:gd name="T82" fmla="*/ 160 w 266"/>
                <a:gd name="T83" fmla="*/ 206 h 378"/>
                <a:gd name="T84" fmla="*/ 190 w 266"/>
                <a:gd name="T85" fmla="*/ 206 h 378"/>
                <a:gd name="T86" fmla="*/ 206 w 266"/>
                <a:gd name="T87" fmla="*/ 246 h 378"/>
                <a:gd name="T88" fmla="*/ 188 w 266"/>
                <a:gd name="T89" fmla="*/ 254 h 378"/>
                <a:gd name="T90" fmla="*/ 180 w 266"/>
                <a:gd name="T91" fmla="*/ 252 h 378"/>
                <a:gd name="T92" fmla="*/ 154 w 266"/>
                <a:gd name="T93" fmla="*/ 240 h 378"/>
                <a:gd name="T94" fmla="*/ 144 w 266"/>
                <a:gd name="T95" fmla="*/ 244 h 378"/>
                <a:gd name="T96" fmla="*/ 140 w 266"/>
                <a:gd name="T97" fmla="*/ 266 h 378"/>
                <a:gd name="T98" fmla="*/ 164 w 266"/>
                <a:gd name="T99" fmla="*/ 272 h 378"/>
                <a:gd name="T100" fmla="*/ 150 w 266"/>
                <a:gd name="T101" fmla="*/ 274 h 378"/>
                <a:gd name="T102" fmla="*/ 144 w 266"/>
                <a:gd name="T103" fmla="*/ 288 h 378"/>
                <a:gd name="T104" fmla="*/ 152 w 266"/>
                <a:gd name="T105" fmla="*/ 304 h 378"/>
                <a:gd name="T106" fmla="*/ 132 w 266"/>
                <a:gd name="T107" fmla="*/ 358 h 378"/>
                <a:gd name="T108" fmla="*/ 116 w 266"/>
                <a:gd name="T109" fmla="*/ 37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378">
                  <a:moveTo>
                    <a:pt x="116" y="376"/>
                  </a:moveTo>
                  <a:lnTo>
                    <a:pt x="106" y="372"/>
                  </a:lnTo>
                  <a:lnTo>
                    <a:pt x="114" y="372"/>
                  </a:lnTo>
                  <a:lnTo>
                    <a:pt x="118" y="372"/>
                  </a:lnTo>
                  <a:lnTo>
                    <a:pt x="62" y="364"/>
                  </a:lnTo>
                  <a:lnTo>
                    <a:pt x="40" y="348"/>
                  </a:lnTo>
                  <a:lnTo>
                    <a:pt x="28" y="330"/>
                  </a:lnTo>
                  <a:lnTo>
                    <a:pt x="28" y="322"/>
                  </a:lnTo>
                  <a:lnTo>
                    <a:pt x="26" y="318"/>
                  </a:lnTo>
                  <a:lnTo>
                    <a:pt x="12" y="312"/>
                  </a:lnTo>
                  <a:lnTo>
                    <a:pt x="4" y="306"/>
                  </a:lnTo>
                  <a:lnTo>
                    <a:pt x="0" y="298"/>
                  </a:lnTo>
                  <a:lnTo>
                    <a:pt x="16" y="248"/>
                  </a:lnTo>
                  <a:lnTo>
                    <a:pt x="18" y="246"/>
                  </a:lnTo>
                  <a:lnTo>
                    <a:pt x="24" y="244"/>
                  </a:lnTo>
                  <a:lnTo>
                    <a:pt x="26" y="254"/>
                  </a:lnTo>
                  <a:lnTo>
                    <a:pt x="52" y="222"/>
                  </a:lnTo>
                  <a:lnTo>
                    <a:pt x="58" y="218"/>
                  </a:lnTo>
                  <a:lnTo>
                    <a:pt x="64" y="216"/>
                  </a:lnTo>
                  <a:lnTo>
                    <a:pt x="72" y="220"/>
                  </a:lnTo>
                  <a:lnTo>
                    <a:pt x="76" y="226"/>
                  </a:lnTo>
                  <a:lnTo>
                    <a:pt x="76" y="216"/>
                  </a:lnTo>
                  <a:lnTo>
                    <a:pt x="72" y="214"/>
                  </a:lnTo>
                  <a:lnTo>
                    <a:pt x="70" y="210"/>
                  </a:lnTo>
                  <a:lnTo>
                    <a:pt x="64" y="210"/>
                  </a:lnTo>
                  <a:lnTo>
                    <a:pt x="60" y="206"/>
                  </a:lnTo>
                  <a:lnTo>
                    <a:pt x="52" y="154"/>
                  </a:lnTo>
                  <a:lnTo>
                    <a:pt x="50" y="150"/>
                  </a:lnTo>
                  <a:lnTo>
                    <a:pt x="46" y="110"/>
                  </a:lnTo>
                  <a:lnTo>
                    <a:pt x="48" y="104"/>
                  </a:lnTo>
                  <a:lnTo>
                    <a:pt x="54" y="94"/>
                  </a:lnTo>
                  <a:lnTo>
                    <a:pt x="62" y="86"/>
                  </a:lnTo>
                  <a:lnTo>
                    <a:pt x="64" y="80"/>
                  </a:lnTo>
                  <a:lnTo>
                    <a:pt x="56" y="86"/>
                  </a:lnTo>
                  <a:lnTo>
                    <a:pt x="56" y="84"/>
                  </a:lnTo>
                  <a:lnTo>
                    <a:pt x="58" y="76"/>
                  </a:lnTo>
                  <a:lnTo>
                    <a:pt x="56" y="56"/>
                  </a:lnTo>
                  <a:lnTo>
                    <a:pt x="52" y="54"/>
                  </a:lnTo>
                  <a:lnTo>
                    <a:pt x="52" y="48"/>
                  </a:lnTo>
                  <a:lnTo>
                    <a:pt x="60" y="44"/>
                  </a:lnTo>
                  <a:lnTo>
                    <a:pt x="62" y="40"/>
                  </a:lnTo>
                  <a:lnTo>
                    <a:pt x="68" y="36"/>
                  </a:lnTo>
                  <a:lnTo>
                    <a:pt x="70" y="38"/>
                  </a:lnTo>
                  <a:lnTo>
                    <a:pt x="72" y="36"/>
                  </a:lnTo>
                  <a:lnTo>
                    <a:pt x="74" y="32"/>
                  </a:lnTo>
                  <a:lnTo>
                    <a:pt x="80" y="32"/>
                  </a:lnTo>
                  <a:lnTo>
                    <a:pt x="90" y="18"/>
                  </a:lnTo>
                  <a:lnTo>
                    <a:pt x="94" y="20"/>
                  </a:lnTo>
                  <a:lnTo>
                    <a:pt x="104" y="8"/>
                  </a:lnTo>
                  <a:lnTo>
                    <a:pt x="102" y="0"/>
                  </a:lnTo>
                  <a:lnTo>
                    <a:pt x="112" y="6"/>
                  </a:lnTo>
                  <a:lnTo>
                    <a:pt x="110" y="10"/>
                  </a:lnTo>
                  <a:lnTo>
                    <a:pt x="108" y="22"/>
                  </a:lnTo>
                  <a:lnTo>
                    <a:pt x="112" y="24"/>
                  </a:lnTo>
                  <a:lnTo>
                    <a:pt x="114" y="24"/>
                  </a:lnTo>
                  <a:lnTo>
                    <a:pt x="116" y="24"/>
                  </a:lnTo>
                  <a:lnTo>
                    <a:pt x="128" y="16"/>
                  </a:lnTo>
                  <a:lnTo>
                    <a:pt x="140" y="16"/>
                  </a:lnTo>
                  <a:lnTo>
                    <a:pt x="134" y="6"/>
                  </a:lnTo>
                  <a:lnTo>
                    <a:pt x="178" y="16"/>
                  </a:lnTo>
                  <a:lnTo>
                    <a:pt x="200" y="8"/>
                  </a:lnTo>
                  <a:lnTo>
                    <a:pt x="210" y="14"/>
                  </a:lnTo>
                  <a:lnTo>
                    <a:pt x="212" y="16"/>
                  </a:lnTo>
                  <a:lnTo>
                    <a:pt x="218" y="20"/>
                  </a:lnTo>
                  <a:lnTo>
                    <a:pt x="218" y="24"/>
                  </a:lnTo>
                  <a:lnTo>
                    <a:pt x="234" y="24"/>
                  </a:lnTo>
                  <a:lnTo>
                    <a:pt x="240" y="28"/>
                  </a:lnTo>
                  <a:lnTo>
                    <a:pt x="238" y="30"/>
                  </a:lnTo>
                  <a:lnTo>
                    <a:pt x="244" y="32"/>
                  </a:lnTo>
                  <a:lnTo>
                    <a:pt x="248" y="42"/>
                  </a:lnTo>
                  <a:lnTo>
                    <a:pt x="248" y="48"/>
                  </a:lnTo>
                  <a:lnTo>
                    <a:pt x="250" y="48"/>
                  </a:lnTo>
                  <a:lnTo>
                    <a:pt x="250" y="56"/>
                  </a:lnTo>
                  <a:lnTo>
                    <a:pt x="252" y="54"/>
                  </a:lnTo>
                  <a:lnTo>
                    <a:pt x="254" y="60"/>
                  </a:lnTo>
                  <a:lnTo>
                    <a:pt x="252" y="72"/>
                  </a:lnTo>
                  <a:lnTo>
                    <a:pt x="254" y="80"/>
                  </a:lnTo>
                  <a:lnTo>
                    <a:pt x="258" y="82"/>
                  </a:lnTo>
                  <a:lnTo>
                    <a:pt x="258" y="88"/>
                  </a:lnTo>
                  <a:lnTo>
                    <a:pt x="264" y="100"/>
                  </a:lnTo>
                  <a:lnTo>
                    <a:pt x="266" y="106"/>
                  </a:lnTo>
                  <a:lnTo>
                    <a:pt x="260" y="104"/>
                  </a:lnTo>
                  <a:lnTo>
                    <a:pt x="262" y="110"/>
                  </a:lnTo>
                  <a:lnTo>
                    <a:pt x="260" y="114"/>
                  </a:lnTo>
                  <a:lnTo>
                    <a:pt x="254" y="110"/>
                  </a:lnTo>
                  <a:lnTo>
                    <a:pt x="248" y="110"/>
                  </a:lnTo>
                  <a:lnTo>
                    <a:pt x="238" y="100"/>
                  </a:lnTo>
                  <a:lnTo>
                    <a:pt x="236" y="96"/>
                  </a:lnTo>
                  <a:lnTo>
                    <a:pt x="234" y="96"/>
                  </a:lnTo>
                  <a:lnTo>
                    <a:pt x="228" y="96"/>
                  </a:lnTo>
                  <a:lnTo>
                    <a:pt x="220" y="96"/>
                  </a:lnTo>
                  <a:lnTo>
                    <a:pt x="210" y="84"/>
                  </a:lnTo>
                  <a:lnTo>
                    <a:pt x="202" y="80"/>
                  </a:lnTo>
                  <a:lnTo>
                    <a:pt x="196" y="82"/>
                  </a:lnTo>
                  <a:lnTo>
                    <a:pt x="192" y="86"/>
                  </a:lnTo>
                  <a:lnTo>
                    <a:pt x="186" y="86"/>
                  </a:lnTo>
                  <a:lnTo>
                    <a:pt x="182" y="82"/>
                  </a:lnTo>
                  <a:lnTo>
                    <a:pt x="184" y="80"/>
                  </a:lnTo>
                  <a:lnTo>
                    <a:pt x="178" y="80"/>
                  </a:lnTo>
                  <a:lnTo>
                    <a:pt x="174" y="84"/>
                  </a:lnTo>
                  <a:lnTo>
                    <a:pt x="170" y="98"/>
                  </a:lnTo>
                  <a:lnTo>
                    <a:pt x="170" y="102"/>
                  </a:lnTo>
                  <a:lnTo>
                    <a:pt x="164" y="98"/>
                  </a:lnTo>
                  <a:lnTo>
                    <a:pt x="160" y="98"/>
                  </a:lnTo>
                  <a:lnTo>
                    <a:pt x="150" y="88"/>
                  </a:lnTo>
                  <a:lnTo>
                    <a:pt x="142" y="86"/>
                  </a:lnTo>
                  <a:lnTo>
                    <a:pt x="138" y="86"/>
                  </a:lnTo>
                  <a:lnTo>
                    <a:pt x="140" y="96"/>
                  </a:lnTo>
                  <a:lnTo>
                    <a:pt x="148" y="104"/>
                  </a:lnTo>
                  <a:lnTo>
                    <a:pt x="148" y="112"/>
                  </a:lnTo>
                  <a:lnTo>
                    <a:pt x="150" y="116"/>
                  </a:lnTo>
                  <a:lnTo>
                    <a:pt x="152" y="126"/>
                  </a:lnTo>
                  <a:lnTo>
                    <a:pt x="144" y="144"/>
                  </a:lnTo>
                  <a:lnTo>
                    <a:pt x="154" y="148"/>
                  </a:lnTo>
                  <a:lnTo>
                    <a:pt x="156" y="156"/>
                  </a:lnTo>
                  <a:lnTo>
                    <a:pt x="164" y="164"/>
                  </a:lnTo>
                  <a:lnTo>
                    <a:pt x="168" y="166"/>
                  </a:lnTo>
                  <a:lnTo>
                    <a:pt x="174" y="170"/>
                  </a:lnTo>
                  <a:lnTo>
                    <a:pt x="168" y="178"/>
                  </a:lnTo>
                  <a:lnTo>
                    <a:pt x="162" y="182"/>
                  </a:lnTo>
                  <a:lnTo>
                    <a:pt x="152" y="208"/>
                  </a:lnTo>
                  <a:lnTo>
                    <a:pt x="154" y="222"/>
                  </a:lnTo>
                  <a:lnTo>
                    <a:pt x="154" y="224"/>
                  </a:lnTo>
                  <a:lnTo>
                    <a:pt x="160" y="212"/>
                  </a:lnTo>
                  <a:lnTo>
                    <a:pt x="158" y="210"/>
                  </a:lnTo>
                  <a:lnTo>
                    <a:pt x="160" y="206"/>
                  </a:lnTo>
                  <a:lnTo>
                    <a:pt x="166" y="202"/>
                  </a:lnTo>
                  <a:lnTo>
                    <a:pt x="186" y="202"/>
                  </a:lnTo>
                  <a:lnTo>
                    <a:pt x="190" y="206"/>
                  </a:lnTo>
                  <a:lnTo>
                    <a:pt x="194" y="214"/>
                  </a:lnTo>
                  <a:lnTo>
                    <a:pt x="194" y="224"/>
                  </a:lnTo>
                  <a:lnTo>
                    <a:pt x="206" y="246"/>
                  </a:lnTo>
                  <a:lnTo>
                    <a:pt x="196" y="252"/>
                  </a:lnTo>
                  <a:lnTo>
                    <a:pt x="188" y="252"/>
                  </a:lnTo>
                  <a:lnTo>
                    <a:pt x="188" y="254"/>
                  </a:lnTo>
                  <a:lnTo>
                    <a:pt x="192" y="256"/>
                  </a:lnTo>
                  <a:lnTo>
                    <a:pt x="186" y="256"/>
                  </a:lnTo>
                  <a:lnTo>
                    <a:pt x="180" y="252"/>
                  </a:lnTo>
                  <a:lnTo>
                    <a:pt x="174" y="250"/>
                  </a:lnTo>
                  <a:lnTo>
                    <a:pt x="166" y="244"/>
                  </a:lnTo>
                  <a:lnTo>
                    <a:pt x="154" y="240"/>
                  </a:lnTo>
                  <a:lnTo>
                    <a:pt x="154" y="228"/>
                  </a:lnTo>
                  <a:lnTo>
                    <a:pt x="150" y="240"/>
                  </a:lnTo>
                  <a:lnTo>
                    <a:pt x="144" y="244"/>
                  </a:lnTo>
                  <a:lnTo>
                    <a:pt x="140" y="250"/>
                  </a:lnTo>
                  <a:lnTo>
                    <a:pt x="138" y="266"/>
                  </a:lnTo>
                  <a:lnTo>
                    <a:pt x="140" y="266"/>
                  </a:lnTo>
                  <a:lnTo>
                    <a:pt x="146" y="264"/>
                  </a:lnTo>
                  <a:lnTo>
                    <a:pt x="154" y="266"/>
                  </a:lnTo>
                  <a:lnTo>
                    <a:pt x="164" y="272"/>
                  </a:lnTo>
                  <a:lnTo>
                    <a:pt x="164" y="280"/>
                  </a:lnTo>
                  <a:lnTo>
                    <a:pt x="158" y="272"/>
                  </a:lnTo>
                  <a:lnTo>
                    <a:pt x="150" y="274"/>
                  </a:lnTo>
                  <a:lnTo>
                    <a:pt x="156" y="282"/>
                  </a:lnTo>
                  <a:lnTo>
                    <a:pt x="160" y="286"/>
                  </a:lnTo>
                  <a:lnTo>
                    <a:pt x="144" y="288"/>
                  </a:lnTo>
                  <a:lnTo>
                    <a:pt x="144" y="290"/>
                  </a:lnTo>
                  <a:lnTo>
                    <a:pt x="148" y="292"/>
                  </a:lnTo>
                  <a:lnTo>
                    <a:pt x="152" y="304"/>
                  </a:lnTo>
                  <a:lnTo>
                    <a:pt x="158" y="308"/>
                  </a:lnTo>
                  <a:lnTo>
                    <a:pt x="150" y="312"/>
                  </a:lnTo>
                  <a:lnTo>
                    <a:pt x="132" y="358"/>
                  </a:lnTo>
                  <a:lnTo>
                    <a:pt x="132" y="368"/>
                  </a:lnTo>
                  <a:lnTo>
                    <a:pt x="128" y="378"/>
                  </a:lnTo>
                  <a:lnTo>
                    <a:pt x="116" y="376"/>
                  </a:lnTo>
                  <a:close/>
                </a:path>
              </a:pathLst>
            </a:custGeom>
            <a:solidFill>
              <a:schemeClr val="bg2"/>
            </a:solidFill>
            <a:ln w="9525">
              <a:solidFill>
                <a:srgbClr val="000000"/>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655" name="Freeform 516"/>
            <p:cNvSpPr>
              <a:spLocks/>
            </p:cNvSpPr>
            <p:nvPr/>
          </p:nvSpPr>
          <p:spPr bwMode="auto">
            <a:xfrm>
              <a:off x="2513013" y="3189288"/>
              <a:ext cx="457200" cy="600075"/>
            </a:xfrm>
            <a:custGeom>
              <a:avLst/>
              <a:gdLst>
                <a:gd name="T0" fmla="*/ 114 w 266"/>
                <a:gd name="T1" fmla="*/ 372 h 378"/>
                <a:gd name="T2" fmla="*/ 40 w 266"/>
                <a:gd name="T3" fmla="*/ 348 h 378"/>
                <a:gd name="T4" fmla="*/ 26 w 266"/>
                <a:gd name="T5" fmla="*/ 318 h 378"/>
                <a:gd name="T6" fmla="*/ 0 w 266"/>
                <a:gd name="T7" fmla="*/ 298 h 378"/>
                <a:gd name="T8" fmla="*/ 24 w 266"/>
                <a:gd name="T9" fmla="*/ 244 h 378"/>
                <a:gd name="T10" fmla="*/ 58 w 266"/>
                <a:gd name="T11" fmla="*/ 218 h 378"/>
                <a:gd name="T12" fmla="*/ 76 w 266"/>
                <a:gd name="T13" fmla="*/ 226 h 378"/>
                <a:gd name="T14" fmla="*/ 70 w 266"/>
                <a:gd name="T15" fmla="*/ 210 h 378"/>
                <a:gd name="T16" fmla="*/ 52 w 266"/>
                <a:gd name="T17" fmla="*/ 154 h 378"/>
                <a:gd name="T18" fmla="*/ 48 w 266"/>
                <a:gd name="T19" fmla="*/ 104 h 378"/>
                <a:gd name="T20" fmla="*/ 64 w 266"/>
                <a:gd name="T21" fmla="*/ 80 h 378"/>
                <a:gd name="T22" fmla="*/ 58 w 266"/>
                <a:gd name="T23" fmla="*/ 76 h 378"/>
                <a:gd name="T24" fmla="*/ 52 w 266"/>
                <a:gd name="T25" fmla="*/ 48 h 378"/>
                <a:gd name="T26" fmla="*/ 68 w 266"/>
                <a:gd name="T27" fmla="*/ 36 h 378"/>
                <a:gd name="T28" fmla="*/ 74 w 266"/>
                <a:gd name="T29" fmla="*/ 32 h 378"/>
                <a:gd name="T30" fmla="*/ 94 w 266"/>
                <a:gd name="T31" fmla="*/ 20 h 378"/>
                <a:gd name="T32" fmla="*/ 112 w 266"/>
                <a:gd name="T33" fmla="*/ 6 h 378"/>
                <a:gd name="T34" fmla="*/ 112 w 266"/>
                <a:gd name="T35" fmla="*/ 24 h 378"/>
                <a:gd name="T36" fmla="*/ 128 w 266"/>
                <a:gd name="T37" fmla="*/ 16 h 378"/>
                <a:gd name="T38" fmla="*/ 178 w 266"/>
                <a:gd name="T39" fmla="*/ 16 h 378"/>
                <a:gd name="T40" fmla="*/ 212 w 266"/>
                <a:gd name="T41" fmla="*/ 16 h 378"/>
                <a:gd name="T42" fmla="*/ 234 w 266"/>
                <a:gd name="T43" fmla="*/ 24 h 378"/>
                <a:gd name="T44" fmla="*/ 244 w 266"/>
                <a:gd name="T45" fmla="*/ 32 h 378"/>
                <a:gd name="T46" fmla="*/ 250 w 266"/>
                <a:gd name="T47" fmla="*/ 48 h 378"/>
                <a:gd name="T48" fmla="*/ 254 w 266"/>
                <a:gd name="T49" fmla="*/ 60 h 378"/>
                <a:gd name="T50" fmla="*/ 258 w 266"/>
                <a:gd name="T51" fmla="*/ 82 h 378"/>
                <a:gd name="T52" fmla="*/ 266 w 266"/>
                <a:gd name="T53" fmla="*/ 106 h 378"/>
                <a:gd name="T54" fmla="*/ 260 w 266"/>
                <a:gd name="T55" fmla="*/ 114 h 378"/>
                <a:gd name="T56" fmla="*/ 238 w 266"/>
                <a:gd name="T57" fmla="*/ 100 h 378"/>
                <a:gd name="T58" fmla="*/ 228 w 266"/>
                <a:gd name="T59" fmla="*/ 96 h 378"/>
                <a:gd name="T60" fmla="*/ 202 w 266"/>
                <a:gd name="T61" fmla="*/ 80 h 378"/>
                <a:gd name="T62" fmla="*/ 186 w 266"/>
                <a:gd name="T63" fmla="*/ 86 h 378"/>
                <a:gd name="T64" fmla="*/ 178 w 266"/>
                <a:gd name="T65" fmla="*/ 80 h 378"/>
                <a:gd name="T66" fmla="*/ 170 w 266"/>
                <a:gd name="T67" fmla="*/ 102 h 378"/>
                <a:gd name="T68" fmla="*/ 150 w 266"/>
                <a:gd name="T69" fmla="*/ 88 h 378"/>
                <a:gd name="T70" fmla="*/ 140 w 266"/>
                <a:gd name="T71" fmla="*/ 96 h 378"/>
                <a:gd name="T72" fmla="*/ 150 w 266"/>
                <a:gd name="T73" fmla="*/ 116 h 378"/>
                <a:gd name="T74" fmla="*/ 154 w 266"/>
                <a:gd name="T75" fmla="*/ 148 h 378"/>
                <a:gd name="T76" fmla="*/ 168 w 266"/>
                <a:gd name="T77" fmla="*/ 166 h 378"/>
                <a:gd name="T78" fmla="*/ 162 w 266"/>
                <a:gd name="T79" fmla="*/ 182 h 378"/>
                <a:gd name="T80" fmla="*/ 154 w 266"/>
                <a:gd name="T81" fmla="*/ 224 h 378"/>
                <a:gd name="T82" fmla="*/ 160 w 266"/>
                <a:gd name="T83" fmla="*/ 206 h 378"/>
                <a:gd name="T84" fmla="*/ 190 w 266"/>
                <a:gd name="T85" fmla="*/ 206 h 378"/>
                <a:gd name="T86" fmla="*/ 206 w 266"/>
                <a:gd name="T87" fmla="*/ 246 h 378"/>
                <a:gd name="T88" fmla="*/ 188 w 266"/>
                <a:gd name="T89" fmla="*/ 254 h 378"/>
                <a:gd name="T90" fmla="*/ 180 w 266"/>
                <a:gd name="T91" fmla="*/ 252 h 378"/>
                <a:gd name="T92" fmla="*/ 154 w 266"/>
                <a:gd name="T93" fmla="*/ 240 h 378"/>
                <a:gd name="T94" fmla="*/ 144 w 266"/>
                <a:gd name="T95" fmla="*/ 244 h 378"/>
                <a:gd name="T96" fmla="*/ 140 w 266"/>
                <a:gd name="T97" fmla="*/ 266 h 378"/>
                <a:gd name="T98" fmla="*/ 164 w 266"/>
                <a:gd name="T99" fmla="*/ 272 h 378"/>
                <a:gd name="T100" fmla="*/ 150 w 266"/>
                <a:gd name="T101" fmla="*/ 274 h 378"/>
                <a:gd name="T102" fmla="*/ 144 w 266"/>
                <a:gd name="T103" fmla="*/ 288 h 378"/>
                <a:gd name="T104" fmla="*/ 152 w 266"/>
                <a:gd name="T105" fmla="*/ 304 h 378"/>
                <a:gd name="T106" fmla="*/ 132 w 266"/>
                <a:gd name="T107" fmla="*/ 358 h 378"/>
                <a:gd name="T108" fmla="*/ 116 w 266"/>
                <a:gd name="T109" fmla="*/ 37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378">
                  <a:moveTo>
                    <a:pt x="116" y="376"/>
                  </a:moveTo>
                  <a:lnTo>
                    <a:pt x="106" y="372"/>
                  </a:lnTo>
                  <a:lnTo>
                    <a:pt x="114" y="372"/>
                  </a:lnTo>
                  <a:lnTo>
                    <a:pt x="118" y="372"/>
                  </a:lnTo>
                  <a:lnTo>
                    <a:pt x="62" y="364"/>
                  </a:lnTo>
                  <a:lnTo>
                    <a:pt x="40" y="348"/>
                  </a:lnTo>
                  <a:lnTo>
                    <a:pt x="28" y="330"/>
                  </a:lnTo>
                  <a:lnTo>
                    <a:pt x="28" y="322"/>
                  </a:lnTo>
                  <a:lnTo>
                    <a:pt x="26" y="318"/>
                  </a:lnTo>
                  <a:lnTo>
                    <a:pt x="12" y="312"/>
                  </a:lnTo>
                  <a:lnTo>
                    <a:pt x="4" y="306"/>
                  </a:lnTo>
                  <a:lnTo>
                    <a:pt x="0" y="298"/>
                  </a:lnTo>
                  <a:lnTo>
                    <a:pt x="16" y="248"/>
                  </a:lnTo>
                  <a:lnTo>
                    <a:pt x="18" y="246"/>
                  </a:lnTo>
                  <a:lnTo>
                    <a:pt x="24" y="244"/>
                  </a:lnTo>
                  <a:lnTo>
                    <a:pt x="26" y="254"/>
                  </a:lnTo>
                  <a:lnTo>
                    <a:pt x="52" y="222"/>
                  </a:lnTo>
                  <a:lnTo>
                    <a:pt x="58" y="218"/>
                  </a:lnTo>
                  <a:lnTo>
                    <a:pt x="64" y="216"/>
                  </a:lnTo>
                  <a:lnTo>
                    <a:pt x="72" y="220"/>
                  </a:lnTo>
                  <a:lnTo>
                    <a:pt x="76" y="226"/>
                  </a:lnTo>
                  <a:lnTo>
                    <a:pt x="76" y="216"/>
                  </a:lnTo>
                  <a:lnTo>
                    <a:pt x="72" y="214"/>
                  </a:lnTo>
                  <a:lnTo>
                    <a:pt x="70" y="210"/>
                  </a:lnTo>
                  <a:lnTo>
                    <a:pt x="64" y="210"/>
                  </a:lnTo>
                  <a:lnTo>
                    <a:pt x="60" y="206"/>
                  </a:lnTo>
                  <a:lnTo>
                    <a:pt x="52" y="154"/>
                  </a:lnTo>
                  <a:lnTo>
                    <a:pt x="50" y="150"/>
                  </a:lnTo>
                  <a:lnTo>
                    <a:pt x="46" y="110"/>
                  </a:lnTo>
                  <a:lnTo>
                    <a:pt x="48" y="104"/>
                  </a:lnTo>
                  <a:lnTo>
                    <a:pt x="54" y="94"/>
                  </a:lnTo>
                  <a:lnTo>
                    <a:pt x="62" y="86"/>
                  </a:lnTo>
                  <a:lnTo>
                    <a:pt x="64" y="80"/>
                  </a:lnTo>
                  <a:lnTo>
                    <a:pt x="56" y="86"/>
                  </a:lnTo>
                  <a:lnTo>
                    <a:pt x="56" y="84"/>
                  </a:lnTo>
                  <a:lnTo>
                    <a:pt x="58" y="76"/>
                  </a:lnTo>
                  <a:lnTo>
                    <a:pt x="56" y="56"/>
                  </a:lnTo>
                  <a:lnTo>
                    <a:pt x="52" y="54"/>
                  </a:lnTo>
                  <a:lnTo>
                    <a:pt x="52" y="48"/>
                  </a:lnTo>
                  <a:lnTo>
                    <a:pt x="60" y="44"/>
                  </a:lnTo>
                  <a:lnTo>
                    <a:pt x="62" y="40"/>
                  </a:lnTo>
                  <a:lnTo>
                    <a:pt x="68" y="36"/>
                  </a:lnTo>
                  <a:lnTo>
                    <a:pt x="70" y="38"/>
                  </a:lnTo>
                  <a:lnTo>
                    <a:pt x="72" y="36"/>
                  </a:lnTo>
                  <a:lnTo>
                    <a:pt x="74" y="32"/>
                  </a:lnTo>
                  <a:lnTo>
                    <a:pt x="80" y="32"/>
                  </a:lnTo>
                  <a:lnTo>
                    <a:pt x="90" y="18"/>
                  </a:lnTo>
                  <a:lnTo>
                    <a:pt x="94" y="20"/>
                  </a:lnTo>
                  <a:lnTo>
                    <a:pt x="104" y="8"/>
                  </a:lnTo>
                  <a:lnTo>
                    <a:pt x="102" y="0"/>
                  </a:lnTo>
                  <a:lnTo>
                    <a:pt x="112" y="6"/>
                  </a:lnTo>
                  <a:lnTo>
                    <a:pt x="110" y="10"/>
                  </a:lnTo>
                  <a:lnTo>
                    <a:pt x="108" y="22"/>
                  </a:lnTo>
                  <a:lnTo>
                    <a:pt x="112" y="24"/>
                  </a:lnTo>
                  <a:lnTo>
                    <a:pt x="114" y="24"/>
                  </a:lnTo>
                  <a:lnTo>
                    <a:pt x="116" y="24"/>
                  </a:lnTo>
                  <a:lnTo>
                    <a:pt x="128" y="16"/>
                  </a:lnTo>
                  <a:lnTo>
                    <a:pt x="140" y="16"/>
                  </a:lnTo>
                  <a:lnTo>
                    <a:pt x="134" y="6"/>
                  </a:lnTo>
                  <a:lnTo>
                    <a:pt x="178" y="16"/>
                  </a:lnTo>
                  <a:lnTo>
                    <a:pt x="200" y="8"/>
                  </a:lnTo>
                  <a:lnTo>
                    <a:pt x="210" y="14"/>
                  </a:lnTo>
                  <a:lnTo>
                    <a:pt x="212" y="16"/>
                  </a:lnTo>
                  <a:lnTo>
                    <a:pt x="218" y="20"/>
                  </a:lnTo>
                  <a:lnTo>
                    <a:pt x="218" y="24"/>
                  </a:lnTo>
                  <a:lnTo>
                    <a:pt x="234" y="24"/>
                  </a:lnTo>
                  <a:lnTo>
                    <a:pt x="240" y="28"/>
                  </a:lnTo>
                  <a:lnTo>
                    <a:pt x="238" y="30"/>
                  </a:lnTo>
                  <a:lnTo>
                    <a:pt x="244" y="32"/>
                  </a:lnTo>
                  <a:lnTo>
                    <a:pt x="248" y="42"/>
                  </a:lnTo>
                  <a:lnTo>
                    <a:pt x="248" y="48"/>
                  </a:lnTo>
                  <a:lnTo>
                    <a:pt x="250" y="48"/>
                  </a:lnTo>
                  <a:lnTo>
                    <a:pt x="250" y="56"/>
                  </a:lnTo>
                  <a:lnTo>
                    <a:pt x="252" y="54"/>
                  </a:lnTo>
                  <a:lnTo>
                    <a:pt x="254" y="60"/>
                  </a:lnTo>
                  <a:lnTo>
                    <a:pt x="252" y="72"/>
                  </a:lnTo>
                  <a:lnTo>
                    <a:pt x="254" y="80"/>
                  </a:lnTo>
                  <a:lnTo>
                    <a:pt x="258" y="82"/>
                  </a:lnTo>
                  <a:lnTo>
                    <a:pt x="258" y="88"/>
                  </a:lnTo>
                  <a:lnTo>
                    <a:pt x="264" y="100"/>
                  </a:lnTo>
                  <a:lnTo>
                    <a:pt x="266" y="106"/>
                  </a:lnTo>
                  <a:lnTo>
                    <a:pt x="260" y="104"/>
                  </a:lnTo>
                  <a:lnTo>
                    <a:pt x="262" y="110"/>
                  </a:lnTo>
                  <a:lnTo>
                    <a:pt x="260" y="114"/>
                  </a:lnTo>
                  <a:lnTo>
                    <a:pt x="254" y="110"/>
                  </a:lnTo>
                  <a:lnTo>
                    <a:pt x="248" y="110"/>
                  </a:lnTo>
                  <a:lnTo>
                    <a:pt x="238" y="100"/>
                  </a:lnTo>
                  <a:lnTo>
                    <a:pt x="236" y="96"/>
                  </a:lnTo>
                  <a:lnTo>
                    <a:pt x="234" y="96"/>
                  </a:lnTo>
                  <a:lnTo>
                    <a:pt x="228" y="96"/>
                  </a:lnTo>
                  <a:lnTo>
                    <a:pt x="220" y="96"/>
                  </a:lnTo>
                  <a:lnTo>
                    <a:pt x="210" y="84"/>
                  </a:lnTo>
                  <a:lnTo>
                    <a:pt x="202" y="80"/>
                  </a:lnTo>
                  <a:lnTo>
                    <a:pt x="196" y="82"/>
                  </a:lnTo>
                  <a:lnTo>
                    <a:pt x="192" y="86"/>
                  </a:lnTo>
                  <a:lnTo>
                    <a:pt x="186" y="86"/>
                  </a:lnTo>
                  <a:lnTo>
                    <a:pt x="182" y="82"/>
                  </a:lnTo>
                  <a:lnTo>
                    <a:pt x="184" y="80"/>
                  </a:lnTo>
                  <a:lnTo>
                    <a:pt x="178" y="80"/>
                  </a:lnTo>
                  <a:lnTo>
                    <a:pt x="174" y="84"/>
                  </a:lnTo>
                  <a:lnTo>
                    <a:pt x="170" y="98"/>
                  </a:lnTo>
                  <a:lnTo>
                    <a:pt x="170" y="102"/>
                  </a:lnTo>
                  <a:lnTo>
                    <a:pt x="164" y="98"/>
                  </a:lnTo>
                  <a:lnTo>
                    <a:pt x="160" y="98"/>
                  </a:lnTo>
                  <a:lnTo>
                    <a:pt x="150" y="88"/>
                  </a:lnTo>
                  <a:lnTo>
                    <a:pt x="142" y="86"/>
                  </a:lnTo>
                  <a:lnTo>
                    <a:pt x="138" y="86"/>
                  </a:lnTo>
                  <a:lnTo>
                    <a:pt x="140" y="96"/>
                  </a:lnTo>
                  <a:lnTo>
                    <a:pt x="148" y="104"/>
                  </a:lnTo>
                  <a:lnTo>
                    <a:pt x="148" y="112"/>
                  </a:lnTo>
                  <a:lnTo>
                    <a:pt x="150" y="116"/>
                  </a:lnTo>
                  <a:lnTo>
                    <a:pt x="152" y="126"/>
                  </a:lnTo>
                  <a:lnTo>
                    <a:pt x="144" y="144"/>
                  </a:lnTo>
                  <a:lnTo>
                    <a:pt x="154" y="148"/>
                  </a:lnTo>
                  <a:lnTo>
                    <a:pt x="156" y="156"/>
                  </a:lnTo>
                  <a:lnTo>
                    <a:pt x="164" y="164"/>
                  </a:lnTo>
                  <a:lnTo>
                    <a:pt x="168" y="166"/>
                  </a:lnTo>
                  <a:lnTo>
                    <a:pt x="174" y="170"/>
                  </a:lnTo>
                  <a:lnTo>
                    <a:pt x="168" y="178"/>
                  </a:lnTo>
                  <a:lnTo>
                    <a:pt x="162" y="182"/>
                  </a:lnTo>
                  <a:lnTo>
                    <a:pt x="152" y="208"/>
                  </a:lnTo>
                  <a:lnTo>
                    <a:pt x="154" y="222"/>
                  </a:lnTo>
                  <a:lnTo>
                    <a:pt x="154" y="224"/>
                  </a:lnTo>
                  <a:lnTo>
                    <a:pt x="160" y="212"/>
                  </a:lnTo>
                  <a:lnTo>
                    <a:pt x="158" y="210"/>
                  </a:lnTo>
                  <a:lnTo>
                    <a:pt x="160" y="206"/>
                  </a:lnTo>
                  <a:lnTo>
                    <a:pt x="166" y="202"/>
                  </a:lnTo>
                  <a:lnTo>
                    <a:pt x="186" y="202"/>
                  </a:lnTo>
                  <a:lnTo>
                    <a:pt x="190" y="206"/>
                  </a:lnTo>
                  <a:lnTo>
                    <a:pt x="194" y="214"/>
                  </a:lnTo>
                  <a:lnTo>
                    <a:pt x="194" y="224"/>
                  </a:lnTo>
                  <a:lnTo>
                    <a:pt x="206" y="246"/>
                  </a:lnTo>
                  <a:lnTo>
                    <a:pt x="196" y="252"/>
                  </a:lnTo>
                  <a:lnTo>
                    <a:pt x="188" y="252"/>
                  </a:lnTo>
                  <a:lnTo>
                    <a:pt x="188" y="254"/>
                  </a:lnTo>
                  <a:lnTo>
                    <a:pt x="192" y="256"/>
                  </a:lnTo>
                  <a:lnTo>
                    <a:pt x="186" y="256"/>
                  </a:lnTo>
                  <a:lnTo>
                    <a:pt x="180" y="252"/>
                  </a:lnTo>
                  <a:lnTo>
                    <a:pt x="174" y="250"/>
                  </a:lnTo>
                  <a:lnTo>
                    <a:pt x="166" y="244"/>
                  </a:lnTo>
                  <a:lnTo>
                    <a:pt x="154" y="240"/>
                  </a:lnTo>
                  <a:lnTo>
                    <a:pt x="154" y="228"/>
                  </a:lnTo>
                  <a:lnTo>
                    <a:pt x="150" y="240"/>
                  </a:lnTo>
                  <a:lnTo>
                    <a:pt x="144" y="244"/>
                  </a:lnTo>
                  <a:lnTo>
                    <a:pt x="140" y="250"/>
                  </a:lnTo>
                  <a:lnTo>
                    <a:pt x="138" y="266"/>
                  </a:lnTo>
                  <a:lnTo>
                    <a:pt x="140" y="266"/>
                  </a:lnTo>
                  <a:lnTo>
                    <a:pt x="146" y="264"/>
                  </a:lnTo>
                  <a:lnTo>
                    <a:pt x="154" y="266"/>
                  </a:lnTo>
                  <a:lnTo>
                    <a:pt x="164" y="272"/>
                  </a:lnTo>
                  <a:lnTo>
                    <a:pt x="164" y="280"/>
                  </a:lnTo>
                  <a:lnTo>
                    <a:pt x="158" y="272"/>
                  </a:lnTo>
                  <a:lnTo>
                    <a:pt x="150" y="274"/>
                  </a:lnTo>
                  <a:lnTo>
                    <a:pt x="156" y="282"/>
                  </a:lnTo>
                  <a:lnTo>
                    <a:pt x="160" y="286"/>
                  </a:lnTo>
                  <a:lnTo>
                    <a:pt x="144" y="288"/>
                  </a:lnTo>
                  <a:lnTo>
                    <a:pt x="144" y="290"/>
                  </a:lnTo>
                  <a:lnTo>
                    <a:pt x="148" y="292"/>
                  </a:lnTo>
                  <a:lnTo>
                    <a:pt x="152" y="304"/>
                  </a:lnTo>
                  <a:lnTo>
                    <a:pt x="158" y="308"/>
                  </a:lnTo>
                  <a:lnTo>
                    <a:pt x="150" y="312"/>
                  </a:lnTo>
                  <a:lnTo>
                    <a:pt x="132" y="358"/>
                  </a:lnTo>
                  <a:lnTo>
                    <a:pt x="132" y="368"/>
                  </a:lnTo>
                  <a:lnTo>
                    <a:pt x="128" y="378"/>
                  </a:lnTo>
                  <a:lnTo>
                    <a:pt x="116" y="376"/>
                  </a:lnTo>
                </a:path>
              </a:pathLst>
            </a:custGeom>
            <a:solidFill>
              <a:schemeClr val="bg2"/>
            </a:solidFill>
            <a:ln w="3175">
              <a:solidFill>
                <a:schemeClr val="bg2"/>
              </a:solidFill>
              <a:prstDash val="solid"/>
              <a:round/>
              <a:headEnd/>
              <a:tailEnd/>
            </a:ln>
          </p:spPr>
          <p:txBody>
            <a:bodyPr/>
            <a:lstStyle/>
            <a:p>
              <a:endParaRPr lang="en-US">
                <a:latin typeface="Arial" panose="020B0604020202020204" pitchFamily="34" charset="0"/>
                <a:cs typeface="Arial" panose="020B0604020202020204" pitchFamily="34" charset="0"/>
              </a:endParaRPr>
            </a:p>
          </p:txBody>
        </p:sp>
      </p:grpSp>
      <p:sp>
        <p:nvSpPr>
          <p:cNvPr id="1046" name="Freeform 167"/>
          <p:cNvSpPr>
            <a:spLocks noEditPoints="1"/>
          </p:cNvSpPr>
          <p:nvPr/>
        </p:nvSpPr>
        <p:spPr bwMode="gray">
          <a:xfrm>
            <a:off x="8745542" y="4502372"/>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7" name="Freeform 169"/>
          <p:cNvSpPr>
            <a:spLocks noEditPoints="1"/>
          </p:cNvSpPr>
          <p:nvPr/>
        </p:nvSpPr>
        <p:spPr bwMode="gray">
          <a:xfrm>
            <a:off x="9717498" y="4932352"/>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cxnSp>
        <p:nvCxnSpPr>
          <p:cNvPr id="10" name="Straight Connector 9"/>
          <p:cNvCxnSpPr/>
          <p:nvPr/>
        </p:nvCxnSpPr>
        <p:spPr>
          <a:xfrm>
            <a:off x="6974120" y="3518909"/>
            <a:ext cx="0" cy="2426756"/>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6929120" y="3522040"/>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solidFill>
                <a:srgbClr val="EEEEE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45814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20240933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1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ext Placeholder 4"/>
          <p:cNvSpPr>
            <a:spLocks noGrp="1"/>
          </p:cNvSpPr>
          <p:nvPr>
            <p:ph type="body" sz="quarter" idx="11"/>
          </p:nvPr>
        </p:nvSpPr>
        <p:spPr/>
        <p:txBody>
          <a:bodyPr/>
          <a:lstStyle/>
          <a:p>
            <a:endParaRPr lang="en-US"/>
          </a:p>
        </p:txBody>
      </p:sp>
      <p:sp>
        <p:nvSpPr>
          <p:cNvPr id="3" name="Title 2"/>
          <p:cNvSpPr>
            <a:spLocks noGrp="1"/>
          </p:cNvSpPr>
          <p:nvPr>
            <p:ph type="title"/>
          </p:nvPr>
        </p:nvSpPr>
        <p:spPr/>
        <p:txBody>
          <a:bodyPr/>
          <a:lstStyle/>
          <a:p>
            <a:endParaRPr lang="en-US"/>
          </a:p>
        </p:txBody>
      </p:sp>
      <p:sp>
        <p:nvSpPr>
          <p:cNvPr id="41" name="Freeform 7"/>
          <p:cNvSpPr>
            <a:spLocks noEditPoints="1"/>
          </p:cNvSpPr>
          <p:nvPr/>
        </p:nvSpPr>
        <p:spPr bwMode="gray">
          <a:xfrm>
            <a:off x="3080760" y="1550294"/>
            <a:ext cx="1606930" cy="1923462"/>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2" name="Freeform 8"/>
          <p:cNvSpPr>
            <a:spLocks noEditPoints="1"/>
          </p:cNvSpPr>
          <p:nvPr/>
        </p:nvSpPr>
        <p:spPr bwMode="gray">
          <a:xfrm>
            <a:off x="4327035" y="1491775"/>
            <a:ext cx="1091710" cy="1499842"/>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3" name="Freeform 9"/>
          <p:cNvSpPr>
            <a:spLocks noEditPoints="1"/>
          </p:cNvSpPr>
          <p:nvPr/>
        </p:nvSpPr>
        <p:spPr bwMode="gray">
          <a:xfrm>
            <a:off x="2516803" y="2517113"/>
            <a:ext cx="1911885" cy="1400617"/>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4" name="Freeform 10"/>
          <p:cNvSpPr>
            <a:spLocks/>
          </p:cNvSpPr>
          <p:nvPr/>
        </p:nvSpPr>
        <p:spPr bwMode="gray">
          <a:xfrm>
            <a:off x="3515218" y="3663303"/>
            <a:ext cx="550033" cy="330754"/>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5" name="Freeform 11"/>
          <p:cNvSpPr>
            <a:spLocks/>
          </p:cNvSpPr>
          <p:nvPr/>
        </p:nvSpPr>
        <p:spPr bwMode="gray">
          <a:xfrm>
            <a:off x="4105631" y="3842673"/>
            <a:ext cx="192163" cy="58518"/>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6" name="Freeform 12"/>
          <p:cNvSpPr>
            <a:spLocks/>
          </p:cNvSpPr>
          <p:nvPr/>
        </p:nvSpPr>
        <p:spPr bwMode="gray">
          <a:xfrm>
            <a:off x="4023475" y="3925362"/>
            <a:ext cx="19495" cy="44525"/>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7" name="Freeform 13"/>
          <p:cNvSpPr>
            <a:spLocks/>
          </p:cNvSpPr>
          <p:nvPr/>
        </p:nvSpPr>
        <p:spPr bwMode="gray">
          <a:xfrm>
            <a:off x="3967776" y="3936811"/>
            <a:ext cx="73803" cy="69967"/>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8" name="Freeform 14"/>
          <p:cNvSpPr>
            <a:spLocks/>
          </p:cNvSpPr>
          <p:nvPr/>
        </p:nvSpPr>
        <p:spPr bwMode="gray">
          <a:xfrm>
            <a:off x="5207089" y="2743553"/>
            <a:ext cx="193556" cy="123397"/>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9" name="Freeform 15"/>
          <p:cNvSpPr>
            <a:spLocks/>
          </p:cNvSpPr>
          <p:nvPr/>
        </p:nvSpPr>
        <p:spPr bwMode="gray">
          <a:xfrm>
            <a:off x="4006766" y="3995329"/>
            <a:ext cx="44559" cy="21626"/>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16"/>
          <p:cNvSpPr>
            <a:spLocks/>
          </p:cNvSpPr>
          <p:nvPr/>
        </p:nvSpPr>
        <p:spPr bwMode="gray">
          <a:xfrm>
            <a:off x="4020689" y="3968615"/>
            <a:ext cx="108614" cy="50885"/>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17"/>
          <p:cNvSpPr>
            <a:spLocks/>
          </p:cNvSpPr>
          <p:nvPr/>
        </p:nvSpPr>
        <p:spPr bwMode="gray">
          <a:xfrm>
            <a:off x="4221207" y="3925361"/>
            <a:ext cx="37598" cy="11450"/>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18"/>
          <p:cNvSpPr>
            <a:spLocks/>
          </p:cNvSpPr>
          <p:nvPr/>
        </p:nvSpPr>
        <p:spPr bwMode="gray">
          <a:xfrm>
            <a:off x="4051324" y="3986424"/>
            <a:ext cx="79372" cy="71239"/>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3" name="Freeform 19"/>
          <p:cNvSpPr>
            <a:spLocks/>
          </p:cNvSpPr>
          <p:nvPr/>
        </p:nvSpPr>
        <p:spPr bwMode="gray">
          <a:xfrm>
            <a:off x="4292226" y="3899920"/>
            <a:ext cx="50129" cy="330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20"/>
          <p:cNvSpPr>
            <a:spLocks/>
          </p:cNvSpPr>
          <p:nvPr/>
        </p:nvSpPr>
        <p:spPr bwMode="gray">
          <a:xfrm>
            <a:off x="4338175" y="3899919"/>
            <a:ext cx="64054" cy="38164"/>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21"/>
          <p:cNvSpPr>
            <a:spLocks/>
          </p:cNvSpPr>
          <p:nvPr/>
        </p:nvSpPr>
        <p:spPr bwMode="gray">
          <a:xfrm>
            <a:off x="4084744" y="4051302"/>
            <a:ext cx="59878" cy="5215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22"/>
          <p:cNvSpPr>
            <a:spLocks/>
          </p:cNvSpPr>
          <p:nvPr/>
        </p:nvSpPr>
        <p:spPr bwMode="gray">
          <a:xfrm>
            <a:off x="4424511" y="3924090"/>
            <a:ext cx="26458" cy="10177"/>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23"/>
          <p:cNvSpPr>
            <a:spLocks/>
          </p:cNvSpPr>
          <p:nvPr/>
        </p:nvSpPr>
        <p:spPr bwMode="gray">
          <a:xfrm>
            <a:off x="4137659" y="4076745"/>
            <a:ext cx="105829" cy="41980"/>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24"/>
          <p:cNvSpPr>
            <a:spLocks/>
          </p:cNvSpPr>
          <p:nvPr/>
        </p:nvSpPr>
        <p:spPr bwMode="gray">
          <a:xfrm>
            <a:off x="4517807" y="4056391"/>
            <a:ext cx="16710" cy="13994"/>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Freeform 25"/>
          <p:cNvSpPr>
            <a:spLocks/>
          </p:cNvSpPr>
          <p:nvPr/>
        </p:nvSpPr>
        <p:spPr bwMode="gray">
          <a:xfrm>
            <a:off x="4313112" y="4033493"/>
            <a:ext cx="246471" cy="194636"/>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26"/>
          <p:cNvSpPr>
            <a:spLocks/>
          </p:cNvSpPr>
          <p:nvPr/>
        </p:nvSpPr>
        <p:spPr bwMode="gray">
          <a:xfrm>
            <a:off x="4173864" y="4215408"/>
            <a:ext cx="104437" cy="106859"/>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7"/>
          <p:cNvSpPr>
            <a:spLocks/>
          </p:cNvSpPr>
          <p:nvPr/>
        </p:nvSpPr>
        <p:spPr bwMode="gray">
          <a:xfrm>
            <a:off x="4208676" y="4029676"/>
            <a:ext cx="215836" cy="277324"/>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Freeform 28"/>
          <p:cNvSpPr>
            <a:spLocks/>
          </p:cNvSpPr>
          <p:nvPr/>
        </p:nvSpPr>
        <p:spPr bwMode="gray">
          <a:xfrm>
            <a:off x="5456344" y="3131552"/>
            <a:ext cx="80764" cy="105587"/>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3" name="Freeform 29"/>
          <p:cNvSpPr>
            <a:spLocks/>
          </p:cNvSpPr>
          <p:nvPr/>
        </p:nvSpPr>
        <p:spPr bwMode="gray">
          <a:xfrm>
            <a:off x="4531733" y="4097100"/>
            <a:ext cx="83549" cy="122125"/>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4" name="Freeform 30"/>
          <p:cNvSpPr>
            <a:spLocks noEditPoints="1"/>
          </p:cNvSpPr>
          <p:nvPr/>
        </p:nvSpPr>
        <p:spPr bwMode="gray">
          <a:xfrm>
            <a:off x="5499510" y="3029781"/>
            <a:ext cx="178238" cy="246794"/>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5" name="Freeform 31"/>
          <p:cNvSpPr>
            <a:spLocks/>
          </p:cNvSpPr>
          <p:nvPr/>
        </p:nvSpPr>
        <p:spPr bwMode="gray">
          <a:xfrm>
            <a:off x="4591609" y="4137808"/>
            <a:ext cx="76588" cy="71239"/>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Freeform 32"/>
          <p:cNvSpPr>
            <a:spLocks/>
          </p:cNvSpPr>
          <p:nvPr/>
        </p:nvSpPr>
        <p:spPr bwMode="gray">
          <a:xfrm>
            <a:off x="4657057" y="4142897"/>
            <a:ext cx="50129" cy="62335"/>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7" name="Freeform 33"/>
          <p:cNvSpPr>
            <a:spLocks noEditPoints="1"/>
          </p:cNvSpPr>
          <p:nvPr/>
        </p:nvSpPr>
        <p:spPr bwMode="gray">
          <a:xfrm>
            <a:off x="5737627" y="1853061"/>
            <a:ext cx="473445" cy="1195803"/>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Freeform 34"/>
          <p:cNvSpPr>
            <a:spLocks/>
          </p:cNvSpPr>
          <p:nvPr/>
        </p:nvSpPr>
        <p:spPr bwMode="gray">
          <a:xfrm>
            <a:off x="4165508" y="4239577"/>
            <a:ext cx="232546" cy="31040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9" name="Freeform 35"/>
          <p:cNvSpPr>
            <a:spLocks/>
          </p:cNvSpPr>
          <p:nvPr/>
        </p:nvSpPr>
        <p:spPr bwMode="gray">
          <a:xfrm>
            <a:off x="5473055" y="3464849"/>
            <a:ext cx="62663" cy="110676"/>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Freeform 36"/>
          <p:cNvSpPr>
            <a:spLocks/>
          </p:cNvSpPr>
          <p:nvPr/>
        </p:nvSpPr>
        <p:spPr bwMode="gray">
          <a:xfrm>
            <a:off x="5711170" y="3184982"/>
            <a:ext cx="66839" cy="71239"/>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Freeform 37"/>
          <p:cNvSpPr>
            <a:spLocks/>
          </p:cNvSpPr>
          <p:nvPr/>
        </p:nvSpPr>
        <p:spPr bwMode="gray">
          <a:xfrm>
            <a:off x="5693067" y="3235865"/>
            <a:ext cx="68233" cy="5215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Freeform 38"/>
          <p:cNvSpPr>
            <a:spLocks noEditPoints="1"/>
          </p:cNvSpPr>
          <p:nvPr/>
        </p:nvSpPr>
        <p:spPr bwMode="gray">
          <a:xfrm>
            <a:off x="5559389" y="3246044"/>
            <a:ext cx="260395" cy="235345"/>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3" name="Freeform 39"/>
          <p:cNvSpPr>
            <a:spLocks/>
          </p:cNvSpPr>
          <p:nvPr/>
        </p:nvSpPr>
        <p:spPr bwMode="gray">
          <a:xfrm>
            <a:off x="5478625" y="3427959"/>
            <a:ext cx="225583" cy="167921"/>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40"/>
          <p:cNvSpPr>
            <a:spLocks noEditPoints="1"/>
          </p:cNvSpPr>
          <p:nvPr/>
        </p:nvSpPr>
        <p:spPr bwMode="gray">
          <a:xfrm>
            <a:off x="5793324" y="3055224"/>
            <a:ext cx="80764" cy="86505"/>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5" name="Freeform 41"/>
          <p:cNvSpPr>
            <a:spLocks/>
          </p:cNvSpPr>
          <p:nvPr/>
        </p:nvSpPr>
        <p:spPr bwMode="gray">
          <a:xfrm>
            <a:off x="5751551" y="3271486"/>
            <a:ext cx="13925" cy="17810"/>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Freeform 42"/>
          <p:cNvSpPr>
            <a:spLocks/>
          </p:cNvSpPr>
          <p:nvPr/>
        </p:nvSpPr>
        <p:spPr bwMode="gray">
          <a:xfrm>
            <a:off x="5847633" y="2632875"/>
            <a:ext cx="235331" cy="496132"/>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Freeform 43"/>
          <p:cNvSpPr>
            <a:spLocks/>
          </p:cNvSpPr>
          <p:nvPr/>
        </p:nvSpPr>
        <p:spPr bwMode="gray">
          <a:xfrm>
            <a:off x="5407607" y="3598424"/>
            <a:ext cx="220013" cy="162833"/>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44"/>
          <p:cNvSpPr>
            <a:spLocks noEditPoints="1"/>
          </p:cNvSpPr>
          <p:nvPr/>
        </p:nvSpPr>
        <p:spPr bwMode="gray">
          <a:xfrm>
            <a:off x="5754335" y="3140456"/>
            <a:ext cx="165706" cy="202269"/>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45"/>
          <p:cNvSpPr>
            <a:spLocks/>
          </p:cNvSpPr>
          <p:nvPr/>
        </p:nvSpPr>
        <p:spPr bwMode="gray">
          <a:xfrm>
            <a:off x="5337982" y="3761256"/>
            <a:ext cx="151782" cy="114492"/>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0" name="Freeform 46"/>
          <p:cNvSpPr>
            <a:spLocks/>
          </p:cNvSpPr>
          <p:nvPr/>
        </p:nvSpPr>
        <p:spPr bwMode="gray">
          <a:xfrm>
            <a:off x="5754336" y="3331276"/>
            <a:ext cx="82157" cy="45796"/>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1" name="Freeform 47"/>
          <p:cNvSpPr>
            <a:spLocks/>
          </p:cNvSpPr>
          <p:nvPr/>
        </p:nvSpPr>
        <p:spPr bwMode="gray">
          <a:xfrm>
            <a:off x="4381345" y="4402410"/>
            <a:ext cx="217227" cy="228983"/>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Freeform 48"/>
          <p:cNvSpPr>
            <a:spLocks/>
          </p:cNvSpPr>
          <p:nvPr/>
        </p:nvSpPr>
        <p:spPr bwMode="gray">
          <a:xfrm>
            <a:off x="6025870" y="2589623"/>
            <a:ext cx="192163" cy="399449"/>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3" name="Freeform 49"/>
          <p:cNvSpPr>
            <a:spLocks/>
          </p:cNvSpPr>
          <p:nvPr/>
        </p:nvSpPr>
        <p:spPr bwMode="gray">
          <a:xfrm>
            <a:off x="5818392" y="3302017"/>
            <a:ext cx="143427" cy="63607"/>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Freeform 50"/>
          <p:cNvSpPr>
            <a:spLocks/>
          </p:cNvSpPr>
          <p:nvPr/>
        </p:nvSpPr>
        <p:spPr bwMode="gray">
          <a:xfrm>
            <a:off x="5869912" y="3247317"/>
            <a:ext cx="119754" cy="64879"/>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51"/>
          <p:cNvSpPr>
            <a:spLocks/>
          </p:cNvSpPr>
          <p:nvPr/>
        </p:nvSpPr>
        <p:spPr bwMode="gray">
          <a:xfrm>
            <a:off x="5336589" y="3768889"/>
            <a:ext cx="221406" cy="220079"/>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Freeform 52"/>
          <p:cNvSpPr>
            <a:spLocks noEditPoints="1"/>
          </p:cNvSpPr>
          <p:nvPr/>
        </p:nvSpPr>
        <p:spPr bwMode="gray">
          <a:xfrm>
            <a:off x="5903331" y="3146817"/>
            <a:ext cx="182416" cy="152656"/>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7" name="Freeform 53"/>
          <p:cNvSpPr>
            <a:spLocks/>
          </p:cNvSpPr>
          <p:nvPr/>
        </p:nvSpPr>
        <p:spPr bwMode="gray">
          <a:xfrm>
            <a:off x="5342160" y="4005505"/>
            <a:ext cx="50129" cy="11450"/>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Freeform 54"/>
          <p:cNvSpPr>
            <a:spLocks/>
          </p:cNvSpPr>
          <p:nvPr/>
        </p:nvSpPr>
        <p:spPr bwMode="gray">
          <a:xfrm>
            <a:off x="5329628" y="3954622"/>
            <a:ext cx="110007" cy="77601"/>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9" name="Freeform 55"/>
          <p:cNvSpPr>
            <a:spLocks/>
          </p:cNvSpPr>
          <p:nvPr/>
        </p:nvSpPr>
        <p:spPr bwMode="gray">
          <a:xfrm>
            <a:off x="6027264" y="3046319"/>
            <a:ext cx="132287" cy="72512"/>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Freeform 56"/>
          <p:cNvSpPr>
            <a:spLocks/>
          </p:cNvSpPr>
          <p:nvPr/>
        </p:nvSpPr>
        <p:spPr bwMode="gray">
          <a:xfrm>
            <a:off x="6071824" y="3000522"/>
            <a:ext cx="87727" cy="62335"/>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1" name="Freeform 57"/>
          <p:cNvSpPr>
            <a:spLocks/>
          </p:cNvSpPr>
          <p:nvPr/>
        </p:nvSpPr>
        <p:spPr bwMode="gray">
          <a:xfrm>
            <a:off x="5889407" y="3352902"/>
            <a:ext cx="58484" cy="3562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Freeform 58"/>
          <p:cNvSpPr>
            <a:spLocks/>
          </p:cNvSpPr>
          <p:nvPr/>
        </p:nvSpPr>
        <p:spPr bwMode="gray">
          <a:xfrm>
            <a:off x="5344944" y="4025861"/>
            <a:ext cx="52914" cy="26715"/>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3" name="Freeform 59"/>
          <p:cNvSpPr>
            <a:spLocks noEditPoints="1"/>
          </p:cNvSpPr>
          <p:nvPr/>
        </p:nvSpPr>
        <p:spPr bwMode="gray">
          <a:xfrm>
            <a:off x="5765476" y="3347814"/>
            <a:ext cx="218621" cy="232800"/>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4" name="Freeform 60"/>
          <p:cNvSpPr>
            <a:spLocks/>
          </p:cNvSpPr>
          <p:nvPr/>
        </p:nvSpPr>
        <p:spPr bwMode="gray">
          <a:xfrm>
            <a:off x="6027263" y="3097203"/>
            <a:ext cx="107222" cy="73784"/>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Freeform 61"/>
          <p:cNvSpPr>
            <a:spLocks/>
          </p:cNvSpPr>
          <p:nvPr/>
        </p:nvSpPr>
        <p:spPr bwMode="gray">
          <a:xfrm>
            <a:off x="5489765" y="3572980"/>
            <a:ext cx="374579" cy="344748"/>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Freeform 62"/>
          <p:cNvSpPr>
            <a:spLocks/>
          </p:cNvSpPr>
          <p:nvPr/>
        </p:nvSpPr>
        <p:spPr bwMode="gray">
          <a:xfrm>
            <a:off x="5954854" y="3284208"/>
            <a:ext cx="103044" cy="44525"/>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7" name="Freeform 63"/>
          <p:cNvSpPr>
            <a:spLocks/>
          </p:cNvSpPr>
          <p:nvPr/>
        </p:nvSpPr>
        <p:spPr bwMode="gray">
          <a:xfrm>
            <a:off x="4508060" y="4565243"/>
            <a:ext cx="151782" cy="147567"/>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Freeform 64"/>
          <p:cNvSpPr>
            <a:spLocks/>
          </p:cNvSpPr>
          <p:nvPr/>
        </p:nvSpPr>
        <p:spPr bwMode="gray">
          <a:xfrm>
            <a:off x="5942321" y="3310923"/>
            <a:ext cx="123932" cy="69967"/>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9" name="Freeform 65"/>
          <p:cNvSpPr>
            <a:spLocks noEditPoints="1"/>
          </p:cNvSpPr>
          <p:nvPr/>
        </p:nvSpPr>
        <p:spPr bwMode="gray">
          <a:xfrm>
            <a:off x="5893585" y="3361808"/>
            <a:ext cx="107222" cy="97955"/>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0" name="Freeform 66"/>
          <p:cNvSpPr>
            <a:spLocks noEditPoints="1"/>
          </p:cNvSpPr>
          <p:nvPr/>
        </p:nvSpPr>
        <p:spPr bwMode="gray">
          <a:xfrm>
            <a:off x="4301972" y="4151800"/>
            <a:ext cx="710169" cy="685679"/>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Freeform 67"/>
          <p:cNvSpPr>
            <a:spLocks/>
          </p:cNvSpPr>
          <p:nvPr/>
        </p:nvSpPr>
        <p:spPr bwMode="gray">
          <a:xfrm>
            <a:off x="5374188" y="4025860"/>
            <a:ext cx="137857" cy="92866"/>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Freeform 68"/>
          <p:cNvSpPr>
            <a:spLocks/>
          </p:cNvSpPr>
          <p:nvPr/>
        </p:nvSpPr>
        <p:spPr bwMode="gray">
          <a:xfrm>
            <a:off x="5425710" y="3808325"/>
            <a:ext cx="297993" cy="262059"/>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3" name="Freeform 69"/>
          <p:cNvSpPr>
            <a:spLocks/>
          </p:cNvSpPr>
          <p:nvPr/>
        </p:nvSpPr>
        <p:spPr bwMode="gray">
          <a:xfrm>
            <a:off x="5933966" y="3392339"/>
            <a:ext cx="69624" cy="62335"/>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Freeform 70"/>
          <p:cNvSpPr>
            <a:spLocks/>
          </p:cNvSpPr>
          <p:nvPr/>
        </p:nvSpPr>
        <p:spPr bwMode="gray">
          <a:xfrm>
            <a:off x="6069038" y="3104836"/>
            <a:ext cx="172668" cy="13739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Freeform 71"/>
          <p:cNvSpPr>
            <a:spLocks/>
          </p:cNvSpPr>
          <p:nvPr/>
        </p:nvSpPr>
        <p:spPr bwMode="gray">
          <a:xfrm>
            <a:off x="5406216" y="4071655"/>
            <a:ext cx="51523" cy="5215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Freeform 72"/>
          <p:cNvSpPr>
            <a:spLocks/>
          </p:cNvSpPr>
          <p:nvPr/>
        </p:nvSpPr>
        <p:spPr bwMode="gray">
          <a:xfrm>
            <a:off x="5783579" y="3569165"/>
            <a:ext cx="72409" cy="141207"/>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7" name="Freeform 73"/>
          <p:cNvSpPr>
            <a:spLocks/>
          </p:cNvSpPr>
          <p:nvPr/>
        </p:nvSpPr>
        <p:spPr bwMode="gray">
          <a:xfrm>
            <a:off x="5982705" y="3433047"/>
            <a:ext cx="34813" cy="38164"/>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Freeform 74"/>
          <p:cNvSpPr>
            <a:spLocks/>
          </p:cNvSpPr>
          <p:nvPr/>
        </p:nvSpPr>
        <p:spPr bwMode="gray">
          <a:xfrm>
            <a:off x="6016124" y="3318556"/>
            <a:ext cx="171276" cy="109403"/>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9" name="Freeform 75"/>
          <p:cNvSpPr>
            <a:spLocks/>
          </p:cNvSpPr>
          <p:nvPr/>
        </p:nvSpPr>
        <p:spPr bwMode="gray">
          <a:xfrm>
            <a:off x="5989666" y="3370712"/>
            <a:ext cx="73803" cy="99226"/>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Freeform 76"/>
          <p:cNvSpPr>
            <a:spLocks/>
          </p:cNvSpPr>
          <p:nvPr/>
        </p:nvSpPr>
        <p:spPr bwMode="gray">
          <a:xfrm>
            <a:off x="6048152" y="3211695"/>
            <a:ext cx="328627" cy="198452"/>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77"/>
          <p:cNvSpPr>
            <a:spLocks/>
          </p:cNvSpPr>
          <p:nvPr/>
        </p:nvSpPr>
        <p:spPr bwMode="gray">
          <a:xfrm>
            <a:off x="5438241" y="4097099"/>
            <a:ext cx="75194" cy="6869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2" name="Freeform 78"/>
          <p:cNvSpPr>
            <a:spLocks noEditPoints="1"/>
          </p:cNvSpPr>
          <p:nvPr/>
        </p:nvSpPr>
        <p:spPr bwMode="gray">
          <a:xfrm>
            <a:off x="6007769" y="2124024"/>
            <a:ext cx="2910298" cy="1361179"/>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3" name="Freeform 79"/>
          <p:cNvSpPr>
            <a:spLocks/>
          </p:cNvSpPr>
          <p:nvPr/>
        </p:nvSpPr>
        <p:spPr bwMode="gray">
          <a:xfrm>
            <a:off x="5545463" y="3983880"/>
            <a:ext cx="144818" cy="94137"/>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4" name="Freeform 80"/>
          <p:cNvSpPr>
            <a:spLocks/>
          </p:cNvSpPr>
          <p:nvPr/>
        </p:nvSpPr>
        <p:spPr bwMode="gray">
          <a:xfrm>
            <a:off x="5998019" y="3454673"/>
            <a:ext cx="32028" cy="66151"/>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5" name="Freeform 81"/>
          <p:cNvSpPr>
            <a:spLocks/>
          </p:cNvSpPr>
          <p:nvPr/>
        </p:nvSpPr>
        <p:spPr bwMode="gray">
          <a:xfrm>
            <a:off x="6020300" y="3459760"/>
            <a:ext cx="44559" cy="3562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6" name="Freeform 82"/>
          <p:cNvSpPr>
            <a:spLocks/>
          </p:cNvSpPr>
          <p:nvPr/>
        </p:nvSpPr>
        <p:spPr bwMode="gray">
          <a:xfrm>
            <a:off x="5491156" y="4060208"/>
            <a:ext cx="110007" cy="105587"/>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7" name="Freeform 83"/>
          <p:cNvSpPr>
            <a:spLocks/>
          </p:cNvSpPr>
          <p:nvPr/>
        </p:nvSpPr>
        <p:spPr bwMode="gray">
          <a:xfrm>
            <a:off x="6052328" y="3415238"/>
            <a:ext cx="112792" cy="71239"/>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8" name="Freeform 84"/>
          <p:cNvSpPr>
            <a:spLocks/>
          </p:cNvSpPr>
          <p:nvPr/>
        </p:nvSpPr>
        <p:spPr bwMode="gray">
          <a:xfrm>
            <a:off x="6131701" y="3314738"/>
            <a:ext cx="62663" cy="72512"/>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Freeform 85"/>
          <p:cNvSpPr>
            <a:spLocks/>
          </p:cNvSpPr>
          <p:nvPr/>
        </p:nvSpPr>
        <p:spPr bwMode="gray">
          <a:xfrm>
            <a:off x="4584648" y="4766240"/>
            <a:ext cx="93297" cy="94137"/>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86"/>
          <p:cNvSpPr>
            <a:spLocks/>
          </p:cNvSpPr>
          <p:nvPr/>
        </p:nvSpPr>
        <p:spPr bwMode="gray">
          <a:xfrm>
            <a:off x="5649900" y="3836312"/>
            <a:ext cx="288245" cy="204813"/>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1" name="Freeform 87"/>
          <p:cNvSpPr>
            <a:spLocks noEditPoints="1"/>
          </p:cNvSpPr>
          <p:nvPr/>
        </p:nvSpPr>
        <p:spPr bwMode="gray">
          <a:xfrm>
            <a:off x="6013339" y="3475026"/>
            <a:ext cx="118362" cy="142478"/>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2" name="Freeform 88"/>
          <p:cNvSpPr>
            <a:spLocks/>
          </p:cNvSpPr>
          <p:nvPr/>
        </p:nvSpPr>
        <p:spPr bwMode="gray">
          <a:xfrm>
            <a:off x="5816998" y="3653125"/>
            <a:ext cx="286853" cy="254426"/>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3" name="Freeform 89"/>
          <p:cNvSpPr>
            <a:spLocks/>
          </p:cNvSpPr>
          <p:nvPr/>
        </p:nvSpPr>
        <p:spPr bwMode="gray">
          <a:xfrm>
            <a:off x="5588628" y="4051302"/>
            <a:ext cx="79372" cy="108131"/>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4" name="Freeform 90"/>
          <p:cNvSpPr>
            <a:spLocks/>
          </p:cNvSpPr>
          <p:nvPr/>
        </p:nvSpPr>
        <p:spPr bwMode="gray">
          <a:xfrm>
            <a:off x="5645722" y="4052573"/>
            <a:ext cx="33420" cy="83960"/>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Freeform 91"/>
          <p:cNvSpPr>
            <a:spLocks/>
          </p:cNvSpPr>
          <p:nvPr/>
        </p:nvSpPr>
        <p:spPr bwMode="gray">
          <a:xfrm>
            <a:off x="5662432" y="4030950"/>
            <a:ext cx="54308" cy="103043"/>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6" name="Freeform 92"/>
          <p:cNvSpPr>
            <a:spLocks noEditPoints="1"/>
          </p:cNvSpPr>
          <p:nvPr/>
        </p:nvSpPr>
        <p:spPr bwMode="gray">
          <a:xfrm>
            <a:off x="6120561" y="346612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7" name="Freeform 93"/>
          <p:cNvSpPr>
            <a:spLocks/>
          </p:cNvSpPr>
          <p:nvPr/>
        </p:nvSpPr>
        <p:spPr bwMode="gray">
          <a:xfrm>
            <a:off x="5695851" y="4006779"/>
            <a:ext cx="215836" cy="160289"/>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8" name="Freeform 94"/>
          <p:cNvSpPr>
            <a:spLocks/>
          </p:cNvSpPr>
          <p:nvPr/>
        </p:nvSpPr>
        <p:spPr bwMode="gray">
          <a:xfrm>
            <a:off x="6231960" y="3602239"/>
            <a:ext cx="41775" cy="22898"/>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9" name="Freeform 95"/>
          <p:cNvSpPr>
            <a:spLocks/>
          </p:cNvSpPr>
          <p:nvPr/>
        </p:nvSpPr>
        <p:spPr bwMode="gray">
          <a:xfrm>
            <a:off x="6096889" y="3684928"/>
            <a:ext cx="220013" cy="180642"/>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0" name="Freeform 96"/>
          <p:cNvSpPr>
            <a:spLocks/>
          </p:cNvSpPr>
          <p:nvPr/>
        </p:nvSpPr>
        <p:spPr bwMode="gray">
          <a:xfrm>
            <a:off x="5892193" y="3837584"/>
            <a:ext cx="190771" cy="276052"/>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Freeform 97"/>
          <p:cNvSpPr>
            <a:spLocks/>
          </p:cNvSpPr>
          <p:nvPr/>
        </p:nvSpPr>
        <p:spPr bwMode="gray">
          <a:xfrm>
            <a:off x="5803074" y="4018226"/>
            <a:ext cx="136463" cy="193364"/>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Freeform 98"/>
          <p:cNvSpPr>
            <a:spLocks/>
          </p:cNvSpPr>
          <p:nvPr/>
        </p:nvSpPr>
        <p:spPr bwMode="gray">
          <a:xfrm>
            <a:off x="6376778" y="3430502"/>
            <a:ext cx="122539" cy="57246"/>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Freeform 99"/>
          <p:cNvSpPr>
            <a:spLocks/>
          </p:cNvSpPr>
          <p:nvPr/>
        </p:nvSpPr>
        <p:spPr bwMode="gray">
          <a:xfrm>
            <a:off x="6283481" y="3625139"/>
            <a:ext cx="27850" cy="330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4" name="Freeform 100"/>
          <p:cNvSpPr>
            <a:spLocks/>
          </p:cNvSpPr>
          <p:nvPr/>
        </p:nvSpPr>
        <p:spPr bwMode="gray">
          <a:xfrm>
            <a:off x="6293229" y="3567893"/>
            <a:ext cx="128109" cy="104314"/>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Freeform 101"/>
          <p:cNvSpPr>
            <a:spLocks/>
          </p:cNvSpPr>
          <p:nvPr/>
        </p:nvSpPr>
        <p:spPr bwMode="gray">
          <a:xfrm>
            <a:off x="6268163" y="3654397"/>
            <a:ext cx="27850" cy="71239"/>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6" name="Freeform 102"/>
          <p:cNvSpPr>
            <a:spLocks/>
          </p:cNvSpPr>
          <p:nvPr/>
        </p:nvSpPr>
        <p:spPr bwMode="gray">
          <a:xfrm>
            <a:off x="5807249" y="4200141"/>
            <a:ext cx="103044" cy="103043"/>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Freeform 103"/>
          <p:cNvSpPr>
            <a:spLocks noEditPoints="1"/>
          </p:cNvSpPr>
          <p:nvPr/>
        </p:nvSpPr>
        <p:spPr bwMode="gray">
          <a:xfrm>
            <a:off x="4272730" y="4535983"/>
            <a:ext cx="155958" cy="798898"/>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8" name="Freeform 104"/>
          <p:cNvSpPr>
            <a:spLocks/>
          </p:cNvSpPr>
          <p:nvPr/>
        </p:nvSpPr>
        <p:spPr bwMode="gray">
          <a:xfrm>
            <a:off x="5908901" y="4053846"/>
            <a:ext cx="233938" cy="148840"/>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9" name="Freeform 105"/>
          <p:cNvSpPr>
            <a:spLocks/>
          </p:cNvSpPr>
          <p:nvPr/>
        </p:nvSpPr>
        <p:spPr bwMode="gray">
          <a:xfrm>
            <a:off x="6283481" y="3651853"/>
            <a:ext cx="79372" cy="80144"/>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0" name="Freeform 106"/>
          <p:cNvSpPr>
            <a:spLocks noEditPoints="1"/>
          </p:cNvSpPr>
          <p:nvPr/>
        </p:nvSpPr>
        <p:spPr bwMode="gray">
          <a:xfrm>
            <a:off x="4308936" y="4612310"/>
            <a:ext cx="362047" cy="726388"/>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1" name="Freeform 107"/>
          <p:cNvSpPr>
            <a:spLocks/>
          </p:cNvSpPr>
          <p:nvPr/>
        </p:nvSpPr>
        <p:spPr bwMode="gray">
          <a:xfrm>
            <a:off x="6438047" y="3482659"/>
            <a:ext cx="58484" cy="53430"/>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2" name="Freeform 108"/>
          <p:cNvSpPr>
            <a:spLocks/>
          </p:cNvSpPr>
          <p:nvPr/>
        </p:nvSpPr>
        <p:spPr bwMode="gray">
          <a:xfrm>
            <a:off x="5850417" y="4178516"/>
            <a:ext cx="133678" cy="142478"/>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3" name="Freeform 109"/>
          <p:cNvSpPr>
            <a:spLocks noEditPoints="1"/>
          </p:cNvSpPr>
          <p:nvPr/>
        </p:nvSpPr>
        <p:spPr bwMode="gray">
          <a:xfrm>
            <a:off x="6460329" y="3469939"/>
            <a:ext cx="104437" cy="77601"/>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4" name="Freeform 110"/>
          <p:cNvSpPr>
            <a:spLocks/>
          </p:cNvSpPr>
          <p:nvPr/>
        </p:nvSpPr>
        <p:spPr bwMode="gray">
          <a:xfrm>
            <a:off x="6493747" y="3125190"/>
            <a:ext cx="743588" cy="372734"/>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5" name="Freeform 111"/>
          <p:cNvSpPr>
            <a:spLocks/>
          </p:cNvSpPr>
          <p:nvPr/>
        </p:nvSpPr>
        <p:spPr bwMode="gray">
          <a:xfrm>
            <a:off x="6351712" y="3567894"/>
            <a:ext cx="178238" cy="166649"/>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6" name="Freeform 112"/>
          <p:cNvSpPr>
            <a:spLocks/>
          </p:cNvSpPr>
          <p:nvPr/>
        </p:nvSpPr>
        <p:spPr bwMode="gray">
          <a:xfrm>
            <a:off x="6042582" y="3864298"/>
            <a:ext cx="307740" cy="315488"/>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7" name="Freeform 113"/>
          <p:cNvSpPr>
            <a:spLocks/>
          </p:cNvSpPr>
          <p:nvPr/>
        </p:nvSpPr>
        <p:spPr bwMode="gray">
          <a:xfrm>
            <a:off x="6279304" y="3673478"/>
            <a:ext cx="387111" cy="31040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8" name="Freeform 114"/>
          <p:cNvSpPr>
            <a:spLocks/>
          </p:cNvSpPr>
          <p:nvPr/>
        </p:nvSpPr>
        <p:spPr bwMode="gray">
          <a:xfrm>
            <a:off x="5868521" y="4149255"/>
            <a:ext cx="346729" cy="314216"/>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49" name="Freeform 115"/>
          <p:cNvSpPr>
            <a:spLocks/>
          </p:cNvSpPr>
          <p:nvPr/>
        </p:nvSpPr>
        <p:spPr bwMode="gray">
          <a:xfrm>
            <a:off x="6449188" y="3517007"/>
            <a:ext cx="349514" cy="29131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0" name="Freeform 116"/>
          <p:cNvSpPr>
            <a:spLocks/>
          </p:cNvSpPr>
          <p:nvPr/>
        </p:nvSpPr>
        <p:spPr bwMode="gray">
          <a:xfrm>
            <a:off x="6493748" y="3716731"/>
            <a:ext cx="34813" cy="27987"/>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1" name="Freeform 117"/>
          <p:cNvSpPr>
            <a:spLocks/>
          </p:cNvSpPr>
          <p:nvPr/>
        </p:nvSpPr>
        <p:spPr bwMode="gray">
          <a:xfrm>
            <a:off x="6309938" y="3932993"/>
            <a:ext cx="119754" cy="99226"/>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2" name="Freeform 118"/>
          <p:cNvSpPr>
            <a:spLocks/>
          </p:cNvSpPr>
          <p:nvPr/>
        </p:nvSpPr>
        <p:spPr bwMode="gray">
          <a:xfrm>
            <a:off x="6603753" y="3450857"/>
            <a:ext cx="257610" cy="160289"/>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3" name="Freeform 119"/>
          <p:cNvSpPr>
            <a:spLocks noEditPoints="1"/>
          </p:cNvSpPr>
          <p:nvPr/>
        </p:nvSpPr>
        <p:spPr bwMode="gray">
          <a:xfrm>
            <a:off x="5861558" y="4313363"/>
            <a:ext cx="224191" cy="228983"/>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4" name="Freeform 120"/>
          <p:cNvSpPr>
            <a:spLocks/>
          </p:cNvSpPr>
          <p:nvPr/>
        </p:nvSpPr>
        <p:spPr bwMode="gray">
          <a:xfrm>
            <a:off x="6667809" y="3384706"/>
            <a:ext cx="311917" cy="190819"/>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5" name="Freeform 121"/>
          <p:cNvSpPr>
            <a:spLocks/>
          </p:cNvSpPr>
          <p:nvPr/>
        </p:nvSpPr>
        <p:spPr bwMode="gray">
          <a:xfrm>
            <a:off x="6247278" y="3988966"/>
            <a:ext cx="271535" cy="193364"/>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6" name="Freeform 122"/>
          <p:cNvSpPr>
            <a:spLocks/>
          </p:cNvSpPr>
          <p:nvPr/>
        </p:nvSpPr>
        <p:spPr bwMode="gray">
          <a:xfrm>
            <a:off x="6184615" y="4170881"/>
            <a:ext cx="100259" cy="92866"/>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7" name="Freeform 123"/>
          <p:cNvSpPr>
            <a:spLocks/>
          </p:cNvSpPr>
          <p:nvPr/>
        </p:nvSpPr>
        <p:spPr bwMode="gray">
          <a:xfrm>
            <a:off x="6170689" y="4257386"/>
            <a:ext cx="38990" cy="29260"/>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8" name="Freeform 124"/>
          <p:cNvSpPr>
            <a:spLocks/>
          </p:cNvSpPr>
          <p:nvPr/>
        </p:nvSpPr>
        <p:spPr bwMode="gray">
          <a:xfrm>
            <a:off x="6172083" y="4279014"/>
            <a:ext cx="36205" cy="38164"/>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59" name="Freeform 125"/>
          <p:cNvSpPr>
            <a:spLocks/>
          </p:cNvSpPr>
          <p:nvPr/>
        </p:nvSpPr>
        <p:spPr bwMode="gray">
          <a:xfrm>
            <a:off x="6424121" y="3916458"/>
            <a:ext cx="187986" cy="109403"/>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0" name="Freeform 126"/>
          <p:cNvSpPr>
            <a:spLocks/>
          </p:cNvSpPr>
          <p:nvPr/>
        </p:nvSpPr>
        <p:spPr bwMode="gray">
          <a:xfrm>
            <a:off x="6571727" y="3789242"/>
            <a:ext cx="13925" cy="30532"/>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1" name="Freeform 127"/>
          <p:cNvSpPr>
            <a:spLocks/>
          </p:cNvSpPr>
          <p:nvPr/>
        </p:nvSpPr>
        <p:spPr bwMode="gray">
          <a:xfrm>
            <a:off x="6407413" y="4024587"/>
            <a:ext cx="30635" cy="31803"/>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2" name="Freeform 128"/>
          <p:cNvSpPr>
            <a:spLocks/>
          </p:cNvSpPr>
          <p:nvPr/>
        </p:nvSpPr>
        <p:spPr bwMode="gray">
          <a:xfrm>
            <a:off x="6577296" y="3790515"/>
            <a:ext cx="96082" cy="71239"/>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3" name="Freeform 129"/>
          <p:cNvSpPr>
            <a:spLocks/>
          </p:cNvSpPr>
          <p:nvPr/>
        </p:nvSpPr>
        <p:spPr bwMode="gray">
          <a:xfrm>
            <a:off x="6252848" y="4161976"/>
            <a:ext cx="154567" cy="156472"/>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4" name="Freeform 130"/>
          <p:cNvSpPr>
            <a:spLocks/>
          </p:cNvSpPr>
          <p:nvPr/>
        </p:nvSpPr>
        <p:spPr bwMode="gray">
          <a:xfrm>
            <a:off x="6046759" y="4375696"/>
            <a:ext cx="213051" cy="169194"/>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5" name="Freeform 131"/>
          <p:cNvSpPr>
            <a:spLocks/>
          </p:cNvSpPr>
          <p:nvPr/>
        </p:nvSpPr>
        <p:spPr bwMode="gray">
          <a:xfrm>
            <a:off x="5861558" y="4524534"/>
            <a:ext cx="240901" cy="216262"/>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6" name="Freeform 132"/>
          <p:cNvSpPr>
            <a:spLocks/>
          </p:cNvSpPr>
          <p:nvPr/>
        </p:nvSpPr>
        <p:spPr bwMode="gray">
          <a:xfrm>
            <a:off x="6180438" y="4256115"/>
            <a:ext cx="201911" cy="179370"/>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7" name="Freeform 133"/>
          <p:cNvSpPr>
            <a:spLocks noEditPoints="1"/>
          </p:cNvSpPr>
          <p:nvPr/>
        </p:nvSpPr>
        <p:spPr bwMode="gray">
          <a:xfrm>
            <a:off x="6589828" y="3785426"/>
            <a:ext cx="146212" cy="171738"/>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8" name="Freeform 134"/>
          <p:cNvSpPr>
            <a:spLocks/>
          </p:cNvSpPr>
          <p:nvPr/>
        </p:nvSpPr>
        <p:spPr bwMode="gray">
          <a:xfrm>
            <a:off x="6745788" y="3546265"/>
            <a:ext cx="260395" cy="180642"/>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69" name="Freeform 135"/>
          <p:cNvSpPr>
            <a:spLocks/>
          </p:cNvSpPr>
          <p:nvPr/>
        </p:nvSpPr>
        <p:spPr bwMode="gray">
          <a:xfrm>
            <a:off x="6393488" y="4037307"/>
            <a:ext cx="185201" cy="231528"/>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Freeform 136"/>
          <p:cNvSpPr>
            <a:spLocks/>
          </p:cNvSpPr>
          <p:nvPr/>
        </p:nvSpPr>
        <p:spPr bwMode="gray">
          <a:xfrm>
            <a:off x="6875290" y="3487748"/>
            <a:ext cx="136463" cy="94137"/>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Freeform 137"/>
          <p:cNvSpPr>
            <a:spLocks/>
          </p:cNvSpPr>
          <p:nvPr/>
        </p:nvSpPr>
        <p:spPr bwMode="gray">
          <a:xfrm>
            <a:off x="6908708" y="3440679"/>
            <a:ext cx="199126" cy="8777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Freeform 138"/>
          <p:cNvSpPr>
            <a:spLocks/>
          </p:cNvSpPr>
          <p:nvPr/>
        </p:nvSpPr>
        <p:spPr bwMode="gray">
          <a:xfrm>
            <a:off x="6007769" y="4538527"/>
            <a:ext cx="171276" cy="165378"/>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Freeform 139"/>
          <p:cNvSpPr>
            <a:spLocks/>
          </p:cNvSpPr>
          <p:nvPr/>
        </p:nvSpPr>
        <p:spPr bwMode="gray">
          <a:xfrm>
            <a:off x="6106636" y="4501637"/>
            <a:ext cx="142033" cy="12085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4" name="Freeform 140"/>
          <p:cNvSpPr>
            <a:spLocks/>
          </p:cNvSpPr>
          <p:nvPr/>
        </p:nvSpPr>
        <p:spPr bwMode="gray">
          <a:xfrm>
            <a:off x="6754143" y="3575525"/>
            <a:ext cx="304955" cy="25569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5" name="Freeform 141"/>
          <p:cNvSpPr>
            <a:spLocks/>
          </p:cNvSpPr>
          <p:nvPr/>
        </p:nvSpPr>
        <p:spPr bwMode="gray">
          <a:xfrm>
            <a:off x="6243100" y="4398595"/>
            <a:ext cx="55699" cy="128485"/>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6" name="Freeform 142"/>
          <p:cNvSpPr>
            <a:spLocks noEditPoints="1"/>
          </p:cNvSpPr>
          <p:nvPr/>
        </p:nvSpPr>
        <p:spPr bwMode="gray">
          <a:xfrm>
            <a:off x="5908902" y="4616129"/>
            <a:ext cx="335589" cy="242977"/>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7" name="Freeform 143"/>
          <p:cNvSpPr>
            <a:spLocks/>
          </p:cNvSpPr>
          <p:nvPr/>
        </p:nvSpPr>
        <p:spPr bwMode="gray">
          <a:xfrm>
            <a:off x="6198541" y="4412587"/>
            <a:ext cx="192163" cy="29131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Freeform 144"/>
          <p:cNvSpPr>
            <a:spLocks/>
          </p:cNvSpPr>
          <p:nvPr/>
        </p:nvSpPr>
        <p:spPr bwMode="gray">
          <a:xfrm>
            <a:off x="6140057" y="4736980"/>
            <a:ext cx="41775" cy="39437"/>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Freeform 145"/>
          <p:cNvSpPr>
            <a:spLocks/>
          </p:cNvSpPr>
          <p:nvPr/>
        </p:nvSpPr>
        <p:spPr bwMode="gray">
          <a:xfrm>
            <a:off x="6206896" y="4682279"/>
            <a:ext cx="25065" cy="30532"/>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Freeform 147"/>
          <p:cNvSpPr>
            <a:spLocks/>
          </p:cNvSpPr>
          <p:nvPr/>
        </p:nvSpPr>
        <p:spPr bwMode="gray">
          <a:xfrm>
            <a:off x="7245689" y="3220600"/>
            <a:ext cx="580668" cy="25569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1" name="Freeform 149"/>
          <p:cNvSpPr>
            <a:spLocks/>
          </p:cNvSpPr>
          <p:nvPr/>
        </p:nvSpPr>
        <p:spPr bwMode="gray">
          <a:xfrm>
            <a:off x="6474048" y="4375695"/>
            <a:ext cx="130893" cy="236616"/>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2" name="Freeform 150"/>
          <p:cNvSpPr>
            <a:spLocks/>
          </p:cNvSpPr>
          <p:nvPr/>
        </p:nvSpPr>
        <p:spPr bwMode="gray">
          <a:xfrm>
            <a:off x="7103657" y="3705284"/>
            <a:ext cx="148997" cy="77601"/>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3" name="Freeform 151"/>
          <p:cNvSpPr>
            <a:spLocks/>
          </p:cNvSpPr>
          <p:nvPr/>
        </p:nvSpPr>
        <p:spPr bwMode="gray">
          <a:xfrm>
            <a:off x="7262401" y="3747262"/>
            <a:ext cx="58484" cy="30532"/>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4" name="Freeform 152"/>
          <p:cNvSpPr>
            <a:spLocks/>
          </p:cNvSpPr>
          <p:nvPr/>
        </p:nvSpPr>
        <p:spPr bwMode="gray">
          <a:xfrm>
            <a:off x="7248475" y="3784154"/>
            <a:ext cx="83549" cy="96682"/>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5" name="Freeform 153"/>
          <p:cNvSpPr>
            <a:spLocks/>
          </p:cNvSpPr>
          <p:nvPr/>
        </p:nvSpPr>
        <p:spPr bwMode="gray">
          <a:xfrm>
            <a:off x="7096696" y="4075472"/>
            <a:ext cx="40383" cy="63607"/>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6" name="Freeform 154"/>
          <p:cNvSpPr>
            <a:spLocks/>
          </p:cNvSpPr>
          <p:nvPr/>
        </p:nvSpPr>
        <p:spPr bwMode="gray">
          <a:xfrm>
            <a:off x="7322277" y="3744719"/>
            <a:ext cx="162922" cy="32439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7" name="Freeform 155"/>
          <p:cNvSpPr>
            <a:spLocks/>
          </p:cNvSpPr>
          <p:nvPr/>
        </p:nvSpPr>
        <p:spPr bwMode="gray">
          <a:xfrm>
            <a:off x="7467097" y="3852849"/>
            <a:ext cx="135072" cy="152656"/>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8" name="Freeform 156"/>
          <p:cNvSpPr>
            <a:spLocks/>
          </p:cNvSpPr>
          <p:nvPr/>
        </p:nvSpPr>
        <p:spPr bwMode="gray">
          <a:xfrm>
            <a:off x="7418360" y="3891013"/>
            <a:ext cx="147603" cy="254426"/>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9" name="Freeform 157"/>
          <p:cNvSpPr>
            <a:spLocks/>
          </p:cNvSpPr>
          <p:nvPr/>
        </p:nvSpPr>
        <p:spPr bwMode="gray">
          <a:xfrm>
            <a:off x="7508872" y="3992785"/>
            <a:ext cx="94689" cy="72512"/>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0" name="Freeform 158"/>
          <p:cNvSpPr>
            <a:spLocks/>
          </p:cNvSpPr>
          <p:nvPr/>
        </p:nvSpPr>
        <p:spPr bwMode="gray">
          <a:xfrm>
            <a:off x="7501908" y="3838858"/>
            <a:ext cx="133678" cy="25824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1" name="Freeform 159"/>
          <p:cNvSpPr>
            <a:spLocks noEditPoints="1"/>
          </p:cNvSpPr>
          <p:nvPr/>
        </p:nvSpPr>
        <p:spPr bwMode="gray">
          <a:xfrm>
            <a:off x="7468488" y="4122542"/>
            <a:ext cx="343944" cy="103043"/>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2" name="Freeform 160"/>
          <p:cNvSpPr>
            <a:spLocks noEditPoints="1"/>
          </p:cNvSpPr>
          <p:nvPr/>
        </p:nvSpPr>
        <p:spPr bwMode="gray">
          <a:xfrm>
            <a:off x="7379370" y="4145440"/>
            <a:ext cx="832707" cy="265876"/>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3" name="Freeform 161"/>
          <p:cNvSpPr>
            <a:spLocks/>
          </p:cNvSpPr>
          <p:nvPr/>
        </p:nvSpPr>
        <p:spPr bwMode="gray">
          <a:xfrm>
            <a:off x="7905729" y="3445768"/>
            <a:ext cx="114184" cy="11830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4" name="Freeform 162"/>
          <p:cNvSpPr>
            <a:spLocks/>
          </p:cNvSpPr>
          <p:nvPr/>
        </p:nvSpPr>
        <p:spPr bwMode="gray">
          <a:xfrm>
            <a:off x="7939150" y="3542451"/>
            <a:ext cx="62663" cy="89049"/>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5" name="Freeform 163"/>
          <p:cNvSpPr>
            <a:spLocks/>
          </p:cNvSpPr>
          <p:nvPr/>
        </p:nvSpPr>
        <p:spPr bwMode="gray">
          <a:xfrm>
            <a:off x="7829141" y="3805781"/>
            <a:ext cx="33420" cy="58518"/>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164"/>
          <p:cNvSpPr>
            <a:spLocks/>
          </p:cNvSpPr>
          <p:nvPr/>
        </p:nvSpPr>
        <p:spPr bwMode="gray">
          <a:xfrm>
            <a:off x="7721921" y="4154345"/>
            <a:ext cx="20888" cy="16539"/>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65"/>
          <p:cNvSpPr>
            <a:spLocks noEditPoints="1"/>
          </p:cNvSpPr>
          <p:nvPr/>
        </p:nvSpPr>
        <p:spPr bwMode="gray">
          <a:xfrm>
            <a:off x="8000419" y="3388522"/>
            <a:ext cx="292423" cy="309129"/>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8" name="Freeform 166"/>
          <p:cNvSpPr>
            <a:spLocks noEditPoints="1"/>
          </p:cNvSpPr>
          <p:nvPr/>
        </p:nvSpPr>
        <p:spPr bwMode="gray">
          <a:xfrm>
            <a:off x="7777622" y="3924088"/>
            <a:ext cx="168491" cy="222624"/>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9" name="Freeform 167"/>
          <p:cNvSpPr>
            <a:spLocks noEditPoints="1"/>
          </p:cNvSpPr>
          <p:nvPr/>
        </p:nvSpPr>
        <p:spPr bwMode="gray">
          <a:xfrm>
            <a:off x="7703819" y="4420220"/>
            <a:ext cx="736626" cy="627161"/>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0" name="Freeform 168"/>
          <p:cNvSpPr>
            <a:spLocks noEditPoints="1"/>
          </p:cNvSpPr>
          <p:nvPr/>
        </p:nvSpPr>
        <p:spPr bwMode="gray">
          <a:xfrm>
            <a:off x="8207899" y="4284102"/>
            <a:ext cx="208874" cy="133574"/>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1" name="Freeform 169"/>
          <p:cNvSpPr>
            <a:spLocks noEditPoints="1"/>
          </p:cNvSpPr>
          <p:nvPr/>
        </p:nvSpPr>
        <p:spPr bwMode="gray">
          <a:xfrm>
            <a:off x="8675775" y="4850200"/>
            <a:ext cx="220013" cy="268420"/>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2" name="Freeform 170"/>
          <p:cNvSpPr>
            <a:spLocks noEditPoints="1"/>
          </p:cNvSpPr>
          <p:nvPr/>
        </p:nvSpPr>
        <p:spPr bwMode="gray">
          <a:xfrm>
            <a:off x="6120561" y="3466123"/>
            <a:ext cx="341159" cy="132301"/>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3" name="Freeform 6"/>
          <p:cNvSpPr>
            <a:spLocks/>
          </p:cNvSpPr>
          <p:nvPr/>
        </p:nvSpPr>
        <p:spPr bwMode="gray">
          <a:xfrm>
            <a:off x="8918067" y="2635421"/>
            <a:ext cx="182416" cy="184460"/>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4" name="Freeform 22"/>
          <p:cNvSpPr>
            <a:spLocks/>
          </p:cNvSpPr>
          <p:nvPr/>
        </p:nvSpPr>
        <p:spPr bwMode="gray">
          <a:xfrm>
            <a:off x="7619841" y="3897228"/>
            <a:ext cx="43156" cy="32881"/>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5" name="Freeform 13"/>
          <p:cNvSpPr>
            <a:spLocks/>
          </p:cNvSpPr>
          <p:nvPr/>
        </p:nvSpPr>
        <p:spPr bwMode="gray">
          <a:xfrm>
            <a:off x="6885036" y="3581883"/>
            <a:ext cx="533323" cy="523482"/>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6" name="Freeform 23"/>
          <p:cNvSpPr>
            <a:spLocks/>
          </p:cNvSpPr>
          <p:nvPr/>
        </p:nvSpPr>
        <p:spPr bwMode="gray">
          <a:xfrm>
            <a:off x="6988079" y="3181942"/>
            <a:ext cx="1106861" cy="712383"/>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solidFill>
            <a:schemeClr val="tx1">
              <a:lumMod val="60000"/>
              <a:lumOff val="4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18775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1"/>
            </p:custDataLst>
            <p:extLst>
              <p:ext uri="{D42A27DB-BD31-4B8C-83A1-F6EECF244321}">
                <p14:modId xmlns:p14="http://schemas.microsoft.com/office/powerpoint/2010/main" val="109173015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63" imgH="664" progId="TCLayout.ActiveDocument.1">
                  <p:embed/>
                </p:oleObj>
              </mc:Choice>
              <mc:Fallback>
                <p:oleObj name="think-cell Slide" r:id="rId4" imgW="663" imgH="664" progId="TCLayout.ActiveDocument.1">
                  <p:embed/>
                  <p:pic>
                    <p:nvPicPr>
                      <p:cNvPr id="51" name="Object 50"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2" name="Rectangle 51"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US"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53" name="Text Placeholder 52"/>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lstStyle/>
          <a:p>
            <a:r>
              <a:rPr lang="en-US"/>
              <a:t>Other shapes</a:t>
            </a:r>
          </a:p>
        </p:txBody>
      </p:sp>
      <p:grpSp>
        <p:nvGrpSpPr>
          <p:cNvPr id="6" name="Group 5"/>
          <p:cNvGrpSpPr/>
          <p:nvPr/>
        </p:nvGrpSpPr>
        <p:grpSpPr>
          <a:xfrm>
            <a:off x="1895364" y="1182171"/>
            <a:ext cx="2276831" cy="2276831"/>
            <a:chOff x="2759075" y="1508125"/>
            <a:chExt cx="4081463" cy="4081463"/>
          </a:xfrm>
          <a:solidFill>
            <a:schemeClr val="tx1">
              <a:lumMod val="60000"/>
              <a:lumOff val="40000"/>
            </a:schemeClr>
          </a:solidFill>
        </p:grpSpPr>
        <p:sp>
          <p:nvSpPr>
            <p:cNvPr id="7" name="Freeform 16"/>
            <p:cNvSpPr>
              <a:spLocks/>
            </p:cNvSpPr>
            <p:nvPr/>
          </p:nvSpPr>
          <p:spPr bwMode="auto">
            <a:xfrm>
              <a:off x="2759075" y="1508125"/>
              <a:ext cx="2241550" cy="4081463"/>
            </a:xfrm>
            <a:custGeom>
              <a:avLst/>
              <a:gdLst>
                <a:gd name="T0" fmla="*/ 2147483647 w 1420"/>
                <a:gd name="T1" fmla="*/ 1626693752 h 2580"/>
                <a:gd name="T2" fmla="*/ 2147483647 w 1420"/>
                <a:gd name="T3" fmla="*/ 1634200161 h 2580"/>
                <a:gd name="T4" fmla="*/ 2147483647 w 1420"/>
                <a:gd name="T5" fmla="*/ 1634200161 h 2580"/>
                <a:gd name="T6" fmla="*/ 2147483647 w 1420"/>
                <a:gd name="T7" fmla="*/ 1664232519 h 2580"/>
                <a:gd name="T8" fmla="*/ 2147483647 w 1420"/>
                <a:gd name="T9" fmla="*/ 1731802853 h 2580"/>
                <a:gd name="T10" fmla="*/ 2147483647 w 1420"/>
                <a:gd name="T11" fmla="*/ 1826902487 h 2580"/>
                <a:gd name="T12" fmla="*/ 2147483647 w 1420"/>
                <a:gd name="T13" fmla="*/ 1952032502 h 2580"/>
                <a:gd name="T14" fmla="*/ 2093145253 w 1420"/>
                <a:gd name="T15" fmla="*/ 2104690234 h 2580"/>
                <a:gd name="T16" fmla="*/ 1946126459 w 1420"/>
                <a:gd name="T17" fmla="*/ 2147483647 h 2580"/>
                <a:gd name="T18" fmla="*/ 1821535785 w 1420"/>
                <a:gd name="T19" fmla="*/ 2147483647 h 2580"/>
                <a:gd name="T20" fmla="*/ 1724353576 w 1420"/>
                <a:gd name="T21" fmla="*/ 2147483647 h 2580"/>
                <a:gd name="T22" fmla="*/ 1657073950 w 1420"/>
                <a:gd name="T23" fmla="*/ 2147483647 h 2580"/>
                <a:gd name="T24" fmla="*/ 1629663512 w 1420"/>
                <a:gd name="T25" fmla="*/ 2147483647 h 2580"/>
                <a:gd name="T26" fmla="*/ 1634647013 w 1420"/>
                <a:gd name="T27" fmla="*/ 2147483647 h 2580"/>
                <a:gd name="T28" fmla="*/ 1677007952 w 1420"/>
                <a:gd name="T29" fmla="*/ 2147483647 h 2580"/>
                <a:gd name="T30" fmla="*/ 1754256159 w 1420"/>
                <a:gd name="T31" fmla="*/ 2147483647 h 2580"/>
                <a:gd name="T32" fmla="*/ 1858912829 w 1420"/>
                <a:gd name="T33" fmla="*/ 2147483647 h 2580"/>
                <a:gd name="T34" fmla="*/ 1993472082 w 1420"/>
                <a:gd name="T35" fmla="*/ 2147483647 h 2580"/>
                <a:gd name="T36" fmla="*/ 2147483647 w 1420"/>
                <a:gd name="T37" fmla="*/ 2147483647 h 2580"/>
                <a:gd name="T38" fmla="*/ 2147483647 w 1420"/>
                <a:gd name="T39" fmla="*/ 2147483647 h 2580"/>
                <a:gd name="T40" fmla="*/ 2147483647 w 1420"/>
                <a:gd name="T41" fmla="*/ 2147483647 h 2580"/>
                <a:gd name="T42" fmla="*/ 2147483647 w 1420"/>
                <a:gd name="T43" fmla="*/ 2147483647 h 2580"/>
                <a:gd name="T44" fmla="*/ 2147483647 w 1420"/>
                <a:gd name="T45" fmla="*/ 2147483647 h 2580"/>
                <a:gd name="T46" fmla="*/ 2147483647 w 1420"/>
                <a:gd name="T47" fmla="*/ 2147483647 h 2580"/>
                <a:gd name="T48" fmla="*/ 2147483647 w 1420"/>
                <a:gd name="T49" fmla="*/ 2147483647 h 2580"/>
                <a:gd name="T50" fmla="*/ 2147483647 w 1420"/>
                <a:gd name="T51" fmla="*/ 2147483647 h 2580"/>
                <a:gd name="T52" fmla="*/ 2147483647 w 1420"/>
                <a:gd name="T53" fmla="*/ 2147483647 h 2580"/>
                <a:gd name="T54" fmla="*/ 2147483647 w 1420"/>
                <a:gd name="T55" fmla="*/ 2147483647 h 2580"/>
                <a:gd name="T56" fmla="*/ 1826519286 w 1420"/>
                <a:gd name="T57" fmla="*/ 2147483647 h 2580"/>
                <a:gd name="T58" fmla="*/ 1420348592 w 1420"/>
                <a:gd name="T59" fmla="*/ 2147483647 h 2580"/>
                <a:gd name="T60" fmla="*/ 1056540417 w 1420"/>
                <a:gd name="T61" fmla="*/ 2147483647 h 2580"/>
                <a:gd name="T62" fmla="*/ 735092589 w 1420"/>
                <a:gd name="T63" fmla="*/ 2147483647 h 2580"/>
                <a:gd name="T64" fmla="*/ 468466622 w 1420"/>
                <a:gd name="T65" fmla="*/ 2147483647 h 2580"/>
                <a:gd name="T66" fmla="*/ 251675563 w 1420"/>
                <a:gd name="T67" fmla="*/ 2147483647 h 2580"/>
                <a:gd name="T68" fmla="*/ 99673195 w 1420"/>
                <a:gd name="T69" fmla="*/ 2147483647 h 2580"/>
                <a:gd name="T70" fmla="*/ 12459544 w 1420"/>
                <a:gd name="T71" fmla="*/ 2147483647 h 2580"/>
                <a:gd name="T72" fmla="*/ 4983502 w 1420"/>
                <a:gd name="T73" fmla="*/ 2147483647 h 2580"/>
                <a:gd name="T74" fmla="*/ 64787112 w 1420"/>
                <a:gd name="T75" fmla="*/ 2147483647 h 2580"/>
                <a:gd name="T76" fmla="*/ 194362889 w 1420"/>
                <a:gd name="T77" fmla="*/ 2124711543 h 2580"/>
                <a:gd name="T78" fmla="*/ 386234816 w 1420"/>
                <a:gd name="T79" fmla="*/ 1691761818 h 2580"/>
                <a:gd name="T80" fmla="*/ 640402919 w 1420"/>
                <a:gd name="T81" fmla="*/ 1298852733 h 2580"/>
                <a:gd name="T82" fmla="*/ 941915166 w 1420"/>
                <a:gd name="T83" fmla="*/ 950990406 h 2580"/>
                <a:gd name="T84" fmla="*/ 1295756341 w 1420"/>
                <a:gd name="T85" fmla="*/ 648174244 h 2580"/>
                <a:gd name="T86" fmla="*/ 1681993032 w 1420"/>
                <a:gd name="T87" fmla="*/ 392908788 h 2580"/>
                <a:gd name="T88" fmla="*/ 2113080834 w 1420"/>
                <a:gd name="T89" fmla="*/ 197705726 h 2580"/>
                <a:gd name="T90" fmla="*/ 2147483647 w 1420"/>
                <a:gd name="T91" fmla="*/ 67570359 h 2580"/>
                <a:gd name="T92" fmla="*/ 2147483647 w 1420"/>
                <a:gd name="T93" fmla="*/ 5005329 h 2580"/>
                <a:gd name="T94" fmla="*/ 2147483647 w 1420"/>
                <a:gd name="T95" fmla="*/ 0 h 2580"/>
                <a:gd name="T96" fmla="*/ 2147483647 w 1420"/>
                <a:gd name="T97" fmla="*/ 10010657 h 258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20"/>
                <a:gd name="T148" fmla="*/ 0 h 2580"/>
                <a:gd name="T149" fmla="*/ 1420 w 1420"/>
                <a:gd name="T150" fmla="*/ 2580 h 258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20" h="2580">
                  <a:moveTo>
                    <a:pt x="1420" y="328"/>
                  </a:moveTo>
                  <a:lnTo>
                    <a:pt x="1354" y="491"/>
                  </a:lnTo>
                  <a:lnTo>
                    <a:pt x="1293" y="650"/>
                  </a:lnTo>
                  <a:lnTo>
                    <a:pt x="1293" y="651"/>
                  </a:lnTo>
                  <a:lnTo>
                    <a:pt x="1291" y="651"/>
                  </a:lnTo>
                  <a:lnTo>
                    <a:pt x="1291" y="653"/>
                  </a:lnTo>
                  <a:lnTo>
                    <a:pt x="1258" y="653"/>
                  </a:lnTo>
                  <a:lnTo>
                    <a:pt x="1226" y="655"/>
                  </a:lnTo>
                  <a:lnTo>
                    <a:pt x="1193" y="659"/>
                  </a:lnTo>
                  <a:lnTo>
                    <a:pt x="1163" y="665"/>
                  </a:lnTo>
                  <a:lnTo>
                    <a:pt x="1132" y="672"/>
                  </a:lnTo>
                  <a:lnTo>
                    <a:pt x="1101" y="682"/>
                  </a:lnTo>
                  <a:lnTo>
                    <a:pt x="1072" y="692"/>
                  </a:lnTo>
                  <a:lnTo>
                    <a:pt x="1044" y="703"/>
                  </a:lnTo>
                  <a:lnTo>
                    <a:pt x="1015" y="717"/>
                  </a:lnTo>
                  <a:lnTo>
                    <a:pt x="986" y="730"/>
                  </a:lnTo>
                  <a:lnTo>
                    <a:pt x="961" y="745"/>
                  </a:lnTo>
                  <a:lnTo>
                    <a:pt x="934" y="762"/>
                  </a:lnTo>
                  <a:lnTo>
                    <a:pt x="909" y="780"/>
                  </a:lnTo>
                  <a:lnTo>
                    <a:pt x="884" y="799"/>
                  </a:lnTo>
                  <a:lnTo>
                    <a:pt x="861" y="820"/>
                  </a:lnTo>
                  <a:lnTo>
                    <a:pt x="840" y="841"/>
                  </a:lnTo>
                  <a:lnTo>
                    <a:pt x="819" y="862"/>
                  </a:lnTo>
                  <a:lnTo>
                    <a:pt x="798" y="885"/>
                  </a:lnTo>
                  <a:lnTo>
                    <a:pt x="781" y="910"/>
                  </a:lnTo>
                  <a:lnTo>
                    <a:pt x="761" y="935"/>
                  </a:lnTo>
                  <a:lnTo>
                    <a:pt x="746" y="960"/>
                  </a:lnTo>
                  <a:lnTo>
                    <a:pt x="731" y="987"/>
                  </a:lnTo>
                  <a:lnTo>
                    <a:pt x="715" y="1015"/>
                  </a:lnTo>
                  <a:lnTo>
                    <a:pt x="704" y="1042"/>
                  </a:lnTo>
                  <a:lnTo>
                    <a:pt x="692" y="1071"/>
                  </a:lnTo>
                  <a:lnTo>
                    <a:pt x="681" y="1101"/>
                  </a:lnTo>
                  <a:lnTo>
                    <a:pt x="673" y="1132"/>
                  </a:lnTo>
                  <a:lnTo>
                    <a:pt x="665" y="1163"/>
                  </a:lnTo>
                  <a:lnTo>
                    <a:pt x="660" y="1193"/>
                  </a:lnTo>
                  <a:lnTo>
                    <a:pt x="656" y="1226"/>
                  </a:lnTo>
                  <a:lnTo>
                    <a:pt x="654" y="1258"/>
                  </a:lnTo>
                  <a:lnTo>
                    <a:pt x="652" y="1291"/>
                  </a:lnTo>
                  <a:lnTo>
                    <a:pt x="654" y="1324"/>
                  </a:lnTo>
                  <a:lnTo>
                    <a:pt x="656" y="1356"/>
                  </a:lnTo>
                  <a:lnTo>
                    <a:pt x="660" y="1387"/>
                  </a:lnTo>
                  <a:lnTo>
                    <a:pt x="665" y="1419"/>
                  </a:lnTo>
                  <a:lnTo>
                    <a:pt x="673" y="1450"/>
                  </a:lnTo>
                  <a:lnTo>
                    <a:pt x="681" y="1481"/>
                  </a:lnTo>
                  <a:lnTo>
                    <a:pt x="692" y="1509"/>
                  </a:lnTo>
                  <a:lnTo>
                    <a:pt x="704" y="1538"/>
                  </a:lnTo>
                  <a:lnTo>
                    <a:pt x="715" y="1567"/>
                  </a:lnTo>
                  <a:lnTo>
                    <a:pt x="731" y="1593"/>
                  </a:lnTo>
                  <a:lnTo>
                    <a:pt x="746" y="1620"/>
                  </a:lnTo>
                  <a:lnTo>
                    <a:pt x="761" y="1647"/>
                  </a:lnTo>
                  <a:lnTo>
                    <a:pt x="781" y="1672"/>
                  </a:lnTo>
                  <a:lnTo>
                    <a:pt x="800" y="1695"/>
                  </a:lnTo>
                  <a:lnTo>
                    <a:pt x="819" y="1718"/>
                  </a:lnTo>
                  <a:lnTo>
                    <a:pt x="840" y="1741"/>
                  </a:lnTo>
                  <a:lnTo>
                    <a:pt x="863" y="1762"/>
                  </a:lnTo>
                  <a:lnTo>
                    <a:pt x="886" y="1783"/>
                  </a:lnTo>
                  <a:lnTo>
                    <a:pt x="909" y="1800"/>
                  </a:lnTo>
                  <a:lnTo>
                    <a:pt x="934" y="1819"/>
                  </a:lnTo>
                  <a:lnTo>
                    <a:pt x="961" y="1835"/>
                  </a:lnTo>
                  <a:lnTo>
                    <a:pt x="988" y="1850"/>
                  </a:lnTo>
                  <a:lnTo>
                    <a:pt x="1015" y="1865"/>
                  </a:lnTo>
                  <a:lnTo>
                    <a:pt x="1044" y="1879"/>
                  </a:lnTo>
                  <a:lnTo>
                    <a:pt x="1072" y="1888"/>
                  </a:lnTo>
                  <a:lnTo>
                    <a:pt x="1103" y="1900"/>
                  </a:lnTo>
                  <a:lnTo>
                    <a:pt x="1132" y="1908"/>
                  </a:lnTo>
                  <a:lnTo>
                    <a:pt x="1164" y="1915"/>
                  </a:lnTo>
                  <a:lnTo>
                    <a:pt x="1195" y="1921"/>
                  </a:lnTo>
                  <a:lnTo>
                    <a:pt x="1228" y="1925"/>
                  </a:lnTo>
                  <a:lnTo>
                    <a:pt x="1258" y="1927"/>
                  </a:lnTo>
                  <a:lnTo>
                    <a:pt x="1293" y="1929"/>
                  </a:lnTo>
                  <a:lnTo>
                    <a:pt x="1293" y="1930"/>
                  </a:lnTo>
                  <a:lnTo>
                    <a:pt x="1230" y="2089"/>
                  </a:lnTo>
                  <a:lnTo>
                    <a:pt x="1164" y="2252"/>
                  </a:lnTo>
                  <a:lnTo>
                    <a:pt x="1230" y="2417"/>
                  </a:lnTo>
                  <a:lnTo>
                    <a:pt x="1293" y="2576"/>
                  </a:lnTo>
                  <a:lnTo>
                    <a:pt x="1293" y="2580"/>
                  </a:lnTo>
                  <a:lnTo>
                    <a:pt x="1226" y="2578"/>
                  </a:lnTo>
                  <a:lnTo>
                    <a:pt x="1161" y="2574"/>
                  </a:lnTo>
                  <a:lnTo>
                    <a:pt x="1095" y="2564"/>
                  </a:lnTo>
                  <a:lnTo>
                    <a:pt x="1032" y="2553"/>
                  </a:lnTo>
                  <a:lnTo>
                    <a:pt x="971" y="2539"/>
                  </a:lnTo>
                  <a:lnTo>
                    <a:pt x="909" y="2522"/>
                  </a:lnTo>
                  <a:lnTo>
                    <a:pt x="848" y="2501"/>
                  </a:lnTo>
                  <a:lnTo>
                    <a:pt x="790" y="2478"/>
                  </a:lnTo>
                  <a:lnTo>
                    <a:pt x="733" y="2453"/>
                  </a:lnTo>
                  <a:lnTo>
                    <a:pt x="677" y="2425"/>
                  </a:lnTo>
                  <a:lnTo>
                    <a:pt x="623" y="2392"/>
                  </a:lnTo>
                  <a:lnTo>
                    <a:pt x="570" y="2359"/>
                  </a:lnTo>
                  <a:lnTo>
                    <a:pt x="520" y="2323"/>
                  </a:lnTo>
                  <a:lnTo>
                    <a:pt x="472" y="2285"/>
                  </a:lnTo>
                  <a:lnTo>
                    <a:pt x="424" y="2245"/>
                  </a:lnTo>
                  <a:lnTo>
                    <a:pt x="380" y="2200"/>
                  </a:lnTo>
                  <a:lnTo>
                    <a:pt x="335" y="2156"/>
                  </a:lnTo>
                  <a:lnTo>
                    <a:pt x="295" y="2110"/>
                  </a:lnTo>
                  <a:lnTo>
                    <a:pt x="257" y="2061"/>
                  </a:lnTo>
                  <a:lnTo>
                    <a:pt x="220" y="2011"/>
                  </a:lnTo>
                  <a:lnTo>
                    <a:pt x="188" y="1957"/>
                  </a:lnTo>
                  <a:lnTo>
                    <a:pt x="155" y="1904"/>
                  </a:lnTo>
                  <a:lnTo>
                    <a:pt x="128" y="1848"/>
                  </a:lnTo>
                  <a:lnTo>
                    <a:pt x="101" y="1791"/>
                  </a:lnTo>
                  <a:lnTo>
                    <a:pt x="78" y="1733"/>
                  </a:lnTo>
                  <a:lnTo>
                    <a:pt x="57" y="1674"/>
                  </a:lnTo>
                  <a:lnTo>
                    <a:pt x="40" y="1613"/>
                  </a:lnTo>
                  <a:lnTo>
                    <a:pt x="26" y="1549"/>
                  </a:lnTo>
                  <a:lnTo>
                    <a:pt x="15" y="1486"/>
                  </a:lnTo>
                  <a:lnTo>
                    <a:pt x="5" y="1421"/>
                  </a:lnTo>
                  <a:lnTo>
                    <a:pt x="2" y="1356"/>
                  </a:lnTo>
                  <a:lnTo>
                    <a:pt x="0" y="1291"/>
                  </a:lnTo>
                  <a:lnTo>
                    <a:pt x="2" y="1224"/>
                  </a:lnTo>
                  <a:lnTo>
                    <a:pt x="5" y="1159"/>
                  </a:lnTo>
                  <a:lnTo>
                    <a:pt x="15" y="1094"/>
                  </a:lnTo>
                  <a:lnTo>
                    <a:pt x="26" y="1031"/>
                  </a:lnTo>
                  <a:lnTo>
                    <a:pt x="40" y="969"/>
                  </a:lnTo>
                  <a:lnTo>
                    <a:pt x="57" y="908"/>
                  </a:lnTo>
                  <a:lnTo>
                    <a:pt x="78" y="849"/>
                  </a:lnTo>
                  <a:lnTo>
                    <a:pt x="101" y="789"/>
                  </a:lnTo>
                  <a:lnTo>
                    <a:pt x="126" y="732"/>
                  </a:lnTo>
                  <a:lnTo>
                    <a:pt x="155" y="676"/>
                  </a:lnTo>
                  <a:lnTo>
                    <a:pt x="188" y="623"/>
                  </a:lnTo>
                  <a:lnTo>
                    <a:pt x="220" y="571"/>
                  </a:lnTo>
                  <a:lnTo>
                    <a:pt x="257" y="519"/>
                  </a:lnTo>
                  <a:lnTo>
                    <a:pt x="295" y="471"/>
                  </a:lnTo>
                  <a:lnTo>
                    <a:pt x="335" y="424"/>
                  </a:lnTo>
                  <a:lnTo>
                    <a:pt x="378" y="380"/>
                  </a:lnTo>
                  <a:lnTo>
                    <a:pt x="424" y="337"/>
                  </a:lnTo>
                  <a:lnTo>
                    <a:pt x="470" y="297"/>
                  </a:lnTo>
                  <a:lnTo>
                    <a:pt x="520" y="259"/>
                  </a:lnTo>
                  <a:lnTo>
                    <a:pt x="570" y="223"/>
                  </a:lnTo>
                  <a:lnTo>
                    <a:pt x="621" y="188"/>
                  </a:lnTo>
                  <a:lnTo>
                    <a:pt x="675" y="157"/>
                  </a:lnTo>
                  <a:lnTo>
                    <a:pt x="731" y="129"/>
                  </a:lnTo>
                  <a:lnTo>
                    <a:pt x="788" y="102"/>
                  </a:lnTo>
                  <a:lnTo>
                    <a:pt x="848" y="79"/>
                  </a:lnTo>
                  <a:lnTo>
                    <a:pt x="907" y="60"/>
                  </a:lnTo>
                  <a:lnTo>
                    <a:pt x="969" y="43"/>
                  </a:lnTo>
                  <a:lnTo>
                    <a:pt x="1030" y="27"/>
                  </a:lnTo>
                  <a:lnTo>
                    <a:pt x="1093" y="16"/>
                  </a:lnTo>
                  <a:lnTo>
                    <a:pt x="1159" y="8"/>
                  </a:lnTo>
                  <a:lnTo>
                    <a:pt x="1224" y="2"/>
                  </a:lnTo>
                  <a:lnTo>
                    <a:pt x="1291" y="0"/>
                  </a:lnTo>
                  <a:lnTo>
                    <a:pt x="1293" y="0"/>
                  </a:lnTo>
                  <a:lnTo>
                    <a:pt x="1293" y="4"/>
                  </a:lnTo>
                  <a:lnTo>
                    <a:pt x="1354" y="163"/>
                  </a:lnTo>
                  <a:lnTo>
                    <a:pt x="1420" y="328"/>
                  </a:lnTo>
                </a:path>
              </a:pathLst>
            </a:custGeom>
            <a:grpFill/>
            <a:ln w="3175">
              <a:solidFill>
                <a:srgbClr val="FFFFFF"/>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8" name="Freeform 18"/>
            <p:cNvSpPr>
              <a:spLocks/>
            </p:cNvSpPr>
            <p:nvPr/>
          </p:nvSpPr>
          <p:spPr bwMode="auto">
            <a:xfrm>
              <a:off x="4598988" y="1508125"/>
              <a:ext cx="2241550" cy="4081463"/>
            </a:xfrm>
            <a:custGeom>
              <a:avLst/>
              <a:gdLst>
                <a:gd name="T0" fmla="*/ 316464229 w 1420"/>
                <a:gd name="T1" fmla="*/ 2147483647 h 2580"/>
                <a:gd name="T2" fmla="*/ 321447729 w 1420"/>
                <a:gd name="T3" fmla="*/ 2147483647 h 2580"/>
                <a:gd name="T4" fmla="*/ 403677858 w 1420"/>
                <a:gd name="T5" fmla="*/ 2147483647 h 2580"/>
                <a:gd name="T6" fmla="*/ 640402919 w 1420"/>
                <a:gd name="T7" fmla="*/ 2147483647 h 2580"/>
                <a:gd name="T8" fmla="*/ 867161078 w 1420"/>
                <a:gd name="T9" fmla="*/ 2147483647 h 2580"/>
                <a:gd name="T10" fmla="*/ 1081457920 w 1420"/>
                <a:gd name="T11" fmla="*/ 2147483647 h 2580"/>
                <a:gd name="T12" fmla="*/ 1273329798 w 1420"/>
                <a:gd name="T13" fmla="*/ 2147483647 h 2580"/>
                <a:gd name="T14" fmla="*/ 1445267674 w 1420"/>
                <a:gd name="T15" fmla="*/ 2147483647 h 2580"/>
                <a:gd name="T16" fmla="*/ 1592286468 w 1420"/>
                <a:gd name="T17" fmla="*/ 2147483647 h 2580"/>
                <a:gd name="T18" fmla="*/ 1716877536 w 1420"/>
                <a:gd name="T19" fmla="*/ 2147483647 h 2580"/>
                <a:gd name="T20" fmla="*/ 1814059745 w 1420"/>
                <a:gd name="T21" fmla="*/ 2147483647 h 2580"/>
                <a:gd name="T22" fmla="*/ 1881339372 w 1420"/>
                <a:gd name="T23" fmla="*/ 2147483647 h 2580"/>
                <a:gd name="T24" fmla="*/ 1908749414 w 1420"/>
                <a:gd name="T25" fmla="*/ 2147483647 h 2580"/>
                <a:gd name="T26" fmla="*/ 1903765914 w 1420"/>
                <a:gd name="T27" fmla="*/ 2147483647 h 2580"/>
                <a:gd name="T28" fmla="*/ 1861405369 w 1420"/>
                <a:gd name="T29" fmla="*/ 2147483647 h 2580"/>
                <a:gd name="T30" fmla="*/ 1784157163 w 1420"/>
                <a:gd name="T31" fmla="*/ 2147483647 h 2580"/>
                <a:gd name="T32" fmla="*/ 1679500492 w 1420"/>
                <a:gd name="T33" fmla="*/ 2147483647 h 2580"/>
                <a:gd name="T34" fmla="*/ 1544940844 w 1420"/>
                <a:gd name="T35" fmla="*/ 2147483647 h 2580"/>
                <a:gd name="T36" fmla="*/ 1387955049 w 1420"/>
                <a:gd name="T37" fmla="*/ 2047130554 h 2580"/>
                <a:gd name="T38" fmla="*/ 1211033673 w 1420"/>
                <a:gd name="T39" fmla="*/ 1904481894 h 2580"/>
                <a:gd name="T40" fmla="*/ 1009194793 w 1420"/>
                <a:gd name="T41" fmla="*/ 1789362534 h 2580"/>
                <a:gd name="T42" fmla="*/ 789912674 w 1420"/>
                <a:gd name="T43" fmla="*/ 1701770891 h 2580"/>
                <a:gd name="T44" fmla="*/ 560663752 w 1420"/>
                <a:gd name="T45" fmla="*/ 1649216142 h 2580"/>
                <a:gd name="T46" fmla="*/ 316464229 w 1420"/>
                <a:gd name="T47" fmla="*/ 1629196415 h 2580"/>
                <a:gd name="T48" fmla="*/ 637910380 w 1420"/>
                <a:gd name="T49" fmla="*/ 820854867 h 2580"/>
                <a:gd name="T50" fmla="*/ 316464229 w 1420"/>
                <a:gd name="T51" fmla="*/ 0 h 2580"/>
                <a:gd name="T52" fmla="*/ 809848256 w 1420"/>
                <a:gd name="T53" fmla="*/ 40041048 h 2580"/>
                <a:gd name="T54" fmla="*/ 1273329798 w 1420"/>
                <a:gd name="T55" fmla="*/ 145151373 h 2580"/>
                <a:gd name="T56" fmla="*/ 1711894035 w 1420"/>
                <a:gd name="T57" fmla="*/ 322835790 h 2580"/>
                <a:gd name="T58" fmla="*/ 2118064334 w 1420"/>
                <a:gd name="T59" fmla="*/ 553076192 h 2580"/>
                <a:gd name="T60" fmla="*/ 2147483647 w 1420"/>
                <a:gd name="T61" fmla="*/ 838372127 h 2580"/>
                <a:gd name="T62" fmla="*/ 2147483647 w 1420"/>
                <a:gd name="T63" fmla="*/ 1176223800 h 2580"/>
                <a:gd name="T64" fmla="*/ 2147483647 w 1420"/>
                <a:gd name="T65" fmla="*/ 1559123417 h 2580"/>
                <a:gd name="T66" fmla="*/ 2147483647 w 1420"/>
                <a:gd name="T67" fmla="*/ 1974554892 h 2580"/>
                <a:gd name="T68" fmla="*/ 2147483647 w 1420"/>
                <a:gd name="T69" fmla="*/ 2147483647 h 2580"/>
                <a:gd name="T70" fmla="*/ 2147483647 w 1420"/>
                <a:gd name="T71" fmla="*/ 2147483647 h 2580"/>
                <a:gd name="T72" fmla="*/ 2147483647 w 1420"/>
                <a:gd name="T73" fmla="*/ 2147483647 h 2580"/>
                <a:gd name="T74" fmla="*/ 2147483647 w 1420"/>
                <a:gd name="T75" fmla="*/ 2147483647 h 2580"/>
                <a:gd name="T76" fmla="*/ 2147483647 w 1420"/>
                <a:gd name="T77" fmla="*/ 2147483647 h 2580"/>
                <a:gd name="T78" fmla="*/ 2147483647 w 1420"/>
                <a:gd name="T79" fmla="*/ 2147483647 h 2580"/>
                <a:gd name="T80" fmla="*/ 2147483647 w 1420"/>
                <a:gd name="T81" fmla="*/ 2147483647 h 2580"/>
                <a:gd name="T82" fmla="*/ 2147483647 w 1420"/>
                <a:gd name="T83" fmla="*/ 2147483647 h 2580"/>
                <a:gd name="T84" fmla="*/ 2147483647 w 1420"/>
                <a:gd name="T85" fmla="*/ 2147483647 h 2580"/>
                <a:gd name="T86" fmla="*/ 1856420290 w 1420"/>
                <a:gd name="T87" fmla="*/ 2147483647 h 2580"/>
                <a:gd name="T88" fmla="*/ 1425332093 w 1420"/>
                <a:gd name="T89" fmla="*/ 2147483647 h 2580"/>
                <a:gd name="T90" fmla="*/ 971817749 w 1420"/>
                <a:gd name="T91" fmla="*/ 2147483647 h 2580"/>
                <a:gd name="T92" fmla="*/ 488400625 w 1420"/>
                <a:gd name="T93" fmla="*/ 2147483647 h 2580"/>
                <a:gd name="T94" fmla="*/ 321447729 w 1420"/>
                <a:gd name="T95" fmla="*/ 2147483647 h 2580"/>
                <a:gd name="T96" fmla="*/ 316464229 w 1420"/>
                <a:gd name="T97" fmla="*/ 2147483647 h 258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20"/>
                <a:gd name="T148" fmla="*/ 0 h 2580"/>
                <a:gd name="T149" fmla="*/ 1420 w 1420"/>
                <a:gd name="T150" fmla="*/ 2580 h 258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20" h="2580">
                  <a:moveTo>
                    <a:pt x="0" y="2252"/>
                  </a:moveTo>
                  <a:lnTo>
                    <a:pt x="66" y="2089"/>
                  </a:lnTo>
                  <a:lnTo>
                    <a:pt x="127" y="1930"/>
                  </a:lnTo>
                  <a:lnTo>
                    <a:pt x="127" y="1929"/>
                  </a:lnTo>
                  <a:lnTo>
                    <a:pt x="129" y="1929"/>
                  </a:lnTo>
                  <a:lnTo>
                    <a:pt x="129" y="1927"/>
                  </a:lnTo>
                  <a:lnTo>
                    <a:pt x="129" y="1929"/>
                  </a:lnTo>
                  <a:lnTo>
                    <a:pt x="162" y="1927"/>
                  </a:lnTo>
                  <a:lnTo>
                    <a:pt x="194" y="1925"/>
                  </a:lnTo>
                  <a:lnTo>
                    <a:pt x="227" y="1921"/>
                  </a:lnTo>
                  <a:lnTo>
                    <a:pt x="257" y="1915"/>
                  </a:lnTo>
                  <a:lnTo>
                    <a:pt x="288" y="1908"/>
                  </a:lnTo>
                  <a:lnTo>
                    <a:pt x="319" y="1898"/>
                  </a:lnTo>
                  <a:lnTo>
                    <a:pt x="348" y="1888"/>
                  </a:lnTo>
                  <a:lnTo>
                    <a:pt x="376" y="1877"/>
                  </a:lnTo>
                  <a:lnTo>
                    <a:pt x="405" y="1863"/>
                  </a:lnTo>
                  <a:lnTo>
                    <a:pt x="434" y="1850"/>
                  </a:lnTo>
                  <a:lnTo>
                    <a:pt x="459" y="1835"/>
                  </a:lnTo>
                  <a:lnTo>
                    <a:pt x="486" y="1818"/>
                  </a:lnTo>
                  <a:lnTo>
                    <a:pt x="511" y="1800"/>
                  </a:lnTo>
                  <a:lnTo>
                    <a:pt x="536" y="1781"/>
                  </a:lnTo>
                  <a:lnTo>
                    <a:pt x="559" y="1762"/>
                  </a:lnTo>
                  <a:lnTo>
                    <a:pt x="580" y="1741"/>
                  </a:lnTo>
                  <a:lnTo>
                    <a:pt x="601" y="1718"/>
                  </a:lnTo>
                  <a:lnTo>
                    <a:pt x="622" y="1695"/>
                  </a:lnTo>
                  <a:lnTo>
                    <a:pt x="639" y="1670"/>
                  </a:lnTo>
                  <a:lnTo>
                    <a:pt x="659" y="1645"/>
                  </a:lnTo>
                  <a:lnTo>
                    <a:pt x="674" y="1620"/>
                  </a:lnTo>
                  <a:lnTo>
                    <a:pt x="689" y="1593"/>
                  </a:lnTo>
                  <a:lnTo>
                    <a:pt x="705" y="1565"/>
                  </a:lnTo>
                  <a:lnTo>
                    <a:pt x="716" y="1538"/>
                  </a:lnTo>
                  <a:lnTo>
                    <a:pt x="728" y="1509"/>
                  </a:lnTo>
                  <a:lnTo>
                    <a:pt x="739" y="1479"/>
                  </a:lnTo>
                  <a:lnTo>
                    <a:pt x="747" y="1448"/>
                  </a:lnTo>
                  <a:lnTo>
                    <a:pt x="755" y="1417"/>
                  </a:lnTo>
                  <a:lnTo>
                    <a:pt x="760" y="1387"/>
                  </a:lnTo>
                  <a:lnTo>
                    <a:pt x="764" y="1354"/>
                  </a:lnTo>
                  <a:lnTo>
                    <a:pt x="766" y="1324"/>
                  </a:lnTo>
                  <a:lnTo>
                    <a:pt x="768" y="1289"/>
                  </a:lnTo>
                  <a:lnTo>
                    <a:pt x="766" y="1256"/>
                  </a:lnTo>
                  <a:lnTo>
                    <a:pt x="764" y="1224"/>
                  </a:lnTo>
                  <a:lnTo>
                    <a:pt x="760" y="1193"/>
                  </a:lnTo>
                  <a:lnTo>
                    <a:pt x="755" y="1161"/>
                  </a:lnTo>
                  <a:lnTo>
                    <a:pt x="747" y="1130"/>
                  </a:lnTo>
                  <a:lnTo>
                    <a:pt x="739" y="1101"/>
                  </a:lnTo>
                  <a:lnTo>
                    <a:pt x="728" y="1071"/>
                  </a:lnTo>
                  <a:lnTo>
                    <a:pt x="716" y="1042"/>
                  </a:lnTo>
                  <a:lnTo>
                    <a:pt x="705" y="1013"/>
                  </a:lnTo>
                  <a:lnTo>
                    <a:pt x="689" y="987"/>
                  </a:lnTo>
                  <a:lnTo>
                    <a:pt x="674" y="960"/>
                  </a:lnTo>
                  <a:lnTo>
                    <a:pt x="659" y="933"/>
                  </a:lnTo>
                  <a:lnTo>
                    <a:pt x="639" y="908"/>
                  </a:lnTo>
                  <a:lnTo>
                    <a:pt x="620" y="885"/>
                  </a:lnTo>
                  <a:lnTo>
                    <a:pt x="601" y="862"/>
                  </a:lnTo>
                  <a:lnTo>
                    <a:pt x="580" y="839"/>
                  </a:lnTo>
                  <a:lnTo>
                    <a:pt x="557" y="818"/>
                  </a:lnTo>
                  <a:lnTo>
                    <a:pt x="534" y="799"/>
                  </a:lnTo>
                  <a:lnTo>
                    <a:pt x="511" y="780"/>
                  </a:lnTo>
                  <a:lnTo>
                    <a:pt x="486" y="761"/>
                  </a:lnTo>
                  <a:lnTo>
                    <a:pt x="459" y="745"/>
                  </a:lnTo>
                  <a:lnTo>
                    <a:pt x="432" y="730"/>
                  </a:lnTo>
                  <a:lnTo>
                    <a:pt x="405" y="715"/>
                  </a:lnTo>
                  <a:lnTo>
                    <a:pt x="376" y="703"/>
                  </a:lnTo>
                  <a:lnTo>
                    <a:pt x="348" y="692"/>
                  </a:lnTo>
                  <a:lnTo>
                    <a:pt x="317" y="680"/>
                  </a:lnTo>
                  <a:lnTo>
                    <a:pt x="288" y="672"/>
                  </a:lnTo>
                  <a:lnTo>
                    <a:pt x="256" y="665"/>
                  </a:lnTo>
                  <a:lnTo>
                    <a:pt x="225" y="659"/>
                  </a:lnTo>
                  <a:lnTo>
                    <a:pt x="192" y="655"/>
                  </a:lnTo>
                  <a:lnTo>
                    <a:pt x="162" y="653"/>
                  </a:lnTo>
                  <a:lnTo>
                    <a:pt x="127" y="651"/>
                  </a:lnTo>
                  <a:lnTo>
                    <a:pt x="127" y="650"/>
                  </a:lnTo>
                  <a:lnTo>
                    <a:pt x="190" y="491"/>
                  </a:lnTo>
                  <a:lnTo>
                    <a:pt x="256" y="328"/>
                  </a:lnTo>
                  <a:lnTo>
                    <a:pt x="190" y="163"/>
                  </a:lnTo>
                  <a:lnTo>
                    <a:pt x="127" y="4"/>
                  </a:lnTo>
                  <a:lnTo>
                    <a:pt x="127" y="0"/>
                  </a:lnTo>
                  <a:lnTo>
                    <a:pt x="194" y="2"/>
                  </a:lnTo>
                  <a:lnTo>
                    <a:pt x="259" y="6"/>
                  </a:lnTo>
                  <a:lnTo>
                    <a:pt x="325" y="16"/>
                  </a:lnTo>
                  <a:lnTo>
                    <a:pt x="388" y="27"/>
                  </a:lnTo>
                  <a:lnTo>
                    <a:pt x="449" y="41"/>
                  </a:lnTo>
                  <a:lnTo>
                    <a:pt x="511" y="58"/>
                  </a:lnTo>
                  <a:lnTo>
                    <a:pt x="572" y="79"/>
                  </a:lnTo>
                  <a:lnTo>
                    <a:pt x="630" y="102"/>
                  </a:lnTo>
                  <a:lnTo>
                    <a:pt x="687" y="129"/>
                  </a:lnTo>
                  <a:lnTo>
                    <a:pt x="743" y="155"/>
                  </a:lnTo>
                  <a:lnTo>
                    <a:pt x="797" y="188"/>
                  </a:lnTo>
                  <a:lnTo>
                    <a:pt x="850" y="221"/>
                  </a:lnTo>
                  <a:lnTo>
                    <a:pt x="900" y="257"/>
                  </a:lnTo>
                  <a:lnTo>
                    <a:pt x="948" y="295"/>
                  </a:lnTo>
                  <a:lnTo>
                    <a:pt x="996" y="335"/>
                  </a:lnTo>
                  <a:lnTo>
                    <a:pt x="1040" y="380"/>
                  </a:lnTo>
                  <a:lnTo>
                    <a:pt x="1085" y="424"/>
                  </a:lnTo>
                  <a:lnTo>
                    <a:pt x="1125" y="470"/>
                  </a:lnTo>
                  <a:lnTo>
                    <a:pt x="1163" y="519"/>
                  </a:lnTo>
                  <a:lnTo>
                    <a:pt x="1200" y="569"/>
                  </a:lnTo>
                  <a:lnTo>
                    <a:pt x="1232" y="623"/>
                  </a:lnTo>
                  <a:lnTo>
                    <a:pt x="1265" y="676"/>
                  </a:lnTo>
                  <a:lnTo>
                    <a:pt x="1292" y="732"/>
                  </a:lnTo>
                  <a:lnTo>
                    <a:pt x="1319" y="789"/>
                  </a:lnTo>
                  <a:lnTo>
                    <a:pt x="1342" y="847"/>
                  </a:lnTo>
                  <a:lnTo>
                    <a:pt x="1363" y="908"/>
                  </a:lnTo>
                  <a:lnTo>
                    <a:pt x="1380" y="967"/>
                  </a:lnTo>
                  <a:lnTo>
                    <a:pt x="1394" y="1031"/>
                  </a:lnTo>
                  <a:lnTo>
                    <a:pt x="1405" y="1094"/>
                  </a:lnTo>
                  <a:lnTo>
                    <a:pt x="1415" y="1159"/>
                  </a:lnTo>
                  <a:lnTo>
                    <a:pt x="1418" y="1224"/>
                  </a:lnTo>
                  <a:lnTo>
                    <a:pt x="1420" y="1289"/>
                  </a:lnTo>
                  <a:lnTo>
                    <a:pt x="1418" y="1356"/>
                  </a:lnTo>
                  <a:lnTo>
                    <a:pt x="1415" y="1421"/>
                  </a:lnTo>
                  <a:lnTo>
                    <a:pt x="1405" y="1486"/>
                  </a:lnTo>
                  <a:lnTo>
                    <a:pt x="1394" y="1549"/>
                  </a:lnTo>
                  <a:lnTo>
                    <a:pt x="1380" y="1611"/>
                  </a:lnTo>
                  <a:lnTo>
                    <a:pt x="1363" y="1672"/>
                  </a:lnTo>
                  <a:lnTo>
                    <a:pt x="1342" y="1731"/>
                  </a:lnTo>
                  <a:lnTo>
                    <a:pt x="1319" y="1791"/>
                  </a:lnTo>
                  <a:lnTo>
                    <a:pt x="1294" y="1848"/>
                  </a:lnTo>
                  <a:lnTo>
                    <a:pt x="1265" y="1904"/>
                  </a:lnTo>
                  <a:lnTo>
                    <a:pt x="1232" y="1957"/>
                  </a:lnTo>
                  <a:lnTo>
                    <a:pt x="1200" y="2009"/>
                  </a:lnTo>
                  <a:lnTo>
                    <a:pt x="1163" y="2061"/>
                  </a:lnTo>
                  <a:lnTo>
                    <a:pt x="1125" y="2109"/>
                  </a:lnTo>
                  <a:lnTo>
                    <a:pt x="1085" y="2156"/>
                  </a:lnTo>
                  <a:lnTo>
                    <a:pt x="1042" y="2200"/>
                  </a:lnTo>
                  <a:lnTo>
                    <a:pt x="996" y="2243"/>
                  </a:lnTo>
                  <a:lnTo>
                    <a:pt x="950" y="2283"/>
                  </a:lnTo>
                  <a:lnTo>
                    <a:pt x="900" y="2323"/>
                  </a:lnTo>
                  <a:lnTo>
                    <a:pt x="850" y="2357"/>
                  </a:lnTo>
                  <a:lnTo>
                    <a:pt x="799" y="2392"/>
                  </a:lnTo>
                  <a:lnTo>
                    <a:pt x="745" y="2423"/>
                  </a:lnTo>
                  <a:lnTo>
                    <a:pt x="689" y="2451"/>
                  </a:lnTo>
                  <a:lnTo>
                    <a:pt x="632" y="2478"/>
                  </a:lnTo>
                  <a:lnTo>
                    <a:pt x="572" y="2501"/>
                  </a:lnTo>
                  <a:lnTo>
                    <a:pt x="513" y="2520"/>
                  </a:lnTo>
                  <a:lnTo>
                    <a:pt x="451" y="2537"/>
                  </a:lnTo>
                  <a:lnTo>
                    <a:pt x="390" y="2553"/>
                  </a:lnTo>
                  <a:lnTo>
                    <a:pt x="327" y="2564"/>
                  </a:lnTo>
                  <a:lnTo>
                    <a:pt x="261" y="2572"/>
                  </a:lnTo>
                  <a:lnTo>
                    <a:pt x="196" y="2578"/>
                  </a:lnTo>
                  <a:lnTo>
                    <a:pt x="129" y="2580"/>
                  </a:lnTo>
                  <a:lnTo>
                    <a:pt x="127" y="2580"/>
                  </a:lnTo>
                  <a:lnTo>
                    <a:pt x="127" y="2576"/>
                  </a:lnTo>
                  <a:lnTo>
                    <a:pt x="66" y="2417"/>
                  </a:lnTo>
                  <a:lnTo>
                    <a:pt x="0" y="2252"/>
                  </a:lnTo>
                  <a:close/>
                </a:path>
              </a:pathLst>
            </a:custGeom>
            <a:grpFill/>
            <a:ln w="3175">
              <a:solidFill>
                <a:srgbClr val="FFFFFF"/>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9" name="Rectangle 6"/>
            <p:cNvSpPr>
              <a:spLocks noChangeArrowheads="1"/>
            </p:cNvSpPr>
            <p:nvPr/>
          </p:nvSpPr>
          <p:spPr bwMode="auto">
            <a:xfrm>
              <a:off x="6094414" y="3397927"/>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10" name="Rectangle 7"/>
            <p:cNvSpPr>
              <a:spLocks noChangeArrowheads="1"/>
            </p:cNvSpPr>
            <p:nvPr/>
          </p:nvSpPr>
          <p:spPr bwMode="auto">
            <a:xfrm>
              <a:off x="3074988" y="3443965"/>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grpSp>
      <p:grpSp>
        <p:nvGrpSpPr>
          <p:cNvPr id="11" name="Group 10"/>
          <p:cNvGrpSpPr/>
          <p:nvPr/>
        </p:nvGrpSpPr>
        <p:grpSpPr>
          <a:xfrm>
            <a:off x="4862198" y="1208296"/>
            <a:ext cx="2276831" cy="2276831"/>
            <a:chOff x="2759075" y="1504950"/>
            <a:chExt cx="4081463" cy="4081463"/>
          </a:xfrm>
          <a:solidFill>
            <a:schemeClr val="tx1">
              <a:lumMod val="60000"/>
              <a:lumOff val="40000"/>
            </a:schemeClr>
          </a:solidFill>
        </p:grpSpPr>
        <p:sp>
          <p:nvSpPr>
            <p:cNvPr id="12" name="Freeform 22"/>
            <p:cNvSpPr>
              <a:spLocks/>
            </p:cNvSpPr>
            <p:nvPr/>
          </p:nvSpPr>
          <p:spPr bwMode="auto">
            <a:xfrm>
              <a:off x="4800600" y="1504950"/>
              <a:ext cx="2039938" cy="3062288"/>
            </a:xfrm>
            <a:custGeom>
              <a:avLst/>
              <a:gdLst>
                <a:gd name="T0" fmla="*/ 0 w 1292"/>
                <a:gd name="T1" fmla="*/ 0 h 1938"/>
                <a:gd name="T2" fmla="*/ 167025436 w 1292"/>
                <a:gd name="T3" fmla="*/ 4993205 h 1938"/>
                <a:gd name="T4" fmla="*/ 491105612 w 1292"/>
                <a:gd name="T5" fmla="*/ 39948798 h 1938"/>
                <a:gd name="T6" fmla="*/ 802721813 w 1292"/>
                <a:gd name="T7" fmla="*/ 102368589 h 1938"/>
                <a:gd name="T8" fmla="*/ 1104364307 w 1292"/>
                <a:gd name="T9" fmla="*/ 197247374 h 1938"/>
                <a:gd name="T10" fmla="*/ 1396037437 w 1292"/>
                <a:gd name="T11" fmla="*/ 322088562 h 1938"/>
                <a:gd name="T12" fmla="*/ 1670259394 w 1292"/>
                <a:gd name="T13" fmla="*/ 469399214 h 1938"/>
                <a:gd name="T14" fmla="*/ 1924536306 w 1292"/>
                <a:gd name="T15" fmla="*/ 641678942 h 1938"/>
                <a:gd name="T16" fmla="*/ 2147483647 w 1292"/>
                <a:gd name="T17" fmla="*/ 838926464 h 1938"/>
                <a:gd name="T18" fmla="*/ 2147483647 w 1292"/>
                <a:gd name="T19" fmla="*/ 1058644783 h 1938"/>
                <a:gd name="T20" fmla="*/ 2147483647 w 1292"/>
                <a:gd name="T21" fmla="*/ 1298339074 h 1938"/>
                <a:gd name="T22" fmla="*/ 2147483647 w 1292"/>
                <a:gd name="T23" fmla="*/ 1558006178 h 1938"/>
                <a:gd name="T24" fmla="*/ 2147483647 w 1292"/>
                <a:gd name="T25" fmla="*/ 1830158265 h 1938"/>
                <a:gd name="T26" fmla="*/ 2147483647 w 1292"/>
                <a:gd name="T27" fmla="*/ 2117291146 h 1938"/>
                <a:gd name="T28" fmla="*/ 2147483647 w 1292"/>
                <a:gd name="T29" fmla="*/ 2147483647 h 1938"/>
                <a:gd name="T30" fmla="*/ 2147483647 w 1292"/>
                <a:gd name="T31" fmla="*/ 2147483647 h 1938"/>
                <a:gd name="T32" fmla="*/ 2147483647 w 1292"/>
                <a:gd name="T33" fmla="*/ 2147483647 h 1938"/>
                <a:gd name="T34" fmla="*/ 2147483647 w 1292"/>
                <a:gd name="T35" fmla="*/ 2147483647 h 1938"/>
                <a:gd name="T36" fmla="*/ 2147483647 w 1292"/>
                <a:gd name="T37" fmla="*/ 2147483647 h 1938"/>
                <a:gd name="T38" fmla="*/ 2147483647 w 1292"/>
                <a:gd name="T39" fmla="*/ 2147483647 h 1938"/>
                <a:gd name="T40" fmla="*/ 2147483647 w 1292"/>
                <a:gd name="T41" fmla="*/ 2147483647 h 1938"/>
                <a:gd name="T42" fmla="*/ 2147483647 w 1292"/>
                <a:gd name="T43" fmla="*/ 2147483647 h 1938"/>
                <a:gd name="T44" fmla="*/ 2147483647 w 1292"/>
                <a:gd name="T45" fmla="*/ 2147483647 h 1938"/>
                <a:gd name="T46" fmla="*/ 2147483647 w 1292"/>
                <a:gd name="T47" fmla="*/ 2147483647 h 1938"/>
                <a:gd name="T48" fmla="*/ 2147483647 w 1292"/>
                <a:gd name="T49" fmla="*/ 2147483647 h 1938"/>
                <a:gd name="T50" fmla="*/ 2147483647 w 1292"/>
                <a:gd name="T51" fmla="*/ 2147483647 h 1938"/>
                <a:gd name="T52" fmla="*/ 2147483647 w 1292"/>
                <a:gd name="T53" fmla="*/ 2147483647 h 1938"/>
                <a:gd name="T54" fmla="*/ 2147483647 w 1292"/>
                <a:gd name="T55" fmla="*/ 2147483647 h 1938"/>
                <a:gd name="T56" fmla="*/ 1924536306 w 1292"/>
                <a:gd name="T57" fmla="*/ 2147483647 h 1938"/>
                <a:gd name="T58" fmla="*/ 1378585869 w 1292"/>
                <a:gd name="T59" fmla="*/ 2147483647 h 1938"/>
                <a:gd name="T60" fmla="*/ 1378585869 w 1292"/>
                <a:gd name="T61" fmla="*/ 2147483647 h 1938"/>
                <a:gd name="T62" fmla="*/ 1373601286 w 1292"/>
                <a:gd name="T63" fmla="*/ 2147483647 h 1938"/>
                <a:gd name="T64" fmla="*/ 1425951254 w 1292"/>
                <a:gd name="T65" fmla="*/ 2147483647 h 1938"/>
                <a:gd name="T66" fmla="*/ 1508218196 w 1292"/>
                <a:gd name="T67" fmla="*/ 2147483647 h 1938"/>
                <a:gd name="T68" fmla="*/ 1560569743 w 1292"/>
                <a:gd name="T69" fmla="*/ 2147483647 h 1938"/>
                <a:gd name="T70" fmla="*/ 1587992057 w 1292"/>
                <a:gd name="T71" fmla="*/ 2147483647 h 1938"/>
                <a:gd name="T72" fmla="*/ 1587992057 w 1292"/>
                <a:gd name="T73" fmla="*/ 2147483647 h 1938"/>
                <a:gd name="T74" fmla="*/ 1575526651 w 1292"/>
                <a:gd name="T75" fmla="*/ 2147483647 h 1938"/>
                <a:gd name="T76" fmla="*/ 1540626672 w 1292"/>
                <a:gd name="T77" fmla="*/ 2147483647 h 1938"/>
                <a:gd name="T78" fmla="*/ 1493261288 w 1292"/>
                <a:gd name="T79" fmla="*/ 2147483647 h 1938"/>
                <a:gd name="T80" fmla="*/ 1435923578 w 1292"/>
                <a:gd name="T81" fmla="*/ 2147483647 h 1938"/>
                <a:gd name="T82" fmla="*/ 1358642798 w 1292"/>
                <a:gd name="T83" fmla="*/ 2147483647 h 1938"/>
                <a:gd name="T84" fmla="*/ 1276377435 w 1292"/>
                <a:gd name="T85" fmla="*/ 2147483647 h 1938"/>
                <a:gd name="T86" fmla="*/ 1176658925 w 1292"/>
                <a:gd name="T87" fmla="*/ 2147483647 h 1938"/>
                <a:gd name="T88" fmla="*/ 1071957410 w 1292"/>
                <a:gd name="T89" fmla="*/ 2047379982 h 1938"/>
                <a:gd name="T90" fmla="*/ 952297407 w 1292"/>
                <a:gd name="T91" fmla="*/ 1950004620 h 1938"/>
                <a:gd name="T92" fmla="*/ 822664883 w 1292"/>
                <a:gd name="T93" fmla="*/ 1865113847 h 1938"/>
                <a:gd name="T94" fmla="*/ 688046394 w 1292"/>
                <a:gd name="T95" fmla="*/ 1787712878 h 1938"/>
                <a:gd name="T96" fmla="*/ 545950240 w 1292"/>
                <a:gd name="T97" fmla="*/ 1730286302 h 1938"/>
                <a:gd name="T98" fmla="*/ 396374744 w 1292"/>
                <a:gd name="T99" fmla="*/ 1682846132 h 1938"/>
                <a:gd name="T100" fmla="*/ 241813184 w 1292"/>
                <a:gd name="T101" fmla="*/ 1647891735 h 1938"/>
                <a:gd name="T102" fmla="*/ 79773886 w 1292"/>
                <a:gd name="T103" fmla="*/ 1635407147 h 1938"/>
                <a:gd name="T104" fmla="*/ 0 w 1292"/>
                <a:gd name="T105" fmla="*/ 1630413944 h 1938"/>
                <a:gd name="T106" fmla="*/ 162039274 w 1292"/>
                <a:gd name="T107" fmla="*/ 1228427910 h 1938"/>
                <a:gd name="T108" fmla="*/ 162039274 w 1292"/>
                <a:gd name="T109" fmla="*/ 406979336 h 19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2"/>
                <a:gd name="T166" fmla="*/ 0 h 1938"/>
                <a:gd name="T167" fmla="*/ 1292 w 1292"/>
                <a:gd name="T168" fmla="*/ 1938 h 19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2" h="1938">
                  <a:moveTo>
                    <a:pt x="0" y="0"/>
                  </a:moveTo>
                  <a:lnTo>
                    <a:pt x="0" y="0"/>
                  </a:lnTo>
                  <a:lnTo>
                    <a:pt x="67" y="2"/>
                  </a:lnTo>
                  <a:lnTo>
                    <a:pt x="132" y="6"/>
                  </a:lnTo>
                  <a:lnTo>
                    <a:pt x="197" y="16"/>
                  </a:lnTo>
                  <a:lnTo>
                    <a:pt x="261" y="27"/>
                  </a:lnTo>
                  <a:lnTo>
                    <a:pt x="322" y="41"/>
                  </a:lnTo>
                  <a:lnTo>
                    <a:pt x="384" y="58"/>
                  </a:lnTo>
                  <a:lnTo>
                    <a:pt x="443" y="79"/>
                  </a:lnTo>
                  <a:lnTo>
                    <a:pt x="503" y="102"/>
                  </a:lnTo>
                  <a:lnTo>
                    <a:pt x="560" y="129"/>
                  </a:lnTo>
                  <a:lnTo>
                    <a:pt x="616" y="156"/>
                  </a:lnTo>
                  <a:lnTo>
                    <a:pt x="670" y="188"/>
                  </a:lnTo>
                  <a:lnTo>
                    <a:pt x="722" y="221"/>
                  </a:lnTo>
                  <a:lnTo>
                    <a:pt x="772" y="257"/>
                  </a:lnTo>
                  <a:lnTo>
                    <a:pt x="822" y="296"/>
                  </a:lnTo>
                  <a:lnTo>
                    <a:pt x="868" y="336"/>
                  </a:lnTo>
                  <a:lnTo>
                    <a:pt x="914" y="380"/>
                  </a:lnTo>
                  <a:lnTo>
                    <a:pt x="956" y="424"/>
                  </a:lnTo>
                  <a:lnTo>
                    <a:pt x="997" y="472"/>
                  </a:lnTo>
                  <a:lnTo>
                    <a:pt x="1035" y="520"/>
                  </a:lnTo>
                  <a:lnTo>
                    <a:pt x="1071" y="570"/>
                  </a:lnTo>
                  <a:lnTo>
                    <a:pt x="1104" y="624"/>
                  </a:lnTo>
                  <a:lnTo>
                    <a:pt x="1137" y="678"/>
                  </a:lnTo>
                  <a:lnTo>
                    <a:pt x="1166" y="733"/>
                  </a:lnTo>
                  <a:lnTo>
                    <a:pt x="1191" y="791"/>
                  </a:lnTo>
                  <a:lnTo>
                    <a:pt x="1214" y="848"/>
                  </a:lnTo>
                  <a:lnTo>
                    <a:pt x="1235" y="910"/>
                  </a:lnTo>
                  <a:lnTo>
                    <a:pt x="1252" y="969"/>
                  </a:lnTo>
                  <a:lnTo>
                    <a:pt x="1265" y="1032"/>
                  </a:lnTo>
                  <a:lnTo>
                    <a:pt x="1277" y="1096"/>
                  </a:lnTo>
                  <a:lnTo>
                    <a:pt x="1287" y="1161"/>
                  </a:lnTo>
                  <a:lnTo>
                    <a:pt x="1290" y="1226"/>
                  </a:lnTo>
                  <a:lnTo>
                    <a:pt x="1292" y="1291"/>
                  </a:lnTo>
                  <a:lnTo>
                    <a:pt x="1292" y="1336"/>
                  </a:lnTo>
                  <a:lnTo>
                    <a:pt x="1290" y="1380"/>
                  </a:lnTo>
                  <a:lnTo>
                    <a:pt x="1287" y="1422"/>
                  </a:lnTo>
                  <a:lnTo>
                    <a:pt x="1281" y="1466"/>
                  </a:lnTo>
                  <a:lnTo>
                    <a:pt x="1275" y="1508"/>
                  </a:lnTo>
                  <a:lnTo>
                    <a:pt x="1267" y="1548"/>
                  </a:lnTo>
                  <a:lnTo>
                    <a:pt x="1258" y="1591"/>
                  </a:lnTo>
                  <a:lnTo>
                    <a:pt x="1246" y="1631"/>
                  </a:lnTo>
                  <a:lnTo>
                    <a:pt x="1235" y="1671"/>
                  </a:lnTo>
                  <a:lnTo>
                    <a:pt x="1223" y="1712"/>
                  </a:lnTo>
                  <a:lnTo>
                    <a:pt x="1208" y="1750"/>
                  </a:lnTo>
                  <a:lnTo>
                    <a:pt x="1192" y="1788"/>
                  </a:lnTo>
                  <a:lnTo>
                    <a:pt x="1175" y="1827"/>
                  </a:lnTo>
                  <a:lnTo>
                    <a:pt x="1158" y="1865"/>
                  </a:lnTo>
                  <a:lnTo>
                    <a:pt x="1139" y="1901"/>
                  </a:lnTo>
                  <a:lnTo>
                    <a:pt x="1119" y="1938"/>
                  </a:lnTo>
                  <a:lnTo>
                    <a:pt x="1118" y="1938"/>
                  </a:lnTo>
                  <a:lnTo>
                    <a:pt x="945" y="1911"/>
                  </a:lnTo>
                  <a:lnTo>
                    <a:pt x="772" y="1886"/>
                  </a:lnTo>
                  <a:lnTo>
                    <a:pt x="662" y="1748"/>
                  </a:lnTo>
                  <a:lnTo>
                    <a:pt x="553" y="1612"/>
                  </a:lnTo>
                  <a:lnTo>
                    <a:pt x="551" y="1610"/>
                  </a:lnTo>
                  <a:lnTo>
                    <a:pt x="553" y="1610"/>
                  </a:lnTo>
                  <a:lnTo>
                    <a:pt x="572" y="1575"/>
                  </a:lnTo>
                  <a:lnTo>
                    <a:pt x="589" y="1537"/>
                  </a:lnTo>
                  <a:lnTo>
                    <a:pt x="605" y="1499"/>
                  </a:lnTo>
                  <a:lnTo>
                    <a:pt x="616" y="1460"/>
                  </a:lnTo>
                  <a:lnTo>
                    <a:pt x="626" y="1420"/>
                  </a:lnTo>
                  <a:lnTo>
                    <a:pt x="633" y="1378"/>
                  </a:lnTo>
                  <a:lnTo>
                    <a:pt x="637" y="1336"/>
                  </a:lnTo>
                  <a:lnTo>
                    <a:pt x="639" y="1291"/>
                  </a:lnTo>
                  <a:lnTo>
                    <a:pt x="637" y="1259"/>
                  </a:lnTo>
                  <a:lnTo>
                    <a:pt x="635" y="1226"/>
                  </a:lnTo>
                  <a:lnTo>
                    <a:pt x="632" y="1196"/>
                  </a:lnTo>
                  <a:lnTo>
                    <a:pt x="626" y="1163"/>
                  </a:lnTo>
                  <a:lnTo>
                    <a:pt x="618" y="1132"/>
                  </a:lnTo>
                  <a:lnTo>
                    <a:pt x="610" y="1103"/>
                  </a:lnTo>
                  <a:lnTo>
                    <a:pt x="599" y="1073"/>
                  </a:lnTo>
                  <a:lnTo>
                    <a:pt x="587" y="1044"/>
                  </a:lnTo>
                  <a:lnTo>
                    <a:pt x="576" y="1015"/>
                  </a:lnTo>
                  <a:lnTo>
                    <a:pt x="560" y="988"/>
                  </a:lnTo>
                  <a:lnTo>
                    <a:pt x="545" y="961"/>
                  </a:lnTo>
                  <a:lnTo>
                    <a:pt x="530" y="935"/>
                  </a:lnTo>
                  <a:lnTo>
                    <a:pt x="512" y="910"/>
                  </a:lnTo>
                  <a:lnTo>
                    <a:pt x="493" y="887"/>
                  </a:lnTo>
                  <a:lnTo>
                    <a:pt x="472" y="864"/>
                  </a:lnTo>
                  <a:lnTo>
                    <a:pt x="451" y="841"/>
                  </a:lnTo>
                  <a:lnTo>
                    <a:pt x="430" y="820"/>
                  </a:lnTo>
                  <a:lnTo>
                    <a:pt x="407" y="800"/>
                  </a:lnTo>
                  <a:lnTo>
                    <a:pt x="382" y="781"/>
                  </a:lnTo>
                  <a:lnTo>
                    <a:pt x="357" y="762"/>
                  </a:lnTo>
                  <a:lnTo>
                    <a:pt x="330" y="747"/>
                  </a:lnTo>
                  <a:lnTo>
                    <a:pt x="305" y="731"/>
                  </a:lnTo>
                  <a:lnTo>
                    <a:pt x="276" y="716"/>
                  </a:lnTo>
                  <a:lnTo>
                    <a:pt x="247" y="704"/>
                  </a:lnTo>
                  <a:lnTo>
                    <a:pt x="219" y="693"/>
                  </a:lnTo>
                  <a:lnTo>
                    <a:pt x="190" y="681"/>
                  </a:lnTo>
                  <a:lnTo>
                    <a:pt x="159" y="674"/>
                  </a:lnTo>
                  <a:lnTo>
                    <a:pt x="128" y="666"/>
                  </a:lnTo>
                  <a:lnTo>
                    <a:pt x="97" y="660"/>
                  </a:lnTo>
                  <a:lnTo>
                    <a:pt x="65" y="656"/>
                  </a:lnTo>
                  <a:lnTo>
                    <a:pt x="32" y="655"/>
                  </a:lnTo>
                  <a:lnTo>
                    <a:pt x="0" y="653"/>
                  </a:lnTo>
                  <a:lnTo>
                    <a:pt x="65" y="492"/>
                  </a:lnTo>
                  <a:lnTo>
                    <a:pt x="128" y="327"/>
                  </a:lnTo>
                  <a:lnTo>
                    <a:pt x="65" y="163"/>
                  </a:lnTo>
                  <a:lnTo>
                    <a:pt x="0" y="0"/>
                  </a:lnTo>
                </a:path>
              </a:pathLst>
            </a:custGeom>
            <a:grpFill/>
            <a:ln w="317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13" name="Freeform 24"/>
            <p:cNvSpPr>
              <a:spLocks/>
            </p:cNvSpPr>
            <p:nvPr/>
          </p:nvSpPr>
          <p:spPr bwMode="auto">
            <a:xfrm>
              <a:off x="2759075" y="1504950"/>
              <a:ext cx="2243138" cy="3062288"/>
            </a:xfrm>
            <a:custGeom>
              <a:avLst/>
              <a:gdLst>
                <a:gd name="T0" fmla="*/ 426107871 w 1421"/>
                <a:gd name="T1" fmla="*/ 2147483647 h 1938"/>
                <a:gd name="T2" fmla="*/ 348860820 w 1421"/>
                <a:gd name="T3" fmla="*/ 2147483647 h 1938"/>
                <a:gd name="T4" fmla="*/ 214299421 w 1421"/>
                <a:gd name="T5" fmla="*/ 2147483647 h 1938"/>
                <a:gd name="T6" fmla="*/ 114625782 w 1421"/>
                <a:gd name="T7" fmla="*/ 2147483647 h 1938"/>
                <a:gd name="T8" fmla="*/ 42362314 w 1421"/>
                <a:gd name="T9" fmla="*/ 2147483647 h 1938"/>
                <a:gd name="T10" fmla="*/ 7476075 w 1421"/>
                <a:gd name="T11" fmla="*/ 2147483647 h 1938"/>
                <a:gd name="T12" fmla="*/ 0 w 1421"/>
                <a:gd name="T13" fmla="*/ 2147483647 h 1938"/>
                <a:gd name="T14" fmla="*/ 22426643 w 1421"/>
                <a:gd name="T15" fmla="*/ 2147483647 h 1938"/>
                <a:gd name="T16" fmla="*/ 69772485 w 1421"/>
                <a:gd name="T17" fmla="*/ 2147483647 h 1938"/>
                <a:gd name="T18" fmla="*/ 152002984 w 1421"/>
                <a:gd name="T19" fmla="*/ 2147483647 h 1938"/>
                <a:gd name="T20" fmla="*/ 261645245 w 1421"/>
                <a:gd name="T21" fmla="*/ 1950004620 h 1938"/>
                <a:gd name="T22" fmla="*/ 396206643 w 1421"/>
                <a:gd name="T23" fmla="*/ 1672859725 h 1938"/>
                <a:gd name="T24" fmla="*/ 558176719 w 1421"/>
                <a:gd name="T25" fmla="*/ 1403204240 h 1938"/>
                <a:gd name="T26" fmla="*/ 750049406 w 1421"/>
                <a:gd name="T27" fmla="*/ 1156020144 h 1938"/>
                <a:gd name="T28" fmla="*/ 961857954 w 1421"/>
                <a:gd name="T29" fmla="*/ 921320636 h 1938"/>
                <a:gd name="T30" fmla="*/ 1206059985 w 1421"/>
                <a:gd name="T31" fmla="*/ 709091925 h 1938"/>
                <a:gd name="T32" fmla="*/ 1467706710 w 1421"/>
                <a:gd name="T33" fmla="*/ 519335985 h 1938"/>
                <a:gd name="T34" fmla="*/ 1704433064 w 1421"/>
                <a:gd name="T35" fmla="*/ 379513558 h 1938"/>
                <a:gd name="T36" fmla="*/ 1898798300 w 1421"/>
                <a:gd name="T37" fmla="*/ 284636378 h 1938"/>
                <a:gd name="T38" fmla="*/ 2095654508 w 1421"/>
                <a:gd name="T39" fmla="*/ 202240577 h 1938"/>
                <a:gd name="T40" fmla="*/ 2147483647 w 1421"/>
                <a:gd name="T41" fmla="*/ 134827594 h 1938"/>
                <a:gd name="T42" fmla="*/ 2147483647 w 1421"/>
                <a:gd name="T43" fmla="*/ 82394197 h 1938"/>
                <a:gd name="T44" fmla="*/ 2147483647 w 1421"/>
                <a:gd name="T45" fmla="*/ 44942001 h 1938"/>
                <a:gd name="T46" fmla="*/ 2147483647 w 1421"/>
                <a:gd name="T47" fmla="*/ 14981196 h 1938"/>
                <a:gd name="T48" fmla="*/ 2147483647 w 1421"/>
                <a:gd name="T49" fmla="*/ 4993205 h 1938"/>
                <a:gd name="T50" fmla="*/ 2147483647 w 1421"/>
                <a:gd name="T51" fmla="*/ 0 h 1938"/>
                <a:gd name="T52" fmla="*/ 2147483647 w 1421"/>
                <a:gd name="T53" fmla="*/ 0 h 1938"/>
                <a:gd name="T54" fmla="*/ 2147483647 w 1421"/>
                <a:gd name="T55" fmla="*/ 4993205 h 1938"/>
                <a:gd name="T56" fmla="*/ 2147483647 w 1421"/>
                <a:gd name="T57" fmla="*/ 818951874 h 1938"/>
                <a:gd name="T58" fmla="*/ 2147483647 w 1421"/>
                <a:gd name="T59" fmla="*/ 1630413944 h 1938"/>
                <a:gd name="T60" fmla="*/ 2147483647 w 1421"/>
                <a:gd name="T61" fmla="*/ 1635407147 h 1938"/>
                <a:gd name="T62" fmla="*/ 2147483647 w 1421"/>
                <a:gd name="T63" fmla="*/ 1635407147 h 1938"/>
                <a:gd name="T64" fmla="*/ 2147483647 w 1421"/>
                <a:gd name="T65" fmla="*/ 1635407147 h 1938"/>
                <a:gd name="T66" fmla="*/ 2147483647 w 1421"/>
                <a:gd name="T67" fmla="*/ 1662871739 h 1938"/>
                <a:gd name="T68" fmla="*/ 2147483647 w 1421"/>
                <a:gd name="T69" fmla="*/ 1715305112 h 1938"/>
                <a:gd name="T70" fmla="*/ 2147483647 w 1421"/>
                <a:gd name="T71" fmla="*/ 1792706081 h 1938"/>
                <a:gd name="T72" fmla="*/ 2147483647 w 1421"/>
                <a:gd name="T73" fmla="*/ 1887584841 h 1938"/>
                <a:gd name="T74" fmla="*/ 2147483647 w 1421"/>
                <a:gd name="T75" fmla="*/ 1984960202 h 1938"/>
                <a:gd name="T76" fmla="*/ 2105623130 w 1421"/>
                <a:gd name="T77" fmla="*/ 2089825368 h 1938"/>
                <a:gd name="T78" fmla="*/ 2000964440 w 1421"/>
                <a:gd name="T79" fmla="*/ 2147483647 h 1938"/>
                <a:gd name="T80" fmla="*/ 1903781822 w 1421"/>
                <a:gd name="T81" fmla="*/ 2147483647 h 1938"/>
                <a:gd name="T82" fmla="*/ 1824042319 w 1421"/>
                <a:gd name="T83" fmla="*/ 2147483647 h 1938"/>
                <a:gd name="T84" fmla="*/ 1756762409 w 1421"/>
                <a:gd name="T85" fmla="*/ 2147483647 h 1938"/>
                <a:gd name="T86" fmla="*/ 1704433064 w 1421"/>
                <a:gd name="T87" fmla="*/ 2147483647 h 1938"/>
                <a:gd name="T88" fmla="*/ 1664563312 w 1421"/>
                <a:gd name="T89" fmla="*/ 2147483647 h 1938"/>
                <a:gd name="T90" fmla="*/ 1637152760 w 1421"/>
                <a:gd name="T91" fmla="*/ 2147483647 h 1938"/>
                <a:gd name="T92" fmla="*/ 1627185716 w 1421"/>
                <a:gd name="T93" fmla="*/ 2147483647 h 1938"/>
                <a:gd name="T94" fmla="*/ 1632169238 w 1421"/>
                <a:gd name="T95" fmla="*/ 2147483647 h 1938"/>
                <a:gd name="T96" fmla="*/ 1649612353 w 1421"/>
                <a:gd name="T97" fmla="*/ 2147483647 h 1938"/>
                <a:gd name="T98" fmla="*/ 1684498978 w 1421"/>
                <a:gd name="T99" fmla="*/ 2147483647 h 1938"/>
                <a:gd name="T100" fmla="*/ 1731843222 w 1421"/>
                <a:gd name="T101" fmla="*/ 2147483647 h 1938"/>
                <a:gd name="T102" fmla="*/ 1799123132 w 1421"/>
                <a:gd name="T103" fmla="*/ 2147483647 h 1938"/>
                <a:gd name="T104" fmla="*/ 1836501912 w 1421"/>
                <a:gd name="T105" fmla="*/ 2147483647 h 1938"/>
                <a:gd name="T106" fmla="*/ 1405410322 w 1421"/>
                <a:gd name="T107" fmla="*/ 2147483647 h 1938"/>
                <a:gd name="T108" fmla="*/ 697721639 w 1421"/>
                <a:gd name="T109" fmla="*/ 2147483647 h 19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21"/>
                <a:gd name="T166" fmla="*/ 0 h 1938"/>
                <a:gd name="T167" fmla="*/ 1421 w 1421"/>
                <a:gd name="T168" fmla="*/ 1938 h 19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21" h="1938">
                  <a:moveTo>
                    <a:pt x="171" y="1938"/>
                  </a:moveTo>
                  <a:lnTo>
                    <a:pt x="171" y="1938"/>
                  </a:lnTo>
                  <a:lnTo>
                    <a:pt x="140" y="1878"/>
                  </a:lnTo>
                  <a:lnTo>
                    <a:pt x="111" y="1819"/>
                  </a:lnTo>
                  <a:lnTo>
                    <a:pt x="86" y="1759"/>
                  </a:lnTo>
                  <a:lnTo>
                    <a:pt x="65" y="1700"/>
                  </a:lnTo>
                  <a:lnTo>
                    <a:pt x="46" y="1639"/>
                  </a:lnTo>
                  <a:lnTo>
                    <a:pt x="30" y="1575"/>
                  </a:lnTo>
                  <a:lnTo>
                    <a:pt x="17" y="1514"/>
                  </a:lnTo>
                  <a:lnTo>
                    <a:pt x="9" y="1453"/>
                  </a:lnTo>
                  <a:lnTo>
                    <a:pt x="3" y="1389"/>
                  </a:lnTo>
                  <a:lnTo>
                    <a:pt x="0" y="1326"/>
                  </a:lnTo>
                  <a:lnTo>
                    <a:pt x="0" y="1265"/>
                  </a:lnTo>
                  <a:lnTo>
                    <a:pt x="3" y="1201"/>
                  </a:lnTo>
                  <a:lnTo>
                    <a:pt x="9" y="1140"/>
                  </a:lnTo>
                  <a:lnTo>
                    <a:pt x="17" y="1078"/>
                  </a:lnTo>
                  <a:lnTo>
                    <a:pt x="28" y="1017"/>
                  </a:lnTo>
                  <a:lnTo>
                    <a:pt x="44" y="958"/>
                  </a:lnTo>
                  <a:lnTo>
                    <a:pt x="61" y="898"/>
                  </a:lnTo>
                  <a:lnTo>
                    <a:pt x="82" y="839"/>
                  </a:lnTo>
                  <a:lnTo>
                    <a:pt x="105" y="781"/>
                  </a:lnTo>
                  <a:lnTo>
                    <a:pt x="130" y="726"/>
                  </a:lnTo>
                  <a:lnTo>
                    <a:pt x="159" y="670"/>
                  </a:lnTo>
                  <a:lnTo>
                    <a:pt x="190" y="616"/>
                  </a:lnTo>
                  <a:lnTo>
                    <a:pt x="224" y="562"/>
                  </a:lnTo>
                  <a:lnTo>
                    <a:pt x="261" y="513"/>
                  </a:lnTo>
                  <a:lnTo>
                    <a:pt x="301" y="463"/>
                  </a:lnTo>
                  <a:lnTo>
                    <a:pt x="342" y="415"/>
                  </a:lnTo>
                  <a:lnTo>
                    <a:pt x="386" y="369"/>
                  </a:lnTo>
                  <a:lnTo>
                    <a:pt x="434" y="327"/>
                  </a:lnTo>
                  <a:lnTo>
                    <a:pt x="484" y="284"/>
                  </a:lnTo>
                  <a:lnTo>
                    <a:pt x="536" y="244"/>
                  </a:lnTo>
                  <a:lnTo>
                    <a:pt x="589" y="208"/>
                  </a:lnTo>
                  <a:lnTo>
                    <a:pt x="645" y="173"/>
                  </a:lnTo>
                  <a:lnTo>
                    <a:pt x="684" y="152"/>
                  </a:lnTo>
                  <a:lnTo>
                    <a:pt x="722" y="133"/>
                  </a:lnTo>
                  <a:lnTo>
                    <a:pt x="762" y="114"/>
                  </a:lnTo>
                  <a:lnTo>
                    <a:pt x="801" y="96"/>
                  </a:lnTo>
                  <a:lnTo>
                    <a:pt x="841" y="81"/>
                  </a:lnTo>
                  <a:lnTo>
                    <a:pt x="881" y="68"/>
                  </a:lnTo>
                  <a:lnTo>
                    <a:pt x="922" y="54"/>
                  </a:lnTo>
                  <a:lnTo>
                    <a:pt x="962" y="43"/>
                  </a:lnTo>
                  <a:lnTo>
                    <a:pt x="1002" y="33"/>
                  </a:lnTo>
                  <a:lnTo>
                    <a:pt x="1045" y="23"/>
                  </a:lnTo>
                  <a:lnTo>
                    <a:pt x="1085" y="18"/>
                  </a:lnTo>
                  <a:lnTo>
                    <a:pt x="1127" y="12"/>
                  </a:lnTo>
                  <a:lnTo>
                    <a:pt x="1168" y="6"/>
                  </a:lnTo>
                  <a:lnTo>
                    <a:pt x="1208" y="4"/>
                  </a:lnTo>
                  <a:lnTo>
                    <a:pt x="1250" y="2"/>
                  </a:lnTo>
                  <a:lnTo>
                    <a:pt x="1291" y="0"/>
                  </a:lnTo>
                  <a:lnTo>
                    <a:pt x="1293" y="0"/>
                  </a:lnTo>
                  <a:lnTo>
                    <a:pt x="1293" y="2"/>
                  </a:lnTo>
                  <a:lnTo>
                    <a:pt x="1356" y="163"/>
                  </a:lnTo>
                  <a:lnTo>
                    <a:pt x="1421" y="328"/>
                  </a:lnTo>
                  <a:lnTo>
                    <a:pt x="1356" y="492"/>
                  </a:lnTo>
                  <a:lnTo>
                    <a:pt x="1293" y="653"/>
                  </a:lnTo>
                  <a:lnTo>
                    <a:pt x="1293" y="655"/>
                  </a:lnTo>
                  <a:lnTo>
                    <a:pt x="1291" y="655"/>
                  </a:lnTo>
                  <a:lnTo>
                    <a:pt x="1250" y="655"/>
                  </a:lnTo>
                  <a:lnTo>
                    <a:pt x="1210" y="658"/>
                  </a:lnTo>
                  <a:lnTo>
                    <a:pt x="1170" y="666"/>
                  </a:lnTo>
                  <a:lnTo>
                    <a:pt x="1129" y="674"/>
                  </a:lnTo>
                  <a:lnTo>
                    <a:pt x="1089" y="687"/>
                  </a:lnTo>
                  <a:lnTo>
                    <a:pt x="1049" y="701"/>
                  </a:lnTo>
                  <a:lnTo>
                    <a:pt x="1010" y="718"/>
                  </a:lnTo>
                  <a:lnTo>
                    <a:pt x="972" y="739"/>
                  </a:lnTo>
                  <a:lnTo>
                    <a:pt x="945" y="756"/>
                  </a:lnTo>
                  <a:lnTo>
                    <a:pt x="918" y="773"/>
                  </a:lnTo>
                  <a:lnTo>
                    <a:pt x="893" y="795"/>
                  </a:lnTo>
                  <a:lnTo>
                    <a:pt x="868" y="814"/>
                  </a:lnTo>
                  <a:lnTo>
                    <a:pt x="845" y="837"/>
                  </a:lnTo>
                  <a:lnTo>
                    <a:pt x="822" y="858"/>
                  </a:lnTo>
                  <a:lnTo>
                    <a:pt x="803" y="883"/>
                  </a:lnTo>
                  <a:lnTo>
                    <a:pt x="783" y="906"/>
                  </a:lnTo>
                  <a:lnTo>
                    <a:pt x="764" y="931"/>
                  </a:lnTo>
                  <a:lnTo>
                    <a:pt x="747" y="958"/>
                  </a:lnTo>
                  <a:lnTo>
                    <a:pt x="732" y="984"/>
                  </a:lnTo>
                  <a:lnTo>
                    <a:pt x="718" y="1011"/>
                  </a:lnTo>
                  <a:lnTo>
                    <a:pt x="705" y="1040"/>
                  </a:lnTo>
                  <a:lnTo>
                    <a:pt x="693" y="1069"/>
                  </a:lnTo>
                  <a:lnTo>
                    <a:pt x="684" y="1098"/>
                  </a:lnTo>
                  <a:lnTo>
                    <a:pt x="676" y="1126"/>
                  </a:lnTo>
                  <a:lnTo>
                    <a:pt x="668" y="1157"/>
                  </a:lnTo>
                  <a:lnTo>
                    <a:pt x="662" y="1186"/>
                  </a:lnTo>
                  <a:lnTo>
                    <a:pt x="657" y="1217"/>
                  </a:lnTo>
                  <a:lnTo>
                    <a:pt x="655" y="1247"/>
                  </a:lnTo>
                  <a:lnTo>
                    <a:pt x="653" y="1278"/>
                  </a:lnTo>
                  <a:lnTo>
                    <a:pt x="653" y="1309"/>
                  </a:lnTo>
                  <a:lnTo>
                    <a:pt x="655" y="1339"/>
                  </a:lnTo>
                  <a:lnTo>
                    <a:pt x="657" y="1370"/>
                  </a:lnTo>
                  <a:lnTo>
                    <a:pt x="662" y="1401"/>
                  </a:lnTo>
                  <a:lnTo>
                    <a:pt x="668" y="1433"/>
                  </a:lnTo>
                  <a:lnTo>
                    <a:pt x="676" y="1462"/>
                  </a:lnTo>
                  <a:lnTo>
                    <a:pt x="685" y="1493"/>
                  </a:lnTo>
                  <a:lnTo>
                    <a:pt x="695" y="1524"/>
                  </a:lnTo>
                  <a:lnTo>
                    <a:pt x="708" y="1552"/>
                  </a:lnTo>
                  <a:lnTo>
                    <a:pt x="722" y="1583"/>
                  </a:lnTo>
                  <a:lnTo>
                    <a:pt x="737" y="1612"/>
                  </a:lnTo>
                  <a:lnTo>
                    <a:pt x="564" y="1637"/>
                  </a:lnTo>
                  <a:lnTo>
                    <a:pt x="390" y="1664"/>
                  </a:lnTo>
                  <a:lnTo>
                    <a:pt x="280" y="1800"/>
                  </a:lnTo>
                  <a:lnTo>
                    <a:pt x="171" y="1938"/>
                  </a:lnTo>
                  <a:close/>
                </a:path>
              </a:pathLst>
            </a:custGeom>
            <a:grpFill/>
            <a:ln w="317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14" name="Freeform 26"/>
            <p:cNvSpPr>
              <a:spLocks/>
            </p:cNvSpPr>
            <p:nvPr/>
          </p:nvSpPr>
          <p:spPr bwMode="auto">
            <a:xfrm>
              <a:off x="3032125" y="4049713"/>
              <a:ext cx="3535363" cy="1536700"/>
            </a:xfrm>
            <a:custGeom>
              <a:avLst/>
              <a:gdLst>
                <a:gd name="T0" fmla="*/ 2147483647 w 2239"/>
                <a:gd name="T1" fmla="*/ 819821537 h 972"/>
                <a:gd name="T2" fmla="*/ 2147483647 w 2239"/>
                <a:gd name="T3" fmla="*/ 962290547 h 972"/>
                <a:gd name="T4" fmla="*/ 2147483647 w 2239"/>
                <a:gd name="T5" fmla="*/ 1227233686 h 972"/>
                <a:gd name="T6" fmla="*/ 2147483647 w 2239"/>
                <a:gd name="T7" fmla="*/ 1467181742 h 972"/>
                <a:gd name="T8" fmla="*/ 2147483647 w 2239"/>
                <a:gd name="T9" fmla="*/ 1682135110 h 972"/>
                <a:gd name="T10" fmla="*/ 2147483647 w 2239"/>
                <a:gd name="T11" fmla="*/ 1869593492 h 972"/>
                <a:gd name="T12" fmla="*/ 2147483647 w 2239"/>
                <a:gd name="T13" fmla="*/ 2032058371 h 972"/>
                <a:gd name="T14" fmla="*/ 2147483647 w 2239"/>
                <a:gd name="T15" fmla="*/ 2147483647 h 972"/>
                <a:gd name="T16" fmla="*/ 2147483647 w 2239"/>
                <a:gd name="T17" fmla="*/ 2147483647 h 972"/>
                <a:gd name="T18" fmla="*/ 2147483647 w 2239"/>
                <a:gd name="T19" fmla="*/ 2147483647 h 972"/>
                <a:gd name="T20" fmla="*/ 2147483647 w 2239"/>
                <a:gd name="T21" fmla="*/ 2147483647 h 972"/>
                <a:gd name="T22" fmla="*/ 2147483647 w 2239"/>
                <a:gd name="T23" fmla="*/ 2147483647 h 972"/>
                <a:gd name="T24" fmla="*/ 2147483647 w 2239"/>
                <a:gd name="T25" fmla="*/ 2147483647 h 972"/>
                <a:gd name="T26" fmla="*/ 2147483647 w 2239"/>
                <a:gd name="T27" fmla="*/ 2147483647 h 972"/>
                <a:gd name="T28" fmla="*/ 1924762728 w 2239"/>
                <a:gd name="T29" fmla="*/ 2147483647 h 972"/>
                <a:gd name="T30" fmla="*/ 1623083419 w 2239"/>
                <a:gd name="T31" fmla="*/ 2147483647 h 972"/>
                <a:gd name="T32" fmla="*/ 1321404505 w 2239"/>
                <a:gd name="T33" fmla="*/ 2079549029 h 972"/>
                <a:gd name="T34" fmla="*/ 1082054692 w 2239"/>
                <a:gd name="T35" fmla="*/ 1947076669 h 972"/>
                <a:gd name="T36" fmla="*/ 905037138 w 2239"/>
                <a:gd name="T37" fmla="*/ 1822104415 h 972"/>
                <a:gd name="T38" fmla="*/ 735499069 w 2239"/>
                <a:gd name="T39" fmla="*/ 1692133144 h 972"/>
                <a:gd name="T40" fmla="*/ 573439300 w 2239"/>
                <a:gd name="T41" fmla="*/ 1552163444 h 972"/>
                <a:gd name="T42" fmla="*/ 428833700 w 2239"/>
                <a:gd name="T43" fmla="*/ 1404695615 h 972"/>
                <a:gd name="T44" fmla="*/ 291706104 w 2239"/>
                <a:gd name="T45" fmla="*/ 1247229753 h 972"/>
                <a:gd name="T46" fmla="*/ 167044694 w 2239"/>
                <a:gd name="T47" fmla="*/ 1077266349 h 972"/>
                <a:gd name="T48" fmla="*/ 52357796 w 2239"/>
                <a:gd name="T49" fmla="*/ 904803436 h 972"/>
                <a:gd name="T50" fmla="*/ 0 w 2239"/>
                <a:gd name="T51" fmla="*/ 819821537 h 972"/>
                <a:gd name="T52" fmla="*/ 0 w 2239"/>
                <a:gd name="T53" fmla="*/ 819821537 h 972"/>
                <a:gd name="T54" fmla="*/ 2493228 w 2239"/>
                <a:gd name="T55" fmla="*/ 814822520 h 972"/>
                <a:gd name="T56" fmla="*/ 546013800 w 2239"/>
                <a:gd name="T57" fmla="*/ 129971320 h 972"/>
                <a:gd name="T58" fmla="*/ 1406172651 w 2239"/>
                <a:gd name="T59" fmla="*/ 4999018 h 972"/>
                <a:gd name="T60" fmla="*/ 1406172651 w 2239"/>
                <a:gd name="T61" fmla="*/ 0 h 972"/>
                <a:gd name="T62" fmla="*/ 1411159105 w 2239"/>
                <a:gd name="T63" fmla="*/ 0 h 972"/>
                <a:gd name="T64" fmla="*/ 1463516877 w 2239"/>
                <a:gd name="T65" fmla="*/ 89980743 h 972"/>
                <a:gd name="T66" fmla="*/ 1588178238 w 2239"/>
                <a:gd name="T67" fmla="*/ 254945205 h 972"/>
                <a:gd name="T68" fmla="*/ 1732784232 w 2239"/>
                <a:gd name="T69" fmla="*/ 402413034 h 972"/>
                <a:gd name="T70" fmla="*/ 1899830456 w 2239"/>
                <a:gd name="T71" fmla="*/ 532384404 h 972"/>
                <a:gd name="T72" fmla="*/ 2061888646 w 2239"/>
                <a:gd name="T73" fmla="*/ 627364139 h 972"/>
                <a:gd name="T74" fmla="*/ 2147483647 w 2239"/>
                <a:gd name="T75" fmla="*/ 689850266 h 972"/>
                <a:gd name="T76" fmla="*/ 2147483647 w 2239"/>
                <a:gd name="T77" fmla="*/ 742338360 h 972"/>
                <a:gd name="T78" fmla="*/ 2147483647 w 2239"/>
                <a:gd name="T79" fmla="*/ 777331476 h 972"/>
                <a:gd name="T80" fmla="*/ 2147483647 w 2239"/>
                <a:gd name="T81" fmla="*/ 794828035 h 972"/>
                <a:gd name="T82" fmla="*/ 2147483647 w 2239"/>
                <a:gd name="T83" fmla="*/ 799827051 h 972"/>
                <a:gd name="T84" fmla="*/ 2147483647 w 2239"/>
                <a:gd name="T85" fmla="*/ 789829018 h 972"/>
                <a:gd name="T86" fmla="*/ 2147483647 w 2239"/>
                <a:gd name="T87" fmla="*/ 762334426 h 972"/>
                <a:gd name="T88" fmla="*/ 2147483647 w 2239"/>
                <a:gd name="T89" fmla="*/ 724843383 h 972"/>
                <a:gd name="T90" fmla="*/ 2147483647 w 2239"/>
                <a:gd name="T91" fmla="*/ 669854199 h 972"/>
                <a:gd name="T92" fmla="*/ 2147483647 w 2239"/>
                <a:gd name="T93" fmla="*/ 604868564 h 972"/>
                <a:gd name="T94" fmla="*/ 2147483647 w 2239"/>
                <a:gd name="T95" fmla="*/ 522386370 h 972"/>
                <a:gd name="T96" fmla="*/ 2147483647 w 2239"/>
                <a:gd name="T97" fmla="*/ 429906143 h 972"/>
                <a:gd name="T98" fmla="*/ 2147483647 w 2239"/>
                <a:gd name="T99" fmla="*/ 324929857 h 972"/>
                <a:gd name="T100" fmla="*/ 2147483647 w 2239"/>
                <a:gd name="T101" fmla="*/ 204954989 h 972"/>
                <a:gd name="T102" fmla="*/ 2147483647 w 2239"/>
                <a:gd name="T103" fmla="*/ 77483202 h 972"/>
                <a:gd name="T104" fmla="*/ 2147483647 w 2239"/>
                <a:gd name="T105" fmla="*/ 4999018 h 972"/>
                <a:gd name="T106" fmla="*/ 2147483647 w 2239"/>
                <a:gd name="T107" fmla="*/ 344924343 h 972"/>
                <a:gd name="T108" fmla="*/ 2147483647 w 2239"/>
                <a:gd name="T109" fmla="*/ 757335410 h 9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39"/>
                <a:gd name="T166" fmla="*/ 0 h 972"/>
                <a:gd name="T167" fmla="*/ 2239 w 2239"/>
                <a:gd name="T168" fmla="*/ 972 h 9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39" h="972">
                  <a:moveTo>
                    <a:pt x="2239" y="328"/>
                  </a:moveTo>
                  <a:lnTo>
                    <a:pt x="2239" y="328"/>
                  </a:lnTo>
                  <a:lnTo>
                    <a:pt x="2205" y="385"/>
                  </a:lnTo>
                  <a:lnTo>
                    <a:pt x="2166" y="439"/>
                  </a:lnTo>
                  <a:lnTo>
                    <a:pt x="2128" y="491"/>
                  </a:lnTo>
                  <a:lnTo>
                    <a:pt x="2086" y="541"/>
                  </a:lnTo>
                  <a:lnTo>
                    <a:pt x="2042" y="587"/>
                  </a:lnTo>
                  <a:lnTo>
                    <a:pt x="1996" y="631"/>
                  </a:lnTo>
                  <a:lnTo>
                    <a:pt x="1949" y="673"/>
                  </a:lnTo>
                  <a:lnTo>
                    <a:pt x="1899" y="712"/>
                  </a:lnTo>
                  <a:lnTo>
                    <a:pt x="1848" y="748"/>
                  </a:lnTo>
                  <a:lnTo>
                    <a:pt x="1796" y="783"/>
                  </a:lnTo>
                  <a:lnTo>
                    <a:pt x="1742" y="813"/>
                  </a:lnTo>
                  <a:lnTo>
                    <a:pt x="1686" y="842"/>
                  </a:lnTo>
                  <a:lnTo>
                    <a:pt x="1629" y="869"/>
                  </a:lnTo>
                  <a:lnTo>
                    <a:pt x="1571" y="892"/>
                  </a:lnTo>
                  <a:lnTo>
                    <a:pt x="1513" y="911"/>
                  </a:lnTo>
                  <a:lnTo>
                    <a:pt x="1454" y="928"/>
                  </a:lnTo>
                  <a:lnTo>
                    <a:pt x="1392" y="944"/>
                  </a:lnTo>
                  <a:lnTo>
                    <a:pt x="1331" y="955"/>
                  </a:lnTo>
                  <a:lnTo>
                    <a:pt x="1269" y="963"/>
                  </a:lnTo>
                  <a:lnTo>
                    <a:pt x="1208" y="970"/>
                  </a:lnTo>
                  <a:lnTo>
                    <a:pt x="1146" y="972"/>
                  </a:lnTo>
                  <a:lnTo>
                    <a:pt x="1083" y="972"/>
                  </a:lnTo>
                  <a:lnTo>
                    <a:pt x="1022" y="969"/>
                  </a:lnTo>
                  <a:lnTo>
                    <a:pt x="958" y="963"/>
                  </a:lnTo>
                  <a:lnTo>
                    <a:pt x="897" y="953"/>
                  </a:lnTo>
                  <a:lnTo>
                    <a:pt x="833" y="942"/>
                  </a:lnTo>
                  <a:lnTo>
                    <a:pt x="772" y="926"/>
                  </a:lnTo>
                  <a:lnTo>
                    <a:pt x="710" y="907"/>
                  </a:lnTo>
                  <a:lnTo>
                    <a:pt x="651" y="886"/>
                  </a:lnTo>
                  <a:lnTo>
                    <a:pt x="589" y="861"/>
                  </a:lnTo>
                  <a:lnTo>
                    <a:pt x="530" y="832"/>
                  </a:lnTo>
                  <a:lnTo>
                    <a:pt x="472" y="800"/>
                  </a:lnTo>
                  <a:lnTo>
                    <a:pt x="434" y="779"/>
                  </a:lnTo>
                  <a:lnTo>
                    <a:pt x="397" y="754"/>
                  </a:lnTo>
                  <a:lnTo>
                    <a:pt x="363" y="729"/>
                  </a:lnTo>
                  <a:lnTo>
                    <a:pt x="328" y="704"/>
                  </a:lnTo>
                  <a:lnTo>
                    <a:pt x="295" y="677"/>
                  </a:lnTo>
                  <a:lnTo>
                    <a:pt x="263" y="650"/>
                  </a:lnTo>
                  <a:lnTo>
                    <a:pt x="230" y="621"/>
                  </a:lnTo>
                  <a:lnTo>
                    <a:pt x="201" y="591"/>
                  </a:lnTo>
                  <a:lnTo>
                    <a:pt x="172" y="562"/>
                  </a:lnTo>
                  <a:lnTo>
                    <a:pt x="144" y="529"/>
                  </a:lnTo>
                  <a:lnTo>
                    <a:pt x="117" y="499"/>
                  </a:lnTo>
                  <a:lnTo>
                    <a:pt x="92" y="466"/>
                  </a:lnTo>
                  <a:lnTo>
                    <a:pt x="67" y="431"/>
                  </a:lnTo>
                  <a:lnTo>
                    <a:pt x="44" y="399"/>
                  </a:lnTo>
                  <a:lnTo>
                    <a:pt x="21" y="362"/>
                  </a:lnTo>
                  <a:lnTo>
                    <a:pt x="0" y="328"/>
                  </a:lnTo>
                  <a:lnTo>
                    <a:pt x="0" y="326"/>
                  </a:lnTo>
                  <a:lnTo>
                    <a:pt x="1" y="326"/>
                  </a:lnTo>
                  <a:lnTo>
                    <a:pt x="109" y="190"/>
                  </a:lnTo>
                  <a:lnTo>
                    <a:pt x="219" y="52"/>
                  </a:lnTo>
                  <a:lnTo>
                    <a:pt x="393" y="27"/>
                  </a:lnTo>
                  <a:lnTo>
                    <a:pt x="564" y="2"/>
                  </a:lnTo>
                  <a:lnTo>
                    <a:pt x="564" y="0"/>
                  </a:lnTo>
                  <a:lnTo>
                    <a:pt x="566" y="2"/>
                  </a:lnTo>
                  <a:lnTo>
                    <a:pt x="566" y="0"/>
                  </a:lnTo>
                  <a:lnTo>
                    <a:pt x="566" y="2"/>
                  </a:lnTo>
                  <a:lnTo>
                    <a:pt x="587" y="36"/>
                  </a:lnTo>
                  <a:lnTo>
                    <a:pt x="610" y="69"/>
                  </a:lnTo>
                  <a:lnTo>
                    <a:pt x="637" y="102"/>
                  </a:lnTo>
                  <a:lnTo>
                    <a:pt x="664" y="132"/>
                  </a:lnTo>
                  <a:lnTo>
                    <a:pt x="695" y="161"/>
                  </a:lnTo>
                  <a:lnTo>
                    <a:pt x="728" y="188"/>
                  </a:lnTo>
                  <a:lnTo>
                    <a:pt x="762" y="213"/>
                  </a:lnTo>
                  <a:lnTo>
                    <a:pt x="799" y="234"/>
                  </a:lnTo>
                  <a:lnTo>
                    <a:pt x="827" y="251"/>
                  </a:lnTo>
                  <a:lnTo>
                    <a:pt x="856" y="265"/>
                  </a:lnTo>
                  <a:lnTo>
                    <a:pt x="887" y="276"/>
                  </a:lnTo>
                  <a:lnTo>
                    <a:pt x="918" y="288"/>
                  </a:lnTo>
                  <a:lnTo>
                    <a:pt x="947" y="297"/>
                  </a:lnTo>
                  <a:lnTo>
                    <a:pt x="977" y="305"/>
                  </a:lnTo>
                  <a:lnTo>
                    <a:pt x="1008" y="311"/>
                  </a:lnTo>
                  <a:lnTo>
                    <a:pt x="1039" y="314"/>
                  </a:lnTo>
                  <a:lnTo>
                    <a:pt x="1070" y="318"/>
                  </a:lnTo>
                  <a:lnTo>
                    <a:pt x="1102" y="320"/>
                  </a:lnTo>
                  <a:lnTo>
                    <a:pt x="1133" y="320"/>
                  </a:lnTo>
                  <a:lnTo>
                    <a:pt x="1164" y="318"/>
                  </a:lnTo>
                  <a:lnTo>
                    <a:pt x="1194" y="316"/>
                  </a:lnTo>
                  <a:lnTo>
                    <a:pt x="1223" y="311"/>
                  </a:lnTo>
                  <a:lnTo>
                    <a:pt x="1254" y="305"/>
                  </a:lnTo>
                  <a:lnTo>
                    <a:pt x="1285" y="299"/>
                  </a:lnTo>
                  <a:lnTo>
                    <a:pt x="1314" y="290"/>
                  </a:lnTo>
                  <a:lnTo>
                    <a:pt x="1342" y="280"/>
                  </a:lnTo>
                  <a:lnTo>
                    <a:pt x="1371" y="268"/>
                  </a:lnTo>
                  <a:lnTo>
                    <a:pt x="1400" y="255"/>
                  </a:lnTo>
                  <a:lnTo>
                    <a:pt x="1427" y="242"/>
                  </a:lnTo>
                  <a:lnTo>
                    <a:pt x="1454" y="226"/>
                  </a:lnTo>
                  <a:lnTo>
                    <a:pt x="1479" y="209"/>
                  </a:lnTo>
                  <a:lnTo>
                    <a:pt x="1504" y="192"/>
                  </a:lnTo>
                  <a:lnTo>
                    <a:pt x="1529" y="172"/>
                  </a:lnTo>
                  <a:lnTo>
                    <a:pt x="1552" y="151"/>
                  </a:lnTo>
                  <a:lnTo>
                    <a:pt x="1575" y="130"/>
                  </a:lnTo>
                  <a:lnTo>
                    <a:pt x="1598" y="107"/>
                  </a:lnTo>
                  <a:lnTo>
                    <a:pt x="1617" y="82"/>
                  </a:lnTo>
                  <a:lnTo>
                    <a:pt x="1636" y="57"/>
                  </a:lnTo>
                  <a:lnTo>
                    <a:pt x="1655" y="31"/>
                  </a:lnTo>
                  <a:lnTo>
                    <a:pt x="1673" y="2"/>
                  </a:lnTo>
                  <a:lnTo>
                    <a:pt x="1782" y="138"/>
                  </a:lnTo>
                  <a:lnTo>
                    <a:pt x="1892" y="276"/>
                  </a:lnTo>
                  <a:lnTo>
                    <a:pt x="2065" y="303"/>
                  </a:lnTo>
                  <a:lnTo>
                    <a:pt x="2239" y="328"/>
                  </a:lnTo>
                </a:path>
              </a:pathLst>
            </a:custGeom>
            <a:grpFill/>
            <a:ln w="3175">
              <a:solidFill>
                <a:schemeClr val="tx1">
                  <a:lumMod val="20000"/>
                  <a:lumOff val="80000"/>
                </a:schemeClr>
              </a:solidFill>
              <a:round/>
              <a:headEnd/>
              <a:tailEnd/>
            </a:ln>
          </p:spPr>
          <p:txBody>
            <a:bodyPr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p:txBody>
        </p:sp>
        <p:sp>
          <p:nvSpPr>
            <p:cNvPr id="15" name="Rectangle 7"/>
            <p:cNvSpPr>
              <a:spLocks noChangeArrowheads="1"/>
            </p:cNvSpPr>
            <p:nvPr/>
          </p:nvSpPr>
          <p:spPr bwMode="auto">
            <a:xfrm>
              <a:off x="6018214" y="2885164"/>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16" name="Rectangle 8"/>
            <p:cNvSpPr>
              <a:spLocks noChangeArrowheads="1"/>
            </p:cNvSpPr>
            <p:nvPr/>
          </p:nvSpPr>
          <p:spPr bwMode="auto">
            <a:xfrm>
              <a:off x="3181350" y="2824839"/>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17" name="Rectangle 9"/>
            <p:cNvSpPr>
              <a:spLocks noChangeArrowheads="1"/>
            </p:cNvSpPr>
            <p:nvPr/>
          </p:nvSpPr>
          <p:spPr bwMode="auto">
            <a:xfrm>
              <a:off x="4598989" y="4904464"/>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grpSp>
      <p:grpSp>
        <p:nvGrpSpPr>
          <p:cNvPr id="18" name="Group 17"/>
          <p:cNvGrpSpPr/>
          <p:nvPr/>
        </p:nvGrpSpPr>
        <p:grpSpPr>
          <a:xfrm>
            <a:off x="7915164" y="1209182"/>
            <a:ext cx="2276831" cy="2275945"/>
            <a:chOff x="2759075" y="1504950"/>
            <a:chExt cx="4081463" cy="4079875"/>
          </a:xfrm>
          <a:solidFill>
            <a:schemeClr val="tx1">
              <a:lumMod val="60000"/>
              <a:lumOff val="40000"/>
            </a:schemeClr>
          </a:solidFill>
        </p:grpSpPr>
        <p:sp>
          <p:nvSpPr>
            <p:cNvPr id="19" name="Freeform 19"/>
            <p:cNvSpPr>
              <a:spLocks/>
            </p:cNvSpPr>
            <p:nvPr/>
          </p:nvSpPr>
          <p:spPr bwMode="auto">
            <a:xfrm>
              <a:off x="4800600" y="1504950"/>
              <a:ext cx="2039938" cy="2244725"/>
            </a:xfrm>
            <a:custGeom>
              <a:avLst/>
              <a:gdLst>
                <a:gd name="T0" fmla="*/ 1588087590 w 1295"/>
                <a:gd name="T1" fmla="*/ 2147483647 h 1424"/>
                <a:gd name="T2" fmla="*/ 1588087590 w 1295"/>
                <a:gd name="T3" fmla="*/ 2147483647 h 1424"/>
                <a:gd name="T4" fmla="*/ 1588087590 w 1295"/>
                <a:gd name="T5" fmla="*/ 2147483647 h 1424"/>
                <a:gd name="T6" fmla="*/ 1588087590 w 1295"/>
                <a:gd name="T7" fmla="*/ 2147483647 h 1424"/>
                <a:gd name="T8" fmla="*/ 1568236402 w 1295"/>
                <a:gd name="T9" fmla="*/ 2147483647 h 1424"/>
                <a:gd name="T10" fmla="*/ 1533496034 w 1295"/>
                <a:gd name="T11" fmla="*/ 2147483647 h 1424"/>
                <a:gd name="T12" fmla="*/ 1491312653 w 1295"/>
                <a:gd name="T13" fmla="*/ 2147483647 h 1424"/>
                <a:gd name="T14" fmla="*/ 1429278083 w 1295"/>
                <a:gd name="T15" fmla="*/ 2147483647 h 1424"/>
                <a:gd name="T16" fmla="*/ 1352355909 w 1295"/>
                <a:gd name="T17" fmla="*/ 2147483647 h 1424"/>
                <a:gd name="T18" fmla="*/ 1272951155 w 1295"/>
                <a:gd name="T19" fmla="*/ 2147483647 h 1424"/>
                <a:gd name="T20" fmla="*/ 1171214209 w 1295"/>
                <a:gd name="T21" fmla="*/ 2144456466 h 1424"/>
                <a:gd name="T22" fmla="*/ 1066996257 w 1295"/>
                <a:gd name="T23" fmla="*/ 2040090976 h 1424"/>
                <a:gd name="T24" fmla="*/ 947889127 w 1295"/>
                <a:gd name="T25" fmla="*/ 1940695722 h 1424"/>
                <a:gd name="T26" fmla="*/ 818857780 w 1295"/>
                <a:gd name="T27" fmla="*/ 1853723693 h 1424"/>
                <a:gd name="T28" fmla="*/ 687344051 w 1295"/>
                <a:gd name="T29" fmla="*/ 1781662370 h 1424"/>
                <a:gd name="T30" fmla="*/ 543423723 w 1295"/>
                <a:gd name="T31" fmla="*/ 1719539942 h 1424"/>
                <a:gd name="T32" fmla="*/ 394539711 w 1295"/>
                <a:gd name="T33" fmla="*/ 1677298457 h 1424"/>
                <a:gd name="T34" fmla="*/ 243176369 w 1295"/>
                <a:gd name="T35" fmla="*/ 1642509567 h 1424"/>
                <a:gd name="T36" fmla="*/ 81885783 w 1295"/>
                <a:gd name="T37" fmla="*/ 1630084766 h 1424"/>
                <a:gd name="T38" fmla="*/ 0 w 1295"/>
                <a:gd name="T39" fmla="*/ 1620144294 h 1424"/>
                <a:gd name="T40" fmla="*/ 315136533 w 1295"/>
                <a:gd name="T41" fmla="*/ 817527501 h 1424"/>
                <a:gd name="T42" fmla="*/ 0 w 1295"/>
                <a:gd name="T43" fmla="*/ 9938898 h 1424"/>
                <a:gd name="T44" fmla="*/ 166252571 w 1295"/>
                <a:gd name="T45" fmla="*/ 4970237 h 1424"/>
                <a:gd name="T46" fmla="*/ 486351162 w 1295"/>
                <a:gd name="T47" fmla="*/ 39758744 h 1424"/>
                <a:gd name="T48" fmla="*/ 801487597 w 1295"/>
                <a:gd name="T49" fmla="*/ 101879608 h 1424"/>
                <a:gd name="T50" fmla="*/ 1101735049 w 1295"/>
                <a:gd name="T51" fmla="*/ 196306228 h 1424"/>
                <a:gd name="T52" fmla="*/ 1387094701 w 1295"/>
                <a:gd name="T53" fmla="*/ 315580897 h 1424"/>
                <a:gd name="T54" fmla="*/ 1657565568 w 1295"/>
                <a:gd name="T55" fmla="*/ 464673876 h 1424"/>
                <a:gd name="T56" fmla="*/ 1915631017 w 1295"/>
                <a:gd name="T57" fmla="*/ 641100688 h 1424"/>
                <a:gd name="T58" fmla="*/ 2147483647 w 1295"/>
                <a:gd name="T59" fmla="*/ 837407064 h 1424"/>
                <a:gd name="T60" fmla="*/ 2147483647 w 1295"/>
                <a:gd name="T61" fmla="*/ 1056075361 h 1424"/>
                <a:gd name="T62" fmla="*/ 2147483647 w 1295"/>
                <a:gd name="T63" fmla="*/ 1294624601 h 1424"/>
                <a:gd name="T64" fmla="*/ 2147483647 w 1295"/>
                <a:gd name="T65" fmla="*/ 1548082972 h 1424"/>
                <a:gd name="T66" fmla="*/ 2147483647 w 1295"/>
                <a:gd name="T67" fmla="*/ 1818936773 h 1424"/>
                <a:gd name="T68" fmla="*/ 2147483647 w 1295"/>
                <a:gd name="T69" fmla="*/ 2112152299 h 1424"/>
                <a:gd name="T70" fmla="*/ 2147483647 w 1295"/>
                <a:gd name="T71" fmla="*/ 2147483647 h 1424"/>
                <a:gd name="T72" fmla="*/ 2147483647 w 1295"/>
                <a:gd name="T73" fmla="*/ 2147483647 h 1424"/>
                <a:gd name="T74" fmla="*/ 2147483647 w 1295"/>
                <a:gd name="T75" fmla="*/ 2147483647 h 1424"/>
                <a:gd name="T76" fmla="*/ 2147483647 w 1295"/>
                <a:gd name="T77" fmla="*/ 2147483647 h 1424"/>
                <a:gd name="T78" fmla="*/ 2147483647 w 1295"/>
                <a:gd name="T79" fmla="*/ 2147483647 h 1424"/>
                <a:gd name="T80" fmla="*/ 2147483647 w 1295"/>
                <a:gd name="T81" fmla="*/ 2147483647 h 1424"/>
                <a:gd name="T82" fmla="*/ 1588087590 w 1295"/>
                <a:gd name="T83" fmla="*/ 2147483647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40" y="1295"/>
                  </a:moveTo>
                  <a:lnTo>
                    <a:pt x="640" y="1295"/>
                  </a:lnTo>
                  <a:lnTo>
                    <a:pt x="640" y="1294"/>
                  </a:lnTo>
                  <a:lnTo>
                    <a:pt x="640" y="1261"/>
                  </a:lnTo>
                  <a:lnTo>
                    <a:pt x="636" y="1228"/>
                  </a:lnTo>
                  <a:lnTo>
                    <a:pt x="632" y="1196"/>
                  </a:lnTo>
                  <a:lnTo>
                    <a:pt x="626" y="1165"/>
                  </a:lnTo>
                  <a:lnTo>
                    <a:pt x="618" y="1134"/>
                  </a:lnTo>
                  <a:lnTo>
                    <a:pt x="611" y="1103"/>
                  </a:lnTo>
                  <a:lnTo>
                    <a:pt x="601" y="1075"/>
                  </a:lnTo>
                  <a:lnTo>
                    <a:pt x="590" y="1046"/>
                  </a:lnTo>
                  <a:lnTo>
                    <a:pt x="576" y="1017"/>
                  </a:lnTo>
                  <a:lnTo>
                    <a:pt x="563" y="990"/>
                  </a:lnTo>
                  <a:lnTo>
                    <a:pt x="545" y="963"/>
                  </a:lnTo>
                  <a:lnTo>
                    <a:pt x="530" y="936"/>
                  </a:lnTo>
                  <a:lnTo>
                    <a:pt x="513" y="911"/>
                  </a:lnTo>
                  <a:lnTo>
                    <a:pt x="494" y="886"/>
                  </a:lnTo>
                  <a:lnTo>
                    <a:pt x="472" y="863"/>
                  </a:lnTo>
                  <a:lnTo>
                    <a:pt x="451" y="842"/>
                  </a:lnTo>
                  <a:lnTo>
                    <a:pt x="430" y="821"/>
                  </a:lnTo>
                  <a:lnTo>
                    <a:pt x="405" y="800"/>
                  </a:lnTo>
                  <a:lnTo>
                    <a:pt x="382" y="781"/>
                  </a:lnTo>
                  <a:lnTo>
                    <a:pt x="357" y="763"/>
                  </a:lnTo>
                  <a:lnTo>
                    <a:pt x="330" y="746"/>
                  </a:lnTo>
                  <a:lnTo>
                    <a:pt x="303" y="731"/>
                  </a:lnTo>
                  <a:lnTo>
                    <a:pt x="277" y="717"/>
                  </a:lnTo>
                  <a:lnTo>
                    <a:pt x="248" y="704"/>
                  </a:lnTo>
                  <a:lnTo>
                    <a:pt x="219" y="692"/>
                  </a:lnTo>
                  <a:lnTo>
                    <a:pt x="190" y="683"/>
                  </a:lnTo>
                  <a:lnTo>
                    <a:pt x="159" y="675"/>
                  </a:lnTo>
                  <a:lnTo>
                    <a:pt x="129" y="667"/>
                  </a:lnTo>
                  <a:lnTo>
                    <a:pt x="98" y="661"/>
                  </a:lnTo>
                  <a:lnTo>
                    <a:pt x="65" y="658"/>
                  </a:lnTo>
                  <a:lnTo>
                    <a:pt x="33" y="656"/>
                  </a:lnTo>
                  <a:lnTo>
                    <a:pt x="0" y="654"/>
                  </a:lnTo>
                  <a:lnTo>
                    <a:pt x="0" y="652"/>
                  </a:lnTo>
                  <a:lnTo>
                    <a:pt x="63" y="492"/>
                  </a:lnTo>
                  <a:lnTo>
                    <a:pt x="127" y="329"/>
                  </a:lnTo>
                  <a:lnTo>
                    <a:pt x="63" y="164"/>
                  </a:lnTo>
                  <a:lnTo>
                    <a:pt x="0" y="4"/>
                  </a:lnTo>
                  <a:lnTo>
                    <a:pt x="0" y="0"/>
                  </a:lnTo>
                  <a:lnTo>
                    <a:pt x="67" y="2"/>
                  </a:lnTo>
                  <a:lnTo>
                    <a:pt x="133" y="6"/>
                  </a:lnTo>
                  <a:lnTo>
                    <a:pt x="196" y="16"/>
                  </a:lnTo>
                  <a:lnTo>
                    <a:pt x="259" y="27"/>
                  </a:lnTo>
                  <a:lnTo>
                    <a:pt x="323" y="41"/>
                  </a:lnTo>
                  <a:lnTo>
                    <a:pt x="384" y="58"/>
                  </a:lnTo>
                  <a:lnTo>
                    <a:pt x="444" y="79"/>
                  </a:lnTo>
                  <a:lnTo>
                    <a:pt x="501" y="102"/>
                  </a:lnTo>
                  <a:lnTo>
                    <a:pt x="559" y="127"/>
                  </a:lnTo>
                  <a:lnTo>
                    <a:pt x="615" y="156"/>
                  </a:lnTo>
                  <a:lnTo>
                    <a:pt x="668" y="187"/>
                  </a:lnTo>
                  <a:lnTo>
                    <a:pt x="722" y="221"/>
                  </a:lnTo>
                  <a:lnTo>
                    <a:pt x="772" y="258"/>
                  </a:lnTo>
                  <a:lnTo>
                    <a:pt x="822" y="296"/>
                  </a:lnTo>
                  <a:lnTo>
                    <a:pt x="868" y="337"/>
                  </a:lnTo>
                  <a:lnTo>
                    <a:pt x="912" y="379"/>
                  </a:lnTo>
                  <a:lnTo>
                    <a:pt x="957" y="425"/>
                  </a:lnTo>
                  <a:lnTo>
                    <a:pt x="997" y="471"/>
                  </a:lnTo>
                  <a:lnTo>
                    <a:pt x="1035" y="521"/>
                  </a:lnTo>
                  <a:lnTo>
                    <a:pt x="1072" y="571"/>
                  </a:lnTo>
                  <a:lnTo>
                    <a:pt x="1104" y="623"/>
                  </a:lnTo>
                  <a:lnTo>
                    <a:pt x="1137" y="677"/>
                  </a:lnTo>
                  <a:lnTo>
                    <a:pt x="1164" y="732"/>
                  </a:lnTo>
                  <a:lnTo>
                    <a:pt x="1191" y="790"/>
                  </a:lnTo>
                  <a:lnTo>
                    <a:pt x="1214" y="850"/>
                  </a:lnTo>
                  <a:lnTo>
                    <a:pt x="1235" y="909"/>
                  </a:lnTo>
                  <a:lnTo>
                    <a:pt x="1252" y="971"/>
                  </a:lnTo>
                  <a:lnTo>
                    <a:pt x="1266" y="1032"/>
                  </a:lnTo>
                  <a:lnTo>
                    <a:pt x="1277" y="1096"/>
                  </a:lnTo>
                  <a:lnTo>
                    <a:pt x="1287" y="1161"/>
                  </a:lnTo>
                  <a:lnTo>
                    <a:pt x="1291" y="1226"/>
                  </a:lnTo>
                  <a:lnTo>
                    <a:pt x="1293" y="1294"/>
                  </a:lnTo>
                  <a:lnTo>
                    <a:pt x="1295" y="1294"/>
                  </a:lnTo>
                  <a:lnTo>
                    <a:pt x="1131" y="1359"/>
                  </a:lnTo>
                  <a:lnTo>
                    <a:pt x="968" y="1424"/>
                  </a:lnTo>
                  <a:lnTo>
                    <a:pt x="803" y="1359"/>
                  </a:lnTo>
                  <a:lnTo>
                    <a:pt x="640" y="1295"/>
                  </a:lnTo>
                  <a:close/>
                </a:path>
              </a:pathLst>
            </a:custGeom>
            <a:grpFill/>
            <a:ln w="952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20" name="Freeform 21"/>
            <p:cNvSpPr>
              <a:spLocks/>
            </p:cNvSpPr>
            <p:nvPr/>
          </p:nvSpPr>
          <p:spPr bwMode="auto">
            <a:xfrm>
              <a:off x="4595813" y="3544888"/>
              <a:ext cx="2241550" cy="2039937"/>
            </a:xfrm>
            <a:custGeom>
              <a:avLst/>
              <a:gdLst>
                <a:gd name="T0" fmla="*/ 163998853 w 1422"/>
                <a:gd name="T1" fmla="*/ 1993146178 h 1294"/>
                <a:gd name="T2" fmla="*/ 320543215 w 1422"/>
                <a:gd name="T3" fmla="*/ 1590540565 h 1294"/>
                <a:gd name="T4" fmla="*/ 325513401 w 1422"/>
                <a:gd name="T5" fmla="*/ 1590540565 h 1294"/>
                <a:gd name="T6" fmla="*/ 325513401 w 1422"/>
                <a:gd name="T7" fmla="*/ 1590540565 h 1294"/>
                <a:gd name="T8" fmla="*/ 487027998 w 1422"/>
                <a:gd name="T9" fmla="*/ 1580599422 h 1294"/>
                <a:gd name="T10" fmla="*/ 646056616 w 1422"/>
                <a:gd name="T11" fmla="*/ 1558232641 h 1294"/>
                <a:gd name="T12" fmla="*/ 792662132 w 1422"/>
                <a:gd name="T13" fmla="*/ 1515985152 h 1294"/>
                <a:gd name="T14" fmla="*/ 941752151 w 1422"/>
                <a:gd name="T15" fmla="*/ 1461308870 h 1294"/>
                <a:gd name="T16" fmla="*/ 1078418872 w 1422"/>
                <a:gd name="T17" fmla="*/ 1396694600 h 1294"/>
                <a:gd name="T18" fmla="*/ 1207629525 w 1422"/>
                <a:gd name="T19" fmla="*/ 1314680966 h 1294"/>
                <a:gd name="T20" fmla="*/ 1331871568 w 1422"/>
                <a:gd name="T21" fmla="*/ 1222727766 h 1294"/>
                <a:gd name="T22" fmla="*/ 1446174816 w 1422"/>
                <a:gd name="T23" fmla="*/ 1123319498 h 1294"/>
                <a:gd name="T24" fmla="*/ 1548051809 w 1422"/>
                <a:gd name="T25" fmla="*/ 1008999517 h 1294"/>
                <a:gd name="T26" fmla="*/ 1637507279 w 1422"/>
                <a:gd name="T27" fmla="*/ 884738393 h 1294"/>
                <a:gd name="T28" fmla="*/ 1719507074 w 1422"/>
                <a:gd name="T29" fmla="*/ 755506502 h 1294"/>
                <a:gd name="T30" fmla="*/ 1786597494 w 1422"/>
                <a:gd name="T31" fmla="*/ 616335242 h 1294"/>
                <a:gd name="T32" fmla="*/ 1838778932 w 1422"/>
                <a:gd name="T33" fmla="*/ 469707338 h 1294"/>
                <a:gd name="T34" fmla="*/ 1876051387 w 1422"/>
                <a:gd name="T35" fmla="*/ 315622689 h 1294"/>
                <a:gd name="T36" fmla="*/ 1900899165 w 1422"/>
                <a:gd name="T37" fmla="*/ 164024164 h 1294"/>
                <a:gd name="T38" fmla="*/ 1910837961 w 1422"/>
                <a:gd name="T39" fmla="*/ 0 h 1294"/>
                <a:gd name="T40" fmla="*/ 2147483647 w 1422"/>
                <a:gd name="T41" fmla="*/ 159053593 h 1294"/>
                <a:gd name="T42" fmla="*/ 2147483647 w 1422"/>
                <a:gd name="T43" fmla="*/ 159053593 h 1294"/>
                <a:gd name="T44" fmla="*/ 2147483647 w 1422"/>
                <a:gd name="T45" fmla="*/ 164024164 h 1294"/>
                <a:gd name="T46" fmla="*/ 2147483647 w 1422"/>
                <a:gd name="T47" fmla="*/ 487103548 h 1294"/>
                <a:gd name="T48" fmla="*/ 2147483647 w 1422"/>
                <a:gd name="T49" fmla="*/ 802726139 h 1294"/>
                <a:gd name="T50" fmla="*/ 2147483647 w 1422"/>
                <a:gd name="T51" fmla="*/ 1103437214 h 1294"/>
                <a:gd name="T52" fmla="*/ 2147483647 w 1422"/>
                <a:gd name="T53" fmla="*/ 1391724029 h 1294"/>
                <a:gd name="T54" fmla="*/ 2147483647 w 1422"/>
                <a:gd name="T55" fmla="*/ 1662613451 h 1294"/>
                <a:gd name="T56" fmla="*/ 2147483647 w 1422"/>
                <a:gd name="T57" fmla="*/ 1921075263 h 1294"/>
                <a:gd name="T58" fmla="*/ 2147483647 w 1422"/>
                <a:gd name="T59" fmla="*/ 2147483647 h 1294"/>
                <a:gd name="T60" fmla="*/ 2147483647 w 1422"/>
                <a:gd name="T61" fmla="*/ 2147483647 h 1294"/>
                <a:gd name="T62" fmla="*/ 2147483647 w 1422"/>
                <a:gd name="T63" fmla="*/ 2147483647 h 1294"/>
                <a:gd name="T64" fmla="*/ 1985384448 w 1422"/>
                <a:gd name="T65" fmla="*/ 2147483647 h 1294"/>
                <a:gd name="T66" fmla="*/ 1714536888 w 1422"/>
                <a:gd name="T67" fmla="*/ 2147483647 h 1294"/>
                <a:gd name="T68" fmla="*/ 1428779952 w 1422"/>
                <a:gd name="T69" fmla="*/ 2147483647 h 1294"/>
                <a:gd name="T70" fmla="*/ 1128116004 w 1422"/>
                <a:gd name="T71" fmla="*/ 2147483647 h 1294"/>
                <a:gd name="T72" fmla="*/ 812541301 w 1422"/>
                <a:gd name="T73" fmla="*/ 2147483647 h 1294"/>
                <a:gd name="T74" fmla="*/ 487027998 w 1422"/>
                <a:gd name="T75" fmla="*/ 2147483647 h 1294"/>
                <a:gd name="T76" fmla="*/ 325513401 w 1422"/>
                <a:gd name="T77" fmla="*/ 2147483647 h 1294"/>
                <a:gd name="T78" fmla="*/ 320543215 w 1422"/>
                <a:gd name="T79" fmla="*/ 2147483647 h 1294"/>
                <a:gd name="T80" fmla="*/ 320543215 w 1422"/>
                <a:gd name="T81" fmla="*/ 2147483647 h 1294"/>
                <a:gd name="T82" fmla="*/ 0 w 1422"/>
                <a:gd name="T83" fmla="*/ 2147483647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0" y="965"/>
                  </a:moveTo>
                  <a:lnTo>
                    <a:pt x="66" y="802"/>
                  </a:lnTo>
                  <a:lnTo>
                    <a:pt x="129" y="642"/>
                  </a:lnTo>
                  <a:lnTo>
                    <a:pt x="129" y="640"/>
                  </a:lnTo>
                  <a:lnTo>
                    <a:pt x="131" y="640"/>
                  </a:lnTo>
                  <a:lnTo>
                    <a:pt x="131" y="638"/>
                  </a:lnTo>
                  <a:lnTo>
                    <a:pt x="131" y="640"/>
                  </a:lnTo>
                  <a:lnTo>
                    <a:pt x="164" y="638"/>
                  </a:lnTo>
                  <a:lnTo>
                    <a:pt x="196" y="636"/>
                  </a:lnTo>
                  <a:lnTo>
                    <a:pt x="227" y="633"/>
                  </a:lnTo>
                  <a:lnTo>
                    <a:pt x="260" y="627"/>
                  </a:lnTo>
                  <a:lnTo>
                    <a:pt x="290" y="619"/>
                  </a:lnTo>
                  <a:lnTo>
                    <a:pt x="319" y="610"/>
                  </a:lnTo>
                  <a:lnTo>
                    <a:pt x="350" y="600"/>
                  </a:lnTo>
                  <a:lnTo>
                    <a:pt x="379" y="588"/>
                  </a:lnTo>
                  <a:lnTo>
                    <a:pt x="408" y="575"/>
                  </a:lnTo>
                  <a:lnTo>
                    <a:pt x="434" y="562"/>
                  </a:lnTo>
                  <a:lnTo>
                    <a:pt x="461" y="546"/>
                  </a:lnTo>
                  <a:lnTo>
                    <a:pt x="486" y="529"/>
                  </a:lnTo>
                  <a:lnTo>
                    <a:pt x="511" y="512"/>
                  </a:lnTo>
                  <a:lnTo>
                    <a:pt x="536" y="492"/>
                  </a:lnTo>
                  <a:lnTo>
                    <a:pt x="559" y="473"/>
                  </a:lnTo>
                  <a:lnTo>
                    <a:pt x="582" y="452"/>
                  </a:lnTo>
                  <a:lnTo>
                    <a:pt x="603" y="429"/>
                  </a:lnTo>
                  <a:lnTo>
                    <a:pt x="623" y="406"/>
                  </a:lnTo>
                  <a:lnTo>
                    <a:pt x="642" y="381"/>
                  </a:lnTo>
                  <a:lnTo>
                    <a:pt x="659" y="356"/>
                  </a:lnTo>
                  <a:lnTo>
                    <a:pt x="676" y="331"/>
                  </a:lnTo>
                  <a:lnTo>
                    <a:pt x="692" y="304"/>
                  </a:lnTo>
                  <a:lnTo>
                    <a:pt x="705" y="277"/>
                  </a:lnTo>
                  <a:lnTo>
                    <a:pt x="719" y="248"/>
                  </a:lnTo>
                  <a:lnTo>
                    <a:pt x="730" y="219"/>
                  </a:lnTo>
                  <a:lnTo>
                    <a:pt x="740" y="189"/>
                  </a:lnTo>
                  <a:lnTo>
                    <a:pt x="747" y="160"/>
                  </a:lnTo>
                  <a:lnTo>
                    <a:pt x="755" y="127"/>
                  </a:lnTo>
                  <a:lnTo>
                    <a:pt x="761" y="97"/>
                  </a:lnTo>
                  <a:lnTo>
                    <a:pt x="765" y="66"/>
                  </a:lnTo>
                  <a:lnTo>
                    <a:pt x="769" y="33"/>
                  </a:lnTo>
                  <a:lnTo>
                    <a:pt x="769" y="0"/>
                  </a:lnTo>
                  <a:lnTo>
                    <a:pt x="932" y="64"/>
                  </a:lnTo>
                  <a:lnTo>
                    <a:pt x="1097" y="129"/>
                  </a:lnTo>
                  <a:lnTo>
                    <a:pt x="1260" y="64"/>
                  </a:lnTo>
                  <a:lnTo>
                    <a:pt x="1422" y="0"/>
                  </a:lnTo>
                  <a:lnTo>
                    <a:pt x="1420" y="66"/>
                  </a:lnTo>
                  <a:lnTo>
                    <a:pt x="1416" y="131"/>
                  </a:lnTo>
                  <a:lnTo>
                    <a:pt x="1406" y="196"/>
                  </a:lnTo>
                  <a:lnTo>
                    <a:pt x="1395" y="260"/>
                  </a:lnTo>
                  <a:lnTo>
                    <a:pt x="1381" y="323"/>
                  </a:lnTo>
                  <a:lnTo>
                    <a:pt x="1364" y="383"/>
                  </a:lnTo>
                  <a:lnTo>
                    <a:pt x="1343" y="444"/>
                  </a:lnTo>
                  <a:lnTo>
                    <a:pt x="1320" y="502"/>
                  </a:lnTo>
                  <a:lnTo>
                    <a:pt x="1295" y="560"/>
                  </a:lnTo>
                  <a:lnTo>
                    <a:pt x="1266" y="615"/>
                  </a:lnTo>
                  <a:lnTo>
                    <a:pt x="1235" y="669"/>
                  </a:lnTo>
                  <a:lnTo>
                    <a:pt x="1201" y="721"/>
                  </a:lnTo>
                  <a:lnTo>
                    <a:pt x="1164" y="773"/>
                  </a:lnTo>
                  <a:lnTo>
                    <a:pt x="1126" y="821"/>
                  </a:lnTo>
                  <a:lnTo>
                    <a:pt x="1086" y="869"/>
                  </a:lnTo>
                  <a:lnTo>
                    <a:pt x="1043" y="913"/>
                  </a:lnTo>
                  <a:lnTo>
                    <a:pt x="997" y="955"/>
                  </a:lnTo>
                  <a:lnTo>
                    <a:pt x="951" y="998"/>
                  </a:lnTo>
                  <a:lnTo>
                    <a:pt x="903" y="1036"/>
                  </a:lnTo>
                  <a:lnTo>
                    <a:pt x="851" y="1071"/>
                  </a:lnTo>
                  <a:lnTo>
                    <a:pt x="799" y="1105"/>
                  </a:lnTo>
                  <a:lnTo>
                    <a:pt x="746" y="1136"/>
                  </a:lnTo>
                  <a:lnTo>
                    <a:pt x="690" y="1165"/>
                  </a:lnTo>
                  <a:lnTo>
                    <a:pt x="632" y="1192"/>
                  </a:lnTo>
                  <a:lnTo>
                    <a:pt x="575" y="1215"/>
                  </a:lnTo>
                  <a:lnTo>
                    <a:pt x="513" y="1234"/>
                  </a:lnTo>
                  <a:lnTo>
                    <a:pt x="454" y="1253"/>
                  </a:lnTo>
                  <a:lnTo>
                    <a:pt x="390" y="1267"/>
                  </a:lnTo>
                  <a:lnTo>
                    <a:pt x="327" y="1278"/>
                  </a:lnTo>
                  <a:lnTo>
                    <a:pt x="262" y="1286"/>
                  </a:lnTo>
                  <a:lnTo>
                    <a:pt x="196" y="1292"/>
                  </a:lnTo>
                  <a:lnTo>
                    <a:pt x="131" y="1294"/>
                  </a:lnTo>
                  <a:lnTo>
                    <a:pt x="129" y="1294"/>
                  </a:lnTo>
                  <a:lnTo>
                    <a:pt x="129" y="1290"/>
                  </a:lnTo>
                  <a:lnTo>
                    <a:pt x="66" y="1130"/>
                  </a:lnTo>
                  <a:lnTo>
                    <a:pt x="0" y="965"/>
                  </a:lnTo>
                  <a:close/>
                </a:path>
              </a:pathLst>
            </a:custGeom>
            <a:grpFill/>
            <a:ln w="9525" algn="ctr">
              <a:solidFill>
                <a:schemeClr val="tx1">
                  <a:lumMod val="20000"/>
                  <a:lumOff val="80000"/>
                </a:schemeClr>
              </a:solidFill>
              <a:round/>
              <a:headEnd/>
              <a:tailEnd/>
            </a:ln>
          </p:spPr>
          <p:txBody>
            <a:bodyPr/>
            <a:lstStyle>
              <a:lvl1pPr marL="182563"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algn="l"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p:txBody>
        </p:sp>
        <p:sp>
          <p:nvSpPr>
            <p:cNvPr id="21" name="Freeform 23"/>
            <p:cNvSpPr>
              <a:spLocks/>
            </p:cNvSpPr>
            <p:nvPr/>
          </p:nvSpPr>
          <p:spPr bwMode="auto">
            <a:xfrm>
              <a:off x="2759075" y="3340100"/>
              <a:ext cx="2041525" cy="2244725"/>
            </a:xfrm>
            <a:custGeom>
              <a:avLst/>
              <a:gdLst>
                <a:gd name="T0" fmla="*/ 1627837721 w 1295"/>
                <a:gd name="T1" fmla="*/ 320549556 h 1424"/>
                <a:gd name="T2" fmla="*/ 1627837721 w 1295"/>
                <a:gd name="T3" fmla="*/ 323035462 h 1424"/>
                <a:gd name="T4" fmla="*/ 1627837721 w 1295"/>
                <a:gd name="T5" fmla="*/ 323035462 h 1424"/>
                <a:gd name="T6" fmla="*/ 1627837721 w 1295"/>
                <a:gd name="T7" fmla="*/ 405035680 h 1424"/>
                <a:gd name="T8" fmla="*/ 1647720118 w 1295"/>
                <a:gd name="T9" fmla="*/ 566553460 h 1424"/>
                <a:gd name="T10" fmla="*/ 1682513130 w 1295"/>
                <a:gd name="T11" fmla="*/ 720616576 h 1424"/>
                <a:gd name="T12" fmla="*/ 1724762434 w 1295"/>
                <a:gd name="T13" fmla="*/ 867225325 h 1424"/>
                <a:gd name="T14" fmla="*/ 1786894135 w 1295"/>
                <a:gd name="T15" fmla="*/ 1011347970 h 1424"/>
                <a:gd name="T16" fmla="*/ 1858965458 w 1295"/>
                <a:gd name="T17" fmla="*/ 1145531720 h 1424"/>
                <a:gd name="T18" fmla="*/ 1943464067 w 1295"/>
                <a:gd name="T19" fmla="*/ 1274746812 h 1424"/>
                <a:gd name="T20" fmla="*/ 2045358985 w 1295"/>
                <a:gd name="T21" fmla="*/ 1394019855 h 1424"/>
                <a:gd name="T22" fmla="*/ 2147483647 w 1295"/>
                <a:gd name="T23" fmla="*/ 1498385345 h 1424"/>
                <a:gd name="T24" fmla="*/ 2147483647 w 1295"/>
                <a:gd name="T25" fmla="*/ 1597780599 h 1424"/>
                <a:gd name="T26" fmla="*/ 2147483647 w 1295"/>
                <a:gd name="T27" fmla="*/ 1684753022 h 1424"/>
                <a:gd name="T28" fmla="*/ 2147483647 w 1295"/>
                <a:gd name="T29" fmla="*/ 1756814345 h 1424"/>
                <a:gd name="T30" fmla="*/ 2147483647 w 1295"/>
                <a:gd name="T31" fmla="*/ 1818936773 h 1424"/>
                <a:gd name="T32" fmla="*/ 2147483647 w 1295"/>
                <a:gd name="T33" fmla="*/ 1861178258 h 1424"/>
                <a:gd name="T34" fmla="*/ 2147483647 w 1295"/>
                <a:gd name="T35" fmla="*/ 1895966755 h 1424"/>
                <a:gd name="T36" fmla="*/ 2147483647 w 1295"/>
                <a:gd name="T37" fmla="*/ 1908391556 h 1424"/>
                <a:gd name="T38" fmla="*/ 2147483647 w 1295"/>
                <a:gd name="T39" fmla="*/ 1918332027 h 1424"/>
                <a:gd name="T40" fmla="*/ 2147483647 w 1295"/>
                <a:gd name="T41" fmla="*/ 2147483647 h 1424"/>
                <a:gd name="T42" fmla="*/ 2147483647 w 1295"/>
                <a:gd name="T43" fmla="*/ 2147483647 h 1424"/>
                <a:gd name="T44" fmla="*/ 2147483647 w 1295"/>
                <a:gd name="T45" fmla="*/ 2147483647 h 1424"/>
                <a:gd name="T46" fmla="*/ 2147483647 w 1295"/>
                <a:gd name="T47" fmla="*/ 2147483647 h 1424"/>
                <a:gd name="T48" fmla="*/ 2147483647 w 1295"/>
                <a:gd name="T49" fmla="*/ 2147483647 h 1424"/>
                <a:gd name="T50" fmla="*/ 2114945797 w 1295"/>
                <a:gd name="T51" fmla="*/ 2147483647 h 1424"/>
                <a:gd name="T52" fmla="*/ 1829143440 w 1295"/>
                <a:gd name="T53" fmla="*/ 2147483647 h 1424"/>
                <a:gd name="T54" fmla="*/ 1558250910 w 1295"/>
                <a:gd name="T55" fmla="*/ 2147483647 h 1424"/>
                <a:gd name="T56" fmla="*/ 1299784483 w 1295"/>
                <a:gd name="T57" fmla="*/ 2147483647 h 1424"/>
                <a:gd name="T58" fmla="*/ 1061200454 w 1295"/>
                <a:gd name="T59" fmla="*/ 2147483647 h 1424"/>
                <a:gd name="T60" fmla="*/ 840014309 w 1295"/>
                <a:gd name="T61" fmla="*/ 2147483647 h 1424"/>
                <a:gd name="T62" fmla="*/ 646165475 w 1295"/>
                <a:gd name="T63" fmla="*/ 2147483647 h 1424"/>
                <a:gd name="T64" fmla="*/ 474682169 w 1295"/>
                <a:gd name="T65" fmla="*/ 1990393349 h 1424"/>
                <a:gd name="T66" fmla="*/ 325567249 w 1295"/>
                <a:gd name="T67" fmla="*/ 1719539942 h 1424"/>
                <a:gd name="T68" fmla="*/ 201305374 w 1295"/>
                <a:gd name="T69" fmla="*/ 1426324022 h 1424"/>
                <a:gd name="T70" fmla="*/ 106865566 w 1295"/>
                <a:gd name="T71" fmla="*/ 1125652354 h 1424"/>
                <a:gd name="T72" fmla="*/ 44733828 w 1295"/>
                <a:gd name="T73" fmla="*/ 815041595 h 1424"/>
                <a:gd name="T74" fmla="*/ 9941201 w 1295"/>
                <a:gd name="T75" fmla="*/ 492007808 h 1424"/>
                <a:gd name="T76" fmla="*/ 4970601 w 1295"/>
                <a:gd name="T77" fmla="*/ 323035462 h 1424"/>
                <a:gd name="T78" fmla="*/ 0 w 1295"/>
                <a:gd name="T79" fmla="*/ 323035462 h 1424"/>
                <a:gd name="T80" fmla="*/ 812676605 w 1295"/>
                <a:gd name="T81" fmla="*/ 0 h 1424"/>
                <a:gd name="T82" fmla="*/ 1627837721 w 1295"/>
                <a:gd name="T83" fmla="*/ 320549556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55" y="129"/>
                  </a:moveTo>
                  <a:lnTo>
                    <a:pt x="655" y="129"/>
                  </a:lnTo>
                  <a:lnTo>
                    <a:pt x="655" y="130"/>
                  </a:lnTo>
                  <a:lnTo>
                    <a:pt x="655" y="163"/>
                  </a:lnTo>
                  <a:lnTo>
                    <a:pt x="659" y="196"/>
                  </a:lnTo>
                  <a:lnTo>
                    <a:pt x="663" y="228"/>
                  </a:lnTo>
                  <a:lnTo>
                    <a:pt x="669" y="259"/>
                  </a:lnTo>
                  <a:lnTo>
                    <a:pt x="677" y="290"/>
                  </a:lnTo>
                  <a:lnTo>
                    <a:pt x="684" y="321"/>
                  </a:lnTo>
                  <a:lnTo>
                    <a:pt x="694" y="349"/>
                  </a:lnTo>
                  <a:lnTo>
                    <a:pt x="705" y="378"/>
                  </a:lnTo>
                  <a:lnTo>
                    <a:pt x="719" y="407"/>
                  </a:lnTo>
                  <a:lnTo>
                    <a:pt x="732" y="434"/>
                  </a:lnTo>
                  <a:lnTo>
                    <a:pt x="748" y="461"/>
                  </a:lnTo>
                  <a:lnTo>
                    <a:pt x="765" y="488"/>
                  </a:lnTo>
                  <a:lnTo>
                    <a:pt x="782" y="513"/>
                  </a:lnTo>
                  <a:lnTo>
                    <a:pt x="801" y="538"/>
                  </a:lnTo>
                  <a:lnTo>
                    <a:pt x="823" y="561"/>
                  </a:lnTo>
                  <a:lnTo>
                    <a:pt x="844" y="582"/>
                  </a:lnTo>
                  <a:lnTo>
                    <a:pt x="865" y="603"/>
                  </a:lnTo>
                  <a:lnTo>
                    <a:pt x="890" y="624"/>
                  </a:lnTo>
                  <a:lnTo>
                    <a:pt x="913" y="643"/>
                  </a:lnTo>
                  <a:lnTo>
                    <a:pt x="938" y="661"/>
                  </a:lnTo>
                  <a:lnTo>
                    <a:pt x="965" y="678"/>
                  </a:lnTo>
                  <a:lnTo>
                    <a:pt x="992" y="693"/>
                  </a:lnTo>
                  <a:lnTo>
                    <a:pt x="1018" y="707"/>
                  </a:lnTo>
                  <a:lnTo>
                    <a:pt x="1047" y="720"/>
                  </a:lnTo>
                  <a:lnTo>
                    <a:pt x="1076" y="732"/>
                  </a:lnTo>
                  <a:lnTo>
                    <a:pt x="1105" y="741"/>
                  </a:lnTo>
                  <a:lnTo>
                    <a:pt x="1136" y="749"/>
                  </a:lnTo>
                  <a:lnTo>
                    <a:pt x="1166" y="757"/>
                  </a:lnTo>
                  <a:lnTo>
                    <a:pt x="1197" y="763"/>
                  </a:lnTo>
                  <a:lnTo>
                    <a:pt x="1230" y="766"/>
                  </a:lnTo>
                  <a:lnTo>
                    <a:pt x="1262" y="768"/>
                  </a:lnTo>
                  <a:lnTo>
                    <a:pt x="1295" y="770"/>
                  </a:lnTo>
                  <a:lnTo>
                    <a:pt x="1295" y="772"/>
                  </a:lnTo>
                  <a:lnTo>
                    <a:pt x="1232" y="932"/>
                  </a:lnTo>
                  <a:lnTo>
                    <a:pt x="1168" y="1095"/>
                  </a:lnTo>
                  <a:lnTo>
                    <a:pt x="1232" y="1260"/>
                  </a:lnTo>
                  <a:lnTo>
                    <a:pt x="1295" y="1420"/>
                  </a:lnTo>
                  <a:lnTo>
                    <a:pt x="1295" y="1424"/>
                  </a:lnTo>
                  <a:lnTo>
                    <a:pt x="1228" y="1422"/>
                  </a:lnTo>
                  <a:lnTo>
                    <a:pt x="1162" y="1418"/>
                  </a:lnTo>
                  <a:lnTo>
                    <a:pt x="1099" y="1408"/>
                  </a:lnTo>
                  <a:lnTo>
                    <a:pt x="1036" y="1397"/>
                  </a:lnTo>
                  <a:lnTo>
                    <a:pt x="972" y="1383"/>
                  </a:lnTo>
                  <a:lnTo>
                    <a:pt x="911" y="1366"/>
                  </a:lnTo>
                  <a:lnTo>
                    <a:pt x="851" y="1345"/>
                  </a:lnTo>
                  <a:lnTo>
                    <a:pt x="794" y="1322"/>
                  </a:lnTo>
                  <a:lnTo>
                    <a:pt x="736" y="1297"/>
                  </a:lnTo>
                  <a:lnTo>
                    <a:pt x="680" y="1268"/>
                  </a:lnTo>
                  <a:lnTo>
                    <a:pt x="627" y="1237"/>
                  </a:lnTo>
                  <a:lnTo>
                    <a:pt x="573" y="1203"/>
                  </a:lnTo>
                  <a:lnTo>
                    <a:pt x="523" y="1166"/>
                  </a:lnTo>
                  <a:lnTo>
                    <a:pt x="473" y="1128"/>
                  </a:lnTo>
                  <a:lnTo>
                    <a:pt x="427" y="1087"/>
                  </a:lnTo>
                  <a:lnTo>
                    <a:pt x="383" y="1045"/>
                  </a:lnTo>
                  <a:lnTo>
                    <a:pt x="338" y="999"/>
                  </a:lnTo>
                  <a:lnTo>
                    <a:pt x="298" y="953"/>
                  </a:lnTo>
                  <a:lnTo>
                    <a:pt x="260" y="903"/>
                  </a:lnTo>
                  <a:lnTo>
                    <a:pt x="223" y="853"/>
                  </a:lnTo>
                  <a:lnTo>
                    <a:pt x="191" y="801"/>
                  </a:lnTo>
                  <a:lnTo>
                    <a:pt x="158" y="747"/>
                  </a:lnTo>
                  <a:lnTo>
                    <a:pt x="131" y="692"/>
                  </a:lnTo>
                  <a:lnTo>
                    <a:pt x="104" y="634"/>
                  </a:lnTo>
                  <a:lnTo>
                    <a:pt x="81" y="574"/>
                  </a:lnTo>
                  <a:lnTo>
                    <a:pt x="60" y="515"/>
                  </a:lnTo>
                  <a:lnTo>
                    <a:pt x="43" y="453"/>
                  </a:lnTo>
                  <a:lnTo>
                    <a:pt x="29" y="392"/>
                  </a:lnTo>
                  <a:lnTo>
                    <a:pt x="18" y="328"/>
                  </a:lnTo>
                  <a:lnTo>
                    <a:pt x="8" y="263"/>
                  </a:lnTo>
                  <a:lnTo>
                    <a:pt x="4" y="198"/>
                  </a:lnTo>
                  <a:lnTo>
                    <a:pt x="2" y="130"/>
                  </a:lnTo>
                  <a:lnTo>
                    <a:pt x="0" y="130"/>
                  </a:lnTo>
                  <a:lnTo>
                    <a:pt x="164" y="65"/>
                  </a:lnTo>
                  <a:lnTo>
                    <a:pt x="327" y="0"/>
                  </a:lnTo>
                  <a:lnTo>
                    <a:pt x="492" y="65"/>
                  </a:lnTo>
                  <a:lnTo>
                    <a:pt x="655" y="129"/>
                  </a:lnTo>
                  <a:close/>
                </a:path>
              </a:pathLst>
            </a:custGeom>
            <a:grpFill/>
            <a:ln w="9525">
              <a:solidFill>
                <a:schemeClr val="tx1">
                  <a:lumMod val="20000"/>
                  <a:lumOff val="80000"/>
                </a:schemeClr>
              </a:solidFill>
              <a:round/>
              <a:headEnd/>
              <a:tailEnd/>
            </a:ln>
          </p:spPr>
          <p:txBody>
            <a:bodyPr/>
            <a:lstStyle>
              <a:lvl1pPr marL="447675"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a:p>
              <a:pPr algn="l" eaLnBrk="1" hangingPunct="1"/>
              <a:endParaRPr lang="en-US" altLang="en-US" sz="1100" b="0">
                <a:latin typeface="Arial" panose="020B0604020202020204" pitchFamily="34" charset="0"/>
                <a:cs typeface="Arial" panose="020B0604020202020204" pitchFamily="34" charset="0"/>
              </a:endParaRPr>
            </a:p>
            <a:p>
              <a:pPr algn="l" eaLnBrk="1" hangingPunct="1"/>
              <a:endParaRPr lang="en-US" altLang="en-US" sz="1100" b="0">
                <a:latin typeface="Arial" panose="020B0604020202020204" pitchFamily="34" charset="0"/>
                <a:cs typeface="Arial" panose="020B0604020202020204" pitchFamily="34" charset="0"/>
              </a:endParaRPr>
            </a:p>
            <a:p>
              <a:pPr algn="l" eaLnBrk="1" hangingPunct="1"/>
              <a:endParaRPr lang="en-US" altLang="en-US" sz="1100" b="0">
                <a:latin typeface="Arial" panose="020B0604020202020204" pitchFamily="34" charset="0"/>
                <a:cs typeface="Arial" panose="020B0604020202020204" pitchFamily="34" charset="0"/>
              </a:endParaRPr>
            </a:p>
          </p:txBody>
        </p:sp>
        <p:sp>
          <p:nvSpPr>
            <p:cNvPr id="22" name="Freeform 25"/>
            <p:cNvSpPr>
              <a:spLocks/>
            </p:cNvSpPr>
            <p:nvPr/>
          </p:nvSpPr>
          <p:spPr bwMode="auto">
            <a:xfrm>
              <a:off x="2762250" y="1504950"/>
              <a:ext cx="2241550" cy="2039938"/>
            </a:xfrm>
            <a:custGeom>
              <a:avLst/>
              <a:gdLst>
                <a:gd name="T0" fmla="*/ 2147483647 w 1422"/>
                <a:gd name="T1" fmla="*/ 1222729942 h 1294"/>
                <a:gd name="T2" fmla="*/ 2147483647 w 1422"/>
                <a:gd name="T3" fmla="*/ 1625335359 h 1294"/>
                <a:gd name="T4" fmla="*/ 2147483647 w 1422"/>
                <a:gd name="T5" fmla="*/ 1625335359 h 1294"/>
                <a:gd name="T6" fmla="*/ 2147483647 w 1422"/>
                <a:gd name="T7" fmla="*/ 1625335359 h 1294"/>
                <a:gd name="T8" fmla="*/ 2147483647 w 1422"/>
                <a:gd name="T9" fmla="*/ 1635276506 h 1294"/>
                <a:gd name="T10" fmla="*/ 2147483647 w 1422"/>
                <a:gd name="T11" fmla="*/ 1657643692 h 1294"/>
                <a:gd name="T12" fmla="*/ 2147483647 w 1422"/>
                <a:gd name="T13" fmla="*/ 1699892779 h 1294"/>
                <a:gd name="T14" fmla="*/ 2147483647 w 1422"/>
                <a:gd name="T15" fmla="*/ 1754567510 h 1294"/>
                <a:gd name="T16" fmla="*/ 2147483647 w 1422"/>
                <a:gd name="T17" fmla="*/ 1819183389 h 1294"/>
                <a:gd name="T18" fmla="*/ 2147483647 w 1422"/>
                <a:gd name="T19" fmla="*/ 1901195487 h 1294"/>
                <a:gd name="T20" fmla="*/ 2147483647 w 1422"/>
                <a:gd name="T21" fmla="*/ 1993148732 h 1294"/>
                <a:gd name="T22" fmla="*/ 2087261442 w 1422"/>
                <a:gd name="T23" fmla="*/ 2092557049 h 1294"/>
                <a:gd name="T24" fmla="*/ 1985384448 w 1422"/>
                <a:gd name="T25" fmla="*/ 2147483647 h 1294"/>
                <a:gd name="T26" fmla="*/ 1895928979 w 1422"/>
                <a:gd name="T27" fmla="*/ 2147483647 h 1294"/>
                <a:gd name="T28" fmla="*/ 1813929577 w 1422"/>
                <a:gd name="T29" fmla="*/ 2147483647 h 1294"/>
                <a:gd name="T30" fmla="*/ 1746839158 w 1422"/>
                <a:gd name="T31" fmla="*/ 2147483647 h 1294"/>
                <a:gd name="T32" fmla="*/ 1694657720 w 1422"/>
                <a:gd name="T33" fmla="*/ 2147483647 h 1294"/>
                <a:gd name="T34" fmla="*/ 1657385265 w 1422"/>
                <a:gd name="T35" fmla="*/ 2147483647 h 1294"/>
                <a:gd name="T36" fmla="*/ 1632537092 w 1422"/>
                <a:gd name="T37" fmla="*/ 2147483647 h 1294"/>
                <a:gd name="T38" fmla="*/ 1622598296 w 1422"/>
                <a:gd name="T39" fmla="*/ 2147483647 h 1294"/>
                <a:gd name="T40" fmla="*/ 1217569897 w 1422"/>
                <a:gd name="T41" fmla="*/ 2147483647 h 1294"/>
                <a:gd name="T42" fmla="*/ 402542617 w 1422"/>
                <a:gd name="T43" fmla="*/ 2147483647 h 1294"/>
                <a:gd name="T44" fmla="*/ 4970188 w 1422"/>
                <a:gd name="T45" fmla="*/ 2147483647 h 1294"/>
                <a:gd name="T46" fmla="*/ 39756773 w 1422"/>
                <a:gd name="T47" fmla="*/ 2147483647 h 1294"/>
                <a:gd name="T48" fmla="*/ 101878595 w 1422"/>
                <a:gd name="T49" fmla="*/ 2147483647 h 1294"/>
                <a:gd name="T50" fmla="*/ 196302698 w 1422"/>
                <a:gd name="T51" fmla="*/ 2112439342 h 1294"/>
                <a:gd name="T52" fmla="*/ 315574605 w 1422"/>
                <a:gd name="T53" fmla="*/ 1824153963 h 1294"/>
                <a:gd name="T54" fmla="*/ 464664525 w 1422"/>
                <a:gd name="T55" fmla="*/ 1553264408 h 1294"/>
                <a:gd name="T56" fmla="*/ 641088006 w 1422"/>
                <a:gd name="T57" fmla="*/ 1294800893 h 1294"/>
                <a:gd name="T58" fmla="*/ 834904971 w 1422"/>
                <a:gd name="T59" fmla="*/ 1056219671 h 1294"/>
                <a:gd name="T60" fmla="*/ 1056055398 w 1422"/>
                <a:gd name="T61" fmla="*/ 842491317 h 1294"/>
                <a:gd name="T62" fmla="*/ 1289630503 w 1422"/>
                <a:gd name="T63" fmla="*/ 641186835 h 1294"/>
                <a:gd name="T64" fmla="*/ 1548051809 w 1422"/>
                <a:gd name="T65" fmla="*/ 469707568 h 1294"/>
                <a:gd name="T66" fmla="*/ 1818899763 w 1422"/>
                <a:gd name="T67" fmla="*/ 320593418 h 1294"/>
                <a:gd name="T68" fmla="*/ 2104656306 w 1422"/>
                <a:gd name="T69" fmla="*/ 196332184 h 1294"/>
                <a:gd name="T70" fmla="*/ 2147483647 w 1422"/>
                <a:gd name="T71" fmla="*/ 101894416 h 1294"/>
                <a:gd name="T72" fmla="*/ 2147483647 w 1422"/>
                <a:gd name="T73" fmla="*/ 39763024 h 1294"/>
                <a:gd name="T74" fmla="*/ 2147483647 w 1422"/>
                <a:gd name="T75" fmla="*/ 4970575 h 1294"/>
                <a:gd name="T76" fmla="*/ 2147483647 w 1422"/>
                <a:gd name="T77" fmla="*/ 0 h 1294"/>
                <a:gd name="T78" fmla="*/ 2147483647 w 1422"/>
                <a:gd name="T79" fmla="*/ 0 h 1294"/>
                <a:gd name="T80" fmla="*/ 2147483647 w 1422"/>
                <a:gd name="T81" fmla="*/ 9941150 h 1294"/>
                <a:gd name="T82" fmla="*/ 2147483647 w 1422"/>
                <a:gd name="T83" fmla="*/ 817638253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1422" y="329"/>
                  </a:moveTo>
                  <a:lnTo>
                    <a:pt x="1356" y="492"/>
                  </a:lnTo>
                  <a:lnTo>
                    <a:pt x="1293" y="652"/>
                  </a:lnTo>
                  <a:lnTo>
                    <a:pt x="1293" y="654"/>
                  </a:lnTo>
                  <a:lnTo>
                    <a:pt x="1291" y="654"/>
                  </a:lnTo>
                  <a:lnTo>
                    <a:pt x="1291" y="656"/>
                  </a:lnTo>
                  <a:lnTo>
                    <a:pt x="1291" y="654"/>
                  </a:lnTo>
                  <a:lnTo>
                    <a:pt x="1258" y="656"/>
                  </a:lnTo>
                  <a:lnTo>
                    <a:pt x="1226" y="658"/>
                  </a:lnTo>
                  <a:lnTo>
                    <a:pt x="1195" y="661"/>
                  </a:lnTo>
                  <a:lnTo>
                    <a:pt x="1162" y="667"/>
                  </a:lnTo>
                  <a:lnTo>
                    <a:pt x="1132" y="675"/>
                  </a:lnTo>
                  <a:lnTo>
                    <a:pt x="1103" y="684"/>
                  </a:lnTo>
                  <a:lnTo>
                    <a:pt x="1072" y="694"/>
                  </a:lnTo>
                  <a:lnTo>
                    <a:pt x="1043" y="706"/>
                  </a:lnTo>
                  <a:lnTo>
                    <a:pt x="1014" y="719"/>
                  </a:lnTo>
                  <a:lnTo>
                    <a:pt x="988" y="732"/>
                  </a:lnTo>
                  <a:lnTo>
                    <a:pt x="961" y="748"/>
                  </a:lnTo>
                  <a:lnTo>
                    <a:pt x="936" y="765"/>
                  </a:lnTo>
                  <a:lnTo>
                    <a:pt x="911" y="782"/>
                  </a:lnTo>
                  <a:lnTo>
                    <a:pt x="886" y="802"/>
                  </a:lnTo>
                  <a:lnTo>
                    <a:pt x="863" y="821"/>
                  </a:lnTo>
                  <a:lnTo>
                    <a:pt x="840" y="842"/>
                  </a:lnTo>
                  <a:lnTo>
                    <a:pt x="819" y="865"/>
                  </a:lnTo>
                  <a:lnTo>
                    <a:pt x="799" y="888"/>
                  </a:lnTo>
                  <a:lnTo>
                    <a:pt x="780" y="913"/>
                  </a:lnTo>
                  <a:lnTo>
                    <a:pt x="763" y="938"/>
                  </a:lnTo>
                  <a:lnTo>
                    <a:pt x="746" y="963"/>
                  </a:lnTo>
                  <a:lnTo>
                    <a:pt x="730" y="990"/>
                  </a:lnTo>
                  <a:lnTo>
                    <a:pt x="717" y="1017"/>
                  </a:lnTo>
                  <a:lnTo>
                    <a:pt x="703" y="1046"/>
                  </a:lnTo>
                  <a:lnTo>
                    <a:pt x="692" y="1075"/>
                  </a:lnTo>
                  <a:lnTo>
                    <a:pt x="682" y="1105"/>
                  </a:lnTo>
                  <a:lnTo>
                    <a:pt x="675" y="1134"/>
                  </a:lnTo>
                  <a:lnTo>
                    <a:pt x="667" y="1167"/>
                  </a:lnTo>
                  <a:lnTo>
                    <a:pt x="661" y="1197"/>
                  </a:lnTo>
                  <a:lnTo>
                    <a:pt x="657" y="1228"/>
                  </a:lnTo>
                  <a:lnTo>
                    <a:pt x="653" y="1261"/>
                  </a:lnTo>
                  <a:lnTo>
                    <a:pt x="653" y="1294"/>
                  </a:lnTo>
                  <a:lnTo>
                    <a:pt x="490" y="1230"/>
                  </a:lnTo>
                  <a:lnTo>
                    <a:pt x="325" y="1165"/>
                  </a:lnTo>
                  <a:lnTo>
                    <a:pt x="162" y="1230"/>
                  </a:lnTo>
                  <a:lnTo>
                    <a:pt x="0" y="1294"/>
                  </a:lnTo>
                  <a:lnTo>
                    <a:pt x="2" y="1228"/>
                  </a:lnTo>
                  <a:lnTo>
                    <a:pt x="6" y="1163"/>
                  </a:lnTo>
                  <a:lnTo>
                    <a:pt x="16" y="1098"/>
                  </a:lnTo>
                  <a:lnTo>
                    <a:pt x="27" y="1034"/>
                  </a:lnTo>
                  <a:lnTo>
                    <a:pt x="41" y="971"/>
                  </a:lnTo>
                  <a:lnTo>
                    <a:pt x="58" y="911"/>
                  </a:lnTo>
                  <a:lnTo>
                    <a:pt x="79" y="850"/>
                  </a:lnTo>
                  <a:lnTo>
                    <a:pt x="102" y="792"/>
                  </a:lnTo>
                  <a:lnTo>
                    <a:pt x="127" y="734"/>
                  </a:lnTo>
                  <a:lnTo>
                    <a:pt x="156" y="679"/>
                  </a:lnTo>
                  <a:lnTo>
                    <a:pt x="187" y="625"/>
                  </a:lnTo>
                  <a:lnTo>
                    <a:pt x="221" y="573"/>
                  </a:lnTo>
                  <a:lnTo>
                    <a:pt x="258" y="521"/>
                  </a:lnTo>
                  <a:lnTo>
                    <a:pt x="296" y="473"/>
                  </a:lnTo>
                  <a:lnTo>
                    <a:pt x="336" y="425"/>
                  </a:lnTo>
                  <a:lnTo>
                    <a:pt x="379" y="381"/>
                  </a:lnTo>
                  <a:lnTo>
                    <a:pt x="425" y="339"/>
                  </a:lnTo>
                  <a:lnTo>
                    <a:pt x="471" y="296"/>
                  </a:lnTo>
                  <a:lnTo>
                    <a:pt x="519" y="258"/>
                  </a:lnTo>
                  <a:lnTo>
                    <a:pt x="571" y="223"/>
                  </a:lnTo>
                  <a:lnTo>
                    <a:pt x="623" y="189"/>
                  </a:lnTo>
                  <a:lnTo>
                    <a:pt x="676" y="158"/>
                  </a:lnTo>
                  <a:lnTo>
                    <a:pt x="732" y="129"/>
                  </a:lnTo>
                  <a:lnTo>
                    <a:pt x="790" y="102"/>
                  </a:lnTo>
                  <a:lnTo>
                    <a:pt x="847" y="79"/>
                  </a:lnTo>
                  <a:lnTo>
                    <a:pt x="909" y="60"/>
                  </a:lnTo>
                  <a:lnTo>
                    <a:pt x="968" y="41"/>
                  </a:lnTo>
                  <a:lnTo>
                    <a:pt x="1032" y="27"/>
                  </a:lnTo>
                  <a:lnTo>
                    <a:pt x="1095" y="16"/>
                  </a:lnTo>
                  <a:lnTo>
                    <a:pt x="1160" y="8"/>
                  </a:lnTo>
                  <a:lnTo>
                    <a:pt x="1226" y="2"/>
                  </a:lnTo>
                  <a:lnTo>
                    <a:pt x="1291" y="0"/>
                  </a:lnTo>
                  <a:lnTo>
                    <a:pt x="1293" y="0"/>
                  </a:lnTo>
                  <a:lnTo>
                    <a:pt x="1293" y="4"/>
                  </a:lnTo>
                  <a:lnTo>
                    <a:pt x="1356" y="164"/>
                  </a:lnTo>
                  <a:lnTo>
                    <a:pt x="1422" y="329"/>
                  </a:lnTo>
                  <a:close/>
                </a:path>
              </a:pathLst>
            </a:custGeom>
            <a:grpFill/>
            <a:ln w="9525">
              <a:solidFill>
                <a:schemeClr val="tx1">
                  <a:lumMod val="20000"/>
                  <a:lumOff val="80000"/>
                </a:schemeClr>
              </a:solidFill>
              <a:round/>
              <a:headEnd/>
              <a:tailEnd/>
            </a:ln>
          </p:spPr>
          <p:txBody>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en-US" altLang="en-US" sz="1100" b="0">
                <a:latin typeface="Arial" panose="020B0604020202020204" pitchFamily="34" charset="0"/>
                <a:cs typeface="Arial" panose="020B0604020202020204" pitchFamily="34" charset="0"/>
              </a:endParaRPr>
            </a:p>
            <a:p>
              <a:pPr algn="l" eaLnBrk="1" hangingPunct="1"/>
              <a:endParaRPr lang="en-US" altLang="en-US" sz="1100" b="0">
                <a:latin typeface="Arial" panose="020B0604020202020204" pitchFamily="34" charset="0"/>
                <a:cs typeface="Arial" panose="020B0604020202020204" pitchFamily="34" charset="0"/>
              </a:endParaRPr>
            </a:p>
            <a:p>
              <a:pPr algn="l"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p:txBody>
        </p:sp>
        <p:sp>
          <p:nvSpPr>
            <p:cNvPr id="23" name="Rectangle 8"/>
            <p:cNvSpPr>
              <a:spLocks noChangeArrowheads="1"/>
            </p:cNvSpPr>
            <p:nvPr/>
          </p:nvSpPr>
          <p:spPr bwMode="auto">
            <a:xfrm>
              <a:off x="5780087" y="2475589"/>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24" name="Rectangle 9"/>
            <p:cNvSpPr>
              <a:spLocks noChangeArrowheads="1"/>
            </p:cNvSpPr>
            <p:nvPr/>
          </p:nvSpPr>
          <p:spPr bwMode="auto">
            <a:xfrm>
              <a:off x="3476625" y="2373990"/>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25" name="Rectangle 10"/>
            <p:cNvSpPr>
              <a:spLocks noChangeArrowheads="1"/>
            </p:cNvSpPr>
            <p:nvPr/>
          </p:nvSpPr>
          <p:spPr bwMode="auto">
            <a:xfrm>
              <a:off x="5600699" y="4466315"/>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26" name="Rectangle 11"/>
            <p:cNvSpPr>
              <a:spLocks noChangeArrowheads="1"/>
            </p:cNvSpPr>
            <p:nvPr/>
          </p:nvSpPr>
          <p:spPr bwMode="auto">
            <a:xfrm>
              <a:off x="3411537" y="4364714"/>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grpSp>
      <p:grpSp>
        <p:nvGrpSpPr>
          <p:cNvPr id="27" name="Group 26"/>
          <p:cNvGrpSpPr/>
          <p:nvPr/>
        </p:nvGrpSpPr>
        <p:grpSpPr>
          <a:xfrm>
            <a:off x="3443481" y="3649981"/>
            <a:ext cx="2275945" cy="2275945"/>
            <a:chOff x="2760663" y="1504950"/>
            <a:chExt cx="4079875" cy="4079875"/>
          </a:xfrm>
          <a:solidFill>
            <a:schemeClr val="tx1">
              <a:lumMod val="60000"/>
              <a:lumOff val="40000"/>
            </a:schemeClr>
          </a:solidFill>
        </p:grpSpPr>
        <p:sp>
          <p:nvSpPr>
            <p:cNvPr id="28" name="Freeform 15"/>
            <p:cNvSpPr>
              <a:spLocks/>
            </p:cNvSpPr>
            <p:nvPr/>
          </p:nvSpPr>
          <p:spPr bwMode="auto">
            <a:xfrm>
              <a:off x="4800600" y="1504950"/>
              <a:ext cx="1943100" cy="1763713"/>
            </a:xfrm>
            <a:custGeom>
              <a:avLst/>
              <a:gdLst>
                <a:gd name="T0" fmla="*/ 1507521022 w 1234"/>
                <a:gd name="T1" fmla="*/ 2147483647 h 1118"/>
                <a:gd name="T2" fmla="*/ 1507521022 w 1234"/>
                <a:gd name="T3" fmla="*/ 2147483647 h 1118"/>
                <a:gd name="T4" fmla="*/ 1487685349 w 1234"/>
                <a:gd name="T5" fmla="*/ 2147483647 h 1118"/>
                <a:gd name="T6" fmla="*/ 1440575428 w 1234"/>
                <a:gd name="T7" fmla="*/ 2147483647 h 1118"/>
                <a:gd name="T8" fmla="*/ 1348835635 w 1234"/>
                <a:gd name="T9" fmla="*/ 2147483647 h 1118"/>
                <a:gd name="T10" fmla="*/ 1207504296 w 1234"/>
                <a:gd name="T11" fmla="*/ 2147483647 h 1118"/>
                <a:gd name="T12" fmla="*/ 1033941760 w 1234"/>
                <a:gd name="T13" fmla="*/ 2015844989 h 1118"/>
                <a:gd name="T14" fmla="*/ 833103402 w 1234"/>
                <a:gd name="T15" fmla="*/ 1871501392 h 1118"/>
                <a:gd name="T16" fmla="*/ 671937768 w 1234"/>
                <a:gd name="T17" fmla="*/ 1781907020 h 1118"/>
                <a:gd name="T18" fmla="*/ 562840777 w 1234"/>
                <a:gd name="T19" fmla="*/ 1732133420 h 1118"/>
                <a:gd name="T20" fmla="*/ 443826736 w 1234"/>
                <a:gd name="T21" fmla="*/ 1694803614 h 1118"/>
                <a:gd name="T22" fmla="*/ 319852498 w 1234"/>
                <a:gd name="T23" fmla="*/ 1662451011 h 1118"/>
                <a:gd name="T24" fmla="*/ 193399833 w 1234"/>
                <a:gd name="T25" fmla="*/ 1642540230 h 1118"/>
                <a:gd name="T26" fmla="*/ 64467144 w 1234"/>
                <a:gd name="T27" fmla="*/ 1632585826 h 1118"/>
                <a:gd name="T28" fmla="*/ 0 w 1234"/>
                <a:gd name="T29" fmla="*/ 1622631421 h 1118"/>
                <a:gd name="T30" fmla="*/ 314893973 w 1234"/>
                <a:gd name="T31" fmla="*/ 818780725 h 1118"/>
                <a:gd name="T32" fmla="*/ 0 w 1234"/>
                <a:gd name="T33" fmla="*/ 14931613 h 1118"/>
                <a:gd name="T34" fmla="*/ 131412763 w 1234"/>
                <a:gd name="T35" fmla="*/ 4977204 h 1118"/>
                <a:gd name="T36" fmla="*/ 389278142 w 1234"/>
                <a:gd name="T37" fmla="*/ 24887595 h 1118"/>
                <a:gd name="T38" fmla="*/ 647143570 w 1234"/>
                <a:gd name="T39" fmla="*/ 67194621 h 1118"/>
                <a:gd name="T40" fmla="*/ 897570521 w 1234"/>
                <a:gd name="T41" fmla="*/ 129412040 h 1118"/>
                <a:gd name="T42" fmla="*/ 1135600177 w 1234"/>
                <a:gd name="T43" fmla="*/ 211539870 h 1118"/>
                <a:gd name="T44" fmla="*/ 1363711209 w 1234"/>
                <a:gd name="T45" fmla="*/ 311087069 h 1118"/>
                <a:gd name="T46" fmla="*/ 1589343766 w 1234"/>
                <a:gd name="T47" fmla="*/ 428055364 h 1118"/>
                <a:gd name="T48" fmla="*/ 1797621092 w 1234"/>
                <a:gd name="T49" fmla="*/ 559956744 h 1118"/>
                <a:gd name="T50" fmla="*/ 1998457876 w 1234"/>
                <a:gd name="T51" fmla="*/ 704301919 h 1118"/>
                <a:gd name="T52" fmla="*/ 2147483647 w 1234"/>
                <a:gd name="T53" fmla="*/ 866066710 h 1118"/>
                <a:gd name="T54" fmla="*/ 2147483647 w 1234"/>
                <a:gd name="T55" fmla="*/ 1045252300 h 1118"/>
                <a:gd name="T56" fmla="*/ 2147483647 w 1234"/>
                <a:gd name="T57" fmla="*/ 1234393872 h 1118"/>
                <a:gd name="T58" fmla="*/ 2147483647 w 1234"/>
                <a:gd name="T59" fmla="*/ 1435979239 h 1118"/>
                <a:gd name="T60" fmla="*/ 2147483647 w 1234"/>
                <a:gd name="T61" fmla="*/ 1647517432 h 1118"/>
                <a:gd name="T62" fmla="*/ 2147483647 w 1234"/>
                <a:gd name="T63" fmla="*/ 1871501392 h 1118"/>
                <a:gd name="T64" fmla="*/ 2147483647 w 1234"/>
                <a:gd name="T65" fmla="*/ 2105437784 h 1118"/>
                <a:gd name="T66" fmla="*/ 2147483647 w 1234"/>
                <a:gd name="T67" fmla="*/ 2147483647 h 1118"/>
                <a:gd name="T68" fmla="*/ 2147483647 w 1234"/>
                <a:gd name="T69" fmla="*/ 2147483647 h 1118"/>
                <a:gd name="T70" fmla="*/ 2147483647 w 1234"/>
                <a:gd name="T71" fmla="*/ 2147483647 h 1118"/>
                <a:gd name="T72" fmla="*/ 2147483647 w 1234"/>
                <a:gd name="T73" fmla="*/ 2147483647 h 1118"/>
                <a:gd name="T74" fmla="*/ 1522398171 w 1234"/>
                <a:gd name="T75" fmla="*/ 2147483647 h 111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34"/>
                <a:gd name="T115" fmla="*/ 0 h 1118"/>
                <a:gd name="T116" fmla="*/ 1234 w 1234"/>
                <a:gd name="T117" fmla="*/ 1118 h 111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34" h="1118">
                  <a:moveTo>
                    <a:pt x="610" y="1098"/>
                  </a:moveTo>
                  <a:lnTo>
                    <a:pt x="608" y="1096"/>
                  </a:lnTo>
                  <a:lnTo>
                    <a:pt x="600" y="1071"/>
                  </a:lnTo>
                  <a:lnTo>
                    <a:pt x="591" y="1048"/>
                  </a:lnTo>
                  <a:lnTo>
                    <a:pt x="581" y="1025"/>
                  </a:lnTo>
                  <a:lnTo>
                    <a:pt x="569" y="1004"/>
                  </a:lnTo>
                  <a:lnTo>
                    <a:pt x="544" y="960"/>
                  </a:lnTo>
                  <a:lnTo>
                    <a:pt x="517" y="919"/>
                  </a:lnTo>
                  <a:lnTo>
                    <a:pt x="487" y="881"/>
                  </a:lnTo>
                  <a:lnTo>
                    <a:pt x="454" y="844"/>
                  </a:lnTo>
                  <a:lnTo>
                    <a:pt x="417" y="810"/>
                  </a:lnTo>
                  <a:lnTo>
                    <a:pt x="379" y="779"/>
                  </a:lnTo>
                  <a:lnTo>
                    <a:pt x="336" y="752"/>
                  </a:lnTo>
                  <a:lnTo>
                    <a:pt x="294" y="727"/>
                  </a:lnTo>
                  <a:lnTo>
                    <a:pt x="271" y="716"/>
                  </a:lnTo>
                  <a:lnTo>
                    <a:pt x="250" y="706"/>
                  </a:lnTo>
                  <a:lnTo>
                    <a:pt x="227" y="696"/>
                  </a:lnTo>
                  <a:lnTo>
                    <a:pt x="202" y="689"/>
                  </a:lnTo>
                  <a:lnTo>
                    <a:pt x="179" y="681"/>
                  </a:lnTo>
                  <a:lnTo>
                    <a:pt x="154" y="673"/>
                  </a:lnTo>
                  <a:lnTo>
                    <a:pt x="129" y="668"/>
                  </a:lnTo>
                  <a:lnTo>
                    <a:pt x="104" y="664"/>
                  </a:lnTo>
                  <a:lnTo>
                    <a:pt x="78" y="660"/>
                  </a:lnTo>
                  <a:lnTo>
                    <a:pt x="52" y="658"/>
                  </a:lnTo>
                  <a:lnTo>
                    <a:pt x="26" y="656"/>
                  </a:lnTo>
                  <a:lnTo>
                    <a:pt x="0" y="656"/>
                  </a:lnTo>
                  <a:lnTo>
                    <a:pt x="0" y="652"/>
                  </a:lnTo>
                  <a:lnTo>
                    <a:pt x="63" y="493"/>
                  </a:lnTo>
                  <a:lnTo>
                    <a:pt x="127" y="329"/>
                  </a:lnTo>
                  <a:lnTo>
                    <a:pt x="63" y="166"/>
                  </a:lnTo>
                  <a:lnTo>
                    <a:pt x="0" y="6"/>
                  </a:lnTo>
                  <a:lnTo>
                    <a:pt x="0" y="0"/>
                  </a:lnTo>
                  <a:lnTo>
                    <a:pt x="53" y="2"/>
                  </a:lnTo>
                  <a:lnTo>
                    <a:pt x="105" y="6"/>
                  </a:lnTo>
                  <a:lnTo>
                    <a:pt x="157" y="10"/>
                  </a:lnTo>
                  <a:lnTo>
                    <a:pt x="209" y="18"/>
                  </a:lnTo>
                  <a:lnTo>
                    <a:pt x="261" y="27"/>
                  </a:lnTo>
                  <a:lnTo>
                    <a:pt x="311" y="39"/>
                  </a:lnTo>
                  <a:lnTo>
                    <a:pt x="362" y="52"/>
                  </a:lnTo>
                  <a:lnTo>
                    <a:pt x="410" y="68"/>
                  </a:lnTo>
                  <a:lnTo>
                    <a:pt x="458" y="85"/>
                  </a:lnTo>
                  <a:lnTo>
                    <a:pt x="504" y="104"/>
                  </a:lnTo>
                  <a:lnTo>
                    <a:pt x="550" y="125"/>
                  </a:lnTo>
                  <a:lnTo>
                    <a:pt x="596" y="147"/>
                  </a:lnTo>
                  <a:lnTo>
                    <a:pt x="641" y="172"/>
                  </a:lnTo>
                  <a:lnTo>
                    <a:pt x="683" y="197"/>
                  </a:lnTo>
                  <a:lnTo>
                    <a:pt x="725" y="225"/>
                  </a:lnTo>
                  <a:lnTo>
                    <a:pt x="766" y="254"/>
                  </a:lnTo>
                  <a:lnTo>
                    <a:pt x="806" y="283"/>
                  </a:lnTo>
                  <a:lnTo>
                    <a:pt x="845" y="316"/>
                  </a:lnTo>
                  <a:lnTo>
                    <a:pt x="881" y="348"/>
                  </a:lnTo>
                  <a:lnTo>
                    <a:pt x="918" y="383"/>
                  </a:lnTo>
                  <a:lnTo>
                    <a:pt x="953" y="420"/>
                  </a:lnTo>
                  <a:lnTo>
                    <a:pt x="985" y="458"/>
                  </a:lnTo>
                  <a:lnTo>
                    <a:pt x="1018" y="496"/>
                  </a:lnTo>
                  <a:lnTo>
                    <a:pt x="1047" y="537"/>
                  </a:lnTo>
                  <a:lnTo>
                    <a:pt x="1076" y="577"/>
                  </a:lnTo>
                  <a:lnTo>
                    <a:pt x="1103" y="620"/>
                  </a:lnTo>
                  <a:lnTo>
                    <a:pt x="1130" y="662"/>
                  </a:lnTo>
                  <a:lnTo>
                    <a:pt x="1153" y="706"/>
                  </a:lnTo>
                  <a:lnTo>
                    <a:pt x="1176" y="752"/>
                  </a:lnTo>
                  <a:lnTo>
                    <a:pt x="1195" y="798"/>
                  </a:lnTo>
                  <a:lnTo>
                    <a:pt x="1215" y="846"/>
                  </a:lnTo>
                  <a:lnTo>
                    <a:pt x="1232" y="894"/>
                  </a:lnTo>
                  <a:lnTo>
                    <a:pt x="1234" y="893"/>
                  </a:lnTo>
                  <a:lnTo>
                    <a:pt x="1232" y="894"/>
                  </a:lnTo>
                  <a:lnTo>
                    <a:pt x="1232" y="896"/>
                  </a:lnTo>
                  <a:lnTo>
                    <a:pt x="1228" y="896"/>
                  </a:lnTo>
                  <a:lnTo>
                    <a:pt x="1097" y="1006"/>
                  </a:lnTo>
                  <a:lnTo>
                    <a:pt x="960" y="1118"/>
                  </a:lnTo>
                  <a:lnTo>
                    <a:pt x="785" y="1106"/>
                  </a:lnTo>
                  <a:lnTo>
                    <a:pt x="614" y="1096"/>
                  </a:lnTo>
                  <a:lnTo>
                    <a:pt x="610" y="1098"/>
                  </a:lnTo>
                  <a:close/>
                </a:path>
              </a:pathLst>
            </a:custGeom>
            <a:grpFill/>
            <a:ln w="952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29" name="Freeform 17"/>
            <p:cNvSpPr>
              <a:spLocks/>
            </p:cNvSpPr>
            <p:nvPr/>
          </p:nvSpPr>
          <p:spPr bwMode="auto">
            <a:xfrm>
              <a:off x="2854325" y="1504950"/>
              <a:ext cx="2146300" cy="1731963"/>
            </a:xfrm>
            <a:custGeom>
              <a:avLst/>
              <a:gdLst>
                <a:gd name="T0" fmla="*/ 2147483647 w 1362"/>
                <a:gd name="T1" fmla="*/ 1632210749 h 1098"/>
                <a:gd name="T2" fmla="*/ 2147483647 w 1362"/>
                <a:gd name="T3" fmla="*/ 1632210749 h 1098"/>
                <a:gd name="T4" fmla="*/ 2147483647 w 1362"/>
                <a:gd name="T5" fmla="*/ 1632210749 h 1098"/>
                <a:gd name="T6" fmla="*/ 2147483647 w 1362"/>
                <a:gd name="T7" fmla="*/ 1647139064 h 1098"/>
                <a:gd name="T8" fmla="*/ 2147483647 w 1362"/>
                <a:gd name="T9" fmla="*/ 1679485194 h 1098"/>
                <a:gd name="T10" fmla="*/ 2147483647 w 1362"/>
                <a:gd name="T11" fmla="*/ 1756617454 h 1098"/>
                <a:gd name="T12" fmla="*/ 2147483647 w 1362"/>
                <a:gd name="T13" fmla="*/ 1866095449 h 1098"/>
                <a:gd name="T14" fmla="*/ 2038777046 w 1362"/>
                <a:gd name="T15" fmla="*/ 2010406706 h 1098"/>
                <a:gd name="T16" fmla="*/ 1904680619 w 1362"/>
                <a:gd name="T17" fmla="*/ 2134813016 h 1098"/>
                <a:gd name="T18" fmla="*/ 1822732015 w 1362"/>
                <a:gd name="T19" fmla="*/ 2147483647 h 1098"/>
                <a:gd name="T20" fmla="*/ 1745750470 w 1362"/>
                <a:gd name="T21" fmla="*/ 2147483647 h 1098"/>
                <a:gd name="T22" fmla="*/ 1678701469 w 1362"/>
                <a:gd name="T23" fmla="*/ 2147483647 h 1098"/>
                <a:gd name="T24" fmla="*/ 1621584617 w 1362"/>
                <a:gd name="T25" fmla="*/ 2147483647 h 1098"/>
                <a:gd name="T26" fmla="*/ 1574402279 w 1362"/>
                <a:gd name="T27" fmla="*/ 2147483647 h 1098"/>
                <a:gd name="T28" fmla="*/ 1544603073 w 1362"/>
                <a:gd name="T29" fmla="*/ 2147483647 h 1098"/>
                <a:gd name="T30" fmla="*/ 876599742 w 1362"/>
                <a:gd name="T31" fmla="*/ 2147483647 h 1098"/>
                <a:gd name="T32" fmla="*/ 14899609 w 1362"/>
                <a:gd name="T33" fmla="*/ 2147483647 h 1098"/>
                <a:gd name="T34" fmla="*/ 49665881 w 1362"/>
                <a:gd name="T35" fmla="*/ 2104954808 h 1098"/>
                <a:gd name="T36" fmla="*/ 148997655 w 1362"/>
                <a:gd name="T37" fmla="*/ 1861118818 h 1098"/>
                <a:gd name="T38" fmla="*/ 268194528 w 1362"/>
                <a:gd name="T39" fmla="*/ 1632210749 h 1098"/>
                <a:gd name="T40" fmla="*/ 402292530 w 1362"/>
                <a:gd name="T41" fmla="*/ 1418231389 h 1098"/>
                <a:gd name="T42" fmla="*/ 556255718 w 1362"/>
                <a:gd name="T43" fmla="*/ 1211717766 h 1098"/>
                <a:gd name="T44" fmla="*/ 717669396 w 1362"/>
                <a:gd name="T45" fmla="*/ 1020132457 h 1098"/>
                <a:gd name="T46" fmla="*/ 898949934 w 1362"/>
                <a:gd name="T47" fmla="*/ 848450518 h 1098"/>
                <a:gd name="T48" fmla="*/ 1090162819 w 1362"/>
                <a:gd name="T49" fmla="*/ 684234117 h 1098"/>
                <a:gd name="T50" fmla="*/ 1291308247 w 1362"/>
                <a:gd name="T51" fmla="*/ 542411964 h 1098"/>
                <a:gd name="T52" fmla="*/ 1502387794 w 1362"/>
                <a:gd name="T53" fmla="*/ 413028924 h 1098"/>
                <a:gd name="T54" fmla="*/ 1725883808 w 1362"/>
                <a:gd name="T55" fmla="*/ 298575875 h 1098"/>
                <a:gd name="T56" fmla="*/ 1956828441 w 1362"/>
                <a:gd name="T57" fmla="*/ 206515251 h 1098"/>
                <a:gd name="T58" fmla="*/ 2147483647 w 1362"/>
                <a:gd name="T59" fmla="*/ 124406360 h 1098"/>
                <a:gd name="T60" fmla="*/ 2147483647 w 1362"/>
                <a:gd name="T61" fmla="*/ 67179022 h 1098"/>
                <a:gd name="T62" fmla="*/ 2147483647 w 1362"/>
                <a:gd name="T63" fmla="*/ 29858221 h 1098"/>
                <a:gd name="T64" fmla="*/ 2147483647 w 1362"/>
                <a:gd name="T65" fmla="*/ 4976633 h 1098"/>
                <a:gd name="T66" fmla="*/ 2147483647 w 1362"/>
                <a:gd name="T67" fmla="*/ 0 h 1098"/>
                <a:gd name="T68" fmla="*/ 2147483647 w 1362"/>
                <a:gd name="T69" fmla="*/ 4976633 h 1098"/>
                <a:gd name="T70" fmla="*/ 2147483647 w 1362"/>
                <a:gd name="T71" fmla="*/ 14928322 h 1098"/>
                <a:gd name="T72" fmla="*/ 2147483647 w 1362"/>
                <a:gd name="T73" fmla="*/ 818593690 h 1098"/>
                <a:gd name="T74" fmla="*/ 2147483647 w 1362"/>
                <a:gd name="T75" fmla="*/ 1617282433 h 109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62"/>
                <a:gd name="T115" fmla="*/ 0 h 1098"/>
                <a:gd name="T116" fmla="*/ 1362 w 1362"/>
                <a:gd name="T117" fmla="*/ 1098 h 109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62" h="1098">
                  <a:moveTo>
                    <a:pt x="1235" y="656"/>
                  </a:moveTo>
                  <a:lnTo>
                    <a:pt x="1233" y="656"/>
                  </a:lnTo>
                  <a:lnTo>
                    <a:pt x="1208" y="656"/>
                  </a:lnTo>
                  <a:lnTo>
                    <a:pt x="1183" y="658"/>
                  </a:lnTo>
                  <a:lnTo>
                    <a:pt x="1158" y="662"/>
                  </a:lnTo>
                  <a:lnTo>
                    <a:pt x="1132" y="664"/>
                  </a:lnTo>
                  <a:lnTo>
                    <a:pt x="1082" y="675"/>
                  </a:lnTo>
                  <a:lnTo>
                    <a:pt x="1036" y="689"/>
                  </a:lnTo>
                  <a:lnTo>
                    <a:pt x="990" y="706"/>
                  </a:lnTo>
                  <a:lnTo>
                    <a:pt x="944" y="725"/>
                  </a:lnTo>
                  <a:lnTo>
                    <a:pt x="901" y="750"/>
                  </a:lnTo>
                  <a:lnTo>
                    <a:pt x="859" y="777"/>
                  </a:lnTo>
                  <a:lnTo>
                    <a:pt x="821" y="808"/>
                  </a:lnTo>
                  <a:lnTo>
                    <a:pt x="784" y="841"/>
                  </a:lnTo>
                  <a:lnTo>
                    <a:pt x="767" y="858"/>
                  </a:lnTo>
                  <a:lnTo>
                    <a:pt x="749" y="877"/>
                  </a:lnTo>
                  <a:lnTo>
                    <a:pt x="734" y="896"/>
                  </a:lnTo>
                  <a:lnTo>
                    <a:pt x="719" y="916"/>
                  </a:lnTo>
                  <a:lnTo>
                    <a:pt x="703" y="937"/>
                  </a:lnTo>
                  <a:lnTo>
                    <a:pt x="690" y="958"/>
                  </a:lnTo>
                  <a:lnTo>
                    <a:pt x="676" y="979"/>
                  </a:lnTo>
                  <a:lnTo>
                    <a:pt x="665" y="1002"/>
                  </a:lnTo>
                  <a:lnTo>
                    <a:pt x="653" y="1025"/>
                  </a:lnTo>
                  <a:lnTo>
                    <a:pt x="643" y="1050"/>
                  </a:lnTo>
                  <a:lnTo>
                    <a:pt x="634" y="1073"/>
                  </a:lnTo>
                  <a:lnTo>
                    <a:pt x="624" y="1098"/>
                  </a:lnTo>
                  <a:lnTo>
                    <a:pt x="622" y="1098"/>
                  </a:lnTo>
                  <a:lnTo>
                    <a:pt x="489" y="989"/>
                  </a:lnTo>
                  <a:lnTo>
                    <a:pt x="353" y="875"/>
                  </a:lnTo>
                  <a:lnTo>
                    <a:pt x="177" y="887"/>
                  </a:lnTo>
                  <a:lnTo>
                    <a:pt x="6" y="898"/>
                  </a:lnTo>
                  <a:lnTo>
                    <a:pt x="0" y="896"/>
                  </a:lnTo>
                  <a:lnTo>
                    <a:pt x="20" y="846"/>
                  </a:lnTo>
                  <a:lnTo>
                    <a:pt x="39" y="796"/>
                  </a:lnTo>
                  <a:lnTo>
                    <a:pt x="60" y="748"/>
                  </a:lnTo>
                  <a:lnTo>
                    <a:pt x="83" y="702"/>
                  </a:lnTo>
                  <a:lnTo>
                    <a:pt x="108" y="656"/>
                  </a:lnTo>
                  <a:lnTo>
                    <a:pt x="133" y="612"/>
                  </a:lnTo>
                  <a:lnTo>
                    <a:pt x="162" y="570"/>
                  </a:lnTo>
                  <a:lnTo>
                    <a:pt x="191" y="527"/>
                  </a:lnTo>
                  <a:lnTo>
                    <a:pt x="224" y="487"/>
                  </a:lnTo>
                  <a:lnTo>
                    <a:pt x="254" y="448"/>
                  </a:lnTo>
                  <a:lnTo>
                    <a:pt x="289" y="410"/>
                  </a:lnTo>
                  <a:lnTo>
                    <a:pt x="326" y="375"/>
                  </a:lnTo>
                  <a:lnTo>
                    <a:pt x="362" y="341"/>
                  </a:lnTo>
                  <a:lnTo>
                    <a:pt x="399" y="306"/>
                  </a:lnTo>
                  <a:lnTo>
                    <a:pt x="439" y="275"/>
                  </a:lnTo>
                  <a:lnTo>
                    <a:pt x="478" y="245"/>
                  </a:lnTo>
                  <a:lnTo>
                    <a:pt x="520" y="218"/>
                  </a:lnTo>
                  <a:lnTo>
                    <a:pt x="563" y="191"/>
                  </a:lnTo>
                  <a:lnTo>
                    <a:pt x="605" y="166"/>
                  </a:lnTo>
                  <a:lnTo>
                    <a:pt x="649" y="143"/>
                  </a:lnTo>
                  <a:lnTo>
                    <a:pt x="695" y="120"/>
                  </a:lnTo>
                  <a:lnTo>
                    <a:pt x="740" y="100"/>
                  </a:lnTo>
                  <a:lnTo>
                    <a:pt x="788" y="83"/>
                  </a:lnTo>
                  <a:lnTo>
                    <a:pt x="834" y="66"/>
                  </a:lnTo>
                  <a:lnTo>
                    <a:pt x="882" y="50"/>
                  </a:lnTo>
                  <a:lnTo>
                    <a:pt x="930" y="39"/>
                  </a:lnTo>
                  <a:lnTo>
                    <a:pt x="980" y="27"/>
                  </a:lnTo>
                  <a:lnTo>
                    <a:pt x="1030" y="18"/>
                  </a:lnTo>
                  <a:lnTo>
                    <a:pt x="1081" y="12"/>
                  </a:lnTo>
                  <a:lnTo>
                    <a:pt x="1131" y="6"/>
                  </a:lnTo>
                  <a:lnTo>
                    <a:pt x="1181" y="2"/>
                  </a:lnTo>
                  <a:lnTo>
                    <a:pt x="1233" y="2"/>
                  </a:lnTo>
                  <a:lnTo>
                    <a:pt x="1233" y="0"/>
                  </a:lnTo>
                  <a:lnTo>
                    <a:pt x="1233" y="2"/>
                  </a:lnTo>
                  <a:lnTo>
                    <a:pt x="1235" y="2"/>
                  </a:lnTo>
                  <a:lnTo>
                    <a:pt x="1235" y="6"/>
                  </a:lnTo>
                  <a:lnTo>
                    <a:pt x="1296" y="164"/>
                  </a:lnTo>
                  <a:lnTo>
                    <a:pt x="1362" y="329"/>
                  </a:lnTo>
                  <a:lnTo>
                    <a:pt x="1296" y="493"/>
                  </a:lnTo>
                  <a:lnTo>
                    <a:pt x="1235" y="650"/>
                  </a:lnTo>
                  <a:lnTo>
                    <a:pt x="1235" y="656"/>
                  </a:lnTo>
                  <a:close/>
                </a:path>
              </a:pathLst>
            </a:custGeom>
            <a:grpFill/>
            <a:ln w="952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30" name="Freeform 19"/>
            <p:cNvSpPr>
              <a:spLocks/>
            </p:cNvSpPr>
            <p:nvPr/>
          </p:nvSpPr>
          <p:spPr bwMode="auto">
            <a:xfrm>
              <a:off x="2760663" y="2882900"/>
              <a:ext cx="1446212" cy="2314575"/>
            </a:xfrm>
            <a:custGeom>
              <a:avLst/>
              <a:gdLst>
                <a:gd name="T0" fmla="*/ 1700079256 w 918"/>
                <a:gd name="T1" fmla="*/ 555120928 h 1467"/>
                <a:gd name="T2" fmla="*/ 1700079256 w 918"/>
                <a:gd name="T3" fmla="*/ 560098761 h 1467"/>
                <a:gd name="T4" fmla="*/ 1680224566 w 918"/>
                <a:gd name="T5" fmla="*/ 617354101 h 1467"/>
                <a:gd name="T6" fmla="*/ 1652924565 w 918"/>
                <a:gd name="T7" fmla="*/ 741820449 h 1467"/>
                <a:gd name="T8" fmla="*/ 1628105415 w 918"/>
                <a:gd name="T9" fmla="*/ 923540756 h 1467"/>
                <a:gd name="T10" fmla="*/ 1628105415 w 918"/>
                <a:gd name="T11" fmla="*/ 1172473451 h 1467"/>
                <a:gd name="T12" fmla="*/ 1667815188 w 918"/>
                <a:gd name="T13" fmla="*/ 1413938607 h 1467"/>
                <a:gd name="T14" fmla="*/ 1737307389 w 918"/>
                <a:gd name="T15" fmla="*/ 1647936224 h 1467"/>
                <a:gd name="T16" fmla="*/ 1819208968 w 918"/>
                <a:gd name="T17" fmla="*/ 1814721651 h 1467"/>
                <a:gd name="T18" fmla="*/ 1881255858 w 918"/>
                <a:gd name="T19" fmla="*/ 1924251342 h 1467"/>
                <a:gd name="T20" fmla="*/ 1958193370 w 918"/>
                <a:gd name="T21" fmla="*/ 2026313495 h 1467"/>
                <a:gd name="T22" fmla="*/ 2040094949 w 918"/>
                <a:gd name="T23" fmla="*/ 2120908108 h 1467"/>
                <a:gd name="T24" fmla="*/ 2124479349 w 918"/>
                <a:gd name="T25" fmla="*/ 2147483647 h 1467"/>
                <a:gd name="T26" fmla="*/ 2147483647 w 918"/>
                <a:gd name="T27" fmla="*/ 2147483647 h 1467"/>
                <a:gd name="T28" fmla="*/ 2147483647 w 918"/>
                <a:gd name="T29" fmla="*/ 2147483647 h 1467"/>
                <a:gd name="T30" fmla="*/ 1543721016 w 918"/>
                <a:gd name="T31" fmla="*/ 2147483647 h 1467"/>
                <a:gd name="T32" fmla="*/ 1327799101 w 918"/>
                <a:gd name="T33" fmla="*/ 2147483647 h 1467"/>
                <a:gd name="T34" fmla="*/ 1218597521 w 918"/>
                <a:gd name="T35" fmla="*/ 2147483647 h 1467"/>
                <a:gd name="T36" fmla="*/ 1017566229 w 918"/>
                <a:gd name="T37" fmla="*/ 2147483647 h 1467"/>
                <a:gd name="T38" fmla="*/ 836389627 w 918"/>
                <a:gd name="T39" fmla="*/ 2147483647 h 1467"/>
                <a:gd name="T40" fmla="*/ 672586272 w 918"/>
                <a:gd name="T41" fmla="*/ 2147483647 h 1467"/>
                <a:gd name="T42" fmla="*/ 523673738 w 918"/>
                <a:gd name="T43" fmla="*/ 2147483647 h 1467"/>
                <a:gd name="T44" fmla="*/ 394617370 w 918"/>
                <a:gd name="T45" fmla="*/ 2147483647 h 1467"/>
                <a:gd name="T46" fmla="*/ 285414214 w 918"/>
                <a:gd name="T47" fmla="*/ 2147483647 h 1467"/>
                <a:gd name="T48" fmla="*/ 191103208 w 918"/>
                <a:gd name="T49" fmla="*/ 2145802009 h 1467"/>
                <a:gd name="T50" fmla="*/ 114165696 w 918"/>
                <a:gd name="T51" fmla="*/ 1906826558 h 1467"/>
                <a:gd name="T52" fmla="*/ 57082848 w 918"/>
                <a:gd name="T53" fmla="*/ 1660381991 h 1467"/>
                <a:gd name="T54" fmla="*/ 17373450 w 918"/>
                <a:gd name="T55" fmla="*/ 1416428313 h 1467"/>
                <a:gd name="T56" fmla="*/ 0 w 918"/>
                <a:gd name="T57" fmla="*/ 1167495618 h 1467"/>
                <a:gd name="T58" fmla="*/ 0 w 918"/>
                <a:gd name="T59" fmla="*/ 918562923 h 1467"/>
                <a:gd name="T60" fmla="*/ 17373450 w 918"/>
                <a:gd name="T61" fmla="*/ 669630030 h 1467"/>
                <a:gd name="T62" fmla="*/ 57082848 w 918"/>
                <a:gd name="T63" fmla="*/ 423185463 h 1467"/>
                <a:gd name="T64" fmla="*/ 119129762 w 918"/>
                <a:gd name="T65" fmla="*/ 176742326 h 1467"/>
                <a:gd name="T66" fmla="*/ 146429763 w 918"/>
                <a:gd name="T67" fmla="*/ 52275954 h 1467"/>
                <a:gd name="T68" fmla="*/ 151393829 w 918"/>
                <a:gd name="T69" fmla="*/ 52275954 h 1467"/>
                <a:gd name="T70" fmla="*/ 161321962 w 918"/>
                <a:gd name="T71" fmla="*/ 52275954 h 1467"/>
                <a:gd name="T72" fmla="*/ 1022528720 w 918"/>
                <a:gd name="T73" fmla="*/ 0 h 1467"/>
                <a:gd name="T74" fmla="*/ 1685188632 w 918"/>
                <a:gd name="T75" fmla="*/ 550141516 h 14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8"/>
                <a:gd name="T115" fmla="*/ 0 h 1467"/>
                <a:gd name="T116" fmla="*/ 918 w 918"/>
                <a:gd name="T117" fmla="*/ 1467 h 146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8" h="1467">
                  <a:moveTo>
                    <a:pt x="685" y="223"/>
                  </a:moveTo>
                  <a:lnTo>
                    <a:pt x="685" y="223"/>
                  </a:lnTo>
                  <a:lnTo>
                    <a:pt x="685" y="225"/>
                  </a:lnTo>
                  <a:lnTo>
                    <a:pt x="677" y="248"/>
                  </a:lnTo>
                  <a:lnTo>
                    <a:pt x="672" y="273"/>
                  </a:lnTo>
                  <a:lnTo>
                    <a:pt x="666" y="298"/>
                  </a:lnTo>
                  <a:lnTo>
                    <a:pt x="662" y="323"/>
                  </a:lnTo>
                  <a:lnTo>
                    <a:pt x="656" y="371"/>
                  </a:lnTo>
                  <a:lnTo>
                    <a:pt x="654" y="421"/>
                  </a:lnTo>
                  <a:lnTo>
                    <a:pt x="656" y="471"/>
                  </a:lnTo>
                  <a:lnTo>
                    <a:pt x="662" y="519"/>
                  </a:lnTo>
                  <a:lnTo>
                    <a:pt x="672" y="568"/>
                  </a:lnTo>
                  <a:lnTo>
                    <a:pt x="685" y="616"/>
                  </a:lnTo>
                  <a:lnTo>
                    <a:pt x="700" y="662"/>
                  </a:lnTo>
                  <a:lnTo>
                    <a:pt x="722" y="708"/>
                  </a:lnTo>
                  <a:lnTo>
                    <a:pt x="733" y="729"/>
                  </a:lnTo>
                  <a:lnTo>
                    <a:pt x="747" y="752"/>
                  </a:lnTo>
                  <a:lnTo>
                    <a:pt x="758" y="773"/>
                  </a:lnTo>
                  <a:lnTo>
                    <a:pt x="774" y="792"/>
                  </a:lnTo>
                  <a:lnTo>
                    <a:pt x="789" y="814"/>
                  </a:lnTo>
                  <a:lnTo>
                    <a:pt x="804" y="833"/>
                  </a:lnTo>
                  <a:lnTo>
                    <a:pt x="822" y="852"/>
                  </a:lnTo>
                  <a:lnTo>
                    <a:pt x="839" y="871"/>
                  </a:lnTo>
                  <a:lnTo>
                    <a:pt x="856" y="889"/>
                  </a:lnTo>
                  <a:lnTo>
                    <a:pt x="878" y="906"/>
                  </a:lnTo>
                  <a:lnTo>
                    <a:pt x="897" y="923"/>
                  </a:lnTo>
                  <a:lnTo>
                    <a:pt x="918" y="939"/>
                  </a:lnTo>
                  <a:lnTo>
                    <a:pt x="916" y="940"/>
                  </a:lnTo>
                  <a:lnTo>
                    <a:pt x="772" y="1033"/>
                  </a:lnTo>
                  <a:lnTo>
                    <a:pt x="622" y="1127"/>
                  </a:lnTo>
                  <a:lnTo>
                    <a:pt x="579" y="1298"/>
                  </a:lnTo>
                  <a:lnTo>
                    <a:pt x="535" y="1465"/>
                  </a:lnTo>
                  <a:lnTo>
                    <a:pt x="533" y="1467"/>
                  </a:lnTo>
                  <a:lnTo>
                    <a:pt x="491" y="1437"/>
                  </a:lnTo>
                  <a:lnTo>
                    <a:pt x="450" y="1402"/>
                  </a:lnTo>
                  <a:lnTo>
                    <a:pt x="410" y="1367"/>
                  </a:lnTo>
                  <a:lnTo>
                    <a:pt x="373" y="1331"/>
                  </a:lnTo>
                  <a:lnTo>
                    <a:pt x="337" y="1292"/>
                  </a:lnTo>
                  <a:lnTo>
                    <a:pt x="302" y="1254"/>
                  </a:lnTo>
                  <a:lnTo>
                    <a:pt x="271" y="1214"/>
                  </a:lnTo>
                  <a:lnTo>
                    <a:pt x="240" y="1173"/>
                  </a:lnTo>
                  <a:lnTo>
                    <a:pt x="211" y="1131"/>
                  </a:lnTo>
                  <a:lnTo>
                    <a:pt x="184" y="1089"/>
                  </a:lnTo>
                  <a:lnTo>
                    <a:pt x="159" y="1044"/>
                  </a:lnTo>
                  <a:lnTo>
                    <a:pt x="136" y="1000"/>
                  </a:lnTo>
                  <a:lnTo>
                    <a:pt x="115" y="954"/>
                  </a:lnTo>
                  <a:lnTo>
                    <a:pt x="94" y="908"/>
                  </a:lnTo>
                  <a:lnTo>
                    <a:pt x="77" y="862"/>
                  </a:lnTo>
                  <a:lnTo>
                    <a:pt x="61" y="814"/>
                  </a:lnTo>
                  <a:lnTo>
                    <a:pt x="46" y="766"/>
                  </a:lnTo>
                  <a:lnTo>
                    <a:pt x="34" y="717"/>
                  </a:lnTo>
                  <a:lnTo>
                    <a:pt x="23" y="667"/>
                  </a:lnTo>
                  <a:lnTo>
                    <a:pt x="15" y="619"/>
                  </a:lnTo>
                  <a:lnTo>
                    <a:pt x="7" y="569"/>
                  </a:lnTo>
                  <a:lnTo>
                    <a:pt x="3" y="519"/>
                  </a:lnTo>
                  <a:lnTo>
                    <a:pt x="0" y="469"/>
                  </a:lnTo>
                  <a:lnTo>
                    <a:pt x="0" y="419"/>
                  </a:lnTo>
                  <a:lnTo>
                    <a:pt x="0" y="369"/>
                  </a:lnTo>
                  <a:lnTo>
                    <a:pt x="3" y="319"/>
                  </a:lnTo>
                  <a:lnTo>
                    <a:pt x="7" y="269"/>
                  </a:lnTo>
                  <a:lnTo>
                    <a:pt x="15" y="220"/>
                  </a:lnTo>
                  <a:lnTo>
                    <a:pt x="23" y="170"/>
                  </a:lnTo>
                  <a:lnTo>
                    <a:pt x="34" y="121"/>
                  </a:lnTo>
                  <a:lnTo>
                    <a:pt x="48" y="71"/>
                  </a:lnTo>
                  <a:lnTo>
                    <a:pt x="61" y="23"/>
                  </a:lnTo>
                  <a:lnTo>
                    <a:pt x="59" y="21"/>
                  </a:lnTo>
                  <a:lnTo>
                    <a:pt x="61" y="21"/>
                  </a:lnTo>
                  <a:lnTo>
                    <a:pt x="65" y="21"/>
                  </a:lnTo>
                  <a:lnTo>
                    <a:pt x="236" y="12"/>
                  </a:lnTo>
                  <a:lnTo>
                    <a:pt x="412" y="0"/>
                  </a:lnTo>
                  <a:lnTo>
                    <a:pt x="548" y="112"/>
                  </a:lnTo>
                  <a:lnTo>
                    <a:pt x="679" y="221"/>
                  </a:lnTo>
                  <a:lnTo>
                    <a:pt x="685" y="223"/>
                  </a:lnTo>
                  <a:close/>
                </a:path>
              </a:pathLst>
            </a:custGeom>
            <a:grpFill/>
            <a:ln w="9525">
              <a:solidFill>
                <a:schemeClr val="tx1">
                  <a:lumMod val="20000"/>
                  <a:lumOff val="80000"/>
                </a:schemeClr>
              </a:solidFill>
              <a:round/>
              <a:headEnd/>
              <a:tailEnd/>
            </a:ln>
          </p:spPr>
          <p:txBody>
            <a:bodyPr/>
            <a:lstStyle>
              <a:lvl1pPr marL="273050"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algn="l" eaLnBrk="1" hangingPunct="1"/>
              <a:endParaRPr lang="en-US" altLang="en-US" sz="1100" b="0">
                <a:latin typeface="Arial" panose="020B0604020202020204" pitchFamily="34" charset="0"/>
                <a:cs typeface="Arial" panose="020B0604020202020204" pitchFamily="34" charset="0"/>
              </a:endParaRPr>
            </a:p>
            <a:p>
              <a:pPr algn="l" eaLnBrk="1" hangingPunct="1"/>
              <a:endParaRPr lang="en-US" altLang="en-US" sz="1100" b="0">
                <a:latin typeface="Arial" panose="020B0604020202020204" pitchFamily="34" charset="0"/>
                <a:cs typeface="Arial" panose="020B0604020202020204" pitchFamily="34" charset="0"/>
              </a:endParaRPr>
            </a:p>
            <a:p>
              <a:pPr algn="l" eaLnBrk="1" hangingPunct="1"/>
              <a:endParaRPr lang="en-US" altLang="en-US" sz="1100" b="0">
                <a:latin typeface="Arial" panose="020B0604020202020204" pitchFamily="34" charset="0"/>
                <a:cs typeface="Arial" panose="020B0604020202020204" pitchFamily="34" charset="0"/>
              </a:endParaRPr>
            </a:p>
            <a:p>
              <a:pPr algn="l" eaLnBrk="1" hangingPunct="1"/>
              <a:endParaRPr lang="en-US" altLang="en-US" sz="1100" b="0">
                <a:latin typeface="Arial" panose="020B0604020202020204" pitchFamily="34" charset="0"/>
                <a:cs typeface="Arial" panose="020B0604020202020204" pitchFamily="34" charset="0"/>
              </a:endParaRPr>
            </a:p>
          </p:txBody>
        </p:sp>
        <p:sp>
          <p:nvSpPr>
            <p:cNvPr id="31" name="Freeform 21"/>
            <p:cNvSpPr>
              <a:spLocks/>
            </p:cNvSpPr>
            <p:nvPr/>
          </p:nvSpPr>
          <p:spPr bwMode="auto">
            <a:xfrm>
              <a:off x="3600450" y="4364038"/>
              <a:ext cx="2400300" cy="1220787"/>
            </a:xfrm>
            <a:custGeom>
              <a:avLst/>
              <a:gdLst>
                <a:gd name="T0" fmla="*/ 956295053 w 1523"/>
                <a:gd name="T1" fmla="*/ 0 h 774"/>
                <a:gd name="T2" fmla="*/ 961262711 w 1523"/>
                <a:gd name="T3" fmla="*/ 0 h 774"/>
                <a:gd name="T4" fmla="*/ 1013424696 w 1523"/>
                <a:gd name="T5" fmla="*/ 37316021 h 774"/>
                <a:gd name="T6" fmla="*/ 1120230919 w 1523"/>
                <a:gd name="T7" fmla="*/ 99508329 h 774"/>
                <a:gd name="T8" fmla="*/ 1286652191 w 1523"/>
                <a:gd name="T9" fmla="*/ 181602310 h 774"/>
                <a:gd name="T10" fmla="*/ 1520136847 w 1523"/>
                <a:gd name="T11" fmla="*/ 256232799 h 774"/>
                <a:gd name="T12" fmla="*/ 1761073383 w 1523"/>
                <a:gd name="T13" fmla="*/ 296036121 h 774"/>
                <a:gd name="T14" fmla="*/ 2009462589 w 1523"/>
                <a:gd name="T15" fmla="*/ 296036121 h 774"/>
                <a:gd name="T16" fmla="*/ 2147483647 w 1523"/>
                <a:gd name="T17" fmla="*/ 271159834 h 774"/>
                <a:gd name="T18" fmla="*/ 2147483647 w 1523"/>
                <a:gd name="T19" fmla="*/ 243794656 h 774"/>
                <a:gd name="T20" fmla="*/ 2147483647 w 1523"/>
                <a:gd name="T21" fmla="*/ 203991285 h 774"/>
                <a:gd name="T22" fmla="*/ 2147483647 w 1523"/>
                <a:gd name="T23" fmla="*/ 161700649 h 774"/>
                <a:gd name="T24" fmla="*/ 2147483647 w 1523"/>
                <a:gd name="T25" fmla="*/ 104482980 h 774"/>
                <a:gd name="T26" fmla="*/ 2147483647 w 1523"/>
                <a:gd name="T27" fmla="*/ 32339817 h 774"/>
                <a:gd name="T28" fmla="*/ 2147483647 w 1523"/>
                <a:gd name="T29" fmla="*/ 2487314 h 774"/>
                <a:gd name="T30" fmla="*/ 2147483647 w 1523"/>
                <a:gd name="T31" fmla="*/ 840843200 h 774"/>
                <a:gd name="T32" fmla="*/ 2147483647 w 1523"/>
                <a:gd name="T33" fmla="*/ 1303554449 h 774"/>
                <a:gd name="T34" fmla="*/ 2147483647 w 1523"/>
                <a:gd name="T35" fmla="*/ 1390624610 h 774"/>
                <a:gd name="T36" fmla="*/ 2147483647 w 1523"/>
                <a:gd name="T37" fmla="*/ 1524960032 h 774"/>
                <a:gd name="T38" fmla="*/ 2147483647 w 1523"/>
                <a:gd name="T39" fmla="*/ 1644368420 h 774"/>
                <a:gd name="T40" fmla="*/ 2147483647 w 1523"/>
                <a:gd name="T41" fmla="*/ 1738902492 h 774"/>
                <a:gd name="T42" fmla="*/ 2147483647 w 1523"/>
                <a:gd name="T43" fmla="*/ 1816020245 h 774"/>
                <a:gd name="T44" fmla="*/ 2147483647 w 1523"/>
                <a:gd name="T45" fmla="*/ 1868261710 h 774"/>
                <a:gd name="T46" fmla="*/ 2147483647 w 1523"/>
                <a:gd name="T47" fmla="*/ 1908065032 h 774"/>
                <a:gd name="T48" fmla="*/ 1999525697 w 1523"/>
                <a:gd name="T49" fmla="*/ 1925479379 h 774"/>
                <a:gd name="T50" fmla="*/ 1751138067 w 1523"/>
                <a:gd name="T51" fmla="*/ 1920504753 h 774"/>
                <a:gd name="T52" fmla="*/ 1502750044 w 1523"/>
                <a:gd name="T53" fmla="*/ 1903090405 h 774"/>
                <a:gd name="T54" fmla="*/ 1256844667 w 1523"/>
                <a:gd name="T55" fmla="*/ 1863287084 h 774"/>
                <a:gd name="T56" fmla="*/ 1013424696 w 1523"/>
                <a:gd name="T57" fmla="*/ 1806069414 h 774"/>
                <a:gd name="T58" fmla="*/ 779939844 w 1523"/>
                <a:gd name="T59" fmla="*/ 1726464348 h 774"/>
                <a:gd name="T60" fmla="*/ 548939017 w 1523"/>
                <a:gd name="T61" fmla="*/ 1634417589 h 774"/>
                <a:gd name="T62" fmla="*/ 325389579 w 1523"/>
                <a:gd name="T63" fmla="*/ 1519983828 h 774"/>
                <a:gd name="T64" fmla="*/ 109291678 w 1523"/>
                <a:gd name="T65" fmla="*/ 1390624610 h 774"/>
                <a:gd name="T66" fmla="*/ 0 w 1523"/>
                <a:gd name="T67" fmla="*/ 1318481483 h 774"/>
                <a:gd name="T68" fmla="*/ 0 w 1523"/>
                <a:gd name="T69" fmla="*/ 1313505279 h 774"/>
                <a:gd name="T70" fmla="*/ 4967660 w 1523"/>
                <a:gd name="T71" fmla="*/ 1303554449 h 774"/>
                <a:gd name="T72" fmla="*/ 221065609 w 1523"/>
                <a:gd name="T73" fmla="*/ 472662277 h 774"/>
                <a:gd name="T74" fmla="*/ 946359736 w 1523"/>
                <a:gd name="T75" fmla="*/ 7463520 h 77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23"/>
                <a:gd name="T115" fmla="*/ 0 h 774"/>
                <a:gd name="T116" fmla="*/ 1523 w 1523"/>
                <a:gd name="T117" fmla="*/ 774 h 77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23" h="774">
                  <a:moveTo>
                    <a:pt x="385" y="0"/>
                  </a:moveTo>
                  <a:lnTo>
                    <a:pt x="385" y="0"/>
                  </a:lnTo>
                  <a:lnTo>
                    <a:pt x="387" y="0"/>
                  </a:lnTo>
                  <a:lnTo>
                    <a:pt x="408" y="15"/>
                  </a:lnTo>
                  <a:lnTo>
                    <a:pt x="429" y="28"/>
                  </a:lnTo>
                  <a:lnTo>
                    <a:pt x="451" y="40"/>
                  </a:lnTo>
                  <a:lnTo>
                    <a:pt x="472" y="51"/>
                  </a:lnTo>
                  <a:lnTo>
                    <a:pt x="518" y="73"/>
                  </a:lnTo>
                  <a:lnTo>
                    <a:pt x="564" y="90"/>
                  </a:lnTo>
                  <a:lnTo>
                    <a:pt x="612" y="103"/>
                  </a:lnTo>
                  <a:lnTo>
                    <a:pt x="660" y="113"/>
                  </a:lnTo>
                  <a:lnTo>
                    <a:pt x="709" y="119"/>
                  </a:lnTo>
                  <a:lnTo>
                    <a:pt x="759" y="121"/>
                  </a:lnTo>
                  <a:lnTo>
                    <a:pt x="809" y="119"/>
                  </a:lnTo>
                  <a:lnTo>
                    <a:pt x="859" y="113"/>
                  </a:lnTo>
                  <a:lnTo>
                    <a:pt x="882" y="109"/>
                  </a:lnTo>
                  <a:lnTo>
                    <a:pt x="907" y="105"/>
                  </a:lnTo>
                  <a:lnTo>
                    <a:pt x="932" y="98"/>
                  </a:lnTo>
                  <a:lnTo>
                    <a:pt x="955" y="92"/>
                  </a:lnTo>
                  <a:lnTo>
                    <a:pt x="980" y="82"/>
                  </a:lnTo>
                  <a:lnTo>
                    <a:pt x="1003" y="75"/>
                  </a:lnTo>
                  <a:lnTo>
                    <a:pt x="1026" y="65"/>
                  </a:lnTo>
                  <a:lnTo>
                    <a:pt x="1049" y="53"/>
                  </a:lnTo>
                  <a:lnTo>
                    <a:pt x="1072" y="42"/>
                  </a:lnTo>
                  <a:lnTo>
                    <a:pt x="1096" y="28"/>
                  </a:lnTo>
                  <a:lnTo>
                    <a:pt x="1117" y="13"/>
                  </a:lnTo>
                  <a:lnTo>
                    <a:pt x="1138" y="0"/>
                  </a:lnTo>
                  <a:lnTo>
                    <a:pt x="1140" y="1"/>
                  </a:lnTo>
                  <a:lnTo>
                    <a:pt x="1182" y="167"/>
                  </a:lnTo>
                  <a:lnTo>
                    <a:pt x="1226" y="338"/>
                  </a:lnTo>
                  <a:lnTo>
                    <a:pt x="1377" y="432"/>
                  </a:lnTo>
                  <a:lnTo>
                    <a:pt x="1521" y="524"/>
                  </a:lnTo>
                  <a:lnTo>
                    <a:pt x="1523" y="528"/>
                  </a:lnTo>
                  <a:lnTo>
                    <a:pt x="1481" y="559"/>
                  </a:lnTo>
                  <a:lnTo>
                    <a:pt x="1434" y="588"/>
                  </a:lnTo>
                  <a:lnTo>
                    <a:pt x="1390" y="613"/>
                  </a:lnTo>
                  <a:lnTo>
                    <a:pt x="1344" y="638"/>
                  </a:lnTo>
                  <a:lnTo>
                    <a:pt x="1296" y="661"/>
                  </a:lnTo>
                  <a:lnTo>
                    <a:pt x="1250" y="680"/>
                  </a:lnTo>
                  <a:lnTo>
                    <a:pt x="1201" y="699"/>
                  </a:lnTo>
                  <a:lnTo>
                    <a:pt x="1153" y="715"/>
                  </a:lnTo>
                  <a:lnTo>
                    <a:pt x="1103" y="730"/>
                  </a:lnTo>
                  <a:lnTo>
                    <a:pt x="1055" y="742"/>
                  </a:lnTo>
                  <a:lnTo>
                    <a:pt x="1005" y="751"/>
                  </a:lnTo>
                  <a:lnTo>
                    <a:pt x="955" y="761"/>
                  </a:lnTo>
                  <a:lnTo>
                    <a:pt x="905" y="767"/>
                  </a:lnTo>
                  <a:lnTo>
                    <a:pt x="855" y="771"/>
                  </a:lnTo>
                  <a:lnTo>
                    <a:pt x="805" y="774"/>
                  </a:lnTo>
                  <a:lnTo>
                    <a:pt x="755" y="774"/>
                  </a:lnTo>
                  <a:lnTo>
                    <a:pt x="705" y="772"/>
                  </a:lnTo>
                  <a:lnTo>
                    <a:pt x="655" y="771"/>
                  </a:lnTo>
                  <a:lnTo>
                    <a:pt x="605" y="765"/>
                  </a:lnTo>
                  <a:lnTo>
                    <a:pt x="555" y="757"/>
                  </a:lnTo>
                  <a:lnTo>
                    <a:pt x="506" y="749"/>
                  </a:lnTo>
                  <a:lnTo>
                    <a:pt x="456" y="738"/>
                  </a:lnTo>
                  <a:lnTo>
                    <a:pt x="408" y="726"/>
                  </a:lnTo>
                  <a:lnTo>
                    <a:pt x="360" y="711"/>
                  </a:lnTo>
                  <a:lnTo>
                    <a:pt x="314" y="694"/>
                  </a:lnTo>
                  <a:lnTo>
                    <a:pt x="268" y="676"/>
                  </a:lnTo>
                  <a:lnTo>
                    <a:pt x="221" y="657"/>
                  </a:lnTo>
                  <a:lnTo>
                    <a:pt x="175" y="634"/>
                  </a:lnTo>
                  <a:lnTo>
                    <a:pt x="131" y="611"/>
                  </a:lnTo>
                  <a:lnTo>
                    <a:pt x="87" y="586"/>
                  </a:lnTo>
                  <a:lnTo>
                    <a:pt x="44" y="559"/>
                  </a:lnTo>
                  <a:lnTo>
                    <a:pt x="2" y="530"/>
                  </a:lnTo>
                  <a:lnTo>
                    <a:pt x="0" y="530"/>
                  </a:lnTo>
                  <a:lnTo>
                    <a:pt x="2" y="528"/>
                  </a:lnTo>
                  <a:lnTo>
                    <a:pt x="0" y="528"/>
                  </a:lnTo>
                  <a:lnTo>
                    <a:pt x="2" y="524"/>
                  </a:lnTo>
                  <a:lnTo>
                    <a:pt x="44" y="359"/>
                  </a:lnTo>
                  <a:lnTo>
                    <a:pt x="89" y="190"/>
                  </a:lnTo>
                  <a:lnTo>
                    <a:pt x="239" y="94"/>
                  </a:lnTo>
                  <a:lnTo>
                    <a:pt x="381" y="3"/>
                  </a:lnTo>
                  <a:lnTo>
                    <a:pt x="385" y="0"/>
                  </a:lnTo>
                  <a:close/>
                </a:path>
              </a:pathLst>
            </a:custGeom>
            <a:grpFill/>
            <a:ln w="952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32" name="Freeform 23"/>
            <p:cNvSpPr>
              <a:spLocks/>
            </p:cNvSpPr>
            <p:nvPr/>
          </p:nvSpPr>
          <p:spPr bwMode="auto">
            <a:xfrm>
              <a:off x="5394325" y="2914650"/>
              <a:ext cx="1446213" cy="2286000"/>
            </a:xfrm>
            <a:custGeom>
              <a:avLst/>
              <a:gdLst>
                <a:gd name="T0" fmla="*/ 0 w 918"/>
                <a:gd name="T1" fmla="*/ 2147483647 h 1448"/>
                <a:gd name="T2" fmla="*/ 0 w 918"/>
                <a:gd name="T3" fmla="*/ 2147483647 h 1448"/>
                <a:gd name="T4" fmla="*/ 52118818 w 918"/>
                <a:gd name="T5" fmla="*/ 2147483647 h 1448"/>
                <a:gd name="T6" fmla="*/ 148912687 w 918"/>
                <a:gd name="T7" fmla="*/ 2147483647 h 1448"/>
                <a:gd name="T8" fmla="*/ 273005025 w 918"/>
                <a:gd name="T9" fmla="*/ 2033787050 h 1448"/>
                <a:gd name="T10" fmla="*/ 414472444 w 918"/>
                <a:gd name="T11" fmla="*/ 1831903953 h 1448"/>
                <a:gd name="T12" fmla="*/ 531120992 w 918"/>
                <a:gd name="T13" fmla="*/ 1610081118 h 1448"/>
                <a:gd name="T14" fmla="*/ 605575736 w 918"/>
                <a:gd name="T15" fmla="*/ 1375797772 h 1448"/>
                <a:gd name="T16" fmla="*/ 640322648 w 918"/>
                <a:gd name="T17" fmla="*/ 1193852441 h 1448"/>
                <a:gd name="T18" fmla="*/ 650250787 w 918"/>
                <a:gd name="T19" fmla="*/ 1069233908 h 1448"/>
                <a:gd name="T20" fmla="*/ 655213281 w 918"/>
                <a:gd name="T21" fmla="*/ 944613797 h 1448"/>
                <a:gd name="T22" fmla="*/ 645286718 w 918"/>
                <a:gd name="T23" fmla="*/ 819995067 h 1448"/>
                <a:gd name="T24" fmla="*/ 625432014 w 918"/>
                <a:gd name="T25" fmla="*/ 690390909 h 1448"/>
                <a:gd name="T26" fmla="*/ 598130419 w 918"/>
                <a:gd name="T27" fmla="*/ 565772377 h 1448"/>
                <a:gd name="T28" fmla="*/ 583239785 w 918"/>
                <a:gd name="T29" fmla="*/ 503461532 h 1448"/>
                <a:gd name="T30" fmla="*/ 1441967320 w 918"/>
                <a:gd name="T31" fmla="*/ 558293939 h 1448"/>
                <a:gd name="T32" fmla="*/ 2112073007 w 918"/>
                <a:gd name="T33" fmla="*/ 0 h 1448"/>
                <a:gd name="T34" fmla="*/ 2147483647 w 918"/>
                <a:gd name="T35" fmla="*/ 124618582 h 1448"/>
                <a:gd name="T36" fmla="*/ 2147483647 w 918"/>
                <a:gd name="T37" fmla="*/ 383826947 h 1448"/>
                <a:gd name="T38" fmla="*/ 2147483647 w 918"/>
                <a:gd name="T39" fmla="*/ 638051315 h 1448"/>
                <a:gd name="T40" fmla="*/ 2147483647 w 918"/>
                <a:gd name="T41" fmla="*/ 897259828 h 1448"/>
                <a:gd name="T42" fmla="*/ 2147483647 w 918"/>
                <a:gd name="T43" fmla="*/ 1151482519 h 1448"/>
                <a:gd name="T44" fmla="*/ 2147483647 w 918"/>
                <a:gd name="T45" fmla="*/ 1400721163 h 1448"/>
                <a:gd name="T46" fmla="*/ 2147483647 w 918"/>
                <a:gd name="T47" fmla="*/ 1649959807 h 1448"/>
                <a:gd name="T48" fmla="*/ 2147483647 w 918"/>
                <a:gd name="T49" fmla="*/ 1894213220 h 1448"/>
                <a:gd name="T50" fmla="*/ 2074844848 w 918"/>
                <a:gd name="T51" fmla="*/ 2128498145 h 1448"/>
                <a:gd name="T52" fmla="*/ 1978051003 w 918"/>
                <a:gd name="T53" fmla="*/ 2147483647 h 1448"/>
                <a:gd name="T54" fmla="*/ 1863885278 w 918"/>
                <a:gd name="T55" fmla="*/ 2147483647 h 1448"/>
                <a:gd name="T56" fmla="*/ 1734827344 w 918"/>
                <a:gd name="T57" fmla="*/ 2147483647 h 1448"/>
                <a:gd name="T58" fmla="*/ 1585915888 w 918"/>
                <a:gd name="T59" fmla="*/ 2147483647 h 1448"/>
                <a:gd name="T60" fmla="*/ 1424593864 w 918"/>
                <a:gd name="T61" fmla="*/ 2147483647 h 1448"/>
                <a:gd name="T62" fmla="*/ 1245898383 w 918"/>
                <a:gd name="T63" fmla="*/ 2147483647 h 1448"/>
                <a:gd name="T64" fmla="*/ 1059759162 w 918"/>
                <a:gd name="T65" fmla="*/ 2147483647 h 1448"/>
                <a:gd name="T66" fmla="*/ 960484070 w 918"/>
                <a:gd name="T67" fmla="*/ 2147483647 h 1448"/>
                <a:gd name="T68" fmla="*/ 955520001 w 918"/>
                <a:gd name="T69" fmla="*/ 2147483647 h 1448"/>
                <a:gd name="T70" fmla="*/ 950555931 w 918"/>
                <a:gd name="T71" fmla="*/ 2147483647 h 1448"/>
                <a:gd name="T72" fmla="*/ 218404985 w 918"/>
                <a:gd name="T73" fmla="*/ 2147483647 h 1448"/>
                <a:gd name="T74" fmla="*/ 4964071 w 918"/>
                <a:gd name="T75" fmla="*/ 2147483647 h 144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8"/>
                <a:gd name="T115" fmla="*/ 0 h 1448"/>
                <a:gd name="T116" fmla="*/ 918 w 918"/>
                <a:gd name="T117" fmla="*/ 1448 h 144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8" h="1448">
                  <a:moveTo>
                    <a:pt x="0" y="918"/>
                  </a:moveTo>
                  <a:lnTo>
                    <a:pt x="0" y="918"/>
                  </a:lnTo>
                  <a:lnTo>
                    <a:pt x="0" y="916"/>
                  </a:lnTo>
                  <a:lnTo>
                    <a:pt x="2" y="918"/>
                  </a:lnTo>
                  <a:lnTo>
                    <a:pt x="21" y="902"/>
                  </a:lnTo>
                  <a:lnTo>
                    <a:pt x="40" y="885"/>
                  </a:lnTo>
                  <a:lnTo>
                    <a:pt x="60" y="870"/>
                  </a:lnTo>
                  <a:lnTo>
                    <a:pt x="77" y="852"/>
                  </a:lnTo>
                  <a:lnTo>
                    <a:pt x="110" y="816"/>
                  </a:lnTo>
                  <a:lnTo>
                    <a:pt x="140" y="775"/>
                  </a:lnTo>
                  <a:lnTo>
                    <a:pt x="167" y="735"/>
                  </a:lnTo>
                  <a:lnTo>
                    <a:pt x="192" y="693"/>
                  </a:lnTo>
                  <a:lnTo>
                    <a:pt x="214" y="646"/>
                  </a:lnTo>
                  <a:lnTo>
                    <a:pt x="231" y="600"/>
                  </a:lnTo>
                  <a:lnTo>
                    <a:pt x="244" y="552"/>
                  </a:lnTo>
                  <a:lnTo>
                    <a:pt x="254" y="504"/>
                  </a:lnTo>
                  <a:lnTo>
                    <a:pt x="258" y="479"/>
                  </a:lnTo>
                  <a:lnTo>
                    <a:pt x="262" y="454"/>
                  </a:lnTo>
                  <a:lnTo>
                    <a:pt x="262" y="429"/>
                  </a:lnTo>
                  <a:lnTo>
                    <a:pt x="264" y="404"/>
                  </a:lnTo>
                  <a:lnTo>
                    <a:pt x="264" y="379"/>
                  </a:lnTo>
                  <a:lnTo>
                    <a:pt x="262" y="354"/>
                  </a:lnTo>
                  <a:lnTo>
                    <a:pt x="260" y="329"/>
                  </a:lnTo>
                  <a:lnTo>
                    <a:pt x="256" y="304"/>
                  </a:lnTo>
                  <a:lnTo>
                    <a:pt x="252" y="277"/>
                  </a:lnTo>
                  <a:lnTo>
                    <a:pt x="246" y="252"/>
                  </a:lnTo>
                  <a:lnTo>
                    <a:pt x="241" y="227"/>
                  </a:lnTo>
                  <a:lnTo>
                    <a:pt x="233" y="202"/>
                  </a:lnTo>
                  <a:lnTo>
                    <a:pt x="235" y="202"/>
                  </a:lnTo>
                  <a:lnTo>
                    <a:pt x="406" y="212"/>
                  </a:lnTo>
                  <a:lnTo>
                    <a:pt x="581" y="224"/>
                  </a:lnTo>
                  <a:lnTo>
                    <a:pt x="718" y="110"/>
                  </a:lnTo>
                  <a:lnTo>
                    <a:pt x="851" y="0"/>
                  </a:lnTo>
                  <a:lnTo>
                    <a:pt x="855" y="0"/>
                  </a:lnTo>
                  <a:lnTo>
                    <a:pt x="870" y="50"/>
                  </a:lnTo>
                  <a:lnTo>
                    <a:pt x="884" y="102"/>
                  </a:lnTo>
                  <a:lnTo>
                    <a:pt x="895" y="154"/>
                  </a:lnTo>
                  <a:lnTo>
                    <a:pt x="903" y="206"/>
                  </a:lnTo>
                  <a:lnTo>
                    <a:pt x="911" y="256"/>
                  </a:lnTo>
                  <a:lnTo>
                    <a:pt x="915" y="308"/>
                  </a:lnTo>
                  <a:lnTo>
                    <a:pt x="918" y="360"/>
                  </a:lnTo>
                  <a:lnTo>
                    <a:pt x="918" y="410"/>
                  </a:lnTo>
                  <a:lnTo>
                    <a:pt x="916" y="462"/>
                  </a:lnTo>
                  <a:lnTo>
                    <a:pt x="913" y="512"/>
                  </a:lnTo>
                  <a:lnTo>
                    <a:pt x="909" y="562"/>
                  </a:lnTo>
                  <a:lnTo>
                    <a:pt x="901" y="612"/>
                  </a:lnTo>
                  <a:lnTo>
                    <a:pt x="891" y="662"/>
                  </a:lnTo>
                  <a:lnTo>
                    <a:pt x="880" y="710"/>
                  </a:lnTo>
                  <a:lnTo>
                    <a:pt x="866" y="760"/>
                  </a:lnTo>
                  <a:lnTo>
                    <a:pt x="853" y="806"/>
                  </a:lnTo>
                  <a:lnTo>
                    <a:pt x="836" y="854"/>
                  </a:lnTo>
                  <a:lnTo>
                    <a:pt x="816" y="900"/>
                  </a:lnTo>
                  <a:lnTo>
                    <a:pt x="797" y="946"/>
                  </a:lnTo>
                  <a:lnTo>
                    <a:pt x="774" y="991"/>
                  </a:lnTo>
                  <a:lnTo>
                    <a:pt x="751" y="1035"/>
                  </a:lnTo>
                  <a:lnTo>
                    <a:pt x="726" y="1077"/>
                  </a:lnTo>
                  <a:lnTo>
                    <a:pt x="699" y="1119"/>
                  </a:lnTo>
                  <a:lnTo>
                    <a:pt x="670" y="1162"/>
                  </a:lnTo>
                  <a:lnTo>
                    <a:pt x="639" y="1200"/>
                  </a:lnTo>
                  <a:lnTo>
                    <a:pt x="608" y="1241"/>
                  </a:lnTo>
                  <a:lnTo>
                    <a:pt x="574" y="1277"/>
                  </a:lnTo>
                  <a:lnTo>
                    <a:pt x="539" y="1314"/>
                  </a:lnTo>
                  <a:lnTo>
                    <a:pt x="502" y="1348"/>
                  </a:lnTo>
                  <a:lnTo>
                    <a:pt x="466" y="1383"/>
                  </a:lnTo>
                  <a:lnTo>
                    <a:pt x="427" y="1416"/>
                  </a:lnTo>
                  <a:lnTo>
                    <a:pt x="385" y="1446"/>
                  </a:lnTo>
                  <a:lnTo>
                    <a:pt x="387" y="1448"/>
                  </a:lnTo>
                  <a:lnTo>
                    <a:pt x="385" y="1446"/>
                  </a:lnTo>
                  <a:lnTo>
                    <a:pt x="385" y="1448"/>
                  </a:lnTo>
                  <a:lnTo>
                    <a:pt x="383" y="1444"/>
                  </a:lnTo>
                  <a:lnTo>
                    <a:pt x="239" y="1352"/>
                  </a:lnTo>
                  <a:lnTo>
                    <a:pt x="88" y="1258"/>
                  </a:lnTo>
                  <a:lnTo>
                    <a:pt x="44" y="1087"/>
                  </a:lnTo>
                  <a:lnTo>
                    <a:pt x="2" y="921"/>
                  </a:lnTo>
                  <a:lnTo>
                    <a:pt x="0" y="918"/>
                  </a:lnTo>
                  <a:close/>
                </a:path>
              </a:pathLst>
            </a:custGeom>
            <a:grpFill/>
            <a:ln w="9525">
              <a:solidFill>
                <a:schemeClr val="tx1">
                  <a:lumMod val="20000"/>
                  <a:lumOff val="80000"/>
                </a:schemeClr>
              </a:solidFill>
              <a:round/>
              <a:headEnd/>
              <a:tailEnd/>
            </a:ln>
          </p:spPr>
          <p:txBody>
            <a:bodyPr/>
            <a:lstStyle>
              <a:lvl1pPr marL="177800"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a:p>
              <a:pPr eaLnBrk="1" hangingPunct="1"/>
              <a:endParaRPr lang="en-US" altLang="en-US" sz="1100" b="0">
                <a:latin typeface="Arial" panose="020B0604020202020204" pitchFamily="34" charset="0"/>
                <a:cs typeface="Arial" panose="020B0604020202020204" pitchFamily="34" charset="0"/>
              </a:endParaRPr>
            </a:p>
          </p:txBody>
        </p:sp>
        <p:sp>
          <p:nvSpPr>
            <p:cNvPr id="33" name="Rectangle 9"/>
            <p:cNvSpPr>
              <a:spLocks noChangeArrowheads="1"/>
            </p:cNvSpPr>
            <p:nvPr/>
          </p:nvSpPr>
          <p:spPr bwMode="auto">
            <a:xfrm>
              <a:off x="5618163" y="2235878"/>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34" name="Rectangle 10"/>
            <p:cNvSpPr>
              <a:spLocks noChangeArrowheads="1"/>
            </p:cNvSpPr>
            <p:nvPr/>
          </p:nvSpPr>
          <p:spPr bwMode="auto">
            <a:xfrm>
              <a:off x="3663951" y="2218415"/>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35" name="Rectangle 11"/>
            <p:cNvSpPr>
              <a:spLocks noChangeArrowheads="1"/>
            </p:cNvSpPr>
            <p:nvPr/>
          </p:nvSpPr>
          <p:spPr bwMode="auto">
            <a:xfrm>
              <a:off x="5994401" y="3905928"/>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36" name="Rectangle 12"/>
            <p:cNvSpPr>
              <a:spLocks noChangeArrowheads="1"/>
            </p:cNvSpPr>
            <p:nvPr/>
          </p:nvSpPr>
          <p:spPr bwMode="auto">
            <a:xfrm>
              <a:off x="4598989" y="4939390"/>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37" name="Rectangle 13"/>
            <p:cNvSpPr>
              <a:spLocks noChangeArrowheads="1"/>
            </p:cNvSpPr>
            <p:nvPr/>
          </p:nvSpPr>
          <p:spPr bwMode="auto">
            <a:xfrm>
              <a:off x="3182938" y="3888465"/>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grpSp>
      <p:grpSp>
        <p:nvGrpSpPr>
          <p:cNvPr id="38" name="Group 37"/>
          <p:cNvGrpSpPr/>
          <p:nvPr/>
        </p:nvGrpSpPr>
        <p:grpSpPr>
          <a:xfrm>
            <a:off x="6383326" y="3649351"/>
            <a:ext cx="2275945" cy="2276831"/>
            <a:chOff x="2760663" y="1504950"/>
            <a:chExt cx="4079875" cy="4081463"/>
          </a:xfrm>
          <a:solidFill>
            <a:schemeClr val="tx1">
              <a:lumMod val="60000"/>
              <a:lumOff val="40000"/>
            </a:schemeClr>
          </a:solidFill>
        </p:grpSpPr>
        <p:sp>
          <p:nvSpPr>
            <p:cNvPr id="39" name="Freeform 16"/>
            <p:cNvSpPr>
              <a:spLocks/>
            </p:cNvSpPr>
            <p:nvPr/>
          </p:nvSpPr>
          <p:spPr bwMode="auto">
            <a:xfrm>
              <a:off x="4800600" y="1504950"/>
              <a:ext cx="1766888" cy="1541463"/>
            </a:xfrm>
            <a:custGeom>
              <a:avLst/>
              <a:gdLst>
                <a:gd name="T0" fmla="*/ 0 w 1120"/>
                <a:gd name="T1" fmla="*/ 0 h 975"/>
                <a:gd name="T2" fmla="*/ 0 w 1120"/>
                <a:gd name="T3" fmla="*/ 0 h 975"/>
                <a:gd name="T4" fmla="*/ 0 w 1120"/>
                <a:gd name="T5" fmla="*/ 0 h 975"/>
                <a:gd name="T6" fmla="*/ 114483299 w 1120"/>
                <a:gd name="T7" fmla="*/ 0 h 975"/>
                <a:gd name="T8" fmla="*/ 223987762 w 1120"/>
                <a:gd name="T9" fmla="*/ 4999083 h 975"/>
                <a:gd name="T10" fmla="*/ 328514917 w 1120"/>
                <a:gd name="T11" fmla="*/ 14997252 h 975"/>
                <a:gd name="T12" fmla="*/ 438021007 w 1120"/>
                <a:gd name="T13" fmla="*/ 29994503 h 975"/>
                <a:gd name="T14" fmla="*/ 545037580 w 1120"/>
                <a:gd name="T15" fmla="*/ 49990831 h 975"/>
                <a:gd name="T16" fmla="*/ 649564736 w 1120"/>
                <a:gd name="T17" fmla="*/ 67487629 h 975"/>
                <a:gd name="T18" fmla="*/ 754091891 w 1120"/>
                <a:gd name="T19" fmla="*/ 92483039 h 975"/>
                <a:gd name="T20" fmla="*/ 861108662 w 1120"/>
                <a:gd name="T21" fmla="*/ 114977351 h 975"/>
                <a:gd name="T22" fmla="*/ 960658559 w 1120"/>
                <a:gd name="T23" fmla="*/ 149970923 h 975"/>
                <a:gd name="T24" fmla="*/ 1060208456 w 1120"/>
                <a:gd name="T25" fmla="*/ 182464955 h 975"/>
                <a:gd name="T26" fmla="*/ 1162247771 w 1120"/>
                <a:gd name="T27" fmla="*/ 217458577 h 975"/>
                <a:gd name="T28" fmla="*/ 1256820410 w 1120"/>
                <a:gd name="T29" fmla="*/ 259950773 h 975"/>
                <a:gd name="T30" fmla="*/ 1353882467 w 1120"/>
                <a:gd name="T31" fmla="*/ 302442969 h 975"/>
                <a:gd name="T32" fmla="*/ 1448455106 w 1120"/>
                <a:gd name="T33" fmla="*/ 347433124 h 975"/>
                <a:gd name="T34" fmla="*/ 1540538327 w 1120"/>
                <a:gd name="T35" fmla="*/ 394924402 h 975"/>
                <a:gd name="T36" fmla="*/ 1630133708 w 1120"/>
                <a:gd name="T37" fmla="*/ 447414860 h 975"/>
                <a:gd name="T38" fmla="*/ 1717240065 w 1120"/>
                <a:gd name="T39" fmla="*/ 499905219 h 975"/>
                <a:gd name="T40" fmla="*/ 1806835446 w 1120"/>
                <a:gd name="T41" fmla="*/ 557393079 h 975"/>
                <a:gd name="T42" fmla="*/ 1888964150 w 1120"/>
                <a:gd name="T43" fmla="*/ 619881602 h 975"/>
                <a:gd name="T44" fmla="*/ 1976070113 w 1120"/>
                <a:gd name="T45" fmla="*/ 682370125 h 975"/>
                <a:gd name="T46" fmla="*/ 2050733719 w 1120"/>
                <a:gd name="T47" fmla="*/ 749856148 h 975"/>
                <a:gd name="T48" fmla="*/ 2132862424 w 1120"/>
                <a:gd name="T49" fmla="*/ 817343753 h 975"/>
                <a:gd name="T50" fmla="*/ 2147483647 w 1120"/>
                <a:gd name="T51" fmla="*/ 884831555 h 975"/>
                <a:gd name="T52" fmla="*/ 2147483647 w 1120"/>
                <a:gd name="T53" fmla="*/ 954817120 h 975"/>
                <a:gd name="T54" fmla="*/ 2147483647 w 1120"/>
                <a:gd name="T55" fmla="*/ 1032302888 h 975"/>
                <a:gd name="T56" fmla="*/ 2147483647 w 1120"/>
                <a:gd name="T57" fmla="*/ 1109788657 h 975"/>
                <a:gd name="T58" fmla="*/ 2147483647 w 1120"/>
                <a:gd name="T59" fmla="*/ 1189772385 h 975"/>
                <a:gd name="T60" fmla="*/ 2147483647 w 1120"/>
                <a:gd name="T61" fmla="*/ 1272257235 h 975"/>
                <a:gd name="T62" fmla="*/ 2147483647 w 1120"/>
                <a:gd name="T63" fmla="*/ 1354742086 h 975"/>
                <a:gd name="T64" fmla="*/ 2147483647 w 1120"/>
                <a:gd name="T65" fmla="*/ 1439724896 h 975"/>
                <a:gd name="T66" fmla="*/ 2147483647 w 1120"/>
                <a:gd name="T67" fmla="*/ 1527208828 h 975"/>
                <a:gd name="T68" fmla="*/ 2147483647 w 1120"/>
                <a:gd name="T69" fmla="*/ 1617190720 h 975"/>
                <a:gd name="T70" fmla="*/ 2147483647 w 1120"/>
                <a:gd name="T71" fmla="*/ 1617190720 h 975"/>
                <a:gd name="T72" fmla="*/ 2147483647 w 1120"/>
                <a:gd name="T73" fmla="*/ 2147483647 h 975"/>
                <a:gd name="T74" fmla="*/ 1366326401 w 1120"/>
                <a:gd name="T75" fmla="*/ 2147483647 h 975"/>
                <a:gd name="T76" fmla="*/ 1376280918 w 1120"/>
                <a:gd name="T77" fmla="*/ 2147483647 h 975"/>
                <a:gd name="T78" fmla="*/ 1319040082 w 1120"/>
                <a:gd name="T79" fmla="*/ 2147483647 h 975"/>
                <a:gd name="T80" fmla="*/ 1261797668 w 1120"/>
                <a:gd name="T81" fmla="*/ 2147483647 h 975"/>
                <a:gd name="T82" fmla="*/ 1194602316 w 1120"/>
                <a:gd name="T83" fmla="*/ 2147483647 h 975"/>
                <a:gd name="T84" fmla="*/ 1127405386 w 1120"/>
                <a:gd name="T85" fmla="*/ 2107097973 h 975"/>
                <a:gd name="T86" fmla="*/ 1050253940 w 1120"/>
                <a:gd name="T87" fmla="*/ 2034611286 h 975"/>
                <a:gd name="T88" fmla="*/ 975591911 w 1120"/>
                <a:gd name="T89" fmla="*/ 1972122763 h 975"/>
                <a:gd name="T90" fmla="*/ 893463206 w 1120"/>
                <a:gd name="T91" fmla="*/ 1909635821 h 975"/>
                <a:gd name="T92" fmla="*/ 801378211 w 1120"/>
                <a:gd name="T93" fmla="*/ 1852146380 h 975"/>
                <a:gd name="T94" fmla="*/ 716761666 w 1120"/>
                <a:gd name="T95" fmla="*/ 1804655103 h 975"/>
                <a:gd name="T96" fmla="*/ 619699609 w 1120"/>
                <a:gd name="T97" fmla="*/ 1762162907 h 975"/>
                <a:gd name="T98" fmla="*/ 525126970 w 1120"/>
                <a:gd name="T99" fmla="*/ 1722171833 h 975"/>
                <a:gd name="T100" fmla="*/ 425577073 w 1120"/>
                <a:gd name="T101" fmla="*/ 1689677802 h 975"/>
                <a:gd name="T102" fmla="*/ 318560401 w 1120"/>
                <a:gd name="T103" fmla="*/ 1664682392 h 975"/>
                <a:gd name="T104" fmla="*/ 214033245 w 1120"/>
                <a:gd name="T105" fmla="*/ 1647185211 h 975"/>
                <a:gd name="T106" fmla="*/ 109504463 w 1120"/>
                <a:gd name="T107" fmla="*/ 1637187047 h 975"/>
                <a:gd name="T108" fmla="*/ 0 w 1120"/>
                <a:gd name="T109" fmla="*/ 1632187965 h 975"/>
                <a:gd name="T110" fmla="*/ 0 w 1120"/>
                <a:gd name="T111" fmla="*/ 1632187965 h 975"/>
                <a:gd name="T112" fmla="*/ 0 w 1120"/>
                <a:gd name="T113" fmla="*/ 1632187965 h 975"/>
                <a:gd name="T114" fmla="*/ 318560401 w 1120"/>
                <a:gd name="T115" fmla="*/ 817343753 h 975"/>
                <a:gd name="T116" fmla="*/ 0 w 1120"/>
                <a:gd name="T117" fmla="*/ 0 h 97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20"/>
                <a:gd name="T178" fmla="*/ 0 h 975"/>
                <a:gd name="T179" fmla="*/ 1120 w 1120"/>
                <a:gd name="T180" fmla="*/ 975 h 97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20" h="975">
                  <a:moveTo>
                    <a:pt x="0" y="0"/>
                  </a:moveTo>
                  <a:lnTo>
                    <a:pt x="0" y="0"/>
                  </a:lnTo>
                  <a:lnTo>
                    <a:pt x="46" y="0"/>
                  </a:lnTo>
                  <a:lnTo>
                    <a:pt x="90" y="2"/>
                  </a:lnTo>
                  <a:lnTo>
                    <a:pt x="132" y="6"/>
                  </a:lnTo>
                  <a:lnTo>
                    <a:pt x="176" y="12"/>
                  </a:lnTo>
                  <a:lnTo>
                    <a:pt x="219" y="20"/>
                  </a:lnTo>
                  <a:lnTo>
                    <a:pt x="261" y="27"/>
                  </a:lnTo>
                  <a:lnTo>
                    <a:pt x="303" y="37"/>
                  </a:lnTo>
                  <a:lnTo>
                    <a:pt x="346" y="46"/>
                  </a:lnTo>
                  <a:lnTo>
                    <a:pt x="386" y="60"/>
                  </a:lnTo>
                  <a:lnTo>
                    <a:pt x="426" y="73"/>
                  </a:lnTo>
                  <a:lnTo>
                    <a:pt x="467" y="87"/>
                  </a:lnTo>
                  <a:lnTo>
                    <a:pt x="505" y="104"/>
                  </a:lnTo>
                  <a:lnTo>
                    <a:pt x="544" y="121"/>
                  </a:lnTo>
                  <a:lnTo>
                    <a:pt x="582" y="139"/>
                  </a:lnTo>
                  <a:lnTo>
                    <a:pt x="619" y="158"/>
                  </a:lnTo>
                  <a:lnTo>
                    <a:pt x="655" y="179"/>
                  </a:lnTo>
                  <a:lnTo>
                    <a:pt x="690" y="200"/>
                  </a:lnTo>
                  <a:lnTo>
                    <a:pt x="726" y="223"/>
                  </a:lnTo>
                  <a:lnTo>
                    <a:pt x="759" y="248"/>
                  </a:lnTo>
                  <a:lnTo>
                    <a:pt x="794" y="273"/>
                  </a:lnTo>
                  <a:lnTo>
                    <a:pt x="824" y="300"/>
                  </a:lnTo>
                  <a:lnTo>
                    <a:pt x="857" y="327"/>
                  </a:lnTo>
                  <a:lnTo>
                    <a:pt x="888" y="354"/>
                  </a:lnTo>
                  <a:lnTo>
                    <a:pt x="917" y="382"/>
                  </a:lnTo>
                  <a:lnTo>
                    <a:pt x="945" y="413"/>
                  </a:lnTo>
                  <a:lnTo>
                    <a:pt x="974" y="444"/>
                  </a:lnTo>
                  <a:lnTo>
                    <a:pt x="1001" y="476"/>
                  </a:lnTo>
                  <a:lnTo>
                    <a:pt x="1026" y="509"/>
                  </a:lnTo>
                  <a:lnTo>
                    <a:pt x="1051" y="542"/>
                  </a:lnTo>
                  <a:lnTo>
                    <a:pt x="1076" y="576"/>
                  </a:lnTo>
                  <a:lnTo>
                    <a:pt x="1097" y="611"/>
                  </a:lnTo>
                  <a:lnTo>
                    <a:pt x="1120" y="647"/>
                  </a:lnTo>
                  <a:lnTo>
                    <a:pt x="1118" y="647"/>
                  </a:lnTo>
                  <a:lnTo>
                    <a:pt x="899" y="923"/>
                  </a:lnTo>
                  <a:lnTo>
                    <a:pt x="549" y="975"/>
                  </a:lnTo>
                  <a:lnTo>
                    <a:pt x="553" y="973"/>
                  </a:lnTo>
                  <a:lnTo>
                    <a:pt x="530" y="937"/>
                  </a:lnTo>
                  <a:lnTo>
                    <a:pt x="507" y="904"/>
                  </a:lnTo>
                  <a:lnTo>
                    <a:pt x="480" y="874"/>
                  </a:lnTo>
                  <a:lnTo>
                    <a:pt x="453" y="843"/>
                  </a:lnTo>
                  <a:lnTo>
                    <a:pt x="422" y="814"/>
                  </a:lnTo>
                  <a:lnTo>
                    <a:pt x="392" y="789"/>
                  </a:lnTo>
                  <a:lnTo>
                    <a:pt x="359" y="764"/>
                  </a:lnTo>
                  <a:lnTo>
                    <a:pt x="322" y="741"/>
                  </a:lnTo>
                  <a:lnTo>
                    <a:pt x="288" y="722"/>
                  </a:lnTo>
                  <a:lnTo>
                    <a:pt x="249" y="705"/>
                  </a:lnTo>
                  <a:lnTo>
                    <a:pt x="211" y="689"/>
                  </a:lnTo>
                  <a:lnTo>
                    <a:pt x="171" y="676"/>
                  </a:lnTo>
                  <a:lnTo>
                    <a:pt x="128" y="666"/>
                  </a:lnTo>
                  <a:lnTo>
                    <a:pt x="86" y="659"/>
                  </a:lnTo>
                  <a:lnTo>
                    <a:pt x="44" y="655"/>
                  </a:lnTo>
                  <a:lnTo>
                    <a:pt x="0" y="653"/>
                  </a:lnTo>
                  <a:lnTo>
                    <a:pt x="128" y="327"/>
                  </a:lnTo>
                  <a:lnTo>
                    <a:pt x="0" y="0"/>
                  </a:lnTo>
                </a:path>
              </a:pathLst>
            </a:custGeom>
            <a:grpFill/>
            <a:ln w="317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40" name="Freeform 18"/>
            <p:cNvSpPr>
              <a:spLocks/>
            </p:cNvSpPr>
            <p:nvPr/>
          </p:nvSpPr>
          <p:spPr bwMode="auto">
            <a:xfrm>
              <a:off x="5670550" y="2527300"/>
              <a:ext cx="1169988" cy="2041525"/>
            </a:xfrm>
            <a:custGeom>
              <a:avLst/>
              <a:gdLst>
                <a:gd name="T0" fmla="*/ 1414709368 w 742"/>
                <a:gd name="T1" fmla="*/ 0 h 1292"/>
                <a:gd name="T2" fmla="*/ 1464435418 w 742"/>
                <a:gd name="T3" fmla="*/ 92382156 h 1292"/>
                <a:gd name="T4" fmla="*/ 1553942624 w 742"/>
                <a:gd name="T5" fmla="*/ 274648313 h 1292"/>
                <a:gd name="T6" fmla="*/ 1635991553 w 742"/>
                <a:gd name="T7" fmla="*/ 464405876 h 1292"/>
                <a:gd name="T8" fmla="*/ 1703121170 w 742"/>
                <a:gd name="T9" fmla="*/ 661653144 h 1292"/>
                <a:gd name="T10" fmla="*/ 1760307074 w 742"/>
                <a:gd name="T11" fmla="*/ 866390411 h 1292"/>
                <a:gd name="T12" fmla="*/ 1802573271 w 742"/>
                <a:gd name="T13" fmla="*/ 1073625662 h 1292"/>
                <a:gd name="T14" fmla="*/ 1832409532 w 742"/>
                <a:gd name="T15" fmla="*/ 1283357513 h 1292"/>
                <a:gd name="T16" fmla="*/ 1844841044 w 742"/>
                <a:gd name="T17" fmla="*/ 1500579168 h 1292"/>
                <a:gd name="T18" fmla="*/ 1844841044 w 742"/>
                <a:gd name="T19" fmla="*/ 1720297818 h 1292"/>
                <a:gd name="T20" fmla="*/ 1832409532 w 742"/>
                <a:gd name="T21" fmla="*/ 1935022871 h 1292"/>
                <a:gd name="T22" fmla="*/ 1802573271 w 742"/>
                <a:gd name="T23" fmla="*/ 2147483647 h 1292"/>
                <a:gd name="T24" fmla="*/ 1760307074 w 742"/>
                <a:gd name="T25" fmla="*/ 2147483647 h 1292"/>
                <a:gd name="T26" fmla="*/ 1703121170 w 742"/>
                <a:gd name="T27" fmla="*/ 2147483647 h 1292"/>
                <a:gd name="T28" fmla="*/ 1635991553 w 742"/>
                <a:gd name="T29" fmla="*/ 2147483647 h 1292"/>
                <a:gd name="T30" fmla="*/ 1553942624 w 742"/>
                <a:gd name="T31" fmla="*/ 2147483647 h 1292"/>
                <a:gd name="T32" fmla="*/ 1464435418 w 742"/>
                <a:gd name="T33" fmla="*/ 2147483647 h 1292"/>
                <a:gd name="T34" fmla="*/ 1414709368 w 742"/>
                <a:gd name="T35" fmla="*/ 2147483647 h 1292"/>
                <a:gd name="T36" fmla="*/ 1414709368 w 742"/>
                <a:gd name="T37" fmla="*/ 2147483647 h 1292"/>
                <a:gd name="T38" fmla="*/ 1409737709 w 742"/>
                <a:gd name="T39" fmla="*/ 2147483647 h 1292"/>
                <a:gd name="T40" fmla="*/ 549473370 w 742"/>
                <a:gd name="T41" fmla="*/ 2147483647 h 1292"/>
                <a:gd name="T42" fmla="*/ 4973237 w 742"/>
                <a:gd name="T43" fmla="*/ 2147483647 h 1292"/>
                <a:gd name="T44" fmla="*/ 4973237 w 742"/>
                <a:gd name="T45" fmla="*/ 2147483647 h 1292"/>
                <a:gd name="T46" fmla="*/ 0 w 742"/>
                <a:gd name="T47" fmla="*/ 2147483647 h 1292"/>
                <a:gd name="T48" fmla="*/ 52212693 w 742"/>
                <a:gd name="T49" fmla="*/ 2147483647 h 1292"/>
                <a:gd name="T50" fmla="*/ 134260070 w 742"/>
                <a:gd name="T51" fmla="*/ 2127276937 h 1292"/>
                <a:gd name="T52" fmla="*/ 186472738 w 742"/>
                <a:gd name="T53" fmla="*/ 1927533069 h 1292"/>
                <a:gd name="T54" fmla="*/ 216309049 w 742"/>
                <a:gd name="T55" fmla="*/ 1720297818 h 1292"/>
                <a:gd name="T56" fmla="*/ 216309049 w 742"/>
                <a:gd name="T57" fmla="*/ 1505572369 h 1292"/>
                <a:gd name="T58" fmla="*/ 186472738 w 742"/>
                <a:gd name="T59" fmla="*/ 1293343917 h 1292"/>
                <a:gd name="T60" fmla="*/ 134260070 w 742"/>
                <a:gd name="T61" fmla="*/ 1093600049 h 1292"/>
                <a:gd name="T62" fmla="*/ 52212693 w 742"/>
                <a:gd name="T63" fmla="*/ 906339185 h 1292"/>
                <a:gd name="T64" fmla="*/ 865236195 w 742"/>
                <a:gd name="T65" fmla="*/ 689117333 h 1292"/>
                <a:gd name="T66" fmla="*/ 1414709368 w 742"/>
                <a:gd name="T67" fmla="*/ 0 h 129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42"/>
                <a:gd name="T103" fmla="*/ 0 h 1292"/>
                <a:gd name="T104" fmla="*/ 742 w 742"/>
                <a:gd name="T105" fmla="*/ 1292 h 129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42" h="1292">
                  <a:moveTo>
                    <a:pt x="569" y="0"/>
                  </a:moveTo>
                  <a:lnTo>
                    <a:pt x="569" y="0"/>
                  </a:lnTo>
                  <a:lnTo>
                    <a:pt x="589" y="37"/>
                  </a:lnTo>
                  <a:lnTo>
                    <a:pt x="608" y="73"/>
                  </a:lnTo>
                  <a:lnTo>
                    <a:pt x="625" y="110"/>
                  </a:lnTo>
                  <a:lnTo>
                    <a:pt x="642" y="148"/>
                  </a:lnTo>
                  <a:lnTo>
                    <a:pt x="658" y="186"/>
                  </a:lnTo>
                  <a:lnTo>
                    <a:pt x="671" y="227"/>
                  </a:lnTo>
                  <a:lnTo>
                    <a:pt x="685" y="265"/>
                  </a:lnTo>
                  <a:lnTo>
                    <a:pt x="696" y="305"/>
                  </a:lnTo>
                  <a:lnTo>
                    <a:pt x="708" y="347"/>
                  </a:lnTo>
                  <a:lnTo>
                    <a:pt x="717" y="388"/>
                  </a:lnTo>
                  <a:lnTo>
                    <a:pt x="725" y="430"/>
                  </a:lnTo>
                  <a:lnTo>
                    <a:pt x="731" y="472"/>
                  </a:lnTo>
                  <a:lnTo>
                    <a:pt x="737" y="514"/>
                  </a:lnTo>
                  <a:lnTo>
                    <a:pt x="740" y="559"/>
                  </a:lnTo>
                  <a:lnTo>
                    <a:pt x="742" y="601"/>
                  </a:lnTo>
                  <a:lnTo>
                    <a:pt x="742" y="645"/>
                  </a:lnTo>
                  <a:lnTo>
                    <a:pt x="742" y="689"/>
                  </a:lnTo>
                  <a:lnTo>
                    <a:pt x="740" y="733"/>
                  </a:lnTo>
                  <a:lnTo>
                    <a:pt x="737" y="775"/>
                  </a:lnTo>
                  <a:lnTo>
                    <a:pt x="731" y="820"/>
                  </a:lnTo>
                  <a:lnTo>
                    <a:pt x="725" y="862"/>
                  </a:lnTo>
                  <a:lnTo>
                    <a:pt x="717" y="902"/>
                  </a:lnTo>
                  <a:lnTo>
                    <a:pt x="708" y="944"/>
                  </a:lnTo>
                  <a:lnTo>
                    <a:pt x="696" y="985"/>
                  </a:lnTo>
                  <a:lnTo>
                    <a:pt x="685" y="1025"/>
                  </a:lnTo>
                  <a:lnTo>
                    <a:pt x="673" y="1065"/>
                  </a:lnTo>
                  <a:lnTo>
                    <a:pt x="658" y="1104"/>
                  </a:lnTo>
                  <a:lnTo>
                    <a:pt x="642" y="1142"/>
                  </a:lnTo>
                  <a:lnTo>
                    <a:pt x="625" y="1180"/>
                  </a:lnTo>
                  <a:lnTo>
                    <a:pt x="608" y="1219"/>
                  </a:lnTo>
                  <a:lnTo>
                    <a:pt x="589" y="1255"/>
                  </a:lnTo>
                  <a:lnTo>
                    <a:pt x="569" y="1290"/>
                  </a:lnTo>
                  <a:lnTo>
                    <a:pt x="569" y="1292"/>
                  </a:lnTo>
                  <a:lnTo>
                    <a:pt x="567" y="1290"/>
                  </a:lnTo>
                  <a:lnTo>
                    <a:pt x="394" y="1265"/>
                  </a:lnTo>
                  <a:lnTo>
                    <a:pt x="221" y="1240"/>
                  </a:lnTo>
                  <a:lnTo>
                    <a:pt x="112" y="1102"/>
                  </a:lnTo>
                  <a:lnTo>
                    <a:pt x="2" y="965"/>
                  </a:lnTo>
                  <a:lnTo>
                    <a:pt x="0" y="963"/>
                  </a:lnTo>
                  <a:lnTo>
                    <a:pt x="2" y="963"/>
                  </a:lnTo>
                  <a:lnTo>
                    <a:pt x="21" y="929"/>
                  </a:lnTo>
                  <a:lnTo>
                    <a:pt x="39" y="891"/>
                  </a:lnTo>
                  <a:lnTo>
                    <a:pt x="54" y="852"/>
                  </a:lnTo>
                  <a:lnTo>
                    <a:pt x="66" y="814"/>
                  </a:lnTo>
                  <a:lnTo>
                    <a:pt x="75" y="772"/>
                  </a:lnTo>
                  <a:lnTo>
                    <a:pt x="83" y="731"/>
                  </a:lnTo>
                  <a:lnTo>
                    <a:pt x="87" y="689"/>
                  </a:lnTo>
                  <a:lnTo>
                    <a:pt x="89" y="645"/>
                  </a:lnTo>
                  <a:lnTo>
                    <a:pt x="87" y="603"/>
                  </a:lnTo>
                  <a:lnTo>
                    <a:pt x="83" y="560"/>
                  </a:lnTo>
                  <a:lnTo>
                    <a:pt x="75" y="518"/>
                  </a:lnTo>
                  <a:lnTo>
                    <a:pt x="66" y="478"/>
                  </a:lnTo>
                  <a:lnTo>
                    <a:pt x="54" y="438"/>
                  </a:lnTo>
                  <a:lnTo>
                    <a:pt x="39" y="399"/>
                  </a:lnTo>
                  <a:lnTo>
                    <a:pt x="21" y="363"/>
                  </a:lnTo>
                  <a:lnTo>
                    <a:pt x="2" y="326"/>
                  </a:lnTo>
                  <a:lnTo>
                    <a:pt x="348" y="276"/>
                  </a:lnTo>
                  <a:lnTo>
                    <a:pt x="567" y="0"/>
                  </a:lnTo>
                  <a:lnTo>
                    <a:pt x="569" y="0"/>
                  </a:lnTo>
                </a:path>
              </a:pathLst>
            </a:custGeom>
            <a:grpFill/>
            <a:ln w="317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41" name="Freeform 20"/>
            <p:cNvSpPr>
              <a:spLocks/>
            </p:cNvSpPr>
            <p:nvPr/>
          </p:nvSpPr>
          <p:spPr bwMode="auto">
            <a:xfrm>
              <a:off x="2760663" y="2527300"/>
              <a:ext cx="1169987" cy="2041525"/>
            </a:xfrm>
            <a:custGeom>
              <a:avLst/>
              <a:gdLst>
                <a:gd name="T0" fmla="*/ 430131112 w 742"/>
                <a:gd name="T1" fmla="*/ 2147483647 h 1292"/>
                <a:gd name="T2" fmla="*/ 430131112 w 742"/>
                <a:gd name="T3" fmla="*/ 2147483647 h 1292"/>
                <a:gd name="T4" fmla="*/ 425157880 w 742"/>
                <a:gd name="T5" fmla="*/ 2147483647 h 1292"/>
                <a:gd name="T6" fmla="*/ 372945158 w 742"/>
                <a:gd name="T7" fmla="*/ 2147483647 h 1292"/>
                <a:gd name="T8" fmla="*/ 323219150 w 742"/>
                <a:gd name="T9" fmla="*/ 2147483647 h 1292"/>
                <a:gd name="T10" fmla="*/ 275979758 w 742"/>
                <a:gd name="T11" fmla="*/ 2147483647 h 1292"/>
                <a:gd name="T12" fmla="*/ 233712021 w 742"/>
                <a:gd name="T13" fmla="*/ 2147483647 h 1292"/>
                <a:gd name="T14" fmla="*/ 193932426 w 742"/>
                <a:gd name="T15" fmla="*/ 2147483647 h 1292"/>
                <a:gd name="T16" fmla="*/ 161609575 w 742"/>
                <a:gd name="T17" fmla="*/ 2147483647 h 1292"/>
                <a:gd name="T18" fmla="*/ 129288301 w 742"/>
                <a:gd name="T19" fmla="*/ 2147483647 h 1292"/>
                <a:gd name="T20" fmla="*/ 99452041 w 742"/>
                <a:gd name="T21" fmla="*/ 2147483647 h 1292"/>
                <a:gd name="T22" fmla="*/ 74589037 w 742"/>
                <a:gd name="T23" fmla="*/ 2147483647 h 1292"/>
                <a:gd name="T24" fmla="*/ 52212648 w 742"/>
                <a:gd name="T25" fmla="*/ 2147483647 h 1292"/>
                <a:gd name="T26" fmla="*/ 37294518 w 742"/>
                <a:gd name="T27" fmla="*/ 2107302550 h 1292"/>
                <a:gd name="T28" fmla="*/ 22376394 w 742"/>
                <a:gd name="T29" fmla="*/ 2002435834 h 1292"/>
                <a:gd name="T30" fmla="*/ 7458274 w 742"/>
                <a:gd name="T31" fmla="*/ 1897570698 h 1292"/>
                <a:gd name="T32" fmla="*/ 4973233 w 742"/>
                <a:gd name="T33" fmla="*/ 1792705562 h 1292"/>
                <a:gd name="T34" fmla="*/ 0 w 742"/>
                <a:gd name="T35" fmla="*/ 1692833628 h 1292"/>
                <a:gd name="T36" fmla="*/ 0 w 742"/>
                <a:gd name="T37" fmla="*/ 1585469917 h 1292"/>
                <a:gd name="T38" fmla="*/ 4973233 w 742"/>
                <a:gd name="T39" fmla="*/ 1480604781 h 1292"/>
                <a:gd name="T40" fmla="*/ 7458274 w 742"/>
                <a:gd name="T41" fmla="*/ 1375738065 h 1292"/>
                <a:gd name="T42" fmla="*/ 17404740 w 742"/>
                <a:gd name="T43" fmla="*/ 1275866131 h 1292"/>
                <a:gd name="T44" fmla="*/ 27349632 w 742"/>
                <a:gd name="T45" fmla="*/ 1168504394 h 1292"/>
                <a:gd name="T46" fmla="*/ 47239405 w 742"/>
                <a:gd name="T47" fmla="*/ 1068632460 h 1292"/>
                <a:gd name="T48" fmla="*/ 67130766 w 742"/>
                <a:gd name="T49" fmla="*/ 968760526 h 1292"/>
                <a:gd name="T50" fmla="*/ 84533923 w 742"/>
                <a:gd name="T51" fmla="*/ 866390411 h 1292"/>
                <a:gd name="T52" fmla="*/ 114370183 w 742"/>
                <a:gd name="T53" fmla="*/ 766518279 h 1292"/>
                <a:gd name="T54" fmla="*/ 141719803 w 742"/>
                <a:gd name="T55" fmla="*/ 666646345 h 1292"/>
                <a:gd name="T56" fmla="*/ 171554461 w 742"/>
                <a:gd name="T57" fmla="*/ 566774411 h 1292"/>
                <a:gd name="T58" fmla="*/ 208849017 w 742"/>
                <a:gd name="T59" fmla="*/ 469399078 h 1292"/>
                <a:gd name="T60" fmla="*/ 248630138 w 742"/>
                <a:gd name="T61" fmla="*/ 374520247 h 1292"/>
                <a:gd name="T62" fmla="*/ 285924644 w 742"/>
                <a:gd name="T63" fmla="*/ 277144913 h 1292"/>
                <a:gd name="T64" fmla="*/ 333164036 w 742"/>
                <a:gd name="T65" fmla="*/ 182266132 h 1292"/>
                <a:gd name="T66" fmla="*/ 380405005 w 742"/>
                <a:gd name="T67" fmla="*/ 92382156 h 1292"/>
                <a:gd name="T68" fmla="*/ 430131112 w 742"/>
                <a:gd name="T69" fmla="*/ 0 h 1292"/>
                <a:gd name="T70" fmla="*/ 435102767 w 742"/>
                <a:gd name="T71" fmla="*/ 0 h 1292"/>
                <a:gd name="T72" fmla="*/ 1300338025 w 742"/>
                <a:gd name="T73" fmla="*/ 129834354 h 1292"/>
                <a:gd name="T74" fmla="*/ 1844837891 w 742"/>
                <a:gd name="T75" fmla="*/ 818951637 h 1292"/>
                <a:gd name="T76" fmla="*/ 1839864659 w 742"/>
                <a:gd name="T77" fmla="*/ 813958436 h 1292"/>
                <a:gd name="T78" fmla="*/ 1792625267 w 742"/>
                <a:gd name="T79" fmla="*/ 906339185 h 1292"/>
                <a:gd name="T80" fmla="*/ 1747872490 w 742"/>
                <a:gd name="T81" fmla="*/ 996224715 h 1292"/>
                <a:gd name="T82" fmla="*/ 1710577984 w 742"/>
                <a:gd name="T83" fmla="*/ 1093600049 h 1292"/>
                <a:gd name="T84" fmla="*/ 1680741749 w 742"/>
                <a:gd name="T85" fmla="*/ 1193471983 h 1292"/>
                <a:gd name="T86" fmla="*/ 1658365361 w 742"/>
                <a:gd name="T87" fmla="*/ 1293343917 h 1292"/>
                <a:gd name="T88" fmla="*/ 1638473617 w 742"/>
                <a:gd name="T89" fmla="*/ 1395712452 h 1292"/>
                <a:gd name="T90" fmla="*/ 1628528731 w 742"/>
                <a:gd name="T91" fmla="*/ 1495585966 h 1292"/>
                <a:gd name="T92" fmla="*/ 1623557076 w 742"/>
                <a:gd name="T93" fmla="*/ 1600451102 h 1292"/>
                <a:gd name="T94" fmla="*/ 1628528731 w 742"/>
                <a:gd name="T95" fmla="*/ 1700323431 h 1292"/>
                <a:gd name="T96" fmla="*/ 1633501963 w 742"/>
                <a:gd name="T97" fmla="*/ 1807685167 h 1292"/>
                <a:gd name="T98" fmla="*/ 1653391735 w 742"/>
                <a:gd name="T99" fmla="*/ 1907557102 h 1292"/>
                <a:gd name="T100" fmla="*/ 1673283478 w 742"/>
                <a:gd name="T101" fmla="*/ 2007430616 h 1292"/>
                <a:gd name="T102" fmla="*/ 1705604753 w 742"/>
                <a:gd name="T103" fmla="*/ 2112295752 h 1292"/>
                <a:gd name="T104" fmla="*/ 1737927604 w 742"/>
                <a:gd name="T105" fmla="*/ 2147483647 h 1292"/>
                <a:gd name="T106" fmla="*/ 1787653612 w 742"/>
                <a:gd name="T107" fmla="*/ 2147483647 h 1292"/>
                <a:gd name="T108" fmla="*/ 1834893004 w 742"/>
                <a:gd name="T109" fmla="*/ 2147483647 h 1292"/>
                <a:gd name="T110" fmla="*/ 1834893004 w 742"/>
                <a:gd name="T111" fmla="*/ 2147483647 h 1292"/>
                <a:gd name="T112" fmla="*/ 1834893004 w 742"/>
                <a:gd name="T113" fmla="*/ 2147483647 h 1292"/>
                <a:gd name="T114" fmla="*/ 974630781 w 742"/>
                <a:gd name="T115" fmla="*/ 2147483647 h 1292"/>
                <a:gd name="T116" fmla="*/ 430131112 w 742"/>
                <a:gd name="T117" fmla="*/ 2147483647 h 129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42"/>
                <a:gd name="T178" fmla="*/ 0 h 1292"/>
                <a:gd name="T179" fmla="*/ 742 w 742"/>
                <a:gd name="T180" fmla="*/ 1292 h 129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42" h="1292">
                  <a:moveTo>
                    <a:pt x="173" y="1292"/>
                  </a:moveTo>
                  <a:lnTo>
                    <a:pt x="173" y="1290"/>
                  </a:lnTo>
                  <a:lnTo>
                    <a:pt x="171" y="1290"/>
                  </a:lnTo>
                  <a:lnTo>
                    <a:pt x="150" y="1251"/>
                  </a:lnTo>
                  <a:lnTo>
                    <a:pt x="130" y="1211"/>
                  </a:lnTo>
                  <a:lnTo>
                    <a:pt x="111" y="1173"/>
                  </a:lnTo>
                  <a:lnTo>
                    <a:pt x="94" y="1132"/>
                  </a:lnTo>
                  <a:lnTo>
                    <a:pt x="78" y="1092"/>
                  </a:lnTo>
                  <a:lnTo>
                    <a:pt x="65" y="1052"/>
                  </a:lnTo>
                  <a:lnTo>
                    <a:pt x="52" y="1010"/>
                  </a:lnTo>
                  <a:lnTo>
                    <a:pt x="40" y="969"/>
                  </a:lnTo>
                  <a:lnTo>
                    <a:pt x="30" y="927"/>
                  </a:lnTo>
                  <a:lnTo>
                    <a:pt x="21" y="887"/>
                  </a:lnTo>
                  <a:lnTo>
                    <a:pt x="15" y="844"/>
                  </a:lnTo>
                  <a:lnTo>
                    <a:pt x="9" y="802"/>
                  </a:lnTo>
                  <a:lnTo>
                    <a:pt x="3" y="760"/>
                  </a:lnTo>
                  <a:lnTo>
                    <a:pt x="2" y="718"/>
                  </a:lnTo>
                  <a:lnTo>
                    <a:pt x="0" y="678"/>
                  </a:lnTo>
                  <a:lnTo>
                    <a:pt x="0" y="635"/>
                  </a:lnTo>
                  <a:lnTo>
                    <a:pt x="2" y="593"/>
                  </a:lnTo>
                  <a:lnTo>
                    <a:pt x="3" y="551"/>
                  </a:lnTo>
                  <a:lnTo>
                    <a:pt x="7" y="511"/>
                  </a:lnTo>
                  <a:lnTo>
                    <a:pt x="11" y="468"/>
                  </a:lnTo>
                  <a:lnTo>
                    <a:pt x="19" y="428"/>
                  </a:lnTo>
                  <a:lnTo>
                    <a:pt x="27" y="388"/>
                  </a:lnTo>
                  <a:lnTo>
                    <a:pt x="34" y="347"/>
                  </a:lnTo>
                  <a:lnTo>
                    <a:pt x="46" y="307"/>
                  </a:lnTo>
                  <a:lnTo>
                    <a:pt x="57" y="267"/>
                  </a:lnTo>
                  <a:lnTo>
                    <a:pt x="69" y="227"/>
                  </a:lnTo>
                  <a:lnTo>
                    <a:pt x="84" y="188"/>
                  </a:lnTo>
                  <a:lnTo>
                    <a:pt x="100" y="150"/>
                  </a:lnTo>
                  <a:lnTo>
                    <a:pt x="115" y="111"/>
                  </a:lnTo>
                  <a:lnTo>
                    <a:pt x="134" y="73"/>
                  </a:lnTo>
                  <a:lnTo>
                    <a:pt x="153" y="37"/>
                  </a:lnTo>
                  <a:lnTo>
                    <a:pt x="173" y="0"/>
                  </a:lnTo>
                  <a:lnTo>
                    <a:pt x="175" y="0"/>
                  </a:lnTo>
                  <a:lnTo>
                    <a:pt x="523" y="52"/>
                  </a:lnTo>
                  <a:lnTo>
                    <a:pt x="742" y="328"/>
                  </a:lnTo>
                  <a:lnTo>
                    <a:pt x="740" y="326"/>
                  </a:lnTo>
                  <a:lnTo>
                    <a:pt x="721" y="363"/>
                  </a:lnTo>
                  <a:lnTo>
                    <a:pt x="703" y="399"/>
                  </a:lnTo>
                  <a:lnTo>
                    <a:pt x="688" y="438"/>
                  </a:lnTo>
                  <a:lnTo>
                    <a:pt x="676" y="478"/>
                  </a:lnTo>
                  <a:lnTo>
                    <a:pt x="667" y="518"/>
                  </a:lnTo>
                  <a:lnTo>
                    <a:pt x="659" y="559"/>
                  </a:lnTo>
                  <a:lnTo>
                    <a:pt x="655" y="599"/>
                  </a:lnTo>
                  <a:lnTo>
                    <a:pt x="653" y="641"/>
                  </a:lnTo>
                  <a:lnTo>
                    <a:pt x="655" y="681"/>
                  </a:lnTo>
                  <a:lnTo>
                    <a:pt x="657" y="724"/>
                  </a:lnTo>
                  <a:lnTo>
                    <a:pt x="665" y="764"/>
                  </a:lnTo>
                  <a:lnTo>
                    <a:pt x="673" y="804"/>
                  </a:lnTo>
                  <a:lnTo>
                    <a:pt x="686" y="846"/>
                  </a:lnTo>
                  <a:lnTo>
                    <a:pt x="699" y="887"/>
                  </a:lnTo>
                  <a:lnTo>
                    <a:pt x="719" y="925"/>
                  </a:lnTo>
                  <a:lnTo>
                    <a:pt x="738" y="963"/>
                  </a:lnTo>
                  <a:lnTo>
                    <a:pt x="392" y="1015"/>
                  </a:lnTo>
                  <a:lnTo>
                    <a:pt x="173" y="1292"/>
                  </a:lnTo>
                </a:path>
              </a:pathLst>
            </a:custGeom>
            <a:grpFill/>
            <a:ln w="317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42" name="Freeform 22"/>
            <p:cNvSpPr>
              <a:spLocks/>
            </p:cNvSpPr>
            <p:nvPr/>
          </p:nvSpPr>
          <p:spPr bwMode="auto">
            <a:xfrm>
              <a:off x="3033713" y="1504950"/>
              <a:ext cx="1970087" cy="1535113"/>
            </a:xfrm>
            <a:custGeom>
              <a:avLst/>
              <a:gdLst>
                <a:gd name="T0" fmla="*/ 0 w 1249"/>
                <a:gd name="T1" fmla="*/ 1617136400 h 971"/>
                <a:gd name="T2" fmla="*/ 52247532 w 1249"/>
                <a:gd name="T3" fmla="*/ 1527156035 h 971"/>
                <a:gd name="T4" fmla="*/ 166693951 w 1249"/>
                <a:gd name="T5" fmla="*/ 1354695382 h 971"/>
                <a:gd name="T6" fmla="*/ 291093352 w 1249"/>
                <a:gd name="T7" fmla="*/ 1189731643 h 971"/>
                <a:gd name="T8" fmla="*/ 430419084 w 1249"/>
                <a:gd name="T9" fmla="*/ 1032267980 h 971"/>
                <a:gd name="T10" fmla="*/ 577210225 w 1249"/>
                <a:gd name="T11" fmla="*/ 884800731 h 971"/>
                <a:gd name="T12" fmla="*/ 736440197 w 1249"/>
                <a:gd name="T13" fmla="*/ 739832782 h 971"/>
                <a:gd name="T14" fmla="*/ 903134296 w 1249"/>
                <a:gd name="T15" fmla="*/ 609862022 h 971"/>
                <a:gd name="T16" fmla="*/ 1084756056 w 1249"/>
                <a:gd name="T17" fmla="*/ 489889256 h 971"/>
                <a:gd name="T18" fmla="*/ 1271354296 w 1249"/>
                <a:gd name="T19" fmla="*/ 379914385 h 971"/>
                <a:gd name="T20" fmla="*/ 1467905493 w 1249"/>
                <a:gd name="T21" fmla="*/ 284936604 h 971"/>
                <a:gd name="T22" fmla="*/ 1664455507 w 1249"/>
                <a:gd name="T23" fmla="*/ 202454685 h 971"/>
                <a:gd name="T24" fmla="*/ 1863492577 w 1249"/>
                <a:gd name="T25" fmla="*/ 134969806 h 971"/>
                <a:gd name="T26" fmla="*/ 2065018676 w 1249"/>
                <a:gd name="T27" fmla="*/ 82481894 h 971"/>
                <a:gd name="T28" fmla="*/ 2147483647 w 1249"/>
                <a:gd name="T29" fmla="*/ 44989404 h 971"/>
                <a:gd name="T30" fmla="*/ 2147483647 w 1249"/>
                <a:gd name="T31" fmla="*/ 14996997 h 971"/>
                <a:gd name="T32" fmla="*/ 2147483647 w 1249"/>
                <a:gd name="T33" fmla="*/ 4998999 h 971"/>
                <a:gd name="T34" fmla="*/ 2147483647 w 1249"/>
                <a:gd name="T35" fmla="*/ 0 h 971"/>
                <a:gd name="T36" fmla="*/ 2147483647 w 1249"/>
                <a:gd name="T37" fmla="*/ 0 h 971"/>
                <a:gd name="T38" fmla="*/ 2147483647 w 1249"/>
                <a:gd name="T39" fmla="*/ 4998999 h 971"/>
                <a:gd name="T40" fmla="*/ 2147483647 w 1249"/>
                <a:gd name="T41" fmla="*/ 822314651 h 971"/>
                <a:gd name="T42" fmla="*/ 2147483647 w 1249"/>
                <a:gd name="T43" fmla="*/ 1632133391 h 971"/>
                <a:gd name="T44" fmla="*/ 2147483647 w 1249"/>
                <a:gd name="T45" fmla="*/ 1632133391 h 971"/>
                <a:gd name="T46" fmla="*/ 2147483647 w 1249"/>
                <a:gd name="T47" fmla="*/ 1637130807 h 971"/>
                <a:gd name="T48" fmla="*/ 2147483647 w 1249"/>
                <a:gd name="T49" fmla="*/ 1637130807 h 971"/>
                <a:gd name="T50" fmla="*/ 2147483647 w 1249"/>
                <a:gd name="T51" fmla="*/ 1659626689 h 971"/>
                <a:gd name="T52" fmla="*/ 2147483647 w 1249"/>
                <a:gd name="T53" fmla="*/ 1714614075 h 971"/>
                <a:gd name="T54" fmla="*/ 2084923014 w 1249"/>
                <a:gd name="T55" fmla="*/ 1794596446 h 971"/>
                <a:gd name="T56" fmla="*/ 1898324774 w 1249"/>
                <a:gd name="T57" fmla="*/ 1904571218 h 971"/>
                <a:gd name="T58" fmla="*/ 1736605774 w 1249"/>
                <a:gd name="T59" fmla="*/ 2034541978 h 971"/>
                <a:gd name="T60" fmla="*/ 1587326788 w 1249"/>
                <a:gd name="T61" fmla="*/ 2147483647 h 971"/>
                <a:gd name="T62" fmla="*/ 1462929014 w 1249"/>
                <a:gd name="T63" fmla="*/ 2147483647 h 971"/>
                <a:gd name="T64" fmla="*/ 870791127 w 1249"/>
                <a:gd name="T65" fmla="*/ 1747107556 h 971"/>
                <a:gd name="T66" fmla="*/ 0 w 1249"/>
                <a:gd name="T67" fmla="*/ 1617136400 h 9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49"/>
                <a:gd name="T103" fmla="*/ 0 h 971"/>
                <a:gd name="T104" fmla="*/ 1249 w 1249"/>
                <a:gd name="T105" fmla="*/ 971 h 9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49" h="971">
                  <a:moveTo>
                    <a:pt x="0" y="647"/>
                  </a:moveTo>
                  <a:lnTo>
                    <a:pt x="0" y="647"/>
                  </a:lnTo>
                  <a:lnTo>
                    <a:pt x="21" y="611"/>
                  </a:lnTo>
                  <a:lnTo>
                    <a:pt x="44" y="576"/>
                  </a:lnTo>
                  <a:lnTo>
                    <a:pt x="67" y="542"/>
                  </a:lnTo>
                  <a:lnTo>
                    <a:pt x="92" y="509"/>
                  </a:lnTo>
                  <a:lnTo>
                    <a:pt x="117" y="476"/>
                  </a:lnTo>
                  <a:lnTo>
                    <a:pt x="144" y="444"/>
                  </a:lnTo>
                  <a:lnTo>
                    <a:pt x="173" y="413"/>
                  </a:lnTo>
                  <a:lnTo>
                    <a:pt x="202" y="382"/>
                  </a:lnTo>
                  <a:lnTo>
                    <a:pt x="232" y="354"/>
                  </a:lnTo>
                  <a:lnTo>
                    <a:pt x="263" y="325"/>
                  </a:lnTo>
                  <a:lnTo>
                    <a:pt x="296" y="296"/>
                  </a:lnTo>
                  <a:lnTo>
                    <a:pt x="328" y="269"/>
                  </a:lnTo>
                  <a:lnTo>
                    <a:pt x="363" y="244"/>
                  </a:lnTo>
                  <a:lnTo>
                    <a:pt x="400" y="219"/>
                  </a:lnTo>
                  <a:lnTo>
                    <a:pt x="436" y="196"/>
                  </a:lnTo>
                  <a:lnTo>
                    <a:pt x="473" y="173"/>
                  </a:lnTo>
                  <a:lnTo>
                    <a:pt x="511" y="152"/>
                  </a:lnTo>
                  <a:lnTo>
                    <a:pt x="549" y="133"/>
                  </a:lnTo>
                  <a:lnTo>
                    <a:pt x="590" y="114"/>
                  </a:lnTo>
                  <a:lnTo>
                    <a:pt x="628" y="96"/>
                  </a:lnTo>
                  <a:lnTo>
                    <a:pt x="669" y="81"/>
                  </a:lnTo>
                  <a:lnTo>
                    <a:pt x="709" y="68"/>
                  </a:lnTo>
                  <a:lnTo>
                    <a:pt x="749" y="54"/>
                  </a:lnTo>
                  <a:lnTo>
                    <a:pt x="790" y="43"/>
                  </a:lnTo>
                  <a:lnTo>
                    <a:pt x="830" y="33"/>
                  </a:lnTo>
                  <a:lnTo>
                    <a:pt x="872" y="23"/>
                  </a:lnTo>
                  <a:lnTo>
                    <a:pt x="913" y="18"/>
                  </a:lnTo>
                  <a:lnTo>
                    <a:pt x="955" y="12"/>
                  </a:lnTo>
                  <a:lnTo>
                    <a:pt x="996" y="6"/>
                  </a:lnTo>
                  <a:lnTo>
                    <a:pt x="1038" y="2"/>
                  </a:lnTo>
                  <a:lnTo>
                    <a:pt x="1078" y="2"/>
                  </a:lnTo>
                  <a:lnTo>
                    <a:pt x="1121" y="0"/>
                  </a:lnTo>
                  <a:lnTo>
                    <a:pt x="1121" y="2"/>
                  </a:lnTo>
                  <a:lnTo>
                    <a:pt x="1184" y="164"/>
                  </a:lnTo>
                  <a:lnTo>
                    <a:pt x="1249" y="329"/>
                  </a:lnTo>
                  <a:lnTo>
                    <a:pt x="1184" y="492"/>
                  </a:lnTo>
                  <a:lnTo>
                    <a:pt x="1121" y="653"/>
                  </a:lnTo>
                  <a:lnTo>
                    <a:pt x="1121" y="655"/>
                  </a:lnTo>
                  <a:lnTo>
                    <a:pt x="1121" y="653"/>
                  </a:lnTo>
                  <a:lnTo>
                    <a:pt x="1078" y="655"/>
                  </a:lnTo>
                  <a:lnTo>
                    <a:pt x="1038" y="659"/>
                  </a:lnTo>
                  <a:lnTo>
                    <a:pt x="997" y="664"/>
                  </a:lnTo>
                  <a:lnTo>
                    <a:pt x="957" y="674"/>
                  </a:lnTo>
                  <a:lnTo>
                    <a:pt x="917" y="686"/>
                  </a:lnTo>
                  <a:lnTo>
                    <a:pt x="878" y="701"/>
                  </a:lnTo>
                  <a:lnTo>
                    <a:pt x="838" y="718"/>
                  </a:lnTo>
                  <a:lnTo>
                    <a:pt x="801" y="739"/>
                  </a:lnTo>
                  <a:lnTo>
                    <a:pt x="763" y="762"/>
                  </a:lnTo>
                  <a:lnTo>
                    <a:pt x="728" y="787"/>
                  </a:lnTo>
                  <a:lnTo>
                    <a:pt x="698" y="814"/>
                  </a:lnTo>
                  <a:lnTo>
                    <a:pt x="667" y="843"/>
                  </a:lnTo>
                  <a:lnTo>
                    <a:pt x="638" y="872"/>
                  </a:lnTo>
                  <a:lnTo>
                    <a:pt x="613" y="904"/>
                  </a:lnTo>
                  <a:lnTo>
                    <a:pt x="588" y="937"/>
                  </a:lnTo>
                  <a:lnTo>
                    <a:pt x="567" y="971"/>
                  </a:lnTo>
                  <a:lnTo>
                    <a:pt x="350" y="699"/>
                  </a:lnTo>
                  <a:lnTo>
                    <a:pt x="2" y="647"/>
                  </a:lnTo>
                  <a:lnTo>
                    <a:pt x="0" y="647"/>
                  </a:lnTo>
                </a:path>
              </a:pathLst>
            </a:custGeom>
            <a:grpFill/>
            <a:ln w="317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43" name="Freeform 24"/>
            <p:cNvSpPr>
              <a:spLocks/>
            </p:cNvSpPr>
            <p:nvPr/>
          </p:nvSpPr>
          <p:spPr bwMode="auto">
            <a:xfrm>
              <a:off x="4594225" y="4051300"/>
              <a:ext cx="1973263" cy="1535113"/>
            </a:xfrm>
            <a:custGeom>
              <a:avLst/>
              <a:gdLst>
                <a:gd name="T0" fmla="*/ 2147483647 w 1251"/>
                <a:gd name="T1" fmla="*/ 817315654 h 971"/>
                <a:gd name="T2" fmla="*/ 2147483647 w 1251"/>
                <a:gd name="T3" fmla="*/ 817315654 h 971"/>
                <a:gd name="T4" fmla="*/ 2147483647 w 1251"/>
                <a:gd name="T5" fmla="*/ 817315654 h 971"/>
                <a:gd name="T6" fmla="*/ 2147483647 w 1251"/>
                <a:gd name="T7" fmla="*/ 912295214 h 971"/>
                <a:gd name="T8" fmla="*/ 2147483647 w 1251"/>
                <a:gd name="T9" fmla="*/ 1007272995 h 971"/>
                <a:gd name="T10" fmla="*/ 2147483647 w 1251"/>
                <a:gd name="T11" fmla="*/ 1094753862 h 971"/>
                <a:gd name="T12" fmla="*/ 2147483647 w 1251"/>
                <a:gd name="T13" fmla="*/ 1179735230 h 971"/>
                <a:gd name="T14" fmla="*/ 2147483647 w 1251"/>
                <a:gd name="T15" fmla="*/ 1267214515 h 971"/>
                <a:gd name="T16" fmla="*/ 2147483647 w 1251"/>
                <a:gd name="T17" fmla="*/ 1349696385 h 971"/>
                <a:gd name="T18" fmla="*/ 2147483647 w 1251"/>
                <a:gd name="T19" fmla="*/ 1429678756 h 971"/>
                <a:gd name="T20" fmla="*/ 2147483647 w 1251"/>
                <a:gd name="T21" fmla="*/ 1502162631 h 971"/>
                <a:gd name="T22" fmla="*/ 2147483647 w 1251"/>
                <a:gd name="T23" fmla="*/ 1579643923 h 971"/>
                <a:gd name="T24" fmla="*/ 2147483647 w 1251"/>
                <a:gd name="T25" fmla="*/ 1647128801 h 971"/>
                <a:gd name="T26" fmla="*/ 2147483647 w 1251"/>
                <a:gd name="T27" fmla="*/ 1712114577 h 971"/>
                <a:gd name="T28" fmla="*/ 2147483647 w 1251"/>
                <a:gd name="T29" fmla="*/ 1779599455 h 971"/>
                <a:gd name="T30" fmla="*/ 2147483647 w 1251"/>
                <a:gd name="T31" fmla="*/ 1842085337 h 971"/>
                <a:gd name="T32" fmla="*/ 2089944175 w 1251"/>
                <a:gd name="T33" fmla="*/ 1899572221 h 971"/>
                <a:gd name="T34" fmla="*/ 1997886997 w 1251"/>
                <a:gd name="T35" fmla="*/ 1957059106 h 971"/>
                <a:gd name="T36" fmla="*/ 1908317296 w 1251"/>
                <a:gd name="T37" fmla="*/ 2009548574 h 971"/>
                <a:gd name="T38" fmla="*/ 1816260117 w 1251"/>
                <a:gd name="T39" fmla="*/ 2059536963 h 971"/>
                <a:gd name="T40" fmla="*/ 1726691994 w 1251"/>
                <a:gd name="T41" fmla="*/ 2107025854 h 971"/>
                <a:gd name="T42" fmla="*/ 1629657888 w 1251"/>
                <a:gd name="T43" fmla="*/ 2147483647 h 971"/>
                <a:gd name="T44" fmla="*/ 1535113232 w 1251"/>
                <a:gd name="T45" fmla="*/ 2147483647 h 971"/>
                <a:gd name="T46" fmla="*/ 1438079521 w 1251"/>
                <a:gd name="T47" fmla="*/ 2147483647 h 971"/>
                <a:gd name="T48" fmla="*/ 1343534865 w 1251"/>
                <a:gd name="T49" fmla="*/ 2147483647 h 971"/>
                <a:gd name="T50" fmla="*/ 1244013676 w 1251"/>
                <a:gd name="T51" fmla="*/ 2147483647 h 971"/>
                <a:gd name="T52" fmla="*/ 1142005010 w 1251"/>
                <a:gd name="T53" fmla="*/ 2147483647 h 971"/>
                <a:gd name="T54" fmla="*/ 1042483821 w 1251"/>
                <a:gd name="T55" fmla="*/ 2147483647 h 971"/>
                <a:gd name="T56" fmla="*/ 942962632 w 1251"/>
                <a:gd name="T57" fmla="*/ 2147483647 h 971"/>
                <a:gd name="T58" fmla="*/ 840953966 w 1251"/>
                <a:gd name="T59" fmla="*/ 2147483647 h 971"/>
                <a:gd name="T60" fmla="*/ 736456048 w 1251"/>
                <a:gd name="T61" fmla="*/ 2147483647 h 971"/>
                <a:gd name="T62" fmla="*/ 634447381 w 1251"/>
                <a:gd name="T63" fmla="*/ 2147483647 h 971"/>
                <a:gd name="T64" fmla="*/ 529949660 w 1251"/>
                <a:gd name="T65" fmla="*/ 2147483647 h 971"/>
                <a:gd name="T66" fmla="*/ 425453516 w 1251"/>
                <a:gd name="T67" fmla="*/ 2147483647 h 971"/>
                <a:gd name="T68" fmla="*/ 325932228 w 1251"/>
                <a:gd name="T69" fmla="*/ 2147483647 h 971"/>
                <a:gd name="T70" fmla="*/ 325932228 w 1251"/>
                <a:gd name="T71" fmla="*/ 2147483647 h 971"/>
                <a:gd name="T72" fmla="*/ 0 w 1251"/>
                <a:gd name="T73" fmla="*/ 1607138406 h 971"/>
                <a:gd name="T74" fmla="*/ 325932228 w 1251"/>
                <a:gd name="T75" fmla="*/ 787323253 h 971"/>
                <a:gd name="T76" fmla="*/ 325932228 w 1251"/>
                <a:gd name="T77" fmla="*/ 797321247 h 971"/>
                <a:gd name="T78" fmla="*/ 425453516 w 1251"/>
                <a:gd name="T79" fmla="*/ 792322250 h 971"/>
                <a:gd name="T80" fmla="*/ 524974704 w 1251"/>
                <a:gd name="T81" fmla="*/ 782324256 h 971"/>
                <a:gd name="T82" fmla="*/ 631958326 w 1251"/>
                <a:gd name="T83" fmla="*/ 767327265 h 971"/>
                <a:gd name="T84" fmla="*/ 726504560 w 1251"/>
                <a:gd name="T85" fmla="*/ 744831779 h 971"/>
                <a:gd name="T86" fmla="*/ 826025748 w 1251"/>
                <a:gd name="T87" fmla="*/ 714839378 h 971"/>
                <a:gd name="T88" fmla="*/ 923058079 w 1251"/>
                <a:gd name="T89" fmla="*/ 677346900 h 971"/>
                <a:gd name="T90" fmla="*/ 1017602735 w 1251"/>
                <a:gd name="T91" fmla="*/ 639856004 h 971"/>
                <a:gd name="T92" fmla="*/ 1109659914 w 1251"/>
                <a:gd name="T93" fmla="*/ 589867615 h 971"/>
                <a:gd name="T94" fmla="*/ 1194253082 w 1251"/>
                <a:gd name="T95" fmla="*/ 532380730 h 971"/>
                <a:gd name="T96" fmla="*/ 1281335305 w 1251"/>
                <a:gd name="T97" fmla="*/ 474893846 h 971"/>
                <a:gd name="T98" fmla="*/ 1363439418 w 1251"/>
                <a:gd name="T99" fmla="*/ 409908367 h 971"/>
                <a:gd name="T100" fmla="*/ 1438079521 w 1251"/>
                <a:gd name="T101" fmla="*/ 342423488 h 971"/>
                <a:gd name="T102" fmla="*/ 1510233724 w 1251"/>
                <a:gd name="T103" fmla="*/ 264940616 h 971"/>
                <a:gd name="T104" fmla="*/ 1577409816 w 1251"/>
                <a:gd name="T105" fmla="*/ 182458697 h 971"/>
                <a:gd name="T106" fmla="*/ 1644585909 w 1251"/>
                <a:gd name="T107" fmla="*/ 92479888 h 971"/>
                <a:gd name="T108" fmla="*/ 1701810908 w 1251"/>
                <a:gd name="T109" fmla="*/ 0 h 971"/>
                <a:gd name="T110" fmla="*/ 1701810908 w 1251"/>
                <a:gd name="T111" fmla="*/ 0 h 971"/>
                <a:gd name="T112" fmla="*/ 1701810908 w 1251"/>
                <a:gd name="T113" fmla="*/ 0 h 971"/>
                <a:gd name="T114" fmla="*/ 2147483647 w 1251"/>
                <a:gd name="T115" fmla="*/ 687344894 h 971"/>
                <a:gd name="T116" fmla="*/ 2147483647 w 1251"/>
                <a:gd name="T117" fmla="*/ 817315654 h 9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51"/>
                <a:gd name="T178" fmla="*/ 0 h 971"/>
                <a:gd name="T179" fmla="*/ 1251 w 1251"/>
                <a:gd name="T180" fmla="*/ 971 h 9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51" h="971">
                  <a:moveTo>
                    <a:pt x="1251" y="327"/>
                  </a:moveTo>
                  <a:lnTo>
                    <a:pt x="1249" y="327"/>
                  </a:lnTo>
                  <a:lnTo>
                    <a:pt x="1226" y="365"/>
                  </a:lnTo>
                  <a:lnTo>
                    <a:pt x="1203" y="403"/>
                  </a:lnTo>
                  <a:lnTo>
                    <a:pt x="1178" y="438"/>
                  </a:lnTo>
                  <a:lnTo>
                    <a:pt x="1151" y="472"/>
                  </a:lnTo>
                  <a:lnTo>
                    <a:pt x="1124" y="507"/>
                  </a:lnTo>
                  <a:lnTo>
                    <a:pt x="1096" y="540"/>
                  </a:lnTo>
                  <a:lnTo>
                    <a:pt x="1067" y="572"/>
                  </a:lnTo>
                  <a:lnTo>
                    <a:pt x="1036" y="601"/>
                  </a:lnTo>
                  <a:lnTo>
                    <a:pt x="1005" y="632"/>
                  </a:lnTo>
                  <a:lnTo>
                    <a:pt x="975" y="659"/>
                  </a:lnTo>
                  <a:lnTo>
                    <a:pt x="942" y="685"/>
                  </a:lnTo>
                  <a:lnTo>
                    <a:pt x="909" y="712"/>
                  </a:lnTo>
                  <a:lnTo>
                    <a:pt x="875" y="737"/>
                  </a:lnTo>
                  <a:lnTo>
                    <a:pt x="840" y="760"/>
                  </a:lnTo>
                  <a:lnTo>
                    <a:pt x="803" y="783"/>
                  </a:lnTo>
                  <a:lnTo>
                    <a:pt x="767" y="804"/>
                  </a:lnTo>
                  <a:lnTo>
                    <a:pt x="730" y="824"/>
                  </a:lnTo>
                  <a:lnTo>
                    <a:pt x="694" y="843"/>
                  </a:lnTo>
                  <a:lnTo>
                    <a:pt x="655" y="860"/>
                  </a:lnTo>
                  <a:lnTo>
                    <a:pt x="617" y="875"/>
                  </a:lnTo>
                  <a:lnTo>
                    <a:pt x="578" y="891"/>
                  </a:lnTo>
                  <a:lnTo>
                    <a:pt x="540" y="904"/>
                  </a:lnTo>
                  <a:lnTo>
                    <a:pt x="500" y="918"/>
                  </a:lnTo>
                  <a:lnTo>
                    <a:pt x="459" y="929"/>
                  </a:lnTo>
                  <a:lnTo>
                    <a:pt x="419" y="939"/>
                  </a:lnTo>
                  <a:lnTo>
                    <a:pt x="379" y="946"/>
                  </a:lnTo>
                  <a:lnTo>
                    <a:pt x="338" y="954"/>
                  </a:lnTo>
                  <a:lnTo>
                    <a:pt x="296" y="960"/>
                  </a:lnTo>
                  <a:lnTo>
                    <a:pt x="255" y="966"/>
                  </a:lnTo>
                  <a:lnTo>
                    <a:pt x="213" y="969"/>
                  </a:lnTo>
                  <a:lnTo>
                    <a:pt x="171" y="971"/>
                  </a:lnTo>
                  <a:lnTo>
                    <a:pt x="131" y="971"/>
                  </a:lnTo>
                  <a:lnTo>
                    <a:pt x="131" y="969"/>
                  </a:lnTo>
                  <a:lnTo>
                    <a:pt x="0" y="643"/>
                  </a:lnTo>
                  <a:lnTo>
                    <a:pt x="131" y="315"/>
                  </a:lnTo>
                  <a:lnTo>
                    <a:pt x="131" y="319"/>
                  </a:lnTo>
                  <a:lnTo>
                    <a:pt x="171" y="317"/>
                  </a:lnTo>
                  <a:lnTo>
                    <a:pt x="211" y="313"/>
                  </a:lnTo>
                  <a:lnTo>
                    <a:pt x="254" y="307"/>
                  </a:lnTo>
                  <a:lnTo>
                    <a:pt x="292" y="298"/>
                  </a:lnTo>
                  <a:lnTo>
                    <a:pt x="332" y="286"/>
                  </a:lnTo>
                  <a:lnTo>
                    <a:pt x="371" y="271"/>
                  </a:lnTo>
                  <a:lnTo>
                    <a:pt x="409" y="256"/>
                  </a:lnTo>
                  <a:lnTo>
                    <a:pt x="446" y="236"/>
                  </a:lnTo>
                  <a:lnTo>
                    <a:pt x="480" y="213"/>
                  </a:lnTo>
                  <a:lnTo>
                    <a:pt x="515" y="190"/>
                  </a:lnTo>
                  <a:lnTo>
                    <a:pt x="548" y="164"/>
                  </a:lnTo>
                  <a:lnTo>
                    <a:pt x="578" y="137"/>
                  </a:lnTo>
                  <a:lnTo>
                    <a:pt x="607" y="106"/>
                  </a:lnTo>
                  <a:lnTo>
                    <a:pt x="634" y="73"/>
                  </a:lnTo>
                  <a:lnTo>
                    <a:pt x="661" y="37"/>
                  </a:lnTo>
                  <a:lnTo>
                    <a:pt x="684" y="0"/>
                  </a:lnTo>
                  <a:lnTo>
                    <a:pt x="901" y="275"/>
                  </a:lnTo>
                  <a:lnTo>
                    <a:pt x="1251" y="327"/>
                  </a:lnTo>
                </a:path>
              </a:pathLst>
            </a:custGeom>
            <a:grpFill/>
            <a:ln w="317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44" name="Freeform 26"/>
            <p:cNvSpPr>
              <a:spLocks/>
            </p:cNvSpPr>
            <p:nvPr/>
          </p:nvSpPr>
          <p:spPr bwMode="auto">
            <a:xfrm>
              <a:off x="3030538" y="4048125"/>
              <a:ext cx="1770062" cy="1538288"/>
            </a:xfrm>
            <a:custGeom>
              <a:avLst/>
              <a:gdLst>
                <a:gd name="T0" fmla="*/ 2147483647 w 1123"/>
                <a:gd name="T1" fmla="*/ 2147483647 h 973"/>
                <a:gd name="T2" fmla="*/ 2147483647 w 1123"/>
                <a:gd name="T3" fmla="*/ 2147483647 h 973"/>
                <a:gd name="T4" fmla="*/ 2147483647 w 1123"/>
                <a:gd name="T5" fmla="*/ 2147483647 h 973"/>
                <a:gd name="T6" fmla="*/ 2147483647 w 1123"/>
                <a:gd name="T7" fmla="*/ 2147483647 h 973"/>
                <a:gd name="T8" fmla="*/ 2067000429 w 1123"/>
                <a:gd name="T9" fmla="*/ 2147483647 h 973"/>
                <a:gd name="T10" fmla="*/ 1865766692 w 1123"/>
                <a:gd name="T11" fmla="*/ 2147483647 h 973"/>
                <a:gd name="T12" fmla="*/ 1667017029 w 1123"/>
                <a:gd name="T13" fmla="*/ 2147483647 h 973"/>
                <a:gd name="T14" fmla="*/ 1465781321 w 1123"/>
                <a:gd name="T15" fmla="*/ 2147483647 h 973"/>
                <a:gd name="T16" fmla="*/ 1274485461 w 1123"/>
                <a:gd name="T17" fmla="*/ 2054572825 h 973"/>
                <a:gd name="T18" fmla="*/ 1083188024 w 1123"/>
                <a:gd name="T19" fmla="*/ 1944595537 h 973"/>
                <a:gd name="T20" fmla="*/ 906796615 w 1123"/>
                <a:gd name="T21" fmla="*/ 1824620170 h 973"/>
                <a:gd name="T22" fmla="*/ 735374736 w 1123"/>
                <a:gd name="T23" fmla="*/ 1694648305 h 973"/>
                <a:gd name="T24" fmla="*/ 576375006 w 1123"/>
                <a:gd name="T25" fmla="*/ 1554676385 h 973"/>
                <a:gd name="T26" fmla="*/ 429797229 w 1123"/>
                <a:gd name="T27" fmla="*/ 1407207881 h 973"/>
                <a:gd name="T28" fmla="*/ 295641305 w 1123"/>
                <a:gd name="T29" fmla="*/ 1247240198 h 973"/>
                <a:gd name="T30" fmla="*/ 171421732 w 1123"/>
                <a:gd name="T31" fmla="*/ 1079775537 h 973"/>
                <a:gd name="T32" fmla="*/ 57140060 w 1123"/>
                <a:gd name="T33" fmla="*/ 907311836 h 973"/>
                <a:gd name="T34" fmla="*/ 0 w 1123"/>
                <a:gd name="T35" fmla="*/ 822329548 h 973"/>
                <a:gd name="T36" fmla="*/ 4968152 w 1123"/>
                <a:gd name="T37" fmla="*/ 822329548 h 973"/>
                <a:gd name="T38" fmla="*/ 4968152 w 1123"/>
                <a:gd name="T39" fmla="*/ 817330508 h 973"/>
                <a:gd name="T40" fmla="*/ 549047026 w 1123"/>
                <a:gd name="T41" fmla="*/ 129973495 h 973"/>
                <a:gd name="T42" fmla="*/ 1408641286 w 1123"/>
                <a:gd name="T43" fmla="*/ 4999041 h 973"/>
                <a:gd name="T44" fmla="*/ 1408641286 w 1123"/>
                <a:gd name="T45" fmla="*/ 0 h 973"/>
                <a:gd name="T46" fmla="*/ 1413609436 w 1123"/>
                <a:gd name="T47" fmla="*/ 0 h 973"/>
                <a:gd name="T48" fmla="*/ 1465781321 w 1123"/>
                <a:gd name="T49" fmla="*/ 92480675 h 973"/>
                <a:gd name="T50" fmla="*/ 1585032695 w 1123"/>
                <a:gd name="T51" fmla="*/ 254946370 h 973"/>
                <a:gd name="T52" fmla="*/ 1734094942 w 1123"/>
                <a:gd name="T53" fmla="*/ 404915975 h 973"/>
                <a:gd name="T54" fmla="*/ 1900548474 w 1123"/>
                <a:gd name="T55" fmla="*/ 532390000 h 973"/>
                <a:gd name="T56" fmla="*/ 2086876183 w 1123"/>
                <a:gd name="T57" fmla="*/ 639867768 h 973"/>
                <a:gd name="T58" fmla="*/ 2147483647 w 1123"/>
                <a:gd name="T59" fmla="*/ 719850819 h 973"/>
                <a:gd name="T60" fmla="*/ 2147483647 w 1123"/>
                <a:gd name="T61" fmla="*/ 772339153 h 973"/>
                <a:gd name="T62" fmla="*/ 2147483647 w 1123"/>
                <a:gd name="T63" fmla="*/ 797334350 h 973"/>
                <a:gd name="T64" fmla="*/ 2147483647 w 1123"/>
                <a:gd name="T65" fmla="*/ 1612165339 h 973"/>
                <a:gd name="T66" fmla="*/ 2147483647 w 1123"/>
                <a:gd name="T67" fmla="*/ 2147483647 h 9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23"/>
                <a:gd name="T103" fmla="*/ 0 h 973"/>
                <a:gd name="T104" fmla="*/ 1123 w 1123"/>
                <a:gd name="T105" fmla="*/ 973 h 9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23" h="973">
                  <a:moveTo>
                    <a:pt x="1123" y="973"/>
                  </a:moveTo>
                  <a:lnTo>
                    <a:pt x="1121" y="973"/>
                  </a:lnTo>
                  <a:lnTo>
                    <a:pt x="1080" y="973"/>
                  </a:lnTo>
                  <a:lnTo>
                    <a:pt x="1038" y="971"/>
                  </a:lnTo>
                  <a:lnTo>
                    <a:pt x="998" y="968"/>
                  </a:lnTo>
                  <a:lnTo>
                    <a:pt x="955" y="964"/>
                  </a:lnTo>
                  <a:lnTo>
                    <a:pt x="915" y="958"/>
                  </a:lnTo>
                  <a:lnTo>
                    <a:pt x="873" y="950"/>
                  </a:lnTo>
                  <a:lnTo>
                    <a:pt x="832" y="941"/>
                  </a:lnTo>
                  <a:lnTo>
                    <a:pt x="792" y="931"/>
                  </a:lnTo>
                  <a:lnTo>
                    <a:pt x="751" y="920"/>
                  </a:lnTo>
                  <a:lnTo>
                    <a:pt x="711" y="908"/>
                  </a:lnTo>
                  <a:lnTo>
                    <a:pt x="671" y="893"/>
                  </a:lnTo>
                  <a:lnTo>
                    <a:pt x="630" y="877"/>
                  </a:lnTo>
                  <a:lnTo>
                    <a:pt x="590" y="860"/>
                  </a:lnTo>
                  <a:lnTo>
                    <a:pt x="551" y="843"/>
                  </a:lnTo>
                  <a:lnTo>
                    <a:pt x="513" y="822"/>
                  </a:lnTo>
                  <a:lnTo>
                    <a:pt x="475" y="801"/>
                  </a:lnTo>
                  <a:lnTo>
                    <a:pt x="436" y="778"/>
                  </a:lnTo>
                  <a:lnTo>
                    <a:pt x="400" y="755"/>
                  </a:lnTo>
                  <a:lnTo>
                    <a:pt x="365" y="730"/>
                  </a:lnTo>
                  <a:lnTo>
                    <a:pt x="330" y="705"/>
                  </a:lnTo>
                  <a:lnTo>
                    <a:pt x="296" y="678"/>
                  </a:lnTo>
                  <a:lnTo>
                    <a:pt x="263" y="651"/>
                  </a:lnTo>
                  <a:lnTo>
                    <a:pt x="232" y="622"/>
                  </a:lnTo>
                  <a:lnTo>
                    <a:pt x="202" y="592"/>
                  </a:lnTo>
                  <a:lnTo>
                    <a:pt x="173" y="563"/>
                  </a:lnTo>
                  <a:lnTo>
                    <a:pt x="146" y="530"/>
                  </a:lnTo>
                  <a:lnTo>
                    <a:pt x="119" y="499"/>
                  </a:lnTo>
                  <a:lnTo>
                    <a:pt x="92" y="467"/>
                  </a:lnTo>
                  <a:lnTo>
                    <a:pt x="69" y="432"/>
                  </a:lnTo>
                  <a:lnTo>
                    <a:pt x="44" y="398"/>
                  </a:lnTo>
                  <a:lnTo>
                    <a:pt x="23" y="363"/>
                  </a:lnTo>
                  <a:lnTo>
                    <a:pt x="2" y="329"/>
                  </a:lnTo>
                  <a:lnTo>
                    <a:pt x="0" y="329"/>
                  </a:lnTo>
                  <a:lnTo>
                    <a:pt x="2" y="329"/>
                  </a:lnTo>
                  <a:lnTo>
                    <a:pt x="2" y="327"/>
                  </a:lnTo>
                  <a:lnTo>
                    <a:pt x="111" y="190"/>
                  </a:lnTo>
                  <a:lnTo>
                    <a:pt x="221" y="52"/>
                  </a:lnTo>
                  <a:lnTo>
                    <a:pt x="394" y="27"/>
                  </a:lnTo>
                  <a:lnTo>
                    <a:pt x="567" y="2"/>
                  </a:lnTo>
                  <a:lnTo>
                    <a:pt x="567" y="0"/>
                  </a:lnTo>
                  <a:lnTo>
                    <a:pt x="567" y="2"/>
                  </a:lnTo>
                  <a:lnTo>
                    <a:pt x="569" y="0"/>
                  </a:lnTo>
                  <a:lnTo>
                    <a:pt x="567" y="2"/>
                  </a:lnTo>
                  <a:lnTo>
                    <a:pt x="590" y="37"/>
                  </a:lnTo>
                  <a:lnTo>
                    <a:pt x="613" y="70"/>
                  </a:lnTo>
                  <a:lnTo>
                    <a:pt x="638" y="102"/>
                  </a:lnTo>
                  <a:lnTo>
                    <a:pt x="667" y="133"/>
                  </a:lnTo>
                  <a:lnTo>
                    <a:pt x="698" y="162"/>
                  </a:lnTo>
                  <a:lnTo>
                    <a:pt x="730" y="189"/>
                  </a:lnTo>
                  <a:lnTo>
                    <a:pt x="765" y="213"/>
                  </a:lnTo>
                  <a:lnTo>
                    <a:pt x="801" y="235"/>
                  </a:lnTo>
                  <a:lnTo>
                    <a:pt x="840" y="256"/>
                  </a:lnTo>
                  <a:lnTo>
                    <a:pt x="878" y="273"/>
                  </a:lnTo>
                  <a:lnTo>
                    <a:pt x="919" y="288"/>
                  </a:lnTo>
                  <a:lnTo>
                    <a:pt x="957" y="300"/>
                  </a:lnTo>
                  <a:lnTo>
                    <a:pt x="998" y="309"/>
                  </a:lnTo>
                  <a:lnTo>
                    <a:pt x="1040" y="315"/>
                  </a:lnTo>
                  <a:lnTo>
                    <a:pt x="1080" y="319"/>
                  </a:lnTo>
                  <a:lnTo>
                    <a:pt x="1121" y="321"/>
                  </a:lnTo>
                  <a:lnTo>
                    <a:pt x="992" y="645"/>
                  </a:lnTo>
                  <a:lnTo>
                    <a:pt x="1123" y="971"/>
                  </a:lnTo>
                  <a:lnTo>
                    <a:pt x="1123" y="973"/>
                  </a:lnTo>
                </a:path>
              </a:pathLst>
            </a:custGeom>
            <a:grpFill/>
            <a:ln w="3175">
              <a:solidFill>
                <a:schemeClr val="tx1">
                  <a:lumMod val="20000"/>
                  <a:lumOff val="80000"/>
                </a:schemeClr>
              </a:solidFill>
              <a:round/>
              <a:headEnd/>
              <a:tailEnd/>
            </a:ln>
          </p:spPr>
          <p:txBody>
            <a:bodyPr anchor="ctr"/>
            <a:lstStyle/>
            <a:p>
              <a:endParaRPr lang="en-GB" sz="1100">
                <a:latin typeface="Arial" panose="020B0604020202020204" pitchFamily="34" charset="0"/>
                <a:cs typeface="Arial" panose="020B0604020202020204" pitchFamily="34" charset="0"/>
              </a:endParaRPr>
            </a:p>
          </p:txBody>
        </p:sp>
        <p:sp>
          <p:nvSpPr>
            <p:cNvPr id="45" name="Rectangle 10"/>
            <p:cNvSpPr>
              <a:spLocks noChangeArrowheads="1"/>
            </p:cNvSpPr>
            <p:nvPr/>
          </p:nvSpPr>
          <p:spPr bwMode="auto">
            <a:xfrm>
              <a:off x="5456238" y="2200953"/>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46" name="Rectangle 11"/>
            <p:cNvSpPr>
              <a:spLocks noChangeArrowheads="1"/>
            </p:cNvSpPr>
            <p:nvPr/>
          </p:nvSpPr>
          <p:spPr bwMode="auto">
            <a:xfrm>
              <a:off x="6149976" y="3505878"/>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47" name="Rectangle 12"/>
            <p:cNvSpPr>
              <a:spLocks noChangeArrowheads="1"/>
            </p:cNvSpPr>
            <p:nvPr/>
          </p:nvSpPr>
          <p:spPr bwMode="auto">
            <a:xfrm>
              <a:off x="5238750" y="4810802"/>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48" name="Rectangle 13"/>
            <p:cNvSpPr>
              <a:spLocks noChangeArrowheads="1"/>
            </p:cNvSpPr>
            <p:nvPr/>
          </p:nvSpPr>
          <p:spPr bwMode="auto">
            <a:xfrm>
              <a:off x="3729038" y="4598077"/>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49" name="Rectangle 14"/>
            <p:cNvSpPr>
              <a:spLocks noChangeArrowheads="1"/>
            </p:cNvSpPr>
            <p:nvPr/>
          </p:nvSpPr>
          <p:spPr bwMode="auto">
            <a:xfrm>
              <a:off x="3049588" y="3293152"/>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sp>
          <p:nvSpPr>
            <p:cNvPr id="50" name="Rectangle 15"/>
            <p:cNvSpPr>
              <a:spLocks noChangeArrowheads="1"/>
            </p:cNvSpPr>
            <p:nvPr/>
          </p:nvSpPr>
          <p:spPr bwMode="auto">
            <a:xfrm>
              <a:off x="3944938" y="2094590"/>
              <a:ext cx="620688" cy="303447"/>
            </a:xfrm>
            <a:prstGeom prst="rect">
              <a:avLst/>
            </a:prstGeom>
            <a:grpFill/>
            <a:ln w="9525" algn="ctr">
              <a:noFill/>
              <a:miter lim="800000"/>
              <a:headEnd type="none" w="lg" len="lg"/>
              <a:tailEnd type="none" w="lg" len="lg"/>
            </a:ln>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r>
                <a:rPr lang="en-US" altLang="en-US" sz="1100" b="0">
                  <a:latin typeface="Arial" panose="020B0604020202020204" pitchFamily="34" charset="0"/>
                  <a:cs typeface="Arial" panose="020B0604020202020204" pitchFamily="34" charset="0"/>
                </a:rPr>
                <a:t>Label</a:t>
              </a:r>
            </a:p>
          </p:txBody>
        </p:sp>
      </p:grpSp>
    </p:spTree>
    <p:extLst>
      <p:ext uri="{BB962C8B-B14F-4D97-AF65-F5344CB8AC3E}">
        <p14:creationId xmlns:p14="http://schemas.microsoft.com/office/powerpoint/2010/main" val="3329512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1"/>
            </p:custDataLst>
            <p:extLst>
              <p:ext uri="{D42A27DB-BD31-4B8C-83A1-F6EECF244321}">
                <p14:modId xmlns:p14="http://schemas.microsoft.com/office/powerpoint/2010/main" val="29055688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8" name="Object 2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7" name="Text Placeholder 6"/>
          <p:cNvSpPr>
            <a:spLocks noGrp="1"/>
          </p:cNvSpPr>
          <p:nvPr>
            <p:ph type="body" sz="quarter" idx="11"/>
          </p:nvPr>
        </p:nvSpPr>
        <p:spPr/>
        <p:txBody>
          <a:bodyPr/>
          <a:lstStyle/>
          <a:p>
            <a:endParaRPr lang="en-US"/>
          </a:p>
        </p:txBody>
      </p:sp>
      <p:sp>
        <p:nvSpPr>
          <p:cNvPr id="5" name="Title 4"/>
          <p:cNvSpPr>
            <a:spLocks noGrp="1"/>
          </p:cNvSpPr>
          <p:nvPr>
            <p:ph type="title"/>
          </p:nvPr>
        </p:nvSpPr>
        <p:spPr/>
        <p:txBody>
          <a:bodyPr/>
          <a:lstStyle/>
          <a:p>
            <a:endParaRPr lang="en-US"/>
          </a:p>
        </p:txBody>
      </p:sp>
      <p:grpSp>
        <p:nvGrpSpPr>
          <p:cNvPr id="29" name="Group 28"/>
          <p:cNvGrpSpPr/>
          <p:nvPr/>
        </p:nvGrpSpPr>
        <p:grpSpPr>
          <a:xfrm>
            <a:off x="1895363" y="1096146"/>
            <a:ext cx="3516086" cy="2423248"/>
            <a:chOff x="1971675" y="1676400"/>
            <a:chExt cx="5638800" cy="3886200"/>
          </a:xfrm>
          <a:solidFill>
            <a:schemeClr val="tx1">
              <a:lumMod val="20000"/>
              <a:lumOff val="80000"/>
            </a:schemeClr>
          </a:solidFill>
        </p:grpSpPr>
        <p:sp>
          <p:nvSpPr>
            <p:cNvPr id="30" name="AutoShape 4"/>
            <p:cNvSpPr>
              <a:spLocks noChangeArrowheads="1"/>
            </p:cNvSpPr>
            <p:nvPr/>
          </p:nvSpPr>
          <p:spPr bwMode="auto">
            <a:xfrm>
              <a:off x="3838575" y="1676400"/>
              <a:ext cx="1905000" cy="1295400"/>
            </a:xfrm>
            <a:prstGeom prst="triangle">
              <a:avLst>
                <a:gd name="adj" fmla="val 50000"/>
              </a:avLst>
            </a:prstGeom>
            <a:grpFill/>
            <a:ln w="9525">
              <a:solidFill>
                <a:srgbClr val="EEEEEE"/>
              </a:solidFill>
              <a:miter lim="800000"/>
              <a:headEnd/>
              <a:tailEnd/>
            </a:ln>
          </p:spPr>
          <p:txBody>
            <a:bodyPr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31" name="AutoShape 5"/>
            <p:cNvSpPr>
              <a:spLocks noChangeArrowheads="1"/>
            </p:cNvSpPr>
            <p:nvPr/>
          </p:nvSpPr>
          <p:spPr bwMode="auto">
            <a:xfrm flipV="1">
              <a:off x="2886075" y="2971800"/>
              <a:ext cx="3810000" cy="1295400"/>
            </a:xfrm>
            <a:custGeom>
              <a:avLst/>
              <a:gdLst>
                <a:gd name="T0" fmla="*/ 587880847 w 21600"/>
                <a:gd name="T1" fmla="*/ 38844009 h 21600"/>
                <a:gd name="T2" fmla="*/ 336020800 w 21600"/>
                <a:gd name="T3" fmla="*/ 77688019 h 21600"/>
                <a:gd name="T4" fmla="*/ 84160775 w 21600"/>
                <a:gd name="T5" fmla="*/ 38844009 h 21600"/>
                <a:gd name="T6" fmla="*/ 336020800 w 21600"/>
                <a:gd name="T7" fmla="*/ 0 h 21600"/>
                <a:gd name="T8" fmla="*/ 0 60000 65536"/>
                <a:gd name="T9" fmla="*/ 0 60000 65536"/>
                <a:gd name="T10" fmla="*/ 0 60000 65536"/>
                <a:gd name="T11" fmla="*/ 0 60000 65536"/>
                <a:gd name="T12" fmla="*/ 4505 w 21600"/>
                <a:gd name="T13" fmla="*/ 4505 h 21600"/>
                <a:gd name="T14" fmla="*/ 17095 w 21600"/>
                <a:gd name="T15" fmla="*/ 17095 h 21600"/>
              </a:gdLst>
              <a:ahLst/>
              <a:cxnLst>
                <a:cxn ang="T8">
                  <a:pos x="T0" y="T1"/>
                </a:cxn>
                <a:cxn ang="T9">
                  <a:pos x="T2" y="T3"/>
                </a:cxn>
                <a:cxn ang="T10">
                  <a:pos x="T4" y="T5"/>
                </a:cxn>
                <a:cxn ang="T11">
                  <a:pos x="T6" y="T7"/>
                </a:cxn>
              </a:cxnLst>
              <a:rect l="T12" t="T13" r="T14" b="T15"/>
              <a:pathLst>
                <a:path w="21600" h="21600">
                  <a:moveTo>
                    <a:pt x="0" y="0"/>
                  </a:moveTo>
                  <a:lnTo>
                    <a:pt x="5409" y="21600"/>
                  </a:lnTo>
                  <a:lnTo>
                    <a:pt x="16191" y="21600"/>
                  </a:lnTo>
                  <a:lnTo>
                    <a:pt x="21600" y="0"/>
                  </a:lnTo>
                  <a:close/>
                </a:path>
              </a:pathLst>
            </a:custGeom>
            <a:grpFill/>
            <a:ln w="9525">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32" name="AutoShape 6"/>
            <p:cNvSpPr>
              <a:spLocks noChangeArrowheads="1"/>
            </p:cNvSpPr>
            <p:nvPr/>
          </p:nvSpPr>
          <p:spPr bwMode="auto">
            <a:xfrm flipV="1">
              <a:off x="1971675" y="4267200"/>
              <a:ext cx="5638800" cy="1295400"/>
            </a:xfrm>
            <a:custGeom>
              <a:avLst/>
              <a:gdLst>
                <a:gd name="T0" fmla="*/ 1352504849 w 21600"/>
                <a:gd name="T1" fmla="*/ 38844009 h 21600"/>
                <a:gd name="T2" fmla="*/ 736020028 w 21600"/>
                <a:gd name="T3" fmla="*/ 77688019 h 21600"/>
                <a:gd name="T4" fmla="*/ 119534979 w 21600"/>
                <a:gd name="T5" fmla="*/ 38844009 h 21600"/>
                <a:gd name="T6" fmla="*/ 736020028 w 21600"/>
                <a:gd name="T7" fmla="*/ 0 h 21600"/>
                <a:gd name="T8" fmla="*/ 0 60000 65536"/>
                <a:gd name="T9" fmla="*/ 0 60000 65536"/>
                <a:gd name="T10" fmla="*/ 0 60000 65536"/>
                <a:gd name="T11" fmla="*/ 0 60000 65536"/>
                <a:gd name="T12" fmla="*/ 3554 w 21600"/>
                <a:gd name="T13" fmla="*/ 3554 h 21600"/>
                <a:gd name="T14" fmla="*/ 18046 w 21600"/>
                <a:gd name="T15" fmla="*/ 18046 h 21600"/>
              </a:gdLst>
              <a:ahLst/>
              <a:cxnLst>
                <a:cxn ang="T8">
                  <a:pos x="T0" y="T1"/>
                </a:cxn>
                <a:cxn ang="T9">
                  <a:pos x="T2" y="T3"/>
                </a:cxn>
                <a:cxn ang="T10">
                  <a:pos x="T4" y="T5"/>
                </a:cxn>
                <a:cxn ang="T11">
                  <a:pos x="T6" y="T7"/>
                </a:cxn>
              </a:cxnLst>
              <a:rect l="T12" t="T13" r="T14" b="T15"/>
              <a:pathLst>
                <a:path w="21600" h="21600">
                  <a:moveTo>
                    <a:pt x="0" y="0"/>
                  </a:moveTo>
                  <a:lnTo>
                    <a:pt x="3508" y="21600"/>
                  </a:lnTo>
                  <a:lnTo>
                    <a:pt x="18092" y="21600"/>
                  </a:lnTo>
                  <a:lnTo>
                    <a:pt x="21600" y="0"/>
                  </a:lnTo>
                  <a:close/>
                </a:path>
              </a:pathLst>
            </a:custGeom>
            <a:grpFill/>
            <a:ln w="9525">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grpSp>
      <p:grpSp>
        <p:nvGrpSpPr>
          <p:cNvPr id="33" name="Group 32"/>
          <p:cNvGrpSpPr/>
          <p:nvPr/>
        </p:nvGrpSpPr>
        <p:grpSpPr>
          <a:xfrm>
            <a:off x="6793139" y="1096146"/>
            <a:ext cx="3516086" cy="2423248"/>
            <a:chOff x="1981200" y="1676400"/>
            <a:chExt cx="5638800" cy="3886200"/>
          </a:xfrm>
          <a:solidFill>
            <a:schemeClr val="tx1">
              <a:lumMod val="20000"/>
              <a:lumOff val="80000"/>
            </a:schemeClr>
          </a:solidFill>
        </p:grpSpPr>
        <p:sp>
          <p:nvSpPr>
            <p:cNvPr id="34" name="AutoShape 4"/>
            <p:cNvSpPr>
              <a:spLocks noChangeArrowheads="1"/>
            </p:cNvSpPr>
            <p:nvPr/>
          </p:nvSpPr>
          <p:spPr bwMode="auto">
            <a:xfrm>
              <a:off x="4133851" y="1676400"/>
              <a:ext cx="1333500" cy="914400"/>
            </a:xfrm>
            <a:prstGeom prst="triangle">
              <a:avLst>
                <a:gd name="adj" fmla="val 50000"/>
              </a:avLst>
            </a:prstGeom>
            <a:grpFill/>
            <a:ln w="9525">
              <a:solidFill>
                <a:srgbClr val="EEEEEE"/>
              </a:solidFill>
              <a:miter lim="800000"/>
              <a:headEnd/>
              <a:tailEnd/>
            </a:ln>
          </p:spPr>
          <p:txBody>
            <a:bodyPr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X</a:t>
              </a:r>
            </a:p>
          </p:txBody>
        </p:sp>
        <p:sp>
          <p:nvSpPr>
            <p:cNvPr id="35" name="AutoShape 5"/>
            <p:cNvSpPr>
              <a:spLocks noChangeArrowheads="1"/>
            </p:cNvSpPr>
            <p:nvPr/>
          </p:nvSpPr>
          <p:spPr bwMode="auto">
            <a:xfrm flipV="1">
              <a:off x="3419475" y="2590800"/>
              <a:ext cx="2762250" cy="990600"/>
            </a:xfrm>
            <a:custGeom>
              <a:avLst/>
              <a:gdLst>
                <a:gd name="T0" fmla="*/ 307467599 w 21600"/>
                <a:gd name="T1" fmla="*/ 22715006 h 21600"/>
                <a:gd name="T2" fmla="*/ 176620951 w 21600"/>
                <a:gd name="T3" fmla="*/ 45430012 h 21600"/>
                <a:gd name="T4" fmla="*/ 45774318 w 21600"/>
                <a:gd name="T5" fmla="*/ 22715006 h 21600"/>
                <a:gd name="T6" fmla="*/ 176620951 w 21600"/>
                <a:gd name="T7" fmla="*/ 0 h 21600"/>
                <a:gd name="T8" fmla="*/ 0 60000 65536"/>
                <a:gd name="T9" fmla="*/ 0 60000 65536"/>
                <a:gd name="T10" fmla="*/ 0 60000 65536"/>
                <a:gd name="T11" fmla="*/ 0 60000 65536"/>
                <a:gd name="T12" fmla="*/ 4599 w 21600"/>
                <a:gd name="T13" fmla="*/ 4599 h 21600"/>
                <a:gd name="T14" fmla="*/ 17001 w 21600"/>
                <a:gd name="T15" fmla="*/ 17001 h 21600"/>
              </a:gdLst>
              <a:ahLst/>
              <a:cxnLst>
                <a:cxn ang="T8">
                  <a:pos x="T0" y="T1"/>
                </a:cxn>
                <a:cxn ang="T9">
                  <a:pos x="T2" y="T3"/>
                </a:cxn>
                <a:cxn ang="T10">
                  <a:pos x="T4" y="T5"/>
                </a:cxn>
                <a:cxn ang="T11">
                  <a:pos x="T6" y="T7"/>
                </a:cxn>
              </a:cxnLst>
              <a:rect l="T12" t="T13" r="T14" b="T15"/>
              <a:pathLst>
                <a:path w="21600" h="21600">
                  <a:moveTo>
                    <a:pt x="0" y="0"/>
                  </a:moveTo>
                  <a:lnTo>
                    <a:pt x="5598" y="21600"/>
                  </a:lnTo>
                  <a:lnTo>
                    <a:pt x="16002"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36" name="AutoShape 6"/>
            <p:cNvSpPr>
              <a:spLocks noChangeArrowheads="1"/>
            </p:cNvSpPr>
            <p:nvPr/>
          </p:nvSpPr>
          <p:spPr bwMode="auto">
            <a:xfrm flipV="1">
              <a:off x="2690813" y="3581400"/>
              <a:ext cx="4219575" cy="990600"/>
            </a:xfrm>
            <a:custGeom>
              <a:avLst/>
              <a:gdLst>
                <a:gd name="T0" fmla="*/ 753277280 w 21600"/>
                <a:gd name="T1" fmla="*/ 22715006 h 21600"/>
                <a:gd name="T2" fmla="*/ 412148597 w 21600"/>
                <a:gd name="T3" fmla="*/ 45430012 h 21600"/>
                <a:gd name="T4" fmla="*/ 71019353 w 21600"/>
                <a:gd name="T5" fmla="*/ 22715006 h 21600"/>
                <a:gd name="T6" fmla="*/ 412148597 w 21600"/>
                <a:gd name="T7" fmla="*/ 0 h 21600"/>
                <a:gd name="T8" fmla="*/ 0 60000 65536"/>
                <a:gd name="T9" fmla="*/ 0 60000 65536"/>
                <a:gd name="T10" fmla="*/ 0 60000 65536"/>
                <a:gd name="T11" fmla="*/ 0 60000 65536"/>
                <a:gd name="T12" fmla="*/ 3661 w 21600"/>
                <a:gd name="T13" fmla="*/ 3661 h 21600"/>
                <a:gd name="T14" fmla="*/ 17939 w 21600"/>
                <a:gd name="T15" fmla="*/ 17939 h 21600"/>
              </a:gdLst>
              <a:ahLst/>
              <a:cxnLst>
                <a:cxn ang="T8">
                  <a:pos x="T0" y="T1"/>
                </a:cxn>
                <a:cxn ang="T9">
                  <a:pos x="T2" y="T3"/>
                </a:cxn>
                <a:cxn ang="T10">
                  <a:pos x="T4" y="T5"/>
                </a:cxn>
                <a:cxn ang="T11">
                  <a:pos x="T6" y="T7"/>
                </a:cxn>
              </a:cxnLst>
              <a:rect l="T12" t="T13" r="T14" b="T15"/>
              <a:pathLst>
                <a:path w="21600" h="21600">
                  <a:moveTo>
                    <a:pt x="0" y="0"/>
                  </a:moveTo>
                  <a:lnTo>
                    <a:pt x="3721" y="21600"/>
                  </a:lnTo>
                  <a:lnTo>
                    <a:pt x="17879"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37" name="AutoShape 7"/>
            <p:cNvSpPr>
              <a:spLocks noChangeArrowheads="1"/>
            </p:cNvSpPr>
            <p:nvPr/>
          </p:nvSpPr>
          <p:spPr bwMode="auto">
            <a:xfrm flipV="1">
              <a:off x="1981200" y="4572000"/>
              <a:ext cx="5638800" cy="990600"/>
            </a:xfrm>
            <a:custGeom>
              <a:avLst/>
              <a:gdLst>
                <a:gd name="T0" fmla="*/ 1379014509 w 21600"/>
                <a:gd name="T1" fmla="*/ 22715006 h 21600"/>
                <a:gd name="T2" fmla="*/ 736020028 w 21600"/>
                <a:gd name="T3" fmla="*/ 45430012 h 21600"/>
                <a:gd name="T4" fmla="*/ 93024797 w 21600"/>
                <a:gd name="T5" fmla="*/ 22715006 h 21600"/>
                <a:gd name="T6" fmla="*/ 736020028 w 21600"/>
                <a:gd name="T7" fmla="*/ 0 h 21600"/>
                <a:gd name="T8" fmla="*/ 0 60000 65536"/>
                <a:gd name="T9" fmla="*/ 0 60000 65536"/>
                <a:gd name="T10" fmla="*/ 0 60000 65536"/>
                <a:gd name="T11" fmla="*/ 0 60000 65536"/>
                <a:gd name="T12" fmla="*/ 3165 w 21600"/>
                <a:gd name="T13" fmla="*/ 3165 h 21600"/>
                <a:gd name="T14" fmla="*/ 18435 w 21600"/>
                <a:gd name="T15" fmla="*/ 18435 h 21600"/>
              </a:gdLst>
              <a:ahLst/>
              <a:cxnLst>
                <a:cxn ang="T8">
                  <a:pos x="T0" y="T1"/>
                </a:cxn>
                <a:cxn ang="T9">
                  <a:pos x="T2" y="T3"/>
                </a:cxn>
                <a:cxn ang="T10">
                  <a:pos x="T4" y="T5"/>
                </a:cxn>
                <a:cxn ang="T11">
                  <a:pos x="T6" y="T7"/>
                </a:cxn>
              </a:cxnLst>
              <a:rect l="T12" t="T13" r="T14" b="T15"/>
              <a:pathLst>
                <a:path w="21600" h="21600">
                  <a:moveTo>
                    <a:pt x="0" y="0"/>
                  </a:moveTo>
                  <a:lnTo>
                    <a:pt x="2730" y="21600"/>
                  </a:lnTo>
                  <a:lnTo>
                    <a:pt x="18870"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grpSp>
      <p:grpSp>
        <p:nvGrpSpPr>
          <p:cNvPr id="38" name="Group 37"/>
          <p:cNvGrpSpPr/>
          <p:nvPr/>
        </p:nvGrpSpPr>
        <p:grpSpPr>
          <a:xfrm>
            <a:off x="6624298" y="3658333"/>
            <a:ext cx="3516086" cy="2423248"/>
            <a:chOff x="1981200" y="1676400"/>
            <a:chExt cx="5638800" cy="3886200"/>
          </a:xfrm>
          <a:solidFill>
            <a:schemeClr val="tx1">
              <a:lumMod val="20000"/>
              <a:lumOff val="80000"/>
            </a:schemeClr>
          </a:solidFill>
        </p:grpSpPr>
        <p:sp>
          <p:nvSpPr>
            <p:cNvPr id="39" name="AutoShape 4"/>
            <p:cNvSpPr>
              <a:spLocks noChangeArrowheads="1"/>
            </p:cNvSpPr>
            <p:nvPr/>
          </p:nvSpPr>
          <p:spPr bwMode="auto">
            <a:xfrm>
              <a:off x="4191000" y="1676400"/>
              <a:ext cx="1219200" cy="838200"/>
            </a:xfrm>
            <a:prstGeom prst="triangle">
              <a:avLst>
                <a:gd name="adj" fmla="val 50000"/>
              </a:avLst>
            </a:prstGeom>
            <a:grpFill/>
            <a:ln w="9525" algn="ctr">
              <a:solidFill>
                <a:srgbClr val="EEEEEE"/>
              </a:solidFill>
              <a:miter lim="800000"/>
              <a:headEnd/>
              <a:tailEnd/>
            </a:ln>
          </p:spPr>
          <p:txBody>
            <a:bodyPr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X</a:t>
              </a:r>
            </a:p>
          </p:txBody>
        </p:sp>
        <p:sp>
          <p:nvSpPr>
            <p:cNvPr id="40" name="AutoShape 5"/>
            <p:cNvSpPr>
              <a:spLocks noChangeArrowheads="1"/>
            </p:cNvSpPr>
            <p:nvPr/>
          </p:nvSpPr>
          <p:spPr bwMode="auto">
            <a:xfrm flipV="1">
              <a:off x="3743325" y="2514600"/>
              <a:ext cx="2114550" cy="609600"/>
            </a:xfrm>
            <a:custGeom>
              <a:avLst/>
              <a:gdLst>
                <a:gd name="T0" fmla="*/ 185174160 w 21600"/>
                <a:gd name="T1" fmla="*/ 8602134 h 21600"/>
                <a:gd name="T2" fmla="*/ 103502829 w 21600"/>
                <a:gd name="T3" fmla="*/ 17204267 h 21600"/>
                <a:gd name="T4" fmla="*/ 21831454 w 21600"/>
                <a:gd name="T5" fmla="*/ 8602134 h 21600"/>
                <a:gd name="T6" fmla="*/ 103502829 w 21600"/>
                <a:gd name="T7" fmla="*/ 0 h 21600"/>
                <a:gd name="T8" fmla="*/ 0 60000 65536"/>
                <a:gd name="T9" fmla="*/ 0 60000 65536"/>
                <a:gd name="T10" fmla="*/ 0 60000 65536"/>
                <a:gd name="T11" fmla="*/ 0 60000 65536"/>
                <a:gd name="T12" fmla="*/ 4078 w 21600"/>
                <a:gd name="T13" fmla="*/ 4078 h 21600"/>
                <a:gd name="T14" fmla="*/ 17522 w 21600"/>
                <a:gd name="T15" fmla="*/ 17522 h 21600"/>
              </a:gdLst>
              <a:ahLst/>
              <a:cxnLst>
                <a:cxn ang="T8">
                  <a:pos x="T0" y="T1"/>
                </a:cxn>
                <a:cxn ang="T9">
                  <a:pos x="T2" y="T3"/>
                </a:cxn>
                <a:cxn ang="T10">
                  <a:pos x="T4" y="T5"/>
                </a:cxn>
                <a:cxn ang="T11">
                  <a:pos x="T6" y="T7"/>
                </a:cxn>
              </a:cxnLst>
              <a:rect l="T12" t="T13" r="T14" b="T15"/>
              <a:pathLst>
                <a:path w="21600" h="21600">
                  <a:moveTo>
                    <a:pt x="0" y="0"/>
                  </a:moveTo>
                  <a:lnTo>
                    <a:pt x="4556" y="21600"/>
                  </a:lnTo>
                  <a:lnTo>
                    <a:pt x="17044"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41" name="AutoShape 6"/>
            <p:cNvSpPr>
              <a:spLocks noChangeArrowheads="1"/>
            </p:cNvSpPr>
            <p:nvPr/>
          </p:nvSpPr>
          <p:spPr bwMode="auto">
            <a:xfrm flipV="1">
              <a:off x="3305175" y="3124200"/>
              <a:ext cx="2990850" cy="609600"/>
            </a:xfrm>
            <a:custGeom>
              <a:avLst/>
              <a:gdLst>
                <a:gd name="T0" fmla="*/ 383471833 w 21600"/>
                <a:gd name="T1" fmla="*/ 8602134 h 21600"/>
                <a:gd name="T2" fmla="*/ 207064432 w 21600"/>
                <a:gd name="T3" fmla="*/ 17204267 h 21600"/>
                <a:gd name="T4" fmla="*/ 30657041 w 21600"/>
                <a:gd name="T5" fmla="*/ 8602134 h 21600"/>
                <a:gd name="T6" fmla="*/ 207064432 w 21600"/>
                <a:gd name="T7" fmla="*/ 0 h 21600"/>
                <a:gd name="T8" fmla="*/ 0 60000 65536"/>
                <a:gd name="T9" fmla="*/ 0 60000 65536"/>
                <a:gd name="T10" fmla="*/ 0 60000 65536"/>
                <a:gd name="T11" fmla="*/ 0 60000 65536"/>
                <a:gd name="T12" fmla="*/ 3399 w 21600"/>
                <a:gd name="T13" fmla="*/ 3399 h 21600"/>
                <a:gd name="T14" fmla="*/ 18201 w 21600"/>
                <a:gd name="T15" fmla="*/ 18201 h 21600"/>
              </a:gdLst>
              <a:ahLst/>
              <a:cxnLst>
                <a:cxn ang="T8">
                  <a:pos x="T0" y="T1"/>
                </a:cxn>
                <a:cxn ang="T9">
                  <a:pos x="T2" y="T3"/>
                </a:cxn>
                <a:cxn ang="T10">
                  <a:pos x="T4" y="T5"/>
                </a:cxn>
                <a:cxn ang="T11">
                  <a:pos x="T6" y="T7"/>
                </a:cxn>
              </a:cxnLst>
              <a:rect l="T12" t="T13" r="T14" b="T15"/>
              <a:pathLst>
                <a:path w="21600" h="21600">
                  <a:moveTo>
                    <a:pt x="0" y="0"/>
                  </a:moveTo>
                  <a:lnTo>
                    <a:pt x="3198" y="21600"/>
                  </a:lnTo>
                  <a:lnTo>
                    <a:pt x="18402"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42" name="AutoShape 7"/>
            <p:cNvSpPr>
              <a:spLocks noChangeArrowheads="1"/>
            </p:cNvSpPr>
            <p:nvPr/>
          </p:nvSpPr>
          <p:spPr bwMode="auto">
            <a:xfrm flipV="1">
              <a:off x="2862263" y="3733800"/>
              <a:ext cx="3876675" cy="609600"/>
            </a:xfrm>
            <a:custGeom>
              <a:avLst/>
              <a:gdLst>
                <a:gd name="T0" fmla="*/ 655890996 w 21600"/>
                <a:gd name="T1" fmla="*/ 8602134 h 21600"/>
                <a:gd name="T2" fmla="*/ 347884523 w 21600"/>
                <a:gd name="T3" fmla="*/ 17204267 h 21600"/>
                <a:gd name="T4" fmla="*/ 39877881 w 21600"/>
                <a:gd name="T5" fmla="*/ 8602134 h 21600"/>
                <a:gd name="T6" fmla="*/ 347884523 w 21600"/>
                <a:gd name="T7" fmla="*/ 0 h 21600"/>
                <a:gd name="T8" fmla="*/ 0 60000 65536"/>
                <a:gd name="T9" fmla="*/ 0 60000 65536"/>
                <a:gd name="T10" fmla="*/ 0 60000 65536"/>
                <a:gd name="T11" fmla="*/ 0 60000 65536"/>
                <a:gd name="T12" fmla="*/ 3038 w 21600"/>
                <a:gd name="T13" fmla="*/ 3038 h 21600"/>
                <a:gd name="T14" fmla="*/ 18562 w 21600"/>
                <a:gd name="T15" fmla="*/ 18562 h 21600"/>
              </a:gdLst>
              <a:ahLst/>
              <a:cxnLst>
                <a:cxn ang="T8">
                  <a:pos x="T0" y="T1"/>
                </a:cxn>
                <a:cxn ang="T9">
                  <a:pos x="T2" y="T3"/>
                </a:cxn>
                <a:cxn ang="T10">
                  <a:pos x="T4" y="T5"/>
                </a:cxn>
                <a:cxn ang="T11">
                  <a:pos x="T6" y="T7"/>
                </a:cxn>
              </a:cxnLst>
              <a:rect l="T12" t="T13" r="T14" b="T15"/>
              <a:pathLst>
                <a:path w="21600" h="21600">
                  <a:moveTo>
                    <a:pt x="0" y="0"/>
                  </a:moveTo>
                  <a:lnTo>
                    <a:pt x="2476" y="21600"/>
                  </a:lnTo>
                  <a:lnTo>
                    <a:pt x="19124"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43" name="AutoShape 8"/>
            <p:cNvSpPr>
              <a:spLocks noChangeArrowheads="1"/>
            </p:cNvSpPr>
            <p:nvPr/>
          </p:nvSpPr>
          <p:spPr bwMode="auto">
            <a:xfrm flipV="1">
              <a:off x="2424113" y="4343400"/>
              <a:ext cx="4752975" cy="609600"/>
            </a:xfrm>
            <a:custGeom>
              <a:avLst/>
              <a:gdLst>
                <a:gd name="T0" fmla="*/ 997497261 w 21600"/>
                <a:gd name="T1" fmla="*/ 8602134 h 21600"/>
                <a:gd name="T2" fmla="*/ 522934663 w 21600"/>
                <a:gd name="T3" fmla="*/ 17204267 h 21600"/>
                <a:gd name="T4" fmla="*/ 48371419 w 21600"/>
                <a:gd name="T5" fmla="*/ 8602134 h 21600"/>
                <a:gd name="T6" fmla="*/ 522934663 w 21600"/>
                <a:gd name="T7" fmla="*/ 0 h 21600"/>
                <a:gd name="T8" fmla="*/ 0 60000 65536"/>
                <a:gd name="T9" fmla="*/ 0 60000 65536"/>
                <a:gd name="T10" fmla="*/ 0 60000 65536"/>
                <a:gd name="T11" fmla="*/ 0 60000 65536"/>
                <a:gd name="T12" fmla="*/ 2799 w 21600"/>
                <a:gd name="T13" fmla="*/ 2799 h 21600"/>
                <a:gd name="T14" fmla="*/ 18801 w 21600"/>
                <a:gd name="T15" fmla="*/ 18801 h 21600"/>
              </a:gdLst>
              <a:ahLst/>
              <a:cxnLst>
                <a:cxn ang="T8">
                  <a:pos x="T0" y="T1"/>
                </a:cxn>
                <a:cxn ang="T9">
                  <a:pos x="T2" y="T3"/>
                </a:cxn>
                <a:cxn ang="T10">
                  <a:pos x="T4" y="T5"/>
                </a:cxn>
                <a:cxn ang="T11">
                  <a:pos x="T6" y="T7"/>
                </a:cxn>
              </a:cxnLst>
              <a:rect l="T12" t="T13" r="T14" b="T15"/>
              <a:pathLst>
                <a:path w="21600" h="21600">
                  <a:moveTo>
                    <a:pt x="0" y="0"/>
                  </a:moveTo>
                  <a:lnTo>
                    <a:pt x="1998" y="21600"/>
                  </a:lnTo>
                  <a:lnTo>
                    <a:pt x="19602"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44" name="AutoShape 9"/>
            <p:cNvSpPr>
              <a:spLocks noChangeArrowheads="1"/>
            </p:cNvSpPr>
            <p:nvPr/>
          </p:nvSpPr>
          <p:spPr bwMode="auto">
            <a:xfrm flipV="1">
              <a:off x="1981200" y="4953000"/>
              <a:ext cx="5638800" cy="609600"/>
            </a:xfrm>
            <a:custGeom>
              <a:avLst/>
              <a:gdLst>
                <a:gd name="T0" fmla="*/ 1413634640 w 21600"/>
                <a:gd name="T1" fmla="*/ 8602134 h 21600"/>
                <a:gd name="T2" fmla="*/ 736020028 w 21600"/>
                <a:gd name="T3" fmla="*/ 17204267 h 21600"/>
                <a:gd name="T4" fmla="*/ 58404649 w 21600"/>
                <a:gd name="T5" fmla="*/ 8602134 h 21600"/>
                <a:gd name="T6" fmla="*/ 736020028 w 21600"/>
                <a:gd name="T7" fmla="*/ 0 h 21600"/>
                <a:gd name="T8" fmla="*/ 0 60000 65536"/>
                <a:gd name="T9" fmla="*/ 0 60000 65536"/>
                <a:gd name="T10" fmla="*/ 0 60000 65536"/>
                <a:gd name="T11" fmla="*/ 0 60000 65536"/>
                <a:gd name="T12" fmla="*/ 2657 w 21600"/>
                <a:gd name="T13" fmla="*/ 2657 h 21600"/>
                <a:gd name="T14" fmla="*/ 18943 w 21600"/>
                <a:gd name="T15" fmla="*/ 18943 h 21600"/>
              </a:gdLst>
              <a:ahLst/>
              <a:cxnLst>
                <a:cxn ang="T8">
                  <a:pos x="T0" y="T1"/>
                </a:cxn>
                <a:cxn ang="T9">
                  <a:pos x="T2" y="T3"/>
                </a:cxn>
                <a:cxn ang="T10">
                  <a:pos x="T4" y="T5"/>
                </a:cxn>
                <a:cxn ang="T11">
                  <a:pos x="T6" y="T7"/>
                </a:cxn>
              </a:cxnLst>
              <a:rect l="T12" t="T13" r="T14" b="T15"/>
              <a:pathLst>
                <a:path w="21600" h="21600">
                  <a:moveTo>
                    <a:pt x="0" y="0"/>
                  </a:moveTo>
                  <a:lnTo>
                    <a:pt x="1714" y="21600"/>
                  </a:lnTo>
                  <a:lnTo>
                    <a:pt x="19886"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grpSp>
      <p:grpSp>
        <p:nvGrpSpPr>
          <p:cNvPr id="45" name="Group 44"/>
          <p:cNvGrpSpPr/>
          <p:nvPr/>
        </p:nvGrpSpPr>
        <p:grpSpPr>
          <a:xfrm>
            <a:off x="1936036" y="3630896"/>
            <a:ext cx="3516086" cy="2423248"/>
            <a:chOff x="1981200" y="1676400"/>
            <a:chExt cx="5638800" cy="3886200"/>
          </a:xfrm>
          <a:solidFill>
            <a:schemeClr val="tx1">
              <a:lumMod val="20000"/>
              <a:lumOff val="80000"/>
            </a:schemeClr>
          </a:solidFill>
        </p:grpSpPr>
        <p:sp>
          <p:nvSpPr>
            <p:cNvPr id="46" name="AutoShape 4"/>
            <p:cNvSpPr>
              <a:spLocks noChangeArrowheads="1"/>
            </p:cNvSpPr>
            <p:nvPr/>
          </p:nvSpPr>
          <p:spPr bwMode="auto">
            <a:xfrm>
              <a:off x="4191000" y="1676400"/>
              <a:ext cx="1219200" cy="838200"/>
            </a:xfrm>
            <a:prstGeom prst="triangle">
              <a:avLst>
                <a:gd name="adj" fmla="val 50000"/>
              </a:avLst>
            </a:prstGeom>
            <a:grpFill/>
            <a:ln w="9525" algn="ctr">
              <a:solidFill>
                <a:srgbClr val="EEEEEE"/>
              </a:solidFill>
              <a:miter lim="800000"/>
              <a:headEnd/>
              <a:tailEnd/>
            </a:ln>
          </p:spPr>
          <p:txBody>
            <a:bodyPr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X</a:t>
              </a:r>
            </a:p>
          </p:txBody>
        </p:sp>
        <p:sp>
          <p:nvSpPr>
            <p:cNvPr id="47" name="AutoShape 5"/>
            <p:cNvSpPr>
              <a:spLocks noChangeArrowheads="1"/>
            </p:cNvSpPr>
            <p:nvPr/>
          </p:nvSpPr>
          <p:spPr bwMode="auto">
            <a:xfrm flipV="1">
              <a:off x="3638550" y="2514600"/>
              <a:ext cx="2324100" cy="762000"/>
            </a:xfrm>
            <a:custGeom>
              <a:avLst/>
              <a:gdLst>
                <a:gd name="T0" fmla="*/ 220348110 w 21600"/>
                <a:gd name="T1" fmla="*/ 13440833 h 21600"/>
                <a:gd name="T2" fmla="*/ 125033361 w 21600"/>
                <a:gd name="T3" fmla="*/ 26881666 h 21600"/>
                <a:gd name="T4" fmla="*/ 29718571 w 21600"/>
                <a:gd name="T5" fmla="*/ 13440833 h 21600"/>
                <a:gd name="T6" fmla="*/ 125033361 w 21600"/>
                <a:gd name="T7" fmla="*/ 0 h 21600"/>
                <a:gd name="T8" fmla="*/ 0 60000 65536"/>
                <a:gd name="T9" fmla="*/ 0 60000 65536"/>
                <a:gd name="T10" fmla="*/ 0 60000 65536"/>
                <a:gd name="T11" fmla="*/ 0 60000 65536"/>
                <a:gd name="T12" fmla="*/ 4367 w 21600"/>
                <a:gd name="T13" fmla="*/ 4367 h 21600"/>
                <a:gd name="T14" fmla="*/ 17233 w 21600"/>
                <a:gd name="T15" fmla="*/ 17233 h 21600"/>
              </a:gdLst>
              <a:ahLst/>
              <a:cxnLst>
                <a:cxn ang="T8">
                  <a:pos x="T0" y="T1"/>
                </a:cxn>
                <a:cxn ang="T9">
                  <a:pos x="T2" y="T3"/>
                </a:cxn>
                <a:cxn ang="T10">
                  <a:pos x="T4" y="T5"/>
                </a:cxn>
                <a:cxn ang="T11">
                  <a:pos x="T6" y="T7"/>
                </a:cxn>
              </a:cxnLst>
              <a:rect l="T12" t="T13" r="T14" b="T15"/>
              <a:pathLst>
                <a:path w="21600" h="21600">
                  <a:moveTo>
                    <a:pt x="0" y="0"/>
                  </a:moveTo>
                  <a:lnTo>
                    <a:pt x="5134" y="21600"/>
                  </a:lnTo>
                  <a:lnTo>
                    <a:pt x="16466"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48" name="AutoShape 6"/>
            <p:cNvSpPr>
              <a:spLocks noChangeArrowheads="1"/>
            </p:cNvSpPr>
            <p:nvPr/>
          </p:nvSpPr>
          <p:spPr bwMode="auto">
            <a:xfrm flipV="1">
              <a:off x="3081338" y="3276600"/>
              <a:ext cx="3438525" cy="762000"/>
            </a:xfrm>
            <a:custGeom>
              <a:avLst/>
              <a:gdLst>
                <a:gd name="T0" fmla="*/ 503287330 w 21600"/>
                <a:gd name="T1" fmla="*/ 13440833 h 21600"/>
                <a:gd name="T2" fmla="*/ 273691129 w 21600"/>
                <a:gd name="T3" fmla="*/ 26881666 h 21600"/>
                <a:gd name="T4" fmla="*/ 44094630 w 21600"/>
                <a:gd name="T5" fmla="*/ 13440833 h 21600"/>
                <a:gd name="T6" fmla="*/ 273691129 w 21600"/>
                <a:gd name="T7" fmla="*/ 0 h 21600"/>
                <a:gd name="T8" fmla="*/ 0 60000 65536"/>
                <a:gd name="T9" fmla="*/ 0 60000 65536"/>
                <a:gd name="T10" fmla="*/ 0 60000 65536"/>
                <a:gd name="T11" fmla="*/ 0 60000 65536"/>
                <a:gd name="T12" fmla="*/ 3540 w 21600"/>
                <a:gd name="T13" fmla="*/ 3540 h 21600"/>
                <a:gd name="T14" fmla="*/ 18060 w 21600"/>
                <a:gd name="T15" fmla="*/ 18060 h 21600"/>
              </a:gdLst>
              <a:ahLst/>
              <a:cxnLst>
                <a:cxn ang="T8">
                  <a:pos x="T0" y="T1"/>
                </a:cxn>
                <a:cxn ang="T9">
                  <a:pos x="T2" y="T3"/>
                </a:cxn>
                <a:cxn ang="T10">
                  <a:pos x="T4" y="T5"/>
                </a:cxn>
                <a:cxn ang="T11">
                  <a:pos x="T6" y="T7"/>
                </a:cxn>
              </a:cxnLst>
              <a:rect l="T12" t="T13" r="T14" b="T15"/>
              <a:pathLst>
                <a:path w="21600" h="21600">
                  <a:moveTo>
                    <a:pt x="0" y="0"/>
                  </a:moveTo>
                  <a:lnTo>
                    <a:pt x="3480" y="21600"/>
                  </a:lnTo>
                  <a:lnTo>
                    <a:pt x="18120"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49" name="AutoShape 7"/>
            <p:cNvSpPr>
              <a:spLocks noChangeArrowheads="1"/>
            </p:cNvSpPr>
            <p:nvPr/>
          </p:nvSpPr>
          <p:spPr bwMode="auto">
            <a:xfrm flipV="1">
              <a:off x="2533650" y="4038600"/>
              <a:ext cx="4533900" cy="762000"/>
            </a:xfrm>
            <a:custGeom>
              <a:avLst/>
              <a:gdLst>
                <a:gd name="T0" fmla="*/ 893872755 w 21600"/>
                <a:gd name="T1" fmla="*/ 13440833 h 21600"/>
                <a:gd name="T2" fmla="*/ 475839140 w 21600"/>
                <a:gd name="T3" fmla="*/ 26881666 h 21600"/>
                <a:gd name="T4" fmla="*/ 57805551 w 21600"/>
                <a:gd name="T5" fmla="*/ 13440833 h 21600"/>
                <a:gd name="T6" fmla="*/ 475839140 w 21600"/>
                <a:gd name="T7" fmla="*/ 0 h 21600"/>
                <a:gd name="T8" fmla="*/ 0 60000 65536"/>
                <a:gd name="T9" fmla="*/ 0 60000 65536"/>
                <a:gd name="T10" fmla="*/ 0 60000 65536"/>
                <a:gd name="T11" fmla="*/ 0 60000 65536"/>
                <a:gd name="T12" fmla="*/ 3112 w 21600"/>
                <a:gd name="T13" fmla="*/ 3112 h 21600"/>
                <a:gd name="T14" fmla="*/ 18488 w 21600"/>
                <a:gd name="T15" fmla="*/ 18488 h 21600"/>
              </a:gdLst>
              <a:ahLst/>
              <a:cxnLst>
                <a:cxn ang="T8">
                  <a:pos x="T0" y="T1"/>
                </a:cxn>
                <a:cxn ang="T9">
                  <a:pos x="T2" y="T3"/>
                </a:cxn>
                <a:cxn ang="T10">
                  <a:pos x="T4" y="T5"/>
                </a:cxn>
                <a:cxn ang="T11">
                  <a:pos x="T6" y="T7"/>
                </a:cxn>
              </a:cxnLst>
              <a:rect l="T12" t="T13" r="T14" b="T15"/>
              <a:pathLst>
                <a:path w="21600" h="21600">
                  <a:moveTo>
                    <a:pt x="0" y="0"/>
                  </a:moveTo>
                  <a:lnTo>
                    <a:pt x="2624" y="21600"/>
                  </a:lnTo>
                  <a:lnTo>
                    <a:pt x="18976"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sp>
          <p:nvSpPr>
            <p:cNvPr id="50" name="AutoShape 8"/>
            <p:cNvSpPr>
              <a:spLocks noChangeArrowheads="1"/>
            </p:cNvSpPr>
            <p:nvPr/>
          </p:nvSpPr>
          <p:spPr bwMode="auto">
            <a:xfrm flipV="1">
              <a:off x="1981200" y="4800600"/>
              <a:ext cx="5638800" cy="762000"/>
            </a:xfrm>
            <a:custGeom>
              <a:avLst/>
              <a:gdLst>
                <a:gd name="T0" fmla="*/ 1399323580 w 21600"/>
                <a:gd name="T1" fmla="*/ 13440833 h 21600"/>
                <a:gd name="T2" fmla="*/ 736020028 w 21600"/>
                <a:gd name="T3" fmla="*/ 26881666 h 21600"/>
                <a:gd name="T4" fmla="*/ 72715987 w 21600"/>
                <a:gd name="T5" fmla="*/ 13440833 h 21600"/>
                <a:gd name="T6" fmla="*/ 736020028 w 21600"/>
                <a:gd name="T7" fmla="*/ 0 h 21600"/>
                <a:gd name="T8" fmla="*/ 0 60000 65536"/>
                <a:gd name="T9" fmla="*/ 0 60000 65536"/>
                <a:gd name="T10" fmla="*/ 0 60000 65536"/>
                <a:gd name="T11" fmla="*/ 0 60000 65536"/>
                <a:gd name="T12" fmla="*/ 2867 w 21600"/>
                <a:gd name="T13" fmla="*/ 2867 h 21600"/>
                <a:gd name="T14" fmla="*/ 18733 w 21600"/>
                <a:gd name="T15" fmla="*/ 18733 h 21600"/>
              </a:gdLst>
              <a:ahLst/>
              <a:cxnLst>
                <a:cxn ang="T8">
                  <a:pos x="T0" y="T1"/>
                </a:cxn>
                <a:cxn ang="T9">
                  <a:pos x="T2" y="T3"/>
                </a:cxn>
                <a:cxn ang="T10">
                  <a:pos x="T4" y="T5"/>
                </a:cxn>
                <a:cxn ang="T11">
                  <a:pos x="T6" y="T7"/>
                </a:cxn>
              </a:cxnLst>
              <a:rect l="T12" t="T13" r="T14" b="T15"/>
              <a:pathLst>
                <a:path w="21600" h="21600">
                  <a:moveTo>
                    <a:pt x="0" y="0"/>
                  </a:moveTo>
                  <a:lnTo>
                    <a:pt x="2134" y="21600"/>
                  </a:lnTo>
                  <a:lnTo>
                    <a:pt x="19466" y="21600"/>
                  </a:lnTo>
                  <a:lnTo>
                    <a:pt x="21600" y="0"/>
                  </a:lnTo>
                  <a:close/>
                </a:path>
              </a:pathLst>
            </a:custGeom>
            <a:grpFill/>
            <a:ln w="9525" algn="ctr">
              <a:solidFill>
                <a:srgbClr val="EEEEEE"/>
              </a:solidFill>
              <a:miter lim="800000"/>
              <a:headEnd/>
              <a:tailEnd/>
            </a:ln>
          </p:spPr>
          <p:txBody>
            <a:bodyPr rot="10800000" tIns="91440" bIns="91440"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altLang="en-US" sz="1100" b="0" kern="0">
                  <a:latin typeface="Arial" panose="020B0604020202020204" pitchFamily="34" charset="0"/>
                  <a:cs typeface="Arial" panose="020B0604020202020204" pitchFamily="34" charset="0"/>
                </a:rPr>
                <a:t>Text</a:t>
              </a:r>
            </a:p>
          </p:txBody>
        </p:sp>
      </p:grpSp>
    </p:spTree>
    <p:extLst>
      <p:ext uri="{BB962C8B-B14F-4D97-AF65-F5344CB8AC3E}">
        <p14:creationId xmlns:p14="http://schemas.microsoft.com/office/powerpoint/2010/main" val="37020591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59" name="Rectangle 15" hidden="1"/>
          <p:cNvGraphicFramePr>
            <a:graphicFrameLocks/>
          </p:cNvGraphicFramePr>
          <p:nvPr>
            <p:custDataLst>
              <p:tags r:id="rId1"/>
            </p:custDataLst>
            <p:extLst>
              <p:ext uri="{D42A27DB-BD31-4B8C-83A1-F6EECF244321}">
                <p14:modId xmlns:p14="http://schemas.microsoft.com/office/powerpoint/2010/main" val="3689799909"/>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6159" name="Rectangle 1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6146" name="AutoShape 2"/>
          <p:cNvSpPr>
            <a:spLocks noChangeArrowheads="1"/>
          </p:cNvSpPr>
          <p:nvPr/>
        </p:nvSpPr>
        <p:spPr bwMode="gray">
          <a:xfrm rot="5400000">
            <a:off x="4085432" y="3872487"/>
            <a:ext cx="976313" cy="447675"/>
          </a:xfrm>
          <a:prstGeom prst="rightArrow">
            <a:avLst>
              <a:gd name="adj1" fmla="val 50000"/>
              <a:gd name="adj2" fmla="val 54521"/>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6147" name="AutoShape 3"/>
          <p:cNvSpPr>
            <a:spLocks noChangeArrowheads="1"/>
          </p:cNvSpPr>
          <p:nvPr/>
        </p:nvSpPr>
        <p:spPr bwMode="gray">
          <a:xfrm rot="5400000">
            <a:off x="7206457" y="3861374"/>
            <a:ext cx="976312" cy="447675"/>
          </a:xfrm>
          <a:prstGeom prst="rightArrow">
            <a:avLst>
              <a:gd name="adj1" fmla="val 50000"/>
              <a:gd name="adj2" fmla="val 54521"/>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6148" name="AutoShape 4"/>
          <p:cNvSpPr>
            <a:spLocks noChangeArrowheads="1"/>
          </p:cNvSpPr>
          <p:nvPr/>
        </p:nvSpPr>
        <p:spPr bwMode="gray">
          <a:xfrm rot="10800000">
            <a:off x="3409950" y="3355755"/>
            <a:ext cx="5341938" cy="309562"/>
          </a:xfrm>
          <a:custGeom>
            <a:avLst/>
            <a:gdLst>
              <a:gd name="T0" fmla="*/ 2147483647 w 21600"/>
              <a:gd name="T1" fmla="*/ 31791086 h 21600"/>
              <a:gd name="T2" fmla="*/ 2147483647 w 21600"/>
              <a:gd name="T3" fmla="*/ 63582186 h 21600"/>
              <a:gd name="T4" fmla="*/ 2147483647 w 21600"/>
              <a:gd name="T5" fmla="*/ 31791086 h 21600"/>
              <a:gd name="T6" fmla="*/ 2147483647 w 21600"/>
              <a:gd name="T7" fmla="*/ 0 h 21600"/>
              <a:gd name="T8" fmla="*/ 0 60000 65536"/>
              <a:gd name="T9" fmla="*/ 0 60000 65536"/>
              <a:gd name="T10" fmla="*/ 0 60000 65536"/>
              <a:gd name="T11" fmla="*/ 0 60000 65536"/>
              <a:gd name="T12" fmla="*/ 3427 w 21600"/>
              <a:gd name="T13" fmla="*/ 3427 h 21600"/>
              <a:gd name="T14" fmla="*/ 18173 w 21600"/>
              <a:gd name="T15" fmla="*/ 18173 h 21600"/>
            </a:gdLst>
            <a:ahLst/>
            <a:cxnLst>
              <a:cxn ang="T8">
                <a:pos x="T0" y="T1"/>
              </a:cxn>
              <a:cxn ang="T9">
                <a:pos x="T2" y="T3"/>
              </a:cxn>
              <a:cxn ang="T10">
                <a:pos x="T4" y="T5"/>
              </a:cxn>
              <a:cxn ang="T11">
                <a:pos x="T6" y="T7"/>
              </a:cxn>
            </a:cxnLst>
            <a:rect l="T12" t="T13" r="T14" b="T15"/>
            <a:pathLst>
              <a:path w="21600" h="21600">
                <a:moveTo>
                  <a:pt x="0" y="0"/>
                </a:moveTo>
                <a:lnTo>
                  <a:pt x="3254" y="21600"/>
                </a:lnTo>
                <a:lnTo>
                  <a:pt x="18346" y="21600"/>
                </a:lnTo>
                <a:lnTo>
                  <a:pt x="21600" y="0"/>
                </a:lnTo>
                <a:lnTo>
                  <a:pt x="0" y="0"/>
                </a:lnTo>
                <a:close/>
              </a:path>
            </a:pathLst>
          </a:custGeom>
          <a:solidFill>
            <a:srgbClr val="BFBFB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en-US">
              <a:latin typeface="Arial" panose="020B0604020202020204" pitchFamily="34" charset="0"/>
              <a:cs typeface="Arial" panose="020B0604020202020204" pitchFamily="34" charset="0"/>
            </a:endParaRPr>
          </a:p>
        </p:txBody>
      </p:sp>
      <p:sp>
        <p:nvSpPr>
          <p:cNvPr id="6149" name="Rectangle 5"/>
          <p:cNvSpPr>
            <a:spLocks noChangeArrowheads="1"/>
          </p:cNvSpPr>
          <p:nvPr/>
        </p:nvSpPr>
        <p:spPr bwMode="gray">
          <a:xfrm>
            <a:off x="3409950" y="3665318"/>
            <a:ext cx="5341938" cy="233363"/>
          </a:xfrm>
          <a:prstGeom prst="rect">
            <a:avLst/>
          </a:prstGeom>
          <a:solidFill>
            <a:srgbClr val="DCDCDC"/>
          </a:solidFill>
          <a:ln>
            <a:noFill/>
          </a:ln>
          <a:effectLst/>
          <a:extLs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441325"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Enter text</a:t>
            </a:r>
          </a:p>
        </p:txBody>
      </p:sp>
      <p:sp>
        <p:nvSpPr>
          <p:cNvPr id="4" name="Text Placeholder 3"/>
          <p:cNvSpPr>
            <a:spLocks noGrp="1"/>
          </p:cNvSpPr>
          <p:nvPr>
            <p:ph type="body" sz="quarter" idx="11"/>
          </p:nvPr>
        </p:nvSpPr>
        <p:spPr/>
        <p:txBody>
          <a:bodyPr/>
          <a:lstStyle/>
          <a:p>
            <a:endParaRPr lang="en-US"/>
          </a:p>
        </p:txBody>
      </p:sp>
      <p:sp>
        <p:nvSpPr>
          <p:cNvPr id="6151" name="Rectangle 7"/>
          <p:cNvSpPr>
            <a:spLocks noGrp="1" noChangeArrowheads="1"/>
          </p:cNvSpPr>
          <p:nvPr>
            <p:ph type="title"/>
          </p:nvPr>
        </p:nvSpPr>
        <p:spPr/>
        <p:txBody>
          <a:bodyPr/>
          <a:lstStyle/>
          <a:p>
            <a:r>
              <a:rPr lang="en-GB" altLang="en-US"/>
              <a:t>Filters, funnels, screens</a:t>
            </a:r>
          </a:p>
        </p:txBody>
      </p:sp>
      <p:sp>
        <p:nvSpPr>
          <p:cNvPr id="6152" name="Rectangle 8"/>
          <p:cNvSpPr>
            <a:spLocks noChangeArrowheads="1"/>
          </p:cNvSpPr>
          <p:nvPr/>
        </p:nvSpPr>
        <p:spPr bwMode="gray">
          <a:xfrm>
            <a:off x="5894388" y="1706343"/>
            <a:ext cx="373062" cy="212725"/>
          </a:xfrm>
          <a:prstGeom prst="rect">
            <a:avLst/>
          </a:prstGeom>
          <a:noFill/>
          <a:ln>
            <a:noFill/>
          </a:ln>
          <a:effectLst/>
          <a:extLst>
            <a:ext uri="{909E8E84-426E-40DD-AFC4-6F175D3DCCD1}">
              <a14:hiddenFill xmlns:a14="http://schemas.microsoft.com/office/drawing/2010/main">
                <a:solidFill>
                  <a:srgbClr val="DCDCDC"/>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algn="l">
              <a:spcBef>
                <a:spcPct val="20000"/>
              </a:spcBef>
              <a:buChar char="•"/>
              <a:defRPr sz="1100">
                <a:solidFill>
                  <a:schemeClr val="tx1"/>
                </a:solidFill>
                <a:latin typeface="Arial" panose="020B0604020202020204" pitchFamily="34" charset="0"/>
              </a:defRPr>
            </a:lvl1pPr>
            <a:lvl2pPr marL="530225"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Start</a:t>
            </a:r>
          </a:p>
        </p:txBody>
      </p:sp>
      <p:sp>
        <p:nvSpPr>
          <p:cNvPr id="6153" name="Rectangle 9"/>
          <p:cNvSpPr>
            <a:spLocks noChangeArrowheads="1"/>
          </p:cNvSpPr>
          <p:nvPr/>
        </p:nvSpPr>
        <p:spPr bwMode="gray">
          <a:xfrm>
            <a:off x="5838826" y="5130581"/>
            <a:ext cx="498475" cy="212725"/>
          </a:xfrm>
          <a:prstGeom prst="rect">
            <a:avLst/>
          </a:prstGeom>
          <a:noFill/>
          <a:ln>
            <a:noFill/>
          </a:ln>
          <a:effectLst/>
          <a:extLst>
            <a:ext uri="{909E8E84-426E-40DD-AFC4-6F175D3DCCD1}">
              <a14:hiddenFill xmlns:a14="http://schemas.microsoft.com/office/drawing/2010/main">
                <a:solidFill>
                  <a:srgbClr val="DCDCDC"/>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algn="l">
              <a:spcBef>
                <a:spcPct val="20000"/>
              </a:spcBef>
              <a:buChar char="•"/>
              <a:defRPr sz="1100">
                <a:solidFill>
                  <a:schemeClr val="tx1"/>
                </a:solidFill>
                <a:latin typeface="Arial" panose="020B0604020202020204" pitchFamily="34" charset="0"/>
              </a:defRPr>
            </a:lvl1pPr>
            <a:lvl2pPr marL="530225"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Result</a:t>
            </a:r>
          </a:p>
        </p:txBody>
      </p:sp>
      <p:sp>
        <p:nvSpPr>
          <p:cNvPr id="6154" name="AutoShape 10"/>
          <p:cNvSpPr>
            <a:spLocks noChangeArrowheads="1"/>
          </p:cNvSpPr>
          <p:nvPr/>
        </p:nvSpPr>
        <p:spPr bwMode="gray">
          <a:xfrm rot="5400000">
            <a:off x="6425407" y="2885062"/>
            <a:ext cx="976313" cy="447675"/>
          </a:xfrm>
          <a:prstGeom prst="rightArrow">
            <a:avLst>
              <a:gd name="adj1" fmla="val 50000"/>
              <a:gd name="adj2" fmla="val 54521"/>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6155" name="AutoShape 11"/>
          <p:cNvSpPr>
            <a:spLocks noChangeArrowheads="1"/>
          </p:cNvSpPr>
          <p:nvPr/>
        </p:nvSpPr>
        <p:spPr bwMode="gray">
          <a:xfrm rot="5400000">
            <a:off x="4864895" y="2742187"/>
            <a:ext cx="976313" cy="447675"/>
          </a:xfrm>
          <a:prstGeom prst="rightArrow">
            <a:avLst>
              <a:gd name="adj1" fmla="val 50000"/>
              <a:gd name="adj2" fmla="val 54521"/>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6156" name="Rectangle 12"/>
          <p:cNvSpPr>
            <a:spLocks noChangeArrowheads="1"/>
          </p:cNvSpPr>
          <p:nvPr/>
        </p:nvSpPr>
        <p:spPr bwMode="gray">
          <a:xfrm rot="5400000">
            <a:off x="3952082" y="2762824"/>
            <a:ext cx="1252538" cy="225425"/>
          </a:xfrm>
          <a:prstGeom prst="rect">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6157" name="AutoShape 13"/>
          <p:cNvSpPr>
            <a:spLocks noChangeArrowheads="1"/>
          </p:cNvSpPr>
          <p:nvPr/>
        </p:nvSpPr>
        <p:spPr bwMode="gray">
          <a:xfrm rot="5400000">
            <a:off x="5593557" y="4162999"/>
            <a:ext cx="976312" cy="447675"/>
          </a:xfrm>
          <a:prstGeom prst="rightArrow">
            <a:avLst>
              <a:gd name="adj1" fmla="val 50000"/>
              <a:gd name="adj2" fmla="val 54521"/>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6158" name="Rectangle 14"/>
          <p:cNvSpPr>
            <a:spLocks noChangeArrowheads="1"/>
          </p:cNvSpPr>
          <p:nvPr/>
        </p:nvSpPr>
        <p:spPr bwMode="gray">
          <a:xfrm rot="5400000">
            <a:off x="7364414" y="3104931"/>
            <a:ext cx="657225" cy="225425"/>
          </a:xfrm>
          <a:prstGeom prst="rect">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6160" name="Rectangle 16"/>
          <p:cNvSpPr>
            <a:spLocks noChangeArrowheads="1"/>
          </p:cNvSpPr>
          <p:nvPr/>
        </p:nvSpPr>
        <p:spPr bwMode="gray">
          <a:xfrm rot="5400000">
            <a:off x="5395119" y="2759649"/>
            <a:ext cx="1373188" cy="225425"/>
          </a:xfrm>
          <a:prstGeom prst="rect">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Tree>
    <p:extLst>
      <p:ext uri="{BB962C8B-B14F-4D97-AF65-F5344CB8AC3E}">
        <p14:creationId xmlns:p14="http://schemas.microsoft.com/office/powerpoint/2010/main" val="36324654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68473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00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6" name="Title 5"/>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3744546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Rectangle 2" hidden="1"/>
          <p:cNvGraphicFramePr>
            <a:graphicFrameLocks/>
          </p:cNvGraphicFramePr>
          <p:nvPr>
            <p:custDataLst>
              <p:tags r:id="rId1"/>
            </p:custDataLst>
            <p:extLst>
              <p:ext uri="{D42A27DB-BD31-4B8C-83A1-F6EECF244321}">
                <p14:modId xmlns:p14="http://schemas.microsoft.com/office/powerpoint/2010/main" val="4216589798"/>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717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p:txBody>
          <a:bodyPr/>
          <a:lstStyle/>
          <a:p>
            <a:endParaRPr lang="en-US"/>
          </a:p>
        </p:txBody>
      </p:sp>
      <p:sp>
        <p:nvSpPr>
          <p:cNvPr id="5" name="Title 4"/>
          <p:cNvSpPr>
            <a:spLocks noGrp="1"/>
          </p:cNvSpPr>
          <p:nvPr>
            <p:ph type="title"/>
          </p:nvPr>
        </p:nvSpPr>
        <p:spPr/>
        <p:txBody>
          <a:bodyPr/>
          <a:lstStyle/>
          <a:p>
            <a:r>
              <a:rPr lang="en-GB" altLang="en-US"/>
              <a:t>Filters, Funnels, screens</a:t>
            </a:r>
            <a:endParaRPr lang="en-US"/>
          </a:p>
        </p:txBody>
      </p:sp>
      <p:sp>
        <p:nvSpPr>
          <p:cNvPr id="7171" name="AutoShape 3"/>
          <p:cNvSpPr>
            <a:spLocks noChangeArrowheads="1"/>
          </p:cNvSpPr>
          <p:nvPr/>
        </p:nvSpPr>
        <p:spPr bwMode="auto">
          <a:xfrm rot="5400000">
            <a:off x="6120607" y="1686720"/>
            <a:ext cx="3022600" cy="212566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49 w 21600"/>
              <a:gd name="T13" fmla="*/ 6749 h 21600"/>
              <a:gd name="T14" fmla="*/ 14851 w 21600"/>
              <a:gd name="T15" fmla="*/ 14851 h 21600"/>
            </a:gdLst>
            <a:ahLst/>
            <a:cxnLst>
              <a:cxn ang="T8">
                <a:pos x="T0" y="T1"/>
              </a:cxn>
              <a:cxn ang="T9">
                <a:pos x="T2" y="T3"/>
              </a:cxn>
              <a:cxn ang="T10">
                <a:pos x="T4" y="T5"/>
              </a:cxn>
              <a:cxn ang="T11">
                <a:pos x="T6" y="T7"/>
              </a:cxn>
            </a:cxnLst>
            <a:rect l="T12" t="T13" r="T14" b="T15"/>
            <a:pathLst>
              <a:path w="21600" h="21600">
                <a:moveTo>
                  <a:pt x="0" y="0"/>
                </a:moveTo>
                <a:lnTo>
                  <a:pt x="9898" y="21600"/>
                </a:lnTo>
                <a:lnTo>
                  <a:pt x="11702" y="21600"/>
                </a:lnTo>
                <a:lnTo>
                  <a:pt x="21600" y="0"/>
                </a:lnTo>
                <a:lnTo>
                  <a:pt x="0" y="0"/>
                </a:lnTo>
                <a:close/>
              </a:path>
            </a:pathLst>
          </a:custGeom>
          <a:solidFill>
            <a:srgbClr val="BFBFB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p>
            <a:endParaRPr lang="en-US">
              <a:latin typeface="Arial" panose="020B0604020202020204" pitchFamily="34" charset="0"/>
              <a:cs typeface="Arial" panose="020B0604020202020204" pitchFamily="34" charset="0"/>
            </a:endParaRPr>
          </a:p>
        </p:txBody>
      </p:sp>
      <p:sp>
        <p:nvSpPr>
          <p:cNvPr id="7172" name="Oval 4"/>
          <p:cNvSpPr>
            <a:spLocks noChangeArrowheads="1"/>
          </p:cNvSpPr>
          <p:nvPr/>
        </p:nvSpPr>
        <p:spPr bwMode="auto">
          <a:xfrm flipH="1">
            <a:off x="8308975" y="1238252"/>
            <a:ext cx="793750" cy="3036887"/>
          </a:xfrm>
          <a:prstGeom prst="ellipse">
            <a:avLst/>
          </a:prstGeom>
          <a:solidFill>
            <a:srgbClr val="DCDCDC"/>
          </a:solidFill>
          <a:ln>
            <a:noFill/>
          </a:ln>
          <a:effectLst/>
          <a:extLst>
            <a:ext uri="{91240B29-F687-4F45-9708-019B960494DF}">
              <a14:hiddenLine xmlns:a14="http://schemas.microsoft.com/office/drawing/2010/main" w="635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nchorCtr="1"/>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cs typeface="Arial" panose="020B0604020202020204" pitchFamily="34" charset="0"/>
            </a:endParaRPr>
          </a:p>
        </p:txBody>
      </p:sp>
      <p:sp>
        <p:nvSpPr>
          <p:cNvPr id="7173" name="Rectangle 5"/>
          <p:cNvSpPr>
            <a:spLocks noChangeArrowheads="1"/>
          </p:cNvSpPr>
          <p:nvPr/>
        </p:nvSpPr>
        <p:spPr bwMode="gray">
          <a:xfrm>
            <a:off x="5289550" y="2427288"/>
            <a:ext cx="1423988" cy="62230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p>
        </p:txBody>
      </p:sp>
      <p:sp>
        <p:nvSpPr>
          <p:cNvPr id="7174" name="Rectangle 6"/>
          <p:cNvSpPr>
            <a:spLocks noChangeArrowheads="1"/>
          </p:cNvSpPr>
          <p:nvPr/>
        </p:nvSpPr>
        <p:spPr bwMode="gray">
          <a:xfrm>
            <a:off x="8807450" y="1890713"/>
            <a:ext cx="1422400" cy="39370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p>
        </p:txBody>
      </p:sp>
      <p:sp>
        <p:nvSpPr>
          <p:cNvPr id="7175" name="Rectangle 7"/>
          <p:cNvSpPr>
            <a:spLocks noChangeArrowheads="1"/>
          </p:cNvSpPr>
          <p:nvPr/>
        </p:nvSpPr>
        <p:spPr bwMode="gray">
          <a:xfrm>
            <a:off x="8807450" y="3230563"/>
            <a:ext cx="1422400" cy="39370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p>
        </p:txBody>
      </p:sp>
      <p:sp>
        <p:nvSpPr>
          <p:cNvPr id="7176" name="Rectangle 8"/>
          <p:cNvSpPr>
            <a:spLocks noChangeArrowheads="1"/>
          </p:cNvSpPr>
          <p:nvPr/>
        </p:nvSpPr>
        <p:spPr bwMode="gray">
          <a:xfrm>
            <a:off x="8528050" y="2560638"/>
            <a:ext cx="1423988" cy="39370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p>
        </p:txBody>
      </p:sp>
      <p:sp>
        <p:nvSpPr>
          <p:cNvPr id="7177" name="AutoShape 9"/>
          <p:cNvSpPr>
            <a:spLocks noChangeArrowheads="1"/>
          </p:cNvSpPr>
          <p:nvPr/>
        </p:nvSpPr>
        <p:spPr bwMode="auto">
          <a:xfrm rot="16200000" flipH="1">
            <a:off x="3157538" y="3084514"/>
            <a:ext cx="3022600" cy="21240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49 w 21600"/>
              <a:gd name="T13" fmla="*/ 6749 h 21600"/>
              <a:gd name="T14" fmla="*/ 14851 w 21600"/>
              <a:gd name="T15" fmla="*/ 14851 h 21600"/>
            </a:gdLst>
            <a:ahLst/>
            <a:cxnLst>
              <a:cxn ang="T8">
                <a:pos x="T0" y="T1"/>
              </a:cxn>
              <a:cxn ang="T9">
                <a:pos x="T2" y="T3"/>
              </a:cxn>
              <a:cxn ang="T10">
                <a:pos x="T4" y="T5"/>
              </a:cxn>
              <a:cxn ang="T11">
                <a:pos x="T6" y="T7"/>
              </a:cxn>
            </a:cxnLst>
            <a:rect l="T12" t="T13" r="T14" b="T15"/>
            <a:pathLst>
              <a:path w="21600" h="21600">
                <a:moveTo>
                  <a:pt x="0" y="0"/>
                </a:moveTo>
                <a:lnTo>
                  <a:pt x="9898" y="21600"/>
                </a:lnTo>
                <a:lnTo>
                  <a:pt x="11702" y="21600"/>
                </a:lnTo>
                <a:lnTo>
                  <a:pt x="21600" y="0"/>
                </a:lnTo>
                <a:lnTo>
                  <a:pt x="0" y="0"/>
                </a:lnTo>
                <a:close/>
              </a:path>
            </a:pathLst>
          </a:custGeom>
          <a:solidFill>
            <a:srgbClr val="BFBFB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latin typeface="Arial" panose="020B0604020202020204" pitchFamily="34" charset="0"/>
              <a:cs typeface="Arial" panose="020B0604020202020204" pitchFamily="34" charset="0"/>
            </a:endParaRPr>
          </a:p>
        </p:txBody>
      </p:sp>
      <p:sp>
        <p:nvSpPr>
          <p:cNvPr id="7178" name="Oval 10"/>
          <p:cNvSpPr>
            <a:spLocks noChangeArrowheads="1"/>
          </p:cNvSpPr>
          <p:nvPr/>
        </p:nvSpPr>
        <p:spPr bwMode="auto">
          <a:xfrm>
            <a:off x="3197225" y="2635252"/>
            <a:ext cx="793750" cy="3036887"/>
          </a:xfrm>
          <a:prstGeom prst="ellipse">
            <a:avLst/>
          </a:prstGeom>
          <a:solidFill>
            <a:srgbClr val="DCDCDC"/>
          </a:solidFill>
          <a:ln>
            <a:noFill/>
          </a:ln>
          <a:effectLst/>
          <a:extLst>
            <a:ext uri="{91240B29-F687-4F45-9708-019B960494DF}">
              <a14:hiddenLine xmlns:a14="http://schemas.microsoft.com/office/drawing/2010/main" w="635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nchorCtr="1"/>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cs typeface="Arial" panose="020B0604020202020204" pitchFamily="34" charset="0"/>
            </a:endParaRPr>
          </a:p>
        </p:txBody>
      </p:sp>
      <p:sp>
        <p:nvSpPr>
          <p:cNvPr id="7179" name="Rectangle 11"/>
          <p:cNvSpPr>
            <a:spLocks noChangeArrowheads="1"/>
          </p:cNvSpPr>
          <p:nvPr/>
        </p:nvSpPr>
        <p:spPr bwMode="gray">
          <a:xfrm flipH="1">
            <a:off x="5843589" y="3824288"/>
            <a:ext cx="1423987" cy="62230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p>
        </p:txBody>
      </p:sp>
      <p:sp>
        <p:nvSpPr>
          <p:cNvPr id="7180" name="Rectangle 12"/>
          <p:cNvSpPr>
            <a:spLocks noChangeArrowheads="1"/>
          </p:cNvSpPr>
          <p:nvPr/>
        </p:nvSpPr>
        <p:spPr bwMode="gray">
          <a:xfrm flipH="1">
            <a:off x="2209800" y="3287713"/>
            <a:ext cx="1422400" cy="39370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600"/>
          </a:p>
        </p:txBody>
      </p:sp>
      <p:sp>
        <p:nvSpPr>
          <p:cNvPr id="7181" name="Rectangle 13"/>
          <p:cNvSpPr>
            <a:spLocks noChangeArrowheads="1"/>
          </p:cNvSpPr>
          <p:nvPr/>
        </p:nvSpPr>
        <p:spPr bwMode="gray">
          <a:xfrm flipH="1">
            <a:off x="2209800" y="4627563"/>
            <a:ext cx="1422400" cy="39370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p>
        </p:txBody>
      </p:sp>
      <p:sp>
        <p:nvSpPr>
          <p:cNvPr id="7182" name="Rectangle 14"/>
          <p:cNvSpPr>
            <a:spLocks noChangeArrowheads="1"/>
          </p:cNvSpPr>
          <p:nvPr/>
        </p:nvSpPr>
        <p:spPr bwMode="gray">
          <a:xfrm flipH="1">
            <a:off x="2543175" y="3957638"/>
            <a:ext cx="1423988" cy="39370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p>
        </p:txBody>
      </p:sp>
    </p:spTree>
    <p:extLst>
      <p:ext uri="{BB962C8B-B14F-4D97-AF65-F5344CB8AC3E}">
        <p14:creationId xmlns:p14="http://schemas.microsoft.com/office/powerpoint/2010/main" val="14025204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03" name="Rectangle 11" hidden="1"/>
          <p:cNvGraphicFramePr>
            <a:graphicFrameLocks/>
          </p:cNvGraphicFramePr>
          <p:nvPr>
            <p:custDataLst>
              <p:tags r:id="rId1"/>
            </p:custDataLst>
            <p:extLst>
              <p:ext uri="{D42A27DB-BD31-4B8C-83A1-F6EECF244321}">
                <p14:modId xmlns:p14="http://schemas.microsoft.com/office/powerpoint/2010/main" val="2727186362"/>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8203" name="Rectangle 1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p:txBody>
          <a:bodyPr/>
          <a:lstStyle/>
          <a:p>
            <a:endParaRPr lang="en-US"/>
          </a:p>
        </p:txBody>
      </p:sp>
      <p:sp>
        <p:nvSpPr>
          <p:cNvPr id="15" name="Title 4"/>
          <p:cNvSpPr>
            <a:spLocks noGrp="1"/>
          </p:cNvSpPr>
          <p:nvPr>
            <p:ph type="title"/>
          </p:nvPr>
        </p:nvSpPr>
        <p:spPr/>
        <p:txBody>
          <a:bodyPr/>
          <a:lstStyle/>
          <a:p>
            <a:r>
              <a:rPr lang="en-GB" altLang="en-US"/>
              <a:t>Filters, funnels, screens</a:t>
            </a:r>
            <a:endParaRPr lang="en-US"/>
          </a:p>
        </p:txBody>
      </p:sp>
      <p:sp>
        <p:nvSpPr>
          <p:cNvPr id="8196" name="Freeform 4"/>
          <p:cNvSpPr>
            <a:spLocks/>
          </p:cNvSpPr>
          <p:nvPr/>
        </p:nvSpPr>
        <p:spPr bwMode="auto">
          <a:xfrm>
            <a:off x="3613150" y="3587672"/>
            <a:ext cx="585788" cy="1338263"/>
          </a:xfrm>
          <a:custGeom>
            <a:avLst/>
            <a:gdLst>
              <a:gd name="T0" fmla="*/ 2147483647 w 399"/>
              <a:gd name="T1" fmla="*/ 2147483647 h 843"/>
              <a:gd name="T2" fmla="*/ 0 w 399"/>
              <a:gd name="T3" fmla="*/ 0 h 843"/>
              <a:gd name="T4" fmla="*/ 2147483647 w 399"/>
              <a:gd name="T5" fmla="*/ 0 h 843"/>
              <a:gd name="T6" fmla="*/ 2147483647 w 399"/>
              <a:gd name="T7" fmla="*/ 2147483647 h 843"/>
              <a:gd name="T8" fmla="*/ 2147483647 w 399"/>
              <a:gd name="T9" fmla="*/ 2147483647 h 8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9" h="843">
                <a:moveTo>
                  <a:pt x="80" y="843"/>
                </a:moveTo>
                <a:lnTo>
                  <a:pt x="0" y="0"/>
                </a:lnTo>
                <a:lnTo>
                  <a:pt x="399" y="0"/>
                </a:lnTo>
                <a:lnTo>
                  <a:pt x="323" y="843"/>
                </a:lnTo>
                <a:lnTo>
                  <a:pt x="80" y="843"/>
                </a:lnTo>
                <a:close/>
              </a:path>
            </a:pathLst>
          </a:custGeom>
          <a:solidFill>
            <a:srgbClr val="696969"/>
          </a:solidFill>
          <a:ln w="9525" cap="flat" cmpd="sng">
            <a:solidFill>
              <a:schemeClr val="bg1"/>
            </a:solidFill>
            <a:prstDash val="solid"/>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8197" name="Freeform 5"/>
          <p:cNvSpPr>
            <a:spLocks/>
          </p:cNvSpPr>
          <p:nvPr/>
        </p:nvSpPr>
        <p:spPr bwMode="auto">
          <a:xfrm>
            <a:off x="2505076" y="2379585"/>
            <a:ext cx="2797175" cy="1354137"/>
          </a:xfrm>
          <a:custGeom>
            <a:avLst/>
            <a:gdLst>
              <a:gd name="T0" fmla="*/ 2147483647 w 808"/>
              <a:gd name="T1" fmla="*/ 0 h 361"/>
              <a:gd name="T2" fmla="*/ 0 w 808"/>
              <a:gd name="T3" fmla="*/ 0 h 361"/>
              <a:gd name="T4" fmla="*/ 2147483647 w 808"/>
              <a:gd name="T5" fmla="*/ 2147483647 h 361"/>
              <a:gd name="T6" fmla="*/ 2147483647 w 808"/>
              <a:gd name="T7" fmla="*/ 2147483647 h 361"/>
              <a:gd name="T8" fmla="*/ 2147483647 w 808"/>
              <a:gd name="T9" fmla="*/ 2147483647 h 361"/>
              <a:gd name="T10" fmla="*/ 2147483647 w 808"/>
              <a:gd name="T11" fmla="*/ 0 h 3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08" h="361">
                <a:moveTo>
                  <a:pt x="808" y="0"/>
                </a:moveTo>
                <a:cubicBezTo>
                  <a:pt x="0" y="0"/>
                  <a:pt x="0" y="0"/>
                  <a:pt x="0" y="0"/>
                </a:cubicBezTo>
                <a:cubicBezTo>
                  <a:pt x="320" y="338"/>
                  <a:pt x="320" y="338"/>
                  <a:pt x="320" y="338"/>
                </a:cubicBezTo>
                <a:cubicBezTo>
                  <a:pt x="324" y="351"/>
                  <a:pt x="360" y="361"/>
                  <a:pt x="404" y="361"/>
                </a:cubicBezTo>
                <a:cubicBezTo>
                  <a:pt x="446" y="361"/>
                  <a:pt x="481" y="352"/>
                  <a:pt x="488" y="340"/>
                </a:cubicBezTo>
                <a:lnTo>
                  <a:pt x="808" y="0"/>
                </a:lnTo>
                <a:close/>
              </a:path>
            </a:pathLst>
          </a:custGeom>
          <a:solidFill>
            <a:srgbClr val="696969"/>
          </a:solidFill>
          <a:ln w="9525" cmpd="sng">
            <a:solidFill>
              <a:schemeClr val="bg1"/>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8198" name="Oval 6"/>
          <p:cNvSpPr>
            <a:spLocks noChangeArrowheads="1"/>
          </p:cNvSpPr>
          <p:nvPr/>
        </p:nvSpPr>
        <p:spPr bwMode="auto">
          <a:xfrm>
            <a:off x="2463800" y="1817609"/>
            <a:ext cx="2882900" cy="908050"/>
          </a:xfrm>
          <a:prstGeom prst="ellipse">
            <a:avLst/>
          </a:prstGeom>
          <a:solidFill>
            <a:srgbClr val="BFBFBF"/>
          </a:solidFill>
          <a:ln w="9525">
            <a:solidFill>
              <a:schemeClr val="bg1"/>
            </a:solidFill>
            <a:miter lim="800000"/>
            <a:headEnd/>
            <a:tailEnd/>
          </a:ln>
        </p:spPr>
        <p:txBody>
          <a:bodyP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cs typeface="Arial" panose="020B0604020202020204" pitchFamily="34" charset="0"/>
            </a:endParaRPr>
          </a:p>
        </p:txBody>
      </p:sp>
      <p:sp>
        <p:nvSpPr>
          <p:cNvPr id="8199" name="Freeform 7"/>
          <p:cNvSpPr>
            <a:spLocks/>
          </p:cNvSpPr>
          <p:nvPr/>
        </p:nvSpPr>
        <p:spPr bwMode="auto">
          <a:xfrm>
            <a:off x="8032750" y="3647997"/>
            <a:ext cx="585788" cy="1406525"/>
          </a:xfrm>
          <a:custGeom>
            <a:avLst/>
            <a:gdLst>
              <a:gd name="T0" fmla="*/ 2147483647 w 169"/>
              <a:gd name="T1" fmla="*/ 0 h 375"/>
              <a:gd name="T2" fmla="*/ 0 w 169"/>
              <a:gd name="T3" fmla="*/ 0 h 375"/>
              <a:gd name="T4" fmla="*/ 2147483647 w 169"/>
              <a:gd name="T5" fmla="*/ 2147483647 h 375"/>
              <a:gd name="T6" fmla="*/ 2147483647 w 169"/>
              <a:gd name="T7" fmla="*/ 2147483647 h 375"/>
              <a:gd name="T8" fmla="*/ 2147483647 w 169"/>
              <a:gd name="T9" fmla="*/ 2147483647 h 375"/>
              <a:gd name="T10" fmla="*/ 2147483647 w 169"/>
              <a:gd name="T11" fmla="*/ 2147483647 h 375"/>
              <a:gd name="T12" fmla="*/ 2147483647 w 169"/>
              <a:gd name="T13" fmla="*/ 2147483647 h 375"/>
              <a:gd name="T14" fmla="*/ 2147483647 w 169"/>
              <a:gd name="T15" fmla="*/ 0 h 37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9" h="375">
                <a:moveTo>
                  <a:pt x="169" y="0"/>
                </a:moveTo>
                <a:cubicBezTo>
                  <a:pt x="0" y="0"/>
                  <a:pt x="0" y="0"/>
                  <a:pt x="0" y="0"/>
                </a:cubicBezTo>
                <a:cubicBezTo>
                  <a:pt x="34" y="353"/>
                  <a:pt x="34" y="353"/>
                  <a:pt x="34" y="353"/>
                </a:cubicBezTo>
                <a:cubicBezTo>
                  <a:pt x="34" y="354"/>
                  <a:pt x="33" y="355"/>
                  <a:pt x="33" y="355"/>
                </a:cubicBezTo>
                <a:cubicBezTo>
                  <a:pt x="33" y="366"/>
                  <a:pt x="57" y="375"/>
                  <a:pt x="85" y="375"/>
                </a:cubicBezTo>
                <a:cubicBezTo>
                  <a:pt x="114" y="375"/>
                  <a:pt x="138" y="366"/>
                  <a:pt x="138" y="355"/>
                </a:cubicBezTo>
                <a:cubicBezTo>
                  <a:pt x="138" y="355"/>
                  <a:pt x="137" y="354"/>
                  <a:pt x="137" y="353"/>
                </a:cubicBezTo>
                <a:lnTo>
                  <a:pt x="169" y="0"/>
                </a:lnTo>
                <a:close/>
              </a:path>
            </a:pathLst>
          </a:custGeom>
          <a:solidFill>
            <a:srgbClr val="BFBFBF"/>
          </a:solidFill>
          <a:ln w="9525" cap="flat" cmpd="sng">
            <a:solidFill>
              <a:schemeClr val="bg1"/>
            </a:solidFill>
            <a:prstDash val="solid"/>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8200" name="Freeform 8"/>
          <p:cNvSpPr>
            <a:spLocks/>
          </p:cNvSpPr>
          <p:nvPr/>
        </p:nvSpPr>
        <p:spPr bwMode="auto">
          <a:xfrm>
            <a:off x="6924676" y="2379585"/>
            <a:ext cx="2798763" cy="1354137"/>
          </a:xfrm>
          <a:custGeom>
            <a:avLst/>
            <a:gdLst>
              <a:gd name="T0" fmla="*/ 2147483647 w 808"/>
              <a:gd name="T1" fmla="*/ 0 h 361"/>
              <a:gd name="T2" fmla="*/ 0 w 808"/>
              <a:gd name="T3" fmla="*/ 0 h 361"/>
              <a:gd name="T4" fmla="*/ 2147483647 w 808"/>
              <a:gd name="T5" fmla="*/ 2147483647 h 361"/>
              <a:gd name="T6" fmla="*/ 2147483647 w 808"/>
              <a:gd name="T7" fmla="*/ 2147483647 h 361"/>
              <a:gd name="T8" fmla="*/ 2147483647 w 808"/>
              <a:gd name="T9" fmla="*/ 2147483647 h 361"/>
              <a:gd name="T10" fmla="*/ 2147483647 w 808"/>
              <a:gd name="T11" fmla="*/ 0 h 3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08" h="361">
                <a:moveTo>
                  <a:pt x="808" y="0"/>
                </a:moveTo>
                <a:cubicBezTo>
                  <a:pt x="0" y="0"/>
                  <a:pt x="0" y="0"/>
                  <a:pt x="0" y="0"/>
                </a:cubicBezTo>
                <a:cubicBezTo>
                  <a:pt x="320" y="338"/>
                  <a:pt x="320" y="338"/>
                  <a:pt x="320" y="338"/>
                </a:cubicBezTo>
                <a:cubicBezTo>
                  <a:pt x="324" y="351"/>
                  <a:pt x="360" y="361"/>
                  <a:pt x="404" y="361"/>
                </a:cubicBezTo>
                <a:cubicBezTo>
                  <a:pt x="446" y="361"/>
                  <a:pt x="481" y="352"/>
                  <a:pt x="488" y="340"/>
                </a:cubicBezTo>
                <a:lnTo>
                  <a:pt x="808" y="0"/>
                </a:lnTo>
                <a:close/>
              </a:path>
            </a:pathLst>
          </a:custGeom>
          <a:solidFill>
            <a:srgbClr val="BFBFBF"/>
          </a:solidFill>
          <a:ln w="9525" cap="flat" cmpd="sng">
            <a:solidFill>
              <a:schemeClr val="bg1"/>
            </a:solidFill>
            <a:prstDash val="solid"/>
            <a:miter lim="800000"/>
            <a:headEnd/>
            <a:tailEnd/>
          </a:ln>
        </p:spPr>
        <p:txBody>
          <a:bodyPr/>
          <a:lstStyle/>
          <a:p>
            <a:endParaRPr lang="en-US">
              <a:latin typeface="Arial" panose="020B0604020202020204" pitchFamily="34" charset="0"/>
              <a:cs typeface="Arial" panose="020B0604020202020204" pitchFamily="34" charset="0"/>
            </a:endParaRPr>
          </a:p>
        </p:txBody>
      </p:sp>
      <p:sp>
        <p:nvSpPr>
          <p:cNvPr id="8201" name="Oval 9"/>
          <p:cNvSpPr>
            <a:spLocks noChangeArrowheads="1"/>
          </p:cNvSpPr>
          <p:nvPr/>
        </p:nvSpPr>
        <p:spPr bwMode="auto">
          <a:xfrm>
            <a:off x="6884988" y="1817609"/>
            <a:ext cx="2882900" cy="908050"/>
          </a:xfrm>
          <a:prstGeom prst="ellipse">
            <a:avLst/>
          </a:prstGeom>
          <a:solidFill>
            <a:srgbClr val="696969"/>
          </a:solidFill>
          <a:ln w="9525">
            <a:solidFill>
              <a:schemeClr val="bg1"/>
            </a:solidFill>
            <a:round/>
            <a:headEnd/>
            <a:tailEnd/>
          </a:ln>
        </p:spPr>
        <p:txBody>
          <a:bodyP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cs typeface="Arial" panose="020B0604020202020204" pitchFamily="34" charset="0"/>
            </a:endParaRPr>
          </a:p>
        </p:txBody>
      </p:sp>
      <p:sp>
        <p:nvSpPr>
          <p:cNvPr id="8202" name="Oval 10"/>
          <p:cNvSpPr>
            <a:spLocks noChangeArrowheads="1"/>
          </p:cNvSpPr>
          <p:nvPr/>
        </p:nvSpPr>
        <p:spPr bwMode="auto">
          <a:xfrm>
            <a:off x="3738563" y="4817985"/>
            <a:ext cx="342900" cy="198437"/>
          </a:xfrm>
          <a:prstGeom prst="ellipse">
            <a:avLst/>
          </a:prstGeom>
          <a:solidFill>
            <a:srgbClr val="696969"/>
          </a:solidFill>
          <a:ln w="9525">
            <a:solidFill>
              <a:schemeClr val="bg1"/>
            </a:solidFill>
            <a:round/>
            <a:headEnd/>
            <a:tailEnd/>
          </a:ln>
        </p:spPr>
        <p:txBody>
          <a:bodyP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cs typeface="Arial" panose="020B0604020202020204" pitchFamily="34" charset="0"/>
            </a:endParaRPr>
          </a:p>
        </p:txBody>
      </p:sp>
    </p:spTree>
    <p:extLst>
      <p:ext uri="{BB962C8B-B14F-4D97-AF65-F5344CB8AC3E}">
        <p14:creationId xmlns:p14="http://schemas.microsoft.com/office/powerpoint/2010/main" val="37742702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Rectangle 2" hidden="1"/>
          <p:cNvGraphicFramePr>
            <a:graphicFrameLocks/>
          </p:cNvGraphicFramePr>
          <p:nvPr>
            <p:custDataLst>
              <p:tags r:id="rId1"/>
            </p:custDataLst>
            <p:extLst>
              <p:ext uri="{D42A27DB-BD31-4B8C-83A1-F6EECF244321}">
                <p14:modId xmlns:p14="http://schemas.microsoft.com/office/powerpoint/2010/main" val="1637088798"/>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921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9219" name="Text Box 3"/>
          <p:cNvSpPr txBox="1">
            <a:spLocks noChangeArrowheads="1"/>
          </p:cNvSpPr>
          <p:nvPr/>
        </p:nvSpPr>
        <p:spPr bwMode="gray">
          <a:xfrm>
            <a:off x="8415339" y="3414637"/>
            <a:ext cx="636587"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l" defTabSz="360363">
              <a:spcBef>
                <a:spcPct val="20000"/>
              </a:spcBef>
              <a:buChar char="•"/>
              <a:defRPr sz="1100">
                <a:solidFill>
                  <a:schemeClr val="tx1"/>
                </a:solidFill>
                <a:latin typeface="Arial" panose="020B0604020202020204" pitchFamily="34" charset="0"/>
              </a:defRPr>
            </a:lvl1pPr>
            <a:lvl2pPr marL="635000" indent="-187325" algn="l" defTabSz="360363">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614363" indent="-228600" algn="l" defTabSz="360363">
              <a:spcBef>
                <a:spcPct val="20000"/>
              </a:spcBef>
              <a:buChar char="–"/>
              <a:defRPr sz="1100">
                <a:solidFill>
                  <a:schemeClr val="tx1"/>
                </a:solidFill>
                <a:latin typeface="Arial" panose="020B0604020202020204" pitchFamily="34" charset="0"/>
              </a:defRPr>
            </a:lvl3pPr>
            <a:lvl4pPr marL="1601788" indent="-228600" algn="l" defTabSz="360363">
              <a:spcBef>
                <a:spcPct val="20000"/>
              </a:spcBef>
              <a:buChar char="–"/>
              <a:defRPr sz="1100">
                <a:solidFill>
                  <a:schemeClr val="tx1"/>
                </a:solidFill>
                <a:latin typeface="Arial" panose="020B0604020202020204" pitchFamily="34" charset="0"/>
              </a:defRPr>
            </a:lvl4pPr>
            <a:lvl5pPr marL="2057400" indent="-228600" algn="l" defTabSz="360363">
              <a:spcBef>
                <a:spcPct val="20000"/>
              </a:spcBef>
              <a:buChar char="»"/>
              <a:defRPr sz="2000">
                <a:solidFill>
                  <a:schemeClr val="tx1"/>
                </a:solidFill>
                <a:latin typeface="Times New Roman" panose="02020603050405020304" pitchFamily="18" charset="0"/>
              </a:defRPr>
            </a:lvl5pPr>
            <a:lvl6pPr marL="2514600" indent="-228600" defTabSz="360363"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360363"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360363"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360363"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400">
                <a:cs typeface="Arial" panose="020B0604020202020204" pitchFamily="34" charset="0"/>
              </a:rPr>
              <a:t>Exit text</a:t>
            </a:r>
          </a:p>
        </p:txBody>
      </p:sp>
      <p:sp>
        <p:nvSpPr>
          <p:cNvPr id="9220" name="AutoShape 4"/>
          <p:cNvSpPr>
            <a:spLocks noChangeArrowheads="1"/>
          </p:cNvSpPr>
          <p:nvPr/>
        </p:nvSpPr>
        <p:spPr bwMode="gray">
          <a:xfrm rot="5400000">
            <a:off x="4353720" y="3221755"/>
            <a:ext cx="3865562" cy="600075"/>
          </a:xfrm>
          <a:custGeom>
            <a:avLst/>
            <a:gdLst>
              <a:gd name="T0" fmla="*/ 2147483647 w 21600"/>
              <a:gd name="T1" fmla="*/ 231568692 h 21600"/>
              <a:gd name="T2" fmla="*/ 2147483647 w 21600"/>
              <a:gd name="T3" fmla="*/ 463136607 h 21600"/>
              <a:gd name="T4" fmla="*/ 2147483647 w 21600"/>
              <a:gd name="T5" fmla="*/ 231568692 h 21600"/>
              <a:gd name="T6" fmla="*/ 2147483647 w 21600"/>
              <a:gd name="T7" fmla="*/ 0 h 21600"/>
              <a:gd name="T8" fmla="*/ 0 60000 65536"/>
              <a:gd name="T9" fmla="*/ 0 60000 65536"/>
              <a:gd name="T10" fmla="*/ 0 60000 65536"/>
              <a:gd name="T11" fmla="*/ 0 60000 65536"/>
              <a:gd name="T12" fmla="*/ 3427 w 21600"/>
              <a:gd name="T13" fmla="*/ 3427 h 21600"/>
              <a:gd name="T14" fmla="*/ 18173 w 21600"/>
              <a:gd name="T15" fmla="*/ 18173 h 21600"/>
            </a:gdLst>
            <a:ahLst/>
            <a:cxnLst>
              <a:cxn ang="T8">
                <a:pos x="T0" y="T1"/>
              </a:cxn>
              <a:cxn ang="T9">
                <a:pos x="T2" y="T3"/>
              </a:cxn>
              <a:cxn ang="T10">
                <a:pos x="T4" y="T5"/>
              </a:cxn>
              <a:cxn ang="T11">
                <a:pos x="T6" y="T7"/>
              </a:cxn>
            </a:cxnLst>
            <a:rect l="T12" t="T13" r="T14" b="T15"/>
            <a:pathLst>
              <a:path w="21600" h="21600">
                <a:moveTo>
                  <a:pt x="0" y="0"/>
                </a:moveTo>
                <a:lnTo>
                  <a:pt x="3254" y="21600"/>
                </a:lnTo>
                <a:lnTo>
                  <a:pt x="18346" y="21600"/>
                </a:lnTo>
                <a:lnTo>
                  <a:pt x="21600" y="0"/>
                </a:lnTo>
                <a:lnTo>
                  <a:pt x="0" y="0"/>
                </a:lnTo>
                <a:close/>
              </a:path>
            </a:pathLst>
          </a:cu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p>
            <a:endParaRPr lang="en-US">
              <a:latin typeface="Arial" panose="020B0604020202020204" pitchFamily="34" charset="0"/>
              <a:cs typeface="Arial" panose="020B0604020202020204" pitchFamily="34" charset="0"/>
            </a:endParaRPr>
          </a:p>
        </p:txBody>
      </p:sp>
      <p:sp>
        <p:nvSpPr>
          <p:cNvPr id="9221" name="Text Box 5"/>
          <p:cNvSpPr txBox="1">
            <a:spLocks noChangeArrowheads="1"/>
          </p:cNvSpPr>
          <p:nvPr/>
        </p:nvSpPr>
        <p:spPr bwMode="gray">
          <a:xfrm>
            <a:off x="2295525" y="3414637"/>
            <a:ext cx="755650"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l" defTabSz="360363">
              <a:spcBef>
                <a:spcPct val="20000"/>
              </a:spcBef>
              <a:buChar char="•"/>
              <a:defRPr sz="1100">
                <a:solidFill>
                  <a:schemeClr val="tx1"/>
                </a:solidFill>
                <a:latin typeface="Arial" panose="020B0604020202020204" pitchFamily="34" charset="0"/>
              </a:defRPr>
            </a:lvl1pPr>
            <a:lvl2pPr marL="635000" indent="-187325" algn="l" defTabSz="360363">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614363" indent="-228600" algn="l" defTabSz="360363">
              <a:spcBef>
                <a:spcPct val="20000"/>
              </a:spcBef>
              <a:buChar char="–"/>
              <a:defRPr sz="1100">
                <a:solidFill>
                  <a:schemeClr val="tx1"/>
                </a:solidFill>
                <a:latin typeface="Arial" panose="020B0604020202020204" pitchFamily="34" charset="0"/>
              </a:defRPr>
            </a:lvl3pPr>
            <a:lvl4pPr marL="1601788" indent="-228600" algn="l" defTabSz="360363">
              <a:spcBef>
                <a:spcPct val="20000"/>
              </a:spcBef>
              <a:buChar char="–"/>
              <a:defRPr sz="1100">
                <a:solidFill>
                  <a:schemeClr val="tx1"/>
                </a:solidFill>
                <a:latin typeface="Arial" panose="020B0604020202020204" pitchFamily="34" charset="0"/>
              </a:defRPr>
            </a:lvl4pPr>
            <a:lvl5pPr marL="2057400" indent="-228600" algn="l" defTabSz="360363">
              <a:spcBef>
                <a:spcPct val="20000"/>
              </a:spcBef>
              <a:buChar char="»"/>
              <a:defRPr sz="2000">
                <a:solidFill>
                  <a:schemeClr val="tx1"/>
                </a:solidFill>
                <a:latin typeface="Times New Roman" panose="02020603050405020304" pitchFamily="18" charset="0"/>
              </a:defRPr>
            </a:lvl5pPr>
            <a:lvl6pPr marL="2514600" indent="-228600" defTabSz="360363"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360363"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360363"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360363"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400">
                <a:cs typeface="Arial" panose="020B0604020202020204" pitchFamily="34" charset="0"/>
              </a:rPr>
              <a:t>Enter text</a:t>
            </a:r>
          </a:p>
        </p:txBody>
      </p:sp>
      <p:sp>
        <p:nvSpPr>
          <p:cNvPr id="9222" name="AutoShape 6"/>
          <p:cNvSpPr>
            <a:spLocks noChangeArrowheads="1"/>
          </p:cNvSpPr>
          <p:nvPr/>
        </p:nvSpPr>
        <p:spPr bwMode="gray">
          <a:xfrm>
            <a:off x="5100638" y="3195562"/>
            <a:ext cx="901700" cy="485775"/>
          </a:xfrm>
          <a:prstGeom prst="rightArrow">
            <a:avLst>
              <a:gd name="adj1" fmla="val 50000"/>
              <a:gd name="adj2" fmla="val 46405"/>
            </a:avLst>
          </a:prstGeom>
          <a:solidFill>
            <a:schemeClr val="bg2"/>
          </a:solidFill>
          <a:ln>
            <a:noFill/>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9223" name="AutoShape 7"/>
          <p:cNvSpPr>
            <a:spLocks noChangeArrowheads="1"/>
          </p:cNvSpPr>
          <p:nvPr/>
        </p:nvSpPr>
        <p:spPr bwMode="gray">
          <a:xfrm>
            <a:off x="4371975" y="3621012"/>
            <a:ext cx="901700" cy="485775"/>
          </a:xfrm>
          <a:prstGeom prst="rightArrow">
            <a:avLst>
              <a:gd name="adj1" fmla="val 50000"/>
              <a:gd name="adj2" fmla="val 46405"/>
            </a:avLst>
          </a:prstGeom>
          <a:solidFill>
            <a:schemeClr val="bg2"/>
          </a:solidFill>
          <a:ln>
            <a:noFill/>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9224" name="AutoShape 8"/>
          <p:cNvSpPr>
            <a:spLocks noChangeArrowheads="1"/>
          </p:cNvSpPr>
          <p:nvPr/>
        </p:nvSpPr>
        <p:spPr bwMode="gray">
          <a:xfrm>
            <a:off x="5508625" y="3940099"/>
            <a:ext cx="901700" cy="485775"/>
          </a:xfrm>
          <a:prstGeom prst="rightArrow">
            <a:avLst>
              <a:gd name="adj1" fmla="val 50000"/>
              <a:gd name="adj2" fmla="val 46405"/>
            </a:avLst>
          </a:prstGeom>
          <a:solidFill>
            <a:schemeClr val="bg2"/>
          </a:solidFill>
          <a:ln>
            <a:noFill/>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9225" name="AutoShape 9"/>
          <p:cNvSpPr>
            <a:spLocks noChangeArrowheads="1"/>
          </p:cNvSpPr>
          <p:nvPr/>
        </p:nvSpPr>
        <p:spPr bwMode="gray">
          <a:xfrm>
            <a:off x="4822825" y="4468737"/>
            <a:ext cx="901700" cy="485775"/>
          </a:xfrm>
          <a:prstGeom prst="rightArrow">
            <a:avLst>
              <a:gd name="adj1" fmla="val 50000"/>
              <a:gd name="adj2" fmla="val 46405"/>
            </a:avLst>
          </a:prstGeom>
          <a:solidFill>
            <a:schemeClr val="bg2"/>
          </a:solidFill>
          <a:ln>
            <a:noFill/>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9226" name="AutoShape 10"/>
          <p:cNvSpPr>
            <a:spLocks noChangeArrowheads="1"/>
          </p:cNvSpPr>
          <p:nvPr/>
        </p:nvSpPr>
        <p:spPr bwMode="gray">
          <a:xfrm>
            <a:off x="4476750" y="1922387"/>
            <a:ext cx="901700" cy="485775"/>
          </a:xfrm>
          <a:prstGeom prst="rightArrow">
            <a:avLst>
              <a:gd name="adj1" fmla="val 50000"/>
              <a:gd name="adj2" fmla="val 46405"/>
            </a:avLst>
          </a:prstGeom>
          <a:solidFill>
            <a:schemeClr val="bg2"/>
          </a:solidFill>
          <a:ln>
            <a:noFill/>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9227" name="AutoShape 11"/>
          <p:cNvSpPr>
            <a:spLocks noChangeArrowheads="1"/>
          </p:cNvSpPr>
          <p:nvPr/>
        </p:nvSpPr>
        <p:spPr bwMode="gray">
          <a:xfrm rot="5400000">
            <a:off x="5918200" y="3376536"/>
            <a:ext cx="3175000" cy="292100"/>
          </a:xfrm>
          <a:prstGeom prst="triangle">
            <a:avLst>
              <a:gd name="adj" fmla="val 50000"/>
            </a:avLst>
          </a:prstGeom>
          <a:solidFill>
            <a:schemeClr val="tx1">
              <a:lumMod val="50000"/>
            </a:schemeClr>
          </a:solidFill>
          <a:ln>
            <a:noFill/>
          </a:ln>
          <a:effectLst/>
        </p:spPr>
        <p:txBody>
          <a:bodyPr rot="10800000" vert="eaVert" wrap="none" lIns="45720" rIns="4572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4" name="Text Placeholder 3"/>
          <p:cNvSpPr>
            <a:spLocks noGrp="1"/>
          </p:cNvSpPr>
          <p:nvPr>
            <p:ph type="body" sz="quarter" idx="11"/>
          </p:nvPr>
        </p:nvSpPr>
        <p:spPr/>
        <p:txBody>
          <a:bodyPr/>
          <a:lstStyle/>
          <a:p>
            <a:endParaRPr lang="en-US"/>
          </a:p>
        </p:txBody>
      </p:sp>
      <p:sp>
        <p:nvSpPr>
          <p:cNvPr id="9228" name="Rectangle 12"/>
          <p:cNvSpPr>
            <a:spLocks noGrp="1" noChangeArrowheads="1"/>
          </p:cNvSpPr>
          <p:nvPr>
            <p:ph type="title"/>
          </p:nvPr>
        </p:nvSpPr>
        <p:spPr/>
        <p:txBody>
          <a:bodyPr/>
          <a:lstStyle/>
          <a:p>
            <a:r>
              <a:rPr lang="en-GB" altLang="en-US"/>
              <a:t>Filters, funnels, screens</a:t>
            </a:r>
          </a:p>
        </p:txBody>
      </p:sp>
      <p:sp>
        <p:nvSpPr>
          <p:cNvPr id="9230" name="AutoShape 14"/>
          <p:cNvSpPr>
            <a:spLocks noChangeArrowheads="1"/>
          </p:cNvSpPr>
          <p:nvPr/>
        </p:nvSpPr>
        <p:spPr bwMode="gray">
          <a:xfrm>
            <a:off x="4122738" y="2771699"/>
            <a:ext cx="900112" cy="485775"/>
          </a:xfrm>
          <a:prstGeom prst="rightArrow">
            <a:avLst>
              <a:gd name="adj1" fmla="val 50000"/>
              <a:gd name="adj2" fmla="val 46324"/>
            </a:avLst>
          </a:prstGeom>
          <a:solidFill>
            <a:schemeClr val="bg2"/>
          </a:solidFill>
          <a:ln>
            <a:noFill/>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9231" name="AutoShape 15"/>
          <p:cNvSpPr>
            <a:spLocks noChangeArrowheads="1"/>
          </p:cNvSpPr>
          <p:nvPr/>
        </p:nvSpPr>
        <p:spPr bwMode="gray">
          <a:xfrm>
            <a:off x="5378451" y="2347837"/>
            <a:ext cx="900113" cy="485775"/>
          </a:xfrm>
          <a:prstGeom prst="rightArrow">
            <a:avLst>
              <a:gd name="adj1" fmla="val 50000"/>
              <a:gd name="adj2" fmla="val 46324"/>
            </a:avLst>
          </a:prstGeom>
          <a:solidFill>
            <a:schemeClr val="bg2"/>
          </a:solidFill>
          <a:ln>
            <a:noFill/>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9232" name="Rectangle 16"/>
          <p:cNvSpPr>
            <a:spLocks noChangeArrowheads="1"/>
          </p:cNvSpPr>
          <p:nvPr/>
        </p:nvSpPr>
        <p:spPr bwMode="gray">
          <a:xfrm>
            <a:off x="6586538" y="1589011"/>
            <a:ext cx="169862" cy="3865562"/>
          </a:xfrm>
          <a:prstGeom prst="rect">
            <a:avLst/>
          </a:prstGeom>
          <a:solidFill>
            <a:srgbClr val="BFBFBF"/>
          </a:solidFill>
          <a:ln>
            <a:noFill/>
          </a:ln>
          <a:effectLst/>
          <a:extLs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Tree>
    <p:extLst>
      <p:ext uri="{BB962C8B-B14F-4D97-AF65-F5344CB8AC3E}">
        <p14:creationId xmlns:p14="http://schemas.microsoft.com/office/powerpoint/2010/main" val="34076607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102" name="Rectangle 22" hidden="1"/>
          <p:cNvGraphicFramePr>
            <a:graphicFrameLocks/>
          </p:cNvGraphicFramePr>
          <p:nvPr>
            <p:custDataLst>
              <p:tags r:id="rId1"/>
            </p:custDataLst>
            <p:extLst>
              <p:ext uri="{D42A27DB-BD31-4B8C-83A1-F6EECF244321}">
                <p14:modId xmlns:p14="http://schemas.microsoft.com/office/powerpoint/2010/main" val="2895043058"/>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6102" name="Rectangle 2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6082" name="Text Box 2"/>
          <p:cNvSpPr txBox="1">
            <a:spLocks noChangeArrowheads="1"/>
          </p:cNvSpPr>
          <p:nvPr/>
        </p:nvSpPr>
        <p:spPr bwMode="gray">
          <a:xfrm>
            <a:off x="8148638" y="1221831"/>
            <a:ext cx="368300" cy="247650"/>
          </a:xfrm>
          <a:prstGeom prst="rect">
            <a:avLst/>
          </a:prstGeom>
          <a:solidFill>
            <a:srgbClr val="FFFFFF"/>
          </a:solidFill>
          <a:ln>
            <a:noFill/>
          </a:ln>
          <a:effectLst/>
        </p:spPr>
        <p:txBody>
          <a:bodyPr wrap="none" lIns="18000" tIns="18000" rIns="18000" bIns="18000"/>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cs typeface="Arial" panose="020B0604020202020204" pitchFamily="34" charset="0"/>
              </a:rPr>
              <a:t>Text</a:t>
            </a:r>
          </a:p>
        </p:txBody>
      </p:sp>
      <p:sp>
        <p:nvSpPr>
          <p:cNvPr id="46083" name="AutoShape 3"/>
          <p:cNvSpPr>
            <a:spLocks noChangeArrowheads="1"/>
          </p:cNvSpPr>
          <p:nvPr/>
        </p:nvSpPr>
        <p:spPr bwMode="gray">
          <a:xfrm>
            <a:off x="1792289" y="1515520"/>
            <a:ext cx="1851025" cy="1235075"/>
          </a:xfrm>
          <a:prstGeom prst="homePlate">
            <a:avLst>
              <a:gd name="adj" fmla="val 37468"/>
            </a:avLst>
          </a:prstGeom>
          <a:solidFill>
            <a:srgbClr val="FFFFFF"/>
          </a:solidFill>
          <a:ln w="9525">
            <a:solidFill>
              <a:schemeClr val="bg1"/>
            </a:solidFill>
            <a:miter lim="800000"/>
            <a:headEnd/>
            <a:tailEnd/>
          </a:ln>
          <a:effectLst/>
        </p:spPr>
        <p:txBody>
          <a:bodyPr wrap="none" lIns="45720" rIns="4572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cs typeface="Arial" panose="020B0604020202020204" pitchFamily="34" charset="0"/>
              </a:rPr>
              <a:t>Text</a:t>
            </a:r>
          </a:p>
        </p:txBody>
      </p:sp>
      <p:sp>
        <p:nvSpPr>
          <p:cNvPr id="46084" name="Freeform 4"/>
          <p:cNvSpPr>
            <a:spLocks/>
          </p:cNvSpPr>
          <p:nvPr/>
        </p:nvSpPr>
        <p:spPr bwMode="gray">
          <a:xfrm>
            <a:off x="3255964" y="1521870"/>
            <a:ext cx="2903537" cy="1228725"/>
          </a:xfrm>
          <a:custGeom>
            <a:avLst/>
            <a:gdLst>
              <a:gd name="T0" fmla="*/ 0 w 1872"/>
              <a:gd name="T1" fmla="*/ 0 h 733"/>
              <a:gd name="T2" fmla="*/ 2147483647 w 1872"/>
              <a:gd name="T3" fmla="*/ 0 h 733"/>
              <a:gd name="T4" fmla="*/ 2147483647 w 1872"/>
              <a:gd name="T5" fmla="*/ 2147483647 h 733"/>
              <a:gd name="T6" fmla="*/ 2147483647 w 1872"/>
              <a:gd name="T7" fmla="*/ 2147483647 h 733"/>
              <a:gd name="T8" fmla="*/ 2147483647 w 1872"/>
              <a:gd name="T9" fmla="*/ 2147483647 h 733"/>
              <a:gd name="T10" fmla="*/ 2147483647 w 1872"/>
              <a:gd name="T11" fmla="*/ 2147483647 h 733"/>
              <a:gd name="T12" fmla="*/ 2147483647 w 1872"/>
              <a:gd name="T13" fmla="*/ 2147483647 h 733"/>
              <a:gd name="T14" fmla="*/ 0 w 1872"/>
              <a:gd name="T15" fmla="*/ 0 h 7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72" h="733">
                <a:moveTo>
                  <a:pt x="0" y="0"/>
                </a:moveTo>
                <a:lnTo>
                  <a:pt x="1694" y="0"/>
                </a:lnTo>
                <a:lnTo>
                  <a:pt x="1872" y="347"/>
                </a:lnTo>
                <a:lnTo>
                  <a:pt x="812" y="347"/>
                </a:lnTo>
                <a:lnTo>
                  <a:pt x="592" y="733"/>
                </a:lnTo>
                <a:lnTo>
                  <a:pt x="3" y="733"/>
                </a:lnTo>
                <a:lnTo>
                  <a:pt x="308" y="371"/>
                </a:lnTo>
                <a:lnTo>
                  <a:pt x="0" y="0"/>
                </a:lnTo>
                <a:close/>
              </a:path>
            </a:pathLst>
          </a:custGeom>
          <a:solidFill>
            <a:schemeClr val="tx1">
              <a:lumMod val="20000"/>
              <a:lumOff val="80000"/>
            </a:schemeClr>
          </a:solidFill>
          <a:ln w="9525" cap="flat" cmpd="sng">
            <a:solidFill>
              <a:schemeClr val="bg1"/>
            </a:solidFill>
            <a:prstDash val="solid"/>
            <a:round/>
            <a:headEnd/>
            <a:tailEnd/>
          </a:ln>
          <a:effectLst/>
        </p:spPr>
        <p:txBody>
          <a:bodyPr wrap="none" lIns="45720" rIns="45720" anchor="ctr"/>
          <a:lstStyle/>
          <a:p>
            <a:endParaRPr lang="en-US">
              <a:latin typeface="Arial" panose="020B0604020202020204" pitchFamily="34" charset="0"/>
              <a:cs typeface="Arial" panose="020B0604020202020204" pitchFamily="34" charset="0"/>
            </a:endParaRPr>
          </a:p>
        </p:txBody>
      </p:sp>
      <p:sp>
        <p:nvSpPr>
          <p:cNvPr id="46085" name="Freeform 5"/>
          <p:cNvSpPr>
            <a:spLocks/>
          </p:cNvSpPr>
          <p:nvPr/>
        </p:nvSpPr>
        <p:spPr bwMode="gray">
          <a:xfrm>
            <a:off x="4262439" y="1517107"/>
            <a:ext cx="3608387" cy="1243013"/>
          </a:xfrm>
          <a:custGeom>
            <a:avLst/>
            <a:gdLst>
              <a:gd name="T0" fmla="*/ 2147483647 w 2327"/>
              <a:gd name="T1" fmla="*/ 2147483647 h 995"/>
              <a:gd name="T2" fmla="*/ 2147483647 w 2327"/>
              <a:gd name="T3" fmla="*/ 2147483647 h 995"/>
              <a:gd name="T4" fmla="*/ 2147483647 w 2327"/>
              <a:gd name="T5" fmla="*/ 0 h 995"/>
              <a:gd name="T6" fmla="*/ 2147483647 w 2327"/>
              <a:gd name="T7" fmla="*/ 0 h 995"/>
              <a:gd name="T8" fmla="*/ 2147483647 w 2327"/>
              <a:gd name="T9" fmla="*/ 2147483647 h 995"/>
              <a:gd name="T10" fmla="*/ 2147483647 w 2327"/>
              <a:gd name="T11" fmla="*/ 2147483647 h 995"/>
              <a:gd name="T12" fmla="*/ 0 w 2327"/>
              <a:gd name="T13" fmla="*/ 2147483647 h 995"/>
              <a:gd name="T14" fmla="*/ 2147483647 w 2327"/>
              <a:gd name="T15" fmla="*/ 2147483647 h 99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27" h="995">
                <a:moveTo>
                  <a:pt x="199" y="515"/>
                </a:moveTo>
                <a:lnTo>
                  <a:pt x="1284" y="515"/>
                </a:lnTo>
                <a:lnTo>
                  <a:pt x="1093" y="0"/>
                </a:lnTo>
                <a:lnTo>
                  <a:pt x="2134" y="0"/>
                </a:lnTo>
                <a:lnTo>
                  <a:pt x="2327" y="496"/>
                </a:lnTo>
                <a:lnTo>
                  <a:pt x="2134" y="995"/>
                </a:lnTo>
                <a:lnTo>
                  <a:pt x="0" y="992"/>
                </a:lnTo>
                <a:lnTo>
                  <a:pt x="199" y="515"/>
                </a:lnTo>
                <a:close/>
              </a:path>
            </a:pathLst>
          </a:custGeom>
          <a:solidFill>
            <a:srgbClr val="FFFFFF"/>
          </a:solidFill>
          <a:ln w="9525" cap="flat" cmpd="sng">
            <a:solidFill>
              <a:schemeClr val="bg1"/>
            </a:solidFill>
            <a:prstDash val="solid"/>
            <a:round/>
            <a:headEnd/>
            <a:tailEnd/>
          </a:ln>
          <a:effectLst/>
        </p:spPr>
        <p:txBody>
          <a:bodyPr wrap="none" lIns="45720" rIns="45720" anchor="ctr"/>
          <a:lstStyle/>
          <a:p>
            <a:endParaRPr lang="en-US">
              <a:latin typeface="Arial" panose="020B0604020202020204" pitchFamily="34" charset="0"/>
              <a:cs typeface="Arial" panose="020B0604020202020204" pitchFamily="34" charset="0"/>
            </a:endParaRPr>
          </a:p>
        </p:txBody>
      </p:sp>
      <p:sp>
        <p:nvSpPr>
          <p:cNvPr id="46086" name="AutoShape 6"/>
          <p:cNvSpPr>
            <a:spLocks noChangeArrowheads="1"/>
          </p:cNvSpPr>
          <p:nvPr/>
        </p:nvSpPr>
        <p:spPr bwMode="gray">
          <a:xfrm>
            <a:off x="7685088" y="1515520"/>
            <a:ext cx="1466850" cy="1247775"/>
          </a:xfrm>
          <a:prstGeom prst="chevron">
            <a:avLst>
              <a:gd name="adj" fmla="val 23413"/>
            </a:avLst>
          </a:prstGeom>
          <a:solidFill>
            <a:schemeClr val="tx1">
              <a:lumMod val="20000"/>
              <a:lumOff val="80000"/>
            </a:schemeClr>
          </a:solidFill>
          <a:ln w="9525">
            <a:solidFill>
              <a:schemeClr val="bg1"/>
            </a:solidFill>
            <a:miter lim="800000"/>
            <a:headEnd/>
            <a:tailEnd/>
          </a:ln>
          <a:effectLst/>
        </p:spPr>
        <p:txBody>
          <a:bodyPr wrap="none" lIns="45720" rIns="45720" anchor="ctr"/>
          <a:lstStyle>
            <a:lvl1pPr marL="292100" algn="l">
              <a:spcBef>
                <a:spcPct val="20000"/>
              </a:spcBef>
              <a:buChar char="•"/>
              <a:defRPr sz="1100">
                <a:solidFill>
                  <a:schemeClr val="tx1"/>
                </a:solidFill>
                <a:latin typeface="Arial" panose="020B0604020202020204" pitchFamily="34" charset="0"/>
              </a:defRPr>
            </a:lvl1pPr>
            <a:lvl2pPr marL="482600"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614363" indent="-228600" algn="l">
              <a:spcBef>
                <a:spcPct val="20000"/>
              </a:spcBef>
              <a:buChar char="–"/>
              <a:defRPr sz="1100">
                <a:solidFill>
                  <a:schemeClr val="tx1"/>
                </a:solidFill>
                <a:latin typeface="Arial" panose="020B0604020202020204" pitchFamily="34" charset="0"/>
              </a:defRPr>
            </a:lvl3pPr>
            <a:lvl4pPr marL="1601788"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cs typeface="Arial" panose="020B0604020202020204" pitchFamily="34" charset="0"/>
              </a:rPr>
              <a:t>Text</a:t>
            </a:r>
          </a:p>
        </p:txBody>
      </p:sp>
      <p:sp>
        <p:nvSpPr>
          <p:cNvPr id="46087" name="AutoShape 7"/>
          <p:cNvSpPr>
            <a:spLocks noChangeArrowheads="1"/>
          </p:cNvSpPr>
          <p:nvPr/>
        </p:nvSpPr>
        <p:spPr bwMode="gray">
          <a:xfrm>
            <a:off x="8940800" y="1515520"/>
            <a:ext cx="1462088" cy="1247775"/>
          </a:xfrm>
          <a:prstGeom prst="chevron">
            <a:avLst>
              <a:gd name="adj" fmla="val 23337"/>
            </a:avLst>
          </a:prstGeom>
          <a:solidFill>
            <a:schemeClr val="bg2"/>
          </a:solidFill>
          <a:ln w="9525">
            <a:solidFill>
              <a:schemeClr val="tx1"/>
            </a:solidFill>
            <a:prstDash val="dash"/>
            <a:miter lim="800000"/>
            <a:headEnd/>
            <a:tailEnd/>
          </a:ln>
          <a:effectLst/>
        </p:spPr>
        <p:txBody>
          <a:bodyPr wrap="none" lIns="45720" rIns="45720" anchor="ctr"/>
          <a:lstStyle>
            <a:lvl1pPr marL="190500" indent="101600" algn="l">
              <a:spcBef>
                <a:spcPct val="20000"/>
              </a:spcBef>
              <a:buChar char="•"/>
              <a:defRPr sz="1100">
                <a:solidFill>
                  <a:schemeClr val="tx1"/>
                </a:solidFill>
                <a:latin typeface="Arial" panose="020B0604020202020204" pitchFamily="34" charset="0"/>
              </a:defRPr>
            </a:lvl1pPr>
            <a:lvl2pPr marL="482600"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614363" indent="-228600" algn="l">
              <a:spcBef>
                <a:spcPct val="20000"/>
              </a:spcBef>
              <a:buChar char="–"/>
              <a:defRPr sz="1100">
                <a:solidFill>
                  <a:schemeClr val="tx1"/>
                </a:solidFill>
                <a:latin typeface="Arial" panose="020B0604020202020204" pitchFamily="34" charset="0"/>
              </a:defRPr>
            </a:lvl3pPr>
            <a:lvl4pPr marL="1601788"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solidFill>
                  <a:schemeClr val="accent5"/>
                </a:solidFill>
                <a:cs typeface="Arial" panose="020B0604020202020204" pitchFamily="34" charset="0"/>
              </a:rPr>
              <a:t>Text</a:t>
            </a:r>
          </a:p>
        </p:txBody>
      </p:sp>
      <p:sp>
        <p:nvSpPr>
          <p:cNvPr id="46088" name="Text Box 8"/>
          <p:cNvSpPr txBox="1">
            <a:spLocks noChangeArrowheads="1"/>
          </p:cNvSpPr>
          <p:nvPr/>
        </p:nvSpPr>
        <p:spPr bwMode="gray">
          <a:xfrm>
            <a:off x="3827464" y="1726657"/>
            <a:ext cx="1576387"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cs typeface="Arial" panose="020B0604020202020204" pitchFamily="34" charset="0"/>
              </a:rPr>
              <a:t>Text</a:t>
            </a:r>
          </a:p>
        </p:txBody>
      </p:sp>
      <p:sp>
        <p:nvSpPr>
          <p:cNvPr id="46089" name="Text Box 9"/>
          <p:cNvSpPr txBox="1">
            <a:spLocks noChangeArrowheads="1"/>
          </p:cNvSpPr>
          <p:nvPr/>
        </p:nvSpPr>
        <p:spPr bwMode="gray">
          <a:xfrm>
            <a:off x="5305426" y="2356895"/>
            <a:ext cx="1573213"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cs typeface="Arial" panose="020B0604020202020204" pitchFamily="34" charset="0"/>
              </a:rPr>
              <a:t>Text</a:t>
            </a:r>
          </a:p>
        </p:txBody>
      </p:sp>
      <p:sp>
        <p:nvSpPr>
          <p:cNvPr id="46090" name="Line 10"/>
          <p:cNvSpPr>
            <a:spLocks noChangeShapeType="1"/>
          </p:cNvSpPr>
          <p:nvPr/>
        </p:nvSpPr>
        <p:spPr bwMode="gray">
          <a:xfrm>
            <a:off x="3206751" y="1361531"/>
            <a:ext cx="4416425" cy="0"/>
          </a:xfrm>
          <a:prstGeom prst="line">
            <a:avLst/>
          </a:prstGeom>
          <a:noFill/>
          <a:ln w="9525">
            <a:solidFill>
              <a:schemeClr val="tx1">
                <a:lumMod val="5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endParaRPr lang="en-US">
              <a:latin typeface="Arial" panose="020B0604020202020204" pitchFamily="34" charset="0"/>
              <a:cs typeface="Arial" panose="020B0604020202020204" pitchFamily="34" charset="0"/>
            </a:endParaRPr>
          </a:p>
        </p:txBody>
      </p:sp>
      <p:sp>
        <p:nvSpPr>
          <p:cNvPr id="46091" name="Line 11"/>
          <p:cNvSpPr>
            <a:spLocks noChangeShapeType="1"/>
          </p:cNvSpPr>
          <p:nvPr/>
        </p:nvSpPr>
        <p:spPr bwMode="gray">
          <a:xfrm>
            <a:off x="8951914" y="1361531"/>
            <a:ext cx="1177925" cy="0"/>
          </a:xfrm>
          <a:prstGeom prst="line">
            <a:avLst/>
          </a:prstGeom>
          <a:noFill/>
          <a:ln w="9525">
            <a:solidFill>
              <a:schemeClr val="tx1">
                <a:lumMod val="5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endParaRPr lang="en-US">
              <a:latin typeface="Arial" panose="020B0604020202020204" pitchFamily="34" charset="0"/>
              <a:cs typeface="Arial" panose="020B0604020202020204" pitchFamily="34" charset="0"/>
            </a:endParaRPr>
          </a:p>
        </p:txBody>
      </p:sp>
      <p:sp>
        <p:nvSpPr>
          <p:cNvPr id="46092" name="Rectangle 12"/>
          <p:cNvSpPr>
            <a:spLocks noChangeArrowheads="1"/>
          </p:cNvSpPr>
          <p:nvPr/>
        </p:nvSpPr>
        <p:spPr bwMode="gray">
          <a:xfrm>
            <a:off x="1792288" y="3139532"/>
            <a:ext cx="2730500" cy="352425"/>
          </a:xfrm>
          <a:prstGeom prst="rect">
            <a:avLst/>
          </a:prstGeom>
          <a:solidFill>
            <a:schemeClr val="tx1">
              <a:lumMod val="60000"/>
              <a:lumOff val="40000"/>
            </a:schemeClr>
          </a:solidFill>
          <a:ln w="9525">
            <a:solidFill>
              <a:schemeClr val="tx1"/>
            </a:solidFill>
            <a:miter lim="800000"/>
            <a:headEnd/>
            <a:tailEnd/>
          </a:ln>
          <a:effectLst/>
        </p:spPr>
        <p:txBody>
          <a:bodyPr lIns="18000" tIns="18000" rIns="18000" bIns="18000" anchor="ctr"/>
          <a:lstStyle>
            <a:lvl1pPr marL="195263" indent="-195263" algn="l">
              <a:spcBef>
                <a:spcPct val="20000"/>
              </a:spcBef>
              <a:buChar char="•"/>
              <a:defRPr sz="1100">
                <a:solidFill>
                  <a:schemeClr val="tx1"/>
                </a:solidFill>
                <a:latin typeface="Arial" panose="020B0604020202020204" pitchFamily="34" charset="0"/>
              </a:defRPr>
            </a:lvl1pPr>
            <a:lvl2pPr marL="384175"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614363" indent="-228600" algn="l">
              <a:spcBef>
                <a:spcPct val="20000"/>
              </a:spcBef>
              <a:buChar char="–"/>
              <a:defRPr sz="1100">
                <a:solidFill>
                  <a:schemeClr val="tx1"/>
                </a:solidFill>
                <a:latin typeface="Arial" panose="020B0604020202020204" pitchFamily="34" charset="0"/>
              </a:defRPr>
            </a:lvl3pPr>
            <a:lvl4pPr marL="1601788"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50000"/>
              </a:spcBef>
              <a:buFontTx/>
              <a:buNone/>
            </a:pPr>
            <a:r>
              <a:rPr lang="en-GB" altLang="en-US" sz="1000" b="1">
                <a:solidFill>
                  <a:schemeClr val="accent5"/>
                </a:solidFill>
                <a:cs typeface="Arial" panose="020B0604020202020204" pitchFamily="34" charset="0"/>
              </a:rPr>
              <a:t>Text</a:t>
            </a:r>
          </a:p>
        </p:txBody>
      </p:sp>
      <p:sp>
        <p:nvSpPr>
          <p:cNvPr id="46093" name="Line 13"/>
          <p:cNvSpPr>
            <a:spLocks noChangeShapeType="1"/>
          </p:cNvSpPr>
          <p:nvPr/>
        </p:nvSpPr>
        <p:spPr bwMode="gray">
          <a:xfrm flipH="1">
            <a:off x="1792288" y="2741069"/>
            <a:ext cx="1477962" cy="398462"/>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endParaRPr lang="en-US">
              <a:latin typeface="Arial" panose="020B0604020202020204" pitchFamily="34" charset="0"/>
              <a:cs typeface="Arial" panose="020B0604020202020204" pitchFamily="34" charset="0"/>
            </a:endParaRPr>
          </a:p>
        </p:txBody>
      </p:sp>
      <p:sp>
        <p:nvSpPr>
          <p:cNvPr id="46094" name="Line 14"/>
          <p:cNvSpPr>
            <a:spLocks noChangeShapeType="1"/>
          </p:cNvSpPr>
          <p:nvPr/>
        </p:nvSpPr>
        <p:spPr bwMode="gray">
          <a:xfrm>
            <a:off x="4173538" y="2742656"/>
            <a:ext cx="349250" cy="38735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endParaRPr lang="en-US">
              <a:latin typeface="Arial" panose="020B0604020202020204" pitchFamily="34" charset="0"/>
              <a:cs typeface="Arial" panose="020B0604020202020204" pitchFamily="34" charset="0"/>
            </a:endParaRPr>
          </a:p>
        </p:txBody>
      </p:sp>
      <p:sp>
        <p:nvSpPr>
          <p:cNvPr id="46095" name="Line 15"/>
          <p:cNvSpPr>
            <a:spLocks noChangeShapeType="1"/>
          </p:cNvSpPr>
          <p:nvPr/>
        </p:nvSpPr>
        <p:spPr bwMode="gray">
          <a:xfrm flipV="1">
            <a:off x="6643688" y="2753770"/>
            <a:ext cx="1058862" cy="376237"/>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endParaRPr lang="en-US">
              <a:latin typeface="Arial" panose="020B0604020202020204" pitchFamily="34" charset="0"/>
              <a:cs typeface="Arial" panose="020B0604020202020204" pitchFamily="34" charset="0"/>
            </a:endParaRPr>
          </a:p>
        </p:txBody>
      </p:sp>
      <p:sp>
        <p:nvSpPr>
          <p:cNvPr id="46096" name="Line 16"/>
          <p:cNvSpPr>
            <a:spLocks noChangeShapeType="1"/>
          </p:cNvSpPr>
          <p:nvPr/>
        </p:nvSpPr>
        <p:spPr bwMode="gray">
          <a:xfrm flipH="1" flipV="1">
            <a:off x="8858250" y="2753769"/>
            <a:ext cx="515938" cy="385762"/>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endParaRPr lang="en-US">
              <a:latin typeface="Arial" panose="020B0604020202020204" pitchFamily="34" charset="0"/>
              <a:cs typeface="Arial" panose="020B0604020202020204" pitchFamily="34" charset="0"/>
            </a:endParaRPr>
          </a:p>
        </p:txBody>
      </p:sp>
      <p:sp>
        <p:nvSpPr>
          <p:cNvPr id="46097" name="Rectangle 17"/>
          <p:cNvSpPr>
            <a:spLocks noChangeArrowheads="1"/>
          </p:cNvSpPr>
          <p:nvPr/>
        </p:nvSpPr>
        <p:spPr bwMode="gray">
          <a:xfrm>
            <a:off x="1792288" y="3491956"/>
            <a:ext cx="2730500" cy="187325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latin typeface="Arial" panose="020B0604020202020204" pitchFamily="34" charset="0"/>
              <a:ea typeface="Roboto" charset="0"/>
              <a:cs typeface="Arial" panose="020B0604020202020204" pitchFamily="34" charset="0"/>
            </a:endParaRPr>
          </a:p>
        </p:txBody>
      </p:sp>
      <p:sp>
        <p:nvSpPr>
          <p:cNvPr id="46098" name="Rectangle 18"/>
          <p:cNvSpPr>
            <a:spLocks noChangeArrowheads="1"/>
          </p:cNvSpPr>
          <p:nvPr/>
        </p:nvSpPr>
        <p:spPr bwMode="gray">
          <a:xfrm>
            <a:off x="6632575" y="3139532"/>
            <a:ext cx="2730500" cy="352425"/>
          </a:xfrm>
          <a:prstGeom prst="rect">
            <a:avLst/>
          </a:prstGeom>
          <a:solidFill>
            <a:schemeClr val="tx1">
              <a:lumMod val="60000"/>
              <a:lumOff val="40000"/>
            </a:schemeClr>
          </a:solidFill>
          <a:ln w="9525">
            <a:solidFill>
              <a:schemeClr val="tx1"/>
            </a:solidFill>
            <a:miter lim="800000"/>
            <a:headEnd/>
            <a:tailEnd/>
          </a:ln>
          <a:effectLst/>
        </p:spPr>
        <p:txBody>
          <a:bodyPr lIns="18000" tIns="18000" rIns="18000" bIns="18000" anchor="ctr"/>
          <a:lstStyle>
            <a:lvl1pPr marL="195263" indent="-195263" algn="l">
              <a:spcBef>
                <a:spcPct val="20000"/>
              </a:spcBef>
              <a:buChar char="•"/>
              <a:defRPr sz="1100">
                <a:solidFill>
                  <a:schemeClr val="tx1"/>
                </a:solidFill>
                <a:latin typeface="Arial" panose="020B0604020202020204" pitchFamily="34" charset="0"/>
              </a:defRPr>
            </a:lvl1pPr>
            <a:lvl2pPr marL="384175"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614363" indent="-228600" algn="l">
              <a:spcBef>
                <a:spcPct val="20000"/>
              </a:spcBef>
              <a:buChar char="–"/>
              <a:defRPr sz="1100">
                <a:solidFill>
                  <a:schemeClr val="tx1"/>
                </a:solidFill>
                <a:latin typeface="Arial" panose="020B0604020202020204" pitchFamily="34" charset="0"/>
              </a:defRPr>
            </a:lvl3pPr>
            <a:lvl4pPr marL="1601788"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50000"/>
              </a:spcBef>
              <a:buFontTx/>
              <a:buNone/>
            </a:pPr>
            <a:r>
              <a:rPr lang="en-GB" altLang="en-US" sz="1000" b="1">
                <a:solidFill>
                  <a:schemeClr val="accent5"/>
                </a:solidFill>
                <a:cs typeface="Arial" panose="020B0604020202020204" pitchFamily="34" charset="0"/>
              </a:rPr>
              <a:t>Text</a:t>
            </a:r>
          </a:p>
        </p:txBody>
      </p:sp>
      <p:sp>
        <p:nvSpPr>
          <p:cNvPr id="46099" name="Rectangle 19"/>
          <p:cNvSpPr>
            <a:spLocks noChangeArrowheads="1"/>
          </p:cNvSpPr>
          <p:nvPr/>
        </p:nvSpPr>
        <p:spPr bwMode="gray">
          <a:xfrm>
            <a:off x="6632575" y="3491956"/>
            <a:ext cx="2730500" cy="187325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p>
        </p:txBody>
      </p:sp>
      <p:sp>
        <p:nvSpPr>
          <p:cNvPr id="46100" name="Text Box 20"/>
          <p:cNvSpPr txBox="1">
            <a:spLocks noChangeArrowheads="1"/>
          </p:cNvSpPr>
          <p:nvPr/>
        </p:nvSpPr>
        <p:spPr bwMode="gray">
          <a:xfrm>
            <a:off x="9363076" y="1221831"/>
            <a:ext cx="366713" cy="247650"/>
          </a:xfrm>
          <a:prstGeom prst="rect">
            <a:avLst/>
          </a:prstGeom>
          <a:solidFill>
            <a:srgbClr val="FFFFFF"/>
          </a:solidFill>
          <a:ln>
            <a:noFill/>
          </a:ln>
          <a:effectLst/>
        </p:spPr>
        <p:txBody>
          <a:bodyPr wrap="none" lIns="18000" tIns="18000" rIns="18000" bIns="18000"/>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cs typeface="Arial" panose="020B0604020202020204" pitchFamily="34" charset="0"/>
              </a:rPr>
              <a:t>Text</a:t>
            </a:r>
          </a:p>
        </p:txBody>
      </p:sp>
      <p:sp>
        <p:nvSpPr>
          <p:cNvPr id="46101" name="Text Box 21"/>
          <p:cNvSpPr txBox="1">
            <a:spLocks noChangeArrowheads="1"/>
          </p:cNvSpPr>
          <p:nvPr/>
        </p:nvSpPr>
        <p:spPr bwMode="gray">
          <a:xfrm>
            <a:off x="5468938" y="1221831"/>
            <a:ext cx="368300" cy="247650"/>
          </a:xfrm>
          <a:prstGeom prst="rect">
            <a:avLst/>
          </a:prstGeom>
          <a:solidFill>
            <a:srgbClr val="FFFFFF"/>
          </a:solidFill>
          <a:ln>
            <a:noFill/>
          </a:ln>
          <a:effectLst/>
        </p:spPr>
        <p:txBody>
          <a:bodyPr wrap="none" lIns="18000" tIns="18000" rIns="18000" bIns="18000"/>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cs typeface="Arial" panose="020B0604020202020204" pitchFamily="34" charset="0"/>
              </a:rPr>
              <a:t>Text</a:t>
            </a:r>
          </a:p>
        </p:txBody>
      </p:sp>
      <p:sp>
        <p:nvSpPr>
          <p:cNvPr id="4" name="Text Placeholder 3"/>
          <p:cNvSpPr>
            <a:spLocks noGrp="1"/>
          </p:cNvSpPr>
          <p:nvPr>
            <p:ph type="body" sz="quarter" idx="11"/>
          </p:nvPr>
        </p:nvSpPr>
        <p:spPr/>
        <p:txBody>
          <a:bodyPr/>
          <a:lstStyle/>
          <a:p>
            <a:endParaRPr lang="en-US"/>
          </a:p>
        </p:txBody>
      </p:sp>
      <p:sp>
        <p:nvSpPr>
          <p:cNvPr id="46104" name="Rectangle 24"/>
          <p:cNvSpPr>
            <a:spLocks noGrp="1" noChangeArrowheads="1"/>
          </p:cNvSpPr>
          <p:nvPr>
            <p:ph type="title"/>
          </p:nvPr>
        </p:nvSpPr>
        <p:spPr/>
        <p:txBody>
          <a:bodyPr/>
          <a:lstStyle/>
          <a:p>
            <a:r>
              <a:rPr lang="en-GB" altLang="en-US"/>
              <a:t>Process flows</a:t>
            </a:r>
          </a:p>
        </p:txBody>
      </p:sp>
    </p:spTree>
    <p:extLst>
      <p:ext uri="{BB962C8B-B14F-4D97-AF65-F5344CB8AC3E}">
        <p14:creationId xmlns:p14="http://schemas.microsoft.com/office/powerpoint/2010/main" val="27725508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Rectangle 2" hidden="1"/>
          <p:cNvGraphicFramePr>
            <a:graphicFrameLocks/>
          </p:cNvGraphicFramePr>
          <p:nvPr>
            <p:custDataLst>
              <p:tags r:id="rId1"/>
            </p:custDataLst>
            <p:extLst>
              <p:ext uri="{D42A27DB-BD31-4B8C-83A1-F6EECF244321}">
                <p14:modId xmlns:p14="http://schemas.microsoft.com/office/powerpoint/2010/main" val="3470107234"/>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710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p:txBody>
          <a:bodyPr/>
          <a:lstStyle/>
          <a:p>
            <a:endParaRPr lang="en-US"/>
          </a:p>
        </p:txBody>
      </p:sp>
      <p:sp>
        <p:nvSpPr>
          <p:cNvPr id="47107" name="Rectangle 3"/>
          <p:cNvSpPr>
            <a:spLocks noGrp="1" noChangeArrowheads="1"/>
          </p:cNvSpPr>
          <p:nvPr>
            <p:ph type="title"/>
          </p:nvPr>
        </p:nvSpPr>
        <p:spPr/>
        <p:txBody>
          <a:bodyPr/>
          <a:lstStyle/>
          <a:p>
            <a:r>
              <a:rPr lang="en-GB" altLang="en-US"/>
              <a:t>Process flows</a:t>
            </a:r>
          </a:p>
        </p:txBody>
      </p:sp>
      <p:sp>
        <p:nvSpPr>
          <p:cNvPr id="47108" name="Freeform 4"/>
          <p:cNvSpPr>
            <a:spLocks/>
          </p:cNvSpPr>
          <p:nvPr/>
        </p:nvSpPr>
        <p:spPr bwMode="gray">
          <a:xfrm>
            <a:off x="3224213" y="4414799"/>
            <a:ext cx="5937250" cy="868363"/>
          </a:xfrm>
          <a:custGeom>
            <a:avLst/>
            <a:gdLst>
              <a:gd name="T0" fmla="*/ 0 w 3545"/>
              <a:gd name="T1" fmla="*/ 2147483647 h 395"/>
              <a:gd name="T2" fmla="*/ 2147483647 w 3545"/>
              <a:gd name="T3" fmla="*/ 2147483647 h 395"/>
              <a:gd name="T4" fmla="*/ 2147483647 w 3545"/>
              <a:gd name="T5" fmla="*/ 2147483647 h 395"/>
              <a:gd name="T6" fmla="*/ 2147483647 w 3545"/>
              <a:gd name="T7" fmla="*/ 2147483647 h 395"/>
              <a:gd name="T8" fmla="*/ 2147483647 w 3545"/>
              <a:gd name="T9" fmla="*/ 2147483647 h 395"/>
              <a:gd name="T10" fmla="*/ 2147483647 w 3545"/>
              <a:gd name="T11" fmla="*/ 2147483647 h 395"/>
              <a:gd name="T12" fmla="*/ 2147483647 w 3545"/>
              <a:gd name="T13" fmla="*/ 0 h 395"/>
              <a:gd name="T14" fmla="*/ 0 w 3545"/>
              <a:gd name="T15" fmla="*/ 2147483647 h 395"/>
              <a:gd name="T16" fmla="*/ 0 w 3545"/>
              <a:gd name="T17" fmla="*/ 2147483647 h 3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45" h="395">
                <a:moveTo>
                  <a:pt x="0" y="394"/>
                </a:moveTo>
                <a:lnTo>
                  <a:pt x="3421" y="394"/>
                </a:lnTo>
                <a:lnTo>
                  <a:pt x="3544" y="197"/>
                </a:lnTo>
                <a:lnTo>
                  <a:pt x="3421" y="1"/>
                </a:lnTo>
                <a:lnTo>
                  <a:pt x="237" y="0"/>
                </a:lnTo>
                <a:lnTo>
                  <a:pt x="0" y="394"/>
                </a:lnTo>
                <a:close/>
              </a:path>
            </a:pathLst>
          </a:custGeom>
          <a:solidFill>
            <a:schemeClr val="tx1">
              <a:lumMod val="20000"/>
              <a:lumOff val="80000"/>
            </a:schemeClr>
          </a:solidFill>
          <a:ln>
            <a:noFill/>
          </a:ln>
          <a:effectLst/>
        </p:spPr>
        <p:txBody>
          <a:bodyPr wrap="none" anchor="ctr"/>
          <a:lstStyle/>
          <a:p>
            <a:endParaRPr lang="en-US">
              <a:latin typeface="Arial" panose="020B0604020202020204" pitchFamily="34" charset="0"/>
              <a:cs typeface="Arial" panose="020B0604020202020204" pitchFamily="34" charset="0"/>
            </a:endParaRPr>
          </a:p>
        </p:txBody>
      </p:sp>
      <p:sp>
        <p:nvSpPr>
          <p:cNvPr id="47109" name="Freeform 5"/>
          <p:cNvSpPr>
            <a:spLocks/>
          </p:cNvSpPr>
          <p:nvPr/>
        </p:nvSpPr>
        <p:spPr bwMode="gray">
          <a:xfrm>
            <a:off x="1906588" y="1306473"/>
            <a:ext cx="1981200" cy="3976688"/>
          </a:xfrm>
          <a:custGeom>
            <a:avLst/>
            <a:gdLst>
              <a:gd name="T0" fmla="*/ 0 w 1182"/>
              <a:gd name="T1" fmla="*/ 0 h 1812"/>
              <a:gd name="T2" fmla="*/ 2147483647 w 1182"/>
              <a:gd name="T3" fmla="*/ 0 h 1812"/>
              <a:gd name="T4" fmla="*/ 2147483647 w 1182"/>
              <a:gd name="T5" fmla="*/ 0 h 1812"/>
              <a:gd name="T6" fmla="*/ 2147483647 w 1182"/>
              <a:gd name="T7" fmla="*/ 2147483647 h 1812"/>
              <a:gd name="T8" fmla="*/ 2147483647 w 1182"/>
              <a:gd name="T9" fmla="*/ 2147483647 h 1812"/>
              <a:gd name="T10" fmla="*/ 2147483647 w 1182"/>
              <a:gd name="T11" fmla="*/ 2147483647 h 1812"/>
              <a:gd name="T12" fmla="*/ 0 w 1182"/>
              <a:gd name="T13" fmla="*/ 2147483647 h 1812"/>
              <a:gd name="T14" fmla="*/ 0 w 1182"/>
              <a:gd name="T15" fmla="*/ 2147483647 h 1812"/>
              <a:gd name="T16" fmla="*/ 0 w 1182"/>
              <a:gd name="T17" fmla="*/ 0 h 1812"/>
              <a:gd name="T18" fmla="*/ 0 w 1182"/>
              <a:gd name="T19" fmla="*/ 0 h 18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82" h="1812">
                <a:moveTo>
                  <a:pt x="0" y="0"/>
                </a:moveTo>
                <a:lnTo>
                  <a:pt x="658" y="0"/>
                </a:lnTo>
                <a:lnTo>
                  <a:pt x="1181" y="906"/>
                </a:lnTo>
                <a:lnTo>
                  <a:pt x="658" y="1811"/>
                </a:lnTo>
                <a:lnTo>
                  <a:pt x="0" y="1811"/>
                </a:lnTo>
                <a:lnTo>
                  <a:pt x="0" y="0"/>
                </a:lnTo>
                <a:close/>
              </a:path>
            </a:pathLst>
          </a:custGeom>
          <a:solidFill>
            <a:schemeClr val="tx1">
              <a:lumMod val="20000"/>
              <a:lumOff val="80000"/>
            </a:schemeClr>
          </a:solidFill>
          <a:ln>
            <a:noFill/>
          </a:ln>
          <a:effectLst/>
        </p:spPr>
        <p:txBody>
          <a:bodyPr anchor="ctr"/>
          <a:lstStyle/>
          <a:p>
            <a:endParaRPr lang="en-US">
              <a:latin typeface="Arial" panose="020B0604020202020204" pitchFamily="34" charset="0"/>
              <a:cs typeface="Arial" panose="020B0604020202020204" pitchFamily="34" charset="0"/>
            </a:endParaRPr>
          </a:p>
        </p:txBody>
      </p:sp>
      <p:sp>
        <p:nvSpPr>
          <p:cNvPr id="47110" name="Freeform 6"/>
          <p:cNvSpPr>
            <a:spLocks/>
          </p:cNvSpPr>
          <p:nvPr/>
        </p:nvSpPr>
        <p:spPr bwMode="gray">
          <a:xfrm>
            <a:off x="3224213" y="1306474"/>
            <a:ext cx="5937250" cy="868363"/>
          </a:xfrm>
          <a:custGeom>
            <a:avLst/>
            <a:gdLst>
              <a:gd name="T0" fmla="*/ 0 w 3545"/>
              <a:gd name="T1" fmla="*/ 0 h 395"/>
              <a:gd name="T2" fmla="*/ 2147483647 w 3545"/>
              <a:gd name="T3" fmla="*/ 0 h 395"/>
              <a:gd name="T4" fmla="*/ 2147483647 w 3545"/>
              <a:gd name="T5" fmla="*/ 0 h 395"/>
              <a:gd name="T6" fmla="*/ 2147483647 w 3545"/>
              <a:gd name="T7" fmla="*/ 2147483647 h 395"/>
              <a:gd name="T8" fmla="*/ 2147483647 w 3545"/>
              <a:gd name="T9" fmla="*/ 2147483647 h 395"/>
              <a:gd name="T10" fmla="*/ 2147483647 w 3545"/>
              <a:gd name="T11" fmla="*/ 2147483647 h 395"/>
              <a:gd name="T12" fmla="*/ 2147483647 w 3545"/>
              <a:gd name="T13" fmla="*/ 2147483647 h 395"/>
              <a:gd name="T14" fmla="*/ 0 w 3545"/>
              <a:gd name="T15" fmla="*/ 0 h 395"/>
              <a:gd name="T16" fmla="*/ 0 w 3545"/>
              <a:gd name="T17" fmla="*/ 0 h 3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45" h="395">
                <a:moveTo>
                  <a:pt x="0" y="0"/>
                </a:moveTo>
                <a:lnTo>
                  <a:pt x="3421" y="0"/>
                </a:lnTo>
                <a:lnTo>
                  <a:pt x="3544" y="197"/>
                </a:lnTo>
                <a:lnTo>
                  <a:pt x="3421" y="394"/>
                </a:lnTo>
                <a:lnTo>
                  <a:pt x="237" y="394"/>
                </a:lnTo>
                <a:lnTo>
                  <a:pt x="0" y="0"/>
                </a:lnTo>
                <a:close/>
              </a:path>
            </a:pathLst>
          </a:custGeom>
          <a:solidFill>
            <a:schemeClr val="tx1">
              <a:lumMod val="20000"/>
              <a:lumOff val="80000"/>
            </a:schemeClr>
          </a:solidFill>
          <a:ln>
            <a:noFill/>
          </a:ln>
          <a:effectLst/>
        </p:spPr>
        <p:txBody>
          <a:bodyPr wrap="none" anchor="ctr"/>
          <a:lstStyle/>
          <a:p>
            <a:endParaRPr lang="en-US">
              <a:latin typeface="Arial" panose="020B0604020202020204" pitchFamily="34" charset="0"/>
              <a:cs typeface="Arial" panose="020B0604020202020204" pitchFamily="34" charset="0"/>
            </a:endParaRPr>
          </a:p>
        </p:txBody>
      </p:sp>
      <p:sp>
        <p:nvSpPr>
          <p:cNvPr id="47111" name="Freeform 7"/>
          <p:cNvSpPr>
            <a:spLocks/>
          </p:cNvSpPr>
          <p:nvPr/>
        </p:nvSpPr>
        <p:spPr bwMode="gray">
          <a:xfrm>
            <a:off x="3959227" y="2863811"/>
            <a:ext cx="1774825" cy="862012"/>
          </a:xfrm>
          <a:custGeom>
            <a:avLst/>
            <a:gdLst>
              <a:gd name="T0" fmla="*/ 0 w 1060"/>
              <a:gd name="T1" fmla="*/ 0 h 394"/>
              <a:gd name="T2" fmla="*/ 2147483647 w 1060"/>
              <a:gd name="T3" fmla="*/ 0 h 394"/>
              <a:gd name="T4" fmla="*/ 2147483647 w 1060"/>
              <a:gd name="T5" fmla="*/ 0 h 394"/>
              <a:gd name="T6" fmla="*/ 2147483647 w 1060"/>
              <a:gd name="T7" fmla="*/ 2147483647 h 394"/>
              <a:gd name="T8" fmla="*/ 2147483647 w 1060"/>
              <a:gd name="T9" fmla="*/ 2147483647 h 394"/>
              <a:gd name="T10" fmla="*/ 2147483647 w 1060"/>
              <a:gd name="T11" fmla="*/ 2147483647 h 394"/>
              <a:gd name="T12" fmla="*/ 0 w 1060"/>
              <a:gd name="T13" fmla="*/ 2147483647 h 394"/>
              <a:gd name="T14" fmla="*/ 0 w 1060"/>
              <a:gd name="T15" fmla="*/ 2147483647 h 394"/>
              <a:gd name="T16" fmla="*/ 2147483647 w 1060"/>
              <a:gd name="T17" fmla="*/ 2147483647 h 394"/>
              <a:gd name="T18" fmla="*/ 0 w 1060"/>
              <a:gd name="T19" fmla="*/ 0 h 394"/>
              <a:gd name="T20" fmla="*/ 0 w 1060"/>
              <a:gd name="T21" fmla="*/ 0 h 3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60" h="394">
                <a:moveTo>
                  <a:pt x="0" y="0"/>
                </a:moveTo>
                <a:lnTo>
                  <a:pt x="945" y="0"/>
                </a:lnTo>
                <a:lnTo>
                  <a:pt x="1059" y="197"/>
                </a:lnTo>
                <a:lnTo>
                  <a:pt x="945" y="393"/>
                </a:lnTo>
                <a:lnTo>
                  <a:pt x="0" y="393"/>
                </a:lnTo>
                <a:lnTo>
                  <a:pt x="114" y="197"/>
                </a:lnTo>
                <a:lnTo>
                  <a:pt x="0" y="0"/>
                </a:lnTo>
                <a:close/>
              </a:path>
            </a:pathLst>
          </a:custGeom>
          <a:solidFill>
            <a:schemeClr val="tx1">
              <a:lumMod val="20000"/>
              <a:lumOff val="80000"/>
            </a:schemeClr>
          </a:solidFill>
          <a:ln>
            <a:noFill/>
          </a:ln>
          <a:effectLst/>
        </p:spPr>
        <p:txBody>
          <a:bodyPr wrap="none" anchor="ctr"/>
          <a:lstStyle/>
          <a:p>
            <a:endParaRPr lang="en-US">
              <a:latin typeface="Arial" panose="020B0604020202020204" pitchFamily="34" charset="0"/>
              <a:cs typeface="Arial" panose="020B0604020202020204" pitchFamily="34" charset="0"/>
            </a:endParaRPr>
          </a:p>
        </p:txBody>
      </p:sp>
      <p:sp>
        <p:nvSpPr>
          <p:cNvPr id="47112" name="Freeform 8"/>
          <p:cNvSpPr>
            <a:spLocks/>
          </p:cNvSpPr>
          <p:nvPr/>
        </p:nvSpPr>
        <p:spPr bwMode="gray">
          <a:xfrm>
            <a:off x="5670552" y="2863811"/>
            <a:ext cx="1773237" cy="862012"/>
          </a:xfrm>
          <a:custGeom>
            <a:avLst/>
            <a:gdLst>
              <a:gd name="T0" fmla="*/ 0 w 1059"/>
              <a:gd name="T1" fmla="*/ 0 h 394"/>
              <a:gd name="T2" fmla="*/ 2147483647 w 1059"/>
              <a:gd name="T3" fmla="*/ 0 h 394"/>
              <a:gd name="T4" fmla="*/ 2147483647 w 1059"/>
              <a:gd name="T5" fmla="*/ 0 h 394"/>
              <a:gd name="T6" fmla="*/ 2147483647 w 1059"/>
              <a:gd name="T7" fmla="*/ 2147483647 h 394"/>
              <a:gd name="T8" fmla="*/ 2147483647 w 1059"/>
              <a:gd name="T9" fmla="*/ 2147483647 h 394"/>
              <a:gd name="T10" fmla="*/ 2147483647 w 1059"/>
              <a:gd name="T11" fmla="*/ 2147483647 h 394"/>
              <a:gd name="T12" fmla="*/ 0 w 1059"/>
              <a:gd name="T13" fmla="*/ 2147483647 h 394"/>
              <a:gd name="T14" fmla="*/ 0 w 1059"/>
              <a:gd name="T15" fmla="*/ 2147483647 h 394"/>
              <a:gd name="T16" fmla="*/ 2147483647 w 1059"/>
              <a:gd name="T17" fmla="*/ 2147483647 h 394"/>
              <a:gd name="T18" fmla="*/ 0 w 1059"/>
              <a:gd name="T19" fmla="*/ 0 h 394"/>
              <a:gd name="T20" fmla="*/ 0 w 1059"/>
              <a:gd name="T21" fmla="*/ 0 h 3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59" h="394">
                <a:moveTo>
                  <a:pt x="0" y="0"/>
                </a:moveTo>
                <a:lnTo>
                  <a:pt x="945" y="0"/>
                </a:lnTo>
                <a:lnTo>
                  <a:pt x="1058" y="197"/>
                </a:lnTo>
                <a:lnTo>
                  <a:pt x="945" y="393"/>
                </a:lnTo>
                <a:lnTo>
                  <a:pt x="0" y="393"/>
                </a:lnTo>
                <a:lnTo>
                  <a:pt x="113" y="197"/>
                </a:lnTo>
                <a:lnTo>
                  <a:pt x="0" y="0"/>
                </a:lnTo>
                <a:close/>
              </a:path>
            </a:pathLst>
          </a:custGeom>
          <a:solidFill>
            <a:schemeClr val="tx1">
              <a:lumMod val="20000"/>
              <a:lumOff val="80000"/>
            </a:schemeClr>
          </a:solidFill>
          <a:ln>
            <a:noFill/>
          </a:ln>
          <a:effectLst/>
        </p:spPr>
        <p:txBody>
          <a:bodyPr wrap="none" anchor="ctr"/>
          <a:lstStyle/>
          <a:p>
            <a:endParaRPr lang="en-US">
              <a:latin typeface="Arial" panose="020B0604020202020204" pitchFamily="34" charset="0"/>
              <a:cs typeface="Arial" panose="020B0604020202020204" pitchFamily="34" charset="0"/>
            </a:endParaRPr>
          </a:p>
        </p:txBody>
      </p:sp>
      <p:sp>
        <p:nvSpPr>
          <p:cNvPr id="47113" name="Freeform 9"/>
          <p:cNvSpPr>
            <a:spLocks/>
          </p:cNvSpPr>
          <p:nvPr/>
        </p:nvSpPr>
        <p:spPr bwMode="gray">
          <a:xfrm>
            <a:off x="7385051" y="2863811"/>
            <a:ext cx="1776412" cy="862012"/>
          </a:xfrm>
          <a:custGeom>
            <a:avLst/>
            <a:gdLst>
              <a:gd name="T0" fmla="*/ 0 w 1060"/>
              <a:gd name="T1" fmla="*/ 0 h 394"/>
              <a:gd name="T2" fmla="*/ 2147483647 w 1060"/>
              <a:gd name="T3" fmla="*/ 0 h 394"/>
              <a:gd name="T4" fmla="*/ 2147483647 w 1060"/>
              <a:gd name="T5" fmla="*/ 0 h 394"/>
              <a:gd name="T6" fmla="*/ 2147483647 w 1060"/>
              <a:gd name="T7" fmla="*/ 2147483647 h 394"/>
              <a:gd name="T8" fmla="*/ 2147483647 w 1060"/>
              <a:gd name="T9" fmla="*/ 2147483647 h 394"/>
              <a:gd name="T10" fmla="*/ 2147483647 w 1060"/>
              <a:gd name="T11" fmla="*/ 2147483647 h 394"/>
              <a:gd name="T12" fmla="*/ 0 w 1060"/>
              <a:gd name="T13" fmla="*/ 2147483647 h 394"/>
              <a:gd name="T14" fmla="*/ 0 w 1060"/>
              <a:gd name="T15" fmla="*/ 2147483647 h 394"/>
              <a:gd name="T16" fmla="*/ 2147483647 w 1060"/>
              <a:gd name="T17" fmla="*/ 2147483647 h 394"/>
              <a:gd name="T18" fmla="*/ 0 w 1060"/>
              <a:gd name="T19" fmla="*/ 0 h 394"/>
              <a:gd name="T20" fmla="*/ 0 w 1060"/>
              <a:gd name="T21" fmla="*/ 0 h 3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60" h="394">
                <a:moveTo>
                  <a:pt x="0" y="0"/>
                </a:moveTo>
                <a:lnTo>
                  <a:pt x="945" y="0"/>
                </a:lnTo>
                <a:lnTo>
                  <a:pt x="1059" y="197"/>
                </a:lnTo>
                <a:lnTo>
                  <a:pt x="945" y="393"/>
                </a:lnTo>
                <a:lnTo>
                  <a:pt x="0" y="393"/>
                </a:lnTo>
                <a:lnTo>
                  <a:pt x="114" y="197"/>
                </a:lnTo>
                <a:lnTo>
                  <a:pt x="0" y="0"/>
                </a:lnTo>
                <a:close/>
              </a:path>
            </a:pathLst>
          </a:custGeom>
          <a:solidFill>
            <a:schemeClr val="tx1">
              <a:lumMod val="20000"/>
              <a:lumOff val="80000"/>
            </a:schemeClr>
          </a:solidFill>
          <a:ln>
            <a:noFill/>
          </a:ln>
          <a:effectLst/>
        </p:spPr>
        <p:txBody>
          <a:bodyPr wrap="none" anchor="ctr"/>
          <a:lstStyle/>
          <a:p>
            <a:endParaRPr lang="en-US">
              <a:latin typeface="Arial" panose="020B0604020202020204" pitchFamily="34" charset="0"/>
              <a:cs typeface="Arial" panose="020B0604020202020204" pitchFamily="34" charset="0"/>
            </a:endParaRPr>
          </a:p>
        </p:txBody>
      </p:sp>
      <p:sp>
        <p:nvSpPr>
          <p:cNvPr id="47114" name="Rectangle 10"/>
          <p:cNvSpPr>
            <a:spLocks noChangeArrowheads="1"/>
          </p:cNvSpPr>
          <p:nvPr/>
        </p:nvSpPr>
        <p:spPr bwMode="gray">
          <a:xfrm>
            <a:off x="3521076" y="1633499"/>
            <a:ext cx="5446712" cy="212725"/>
          </a:xfrm>
          <a:prstGeom prst="rect">
            <a:avLst/>
          </a:prstGeom>
          <a:noFill/>
          <a:ln>
            <a:noFill/>
          </a:ln>
          <a:effectLst/>
          <a:extLst>
            <a:ext uri="{909E8E84-426E-40DD-AFC4-6F175D3DCCD1}">
              <a14:hiddenFill xmlns:a14="http://schemas.microsoft.com/office/drawing/2010/main">
                <a:solidFill>
                  <a:srgbClr val="BFBFBF"/>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Text</a:t>
            </a:r>
          </a:p>
        </p:txBody>
      </p:sp>
      <p:sp>
        <p:nvSpPr>
          <p:cNvPr id="47115" name="Rectangle 11"/>
          <p:cNvSpPr>
            <a:spLocks noChangeArrowheads="1"/>
          </p:cNvSpPr>
          <p:nvPr/>
        </p:nvSpPr>
        <p:spPr bwMode="gray">
          <a:xfrm>
            <a:off x="4160838" y="3182899"/>
            <a:ext cx="1436688" cy="212725"/>
          </a:xfrm>
          <a:prstGeom prst="rect">
            <a:avLst/>
          </a:prstGeom>
          <a:noFill/>
          <a:ln>
            <a:noFill/>
          </a:ln>
          <a:effectLst/>
          <a:extLst>
            <a:ext uri="{909E8E84-426E-40DD-AFC4-6F175D3DCCD1}">
              <a14:hiddenFill xmlns:a14="http://schemas.microsoft.com/office/drawing/2010/main">
                <a:solidFill>
                  <a:srgbClr val="BFBFBF"/>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Text</a:t>
            </a:r>
          </a:p>
        </p:txBody>
      </p:sp>
      <p:sp>
        <p:nvSpPr>
          <p:cNvPr id="47116" name="Rectangle 12"/>
          <p:cNvSpPr>
            <a:spLocks noChangeArrowheads="1"/>
          </p:cNvSpPr>
          <p:nvPr/>
        </p:nvSpPr>
        <p:spPr bwMode="gray">
          <a:xfrm>
            <a:off x="5822952" y="3181312"/>
            <a:ext cx="1514475" cy="212725"/>
          </a:xfrm>
          <a:prstGeom prst="rect">
            <a:avLst/>
          </a:prstGeom>
          <a:noFill/>
          <a:ln>
            <a:noFill/>
          </a:ln>
          <a:effectLst/>
          <a:extLst>
            <a:ext uri="{909E8E84-426E-40DD-AFC4-6F175D3DCCD1}">
              <a14:hiddenFill xmlns:a14="http://schemas.microsoft.com/office/drawing/2010/main">
                <a:solidFill>
                  <a:srgbClr val="BFBFBF"/>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Text</a:t>
            </a:r>
          </a:p>
        </p:txBody>
      </p:sp>
      <p:sp>
        <p:nvSpPr>
          <p:cNvPr id="47117" name="Rectangle 13"/>
          <p:cNvSpPr>
            <a:spLocks noChangeArrowheads="1"/>
          </p:cNvSpPr>
          <p:nvPr/>
        </p:nvSpPr>
        <p:spPr bwMode="gray">
          <a:xfrm>
            <a:off x="7545389" y="3181312"/>
            <a:ext cx="1514475" cy="212725"/>
          </a:xfrm>
          <a:prstGeom prst="rect">
            <a:avLst/>
          </a:prstGeom>
          <a:noFill/>
          <a:ln>
            <a:noFill/>
          </a:ln>
          <a:effectLst/>
          <a:extLst>
            <a:ext uri="{909E8E84-426E-40DD-AFC4-6F175D3DCCD1}">
              <a14:hiddenFill xmlns:a14="http://schemas.microsoft.com/office/drawing/2010/main">
                <a:solidFill>
                  <a:srgbClr val="BFBFBF"/>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Text</a:t>
            </a:r>
          </a:p>
        </p:txBody>
      </p:sp>
      <p:sp>
        <p:nvSpPr>
          <p:cNvPr id="47118" name="Rectangle 14"/>
          <p:cNvSpPr>
            <a:spLocks noChangeArrowheads="1"/>
          </p:cNvSpPr>
          <p:nvPr/>
        </p:nvSpPr>
        <p:spPr bwMode="gray">
          <a:xfrm>
            <a:off x="3521076" y="4767224"/>
            <a:ext cx="5446712" cy="212725"/>
          </a:xfrm>
          <a:prstGeom prst="rect">
            <a:avLst/>
          </a:prstGeom>
          <a:noFill/>
          <a:ln>
            <a:noFill/>
          </a:ln>
          <a:effectLst/>
          <a:extLst>
            <a:ext uri="{909E8E84-426E-40DD-AFC4-6F175D3DCCD1}">
              <a14:hiddenFill xmlns:a14="http://schemas.microsoft.com/office/drawing/2010/main">
                <a:solidFill>
                  <a:srgbClr val="BFBFBF"/>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Text</a:t>
            </a:r>
          </a:p>
        </p:txBody>
      </p:sp>
      <p:sp>
        <p:nvSpPr>
          <p:cNvPr id="47119" name="Rectangle 15"/>
          <p:cNvSpPr>
            <a:spLocks noChangeArrowheads="1"/>
          </p:cNvSpPr>
          <p:nvPr/>
        </p:nvSpPr>
        <p:spPr bwMode="gray">
          <a:xfrm>
            <a:off x="2171702" y="3187662"/>
            <a:ext cx="1347787" cy="212725"/>
          </a:xfrm>
          <a:prstGeom prst="rect">
            <a:avLst/>
          </a:prstGeom>
          <a:noFill/>
          <a:ln>
            <a:noFill/>
          </a:ln>
          <a:effectLst/>
          <a:extLst>
            <a:ext uri="{909E8E84-426E-40DD-AFC4-6F175D3DCCD1}">
              <a14:hiddenFill xmlns:a14="http://schemas.microsoft.com/office/drawing/2010/main">
                <a:solidFill>
                  <a:srgbClr val="BFBFBF"/>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000">
                <a:cs typeface="Arial" panose="020B0604020202020204" pitchFamily="34" charset="0"/>
              </a:rPr>
              <a:t>Text</a:t>
            </a:r>
          </a:p>
        </p:txBody>
      </p:sp>
      <p:sp>
        <p:nvSpPr>
          <p:cNvPr id="47120" name="Rectangle 16"/>
          <p:cNvSpPr>
            <a:spLocks noChangeArrowheads="1"/>
          </p:cNvSpPr>
          <p:nvPr/>
        </p:nvSpPr>
        <p:spPr bwMode="gray">
          <a:xfrm>
            <a:off x="9285289" y="1633499"/>
            <a:ext cx="938213" cy="212725"/>
          </a:xfrm>
          <a:prstGeom prst="rect">
            <a:avLst/>
          </a:prstGeom>
          <a:noFill/>
          <a:ln>
            <a:noFill/>
          </a:ln>
          <a:effectLst/>
          <a:extLst>
            <a:ext uri="{909E8E84-426E-40DD-AFC4-6F175D3DCCD1}">
              <a14:hiddenFill xmlns:a14="http://schemas.microsoft.com/office/drawing/2010/main">
                <a:solidFill>
                  <a:srgbClr val="BFBFBF"/>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Text</a:t>
            </a:r>
          </a:p>
        </p:txBody>
      </p:sp>
      <p:sp>
        <p:nvSpPr>
          <p:cNvPr id="47121" name="AutoShape 17"/>
          <p:cNvSpPr>
            <a:spLocks noChangeArrowheads="1"/>
          </p:cNvSpPr>
          <p:nvPr/>
        </p:nvSpPr>
        <p:spPr bwMode="gray">
          <a:xfrm rot="5400000">
            <a:off x="4541839" y="2282787"/>
            <a:ext cx="608013" cy="477837"/>
          </a:xfrm>
          <a:prstGeom prst="rightArrow">
            <a:avLst>
              <a:gd name="adj1" fmla="val 50333"/>
              <a:gd name="adj2" fmla="val 53984"/>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47122" name="AutoShape 18"/>
          <p:cNvSpPr>
            <a:spLocks noChangeArrowheads="1"/>
          </p:cNvSpPr>
          <p:nvPr/>
        </p:nvSpPr>
        <p:spPr bwMode="gray">
          <a:xfrm rot="5400000">
            <a:off x="6253164" y="2282787"/>
            <a:ext cx="608013" cy="477837"/>
          </a:xfrm>
          <a:prstGeom prst="rightArrow">
            <a:avLst>
              <a:gd name="adj1" fmla="val 50333"/>
              <a:gd name="adj2" fmla="val 53984"/>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47123" name="AutoShape 19"/>
          <p:cNvSpPr>
            <a:spLocks noChangeArrowheads="1"/>
          </p:cNvSpPr>
          <p:nvPr/>
        </p:nvSpPr>
        <p:spPr bwMode="gray">
          <a:xfrm rot="5400000">
            <a:off x="7969251" y="2282786"/>
            <a:ext cx="608013" cy="477838"/>
          </a:xfrm>
          <a:prstGeom prst="rightArrow">
            <a:avLst>
              <a:gd name="adj1" fmla="val 50333"/>
              <a:gd name="adj2" fmla="val 53984"/>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47124" name="AutoShape 20"/>
          <p:cNvSpPr>
            <a:spLocks noChangeArrowheads="1"/>
          </p:cNvSpPr>
          <p:nvPr/>
        </p:nvSpPr>
        <p:spPr bwMode="gray">
          <a:xfrm rot="16200000" flipV="1">
            <a:off x="4541839" y="3840124"/>
            <a:ext cx="608012" cy="477837"/>
          </a:xfrm>
          <a:prstGeom prst="rightArrow">
            <a:avLst>
              <a:gd name="adj1" fmla="val 50333"/>
              <a:gd name="adj2" fmla="val 53984"/>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47125" name="AutoShape 21"/>
          <p:cNvSpPr>
            <a:spLocks noChangeArrowheads="1"/>
          </p:cNvSpPr>
          <p:nvPr/>
        </p:nvSpPr>
        <p:spPr bwMode="gray">
          <a:xfrm rot="16200000" flipV="1">
            <a:off x="6253164" y="3840124"/>
            <a:ext cx="608012" cy="477837"/>
          </a:xfrm>
          <a:prstGeom prst="rightArrow">
            <a:avLst>
              <a:gd name="adj1" fmla="val 50333"/>
              <a:gd name="adj2" fmla="val 53984"/>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47126" name="AutoShape 22"/>
          <p:cNvSpPr>
            <a:spLocks noChangeArrowheads="1"/>
          </p:cNvSpPr>
          <p:nvPr/>
        </p:nvSpPr>
        <p:spPr bwMode="gray">
          <a:xfrm rot="16200000" flipV="1">
            <a:off x="7969251" y="3840123"/>
            <a:ext cx="608012" cy="477838"/>
          </a:xfrm>
          <a:prstGeom prst="rightArrow">
            <a:avLst>
              <a:gd name="adj1" fmla="val 50333"/>
              <a:gd name="adj2" fmla="val 53984"/>
            </a:avLst>
          </a:prstGeom>
          <a:solidFill>
            <a:schemeClr val="bg2"/>
          </a:solidFill>
          <a:ln>
            <a:noFill/>
          </a:ln>
          <a:effec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47127" name="Rectangle 23"/>
          <p:cNvSpPr>
            <a:spLocks noChangeArrowheads="1"/>
          </p:cNvSpPr>
          <p:nvPr/>
        </p:nvSpPr>
        <p:spPr bwMode="gray">
          <a:xfrm>
            <a:off x="9285289" y="3184487"/>
            <a:ext cx="938213" cy="212725"/>
          </a:xfrm>
          <a:prstGeom prst="rect">
            <a:avLst/>
          </a:prstGeom>
          <a:noFill/>
          <a:ln>
            <a:noFill/>
          </a:ln>
          <a:effectLst/>
          <a:extLst>
            <a:ext uri="{909E8E84-426E-40DD-AFC4-6F175D3DCCD1}">
              <a14:hiddenFill xmlns:a14="http://schemas.microsoft.com/office/drawing/2010/main">
                <a:solidFill>
                  <a:srgbClr val="BFBFBF"/>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Text</a:t>
            </a:r>
          </a:p>
        </p:txBody>
      </p:sp>
      <p:sp>
        <p:nvSpPr>
          <p:cNvPr id="47128" name="Rectangle 24"/>
          <p:cNvSpPr>
            <a:spLocks noChangeArrowheads="1"/>
          </p:cNvSpPr>
          <p:nvPr/>
        </p:nvSpPr>
        <p:spPr bwMode="gray">
          <a:xfrm>
            <a:off x="9285289" y="4751349"/>
            <a:ext cx="938213" cy="212725"/>
          </a:xfrm>
          <a:prstGeom prst="rect">
            <a:avLst/>
          </a:prstGeom>
          <a:noFill/>
          <a:ln>
            <a:noFill/>
          </a:ln>
          <a:effectLst/>
          <a:extLst>
            <a:ext uri="{909E8E84-426E-40DD-AFC4-6F175D3DCCD1}">
              <a14:hiddenFill xmlns:a14="http://schemas.microsoft.com/office/drawing/2010/main">
                <a:solidFill>
                  <a:srgbClr val="BFBFBF"/>
                </a:solidFill>
              </a14:hiddenFill>
            </a:ex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000">
                <a:cs typeface="Arial" panose="020B0604020202020204" pitchFamily="34" charset="0"/>
              </a:rPr>
              <a:t>Text</a:t>
            </a:r>
          </a:p>
        </p:txBody>
      </p:sp>
    </p:spTree>
    <p:extLst>
      <p:ext uri="{BB962C8B-B14F-4D97-AF65-F5344CB8AC3E}">
        <p14:creationId xmlns:p14="http://schemas.microsoft.com/office/powerpoint/2010/main" val="18898978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46" name="Rectangle 18" hidden="1"/>
          <p:cNvGraphicFramePr>
            <a:graphicFrameLocks/>
          </p:cNvGraphicFramePr>
          <p:nvPr>
            <p:custDataLst>
              <p:tags r:id="rId1"/>
            </p:custDataLst>
            <p:extLst>
              <p:ext uri="{D42A27DB-BD31-4B8C-83A1-F6EECF244321}">
                <p14:modId xmlns:p14="http://schemas.microsoft.com/office/powerpoint/2010/main" val="1226133887"/>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8146" name="Rectangl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8130" name="Freeform 2"/>
          <p:cNvSpPr>
            <a:spLocks/>
          </p:cNvSpPr>
          <p:nvPr/>
        </p:nvSpPr>
        <p:spPr bwMode="gray">
          <a:xfrm>
            <a:off x="2836863" y="2925581"/>
            <a:ext cx="1196975" cy="1346200"/>
          </a:xfrm>
          <a:custGeom>
            <a:avLst/>
            <a:gdLst>
              <a:gd name="T0" fmla="*/ 0 w 815"/>
              <a:gd name="T1" fmla="*/ 2147483647 h 985"/>
              <a:gd name="T2" fmla="*/ 0 w 815"/>
              <a:gd name="T3" fmla="*/ 2147483647 h 985"/>
              <a:gd name="T4" fmla="*/ 2147483647 w 815"/>
              <a:gd name="T5" fmla="*/ 2147483647 h 985"/>
              <a:gd name="T6" fmla="*/ 2147483647 w 815"/>
              <a:gd name="T7" fmla="*/ 2147483647 h 985"/>
              <a:gd name="T8" fmla="*/ 2147483647 w 815"/>
              <a:gd name="T9" fmla="*/ 0 h 985"/>
              <a:gd name="T10" fmla="*/ 2147483647 w 815"/>
              <a:gd name="T11" fmla="*/ 2147483647 h 985"/>
              <a:gd name="T12" fmla="*/ 0 w 815"/>
              <a:gd name="T13" fmla="*/ 2147483647 h 98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15" h="985">
                <a:moveTo>
                  <a:pt x="0" y="1"/>
                </a:moveTo>
                <a:lnTo>
                  <a:pt x="0" y="798"/>
                </a:lnTo>
                <a:lnTo>
                  <a:pt x="400" y="985"/>
                </a:lnTo>
                <a:lnTo>
                  <a:pt x="815" y="822"/>
                </a:lnTo>
                <a:lnTo>
                  <a:pt x="815" y="0"/>
                </a:lnTo>
                <a:lnTo>
                  <a:pt x="400" y="171"/>
                </a:lnTo>
                <a:lnTo>
                  <a:pt x="0" y="1"/>
                </a:lnTo>
              </a:path>
            </a:pathLst>
          </a:custGeom>
          <a:solidFill>
            <a:srgbClr val="FFFFFF"/>
          </a:solidFill>
          <a:ln w="9525" cap="rnd" cmpd="sng">
            <a:solidFill>
              <a:schemeClr val="tx1">
                <a:lumMod val="60000"/>
                <a:lumOff val="40000"/>
              </a:schemeClr>
            </a:solidFill>
            <a:prstDash val="solid"/>
            <a:round/>
            <a:headEnd/>
            <a:tailEnd/>
          </a:ln>
          <a:effectLst/>
        </p:spPr>
        <p:txBody>
          <a:bodyPr/>
          <a:lstStyle/>
          <a:p>
            <a:endParaRPr lang="en-US">
              <a:latin typeface="Arial" panose="020B0604020202020204" pitchFamily="34" charset="0"/>
              <a:cs typeface="Arial" panose="020B0604020202020204" pitchFamily="34" charset="0"/>
            </a:endParaRPr>
          </a:p>
        </p:txBody>
      </p:sp>
      <p:sp>
        <p:nvSpPr>
          <p:cNvPr id="48131" name="Rectangle 3"/>
          <p:cNvSpPr>
            <a:spLocks noChangeArrowheads="1"/>
          </p:cNvSpPr>
          <p:nvPr/>
        </p:nvSpPr>
        <p:spPr bwMode="gray">
          <a:xfrm>
            <a:off x="2994025" y="3527244"/>
            <a:ext cx="900112" cy="18256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0" rIns="0" bIns="0"/>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cs typeface="Arial" panose="020B0604020202020204" pitchFamily="34" charset="0"/>
              </a:rPr>
              <a:t>Text</a:t>
            </a:r>
          </a:p>
        </p:txBody>
      </p:sp>
      <p:sp>
        <p:nvSpPr>
          <p:cNvPr id="48132" name="Rectangle 4"/>
          <p:cNvSpPr>
            <a:spLocks noChangeArrowheads="1"/>
          </p:cNvSpPr>
          <p:nvPr/>
        </p:nvSpPr>
        <p:spPr bwMode="gray">
          <a:xfrm>
            <a:off x="4033837" y="2925582"/>
            <a:ext cx="6053138" cy="1122363"/>
          </a:xfrm>
          <a:prstGeom prst="rect">
            <a:avLst/>
          </a:prstGeom>
          <a:noFill/>
          <a:ln>
            <a:solidFill>
              <a:schemeClr val="tx1">
                <a:lumMod val="60000"/>
                <a:lumOff val="40000"/>
              </a:schemeClr>
            </a:solidFill>
          </a:ln>
        </p:spPr>
        <p:txBody>
          <a:bodyPr lIns="91440" tIns="91440" bIns="91440"/>
          <a:lstStyle/>
          <a:p>
            <a:pPr marL="169863" indent="-169863">
              <a:spcBef>
                <a:spcPts val="1200"/>
              </a:spcBef>
              <a:buClr>
                <a:schemeClr val="tx1"/>
              </a:buClr>
              <a:buSzPct val="90000"/>
              <a:buFont typeface="Wingdings" panose="05000000000000000000" pitchFamily="2" charset="2"/>
              <a:buChar char="§"/>
            </a:pPr>
            <a:r>
              <a:rPr lang="en-US" sz="12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200" err="1"/>
              <a:t>Duis</a:t>
            </a:r>
            <a:r>
              <a:rPr lang="en-US" sz="1200"/>
              <a:t> </a:t>
            </a:r>
            <a:r>
              <a:rPr lang="en-US" sz="1200" err="1"/>
              <a:t>aute</a:t>
            </a:r>
            <a:endParaRPr lang="en-GB" altLang="en-US"/>
          </a:p>
        </p:txBody>
      </p:sp>
      <p:sp>
        <p:nvSpPr>
          <p:cNvPr id="48133" name="Rectangle 5"/>
          <p:cNvSpPr>
            <a:spLocks noChangeArrowheads="1"/>
          </p:cNvSpPr>
          <p:nvPr/>
        </p:nvSpPr>
        <p:spPr bwMode="gray">
          <a:xfrm rot="3060000">
            <a:off x="9551195" y="457995"/>
            <a:ext cx="198437" cy="30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48134" name="Freeform 6"/>
          <p:cNvSpPr>
            <a:spLocks/>
          </p:cNvSpPr>
          <p:nvPr/>
        </p:nvSpPr>
        <p:spPr bwMode="gray">
          <a:xfrm>
            <a:off x="2836862" y="1709556"/>
            <a:ext cx="1201738" cy="1354138"/>
          </a:xfrm>
          <a:custGeom>
            <a:avLst/>
            <a:gdLst>
              <a:gd name="T0" fmla="*/ 0 w 757"/>
              <a:gd name="T1" fmla="*/ 0 h 1045"/>
              <a:gd name="T2" fmla="*/ 2147483647 w 757"/>
              <a:gd name="T3" fmla="*/ 0 h 1045"/>
              <a:gd name="T4" fmla="*/ 2147483647 w 757"/>
              <a:gd name="T5" fmla="*/ 2147483647 h 1045"/>
              <a:gd name="T6" fmla="*/ 2147483647 w 757"/>
              <a:gd name="T7" fmla="*/ 2147483647 h 1045"/>
              <a:gd name="T8" fmla="*/ 0 w 757"/>
              <a:gd name="T9" fmla="*/ 2147483647 h 1045"/>
              <a:gd name="T10" fmla="*/ 0 w 757"/>
              <a:gd name="T11" fmla="*/ 0 h 10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57" h="1045">
                <a:moveTo>
                  <a:pt x="0" y="0"/>
                </a:moveTo>
                <a:lnTo>
                  <a:pt x="756" y="0"/>
                </a:lnTo>
                <a:lnTo>
                  <a:pt x="756" y="864"/>
                </a:lnTo>
                <a:lnTo>
                  <a:pt x="360" y="1044"/>
                </a:lnTo>
                <a:lnTo>
                  <a:pt x="0" y="855"/>
                </a:lnTo>
                <a:lnTo>
                  <a:pt x="0" y="0"/>
                </a:lnTo>
              </a:path>
            </a:pathLst>
          </a:custGeom>
          <a:solidFill>
            <a:schemeClr val="tx1">
              <a:lumMod val="20000"/>
              <a:lumOff val="80000"/>
            </a:schemeClr>
          </a:solidFill>
          <a:ln w="9525" cap="rnd" cmpd="sng">
            <a:solidFill>
              <a:schemeClr val="tx1">
                <a:lumMod val="60000"/>
                <a:lumOff val="40000"/>
              </a:schemeClr>
            </a:solidFill>
            <a:prstDash val="solid"/>
            <a:round/>
            <a:headEnd/>
            <a:tailEnd/>
          </a:ln>
          <a:effectLst/>
        </p:spPr>
        <p:txBody>
          <a:bodyPr/>
          <a:lstStyle/>
          <a:p>
            <a:endParaRPr lang="en-US">
              <a:latin typeface="Arial" panose="020B0604020202020204" pitchFamily="34" charset="0"/>
              <a:cs typeface="Arial" panose="020B0604020202020204" pitchFamily="34" charset="0"/>
            </a:endParaRPr>
          </a:p>
        </p:txBody>
      </p:sp>
      <p:sp>
        <p:nvSpPr>
          <p:cNvPr id="48135" name="Rectangle 7"/>
          <p:cNvSpPr>
            <a:spLocks noChangeArrowheads="1"/>
          </p:cNvSpPr>
          <p:nvPr/>
        </p:nvSpPr>
        <p:spPr bwMode="gray">
          <a:xfrm>
            <a:off x="4033837" y="1404756"/>
            <a:ext cx="6053138" cy="304800"/>
          </a:xfrm>
          <a:prstGeom prst="rect">
            <a:avLst/>
          </a:prstGeom>
          <a:solidFill>
            <a:schemeClr val="tx1">
              <a:lumMod val="60000"/>
              <a:lumOff val="40000"/>
            </a:schemeClr>
          </a:solidFill>
          <a:ln w="9525">
            <a:solidFill>
              <a:schemeClr val="tx1"/>
            </a:solidFill>
            <a:miter lim="800000"/>
            <a:headEnd/>
            <a:tailEnd/>
          </a:ln>
          <a:effectLst/>
        </p:spPr>
        <p:txBody>
          <a:bodyPr lIns="0" tIns="0" rIns="0" bIns="0" anchor="ctr"/>
          <a:lstStyle>
            <a:lvl1pPr algn="l" defTabSz="739775">
              <a:spcBef>
                <a:spcPct val="20000"/>
              </a:spcBef>
              <a:buChar char="•"/>
              <a:defRPr sz="1100">
                <a:solidFill>
                  <a:schemeClr val="tx1"/>
                </a:solidFill>
                <a:latin typeface="Arial" panose="020B0604020202020204" pitchFamily="34" charset="0"/>
              </a:defRPr>
            </a:lvl1pPr>
            <a:lvl2pPr marL="411163" indent="-187325" algn="l" defTabSz="739775">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22325" indent="-228600" algn="l" defTabSz="739775">
              <a:spcBef>
                <a:spcPct val="20000"/>
              </a:spcBef>
              <a:buChar char="–"/>
              <a:defRPr sz="1100">
                <a:solidFill>
                  <a:schemeClr val="tx1"/>
                </a:solidFill>
                <a:latin typeface="Arial" panose="020B0604020202020204" pitchFamily="34" charset="0"/>
              </a:defRPr>
            </a:lvl3pPr>
            <a:lvl4pPr marL="1235075" indent="-228600" algn="l" defTabSz="739775">
              <a:spcBef>
                <a:spcPct val="20000"/>
              </a:spcBef>
              <a:buChar char="–"/>
              <a:defRPr sz="1100">
                <a:solidFill>
                  <a:schemeClr val="tx1"/>
                </a:solidFill>
                <a:latin typeface="Arial" panose="020B0604020202020204" pitchFamily="34" charset="0"/>
              </a:defRPr>
            </a:lvl4pPr>
            <a:lvl5pPr marL="1646238" indent="-228600" algn="l" defTabSz="739775">
              <a:spcBef>
                <a:spcPct val="20000"/>
              </a:spcBef>
              <a:buChar char="»"/>
              <a:defRPr sz="2000">
                <a:solidFill>
                  <a:schemeClr val="tx1"/>
                </a:solidFill>
                <a:latin typeface="Times New Roman" panose="02020603050405020304" pitchFamily="18" charset="0"/>
              </a:defRPr>
            </a:lvl5pPr>
            <a:lvl6pPr marL="2103438" indent="-228600" defTabSz="7397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60638" indent="-228600" defTabSz="7397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17838" indent="-228600" defTabSz="7397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475038" indent="-228600" defTabSz="7397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200" b="1">
                <a:solidFill>
                  <a:schemeClr val="accent5"/>
                </a:solidFill>
                <a:cs typeface="Arial" panose="020B0604020202020204" pitchFamily="34" charset="0"/>
              </a:rPr>
              <a:t>Activities</a:t>
            </a:r>
          </a:p>
        </p:txBody>
      </p:sp>
      <p:sp>
        <p:nvSpPr>
          <p:cNvPr id="48136" name="Rectangle 8"/>
          <p:cNvSpPr>
            <a:spLocks noChangeArrowheads="1"/>
          </p:cNvSpPr>
          <p:nvPr/>
        </p:nvSpPr>
        <p:spPr bwMode="gray">
          <a:xfrm>
            <a:off x="2997200" y="2222319"/>
            <a:ext cx="900112" cy="18256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0" rIns="0" bIns="0"/>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cs typeface="Arial" panose="020B0604020202020204" pitchFamily="34" charset="0"/>
              </a:rPr>
              <a:t>Text</a:t>
            </a:r>
          </a:p>
        </p:txBody>
      </p:sp>
      <p:sp>
        <p:nvSpPr>
          <p:cNvPr id="48137" name="Rectangle 9"/>
          <p:cNvSpPr>
            <a:spLocks noChangeArrowheads="1"/>
          </p:cNvSpPr>
          <p:nvPr/>
        </p:nvSpPr>
        <p:spPr bwMode="gray">
          <a:xfrm>
            <a:off x="4033837" y="1709557"/>
            <a:ext cx="6053138" cy="1122363"/>
          </a:xfrm>
          <a:prstGeom prst="rect">
            <a:avLst/>
          </a:prstGeom>
          <a:noFill/>
          <a:ln>
            <a:solidFill>
              <a:schemeClr val="tx1">
                <a:lumMod val="60000"/>
                <a:lumOff val="40000"/>
              </a:schemeClr>
            </a:solidFill>
          </a:ln>
        </p:spPr>
        <p:txBody>
          <a:bodyPr lIns="91440" tIns="91440" bIns="91440"/>
          <a:lstStyle/>
          <a:p>
            <a:pPr marL="169863" indent="-169863">
              <a:spcBef>
                <a:spcPts val="1200"/>
              </a:spcBef>
              <a:buClr>
                <a:schemeClr val="tx1"/>
              </a:buClr>
              <a:buSzPct val="90000"/>
              <a:buFont typeface="Wingdings" panose="05000000000000000000" pitchFamily="2" charset="2"/>
              <a:buChar char="§"/>
            </a:pPr>
            <a:r>
              <a:rPr lang="en-US" sz="12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200" err="1"/>
              <a:t>Duis</a:t>
            </a:r>
            <a:r>
              <a:rPr lang="en-US" sz="1200"/>
              <a:t> </a:t>
            </a:r>
            <a:r>
              <a:rPr lang="en-US" sz="1200" err="1"/>
              <a:t>aute</a:t>
            </a:r>
            <a:endParaRPr lang="en-GB" altLang="en-US"/>
          </a:p>
        </p:txBody>
      </p:sp>
      <p:sp>
        <p:nvSpPr>
          <p:cNvPr id="48138" name="Freeform 10"/>
          <p:cNvSpPr>
            <a:spLocks/>
          </p:cNvSpPr>
          <p:nvPr/>
        </p:nvSpPr>
        <p:spPr bwMode="gray">
          <a:xfrm>
            <a:off x="2836863" y="4120969"/>
            <a:ext cx="1196975" cy="1346200"/>
          </a:xfrm>
          <a:custGeom>
            <a:avLst/>
            <a:gdLst>
              <a:gd name="T0" fmla="*/ 0 w 815"/>
              <a:gd name="T1" fmla="*/ 2147483647 h 985"/>
              <a:gd name="T2" fmla="*/ 0 w 815"/>
              <a:gd name="T3" fmla="*/ 2147483647 h 985"/>
              <a:gd name="T4" fmla="*/ 2147483647 w 815"/>
              <a:gd name="T5" fmla="*/ 2147483647 h 985"/>
              <a:gd name="T6" fmla="*/ 2147483647 w 815"/>
              <a:gd name="T7" fmla="*/ 2147483647 h 985"/>
              <a:gd name="T8" fmla="*/ 2147483647 w 815"/>
              <a:gd name="T9" fmla="*/ 0 h 985"/>
              <a:gd name="T10" fmla="*/ 2147483647 w 815"/>
              <a:gd name="T11" fmla="*/ 2147483647 h 985"/>
              <a:gd name="T12" fmla="*/ 0 w 815"/>
              <a:gd name="T13" fmla="*/ 2147483647 h 98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15" h="985">
                <a:moveTo>
                  <a:pt x="0" y="1"/>
                </a:moveTo>
                <a:lnTo>
                  <a:pt x="0" y="798"/>
                </a:lnTo>
                <a:lnTo>
                  <a:pt x="400" y="985"/>
                </a:lnTo>
                <a:lnTo>
                  <a:pt x="815" y="822"/>
                </a:lnTo>
                <a:lnTo>
                  <a:pt x="815" y="0"/>
                </a:lnTo>
                <a:lnTo>
                  <a:pt x="400" y="171"/>
                </a:lnTo>
                <a:lnTo>
                  <a:pt x="0" y="1"/>
                </a:lnTo>
              </a:path>
            </a:pathLst>
          </a:custGeom>
          <a:solidFill>
            <a:schemeClr val="tx1">
              <a:lumMod val="20000"/>
              <a:lumOff val="80000"/>
            </a:schemeClr>
          </a:solidFill>
          <a:ln w="9525" cap="rnd" cmpd="sng">
            <a:solidFill>
              <a:schemeClr val="tx1">
                <a:lumMod val="60000"/>
                <a:lumOff val="40000"/>
              </a:schemeClr>
            </a:solidFill>
            <a:prstDash val="solid"/>
            <a:round/>
            <a:headEnd/>
            <a:tailEnd/>
          </a:ln>
          <a:effectLst/>
        </p:spPr>
        <p:txBody>
          <a:bodyPr/>
          <a:lstStyle/>
          <a:p>
            <a:endParaRPr lang="en-US">
              <a:latin typeface="Arial" panose="020B0604020202020204" pitchFamily="34" charset="0"/>
              <a:cs typeface="Arial" panose="020B0604020202020204" pitchFamily="34" charset="0"/>
            </a:endParaRPr>
          </a:p>
        </p:txBody>
      </p:sp>
      <p:sp>
        <p:nvSpPr>
          <p:cNvPr id="48139" name="Rectangle 11"/>
          <p:cNvSpPr>
            <a:spLocks noChangeArrowheads="1"/>
          </p:cNvSpPr>
          <p:nvPr/>
        </p:nvSpPr>
        <p:spPr bwMode="gray">
          <a:xfrm>
            <a:off x="2994025" y="4722632"/>
            <a:ext cx="900112" cy="18256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0" rIns="0" bIns="0"/>
          <a:lstStyle>
            <a:lvl1pPr algn="l">
              <a:spcBef>
                <a:spcPct val="20000"/>
              </a:spcBef>
              <a:buChar char="•"/>
              <a:defRPr sz="1100">
                <a:solidFill>
                  <a:schemeClr val="tx1"/>
                </a:solidFill>
                <a:latin typeface="Arial" panose="020B0604020202020204" pitchFamily="34" charset="0"/>
              </a:defRPr>
            </a:lvl1pPr>
            <a:lvl2pPr marL="438150" indent="-1746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2278063" indent="11113" algn="l">
              <a:spcBef>
                <a:spcPct val="20000"/>
              </a:spcBef>
              <a:buChar char="–"/>
              <a:defRPr sz="1100">
                <a:solidFill>
                  <a:schemeClr val="tx1"/>
                </a:solidFill>
                <a:latin typeface="Arial" panose="020B0604020202020204" pitchFamily="34" charset="0"/>
              </a:defRPr>
            </a:lvl3pPr>
            <a:lvl4pPr marL="2403475" indent="-228600" algn="l">
              <a:spcBef>
                <a:spcPct val="20000"/>
              </a:spcBef>
              <a:buChar char="–"/>
              <a:defRPr sz="1100">
                <a:solidFill>
                  <a:schemeClr val="tx1"/>
                </a:solidFill>
                <a:latin typeface="Arial" panose="020B0604020202020204" pitchFamily="34" charset="0"/>
              </a:defRPr>
            </a:lvl4pPr>
            <a:lvl5pPr marL="2517775" indent="-228600" algn="l">
              <a:spcBef>
                <a:spcPct val="20000"/>
              </a:spcBef>
              <a:buChar char="»"/>
              <a:defRPr sz="2000">
                <a:solidFill>
                  <a:schemeClr val="tx1"/>
                </a:solidFill>
                <a:latin typeface="Times New Roman" panose="02020603050405020304" pitchFamily="18" charset="0"/>
              </a:defRPr>
            </a:lvl5pPr>
            <a:lvl6pPr marL="2974975"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3432175"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889375"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4346575"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cs typeface="Arial" panose="020B0604020202020204" pitchFamily="34" charset="0"/>
              </a:rPr>
              <a:t>Text</a:t>
            </a:r>
          </a:p>
        </p:txBody>
      </p:sp>
      <p:sp>
        <p:nvSpPr>
          <p:cNvPr id="48140" name="Rectangle 12"/>
          <p:cNvSpPr>
            <a:spLocks noChangeArrowheads="1"/>
          </p:cNvSpPr>
          <p:nvPr/>
        </p:nvSpPr>
        <p:spPr bwMode="gray">
          <a:xfrm>
            <a:off x="4033837" y="4119382"/>
            <a:ext cx="6053138" cy="1127125"/>
          </a:xfrm>
          <a:prstGeom prst="rect">
            <a:avLst/>
          </a:prstGeom>
          <a:noFill/>
          <a:ln>
            <a:solidFill>
              <a:schemeClr val="tx1">
                <a:lumMod val="60000"/>
                <a:lumOff val="40000"/>
              </a:schemeClr>
            </a:solidFill>
          </a:ln>
        </p:spPr>
        <p:txBody>
          <a:bodyPr lIns="91440" tIns="91440" bIns="91440"/>
          <a:lstStyle/>
          <a:p>
            <a:pPr marL="169863" indent="-169863">
              <a:spcBef>
                <a:spcPts val="1200"/>
              </a:spcBef>
              <a:buClr>
                <a:schemeClr val="tx1"/>
              </a:buClr>
              <a:buSzPct val="90000"/>
              <a:buFont typeface="Wingdings" panose="05000000000000000000" pitchFamily="2" charset="2"/>
              <a:buChar char="§"/>
            </a:pPr>
            <a:r>
              <a:rPr lang="en-US" sz="12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200" err="1"/>
              <a:t>Duis</a:t>
            </a:r>
            <a:r>
              <a:rPr lang="en-US" sz="1200"/>
              <a:t> </a:t>
            </a:r>
            <a:r>
              <a:rPr lang="en-US" sz="1200" err="1"/>
              <a:t>aute</a:t>
            </a:r>
            <a:endParaRPr lang="en-GB" altLang="en-US"/>
          </a:p>
        </p:txBody>
      </p:sp>
      <p:sp>
        <p:nvSpPr>
          <p:cNvPr id="4" name="Text Placeholder 3"/>
          <p:cNvSpPr>
            <a:spLocks noGrp="1"/>
          </p:cNvSpPr>
          <p:nvPr>
            <p:ph type="body" sz="quarter" idx="11"/>
          </p:nvPr>
        </p:nvSpPr>
        <p:spPr/>
        <p:txBody>
          <a:bodyPr/>
          <a:lstStyle/>
          <a:p>
            <a:endParaRPr lang="en-US"/>
          </a:p>
        </p:txBody>
      </p:sp>
      <p:sp>
        <p:nvSpPr>
          <p:cNvPr id="48145" name="Rectangle 17"/>
          <p:cNvSpPr>
            <a:spLocks noGrp="1" noChangeArrowheads="1"/>
          </p:cNvSpPr>
          <p:nvPr>
            <p:ph type="title"/>
          </p:nvPr>
        </p:nvSpPr>
        <p:spPr/>
        <p:txBody>
          <a:bodyPr/>
          <a:lstStyle/>
          <a:p>
            <a:r>
              <a:rPr lang="en-GB" altLang="en-US"/>
              <a:t>Process flows</a:t>
            </a:r>
          </a:p>
        </p:txBody>
      </p:sp>
    </p:spTree>
    <p:extLst>
      <p:ext uri="{BB962C8B-B14F-4D97-AF65-F5344CB8AC3E}">
        <p14:creationId xmlns:p14="http://schemas.microsoft.com/office/powerpoint/2010/main" val="38048874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658" name="Rectangle 2" hidden="1"/>
          <p:cNvGraphicFramePr>
            <a:graphicFrameLocks/>
          </p:cNvGraphicFramePr>
          <p:nvPr>
            <p:custDataLst>
              <p:tags r:id="rId1"/>
            </p:custDataLst>
            <p:extLst>
              <p:ext uri="{D42A27DB-BD31-4B8C-83A1-F6EECF244321}">
                <p14:modId xmlns:p14="http://schemas.microsoft.com/office/powerpoint/2010/main" val="998831554"/>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706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p:txBody>
          <a:bodyPr/>
          <a:lstStyle/>
          <a:p>
            <a:endParaRPr lang="en-US"/>
          </a:p>
        </p:txBody>
      </p:sp>
      <p:sp>
        <p:nvSpPr>
          <p:cNvPr id="70660" name="Rectangle 4"/>
          <p:cNvSpPr>
            <a:spLocks noGrp="1" noChangeArrowheads="1"/>
          </p:cNvSpPr>
          <p:nvPr>
            <p:ph type="title"/>
          </p:nvPr>
        </p:nvSpPr>
        <p:spPr/>
        <p:txBody>
          <a:bodyPr/>
          <a:lstStyle/>
          <a:p>
            <a:r>
              <a:rPr lang="en-GB" altLang="en-US"/>
              <a:t>Forces: centrifugal and centripetal, opposed, colliding</a:t>
            </a:r>
          </a:p>
        </p:txBody>
      </p:sp>
      <p:sp>
        <p:nvSpPr>
          <p:cNvPr id="70661" name="Oval 5"/>
          <p:cNvSpPr>
            <a:spLocks noChangeArrowheads="1"/>
          </p:cNvSpPr>
          <p:nvPr/>
        </p:nvSpPr>
        <p:spPr bwMode="gray">
          <a:xfrm>
            <a:off x="4608513" y="1750190"/>
            <a:ext cx="3238500" cy="3238500"/>
          </a:xfrm>
          <a:prstGeom prst="ellipse">
            <a:avLst/>
          </a:prstGeom>
          <a:solidFill>
            <a:srgbClr val="DCDCDC"/>
          </a:solidFill>
          <a:ln w="28575">
            <a:solidFill>
              <a:srgbClr val="DCDCDC"/>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70662" name="Oval 6"/>
          <p:cNvSpPr>
            <a:spLocks noChangeArrowheads="1"/>
          </p:cNvSpPr>
          <p:nvPr/>
        </p:nvSpPr>
        <p:spPr bwMode="gray">
          <a:xfrm>
            <a:off x="4878388" y="2020065"/>
            <a:ext cx="2698750" cy="2698750"/>
          </a:xfrm>
          <a:prstGeom prst="ellipse">
            <a:avLst/>
          </a:prstGeom>
          <a:solidFill>
            <a:srgbClr val="FFFFFF"/>
          </a:solidFill>
          <a:ln w="28575">
            <a:solidFill>
              <a:srgbClr val="DCDCDC"/>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cs typeface="Arial" panose="020B0604020202020204" pitchFamily="34" charset="0"/>
            </a:endParaRPr>
          </a:p>
        </p:txBody>
      </p:sp>
      <p:sp>
        <p:nvSpPr>
          <p:cNvPr id="70663" name="Freeform 7"/>
          <p:cNvSpPr>
            <a:spLocks/>
          </p:cNvSpPr>
          <p:nvPr/>
        </p:nvSpPr>
        <p:spPr bwMode="gray">
          <a:xfrm>
            <a:off x="5308600" y="2494728"/>
            <a:ext cx="1638300" cy="1503362"/>
          </a:xfrm>
          <a:custGeom>
            <a:avLst/>
            <a:gdLst>
              <a:gd name="T0" fmla="*/ 2147483647 w 1103"/>
              <a:gd name="T1" fmla="*/ 0 h 956"/>
              <a:gd name="T2" fmla="*/ 0 w 1103"/>
              <a:gd name="T3" fmla="*/ 2147483647 h 956"/>
              <a:gd name="T4" fmla="*/ 2147483647 w 1103"/>
              <a:gd name="T5" fmla="*/ 2147483647 h 956"/>
              <a:gd name="T6" fmla="*/ 2147483647 w 1103"/>
              <a:gd name="T7" fmla="*/ 0 h 9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03" h="956">
                <a:moveTo>
                  <a:pt x="551" y="0"/>
                </a:moveTo>
                <a:lnTo>
                  <a:pt x="0" y="955"/>
                </a:lnTo>
                <a:lnTo>
                  <a:pt x="1102" y="955"/>
                </a:lnTo>
                <a:lnTo>
                  <a:pt x="551" y="0"/>
                </a:lnTo>
                <a:close/>
              </a:path>
            </a:pathLst>
          </a:custGeom>
          <a:solidFill>
            <a:schemeClr val="tx1">
              <a:lumMod val="60000"/>
              <a:lumOff val="40000"/>
            </a:schemeClr>
          </a:solidFill>
          <a:ln w="12700" cap="flat" cmpd="sng">
            <a:solidFill>
              <a:schemeClr val="tx1"/>
            </a:solidFill>
            <a:prstDash val="solid"/>
            <a:round/>
            <a:headEnd/>
            <a:tailEnd/>
          </a:ln>
          <a:effectLst/>
        </p:spPr>
        <p:txBody>
          <a:bodyPr wrap="none" anchor="ctr"/>
          <a:lstStyle/>
          <a:p>
            <a:endParaRPr lang="en-US">
              <a:latin typeface="Arial" panose="020B0604020202020204" pitchFamily="34" charset="0"/>
              <a:cs typeface="Arial" panose="020B0604020202020204" pitchFamily="34" charset="0"/>
            </a:endParaRPr>
          </a:p>
        </p:txBody>
      </p:sp>
      <p:sp>
        <p:nvSpPr>
          <p:cNvPr id="70664" name="Freeform 8"/>
          <p:cNvSpPr>
            <a:spLocks/>
          </p:cNvSpPr>
          <p:nvPr/>
        </p:nvSpPr>
        <p:spPr bwMode="gray">
          <a:xfrm>
            <a:off x="5308600" y="2504254"/>
            <a:ext cx="1638300" cy="1489075"/>
          </a:xfrm>
          <a:custGeom>
            <a:avLst/>
            <a:gdLst>
              <a:gd name="T0" fmla="*/ 2147483647 w 1103"/>
              <a:gd name="T1" fmla="*/ 2147483647 h 946"/>
              <a:gd name="T2" fmla="*/ 2147483647 w 1103"/>
              <a:gd name="T3" fmla="*/ 2147483647 h 946"/>
              <a:gd name="T4" fmla="*/ 2147483647 w 1103"/>
              <a:gd name="T5" fmla="*/ 0 h 946"/>
              <a:gd name="T6" fmla="*/ 2147483647 w 1103"/>
              <a:gd name="T7" fmla="*/ 2147483647 h 946"/>
              <a:gd name="T8" fmla="*/ 0 w 1103"/>
              <a:gd name="T9" fmla="*/ 2147483647 h 9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03" h="946">
                <a:moveTo>
                  <a:pt x="1102" y="945"/>
                </a:moveTo>
                <a:lnTo>
                  <a:pt x="551" y="630"/>
                </a:lnTo>
                <a:lnTo>
                  <a:pt x="551" y="0"/>
                </a:lnTo>
                <a:lnTo>
                  <a:pt x="551" y="630"/>
                </a:lnTo>
                <a:lnTo>
                  <a:pt x="0" y="945"/>
                </a:lnTo>
              </a:path>
            </a:pathLst>
          </a:custGeom>
          <a:solidFill>
            <a:schemeClr val="tx1">
              <a:lumMod val="60000"/>
              <a:lumOff val="40000"/>
            </a:schemeClr>
          </a:solidFill>
          <a:ln w="12700" cap="flat" cmpd="sng">
            <a:solidFill>
              <a:schemeClr val="tx1"/>
            </a:solidFill>
            <a:prstDash val="solid"/>
            <a:round/>
            <a:headEnd/>
            <a:tailEnd/>
          </a:ln>
          <a:effectLst/>
        </p:spPr>
        <p:txBody>
          <a:bodyPr wrap="none" anchor="ctr"/>
          <a:lstStyle/>
          <a:p>
            <a:endParaRPr lang="en-US">
              <a:latin typeface="Arial" panose="020B0604020202020204" pitchFamily="34" charset="0"/>
              <a:cs typeface="Arial" panose="020B0604020202020204" pitchFamily="34" charset="0"/>
            </a:endParaRPr>
          </a:p>
        </p:txBody>
      </p:sp>
      <p:sp>
        <p:nvSpPr>
          <p:cNvPr id="70665" name="Freeform 9"/>
          <p:cNvSpPr>
            <a:spLocks/>
          </p:cNvSpPr>
          <p:nvPr/>
        </p:nvSpPr>
        <p:spPr bwMode="gray">
          <a:xfrm>
            <a:off x="5953126" y="4374329"/>
            <a:ext cx="352425" cy="992187"/>
          </a:xfrm>
          <a:custGeom>
            <a:avLst/>
            <a:gdLst>
              <a:gd name="T0" fmla="*/ 2147483647 w 237"/>
              <a:gd name="T1" fmla="*/ 2147483647 h 630"/>
              <a:gd name="T2" fmla="*/ 2147483647 w 237"/>
              <a:gd name="T3" fmla="*/ 2147483647 h 630"/>
              <a:gd name="T4" fmla="*/ 0 w 237"/>
              <a:gd name="T5" fmla="*/ 2147483647 h 630"/>
              <a:gd name="T6" fmla="*/ 2147483647 w 237"/>
              <a:gd name="T7" fmla="*/ 0 h 630"/>
              <a:gd name="T8" fmla="*/ 2147483647 w 237"/>
              <a:gd name="T9" fmla="*/ 2147483647 h 630"/>
              <a:gd name="T10" fmla="*/ 2147483647 w 237"/>
              <a:gd name="T11" fmla="*/ 2147483647 h 630"/>
              <a:gd name="T12" fmla="*/ 2147483647 w 237"/>
              <a:gd name="T13" fmla="*/ 2147483647 h 630"/>
              <a:gd name="T14" fmla="*/ 2147483647 w 237"/>
              <a:gd name="T15" fmla="*/ 2147483647 h 630"/>
              <a:gd name="T16" fmla="*/ 2147483647 w 237"/>
              <a:gd name="T17" fmla="*/ 2147483647 h 630"/>
              <a:gd name="T18" fmla="*/ 0 w 237"/>
              <a:gd name="T19" fmla="*/ 2147483647 h 630"/>
              <a:gd name="T20" fmla="*/ 2147483647 w 237"/>
              <a:gd name="T21" fmla="*/ 2147483647 h 6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7" h="630">
                <a:moveTo>
                  <a:pt x="47" y="511"/>
                </a:moveTo>
                <a:lnTo>
                  <a:pt x="47" y="118"/>
                </a:lnTo>
                <a:lnTo>
                  <a:pt x="0" y="118"/>
                </a:lnTo>
                <a:lnTo>
                  <a:pt x="118" y="0"/>
                </a:lnTo>
                <a:lnTo>
                  <a:pt x="236" y="118"/>
                </a:lnTo>
                <a:lnTo>
                  <a:pt x="189" y="118"/>
                </a:lnTo>
                <a:lnTo>
                  <a:pt x="189" y="511"/>
                </a:lnTo>
                <a:lnTo>
                  <a:pt x="236" y="511"/>
                </a:lnTo>
                <a:lnTo>
                  <a:pt x="118" y="629"/>
                </a:lnTo>
                <a:lnTo>
                  <a:pt x="0" y="511"/>
                </a:lnTo>
                <a:lnTo>
                  <a:pt x="47" y="511"/>
                </a:lnTo>
                <a:close/>
              </a:path>
            </a:pathLst>
          </a:custGeom>
          <a:solidFill>
            <a:schemeClr val="bg2"/>
          </a:solidFill>
          <a:ln>
            <a:noFill/>
          </a:ln>
          <a:effectLst/>
        </p:spPr>
        <p:txBody>
          <a:bodyPr wrap="none" anchor="ctr"/>
          <a:lstStyle/>
          <a:p>
            <a:endParaRPr lang="en-US">
              <a:latin typeface="Arial" panose="020B0604020202020204" pitchFamily="34" charset="0"/>
              <a:cs typeface="Arial" panose="020B0604020202020204" pitchFamily="34" charset="0"/>
            </a:endParaRPr>
          </a:p>
        </p:txBody>
      </p:sp>
      <p:sp>
        <p:nvSpPr>
          <p:cNvPr id="70666" name="Text Box 10"/>
          <p:cNvSpPr txBox="1">
            <a:spLocks noChangeArrowheads="1"/>
          </p:cNvSpPr>
          <p:nvPr/>
        </p:nvSpPr>
        <p:spPr bwMode="gray">
          <a:xfrm>
            <a:off x="5133975" y="2674116"/>
            <a:ext cx="933450" cy="295275"/>
          </a:xfrm>
          <a:prstGeom prst="rect">
            <a:avLst/>
          </a:prstGeom>
          <a:noFill/>
          <a:ln w="12700">
            <a:noFill/>
            <a:miter lim="800000"/>
            <a:headEnd/>
            <a:tailEnd/>
          </a:ln>
          <a:effectLst/>
          <a:extLst>
            <a:ext uri="{909E8E84-426E-40DD-AFC4-6F175D3DCCD1}">
              <a14:hiddenFill xmlns:a14="http://schemas.microsoft.com/office/drawing/2010/main">
                <a:solidFill>
                  <a:srgbClr val="BBBBB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017" tIns="42017" rIns="42017" bIns="42017"/>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1400">
                <a:cs typeface="Arial" panose="020B0604020202020204" pitchFamily="34" charset="0"/>
              </a:rPr>
              <a:t>Text</a:t>
            </a:r>
          </a:p>
        </p:txBody>
      </p:sp>
      <p:sp>
        <p:nvSpPr>
          <p:cNvPr id="70667" name="Text Box 11"/>
          <p:cNvSpPr txBox="1">
            <a:spLocks noChangeArrowheads="1"/>
          </p:cNvSpPr>
          <p:nvPr/>
        </p:nvSpPr>
        <p:spPr bwMode="gray">
          <a:xfrm>
            <a:off x="6143626" y="2674116"/>
            <a:ext cx="936625" cy="295275"/>
          </a:xfrm>
          <a:prstGeom prst="rect">
            <a:avLst/>
          </a:prstGeom>
          <a:noFill/>
          <a:ln w="12700">
            <a:noFill/>
            <a:miter lim="800000"/>
            <a:headEnd/>
            <a:tailEnd/>
          </a:ln>
          <a:effectLst/>
          <a:extLst>
            <a:ext uri="{909E8E84-426E-40DD-AFC4-6F175D3DCCD1}">
              <a14:hiddenFill xmlns:a14="http://schemas.microsoft.com/office/drawing/2010/main">
                <a:solidFill>
                  <a:srgbClr val="BBBBB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017" tIns="42017" rIns="42017" bIns="42017"/>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1400">
                <a:cs typeface="Arial" panose="020B0604020202020204" pitchFamily="34" charset="0"/>
              </a:rPr>
              <a:t>Text</a:t>
            </a:r>
          </a:p>
        </p:txBody>
      </p:sp>
      <p:sp>
        <p:nvSpPr>
          <p:cNvPr id="70668" name="Text Box 12"/>
          <p:cNvSpPr txBox="1">
            <a:spLocks noChangeArrowheads="1"/>
          </p:cNvSpPr>
          <p:nvPr/>
        </p:nvSpPr>
        <p:spPr bwMode="gray">
          <a:xfrm>
            <a:off x="5661025" y="4126679"/>
            <a:ext cx="935038" cy="295275"/>
          </a:xfrm>
          <a:prstGeom prst="rect">
            <a:avLst/>
          </a:prstGeom>
          <a:solidFill>
            <a:srgbClr val="FFFFFF"/>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2017" tIns="42017" rIns="42017" bIns="42017"/>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1400">
                <a:cs typeface="Arial" panose="020B0604020202020204" pitchFamily="34" charset="0"/>
              </a:rPr>
              <a:t>Text</a:t>
            </a:r>
          </a:p>
        </p:txBody>
      </p:sp>
      <p:sp>
        <p:nvSpPr>
          <p:cNvPr id="70669" name="Text Box 13"/>
          <p:cNvSpPr txBox="1">
            <a:spLocks noChangeArrowheads="1"/>
          </p:cNvSpPr>
          <p:nvPr/>
        </p:nvSpPr>
        <p:spPr bwMode="gray">
          <a:xfrm>
            <a:off x="7766050" y="2245491"/>
            <a:ext cx="1404938"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US" altLang="en-US" sz="1400">
                <a:cs typeface="Arial" panose="020B0604020202020204" pitchFamily="34" charset="0"/>
              </a:rPr>
              <a:t>Text</a:t>
            </a:r>
          </a:p>
        </p:txBody>
      </p:sp>
      <p:sp>
        <p:nvSpPr>
          <p:cNvPr id="70670" name="Text Box 14"/>
          <p:cNvSpPr txBox="1">
            <a:spLocks noChangeArrowheads="1"/>
          </p:cNvSpPr>
          <p:nvPr/>
        </p:nvSpPr>
        <p:spPr bwMode="gray">
          <a:xfrm>
            <a:off x="4608513" y="5417316"/>
            <a:ext cx="3040062"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1400">
                <a:cs typeface="Arial" panose="020B0604020202020204" pitchFamily="34" charset="0"/>
              </a:rPr>
              <a:t>Text</a:t>
            </a:r>
          </a:p>
        </p:txBody>
      </p:sp>
      <p:sp>
        <p:nvSpPr>
          <p:cNvPr id="70671" name="Freeform 15"/>
          <p:cNvSpPr>
            <a:spLocks/>
          </p:cNvSpPr>
          <p:nvPr/>
        </p:nvSpPr>
        <p:spPr bwMode="gray">
          <a:xfrm>
            <a:off x="6919914" y="2339153"/>
            <a:ext cx="809625" cy="633412"/>
          </a:xfrm>
          <a:custGeom>
            <a:avLst/>
            <a:gdLst>
              <a:gd name="T0" fmla="*/ 2147483647 w 546"/>
              <a:gd name="T1" fmla="*/ 2147483647 h 403"/>
              <a:gd name="T2" fmla="*/ 2147483647 w 546"/>
              <a:gd name="T3" fmla="*/ 2147483647 h 403"/>
              <a:gd name="T4" fmla="*/ 2147483647 w 546"/>
              <a:gd name="T5" fmla="*/ 0 h 403"/>
              <a:gd name="T6" fmla="*/ 2147483647 w 546"/>
              <a:gd name="T7" fmla="*/ 2147483647 h 403"/>
              <a:gd name="T8" fmla="*/ 2147483647 w 546"/>
              <a:gd name="T9" fmla="*/ 2147483647 h 403"/>
              <a:gd name="T10" fmla="*/ 2147483647 w 546"/>
              <a:gd name="T11" fmla="*/ 2147483647 h 403"/>
              <a:gd name="T12" fmla="*/ 2147483647 w 546"/>
              <a:gd name="T13" fmla="*/ 2147483647 h 403"/>
              <a:gd name="T14" fmla="*/ 2147483647 w 546"/>
              <a:gd name="T15" fmla="*/ 2147483647 h 403"/>
              <a:gd name="T16" fmla="*/ 0 w 546"/>
              <a:gd name="T17" fmla="*/ 2147483647 h 403"/>
              <a:gd name="T18" fmla="*/ 2147483647 w 546"/>
              <a:gd name="T19" fmla="*/ 2147483647 h 403"/>
              <a:gd name="T20" fmla="*/ 2147483647 w 546"/>
              <a:gd name="T21" fmla="*/ 2147483647 h 4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6" h="403">
                <a:moveTo>
                  <a:pt x="66" y="238"/>
                </a:moveTo>
                <a:lnTo>
                  <a:pt x="407" y="41"/>
                </a:lnTo>
                <a:lnTo>
                  <a:pt x="384" y="0"/>
                </a:lnTo>
                <a:lnTo>
                  <a:pt x="545" y="43"/>
                </a:lnTo>
                <a:lnTo>
                  <a:pt x="502" y="205"/>
                </a:lnTo>
                <a:lnTo>
                  <a:pt x="478" y="164"/>
                </a:lnTo>
                <a:lnTo>
                  <a:pt x="137" y="361"/>
                </a:lnTo>
                <a:lnTo>
                  <a:pt x="161" y="402"/>
                </a:lnTo>
                <a:lnTo>
                  <a:pt x="0" y="358"/>
                </a:lnTo>
                <a:lnTo>
                  <a:pt x="43" y="197"/>
                </a:lnTo>
                <a:lnTo>
                  <a:pt x="66" y="238"/>
                </a:lnTo>
                <a:close/>
              </a:path>
            </a:pathLst>
          </a:custGeom>
          <a:solidFill>
            <a:schemeClr val="bg2"/>
          </a:solidFill>
          <a:ln>
            <a:noFill/>
          </a:ln>
          <a:effectLst/>
        </p:spPr>
        <p:txBody>
          <a:bodyPr wrap="none" anchor="ctr"/>
          <a:lstStyle/>
          <a:p>
            <a:endParaRPr lang="en-US">
              <a:latin typeface="Arial" panose="020B0604020202020204" pitchFamily="34" charset="0"/>
              <a:cs typeface="Arial" panose="020B0604020202020204" pitchFamily="34" charset="0"/>
            </a:endParaRPr>
          </a:p>
        </p:txBody>
      </p:sp>
      <p:sp>
        <p:nvSpPr>
          <p:cNvPr id="70672" name="Freeform 16"/>
          <p:cNvSpPr>
            <a:spLocks/>
          </p:cNvSpPr>
          <p:nvPr/>
        </p:nvSpPr>
        <p:spPr bwMode="gray">
          <a:xfrm>
            <a:off x="4462464" y="2339153"/>
            <a:ext cx="809625" cy="633412"/>
          </a:xfrm>
          <a:custGeom>
            <a:avLst/>
            <a:gdLst>
              <a:gd name="T0" fmla="*/ 2147483647 w 546"/>
              <a:gd name="T1" fmla="*/ 2147483647 h 403"/>
              <a:gd name="T2" fmla="*/ 2147483647 w 546"/>
              <a:gd name="T3" fmla="*/ 2147483647 h 403"/>
              <a:gd name="T4" fmla="*/ 2147483647 w 546"/>
              <a:gd name="T5" fmla="*/ 0 h 403"/>
              <a:gd name="T6" fmla="*/ 0 w 546"/>
              <a:gd name="T7" fmla="*/ 2147483647 h 403"/>
              <a:gd name="T8" fmla="*/ 2147483647 w 546"/>
              <a:gd name="T9" fmla="*/ 2147483647 h 403"/>
              <a:gd name="T10" fmla="*/ 2147483647 w 546"/>
              <a:gd name="T11" fmla="*/ 2147483647 h 403"/>
              <a:gd name="T12" fmla="*/ 2147483647 w 546"/>
              <a:gd name="T13" fmla="*/ 2147483647 h 403"/>
              <a:gd name="T14" fmla="*/ 2147483647 w 546"/>
              <a:gd name="T15" fmla="*/ 2147483647 h 403"/>
              <a:gd name="T16" fmla="*/ 2147483647 w 546"/>
              <a:gd name="T17" fmla="*/ 2147483647 h 403"/>
              <a:gd name="T18" fmla="*/ 2147483647 w 546"/>
              <a:gd name="T19" fmla="*/ 2147483647 h 403"/>
              <a:gd name="T20" fmla="*/ 2147483647 w 546"/>
              <a:gd name="T21" fmla="*/ 2147483647 h 4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6" h="403">
                <a:moveTo>
                  <a:pt x="479" y="238"/>
                </a:moveTo>
                <a:lnTo>
                  <a:pt x="138" y="41"/>
                </a:lnTo>
                <a:lnTo>
                  <a:pt x="161" y="0"/>
                </a:lnTo>
                <a:lnTo>
                  <a:pt x="0" y="43"/>
                </a:lnTo>
                <a:lnTo>
                  <a:pt x="43" y="205"/>
                </a:lnTo>
                <a:lnTo>
                  <a:pt x="67" y="164"/>
                </a:lnTo>
                <a:lnTo>
                  <a:pt x="408" y="361"/>
                </a:lnTo>
                <a:lnTo>
                  <a:pt x="384" y="402"/>
                </a:lnTo>
                <a:lnTo>
                  <a:pt x="545" y="358"/>
                </a:lnTo>
                <a:lnTo>
                  <a:pt x="502" y="197"/>
                </a:lnTo>
                <a:lnTo>
                  <a:pt x="479" y="238"/>
                </a:lnTo>
                <a:close/>
              </a:path>
            </a:pathLst>
          </a:custGeom>
          <a:solidFill>
            <a:schemeClr val="bg2"/>
          </a:solidFill>
          <a:ln>
            <a:noFill/>
          </a:ln>
          <a:effectLst/>
        </p:spPr>
        <p:txBody>
          <a:bodyPr wrap="none" anchor="ctr"/>
          <a:lstStyle/>
          <a:p>
            <a:endParaRPr lang="en-US">
              <a:latin typeface="Arial" panose="020B0604020202020204" pitchFamily="34" charset="0"/>
              <a:cs typeface="Arial" panose="020B0604020202020204" pitchFamily="34" charset="0"/>
            </a:endParaRPr>
          </a:p>
        </p:txBody>
      </p:sp>
      <p:sp>
        <p:nvSpPr>
          <p:cNvPr id="70673" name="Text Box 17"/>
          <p:cNvSpPr txBox="1">
            <a:spLocks noChangeArrowheads="1"/>
          </p:cNvSpPr>
          <p:nvPr/>
        </p:nvSpPr>
        <p:spPr bwMode="gray">
          <a:xfrm>
            <a:off x="2970213" y="2245491"/>
            <a:ext cx="1403350"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US" altLang="en-US" sz="1400">
                <a:cs typeface="Arial" panose="020B0604020202020204" pitchFamily="34" charset="0"/>
              </a:rPr>
              <a:t>Text</a:t>
            </a:r>
          </a:p>
        </p:txBody>
      </p:sp>
    </p:spTree>
    <p:extLst>
      <p:ext uri="{BB962C8B-B14F-4D97-AF65-F5344CB8AC3E}">
        <p14:creationId xmlns:p14="http://schemas.microsoft.com/office/powerpoint/2010/main" val="3720633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732" name="Rectangle 4" hidden="1"/>
          <p:cNvGraphicFramePr>
            <a:graphicFrameLocks/>
          </p:cNvGraphicFramePr>
          <p:nvPr>
            <p:custDataLst>
              <p:tags r:id="rId1"/>
            </p:custDataLst>
            <p:extLst>
              <p:ext uri="{D42A27DB-BD31-4B8C-83A1-F6EECF244321}">
                <p14:modId xmlns:p14="http://schemas.microsoft.com/office/powerpoint/2010/main" val="1722137927"/>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73732" name="Rectangle 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p:txBody>
          <a:bodyPr/>
          <a:lstStyle/>
          <a:p>
            <a:endParaRPr lang="en-US"/>
          </a:p>
        </p:txBody>
      </p:sp>
      <p:sp>
        <p:nvSpPr>
          <p:cNvPr id="73731" name="Rectangle 3"/>
          <p:cNvSpPr>
            <a:spLocks noGrp="1" noChangeArrowheads="1"/>
          </p:cNvSpPr>
          <p:nvPr>
            <p:ph type="title"/>
          </p:nvPr>
        </p:nvSpPr>
        <p:spPr/>
        <p:txBody>
          <a:bodyPr/>
          <a:lstStyle/>
          <a:p>
            <a:r>
              <a:rPr lang="en-GB" altLang="en-US"/>
              <a:t>Forces: centrifugal and centripetal, opposed, colliding</a:t>
            </a:r>
          </a:p>
        </p:txBody>
      </p:sp>
      <p:grpSp>
        <p:nvGrpSpPr>
          <p:cNvPr id="73733" name="Group 5"/>
          <p:cNvGrpSpPr>
            <a:grpSpLocks/>
          </p:cNvGrpSpPr>
          <p:nvPr/>
        </p:nvGrpSpPr>
        <p:grpSpPr bwMode="auto">
          <a:xfrm>
            <a:off x="3074989" y="1647666"/>
            <a:ext cx="5957887" cy="3978275"/>
            <a:chOff x="1278" y="1556"/>
            <a:chExt cx="3467" cy="2137"/>
          </a:xfrm>
        </p:grpSpPr>
        <p:sp>
          <p:nvSpPr>
            <p:cNvPr id="73734" name="Freeform 6"/>
            <p:cNvSpPr>
              <a:spLocks/>
            </p:cNvSpPr>
            <p:nvPr/>
          </p:nvSpPr>
          <p:spPr bwMode="gray">
            <a:xfrm>
              <a:off x="2095" y="1724"/>
              <a:ext cx="1860" cy="1820"/>
            </a:xfrm>
            <a:custGeom>
              <a:avLst/>
              <a:gdLst>
                <a:gd name="T0" fmla="*/ 0 w 2006"/>
                <a:gd name="T1" fmla="*/ 750 h 2005"/>
                <a:gd name="T2" fmla="*/ 799 w 2006"/>
                <a:gd name="T3" fmla="*/ 0 h 2005"/>
                <a:gd name="T4" fmla="*/ 799 w 2006"/>
                <a:gd name="T5" fmla="*/ 0 h 2005"/>
                <a:gd name="T6" fmla="*/ 1599 w 2006"/>
                <a:gd name="T7" fmla="*/ 750 h 2005"/>
                <a:gd name="T8" fmla="*/ 1599 w 2006"/>
                <a:gd name="T9" fmla="*/ 750 h 2005"/>
                <a:gd name="T10" fmla="*/ 799 w 2006"/>
                <a:gd name="T11" fmla="*/ 1499 h 2005"/>
                <a:gd name="T12" fmla="*/ 799 w 2006"/>
                <a:gd name="T13" fmla="*/ 1499 h 2005"/>
                <a:gd name="T14" fmla="*/ 0 w 2006"/>
                <a:gd name="T15" fmla="*/ 750 h 2005"/>
                <a:gd name="T16" fmla="*/ 0 w 2006"/>
                <a:gd name="T17" fmla="*/ 750 h 20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06" h="2005">
                  <a:moveTo>
                    <a:pt x="0" y="1002"/>
                  </a:moveTo>
                  <a:lnTo>
                    <a:pt x="1003" y="0"/>
                  </a:lnTo>
                  <a:lnTo>
                    <a:pt x="2005" y="1002"/>
                  </a:lnTo>
                  <a:lnTo>
                    <a:pt x="1003" y="2004"/>
                  </a:lnTo>
                  <a:lnTo>
                    <a:pt x="0" y="1002"/>
                  </a:lnTo>
                  <a:close/>
                </a:path>
              </a:pathLst>
            </a:custGeom>
            <a:solidFill>
              <a:schemeClr val="tx1">
                <a:lumMod val="60000"/>
                <a:lumOff val="40000"/>
              </a:schemeClr>
            </a:solidFill>
            <a:ln>
              <a:noFill/>
            </a:ln>
            <a:effectLst/>
            <a:extLst>
              <a:ext uri="{91240B29-F687-4F45-9708-019B960494DF}">
                <a14:hiddenLine xmlns:a14="http://schemas.microsoft.com/office/drawing/2010/main" w="6350" cap="flat">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rgbClr val="DCDCDC"/>
                    </a:outerShdw>
                  </a:effectLst>
                </a14:hiddenEffects>
              </a:ext>
            </a:extLst>
          </p:spPr>
          <p:txBody>
            <a:bodyPr wrap="none" anchor="ctr"/>
            <a:lstStyle/>
            <a:p>
              <a:endParaRPr lang="en-US">
                <a:latin typeface="Arial" panose="020B0604020202020204" pitchFamily="34" charset="0"/>
                <a:cs typeface="Arial" panose="020B0604020202020204" pitchFamily="34" charset="0"/>
              </a:endParaRPr>
            </a:p>
          </p:txBody>
        </p:sp>
        <p:sp>
          <p:nvSpPr>
            <p:cNvPr id="73735" name="Freeform 7"/>
            <p:cNvSpPr>
              <a:spLocks/>
            </p:cNvSpPr>
            <p:nvPr/>
          </p:nvSpPr>
          <p:spPr bwMode="gray">
            <a:xfrm>
              <a:off x="3139" y="1812"/>
              <a:ext cx="744" cy="729"/>
            </a:xfrm>
            <a:custGeom>
              <a:avLst/>
              <a:gdLst>
                <a:gd name="T0" fmla="*/ 0 w 803"/>
                <a:gd name="T1" fmla="*/ 400 h 803"/>
                <a:gd name="T2" fmla="*/ 355 w 803"/>
                <a:gd name="T3" fmla="*/ 67 h 803"/>
                <a:gd name="T4" fmla="*/ 284 w 803"/>
                <a:gd name="T5" fmla="*/ 0 h 803"/>
                <a:gd name="T6" fmla="*/ 637 w 803"/>
                <a:gd name="T7" fmla="*/ 0 h 803"/>
                <a:gd name="T8" fmla="*/ 637 w 803"/>
                <a:gd name="T9" fmla="*/ 334 h 803"/>
                <a:gd name="T10" fmla="*/ 567 w 803"/>
                <a:gd name="T11" fmla="*/ 267 h 803"/>
                <a:gd name="T12" fmla="*/ 213 w 803"/>
                <a:gd name="T13" fmla="*/ 600 h 803"/>
                <a:gd name="T14" fmla="*/ 213 w 803"/>
                <a:gd name="T15" fmla="*/ 600 h 803"/>
                <a:gd name="T16" fmla="*/ 107 w 803"/>
                <a:gd name="T17" fmla="*/ 499 h 803"/>
                <a:gd name="T18" fmla="*/ 0 w 803"/>
                <a:gd name="T19" fmla="*/ 400 h 803"/>
                <a:gd name="T20" fmla="*/ 0 w 803"/>
                <a:gd name="T21" fmla="*/ 400 h 8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3" h="803">
                  <a:moveTo>
                    <a:pt x="0" y="535"/>
                  </a:moveTo>
                  <a:lnTo>
                    <a:pt x="446" y="89"/>
                  </a:lnTo>
                  <a:lnTo>
                    <a:pt x="357" y="0"/>
                  </a:lnTo>
                  <a:lnTo>
                    <a:pt x="802" y="0"/>
                  </a:lnTo>
                  <a:lnTo>
                    <a:pt x="802" y="446"/>
                  </a:lnTo>
                  <a:lnTo>
                    <a:pt x="713" y="357"/>
                  </a:lnTo>
                  <a:lnTo>
                    <a:pt x="268" y="802"/>
                  </a:lnTo>
                  <a:lnTo>
                    <a:pt x="134" y="668"/>
                  </a:lnTo>
                  <a:lnTo>
                    <a:pt x="0" y="535"/>
                  </a:lnTo>
                  <a:close/>
                </a:path>
              </a:pathLst>
            </a:custGeom>
            <a:solidFill>
              <a:schemeClr val="bg2"/>
            </a:solidFill>
            <a:ln w="28575" cap="flat" cmpd="sng">
              <a:solidFill>
                <a:srgbClr val="FFFFFF"/>
              </a:solidFill>
              <a:prstDash val="solid"/>
              <a:round/>
              <a:headEnd/>
              <a:tailEnd/>
            </a:ln>
            <a:effectLst/>
            <a:extLst>
              <a:ext uri="{AF507438-7753-43E0-B8FC-AC1667EBCBE1}">
                <a14:hiddenEffects xmlns:a14="http://schemas.microsoft.com/office/drawing/2010/main">
                  <a:effectLst>
                    <a:outerShdw dist="57150" dir="8100000" algn="ctr" rotWithShape="0">
                      <a:srgbClr val="888888"/>
                    </a:outerShdw>
                  </a:effectLst>
                </a14:hiddenEffects>
              </a:ext>
            </a:extLst>
          </p:spPr>
          <p:txBody>
            <a:bodyPr wrap="none" anchor="ctr"/>
            <a:lstStyle/>
            <a:p>
              <a:endParaRPr lang="en-US">
                <a:latin typeface="Arial" panose="020B0604020202020204" pitchFamily="34" charset="0"/>
                <a:cs typeface="Arial" panose="020B0604020202020204" pitchFamily="34" charset="0"/>
              </a:endParaRPr>
            </a:p>
          </p:txBody>
        </p:sp>
        <p:sp>
          <p:nvSpPr>
            <p:cNvPr id="73736" name="Freeform 8"/>
            <p:cNvSpPr>
              <a:spLocks/>
            </p:cNvSpPr>
            <p:nvPr/>
          </p:nvSpPr>
          <p:spPr bwMode="gray">
            <a:xfrm>
              <a:off x="3139" y="2725"/>
              <a:ext cx="744" cy="728"/>
            </a:xfrm>
            <a:custGeom>
              <a:avLst/>
              <a:gdLst>
                <a:gd name="T0" fmla="*/ 0 w 803"/>
                <a:gd name="T1" fmla="*/ 199 h 803"/>
                <a:gd name="T2" fmla="*/ 355 w 803"/>
                <a:gd name="T3" fmla="*/ 531 h 803"/>
                <a:gd name="T4" fmla="*/ 284 w 803"/>
                <a:gd name="T5" fmla="*/ 597 h 803"/>
                <a:gd name="T6" fmla="*/ 637 w 803"/>
                <a:gd name="T7" fmla="*/ 597 h 803"/>
                <a:gd name="T8" fmla="*/ 637 w 803"/>
                <a:gd name="T9" fmla="*/ 266 h 803"/>
                <a:gd name="T10" fmla="*/ 567 w 803"/>
                <a:gd name="T11" fmla="*/ 331 h 803"/>
                <a:gd name="T12" fmla="*/ 213 w 803"/>
                <a:gd name="T13" fmla="*/ 0 h 803"/>
                <a:gd name="T14" fmla="*/ 213 w 803"/>
                <a:gd name="T15" fmla="*/ 0 h 803"/>
                <a:gd name="T16" fmla="*/ 107 w 803"/>
                <a:gd name="T17" fmla="*/ 100 h 803"/>
                <a:gd name="T18" fmla="*/ 0 w 803"/>
                <a:gd name="T19" fmla="*/ 199 h 803"/>
                <a:gd name="T20" fmla="*/ 0 w 803"/>
                <a:gd name="T21" fmla="*/ 199 h 8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3" h="803">
                  <a:moveTo>
                    <a:pt x="0" y="267"/>
                  </a:moveTo>
                  <a:lnTo>
                    <a:pt x="446" y="713"/>
                  </a:lnTo>
                  <a:lnTo>
                    <a:pt x="357" y="802"/>
                  </a:lnTo>
                  <a:lnTo>
                    <a:pt x="802" y="802"/>
                  </a:lnTo>
                  <a:lnTo>
                    <a:pt x="802" y="356"/>
                  </a:lnTo>
                  <a:lnTo>
                    <a:pt x="713" y="445"/>
                  </a:lnTo>
                  <a:lnTo>
                    <a:pt x="268" y="0"/>
                  </a:lnTo>
                  <a:lnTo>
                    <a:pt x="134" y="133"/>
                  </a:lnTo>
                  <a:lnTo>
                    <a:pt x="0" y="267"/>
                  </a:lnTo>
                  <a:close/>
                </a:path>
              </a:pathLst>
            </a:custGeom>
            <a:solidFill>
              <a:schemeClr val="bg2"/>
            </a:solidFill>
            <a:ln w="28575" cap="flat" cmpd="sng">
              <a:solidFill>
                <a:srgbClr val="FFFFFF"/>
              </a:solidFill>
              <a:prstDash val="solid"/>
              <a:round/>
              <a:headEnd/>
              <a:tailEnd/>
            </a:ln>
            <a:effectLst/>
            <a:extLst>
              <a:ext uri="{AF507438-7753-43E0-B8FC-AC1667EBCBE1}">
                <a14:hiddenEffects xmlns:a14="http://schemas.microsoft.com/office/drawing/2010/main">
                  <a:effectLst>
                    <a:outerShdw dist="57150" dir="13500000" algn="ctr" rotWithShape="0">
                      <a:srgbClr val="888888"/>
                    </a:outerShdw>
                  </a:effectLst>
                </a14:hiddenEffects>
              </a:ext>
            </a:extLst>
          </p:spPr>
          <p:txBody>
            <a:bodyPr wrap="none" anchor="ctr"/>
            <a:lstStyle/>
            <a:p>
              <a:endParaRPr lang="en-US">
                <a:latin typeface="Arial" panose="020B0604020202020204" pitchFamily="34" charset="0"/>
                <a:cs typeface="Arial" panose="020B0604020202020204" pitchFamily="34" charset="0"/>
              </a:endParaRPr>
            </a:p>
          </p:txBody>
        </p:sp>
        <p:sp>
          <p:nvSpPr>
            <p:cNvPr id="73737" name="Freeform 9"/>
            <p:cNvSpPr>
              <a:spLocks/>
            </p:cNvSpPr>
            <p:nvPr/>
          </p:nvSpPr>
          <p:spPr bwMode="gray">
            <a:xfrm>
              <a:off x="2205" y="2727"/>
              <a:ext cx="745" cy="729"/>
            </a:xfrm>
            <a:custGeom>
              <a:avLst/>
              <a:gdLst>
                <a:gd name="T0" fmla="*/ 427 w 803"/>
                <a:gd name="T1" fmla="*/ 0 h 803"/>
                <a:gd name="T2" fmla="*/ 71 w 803"/>
                <a:gd name="T3" fmla="*/ 334 h 803"/>
                <a:gd name="T4" fmla="*/ 0 w 803"/>
                <a:gd name="T5" fmla="*/ 267 h 803"/>
                <a:gd name="T6" fmla="*/ 0 w 803"/>
                <a:gd name="T7" fmla="*/ 600 h 803"/>
                <a:gd name="T8" fmla="*/ 356 w 803"/>
                <a:gd name="T9" fmla="*/ 600 h 803"/>
                <a:gd name="T10" fmla="*/ 285 w 803"/>
                <a:gd name="T11" fmla="*/ 533 h 803"/>
                <a:gd name="T12" fmla="*/ 640 w 803"/>
                <a:gd name="T13" fmla="*/ 201 h 803"/>
                <a:gd name="T14" fmla="*/ 640 w 803"/>
                <a:gd name="T15" fmla="*/ 201 h 803"/>
                <a:gd name="T16" fmla="*/ 533 w 803"/>
                <a:gd name="T17" fmla="*/ 101 h 803"/>
                <a:gd name="T18" fmla="*/ 427 w 803"/>
                <a:gd name="T19" fmla="*/ 0 h 803"/>
                <a:gd name="T20" fmla="*/ 427 w 803"/>
                <a:gd name="T21" fmla="*/ 0 h 8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3" h="803">
                  <a:moveTo>
                    <a:pt x="535" y="0"/>
                  </a:moveTo>
                  <a:lnTo>
                    <a:pt x="89" y="446"/>
                  </a:lnTo>
                  <a:lnTo>
                    <a:pt x="0" y="357"/>
                  </a:lnTo>
                  <a:lnTo>
                    <a:pt x="0" y="802"/>
                  </a:lnTo>
                  <a:lnTo>
                    <a:pt x="446" y="802"/>
                  </a:lnTo>
                  <a:lnTo>
                    <a:pt x="357" y="713"/>
                  </a:lnTo>
                  <a:lnTo>
                    <a:pt x="802" y="268"/>
                  </a:lnTo>
                  <a:lnTo>
                    <a:pt x="668" y="134"/>
                  </a:lnTo>
                  <a:lnTo>
                    <a:pt x="535" y="0"/>
                  </a:lnTo>
                  <a:close/>
                </a:path>
              </a:pathLst>
            </a:custGeom>
            <a:solidFill>
              <a:schemeClr val="bg2"/>
            </a:solidFill>
            <a:ln w="28575" cap="flat" cmpd="sng">
              <a:solidFill>
                <a:srgbClr val="FFFFFF"/>
              </a:solidFill>
              <a:prstDash val="solid"/>
              <a:round/>
              <a:headEnd/>
              <a:tailEnd/>
            </a:ln>
            <a:effectLst/>
            <a:extLst>
              <a:ext uri="{AF507438-7753-43E0-B8FC-AC1667EBCBE1}">
                <a14:hiddenEffects xmlns:a14="http://schemas.microsoft.com/office/drawing/2010/main">
                  <a:effectLst>
                    <a:outerShdw dist="57150" dir="18900000" algn="ctr" rotWithShape="0">
                      <a:srgbClr val="888888"/>
                    </a:outerShdw>
                  </a:effectLst>
                </a14:hiddenEffects>
              </a:ext>
            </a:extLst>
          </p:spPr>
          <p:txBody>
            <a:bodyPr wrap="none" anchor="ctr"/>
            <a:lstStyle/>
            <a:p>
              <a:endParaRPr lang="en-US">
                <a:latin typeface="Arial" panose="020B0604020202020204" pitchFamily="34" charset="0"/>
                <a:cs typeface="Arial" panose="020B0604020202020204" pitchFamily="34" charset="0"/>
              </a:endParaRPr>
            </a:p>
          </p:txBody>
        </p:sp>
        <p:sp>
          <p:nvSpPr>
            <p:cNvPr id="73738" name="Freeform 10"/>
            <p:cNvSpPr>
              <a:spLocks/>
            </p:cNvSpPr>
            <p:nvPr/>
          </p:nvSpPr>
          <p:spPr bwMode="gray">
            <a:xfrm>
              <a:off x="2205" y="1810"/>
              <a:ext cx="745" cy="728"/>
            </a:xfrm>
            <a:custGeom>
              <a:avLst/>
              <a:gdLst>
                <a:gd name="T0" fmla="*/ 427 w 803"/>
                <a:gd name="T1" fmla="*/ 599 h 802"/>
                <a:gd name="T2" fmla="*/ 71 w 803"/>
                <a:gd name="T3" fmla="*/ 266 h 802"/>
                <a:gd name="T4" fmla="*/ 0 w 803"/>
                <a:gd name="T5" fmla="*/ 333 h 802"/>
                <a:gd name="T6" fmla="*/ 0 w 803"/>
                <a:gd name="T7" fmla="*/ 0 h 802"/>
                <a:gd name="T8" fmla="*/ 356 w 803"/>
                <a:gd name="T9" fmla="*/ 0 h 802"/>
                <a:gd name="T10" fmla="*/ 285 w 803"/>
                <a:gd name="T11" fmla="*/ 67 h 802"/>
                <a:gd name="T12" fmla="*/ 640 w 803"/>
                <a:gd name="T13" fmla="*/ 399 h 802"/>
                <a:gd name="T14" fmla="*/ 640 w 803"/>
                <a:gd name="T15" fmla="*/ 399 h 802"/>
                <a:gd name="T16" fmla="*/ 533 w 803"/>
                <a:gd name="T17" fmla="*/ 499 h 802"/>
                <a:gd name="T18" fmla="*/ 427 w 803"/>
                <a:gd name="T19" fmla="*/ 599 h 802"/>
                <a:gd name="T20" fmla="*/ 427 w 803"/>
                <a:gd name="T21" fmla="*/ 599 h 8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3" h="802">
                  <a:moveTo>
                    <a:pt x="535" y="801"/>
                  </a:moveTo>
                  <a:lnTo>
                    <a:pt x="89" y="356"/>
                  </a:lnTo>
                  <a:lnTo>
                    <a:pt x="0" y="445"/>
                  </a:lnTo>
                  <a:lnTo>
                    <a:pt x="0" y="0"/>
                  </a:lnTo>
                  <a:lnTo>
                    <a:pt x="446" y="0"/>
                  </a:lnTo>
                  <a:lnTo>
                    <a:pt x="357" y="89"/>
                  </a:lnTo>
                  <a:lnTo>
                    <a:pt x="802" y="534"/>
                  </a:lnTo>
                  <a:lnTo>
                    <a:pt x="668" y="668"/>
                  </a:lnTo>
                  <a:lnTo>
                    <a:pt x="535" y="801"/>
                  </a:lnTo>
                  <a:close/>
                </a:path>
              </a:pathLst>
            </a:custGeom>
            <a:solidFill>
              <a:schemeClr val="bg2"/>
            </a:solidFill>
            <a:ln w="28575" cap="flat" cmpd="sng">
              <a:solidFill>
                <a:srgbClr val="FFFFFF"/>
              </a:solidFill>
              <a:prstDash val="solid"/>
              <a:round/>
              <a:headEnd/>
              <a:tailEnd/>
            </a:ln>
            <a:effectLst/>
            <a:extLst>
              <a:ext uri="{AF507438-7753-43E0-B8FC-AC1667EBCBE1}">
                <a14:hiddenEffects xmlns:a14="http://schemas.microsoft.com/office/drawing/2010/main">
                  <a:effectLst>
                    <a:outerShdw dist="57150" dir="2700000" algn="ctr" rotWithShape="0">
                      <a:srgbClr val="888888"/>
                    </a:outerShdw>
                  </a:effectLst>
                </a14:hiddenEffects>
              </a:ext>
            </a:extLst>
          </p:spPr>
          <p:txBody>
            <a:bodyPr wrap="none" anchor="ctr"/>
            <a:lstStyle/>
            <a:p>
              <a:endParaRPr lang="en-US">
                <a:latin typeface="Arial" panose="020B0604020202020204" pitchFamily="34" charset="0"/>
                <a:cs typeface="Arial" panose="020B0604020202020204" pitchFamily="34" charset="0"/>
              </a:endParaRPr>
            </a:p>
          </p:txBody>
        </p:sp>
        <p:sp>
          <p:nvSpPr>
            <p:cNvPr id="73739" name="Text Box 11"/>
            <p:cNvSpPr txBox="1">
              <a:spLocks noChangeArrowheads="1"/>
            </p:cNvSpPr>
            <p:nvPr/>
          </p:nvSpPr>
          <p:spPr bwMode="gray">
            <a:xfrm>
              <a:off x="1278" y="2586"/>
              <a:ext cx="681" cy="82"/>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GB" altLang="en-US" sz="1200">
                  <a:cs typeface="Arial" panose="020B0604020202020204" pitchFamily="34" charset="0"/>
                </a:rPr>
                <a:t>Text</a:t>
              </a:r>
            </a:p>
          </p:txBody>
        </p:sp>
        <p:sp>
          <p:nvSpPr>
            <p:cNvPr id="73740" name="Text Box 12"/>
            <p:cNvSpPr txBox="1">
              <a:spLocks noChangeArrowheads="1"/>
            </p:cNvSpPr>
            <p:nvPr/>
          </p:nvSpPr>
          <p:spPr bwMode="gray">
            <a:xfrm>
              <a:off x="2700" y="1556"/>
              <a:ext cx="681" cy="82"/>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200">
                  <a:cs typeface="Arial" panose="020B0604020202020204" pitchFamily="34" charset="0"/>
                </a:rPr>
                <a:t>Text</a:t>
              </a:r>
            </a:p>
          </p:txBody>
        </p:sp>
        <p:sp>
          <p:nvSpPr>
            <p:cNvPr id="73741" name="Text Box 13"/>
            <p:cNvSpPr txBox="1">
              <a:spLocks noChangeArrowheads="1"/>
            </p:cNvSpPr>
            <p:nvPr/>
          </p:nvSpPr>
          <p:spPr bwMode="gray">
            <a:xfrm>
              <a:off x="2700" y="3611"/>
              <a:ext cx="681" cy="82"/>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200">
                  <a:cs typeface="Arial" panose="020B0604020202020204" pitchFamily="34" charset="0"/>
                </a:rPr>
                <a:t>Text</a:t>
              </a:r>
            </a:p>
          </p:txBody>
        </p:sp>
        <p:sp>
          <p:nvSpPr>
            <p:cNvPr id="73742" name="Text Box 14"/>
            <p:cNvSpPr txBox="1">
              <a:spLocks noChangeArrowheads="1"/>
            </p:cNvSpPr>
            <p:nvPr/>
          </p:nvSpPr>
          <p:spPr bwMode="gray">
            <a:xfrm>
              <a:off x="1278" y="1714"/>
              <a:ext cx="681" cy="82"/>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GB" altLang="en-US" sz="1200">
                  <a:cs typeface="Arial" panose="020B0604020202020204" pitchFamily="34" charset="0"/>
                </a:rPr>
                <a:t>Text</a:t>
              </a:r>
            </a:p>
          </p:txBody>
        </p:sp>
        <p:sp>
          <p:nvSpPr>
            <p:cNvPr id="73743" name="Text Box 15"/>
            <p:cNvSpPr txBox="1">
              <a:spLocks noChangeArrowheads="1"/>
            </p:cNvSpPr>
            <p:nvPr/>
          </p:nvSpPr>
          <p:spPr bwMode="gray">
            <a:xfrm>
              <a:off x="1278" y="3408"/>
              <a:ext cx="681" cy="82"/>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GB" altLang="en-US" sz="1200">
                  <a:cs typeface="Arial" panose="020B0604020202020204" pitchFamily="34" charset="0"/>
                </a:rPr>
                <a:t>Text</a:t>
              </a:r>
            </a:p>
          </p:txBody>
        </p:sp>
        <p:sp>
          <p:nvSpPr>
            <p:cNvPr id="73744" name="Text Box 16"/>
            <p:cNvSpPr txBox="1">
              <a:spLocks noChangeArrowheads="1"/>
            </p:cNvSpPr>
            <p:nvPr/>
          </p:nvSpPr>
          <p:spPr bwMode="gray">
            <a:xfrm>
              <a:off x="4064" y="2586"/>
              <a:ext cx="681" cy="82"/>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200">
                  <a:cs typeface="Arial" panose="020B0604020202020204" pitchFamily="34" charset="0"/>
                </a:rPr>
                <a:t>Text</a:t>
              </a:r>
            </a:p>
          </p:txBody>
        </p:sp>
        <p:sp>
          <p:nvSpPr>
            <p:cNvPr id="73745" name="Text Box 17"/>
            <p:cNvSpPr txBox="1">
              <a:spLocks noChangeArrowheads="1"/>
            </p:cNvSpPr>
            <p:nvPr/>
          </p:nvSpPr>
          <p:spPr bwMode="gray">
            <a:xfrm>
              <a:off x="4064" y="1714"/>
              <a:ext cx="681" cy="82"/>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200">
                  <a:cs typeface="Arial" panose="020B0604020202020204" pitchFamily="34" charset="0"/>
                </a:rPr>
                <a:t>Text</a:t>
              </a:r>
            </a:p>
          </p:txBody>
        </p:sp>
        <p:sp>
          <p:nvSpPr>
            <p:cNvPr id="73746" name="Text Box 18"/>
            <p:cNvSpPr txBox="1">
              <a:spLocks noChangeArrowheads="1"/>
            </p:cNvSpPr>
            <p:nvPr/>
          </p:nvSpPr>
          <p:spPr bwMode="gray">
            <a:xfrm>
              <a:off x="4064" y="3408"/>
              <a:ext cx="681" cy="82"/>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200">
                  <a:cs typeface="Arial" panose="020B0604020202020204" pitchFamily="34" charset="0"/>
                </a:rPr>
                <a:t>Text</a:t>
              </a:r>
            </a:p>
          </p:txBody>
        </p:sp>
        <p:sp>
          <p:nvSpPr>
            <p:cNvPr id="73747" name="Text Box 19"/>
            <p:cNvSpPr txBox="1">
              <a:spLocks noChangeArrowheads="1"/>
            </p:cNvSpPr>
            <p:nvPr/>
          </p:nvSpPr>
          <p:spPr bwMode="gray">
            <a:xfrm>
              <a:off x="2700" y="2586"/>
              <a:ext cx="681" cy="82"/>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200">
                  <a:solidFill>
                    <a:schemeClr val="accent5"/>
                  </a:solidFill>
                  <a:cs typeface="Arial" panose="020B0604020202020204" pitchFamily="34" charset="0"/>
                </a:rPr>
                <a:t>Text</a:t>
              </a:r>
            </a:p>
          </p:txBody>
        </p:sp>
      </p:grpSp>
    </p:spTree>
    <p:extLst>
      <p:ext uri="{BB962C8B-B14F-4D97-AF65-F5344CB8AC3E}">
        <p14:creationId xmlns:p14="http://schemas.microsoft.com/office/powerpoint/2010/main" val="28357292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54" name="Rectangle 2" hidden="1"/>
          <p:cNvGraphicFramePr>
            <a:graphicFrameLocks/>
          </p:cNvGraphicFramePr>
          <p:nvPr>
            <p:custDataLst>
              <p:tags r:id="rId1"/>
            </p:custDataLst>
            <p:extLst>
              <p:ext uri="{D42A27DB-BD31-4B8C-83A1-F6EECF244321}">
                <p14:modId xmlns:p14="http://schemas.microsoft.com/office/powerpoint/2010/main" val="2173479229"/>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7475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p:txBody>
          <a:bodyPr/>
          <a:lstStyle/>
          <a:p>
            <a:endParaRPr lang="en-US"/>
          </a:p>
        </p:txBody>
      </p:sp>
      <p:sp>
        <p:nvSpPr>
          <p:cNvPr id="74756" name="Rectangle 4"/>
          <p:cNvSpPr>
            <a:spLocks noGrp="1" noChangeArrowheads="1"/>
          </p:cNvSpPr>
          <p:nvPr>
            <p:ph type="title"/>
          </p:nvPr>
        </p:nvSpPr>
        <p:spPr/>
        <p:txBody>
          <a:bodyPr/>
          <a:lstStyle/>
          <a:p>
            <a:r>
              <a:rPr lang="en-GB" altLang="en-US"/>
              <a:t>Forces: centrifugal and centripetal, opposed, colliding</a:t>
            </a:r>
          </a:p>
        </p:txBody>
      </p:sp>
      <p:sp>
        <p:nvSpPr>
          <p:cNvPr id="74757" name="Rectangle 5"/>
          <p:cNvSpPr>
            <a:spLocks noChangeArrowheads="1"/>
          </p:cNvSpPr>
          <p:nvPr/>
        </p:nvSpPr>
        <p:spPr bwMode="gray">
          <a:xfrm>
            <a:off x="4497389" y="1833614"/>
            <a:ext cx="3597275" cy="3308350"/>
          </a:xfrm>
          <a:prstGeom prst="rect">
            <a:avLst/>
          </a:prstGeom>
          <a:solidFill>
            <a:schemeClr val="tx1">
              <a:lumMod val="40000"/>
              <a:lumOff val="60000"/>
            </a:schemeClr>
          </a:solidFill>
          <a:ln>
            <a:noFill/>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74758" name="Freeform 6"/>
          <p:cNvSpPr>
            <a:spLocks/>
          </p:cNvSpPr>
          <p:nvPr/>
        </p:nvSpPr>
        <p:spPr bwMode="gray">
          <a:xfrm>
            <a:off x="5578475" y="1452615"/>
            <a:ext cx="1441450" cy="1274763"/>
          </a:xfrm>
          <a:custGeom>
            <a:avLst/>
            <a:gdLst>
              <a:gd name="T0" fmla="*/ 2147483647 w 946"/>
              <a:gd name="T1" fmla="*/ 2147483647 h 789"/>
              <a:gd name="T2" fmla="*/ 2147483647 w 946"/>
              <a:gd name="T3" fmla="*/ 2147483647 h 789"/>
              <a:gd name="T4" fmla="*/ 0 w 946"/>
              <a:gd name="T5" fmla="*/ 2147483647 h 789"/>
              <a:gd name="T6" fmla="*/ 2147483647 w 946"/>
              <a:gd name="T7" fmla="*/ 0 h 789"/>
              <a:gd name="T8" fmla="*/ 2147483647 w 946"/>
              <a:gd name="T9" fmla="*/ 2147483647 h 789"/>
              <a:gd name="T10" fmla="*/ 2147483647 w 946"/>
              <a:gd name="T11" fmla="*/ 2147483647 h 789"/>
              <a:gd name="T12" fmla="*/ 2147483647 w 946"/>
              <a:gd name="T13" fmla="*/ 2147483647 h 789"/>
              <a:gd name="T14" fmla="*/ 2147483647 w 946"/>
              <a:gd name="T15" fmla="*/ 2147483647 h 789"/>
              <a:gd name="T16" fmla="*/ 2147483647 w 946"/>
              <a:gd name="T17" fmla="*/ 2147483647 h 789"/>
              <a:gd name="T18" fmla="*/ 2147483647 w 946"/>
              <a:gd name="T19" fmla="*/ 2147483647 h 789"/>
              <a:gd name="T20" fmla="*/ 2147483647 w 946"/>
              <a:gd name="T21" fmla="*/ 2147483647 h 7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46" h="789">
                <a:moveTo>
                  <a:pt x="189" y="788"/>
                </a:moveTo>
                <a:lnTo>
                  <a:pt x="189" y="473"/>
                </a:lnTo>
                <a:lnTo>
                  <a:pt x="0" y="473"/>
                </a:lnTo>
                <a:lnTo>
                  <a:pt x="472" y="0"/>
                </a:lnTo>
                <a:lnTo>
                  <a:pt x="945" y="473"/>
                </a:lnTo>
                <a:lnTo>
                  <a:pt x="756" y="473"/>
                </a:lnTo>
                <a:lnTo>
                  <a:pt x="756" y="788"/>
                </a:lnTo>
                <a:lnTo>
                  <a:pt x="472" y="788"/>
                </a:lnTo>
                <a:lnTo>
                  <a:pt x="189" y="788"/>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solidFill>
                <a:schemeClr val="accent5"/>
              </a:solidFill>
            </a:endParaRPr>
          </a:p>
        </p:txBody>
      </p:sp>
      <p:sp>
        <p:nvSpPr>
          <p:cNvPr id="74759" name="Freeform 7"/>
          <p:cNvSpPr>
            <a:spLocks/>
          </p:cNvSpPr>
          <p:nvPr/>
        </p:nvSpPr>
        <p:spPr bwMode="gray">
          <a:xfrm>
            <a:off x="7137400" y="2722614"/>
            <a:ext cx="1441450" cy="1531938"/>
          </a:xfrm>
          <a:custGeom>
            <a:avLst/>
            <a:gdLst>
              <a:gd name="T0" fmla="*/ 0 w 946"/>
              <a:gd name="T1" fmla="*/ 2147483647 h 947"/>
              <a:gd name="T2" fmla="*/ 2147483647 w 946"/>
              <a:gd name="T3" fmla="*/ 2147483647 h 947"/>
              <a:gd name="T4" fmla="*/ 2147483647 w 946"/>
              <a:gd name="T5" fmla="*/ 2147483647 h 947"/>
              <a:gd name="T6" fmla="*/ 2147483647 w 946"/>
              <a:gd name="T7" fmla="*/ 2147483647 h 947"/>
              <a:gd name="T8" fmla="*/ 2147483647 w 946"/>
              <a:gd name="T9" fmla="*/ 0 h 947"/>
              <a:gd name="T10" fmla="*/ 2147483647 w 946"/>
              <a:gd name="T11" fmla="*/ 2147483647 h 947"/>
              <a:gd name="T12" fmla="*/ 0 w 946"/>
              <a:gd name="T13" fmla="*/ 2147483647 h 947"/>
              <a:gd name="T14" fmla="*/ 0 w 946"/>
              <a:gd name="T15" fmla="*/ 2147483647 h 947"/>
              <a:gd name="T16" fmla="*/ 0 w 946"/>
              <a:gd name="T17" fmla="*/ 2147483647 h 947"/>
              <a:gd name="T18" fmla="*/ 0 w 946"/>
              <a:gd name="T19" fmla="*/ 2147483647 h 947"/>
              <a:gd name="T20" fmla="*/ 0 w 946"/>
              <a:gd name="T21" fmla="*/ 2147483647 h 9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46" h="947">
                <a:moveTo>
                  <a:pt x="0" y="757"/>
                </a:moveTo>
                <a:lnTo>
                  <a:pt x="473" y="757"/>
                </a:lnTo>
                <a:lnTo>
                  <a:pt x="473" y="946"/>
                </a:lnTo>
                <a:lnTo>
                  <a:pt x="945" y="473"/>
                </a:lnTo>
                <a:lnTo>
                  <a:pt x="473" y="0"/>
                </a:lnTo>
                <a:lnTo>
                  <a:pt x="473" y="189"/>
                </a:lnTo>
                <a:lnTo>
                  <a:pt x="0" y="189"/>
                </a:lnTo>
                <a:lnTo>
                  <a:pt x="0" y="473"/>
                </a:lnTo>
                <a:lnTo>
                  <a:pt x="0" y="757"/>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solidFill>
                <a:schemeClr val="accent5"/>
              </a:solidFill>
            </a:endParaRPr>
          </a:p>
        </p:txBody>
      </p:sp>
      <p:sp>
        <p:nvSpPr>
          <p:cNvPr id="74761" name="Freeform 9"/>
          <p:cNvSpPr>
            <a:spLocks/>
          </p:cNvSpPr>
          <p:nvPr/>
        </p:nvSpPr>
        <p:spPr bwMode="gray">
          <a:xfrm>
            <a:off x="4017963" y="2722615"/>
            <a:ext cx="1441450" cy="1528763"/>
          </a:xfrm>
          <a:custGeom>
            <a:avLst/>
            <a:gdLst>
              <a:gd name="T0" fmla="*/ 2147483647 w 946"/>
              <a:gd name="T1" fmla="*/ 2147483647 h 946"/>
              <a:gd name="T2" fmla="*/ 2147483647 w 946"/>
              <a:gd name="T3" fmla="*/ 2147483647 h 946"/>
              <a:gd name="T4" fmla="*/ 2147483647 w 946"/>
              <a:gd name="T5" fmla="*/ 0 h 946"/>
              <a:gd name="T6" fmla="*/ 0 w 946"/>
              <a:gd name="T7" fmla="*/ 2147483647 h 946"/>
              <a:gd name="T8" fmla="*/ 2147483647 w 946"/>
              <a:gd name="T9" fmla="*/ 2147483647 h 946"/>
              <a:gd name="T10" fmla="*/ 2147483647 w 946"/>
              <a:gd name="T11" fmla="*/ 2147483647 h 946"/>
              <a:gd name="T12" fmla="*/ 2147483647 w 946"/>
              <a:gd name="T13" fmla="*/ 2147483647 h 946"/>
              <a:gd name="T14" fmla="*/ 2147483647 w 946"/>
              <a:gd name="T15" fmla="*/ 2147483647 h 946"/>
              <a:gd name="T16" fmla="*/ 2147483647 w 946"/>
              <a:gd name="T17" fmla="*/ 2147483647 h 946"/>
              <a:gd name="T18" fmla="*/ 2147483647 w 946"/>
              <a:gd name="T19" fmla="*/ 2147483647 h 946"/>
              <a:gd name="T20" fmla="*/ 2147483647 w 946"/>
              <a:gd name="T21" fmla="*/ 2147483647 h 9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46" h="946">
                <a:moveTo>
                  <a:pt x="945" y="189"/>
                </a:moveTo>
                <a:lnTo>
                  <a:pt x="472" y="189"/>
                </a:lnTo>
                <a:lnTo>
                  <a:pt x="472" y="0"/>
                </a:lnTo>
                <a:lnTo>
                  <a:pt x="0" y="473"/>
                </a:lnTo>
                <a:lnTo>
                  <a:pt x="472" y="945"/>
                </a:lnTo>
                <a:lnTo>
                  <a:pt x="472" y="756"/>
                </a:lnTo>
                <a:lnTo>
                  <a:pt x="945" y="756"/>
                </a:lnTo>
                <a:lnTo>
                  <a:pt x="945" y="473"/>
                </a:lnTo>
                <a:lnTo>
                  <a:pt x="945" y="189"/>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solidFill>
                <a:schemeClr val="accent5"/>
              </a:solidFill>
            </a:endParaRPr>
          </a:p>
        </p:txBody>
      </p:sp>
      <p:sp>
        <p:nvSpPr>
          <p:cNvPr id="74762" name="Text Box 10"/>
          <p:cNvSpPr txBox="1">
            <a:spLocks noChangeArrowheads="1"/>
          </p:cNvSpPr>
          <p:nvPr/>
        </p:nvSpPr>
        <p:spPr bwMode="gray">
          <a:xfrm>
            <a:off x="4332289" y="3403653"/>
            <a:ext cx="1119187"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400">
                <a:solidFill>
                  <a:schemeClr val="accent5"/>
                </a:solidFill>
                <a:cs typeface="Arial" panose="020B0604020202020204" pitchFamily="34" charset="0"/>
              </a:rPr>
              <a:t>Text</a:t>
            </a:r>
          </a:p>
        </p:txBody>
      </p:sp>
      <p:sp>
        <p:nvSpPr>
          <p:cNvPr id="74763" name="Text Box 11"/>
          <p:cNvSpPr txBox="1">
            <a:spLocks noChangeArrowheads="1"/>
          </p:cNvSpPr>
          <p:nvPr/>
        </p:nvSpPr>
        <p:spPr bwMode="gray">
          <a:xfrm>
            <a:off x="7189788" y="3403653"/>
            <a:ext cx="1117600"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GB" altLang="en-US" sz="1400">
                <a:solidFill>
                  <a:schemeClr val="accent5"/>
                </a:solidFill>
                <a:cs typeface="Arial" panose="020B0604020202020204" pitchFamily="34" charset="0"/>
              </a:rPr>
              <a:t>Text</a:t>
            </a:r>
          </a:p>
        </p:txBody>
      </p:sp>
      <p:sp>
        <p:nvSpPr>
          <p:cNvPr id="74764" name="Text Box 12"/>
          <p:cNvSpPr txBox="1">
            <a:spLocks noChangeArrowheads="1"/>
          </p:cNvSpPr>
          <p:nvPr/>
        </p:nvSpPr>
        <p:spPr bwMode="gray">
          <a:xfrm>
            <a:off x="5875338" y="2030465"/>
            <a:ext cx="831850"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solidFill>
                  <a:schemeClr val="accent5"/>
                </a:solidFill>
                <a:cs typeface="Arial" panose="020B0604020202020204" pitchFamily="34" charset="0"/>
              </a:rPr>
              <a:t>Text</a:t>
            </a:r>
          </a:p>
        </p:txBody>
      </p:sp>
      <p:sp>
        <p:nvSpPr>
          <p:cNvPr id="18" name="Freeform 6"/>
          <p:cNvSpPr>
            <a:spLocks/>
          </p:cNvSpPr>
          <p:nvPr/>
        </p:nvSpPr>
        <p:spPr bwMode="gray">
          <a:xfrm rot="10800000">
            <a:off x="5591352" y="4293923"/>
            <a:ext cx="1441450" cy="1274763"/>
          </a:xfrm>
          <a:custGeom>
            <a:avLst/>
            <a:gdLst>
              <a:gd name="T0" fmla="*/ 2147483647 w 946"/>
              <a:gd name="T1" fmla="*/ 2147483647 h 789"/>
              <a:gd name="T2" fmla="*/ 2147483647 w 946"/>
              <a:gd name="T3" fmla="*/ 2147483647 h 789"/>
              <a:gd name="T4" fmla="*/ 0 w 946"/>
              <a:gd name="T5" fmla="*/ 2147483647 h 789"/>
              <a:gd name="T6" fmla="*/ 2147483647 w 946"/>
              <a:gd name="T7" fmla="*/ 0 h 789"/>
              <a:gd name="T8" fmla="*/ 2147483647 w 946"/>
              <a:gd name="T9" fmla="*/ 2147483647 h 789"/>
              <a:gd name="T10" fmla="*/ 2147483647 w 946"/>
              <a:gd name="T11" fmla="*/ 2147483647 h 789"/>
              <a:gd name="T12" fmla="*/ 2147483647 w 946"/>
              <a:gd name="T13" fmla="*/ 2147483647 h 789"/>
              <a:gd name="T14" fmla="*/ 2147483647 w 946"/>
              <a:gd name="T15" fmla="*/ 2147483647 h 789"/>
              <a:gd name="T16" fmla="*/ 2147483647 w 946"/>
              <a:gd name="T17" fmla="*/ 2147483647 h 789"/>
              <a:gd name="T18" fmla="*/ 2147483647 w 946"/>
              <a:gd name="T19" fmla="*/ 2147483647 h 789"/>
              <a:gd name="T20" fmla="*/ 2147483647 w 946"/>
              <a:gd name="T21" fmla="*/ 2147483647 h 7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46" h="789">
                <a:moveTo>
                  <a:pt x="189" y="788"/>
                </a:moveTo>
                <a:lnTo>
                  <a:pt x="189" y="473"/>
                </a:lnTo>
                <a:lnTo>
                  <a:pt x="0" y="473"/>
                </a:lnTo>
                <a:lnTo>
                  <a:pt x="472" y="0"/>
                </a:lnTo>
                <a:lnTo>
                  <a:pt x="945" y="473"/>
                </a:lnTo>
                <a:lnTo>
                  <a:pt x="756" y="473"/>
                </a:lnTo>
                <a:lnTo>
                  <a:pt x="756" y="788"/>
                </a:lnTo>
                <a:lnTo>
                  <a:pt x="472" y="788"/>
                </a:lnTo>
                <a:lnTo>
                  <a:pt x="189" y="788"/>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solidFill>
                <a:schemeClr val="accent5"/>
              </a:solidFill>
            </a:endParaRPr>
          </a:p>
        </p:txBody>
      </p:sp>
      <p:sp>
        <p:nvSpPr>
          <p:cNvPr id="74765" name="Text Box 13"/>
          <p:cNvSpPr txBox="1">
            <a:spLocks noChangeArrowheads="1"/>
          </p:cNvSpPr>
          <p:nvPr/>
        </p:nvSpPr>
        <p:spPr bwMode="gray">
          <a:xfrm>
            <a:off x="5875338" y="4784778"/>
            <a:ext cx="831850"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solidFill>
                  <a:schemeClr val="accent5"/>
                </a:solidFill>
                <a:cs typeface="Arial" panose="020B0604020202020204" pitchFamily="34" charset="0"/>
              </a:rPr>
              <a:t>Text</a:t>
            </a:r>
          </a:p>
        </p:txBody>
      </p:sp>
    </p:spTree>
    <p:extLst>
      <p:ext uri="{BB962C8B-B14F-4D97-AF65-F5344CB8AC3E}">
        <p14:creationId xmlns:p14="http://schemas.microsoft.com/office/powerpoint/2010/main" val="7800342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778" name="Rectangle 2" hidden="1"/>
          <p:cNvGraphicFramePr>
            <a:graphicFrameLocks/>
          </p:cNvGraphicFramePr>
          <p:nvPr>
            <p:custDataLst>
              <p:tags r:id="rId1"/>
            </p:custDataLst>
            <p:extLst>
              <p:ext uri="{D42A27DB-BD31-4B8C-83A1-F6EECF244321}">
                <p14:modId xmlns:p14="http://schemas.microsoft.com/office/powerpoint/2010/main" val="3555622196"/>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7577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75779" name="Rectangle 3"/>
          <p:cNvSpPr>
            <a:spLocks noChangeArrowheads="1"/>
          </p:cNvSpPr>
          <p:nvPr/>
        </p:nvSpPr>
        <p:spPr bwMode="gray">
          <a:xfrm>
            <a:off x="4389439" y="1738927"/>
            <a:ext cx="3398837" cy="3606800"/>
          </a:xfrm>
          <a:prstGeom prst="rect">
            <a:avLst/>
          </a:prstGeom>
          <a:solidFill>
            <a:schemeClr val="tx1">
              <a:lumMod val="40000"/>
              <a:lumOff val="60000"/>
            </a:schemeClr>
          </a:solidFill>
          <a:ln>
            <a:noFill/>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75781" name="Freeform 5"/>
          <p:cNvSpPr>
            <a:spLocks/>
          </p:cNvSpPr>
          <p:nvPr/>
        </p:nvSpPr>
        <p:spPr bwMode="gray">
          <a:xfrm>
            <a:off x="6696075" y="2767627"/>
            <a:ext cx="1335088" cy="1547812"/>
          </a:xfrm>
          <a:custGeom>
            <a:avLst/>
            <a:gdLst>
              <a:gd name="T0" fmla="*/ 2147483647 w 867"/>
              <a:gd name="T1" fmla="*/ 2147483647 h 946"/>
              <a:gd name="T2" fmla="*/ 2147483647 w 867"/>
              <a:gd name="T3" fmla="*/ 2147483647 h 946"/>
              <a:gd name="T4" fmla="*/ 2147483647 w 867"/>
              <a:gd name="T5" fmla="*/ 0 h 946"/>
              <a:gd name="T6" fmla="*/ 0 w 867"/>
              <a:gd name="T7" fmla="*/ 2147483647 h 946"/>
              <a:gd name="T8" fmla="*/ 2147483647 w 867"/>
              <a:gd name="T9" fmla="*/ 2147483647 h 946"/>
              <a:gd name="T10" fmla="*/ 2147483647 w 867"/>
              <a:gd name="T11" fmla="*/ 2147483647 h 946"/>
              <a:gd name="T12" fmla="*/ 2147483647 w 867"/>
              <a:gd name="T13" fmla="*/ 2147483647 h 946"/>
              <a:gd name="T14" fmla="*/ 2147483647 w 867"/>
              <a:gd name="T15" fmla="*/ 2147483647 h 946"/>
              <a:gd name="T16" fmla="*/ 2147483647 w 867"/>
              <a:gd name="T17" fmla="*/ 2147483647 h 946"/>
              <a:gd name="T18" fmla="*/ 2147483647 w 867"/>
              <a:gd name="T19" fmla="*/ 2147483647 h 946"/>
              <a:gd name="T20" fmla="*/ 2147483647 w 867"/>
              <a:gd name="T21" fmla="*/ 2147483647 h 9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67" h="946">
                <a:moveTo>
                  <a:pt x="866" y="189"/>
                </a:moveTo>
                <a:lnTo>
                  <a:pt x="472" y="189"/>
                </a:lnTo>
                <a:lnTo>
                  <a:pt x="472" y="0"/>
                </a:lnTo>
                <a:lnTo>
                  <a:pt x="0" y="473"/>
                </a:lnTo>
                <a:lnTo>
                  <a:pt x="472" y="945"/>
                </a:lnTo>
                <a:lnTo>
                  <a:pt x="472" y="756"/>
                </a:lnTo>
                <a:lnTo>
                  <a:pt x="866" y="756"/>
                </a:lnTo>
                <a:lnTo>
                  <a:pt x="866" y="473"/>
                </a:lnTo>
                <a:lnTo>
                  <a:pt x="866" y="189"/>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p>
        </p:txBody>
      </p:sp>
      <p:sp>
        <p:nvSpPr>
          <p:cNvPr id="75782" name="Freeform 6"/>
          <p:cNvSpPr>
            <a:spLocks/>
          </p:cNvSpPr>
          <p:nvPr/>
        </p:nvSpPr>
        <p:spPr bwMode="gray">
          <a:xfrm>
            <a:off x="5362576" y="4185264"/>
            <a:ext cx="1457325" cy="1417638"/>
          </a:xfrm>
          <a:custGeom>
            <a:avLst/>
            <a:gdLst>
              <a:gd name="T0" fmla="*/ 2147483647 w 946"/>
              <a:gd name="T1" fmla="*/ 2147483647 h 867"/>
              <a:gd name="T2" fmla="*/ 2147483647 w 946"/>
              <a:gd name="T3" fmla="*/ 2147483647 h 867"/>
              <a:gd name="T4" fmla="*/ 0 w 946"/>
              <a:gd name="T5" fmla="*/ 2147483647 h 867"/>
              <a:gd name="T6" fmla="*/ 2147483647 w 946"/>
              <a:gd name="T7" fmla="*/ 0 h 867"/>
              <a:gd name="T8" fmla="*/ 2147483647 w 946"/>
              <a:gd name="T9" fmla="*/ 2147483647 h 867"/>
              <a:gd name="T10" fmla="*/ 2147483647 w 946"/>
              <a:gd name="T11" fmla="*/ 2147483647 h 867"/>
              <a:gd name="T12" fmla="*/ 2147483647 w 946"/>
              <a:gd name="T13" fmla="*/ 2147483647 h 867"/>
              <a:gd name="T14" fmla="*/ 2147483647 w 946"/>
              <a:gd name="T15" fmla="*/ 2147483647 h 867"/>
              <a:gd name="T16" fmla="*/ 2147483647 w 946"/>
              <a:gd name="T17" fmla="*/ 2147483647 h 867"/>
              <a:gd name="T18" fmla="*/ 2147483647 w 946"/>
              <a:gd name="T19" fmla="*/ 2147483647 h 867"/>
              <a:gd name="T20" fmla="*/ 2147483647 w 946"/>
              <a:gd name="T21" fmla="*/ 2147483647 h 8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46" h="867">
                <a:moveTo>
                  <a:pt x="189" y="866"/>
                </a:moveTo>
                <a:lnTo>
                  <a:pt x="189" y="472"/>
                </a:lnTo>
                <a:lnTo>
                  <a:pt x="0" y="472"/>
                </a:lnTo>
                <a:lnTo>
                  <a:pt x="472" y="0"/>
                </a:lnTo>
                <a:lnTo>
                  <a:pt x="945" y="472"/>
                </a:lnTo>
                <a:lnTo>
                  <a:pt x="756" y="472"/>
                </a:lnTo>
                <a:lnTo>
                  <a:pt x="756" y="866"/>
                </a:lnTo>
                <a:lnTo>
                  <a:pt x="472" y="866"/>
                </a:lnTo>
                <a:lnTo>
                  <a:pt x="189" y="866"/>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p>
        </p:txBody>
      </p:sp>
      <p:sp>
        <p:nvSpPr>
          <p:cNvPr id="75783" name="Freeform 7"/>
          <p:cNvSpPr>
            <a:spLocks/>
          </p:cNvSpPr>
          <p:nvPr/>
        </p:nvSpPr>
        <p:spPr bwMode="gray">
          <a:xfrm>
            <a:off x="4144964" y="2767627"/>
            <a:ext cx="1336675" cy="1549400"/>
          </a:xfrm>
          <a:custGeom>
            <a:avLst/>
            <a:gdLst>
              <a:gd name="T0" fmla="*/ 0 w 867"/>
              <a:gd name="T1" fmla="*/ 2147483647 h 947"/>
              <a:gd name="T2" fmla="*/ 2147483647 w 867"/>
              <a:gd name="T3" fmla="*/ 2147483647 h 947"/>
              <a:gd name="T4" fmla="*/ 2147483647 w 867"/>
              <a:gd name="T5" fmla="*/ 2147483647 h 947"/>
              <a:gd name="T6" fmla="*/ 2147483647 w 867"/>
              <a:gd name="T7" fmla="*/ 2147483647 h 947"/>
              <a:gd name="T8" fmla="*/ 2147483647 w 867"/>
              <a:gd name="T9" fmla="*/ 0 h 947"/>
              <a:gd name="T10" fmla="*/ 2147483647 w 867"/>
              <a:gd name="T11" fmla="*/ 2147483647 h 947"/>
              <a:gd name="T12" fmla="*/ 0 w 867"/>
              <a:gd name="T13" fmla="*/ 2147483647 h 947"/>
              <a:gd name="T14" fmla="*/ 0 w 867"/>
              <a:gd name="T15" fmla="*/ 2147483647 h 947"/>
              <a:gd name="T16" fmla="*/ 0 w 867"/>
              <a:gd name="T17" fmla="*/ 2147483647 h 947"/>
              <a:gd name="T18" fmla="*/ 0 w 867"/>
              <a:gd name="T19" fmla="*/ 2147483647 h 947"/>
              <a:gd name="T20" fmla="*/ 0 w 867"/>
              <a:gd name="T21" fmla="*/ 2147483647 h 9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67" h="947">
                <a:moveTo>
                  <a:pt x="0" y="757"/>
                </a:moveTo>
                <a:lnTo>
                  <a:pt x="394" y="757"/>
                </a:lnTo>
                <a:lnTo>
                  <a:pt x="394" y="946"/>
                </a:lnTo>
                <a:lnTo>
                  <a:pt x="866" y="473"/>
                </a:lnTo>
                <a:lnTo>
                  <a:pt x="394" y="0"/>
                </a:lnTo>
                <a:lnTo>
                  <a:pt x="394" y="189"/>
                </a:lnTo>
                <a:lnTo>
                  <a:pt x="0" y="189"/>
                </a:lnTo>
                <a:lnTo>
                  <a:pt x="0" y="473"/>
                </a:lnTo>
                <a:lnTo>
                  <a:pt x="0" y="757"/>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p>
        </p:txBody>
      </p:sp>
      <p:sp>
        <p:nvSpPr>
          <p:cNvPr id="75784" name="Text Box 8"/>
          <p:cNvSpPr txBox="1">
            <a:spLocks noChangeArrowheads="1"/>
          </p:cNvSpPr>
          <p:nvPr/>
        </p:nvSpPr>
        <p:spPr bwMode="gray">
          <a:xfrm>
            <a:off x="4119564" y="3428028"/>
            <a:ext cx="1131887"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GB" altLang="en-US" sz="1400">
                <a:solidFill>
                  <a:schemeClr val="accent5"/>
                </a:solidFill>
                <a:cs typeface="Arial" panose="020B0604020202020204" pitchFamily="34" charset="0"/>
              </a:rPr>
              <a:t>Text</a:t>
            </a:r>
          </a:p>
        </p:txBody>
      </p:sp>
      <p:sp>
        <p:nvSpPr>
          <p:cNvPr id="75785" name="Text Box 9"/>
          <p:cNvSpPr txBox="1">
            <a:spLocks noChangeArrowheads="1"/>
          </p:cNvSpPr>
          <p:nvPr/>
        </p:nvSpPr>
        <p:spPr bwMode="gray">
          <a:xfrm>
            <a:off x="6899275" y="3428028"/>
            <a:ext cx="1131888"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400">
                <a:solidFill>
                  <a:schemeClr val="accent5"/>
                </a:solidFill>
                <a:cs typeface="Arial" panose="020B0604020202020204" pitchFamily="34" charset="0"/>
              </a:rPr>
              <a:t>Text</a:t>
            </a:r>
          </a:p>
        </p:txBody>
      </p:sp>
      <p:sp>
        <p:nvSpPr>
          <p:cNvPr id="75787" name="Text Box 11"/>
          <p:cNvSpPr txBox="1">
            <a:spLocks noChangeArrowheads="1"/>
          </p:cNvSpPr>
          <p:nvPr/>
        </p:nvSpPr>
        <p:spPr bwMode="gray">
          <a:xfrm>
            <a:off x="5667375" y="4939328"/>
            <a:ext cx="827088"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solidFill>
                  <a:schemeClr val="accent5"/>
                </a:solidFill>
                <a:cs typeface="Arial" panose="020B0604020202020204" pitchFamily="34" charset="0"/>
              </a:rPr>
              <a:t>Text</a:t>
            </a:r>
          </a:p>
        </p:txBody>
      </p:sp>
      <p:sp>
        <p:nvSpPr>
          <p:cNvPr id="4" name="Text Placeholder 3"/>
          <p:cNvSpPr>
            <a:spLocks noGrp="1"/>
          </p:cNvSpPr>
          <p:nvPr>
            <p:ph type="body" sz="quarter" idx="11"/>
          </p:nvPr>
        </p:nvSpPr>
        <p:spPr/>
        <p:txBody>
          <a:bodyPr/>
          <a:lstStyle/>
          <a:p>
            <a:endParaRPr lang="en-US"/>
          </a:p>
        </p:txBody>
      </p:sp>
      <p:sp>
        <p:nvSpPr>
          <p:cNvPr id="75789" name="Rectangle 13"/>
          <p:cNvSpPr>
            <a:spLocks noGrp="1" noChangeArrowheads="1"/>
          </p:cNvSpPr>
          <p:nvPr>
            <p:ph type="title"/>
          </p:nvPr>
        </p:nvSpPr>
        <p:spPr/>
        <p:txBody>
          <a:bodyPr/>
          <a:lstStyle/>
          <a:p>
            <a:r>
              <a:rPr lang="en-GB" altLang="en-US"/>
              <a:t>Forces: centrifugal and centripetal, opposed, colliding</a:t>
            </a:r>
          </a:p>
        </p:txBody>
      </p:sp>
      <p:sp>
        <p:nvSpPr>
          <p:cNvPr id="18" name="Freeform 6"/>
          <p:cNvSpPr>
            <a:spLocks/>
          </p:cNvSpPr>
          <p:nvPr/>
        </p:nvSpPr>
        <p:spPr bwMode="gray">
          <a:xfrm rot="10800000">
            <a:off x="5373687" y="1523009"/>
            <a:ext cx="1457325" cy="1417638"/>
          </a:xfrm>
          <a:custGeom>
            <a:avLst/>
            <a:gdLst>
              <a:gd name="T0" fmla="*/ 2147483647 w 946"/>
              <a:gd name="T1" fmla="*/ 2147483647 h 867"/>
              <a:gd name="T2" fmla="*/ 2147483647 w 946"/>
              <a:gd name="T3" fmla="*/ 2147483647 h 867"/>
              <a:gd name="T4" fmla="*/ 0 w 946"/>
              <a:gd name="T5" fmla="*/ 2147483647 h 867"/>
              <a:gd name="T6" fmla="*/ 2147483647 w 946"/>
              <a:gd name="T7" fmla="*/ 0 h 867"/>
              <a:gd name="T8" fmla="*/ 2147483647 w 946"/>
              <a:gd name="T9" fmla="*/ 2147483647 h 867"/>
              <a:gd name="T10" fmla="*/ 2147483647 w 946"/>
              <a:gd name="T11" fmla="*/ 2147483647 h 867"/>
              <a:gd name="T12" fmla="*/ 2147483647 w 946"/>
              <a:gd name="T13" fmla="*/ 2147483647 h 867"/>
              <a:gd name="T14" fmla="*/ 2147483647 w 946"/>
              <a:gd name="T15" fmla="*/ 2147483647 h 867"/>
              <a:gd name="T16" fmla="*/ 2147483647 w 946"/>
              <a:gd name="T17" fmla="*/ 2147483647 h 867"/>
              <a:gd name="T18" fmla="*/ 2147483647 w 946"/>
              <a:gd name="T19" fmla="*/ 2147483647 h 867"/>
              <a:gd name="T20" fmla="*/ 2147483647 w 946"/>
              <a:gd name="T21" fmla="*/ 2147483647 h 8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46" h="867">
                <a:moveTo>
                  <a:pt x="189" y="866"/>
                </a:moveTo>
                <a:lnTo>
                  <a:pt x="189" y="472"/>
                </a:lnTo>
                <a:lnTo>
                  <a:pt x="0" y="472"/>
                </a:lnTo>
                <a:lnTo>
                  <a:pt x="472" y="0"/>
                </a:lnTo>
                <a:lnTo>
                  <a:pt x="945" y="472"/>
                </a:lnTo>
                <a:lnTo>
                  <a:pt x="756" y="472"/>
                </a:lnTo>
                <a:lnTo>
                  <a:pt x="756" y="866"/>
                </a:lnTo>
                <a:lnTo>
                  <a:pt x="472" y="866"/>
                </a:lnTo>
                <a:lnTo>
                  <a:pt x="189" y="866"/>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p>
        </p:txBody>
      </p:sp>
      <p:sp>
        <p:nvSpPr>
          <p:cNvPr id="75786" name="Text Box 10"/>
          <p:cNvSpPr txBox="1">
            <a:spLocks noChangeArrowheads="1"/>
          </p:cNvSpPr>
          <p:nvPr/>
        </p:nvSpPr>
        <p:spPr bwMode="gray">
          <a:xfrm>
            <a:off x="5667375" y="1926253"/>
            <a:ext cx="827088"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solidFill>
                  <a:schemeClr val="accent5"/>
                </a:solidFill>
                <a:cs typeface="Arial" panose="020B0604020202020204" pitchFamily="34" charset="0"/>
              </a:rPr>
              <a:t>Text</a:t>
            </a:r>
          </a:p>
        </p:txBody>
      </p:sp>
    </p:spTree>
    <p:extLst>
      <p:ext uri="{BB962C8B-B14F-4D97-AF65-F5344CB8AC3E}">
        <p14:creationId xmlns:p14="http://schemas.microsoft.com/office/powerpoint/2010/main" val="37152866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77518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Content Placeholder 9"/>
          <p:cNvSpPr>
            <a:spLocks noGrp="1"/>
          </p:cNvSpPr>
          <p:nvPr>
            <p:ph sz="quarter" idx="10"/>
          </p:nvPr>
        </p:nvSpPr>
        <p:spPr/>
        <p:txBody>
          <a:bodyPr/>
          <a:lstStyle/>
          <a:p>
            <a:endParaRPr lang="en-US"/>
          </a:p>
        </p:txBody>
      </p:sp>
      <p:sp>
        <p:nvSpPr>
          <p:cNvPr id="11" name="Text Placeholder 10"/>
          <p:cNvSpPr>
            <a:spLocks noGrp="1"/>
          </p:cNvSpPr>
          <p:nvPr>
            <p:ph type="body" sz="quarter" idx="11"/>
          </p:nvPr>
        </p:nvSpPr>
        <p:spPr/>
        <p:txBody>
          <a:bodyPr/>
          <a:lstStyle/>
          <a:p>
            <a:endParaRPr lang="en-US"/>
          </a:p>
        </p:txBody>
      </p:sp>
      <p:sp>
        <p:nvSpPr>
          <p:cNvPr id="6" name="Title 5"/>
          <p:cNvSpPr>
            <a:spLocks noGrp="1"/>
          </p:cNvSpPr>
          <p:nvPr>
            <p:ph type="title"/>
          </p:nvPr>
        </p:nvSpPr>
        <p:spPr/>
        <p:txBody>
          <a:bodyPr/>
          <a:lstStyle/>
          <a:p>
            <a:r>
              <a:rPr lang="en-US"/>
              <a:t>Appendix slides</a:t>
            </a:r>
          </a:p>
        </p:txBody>
      </p:sp>
    </p:spTree>
    <p:extLst>
      <p:ext uri="{BB962C8B-B14F-4D97-AF65-F5344CB8AC3E}">
        <p14:creationId xmlns:p14="http://schemas.microsoft.com/office/powerpoint/2010/main" val="36284677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826" name="Rectangle 2" hidden="1"/>
          <p:cNvGraphicFramePr>
            <a:graphicFrameLocks/>
          </p:cNvGraphicFramePr>
          <p:nvPr>
            <p:custDataLst>
              <p:tags r:id="rId1"/>
            </p:custDataLst>
            <p:extLst>
              <p:ext uri="{D42A27DB-BD31-4B8C-83A1-F6EECF244321}">
                <p14:modId xmlns:p14="http://schemas.microsoft.com/office/powerpoint/2010/main" val="533884036"/>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778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77828" name="Freeform 4"/>
          <p:cNvSpPr>
            <a:spLocks/>
          </p:cNvSpPr>
          <p:nvPr/>
        </p:nvSpPr>
        <p:spPr bwMode="gray">
          <a:xfrm>
            <a:off x="6315076" y="1996129"/>
            <a:ext cx="1287463" cy="1365250"/>
          </a:xfrm>
          <a:custGeom>
            <a:avLst/>
            <a:gdLst>
              <a:gd name="T0" fmla="*/ 2147483647 w 803"/>
              <a:gd name="T1" fmla="*/ 0 h 802"/>
              <a:gd name="T2" fmla="*/ 2147483647 w 803"/>
              <a:gd name="T3" fmla="*/ 2147483647 h 802"/>
              <a:gd name="T4" fmla="*/ 0 w 803"/>
              <a:gd name="T5" fmla="*/ 2147483647 h 802"/>
              <a:gd name="T6" fmla="*/ 0 w 803"/>
              <a:gd name="T7" fmla="*/ 2147483647 h 802"/>
              <a:gd name="T8" fmla="*/ 2147483647 w 803"/>
              <a:gd name="T9" fmla="*/ 2147483647 h 802"/>
              <a:gd name="T10" fmla="*/ 2147483647 w 803"/>
              <a:gd name="T11" fmla="*/ 2147483647 h 802"/>
              <a:gd name="T12" fmla="*/ 2147483647 w 803"/>
              <a:gd name="T13" fmla="*/ 2147483647 h 802"/>
              <a:gd name="T14" fmla="*/ 2147483647 w 803"/>
              <a:gd name="T15" fmla="*/ 2147483647 h 802"/>
              <a:gd name="T16" fmla="*/ 2147483647 w 803"/>
              <a:gd name="T17" fmla="*/ 2147483647 h 802"/>
              <a:gd name="T18" fmla="*/ 2147483647 w 803"/>
              <a:gd name="T19" fmla="*/ 0 h 802"/>
              <a:gd name="T20" fmla="*/ 2147483647 w 803"/>
              <a:gd name="T21" fmla="*/ 0 h 8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3" h="802">
                <a:moveTo>
                  <a:pt x="534" y="0"/>
                </a:moveTo>
                <a:lnTo>
                  <a:pt x="89" y="445"/>
                </a:lnTo>
                <a:lnTo>
                  <a:pt x="0" y="356"/>
                </a:lnTo>
                <a:lnTo>
                  <a:pt x="0" y="801"/>
                </a:lnTo>
                <a:lnTo>
                  <a:pt x="445" y="801"/>
                </a:lnTo>
                <a:lnTo>
                  <a:pt x="356" y="712"/>
                </a:lnTo>
                <a:lnTo>
                  <a:pt x="802" y="267"/>
                </a:lnTo>
                <a:lnTo>
                  <a:pt x="668" y="133"/>
                </a:lnTo>
                <a:lnTo>
                  <a:pt x="534" y="0"/>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p>
        </p:txBody>
      </p:sp>
      <p:sp>
        <p:nvSpPr>
          <p:cNvPr id="77829" name="Freeform 5"/>
          <p:cNvSpPr>
            <a:spLocks/>
          </p:cNvSpPr>
          <p:nvPr/>
        </p:nvSpPr>
        <p:spPr bwMode="gray">
          <a:xfrm>
            <a:off x="6315076" y="3758255"/>
            <a:ext cx="1287463" cy="1366837"/>
          </a:xfrm>
          <a:custGeom>
            <a:avLst/>
            <a:gdLst>
              <a:gd name="T0" fmla="*/ 2147483647 w 803"/>
              <a:gd name="T1" fmla="*/ 2147483647 h 803"/>
              <a:gd name="T2" fmla="*/ 2147483647 w 803"/>
              <a:gd name="T3" fmla="*/ 2147483647 h 803"/>
              <a:gd name="T4" fmla="*/ 0 w 803"/>
              <a:gd name="T5" fmla="*/ 2147483647 h 803"/>
              <a:gd name="T6" fmla="*/ 0 w 803"/>
              <a:gd name="T7" fmla="*/ 0 h 803"/>
              <a:gd name="T8" fmla="*/ 2147483647 w 803"/>
              <a:gd name="T9" fmla="*/ 0 h 803"/>
              <a:gd name="T10" fmla="*/ 2147483647 w 803"/>
              <a:gd name="T11" fmla="*/ 2147483647 h 803"/>
              <a:gd name="T12" fmla="*/ 2147483647 w 803"/>
              <a:gd name="T13" fmla="*/ 2147483647 h 803"/>
              <a:gd name="T14" fmla="*/ 2147483647 w 803"/>
              <a:gd name="T15" fmla="*/ 2147483647 h 803"/>
              <a:gd name="T16" fmla="*/ 2147483647 w 803"/>
              <a:gd name="T17" fmla="*/ 2147483647 h 803"/>
              <a:gd name="T18" fmla="*/ 2147483647 w 803"/>
              <a:gd name="T19" fmla="*/ 2147483647 h 803"/>
              <a:gd name="T20" fmla="*/ 2147483647 w 803"/>
              <a:gd name="T21" fmla="*/ 2147483647 h 8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3" h="803">
                <a:moveTo>
                  <a:pt x="534" y="802"/>
                </a:moveTo>
                <a:lnTo>
                  <a:pt x="89" y="357"/>
                </a:lnTo>
                <a:lnTo>
                  <a:pt x="0" y="446"/>
                </a:lnTo>
                <a:lnTo>
                  <a:pt x="0" y="0"/>
                </a:lnTo>
                <a:lnTo>
                  <a:pt x="445" y="0"/>
                </a:lnTo>
                <a:lnTo>
                  <a:pt x="356" y="89"/>
                </a:lnTo>
                <a:lnTo>
                  <a:pt x="802" y="535"/>
                </a:lnTo>
                <a:lnTo>
                  <a:pt x="668" y="669"/>
                </a:lnTo>
                <a:lnTo>
                  <a:pt x="534" y="802"/>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p>
        </p:txBody>
      </p:sp>
      <p:sp>
        <p:nvSpPr>
          <p:cNvPr id="77830" name="Freeform 6"/>
          <p:cNvSpPr>
            <a:spLocks/>
          </p:cNvSpPr>
          <p:nvPr/>
        </p:nvSpPr>
        <p:spPr bwMode="gray">
          <a:xfrm>
            <a:off x="4641850" y="3766191"/>
            <a:ext cx="1290638" cy="1366838"/>
          </a:xfrm>
          <a:custGeom>
            <a:avLst/>
            <a:gdLst>
              <a:gd name="T0" fmla="*/ 0 w 803"/>
              <a:gd name="T1" fmla="*/ 2147483647 h 803"/>
              <a:gd name="T2" fmla="*/ 2147483647 w 803"/>
              <a:gd name="T3" fmla="*/ 2147483647 h 803"/>
              <a:gd name="T4" fmla="*/ 2147483647 w 803"/>
              <a:gd name="T5" fmla="*/ 0 h 803"/>
              <a:gd name="T6" fmla="*/ 2147483647 w 803"/>
              <a:gd name="T7" fmla="*/ 0 h 803"/>
              <a:gd name="T8" fmla="*/ 2147483647 w 803"/>
              <a:gd name="T9" fmla="*/ 2147483647 h 803"/>
              <a:gd name="T10" fmla="*/ 2147483647 w 803"/>
              <a:gd name="T11" fmla="*/ 2147483647 h 803"/>
              <a:gd name="T12" fmla="*/ 2147483647 w 803"/>
              <a:gd name="T13" fmla="*/ 2147483647 h 803"/>
              <a:gd name="T14" fmla="*/ 2147483647 w 803"/>
              <a:gd name="T15" fmla="*/ 2147483647 h 803"/>
              <a:gd name="T16" fmla="*/ 2147483647 w 803"/>
              <a:gd name="T17" fmla="*/ 2147483647 h 803"/>
              <a:gd name="T18" fmla="*/ 0 w 803"/>
              <a:gd name="T19" fmla="*/ 2147483647 h 803"/>
              <a:gd name="T20" fmla="*/ 0 w 803"/>
              <a:gd name="T21" fmla="*/ 2147483647 h 8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3" h="803">
                <a:moveTo>
                  <a:pt x="0" y="534"/>
                </a:moveTo>
                <a:lnTo>
                  <a:pt x="446" y="89"/>
                </a:lnTo>
                <a:lnTo>
                  <a:pt x="357" y="0"/>
                </a:lnTo>
                <a:lnTo>
                  <a:pt x="802" y="0"/>
                </a:lnTo>
                <a:lnTo>
                  <a:pt x="802" y="445"/>
                </a:lnTo>
                <a:lnTo>
                  <a:pt x="713" y="356"/>
                </a:lnTo>
                <a:lnTo>
                  <a:pt x="268" y="802"/>
                </a:lnTo>
                <a:lnTo>
                  <a:pt x="134" y="668"/>
                </a:lnTo>
                <a:lnTo>
                  <a:pt x="0" y="534"/>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p>
        </p:txBody>
      </p:sp>
      <p:sp>
        <p:nvSpPr>
          <p:cNvPr id="77831" name="Freeform 7"/>
          <p:cNvSpPr>
            <a:spLocks/>
          </p:cNvSpPr>
          <p:nvPr/>
        </p:nvSpPr>
        <p:spPr bwMode="gray">
          <a:xfrm>
            <a:off x="4641850" y="1989780"/>
            <a:ext cx="1290638" cy="1366837"/>
          </a:xfrm>
          <a:custGeom>
            <a:avLst/>
            <a:gdLst>
              <a:gd name="T0" fmla="*/ 0 w 803"/>
              <a:gd name="T1" fmla="*/ 2147483647 h 803"/>
              <a:gd name="T2" fmla="*/ 2147483647 w 803"/>
              <a:gd name="T3" fmla="*/ 2147483647 h 803"/>
              <a:gd name="T4" fmla="*/ 2147483647 w 803"/>
              <a:gd name="T5" fmla="*/ 2147483647 h 803"/>
              <a:gd name="T6" fmla="*/ 2147483647 w 803"/>
              <a:gd name="T7" fmla="*/ 2147483647 h 803"/>
              <a:gd name="T8" fmla="*/ 2147483647 w 803"/>
              <a:gd name="T9" fmla="*/ 2147483647 h 803"/>
              <a:gd name="T10" fmla="*/ 2147483647 w 803"/>
              <a:gd name="T11" fmla="*/ 2147483647 h 803"/>
              <a:gd name="T12" fmla="*/ 2147483647 w 803"/>
              <a:gd name="T13" fmla="*/ 0 h 803"/>
              <a:gd name="T14" fmla="*/ 2147483647 w 803"/>
              <a:gd name="T15" fmla="*/ 0 h 803"/>
              <a:gd name="T16" fmla="*/ 2147483647 w 803"/>
              <a:gd name="T17" fmla="*/ 2147483647 h 803"/>
              <a:gd name="T18" fmla="*/ 0 w 803"/>
              <a:gd name="T19" fmla="*/ 2147483647 h 803"/>
              <a:gd name="T20" fmla="*/ 0 w 803"/>
              <a:gd name="T21" fmla="*/ 2147483647 h 8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3" h="803">
                <a:moveTo>
                  <a:pt x="0" y="267"/>
                </a:moveTo>
                <a:lnTo>
                  <a:pt x="446" y="713"/>
                </a:lnTo>
                <a:lnTo>
                  <a:pt x="357" y="802"/>
                </a:lnTo>
                <a:lnTo>
                  <a:pt x="802" y="802"/>
                </a:lnTo>
                <a:lnTo>
                  <a:pt x="802" y="356"/>
                </a:lnTo>
                <a:lnTo>
                  <a:pt x="713" y="446"/>
                </a:lnTo>
                <a:lnTo>
                  <a:pt x="268" y="0"/>
                </a:lnTo>
                <a:lnTo>
                  <a:pt x="134" y="134"/>
                </a:lnTo>
                <a:lnTo>
                  <a:pt x="0" y="267"/>
                </a:lnTo>
                <a:close/>
              </a:path>
            </a:pathLst>
          </a:custGeom>
          <a:solidFill>
            <a:schemeClr val="bg2"/>
          </a:solidFill>
          <a:ln w="28575" cap="flat" cmpd="sng">
            <a:solidFill>
              <a:srgbClr val="FFFFFF"/>
            </a:solidFill>
            <a:prstDash val="solid"/>
            <a:round/>
            <a:headEnd/>
            <a:tailEnd/>
          </a:ln>
          <a:effectLst/>
        </p:spPr>
        <p:txBody>
          <a:bodyPr wrap="none" anchor="ctr"/>
          <a:lstStyle/>
          <a:p>
            <a:endParaRPr lang="en-US"/>
          </a:p>
        </p:txBody>
      </p:sp>
      <p:sp>
        <p:nvSpPr>
          <p:cNvPr id="77832" name="Text Box 8"/>
          <p:cNvSpPr txBox="1">
            <a:spLocks noChangeArrowheads="1"/>
          </p:cNvSpPr>
          <p:nvPr/>
        </p:nvSpPr>
        <p:spPr bwMode="gray">
          <a:xfrm>
            <a:off x="3070226" y="3440755"/>
            <a:ext cx="1179513"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GB" altLang="en-US" sz="1400"/>
              <a:t>Text</a:t>
            </a:r>
          </a:p>
        </p:txBody>
      </p:sp>
      <p:sp>
        <p:nvSpPr>
          <p:cNvPr id="77833" name="Text Box 9"/>
          <p:cNvSpPr txBox="1">
            <a:spLocks noChangeArrowheads="1"/>
          </p:cNvSpPr>
          <p:nvPr/>
        </p:nvSpPr>
        <p:spPr bwMode="gray">
          <a:xfrm>
            <a:off x="5500689" y="1508767"/>
            <a:ext cx="1177925"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77834" name="Text Box 10"/>
          <p:cNvSpPr txBox="1">
            <a:spLocks noChangeArrowheads="1"/>
          </p:cNvSpPr>
          <p:nvPr/>
        </p:nvSpPr>
        <p:spPr bwMode="gray">
          <a:xfrm>
            <a:off x="5500689" y="5363217"/>
            <a:ext cx="1177925"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77835" name="Text Box 11"/>
          <p:cNvSpPr txBox="1">
            <a:spLocks noChangeArrowheads="1"/>
          </p:cNvSpPr>
          <p:nvPr/>
        </p:nvSpPr>
        <p:spPr bwMode="gray">
          <a:xfrm>
            <a:off x="3300413" y="1805630"/>
            <a:ext cx="1179512"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GB" altLang="en-US" sz="1400"/>
              <a:t>Text</a:t>
            </a:r>
          </a:p>
        </p:txBody>
      </p:sp>
      <p:sp>
        <p:nvSpPr>
          <p:cNvPr id="77836" name="Text Box 12"/>
          <p:cNvSpPr txBox="1">
            <a:spLocks noChangeArrowheads="1"/>
          </p:cNvSpPr>
          <p:nvPr/>
        </p:nvSpPr>
        <p:spPr bwMode="gray">
          <a:xfrm>
            <a:off x="3300413" y="4982217"/>
            <a:ext cx="1179512"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GB" altLang="en-US" sz="1400"/>
              <a:t>Text</a:t>
            </a:r>
          </a:p>
        </p:txBody>
      </p:sp>
      <p:sp>
        <p:nvSpPr>
          <p:cNvPr id="77837" name="Text Box 13"/>
          <p:cNvSpPr txBox="1">
            <a:spLocks noChangeArrowheads="1"/>
          </p:cNvSpPr>
          <p:nvPr/>
        </p:nvSpPr>
        <p:spPr bwMode="gray">
          <a:xfrm>
            <a:off x="7893051" y="3440754"/>
            <a:ext cx="1179513" cy="215444"/>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400"/>
              <a:t>Text</a:t>
            </a:r>
          </a:p>
        </p:txBody>
      </p:sp>
      <p:sp>
        <p:nvSpPr>
          <p:cNvPr id="77838" name="Text Box 14"/>
          <p:cNvSpPr txBox="1">
            <a:spLocks noChangeArrowheads="1"/>
          </p:cNvSpPr>
          <p:nvPr/>
        </p:nvSpPr>
        <p:spPr bwMode="gray">
          <a:xfrm>
            <a:off x="7602538" y="1805630"/>
            <a:ext cx="1179512"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400"/>
              <a:t>Text</a:t>
            </a:r>
          </a:p>
        </p:txBody>
      </p:sp>
      <p:sp>
        <p:nvSpPr>
          <p:cNvPr id="77839" name="Text Box 15"/>
          <p:cNvSpPr txBox="1">
            <a:spLocks noChangeArrowheads="1"/>
          </p:cNvSpPr>
          <p:nvPr/>
        </p:nvSpPr>
        <p:spPr bwMode="gray">
          <a:xfrm>
            <a:off x="7602538" y="4982217"/>
            <a:ext cx="1179512"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400"/>
              <a:t>Text</a:t>
            </a:r>
          </a:p>
        </p:txBody>
      </p:sp>
      <p:sp>
        <p:nvSpPr>
          <p:cNvPr id="77840" name="Text Box 16"/>
          <p:cNvSpPr txBox="1">
            <a:spLocks noChangeArrowheads="1"/>
          </p:cNvSpPr>
          <p:nvPr/>
        </p:nvSpPr>
        <p:spPr bwMode="gray">
          <a:xfrm>
            <a:off x="5500689" y="3462980"/>
            <a:ext cx="1177925"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4" name="Text Placeholder 3"/>
          <p:cNvSpPr>
            <a:spLocks noGrp="1"/>
          </p:cNvSpPr>
          <p:nvPr>
            <p:ph type="body" sz="quarter" idx="11"/>
          </p:nvPr>
        </p:nvSpPr>
        <p:spPr/>
        <p:txBody>
          <a:bodyPr/>
          <a:lstStyle/>
          <a:p>
            <a:endParaRPr lang="en-US"/>
          </a:p>
        </p:txBody>
      </p:sp>
      <p:sp>
        <p:nvSpPr>
          <p:cNvPr id="77842" name="Rectangle 18"/>
          <p:cNvSpPr>
            <a:spLocks noGrp="1" noChangeArrowheads="1"/>
          </p:cNvSpPr>
          <p:nvPr>
            <p:ph type="title"/>
          </p:nvPr>
        </p:nvSpPr>
        <p:spPr/>
        <p:txBody>
          <a:bodyPr/>
          <a:lstStyle/>
          <a:p>
            <a:r>
              <a:rPr lang="en-GB" altLang="en-US"/>
              <a:t>Forces: centrifugal and centripetal, opposed, colliding</a:t>
            </a:r>
          </a:p>
        </p:txBody>
      </p:sp>
    </p:spTree>
    <p:extLst>
      <p:ext uri="{BB962C8B-B14F-4D97-AF65-F5344CB8AC3E}">
        <p14:creationId xmlns:p14="http://schemas.microsoft.com/office/powerpoint/2010/main" val="34789389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874" name="Rectangle 2" hidden="1"/>
          <p:cNvGraphicFramePr>
            <a:graphicFrameLocks/>
          </p:cNvGraphicFramePr>
          <p:nvPr>
            <p:custDataLst>
              <p:tags r:id="rId1"/>
            </p:custDataLst>
            <p:extLst>
              <p:ext uri="{D42A27DB-BD31-4B8C-83A1-F6EECF244321}">
                <p14:modId xmlns:p14="http://schemas.microsoft.com/office/powerpoint/2010/main" val="4095000862"/>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7987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p:txBody>
          <a:bodyPr/>
          <a:lstStyle/>
          <a:p>
            <a:endParaRPr lang="en-US"/>
          </a:p>
        </p:txBody>
      </p:sp>
      <p:sp>
        <p:nvSpPr>
          <p:cNvPr id="79875" name="Rectangle 3"/>
          <p:cNvSpPr>
            <a:spLocks noGrp="1" noChangeArrowheads="1"/>
          </p:cNvSpPr>
          <p:nvPr>
            <p:ph type="title"/>
          </p:nvPr>
        </p:nvSpPr>
        <p:spPr/>
        <p:txBody>
          <a:bodyPr/>
          <a:lstStyle/>
          <a:p>
            <a:r>
              <a:rPr lang="en-GB" altLang="en-US"/>
              <a:t>Forces: hitting a wall</a:t>
            </a:r>
          </a:p>
        </p:txBody>
      </p:sp>
      <p:sp>
        <p:nvSpPr>
          <p:cNvPr id="79876" name="Text Box 4"/>
          <p:cNvSpPr txBox="1">
            <a:spLocks noChangeArrowheads="1"/>
          </p:cNvSpPr>
          <p:nvPr/>
        </p:nvSpPr>
        <p:spPr bwMode="gray">
          <a:xfrm>
            <a:off x="7699376" y="3792539"/>
            <a:ext cx="1558925"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400"/>
              <a:t>Text</a:t>
            </a:r>
          </a:p>
        </p:txBody>
      </p:sp>
      <p:sp>
        <p:nvSpPr>
          <p:cNvPr id="79877" name="Freeform 5"/>
          <p:cNvSpPr>
            <a:spLocks/>
          </p:cNvSpPr>
          <p:nvPr/>
        </p:nvSpPr>
        <p:spPr bwMode="auto">
          <a:xfrm>
            <a:off x="5945189" y="4219575"/>
            <a:ext cx="96837" cy="323850"/>
          </a:xfrm>
          <a:custGeom>
            <a:avLst/>
            <a:gdLst>
              <a:gd name="T0" fmla="*/ 2147483647 w 51"/>
              <a:gd name="T1" fmla="*/ 0 h 159"/>
              <a:gd name="T2" fmla="*/ 0 w 51"/>
              <a:gd name="T3" fmla="*/ 0 h 159"/>
              <a:gd name="T4" fmla="*/ 2147483647 w 51"/>
              <a:gd name="T5" fmla="*/ 2147483647 h 159"/>
              <a:gd name="T6" fmla="*/ 2147483647 w 51"/>
              <a:gd name="T7" fmla="*/ 0 h 1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1" h="159">
                <a:moveTo>
                  <a:pt x="50" y="0"/>
                </a:moveTo>
                <a:lnTo>
                  <a:pt x="0" y="0"/>
                </a:lnTo>
                <a:lnTo>
                  <a:pt x="50" y="158"/>
                </a:lnTo>
                <a:lnTo>
                  <a:pt x="50" y="0"/>
                </a:lnTo>
                <a:close/>
              </a:path>
            </a:pathLst>
          </a:custGeom>
          <a:solidFill>
            <a:srgbClr val="666666"/>
          </a:solidFill>
          <a:ln>
            <a:noFill/>
          </a:ln>
          <a:effectLst/>
          <a:extLst>
            <a:ext uri="{91240B29-F687-4F45-9708-019B960494DF}">
              <a14:hiddenLine xmlns:a14="http://schemas.microsoft.com/office/drawing/2010/main" w="0" cap="flat">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78" name="Freeform 6"/>
          <p:cNvSpPr>
            <a:spLocks/>
          </p:cNvSpPr>
          <p:nvPr/>
        </p:nvSpPr>
        <p:spPr bwMode="auto">
          <a:xfrm>
            <a:off x="3006725" y="2451101"/>
            <a:ext cx="3035300" cy="804863"/>
          </a:xfrm>
          <a:custGeom>
            <a:avLst/>
            <a:gdLst>
              <a:gd name="T0" fmla="*/ 0 w 1576"/>
              <a:gd name="T1" fmla="*/ 2147483647 h 395"/>
              <a:gd name="T2" fmla="*/ 2147483647 w 1576"/>
              <a:gd name="T3" fmla="*/ 2147483647 h 395"/>
              <a:gd name="T4" fmla="*/ 2147483647 w 1576"/>
              <a:gd name="T5" fmla="*/ 2147483647 h 395"/>
              <a:gd name="T6" fmla="*/ 2147483647 w 1576"/>
              <a:gd name="T7" fmla="*/ 0 h 395"/>
              <a:gd name="T8" fmla="*/ 2147483647 w 1576"/>
              <a:gd name="T9" fmla="*/ 2147483647 h 395"/>
              <a:gd name="T10" fmla="*/ 2147483647 w 1576"/>
              <a:gd name="T11" fmla="*/ 2147483647 h 395"/>
              <a:gd name="T12" fmla="*/ 2147483647 w 1576"/>
              <a:gd name="T13" fmla="*/ 2147483647 h 395"/>
              <a:gd name="T14" fmla="*/ 2147483647 w 1576"/>
              <a:gd name="T15" fmla="*/ 2147483647 h 395"/>
              <a:gd name="T16" fmla="*/ 2147483647 w 1576"/>
              <a:gd name="T17" fmla="*/ 2147483647 h 395"/>
              <a:gd name="T18" fmla="*/ 2147483647 w 1576"/>
              <a:gd name="T19" fmla="*/ 2147483647 h 395"/>
              <a:gd name="T20" fmla="*/ 2147483647 w 1576"/>
              <a:gd name="T21" fmla="*/ 2147483647 h 395"/>
              <a:gd name="T22" fmla="*/ 2147483647 w 1576"/>
              <a:gd name="T23" fmla="*/ 2147483647 h 395"/>
              <a:gd name="T24" fmla="*/ 2147483647 w 1576"/>
              <a:gd name="T25" fmla="*/ 2147483647 h 395"/>
              <a:gd name="T26" fmla="*/ 2147483647 w 1576"/>
              <a:gd name="T27" fmla="*/ 2147483647 h 395"/>
              <a:gd name="T28" fmla="*/ 2147483647 w 1576"/>
              <a:gd name="T29" fmla="*/ 2147483647 h 395"/>
              <a:gd name="T30" fmla="*/ 2147483647 w 1576"/>
              <a:gd name="T31" fmla="*/ 2147483647 h 395"/>
              <a:gd name="T32" fmla="*/ 2147483647 w 1576"/>
              <a:gd name="T33" fmla="*/ 2147483647 h 395"/>
              <a:gd name="T34" fmla="*/ 2147483647 w 1576"/>
              <a:gd name="T35" fmla="*/ 2147483647 h 395"/>
              <a:gd name="T36" fmla="*/ 0 w 1576"/>
              <a:gd name="T37" fmla="*/ 2147483647 h 3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76" h="395">
                <a:moveTo>
                  <a:pt x="0" y="236"/>
                </a:moveTo>
                <a:lnTo>
                  <a:pt x="86" y="157"/>
                </a:lnTo>
                <a:lnTo>
                  <a:pt x="788" y="157"/>
                </a:lnTo>
                <a:lnTo>
                  <a:pt x="945" y="0"/>
                </a:lnTo>
                <a:lnTo>
                  <a:pt x="1103" y="315"/>
                </a:lnTo>
                <a:lnTo>
                  <a:pt x="1182" y="79"/>
                </a:lnTo>
                <a:lnTo>
                  <a:pt x="1339" y="315"/>
                </a:lnTo>
                <a:lnTo>
                  <a:pt x="1418" y="157"/>
                </a:lnTo>
                <a:lnTo>
                  <a:pt x="1529" y="157"/>
                </a:lnTo>
                <a:lnTo>
                  <a:pt x="1529" y="15"/>
                </a:lnTo>
                <a:lnTo>
                  <a:pt x="1575" y="79"/>
                </a:lnTo>
                <a:lnTo>
                  <a:pt x="1575" y="236"/>
                </a:lnTo>
                <a:lnTo>
                  <a:pt x="1418" y="236"/>
                </a:lnTo>
                <a:lnTo>
                  <a:pt x="1339" y="394"/>
                </a:lnTo>
                <a:lnTo>
                  <a:pt x="1182" y="157"/>
                </a:lnTo>
                <a:lnTo>
                  <a:pt x="1103" y="394"/>
                </a:lnTo>
                <a:lnTo>
                  <a:pt x="945" y="79"/>
                </a:lnTo>
                <a:lnTo>
                  <a:pt x="788" y="236"/>
                </a:lnTo>
                <a:lnTo>
                  <a:pt x="0" y="236"/>
                </a:lnTo>
                <a:close/>
              </a:path>
            </a:pathLst>
          </a:custGeom>
          <a:solidFill>
            <a:srgbClr val="888888"/>
          </a:solidFill>
          <a:ln>
            <a:noFill/>
          </a:ln>
          <a:effectLst/>
          <a:extLst>
            <a:ext uri="{91240B29-F687-4F45-9708-019B960494DF}">
              <a14:hiddenLine xmlns:a14="http://schemas.microsoft.com/office/drawing/2010/main" w="0" cap="flat">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79" name="Freeform 7"/>
          <p:cNvSpPr>
            <a:spLocks/>
          </p:cNvSpPr>
          <p:nvPr/>
        </p:nvSpPr>
        <p:spPr bwMode="auto">
          <a:xfrm>
            <a:off x="6432551" y="1885951"/>
            <a:ext cx="974725" cy="473075"/>
          </a:xfrm>
          <a:custGeom>
            <a:avLst/>
            <a:gdLst>
              <a:gd name="T0" fmla="*/ 2147483647 w 507"/>
              <a:gd name="T1" fmla="*/ 2147483647 h 232"/>
              <a:gd name="T2" fmla="*/ 0 w 507"/>
              <a:gd name="T3" fmla="*/ 0 h 232"/>
              <a:gd name="T4" fmla="*/ 2147483647 w 507"/>
              <a:gd name="T5" fmla="*/ 0 h 232"/>
              <a:gd name="T6" fmla="*/ 2147483647 w 507"/>
              <a:gd name="T7" fmla="*/ 2147483647 h 232"/>
              <a:gd name="T8" fmla="*/ 2147483647 w 507"/>
              <a:gd name="T9" fmla="*/ 2147483647 h 2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 h="232">
                <a:moveTo>
                  <a:pt x="396" y="231"/>
                </a:moveTo>
                <a:lnTo>
                  <a:pt x="0" y="0"/>
                </a:lnTo>
                <a:lnTo>
                  <a:pt x="72" y="0"/>
                </a:lnTo>
                <a:lnTo>
                  <a:pt x="506" y="231"/>
                </a:lnTo>
                <a:lnTo>
                  <a:pt x="396" y="231"/>
                </a:lnTo>
                <a:close/>
              </a:path>
            </a:pathLst>
          </a:custGeom>
          <a:solidFill>
            <a:schemeClr val="bg2"/>
          </a:solidFill>
          <a:ln w="6350" cap="flat">
            <a:solidFill>
              <a:srgbClr val="000000"/>
            </a:solidFill>
            <a:prstDash val="solid"/>
            <a:round/>
            <a:headEnd/>
            <a:tailEnd/>
          </a:ln>
          <a:effectLst/>
        </p:spPr>
        <p:txBody>
          <a:bodyPr wrap="none" anchor="ctr"/>
          <a:lstStyle/>
          <a:p>
            <a:endParaRPr lang="en-US"/>
          </a:p>
        </p:txBody>
      </p:sp>
      <p:sp>
        <p:nvSpPr>
          <p:cNvPr id="79880" name="Freeform 8"/>
          <p:cNvSpPr>
            <a:spLocks/>
          </p:cNvSpPr>
          <p:nvPr/>
        </p:nvSpPr>
        <p:spPr bwMode="auto">
          <a:xfrm>
            <a:off x="6430964" y="1885951"/>
            <a:ext cx="765175" cy="4024313"/>
          </a:xfrm>
          <a:custGeom>
            <a:avLst/>
            <a:gdLst>
              <a:gd name="T0" fmla="*/ 2147483647 w 398"/>
              <a:gd name="T1" fmla="*/ 2147483647 h 1971"/>
              <a:gd name="T2" fmla="*/ 0 w 398"/>
              <a:gd name="T3" fmla="*/ 0 h 1971"/>
              <a:gd name="T4" fmla="*/ 2147483647 w 398"/>
              <a:gd name="T5" fmla="*/ 2147483647 h 1971"/>
              <a:gd name="T6" fmla="*/ 2147483647 w 398"/>
              <a:gd name="T7" fmla="*/ 2147483647 h 1971"/>
              <a:gd name="T8" fmla="*/ 2147483647 w 398"/>
              <a:gd name="T9" fmla="*/ 2147483647 h 19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1971">
                <a:moveTo>
                  <a:pt x="397" y="231"/>
                </a:moveTo>
                <a:lnTo>
                  <a:pt x="0" y="0"/>
                </a:lnTo>
                <a:lnTo>
                  <a:pt x="1" y="1151"/>
                </a:lnTo>
                <a:lnTo>
                  <a:pt x="397" y="1970"/>
                </a:lnTo>
                <a:lnTo>
                  <a:pt x="397" y="231"/>
                </a:lnTo>
                <a:close/>
              </a:path>
            </a:pathLst>
          </a:custGeom>
          <a:solidFill>
            <a:schemeClr val="bg2"/>
          </a:solidFill>
          <a:ln w="6350" cap="flat">
            <a:solidFill>
              <a:srgbClr val="000000"/>
            </a:solidFill>
            <a:prstDash val="solid"/>
            <a:round/>
            <a:headEnd/>
            <a:tailEnd/>
          </a:ln>
          <a:effectLst/>
        </p:spPr>
        <p:txBody>
          <a:bodyPr wrap="none" anchor="ctr"/>
          <a:lstStyle/>
          <a:p>
            <a:endParaRPr lang="en-US"/>
          </a:p>
        </p:txBody>
      </p:sp>
      <p:sp>
        <p:nvSpPr>
          <p:cNvPr id="79881" name="Line 9"/>
          <p:cNvSpPr>
            <a:spLocks noChangeShapeType="1"/>
          </p:cNvSpPr>
          <p:nvPr/>
        </p:nvSpPr>
        <p:spPr bwMode="auto">
          <a:xfrm flipH="1" flipV="1">
            <a:off x="6426201" y="2225675"/>
            <a:ext cx="777875" cy="647700"/>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82" name="Line 10"/>
          <p:cNvSpPr>
            <a:spLocks noChangeShapeType="1"/>
          </p:cNvSpPr>
          <p:nvPr/>
        </p:nvSpPr>
        <p:spPr bwMode="auto">
          <a:xfrm flipH="1" flipV="1">
            <a:off x="6426201" y="2554288"/>
            <a:ext cx="771525" cy="825500"/>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83" name="Line 11"/>
          <p:cNvSpPr>
            <a:spLocks noChangeShapeType="1"/>
          </p:cNvSpPr>
          <p:nvPr/>
        </p:nvSpPr>
        <p:spPr bwMode="auto">
          <a:xfrm flipH="1" flipV="1">
            <a:off x="6427789" y="2890839"/>
            <a:ext cx="769937" cy="993775"/>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84" name="Line 12"/>
          <p:cNvSpPr>
            <a:spLocks noChangeShapeType="1"/>
          </p:cNvSpPr>
          <p:nvPr/>
        </p:nvSpPr>
        <p:spPr bwMode="auto">
          <a:xfrm flipH="1" flipV="1">
            <a:off x="6429376" y="3225800"/>
            <a:ext cx="766763" cy="1169988"/>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85" name="Line 13"/>
          <p:cNvSpPr>
            <a:spLocks noChangeShapeType="1"/>
          </p:cNvSpPr>
          <p:nvPr/>
        </p:nvSpPr>
        <p:spPr bwMode="auto">
          <a:xfrm flipH="1" flipV="1">
            <a:off x="6429375" y="3554414"/>
            <a:ext cx="768350" cy="1343025"/>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86" name="Line 14"/>
          <p:cNvSpPr>
            <a:spLocks noChangeShapeType="1"/>
          </p:cNvSpPr>
          <p:nvPr/>
        </p:nvSpPr>
        <p:spPr bwMode="auto">
          <a:xfrm flipH="1" flipV="1">
            <a:off x="6429375" y="3886200"/>
            <a:ext cx="768350" cy="1517650"/>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87" name="Line 15"/>
          <p:cNvSpPr>
            <a:spLocks noChangeShapeType="1"/>
          </p:cNvSpPr>
          <p:nvPr/>
        </p:nvSpPr>
        <p:spPr bwMode="auto">
          <a:xfrm>
            <a:off x="7040563" y="2268538"/>
            <a:ext cx="0" cy="481012"/>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88" name="Line 16"/>
          <p:cNvSpPr>
            <a:spLocks noChangeShapeType="1"/>
          </p:cNvSpPr>
          <p:nvPr/>
        </p:nvSpPr>
        <p:spPr bwMode="auto">
          <a:xfrm>
            <a:off x="6735763" y="2078039"/>
            <a:ext cx="0" cy="414337"/>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89" name="Line 17"/>
          <p:cNvSpPr>
            <a:spLocks noChangeShapeType="1"/>
          </p:cNvSpPr>
          <p:nvPr/>
        </p:nvSpPr>
        <p:spPr bwMode="auto">
          <a:xfrm>
            <a:off x="6888163" y="2620963"/>
            <a:ext cx="0" cy="430212"/>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0" name="Line 18"/>
          <p:cNvSpPr>
            <a:spLocks noChangeShapeType="1"/>
          </p:cNvSpPr>
          <p:nvPr/>
        </p:nvSpPr>
        <p:spPr bwMode="auto">
          <a:xfrm>
            <a:off x="6583363" y="2363789"/>
            <a:ext cx="0" cy="363537"/>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1" name="Line 19"/>
          <p:cNvSpPr>
            <a:spLocks noChangeShapeType="1"/>
          </p:cNvSpPr>
          <p:nvPr/>
        </p:nvSpPr>
        <p:spPr bwMode="auto">
          <a:xfrm>
            <a:off x="7040563" y="3217864"/>
            <a:ext cx="0" cy="466725"/>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2" name="Line 20"/>
          <p:cNvSpPr>
            <a:spLocks noChangeShapeType="1"/>
          </p:cNvSpPr>
          <p:nvPr/>
        </p:nvSpPr>
        <p:spPr bwMode="auto">
          <a:xfrm>
            <a:off x="6735763" y="2890839"/>
            <a:ext cx="0" cy="401637"/>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3" name="Line 21"/>
          <p:cNvSpPr>
            <a:spLocks noChangeShapeType="1"/>
          </p:cNvSpPr>
          <p:nvPr/>
        </p:nvSpPr>
        <p:spPr bwMode="auto">
          <a:xfrm>
            <a:off x="6888163" y="3486150"/>
            <a:ext cx="0" cy="433388"/>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4" name="Line 22"/>
          <p:cNvSpPr>
            <a:spLocks noChangeShapeType="1"/>
          </p:cNvSpPr>
          <p:nvPr/>
        </p:nvSpPr>
        <p:spPr bwMode="auto">
          <a:xfrm>
            <a:off x="6583363" y="3097213"/>
            <a:ext cx="0" cy="360362"/>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5" name="Line 23"/>
          <p:cNvSpPr>
            <a:spLocks noChangeShapeType="1"/>
          </p:cNvSpPr>
          <p:nvPr/>
        </p:nvSpPr>
        <p:spPr bwMode="auto">
          <a:xfrm>
            <a:off x="7040563" y="4160839"/>
            <a:ext cx="0" cy="466725"/>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6" name="Line 24"/>
          <p:cNvSpPr>
            <a:spLocks noChangeShapeType="1"/>
          </p:cNvSpPr>
          <p:nvPr/>
        </p:nvSpPr>
        <p:spPr bwMode="auto">
          <a:xfrm>
            <a:off x="6735763" y="3698875"/>
            <a:ext cx="0" cy="401638"/>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7" name="Line 25"/>
          <p:cNvSpPr>
            <a:spLocks noChangeShapeType="1"/>
          </p:cNvSpPr>
          <p:nvPr/>
        </p:nvSpPr>
        <p:spPr bwMode="auto">
          <a:xfrm>
            <a:off x="6888163" y="4360863"/>
            <a:ext cx="0" cy="430212"/>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8" name="Line 26"/>
          <p:cNvSpPr>
            <a:spLocks noChangeShapeType="1"/>
          </p:cNvSpPr>
          <p:nvPr/>
        </p:nvSpPr>
        <p:spPr bwMode="auto">
          <a:xfrm>
            <a:off x="6583363" y="3829050"/>
            <a:ext cx="0" cy="361950"/>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99" name="Line 27"/>
          <p:cNvSpPr>
            <a:spLocks noChangeShapeType="1"/>
          </p:cNvSpPr>
          <p:nvPr/>
        </p:nvSpPr>
        <p:spPr bwMode="auto">
          <a:xfrm>
            <a:off x="7040563" y="5108575"/>
            <a:ext cx="0" cy="465138"/>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900" name="Line 28"/>
          <p:cNvSpPr>
            <a:spLocks noChangeShapeType="1"/>
          </p:cNvSpPr>
          <p:nvPr/>
        </p:nvSpPr>
        <p:spPr bwMode="auto">
          <a:xfrm>
            <a:off x="6735763" y="4503739"/>
            <a:ext cx="0" cy="401637"/>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901" name="Rectangle 29"/>
          <p:cNvSpPr>
            <a:spLocks noChangeArrowheads="1"/>
          </p:cNvSpPr>
          <p:nvPr/>
        </p:nvSpPr>
        <p:spPr bwMode="auto">
          <a:xfrm>
            <a:off x="7192964" y="2357438"/>
            <a:ext cx="212725" cy="508000"/>
          </a:xfrm>
          <a:prstGeom prst="rect">
            <a:avLst/>
          </a:prstGeom>
          <a:solidFill>
            <a:schemeClr val="bg2"/>
          </a:solidFill>
          <a:ln w="6350">
            <a:solidFill>
              <a:srgbClr val="000000"/>
            </a:solidFill>
            <a:miter lim="800000"/>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79902" name="Rectangle 30"/>
          <p:cNvSpPr>
            <a:spLocks noChangeArrowheads="1"/>
          </p:cNvSpPr>
          <p:nvPr/>
        </p:nvSpPr>
        <p:spPr bwMode="auto">
          <a:xfrm>
            <a:off x="7192964" y="2865438"/>
            <a:ext cx="212725" cy="506412"/>
          </a:xfrm>
          <a:prstGeom prst="rect">
            <a:avLst/>
          </a:prstGeom>
          <a:solidFill>
            <a:schemeClr val="bg2"/>
          </a:solidFill>
          <a:ln w="6350">
            <a:solidFill>
              <a:srgbClr val="000000"/>
            </a:solidFill>
            <a:miter lim="800000"/>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79903" name="Rectangle 31"/>
          <p:cNvSpPr>
            <a:spLocks noChangeArrowheads="1"/>
          </p:cNvSpPr>
          <p:nvPr/>
        </p:nvSpPr>
        <p:spPr bwMode="auto">
          <a:xfrm>
            <a:off x="7192964" y="3371851"/>
            <a:ext cx="212725" cy="506413"/>
          </a:xfrm>
          <a:prstGeom prst="rect">
            <a:avLst/>
          </a:prstGeom>
          <a:solidFill>
            <a:schemeClr val="bg2"/>
          </a:solidFill>
          <a:ln w="6350">
            <a:solidFill>
              <a:srgbClr val="000000"/>
            </a:solidFill>
            <a:miter lim="800000"/>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79904" name="Freeform 32"/>
          <p:cNvSpPr>
            <a:spLocks/>
          </p:cNvSpPr>
          <p:nvPr/>
        </p:nvSpPr>
        <p:spPr bwMode="auto">
          <a:xfrm>
            <a:off x="6446839" y="2771776"/>
            <a:ext cx="555625" cy="1649413"/>
          </a:xfrm>
          <a:custGeom>
            <a:avLst/>
            <a:gdLst>
              <a:gd name="T0" fmla="*/ 2147483647 w 290"/>
              <a:gd name="T1" fmla="*/ 0 h 807"/>
              <a:gd name="T2" fmla="*/ 2147483647 w 290"/>
              <a:gd name="T3" fmla="*/ 2147483647 h 807"/>
              <a:gd name="T4" fmla="*/ 2147483647 w 290"/>
              <a:gd name="T5" fmla="*/ 2147483647 h 807"/>
              <a:gd name="T6" fmla="*/ 2147483647 w 290"/>
              <a:gd name="T7" fmla="*/ 2147483647 h 807"/>
              <a:gd name="T8" fmla="*/ 2147483647 w 290"/>
              <a:gd name="T9" fmla="*/ 2147483647 h 807"/>
              <a:gd name="T10" fmla="*/ 2147483647 w 290"/>
              <a:gd name="T11" fmla="*/ 2147483647 h 807"/>
              <a:gd name="T12" fmla="*/ 2147483647 w 290"/>
              <a:gd name="T13" fmla="*/ 2147483647 h 807"/>
              <a:gd name="T14" fmla="*/ 2147483647 w 290"/>
              <a:gd name="T15" fmla="*/ 2147483647 h 807"/>
              <a:gd name="T16" fmla="*/ 2147483647 w 290"/>
              <a:gd name="T17" fmla="*/ 2147483647 h 807"/>
              <a:gd name="T18" fmla="*/ 2147483647 w 290"/>
              <a:gd name="T19" fmla="*/ 2147483647 h 807"/>
              <a:gd name="T20" fmla="*/ 0 w 290"/>
              <a:gd name="T21" fmla="*/ 2147483647 h 807"/>
              <a:gd name="T22" fmla="*/ 2147483647 w 290"/>
              <a:gd name="T23" fmla="*/ 2147483647 h 807"/>
              <a:gd name="T24" fmla="*/ 2147483647 w 290"/>
              <a:gd name="T25" fmla="*/ 2147483647 h 807"/>
              <a:gd name="T26" fmla="*/ 2147483647 w 290"/>
              <a:gd name="T27" fmla="*/ 2147483647 h 807"/>
              <a:gd name="T28" fmla="*/ 2147483647 w 290"/>
              <a:gd name="T29" fmla="*/ 2147483647 h 807"/>
              <a:gd name="T30" fmla="*/ 2147483647 w 290"/>
              <a:gd name="T31" fmla="*/ 2147483647 h 807"/>
              <a:gd name="T32" fmla="*/ 2147483647 w 290"/>
              <a:gd name="T33" fmla="*/ 2147483647 h 807"/>
              <a:gd name="T34" fmla="*/ 2147483647 w 290"/>
              <a:gd name="T35" fmla="*/ 2147483647 h 807"/>
              <a:gd name="T36" fmla="*/ 2147483647 w 290"/>
              <a:gd name="T37" fmla="*/ 2147483647 h 807"/>
              <a:gd name="T38" fmla="*/ 2147483647 w 290"/>
              <a:gd name="T39" fmla="*/ 2147483647 h 807"/>
              <a:gd name="T40" fmla="*/ 2147483647 w 290"/>
              <a:gd name="T41" fmla="*/ 2147483647 h 807"/>
              <a:gd name="T42" fmla="*/ 2147483647 w 290"/>
              <a:gd name="T43" fmla="*/ 2147483647 h 807"/>
              <a:gd name="T44" fmla="*/ 2147483647 w 290"/>
              <a:gd name="T45" fmla="*/ 2147483647 h 807"/>
              <a:gd name="T46" fmla="*/ 2147483647 w 290"/>
              <a:gd name="T47" fmla="*/ 2147483647 h 807"/>
              <a:gd name="T48" fmla="*/ 2147483647 w 290"/>
              <a:gd name="T49" fmla="*/ 2147483647 h 807"/>
              <a:gd name="T50" fmla="*/ 2147483647 w 290"/>
              <a:gd name="T51" fmla="*/ 2147483647 h 807"/>
              <a:gd name="T52" fmla="*/ 2147483647 w 290"/>
              <a:gd name="T53" fmla="*/ 2147483647 h 807"/>
              <a:gd name="T54" fmla="*/ 2147483647 w 290"/>
              <a:gd name="T55" fmla="*/ 2147483647 h 807"/>
              <a:gd name="T56" fmla="*/ 2147483647 w 290"/>
              <a:gd name="T57" fmla="*/ 2147483647 h 807"/>
              <a:gd name="T58" fmla="*/ 2147483647 w 290"/>
              <a:gd name="T59" fmla="*/ 2147483647 h 807"/>
              <a:gd name="T60" fmla="*/ 2147483647 w 290"/>
              <a:gd name="T61" fmla="*/ 2147483647 h 807"/>
              <a:gd name="T62" fmla="*/ 2147483647 w 290"/>
              <a:gd name="T63" fmla="*/ 2147483647 h 807"/>
              <a:gd name="T64" fmla="*/ 2147483647 w 290"/>
              <a:gd name="T65" fmla="*/ 2147483647 h 807"/>
              <a:gd name="T66" fmla="*/ 2147483647 w 290"/>
              <a:gd name="T67" fmla="*/ 2147483647 h 807"/>
              <a:gd name="T68" fmla="*/ 2147483647 w 290"/>
              <a:gd name="T69" fmla="*/ 2147483647 h 807"/>
              <a:gd name="T70" fmla="*/ 2147483647 w 290"/>
              <a:gd name="T71" fmla="*/ 2147483647 h 807"/>
              <a:gd name="T72" fmla="*/ 2147483647 w 290"/>
              <a:gd name="T73" fmla="*/ 2147483647 h 807"/>
              <a:gd name="T74" fmla="*/ 2147483647 w 290"/>
              <a:gd name="T75" fmla="*/ 2147483647 h 807"/>
              <a:gd name="T76" fmla="*/ 2147483647 w 290"/>
              <a:gd name="T77" fmla="*/ 2147483647 h 807"/>
              <a:gd name="T78" fmla="*/ 2147483647 w 290"/>
              <a:gd name="T79" fmla="*/ 2147483647 h 807"/>
              <a:gd name="T80" fmla="*/ 2147483647 w 290"/>
              <a:gd name="T81" fmla="*/ 0 h 8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90" h="807">
                <a:moveTo>
                  <a:pt x="145" y="0"/>
                </a:moveTo>
                <a:lnTo>
                  <a:pt x="136" y="252"/>
                </a:lnTo>
                <a:lnTo>
                  <a:pt x="100" y="20"/>
                </a:lnTo>
                <a:lnTo>
                  <a:pt x="120" y="267"/>
                </a:lnTo>
                <a:lnTo>
                  <a:pt x="60" y="77"/>
                </a:lnTo>
                <a:lnTo>
                  <a:pt x="106" y="295"/>
                </a:lnTo>
                <a:lnTo>
                  <a:pt x="28" y="166"/>
                </a:lnTo>
                <a:lnTo>
                  <a:pt x="96" y="334"/>
                </a:lnTo>
                <a:lnTo>
                  <a:pt x="7" y="279"/>
                </a:lnTo>
                <a:lnTo>
                  <a:pt x="90" y="379"/>
                </a:lnTo>
                <a:lnTo>
                  <a:pt x="0" y="403"/>
                </a:lnTo>
                <a:lnTo>
                  <a:pt x="90" y="427"/>
                </a:lnTo>
                <a:lnTo>
                  <a:pt x="7" y="527"/>
                </a:lnTo>
                <a:lnTo>
                  <a:pt x="96" y="472"/>
                </a:lnTo>
                <a:lnTo>
                  <a:pt x="28" y="640"/>
                </a:lnTo>
                <a:lnTo>
                  <a:pt x="106" y="511"/>
                </a:lnTo>
                <a:lnTo>
                  <a:pt x="60" y="729"/>
                </a:lnTo>
                <a:lnTo>
                  <a:pt x="120" y="539"/>
                </a:lnTo>
                <a:lnTo>
                  <a:pt x="100" y="786"/>
                </a:lnTo>
                <a:lnTo>
                  <a:pt x="136" y="554"/>
                </a:lnTo>
                <a:lnTo>
                  <a:pt x="145" y="806"/>
                </a:lnTo>
                <a:lnTo>
                  <a:pt x="153" y="554"/>
                </a:lnTo>
                <a:lnTo>
                  <a:pt x="189" y="786"/>
                </a:lnTo>
                <a:lnTo>
                  <a:pt x="169" y="539"/>
                </a:lnTo>
                <a:lnTo>
                  <a:pt x="229" y="729"/>
                </a:lnTo>
                <a:lnTo>
                  <a:pt x="183" y="511"/>
                </a:lnTo>
                <a:lnTo>
                  <a:pt x="261" y="640"/>
                </a:lnTo>
                <a:lnTo>
                  <a:pt x="193" y="472"/>
                </a:lnTo>
                <a:lnTo>
                  <a:pt x="282" y="527"/>
                </a:lnTo>
                <a:lnTo>
                  <a:pt x="199" y="427"/>
                </a:lnTo>
                <a:lnTo>
                  <a:pt x="289" y="403"/>
                </a:lnTo>
                <a:lnTo>
                  <a:pt x="199" y="379"/>
                </a:lnTo>
                <a:lnTo>
                  <a:pt x="282" y="279"/>
                </a:lnTo>
                <a:lnTo>
                  <a:pt x="193" y="334"/>
                </a:lnTo>
                <a:lnTo>
                  <a:pt x="261" y="166"/>
                </a:lnTo>
                <a:lnTo>
                  <a:pt x="183" y="295"/>
                </a:lnTo>
                <a:lnTo>
                  <a:pt x="229" y="77"/>
                </a:lnTo>
                <a:lnTo>
                  <a:pt x="169" y="267"/>
                </a:lnTo>
                <a:lnTo>
                  <a:pt x="189" y="20"/>
                </a:lnTo>
                <a:lnTo>
                  <a:pt x="153" y="252"/>
                </a:lnTo>
                <a:lnTo>
                  <a:pt x="145" y="0"/>
                </a:lnTo>
                <a:close/>
              </a:path>
            </a:pathLst>
          </a:custGeom>
          <a:solidFill>
            <a:schemeClr val="bg2"/>
          </a:solidFill>
          <a:ln w="9525" cap="flat" cmpd="sng">
            <a:solidFill>
              <a:schemeClr val="tx1"/>
            </a:solidFill>
            <a:prstDash val="solid"/>
            <a:round/>
            <a:headEnd/>
            <a:tailEnd/>
          </a:ln>
          <a:effectLst/>
        </p:spPr>
        <p:txBody>
          <a:bodyPr wrap="none" anchor="ctr"/>
          <a:lstStyle/>
          <a:p>
            <a:endParaRPr lang="en-US"/>
          </a:p>
        </p:txBody>
      </p:sp>
      <p:sp>
        <p:nvSpPr>
          <p:cNvPr id="79905" name="Freeform 33"/>
          <p:cNvSpPr>
            <a:spLocks/>
          </p:cNvSpPr>
          <p:nvPr/>
        </p:nvSpPr>
        <p:spPr bwMode="auto">
          <a:xfrm>
            <a:off x="3006726" y="2613025"/>
            <a:ext cx="3719513" cy="1930400"/>
          </a:xfrm>
          <a:custGeom>
            <a:avLst/>
            <a:gdLst>
              <a:gd name="T0" fmla="*/ 2147483647 w 1931"/>
              <a:gd name="T1" fmla="*/ 2147483647 h 946"/>
              <a:gd name="T2" fmla="*/ 2147483647 w 1931"/>
              <a:gd name="T3" fmla="*/ 2147483647 h 946"/>
              <a:gd name="T4" fmla="*/ 2147483647 w 1931"/>
              <a:gd name="T5" fmla="*/ 2147483647 h 946"/>
              <a:gd name="T6" fmla="*/ 2147483647 w 1931"/>
              <a:gd name="T7" fmla="*/ 2147483647 h 946"/>
              <a:gd name="T8" fmla="*/ 2147483647 w 1931"/>
              <a:gd name="T9" fmla="*/ 2147483647 h 946"/>
              <a:gd name="T10" fmla="*/ 2147483647 w 1931"/>
              <a:gd name="T11" fmla="*/ 2147483647 h 946"/>
              <a:gd name="T12" fmla="*/ 2147483647 w 1931"/>
              <a:gd name="T13" fmla="*/ 2147483647 h 946"/>
              <a:gd name="T14" fmla="*/ 2147483647 w 1931"/>
              <a:gd name="T15" fmla="*/ 0 h 946"/>
              <a:gd name="T16" fmla="*/ 2147483647 w 1931"/>
              <a:gd name="T17" fmla="*/ 2147483647 h 946"/>
              <a:gd name="T18" fmla="*/ 2147483647 w 1931"/>
              <a:gd name="T19" fmla="*/ 2147483647 h 946"/>
              <a:gd name="T20" fmla="*/ 2147483647 w 1931"/>
              <a:gd name="T21" fmla="*/ 2147483647 h 946"/>
              <a:gd name="T22" fmla="*/ 2147483647 w 1931"/>
              <a:gd name="T23" fmla="*/ 2147483647 h 946"/>
              <a:gd name="T24" fmla="*/ 2147483647 w 1931"/>
              <a:gd name="T25" fmla="*/ 2147483647 h 946"/>
              <a:gd name="T26" fmla="*/ 2147483647 w 1931"/>
              <a:gd name="T27" fmla="*/ 2147483647 h 946"/>
              <a:gd name="T28" fmla="*/ 2147483647 w 1931"/>
              <a:gd name="T29" fmla="*/ 2147483647 h 946"/>
              <a:gd name="T30" fmla="*/ 2147483647 w 1931"/>
              <a:gd name="T31" fmla="*/ 2147483647 h 946"/>
              <a:gd name="T32" fmla="*/ 2147483647 w 1931"/>
              <a:gd name="T33" fmla="*/ 2147483647 h 946"/>
              <a:gd name="T34" fmla="*/ 2147483647 w 1931"/>
              <a:gd name="T35" fmla="*/ 2147483647 h 946"/>
              <a:gd name="T36" fmla="*/ 2147483647 w 1931"/>
              <a:gd name="T37" fmla="*/ 2147483647 h 946"/>
              <a:gd name="T38" fmla="*/ 2147483647 w 1931"/>
              <a:gd name="T39" fmla="*/ 2147483647 h 946"/>
              <a:gd name="T40" fmla="*/ 2147483647 w 1931"/>
              <a:gd name="T41" fmla="*/ 2147483647 h 946"/>
              <a:gd name="T42" fmla="*/ 2147483647 w 1931"/>
              <a:gd name="T43" fmla="*/ 2147483647 h 946"/>
              <a:gd name="T44" fmla="*/ 2147483647 w 1931"/>
              <a:gd name="T45" fmla="*/ 2147483647 h 946"/>
              <a:gd name="T46" fmla="*/ 2147483647 w 1931"/>
              <a:gd name="T47" fmla="*/ 2147483647 h 946"/>
              <a:gd name="T48" fmla="*/ 2147483647 w 1931"/>
              <a:gd name="T49" fmla="*/ 2147483647 h 946"/>
              <a:gd name="T50" fmla="*/ 2147483647 w 1931"/>
              <a:gd name="T51" fmla="*/ 2147483647 h 946"/>
              <a:gd name="T52" fmla="*/ 2147483647 w 1931"/>
              <a:gd name="T53" fmla="*/ 2147483647 h 946"/>
              <a:gd name="T54" fmla="*/ 2147483647 w 1931"/>
              <a:gd name="T55" fmla="*/ 2147483647 h 946"/>
              <a:gd name="T56" fmla="*/ 2147483647 w 1931"/>
              <a:gd name="T57" fmla="*/ 2147483647 h 946"/>
              <a:gd name="T58" fmla="*/ 2147483647 w 1931"/>
              <a:gd name="T59" fmla="*/ 2147483647 h 946"/>
              <a:gd name="T60" fmla="*/ 2147483647 w 1931"/>
              <a:gd name="T61" fmla="*/ 2147483647 h 946"/>
              <a:gd name="T62" fmla="*/ 2147483647 w 1931"/>
              <a:gd name="T63" fmla="*/ 2147483647 h 946"/>
              <a:gd name="T64" fmla="*/ 2147483647 w 1931"/>
              <a:gd name="T65" fmla="*/ 2147483647 h 946"/>
              <a:gd name="T66" fmla="*/ 2147483647 w 1931"/>
              <a:gd name="T67" fmla="*/ 2147483647 h 946"/>
              <a:gd name="T68" fmla="*/ 2147483647 w 1931"/>
              <a:gd name="T69" fmla="*/ 2147483647 h 946"/>
              <a:gd name="T70" fmla="*/ 2147483647 w 1931"/>
              <a:gd name="T71" fmla="*/ 2147483647 h 946"/>
              <a:gd name="T72" fmla="*/ 2147483647 w 1931"/>
              <a:gd name="T73" fmla="*/ 2147483647 h 946"/>
              <a:gd name="T74" fmla="*/ 2147483647 w 1931"/>
              <a:gd name="T75" fmla="*/ 2147483647 h 946"/>
              <a:gd name="T76" fmla="*/ 2147483647 w 1931"/>
              <a:gd name="T77" fmla="*/ 2147483647 h 946"/>
              <a:gd name="T78" fmla="*/ 2147483647 w 1931"/>
              <a:gd name="T79" fmla="*/ 2147483647 h 946"/>
              <a:gd name="T80" fmla="*/ 2147483647 w 1931"/>
              <a:gd name="T81" fmla="*/ 2147483647 h 946"/>
              <a:gd name="T82" fmla="*/ 2147483647 w 1931"/>
              <a:gd name="T83" fmla="*/ 2147483647 h 946"/>
              <a:gd name="T84" fmla="*/ 2147483647 w 1931"/>
              <a:gd name="T85" fmla="*/ 2147483647 h 946"/>
              <a:gd name="T86" fmla="*/ 2147483647 w 1931"/>
              <a:gd name="T87" fmla="*/ 2147483647 h 946"/>
              <a:gd name="T88" fmla="*/ 2147483647 w 1931"/>
              <a:gd name="T89" fmla="*/ 2147483647 h 946"/>
              <a:gd name="T90" fmla="*/ 2147483647 w 1931"/>
              <a:gd name="T91" fmla="*/ 2147483647 h 946"/>
              <a:gd name="T92" fmla="*/ 2147483647 w 1931"/>
              <a:gd name="T93" fmla="*/ 2147483647 h 946"/>
              <a:gd name="T94" fmla="*/ 2147483647 w 1931"/>
              <a:gd name="T95" fmla="*/ 2147483647 h 946"/>
              <a:gd name="T96" fmla="*/ 2147483647 w 1931"/>
              <a:gd name="T97" fmla="*/ 2147483647 h 946"/>
              <a:gd name="T98" fmla="*/ 2147483647 w 1931"/>
              <a:gd name="T99" fmla="*/ 2147483647 h 946"/>
              <a:gd name="T100" fmla="*/ 2147483647 w 1931"/>
              <a:gd name="T101" fmla="*/ 2147483647 h 946"/>
              <a:gd name="T102" fmla="*/ 2147483647 w 1931"/>
              <a:gd name="T103" fmla="*/ 2147483647 h 946"/>
              <a:gd name="T104" fmla="*/ 2147483647 w 1931"/>
              <a:gd name="T105" fmla="*/ 2147483647 h 946"/>
              <a:gd name="T106" fmla="*/ 2147483647 w 1931"/>
              <a:gd name="T107" fmla="*/ 2147483647 h 946"/>
              <a:gd name="T108" fmla="*/ 2147483647 w 1931"/>
              <a:gd name="T109" fmla="*/ 2147483647 h 946"/>
              <a:gd name="T110" fmla="*/ 2147483647 w 1931"/>
              <a:gd name="T111" fmla="*/ 2147483647 h 946"/>
              <a:gd name="T112" fmla="*/ 2147483647 w 1931"/>
              <a:gd name="T113" fmla="*/ 2147483647 h 946"/>
              <a:gd name="T114" fmla="*/ 2147483647 w 1931"/>
              <a:gd name="T115" fmla="*/ 2147483647 h 946"/>
              <a:gd name="T116" fmla="*/ 2147483647 w 1931"/>
              <a:gd name="T117" fmla="*/ 2147483647 h 946"/>
              <a:gd name="T118" fmla="*/ 2147483647 w 1931"/>
              <a:gd name="T119" fmla="*/ 2147483647 h 946"/>
              <a:gd name="T120" fmla="*/ 2147483647 w 1931"/>
              <a:gd name="T121" fmla="*/ 2147483647 h 946"/>
              <a:gd name="T122" fmla="*/ 2147483647 w 1931"/>
              <a:gd name="T123" fmla="*/ 2147483647 h 94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931" h="946">
                <a:moveTo>
                  <a:pt x="79" y="315"/>
                </a:moveTo>
                <a:lnTo>
                  <a:pt x="69" y="296"/>
                </a:lnTo>
                <a:lnTo>
                  <a:pt x="61" y="278"/>
                </a:lnTo>
                <a:lnTo>
                  <a:pt x="52" y="261"/>
                </a:lnTo>
                <a:lnTo>
                  <a:pt x="45" y="246"/>
                </a:lnTo>
                <a:lnTo>
                  <a:pt x="37" y="232"/>
                </a:lnTo>
                <a:lnTo>
                  <a:pt x="31" y="219"/>
                </a:lnTo>
                <a:lnTo>
                  <a:pt x="25" y="207"/>
                </a:lnTo>
                <a:lnTo>
                  <a:pt x="20" y="197"/>
                </a:lnTo>
                <a:lnTo>
                  <a:pt x="15" y="187"/>
                </a:lnTo>
                <a:lnTo>
                  <a:pt x="11" y="179"/>
                </a:lnTo>
                <a:lnTo>
                  <a:pt x="8" y="173"/>
                </a:lnTo>
                <a:lnTo>
                  <a:pt x="5" y="167"/>
                </a:lnTo>
                <a:lnTo>
                  <a:pt x="3" y="163"/>
                </a:lnTo>
                <a:lnTo>
                  <a:pt x="1" y="160"/>
                </a:lnTo>
                <a:lnTo>
                  <a:pt x="1" y="158"/>
                </a:lnTo>
                <a:lnTo>
                  <a:pt x="0" y="157"/>
                </a:lnTo>
                <a:lnTo>
                  <a:pt x="2" y="157"/>
                </a:lnTo>
                <a:lnTo>
                  <a:pt x="6" y="157"/>
                </a:lnTo>
                <a:lnTo>
                  <a:pt x="14" y="157"/>
                </a:lnTo>
                <a:lnTo>
                  <a:pt x="25" y="157"/>
                </a:lnTo>
                <a:lnTo>
                  <a:pt x="39" y="157"/>
                </a:lnTo>
                <a:lnTo>
                  <a:pt x="56" y="157"/>
                </a:lnTo>
                <a:lnTo>
                  <a:pt x="76" y="157"/>
                </a:lnTo>
                <a:lnTo>
                  <a:pt x="99" y="157"/>
                </a:lnTo>
                <a:lnTo>
                  <a:pt x="125" y="157"/>
                </a:lnTo>
                <a:lnTo>
                  <a:pt x="154" y="157"/>
                </a:lnTo>
                <a:lnTo>
                  <a:pt x="186" y="157"/>
                </a:lnTo>
                <a:lnTo>
                  <a:pt x="222" y="157"/>
                </a:lnTo>
                <a:lnTo>
                  <a:pt x="260" y="157"/>
                </a:lnTo>
                <a:lnTo>
                  <a:pt x="302" y="157"/>
                </a:lnTo>
                <a:lnTo>
                  <a:pt x="346" y="157"/>
                </a:lnTo>
                <a:lnTo>
                  <a:pt x="394" y="157"/>
                </a:lnTo>
                <a:lnTo>
                  <a:pt x="442" y="157"/>
                </a:lnTo>
                <a:lnTo>
                  <a:pt x="486" y="157"/>
                </a:lnTo>
                <a:lnTo>
                  <a:pt x="528" y="157"/>
                </a:lnTo>
                <a:lnTo>
                  <a:pt x="566" y="157"/>
                </a:lnTo>
                <a:lnTo>
                  <a:pt x="602" y="157"/>
                </a:lnTo>
                <a:lnTo>
                  <a:pt x="634" y="157"/>
                </a:lnTo>
                <a:lnTo>
                  <a:pt x="663" y="157"/>
                </a:lnTo>
                <a:lnTo>
                  <a:pt x="689" y="157"/>
                </a:lnTo>
                <a:lnTo>
                  <a:pt x="712" y="157"/>
                </a:lnTo>
                <a:lnTo>
                  <a:pt x="732" y="157"/>
                </a:lnTo>
                <a:lnTo>
                  <a:pt x="749" y="157"/>
                </a:lnTo>
                <a:lnTo>
                  <a:pt x="763" y="157"/>
                </a:lnTo>
                <a:lnTo>
                  <a:pt x="774" y="157"/>
                </a:lnTo>
                <a:lnTo>
                  <a:pt x="782" y="157"/>
                </a:lnTo>
                <a:lnTo>
                  <a:pt x="786" y="157"/>
                </a:lnTo>
                <a:lnTo>
                  <a:pt x="788" y="157"/>
                </a:lnTo>
                <a:lnTo>
                  <a:pt x="789" y="156"/>
                </a:lnTo>
                <a:lnTo>
                  <a:pt x="791" y="154"/>
                </a:lnTo>
                <a:lnTo>
                  <a:pt x="793" y="152"/>
                </a:lnTo>
                <a:lnTo>
                  <a:pt x="795" y="150"/>
                </a:lnTo>
                <a:lnTo>
                  <a:pt x="799" y="146"/>
                </a:lnTo>
                <a:lnTo>
                  <a:pt x="803" y="142"/>
                </a:lnTo>
                <a:lnTo>
                  <a:pt x="807" y="138"/>
                </a:lnTo>
                <a:lnTo>
                  <a:pt x="813" y="132"/>
                </a:lnTo>
                <a:lnTo>
                  <a:pt x="819" y="126"/>
                </a:lnTo>
                <a:lnTo>
                  <a:pt x="825" y="120"/>
                </a:lnTo>
                <a:lnTo>
                  <a:pt x="832" y="113"/>
                </a:lnTo>
                <a:lnTo>
                  <a:pt x="840" y="105"/>
                </a:lnTo>
                <a:lnTo>
                  <a:pt x="848" y="97"/>
                </a:lnTo>
                <a:lnTo>
                  <a:pt x="857" y="88"/>
                </a:lnTo>
                <a:lnTo>
                  <a:pt x="867" y="78"/>
                </a:lnTo>
                <a:lnTo>
                  <a:pt x="876" y="69"/>
                </a:lnTo>
                <a:lnTo>
                  <a:pt x="885" y="60"/>
                </a:lnTo>
                <a:lnTo>
                  <a:pt x="893" y="52"/>
                </a:lnTo>
                <a:lnTo>
                  <a:pt x="901" y="44"/>
                </a:lnTo>
                <a:lnTo>
                  <a:pt x="908" y="37"/>
                </a:lnTo>
                <a:lnTo>
                  <a:pt x="914" y="31"/>
                </a:lnTo>
                <a:lnTo>
                  <a:pt x="920" y="25"/>
                </a:lnTo>
                <a:lnTo>
                  <a:pt x="926" y="19"/>
                </a:lnTo>
                <a:lnTo>
                  <a:pt x="930" y="15"/>
                </a:lnTo>
                <a:lnTo>
                  <a:pt x="934" y="11"/>
                </a:lnTo>
                <a:lnTo>
                  <a:pt x="938" y="7"/>
                </a:lnTo>
                <a:lnTo>
                  <a:pt x="940" y="5"/>
                </a:lnTo>
                <a:lnTo>
                  <a:pt x="942" y="3"/>
                </a:lnTo>
                <a:lnTo>
                  <a:pt x="944" y="1"/>
                </a:lnTo>
                <a:lnTo>
                  <a:pt x="945" y="0"/>
                </a:lnTo>
                <a:lnTo>
                  <a:pt x="946" y="0"/>
                </a:lnTo>
                <a:lnTo>
                  <a:pt x="946" y="2"/>
                </a:lnTo>
                <a:lnTo>
                  <a:pt x="948" y="5"/>
                </a:lnTo>
                <a:lnTo>
                  <a:pt x="950" y="10"/>
                </a:lnTo>
                <a:lnTo>
                  <a:pt x="953" y="15"/>
                </a:lnTo>
                <a:lnTo>
                  <a:pt x="956" y="22"/>
                </a:lnTo>
                <a:lnTo>
                  <a:pt x="960" y="30"/>
                </a:lnTo>
                <a:lnTo>
                  <a:pt x="965" y="39"/>
                </a:lnTo>
                <a:lnTo>
                  <a:pt x="970" y="50"/>
                </a:lnTo>
                <a:lnTo>
                  <a:pt x="976" y="61"/>
                </a:lnTo>
                <a:lnTo>
                  <a:pt x="982" y="74"/>
                </a:lnTo>
                <a:lnTo>
                  <a:pt x="990" y="88"/>
                </a:lnTo>
                <a:lnTo>
                  <a:pt x="997" y="104"/>
                </a:lnTo>
                <a:lnTo>
                  <a:pt x="1006" y="120"/>
                </a:lnTo>
                <a:lnTo>
                  <a:pt x="1014" y="138"/>
                </a:lnTo>
                <a:lnTo>
                  <a:pt x="1024" y="157"/>
                </a:lnTo>
                <a:lnTo>
                  <a:pt x="1034" y="176"/>
                </a:lnTo>
                <a:lnTo>
                  <a:pt x="1042" y="194"/>
                </a:lnTo>
                <a:lnTo>
                  <a:pt x="1051" y="211"/>
                </a:lnTo>
                <a:lnTo>
                  <a:pt x="1058" y="226"/>
                </a:lnTo>
                <a:lnTo>
                  <a:pt x="1066" y="240"/>
                </a:lnTo>
                <a:lnTo>
                  <a:pt x="1072" y="253"/>
                </a:lnTo>
                <a:lnTo>
                  <a:pt x="1078" y="265"/>
                </a:lnTo>
                <a:lnTo>
                  <a:pt x="1083" y="275"/>
                </a:lnTo>
                <a:lnTo>
                  <a:pt x="1088" y="285"/>
                </a:lnTo>
                <a:lnTo>
                  <a:pt x="1092" y="293"/>
                </a:lnTo>
                <a:lnTo>
                  <a:pt x="1095" y="299"/>
                </a:lnTo>
                <a:lnTo>
                  <a:pt x="1098" y="305"/>
                </a:lnTo>
                <a:lnTo>
                  <a:pt x="1100" y="309"/>
                </a:lnTo>
                <a:lnTo>
                  <a:pt x="1102" y="312"/>
                </a:lnTo>
                <a:lnTo>
                  <a:pt x="1102" y="314"/>
                </a:lnTo>
                <a:lnTo>
                  <a:pt x="1103" y="315"/>
                </a:lnTo>
                <a:lnTo>
                  <a:pt x="1103" y="314"/>
                </a:lnTo>
                <a:lnTo>
                  <a:pt x="1103" y="313"/>
                </a:lnTo>
                <a:lnTo>
                  <a:pt x="1104" y="311"/>
                </a:lnTo>
                <a:lnTo>
                  <a:pt x="1105" y="307"/>
                </a:lnTo>
                <a:lnTo>
                  <a:pt x="1107" y="303"/>
                </a:lnTo>
                <a:lnTo>
                  <a:pt x="1108" y="298"/>
                </a:lnTo>
                <a:lnTo>
                  <a:pt x="1110" y="292"/>
                </a:lnTo>
                <a:lnTo>
                  <a:pt x="1113" y="285"/>
                </a:lnTo>
                <a:lnTo>
                  <a:pt x="1115" y="277"/>
                </a:lnTo>
                <a:lnTo>
                  <a:pt x="1118" y="269"/>
                </a:lnTo>
                <a:lnTo>
                  <a:pt x="1121" y="259"/>
                </a:lnTo>
                <a:lnTo>
                  <a:pt x="1125" y="248"/>
                </a:lnTo>
                <a:lnTo>
                  <a:pt x="1129" y="237"/>
                </a:lnTo>
                <a:lnTo>
                  <a:pt x="1133" y="224"/>
                </a:lnTo>
                <a:lnTo>
                  <a:pt x="1137" y="211"/>
                </a:lnTo>
                <a:lnTo>
                  <a:pt x="1142" y="197"/>
                </a:lnTo>
                <a:lnTo>
                  <a:pt x="1147" y="182"/>
                </a:lnTo>
                <a:lnTo>
                  <a:pt x="1151" y="169"/>
                </a:lnTo>
                <a:lnTo>
                  <a:pt x="1156" y="156"/>
                </a:lnTo>
                <a:lnTo>
                  <a:pt x="1159" y="145"/>
                </a:lnTo>
                <a:lnTo>
                  <a:pt x="1163" y="134"/>
                </a:lnTo>
                <a:lnTo>
                  <a:pt x="1166" y="125"/>
                </a:lnTo>
                <a:lnTo>
                  <a:pt x="1169" y="116"/>
                </a:lnTo>
                <a:lnTo>
                  <a:pt x="1172" y="108"/>
                </a:lnTo>
                <a:lnTo>
                  <a:pt x="1174" y="101"/>
                </a:lnTo>
                <a:lnTo>
                  <a:pt x="1176" y="95"/>
                </a:lnTo>
                <a:lnTo>
                  <a:pt x="1178" y="90"/>
                </a:lnTo>
                <a:lnTo>
                  <a:pt x="1179" y="86"/>
                </a:lnTo>
                <a:lnTo>
                  <a:pt x="1180" y="83"/>
                </a:lnTo>
                <a:lnTo>
                  <a:pt x="1181" y="80"/>
                </a:lnTo>
                <a:lnTo>
                  <a:pt x="1181" y="79"/>
                </a:lnTo>
                <a:lnTo>
                  <a:pt x="1182" y="78"/>
                </a:lnTo>
                <a:lnTo>
                  <a:pt x="1182" y="79"/>
                </a:lnTo>
                <a:lnTo>
                  <a:pt x="1183" y="80"/>
                </a:lnTo>
                <a:lnTo>
                  <a:pt x="1184" y="83"/>
                </a:lnTo>
                <a:lnTo>
                  <a:pt x="1186" y="86"/>
                </a:lnTo>
                <a:lnTo>
                  <a:pt x="1189" y="90"/>
                </a:lnTo>
                <a:lnTo>
                  <a:pt x="1193" y="95"/>
                </a:lnTo>
                <a:lnTo>
                  <a:pt x="1197" y="101"/>
                </a:lnTo>
                <a:lnTo>
                  <a:pt x="1201" y="108"/>
                </a:lnTo>
                <a:lnTo>
                  <a:pt x="1206" y="116"/>
                </a:lnTo>
                <a:lnTo>
                  <a:pt x="1212" y="125"/>
                </a:lnTo>
                <a:lnTo>
                  <a:pt x="1219" y="134"/>
                </a:lnTo>
                <a:lnTo>
                  <a:pt x="1226" y="145"/>
                </a:lnTo>
                <a:lnTo>
                  <a:pt x="1233" y="156"/>
                </a:lnTo>
                <a:lnTo>
                  <a:pt x="1242" y="169"/>
                </a:lnTo>
                <a:lnTo>
                  <a:pt x="1251" y="182"/>
                </a:lnTo>
                <a:lnTo>
                  <a:pt x="1260" y="197"/>
                </a:lnTo>
                <a:lnTo>
                  <a:pt x="1270" y="211"/>
                </a:lnTo>
                <a:lnTo>
                  <a:pt x="1279" y="224"/>
                </a:lnTo>
                <a:lnTo>
                  <a:pt x="1287" y="237"/>
                </a:lnTo>
                <a:lnTo>
                  <a:pt x="1295" y="248"/>
                </a:lnTo>
                <a:lnTo>
                  <a:pt x="1302" y="259"/>
                </a:lnTo>
                <a:lnTo>
                  <a:pt x="1308" y="269"/>
                </a:lnTo>
                <a:lnTo>
                  <a:pt x="1314" y="277"/>
                </a:lnTo>
                <a:lnTo>
                  <a:pt x="1319" y="285"/>
                </a:lnTo>
                <a:lnTo>
                  <a:pt x="1324" y="292"/>
                </a:lnTo>
                <a:lnTo>
                  <a:pt x="1328" y="298"/>
                </a:lnTo>
                <a:lnTo>
                  <a:pt x="1331" y="303"/>
                </a:lnTo>
                <a:lnTo>
                  <a:pt x="1334" y="307"/>
                </a:lnTo>
                <a:lnTo>
                  <a:pt x="1336" y="311"/>
                </a:lnTo>
                <a:lnTo>
                  <a:pt x="1338" y="313"/>
                </a:lnTo>
                <a:lnTo>
                  <a:pt x="1339" y="314"/>
                </a:lnTo>
                <a:lnTo>
                  <a:pt x="1339" y="315"/>
                </a:lnTo>
                <a:lnTo>
                  <a:pt x="1339" y="314"/>
                </a:lnTo>
                <a:lnTo>
                  <a:pt x="1340" y="314"/>
                </a:lnTo>
                <a:lnTo>
                  <a:pt x="1340" y="312"/>
                </a:lnTo>
                <a:lnTo>
                  <a:pt x="1341" y="310"/>
                </a:lnTo>
                <a:lnTo>
                  <a:pt x="1343" y="307"/>
                </a:lnTo>
                <a:lnTo>
                  <a:pt x="1345" y="304"/>
                </a:lnTo>
                <a:lnTo>
                  <a:pt x="1347" y="300"/>
                </a:lnTo>
                <a:lnTo>
                  <a:pt x="1349" y="295"/>
                </a:lnTo>
                <a:lnTo>
                  <a:pt x="1351" y="290"/>
                </a:lnTo>
                <a:lnTo>
                  <a:pt x="1354" y="284"/>
                </a:lnTo>
                <a:lnTo>
                  <a:pt x="1358" y="278"/>
                </a:lnTo>
                <a:lnTo>
                  <a:pt x="1361" y="270"/>
                </a:lnTo>
                <a:lnTo>
                  <a:pt x="1365" y="263"/>
                </a:lnTo>
                <a:lnTo>
                  <a:pt x="1369" y="254"/>
                </a:lnTo>
                <a:lnTo>
                  <a:pt x="1374" y="246"/>
                </a:lnTo>
                <a:lnTo>
                  <a:pt x="1378" y="236"/>
                </a:lnTo>
                <a:lnTo>
                  <a:pt x="1383" y="226"/>
                </a:lnTo>
                <a:lnTo>
                  <a:pt x="1388" y="218"/>
                </a:lnTo>
                <a:lnTo>
                  <a:pt x="1392" y="209"/>
                </a:lnTo>
                <a:lnTo>
                  <a:pt x="1396" y="202"/>
                </a:lnTo>
                <a:lnTo>
                  <a:pt x="1399" y="194"/>
                </a:lnTo>
                <a:lnTo>
                  <a:pt x="1402" y="188"/>
                </a:lnTo>
                <a:lnTo>
                  <a:pt x="1405" y="182"/>
                </a:lnTo>
                <a:lnTo>
                  <a:pt x="1408" y="177"/>
                </a:lnTo>
                <a:lnTo>
                  <a:pt x="1410" y="172"/>
                </a:lnTo>
                <a:lnTo>
                  <a:pt x="1412" y="168"/>
                </a:lnTo>
                <a:lnTo>
                  <a:pt x="1414" y="165"/>
                </a:lnTo>
                <a:lnTo>
                  <a:pt x="1415" y="162"/>
                </a:lnTo>
                <a:lnTo>
                  <a:pt x="1416" y="160"/>
                </a:lnTo>
                <a:lnTo>
                  <a:pt x="1417" y="158"/>
                </a:lnTo>
                <a:lnTo>
                  <a:pt x="1418" y="158"/>
                </a:lnTo>
                <a:lnTo>
                  <a:pt x="1418" y="157"/>
                </a:lnTo>
                <a:lnTo>
                  <a:pt x="1419" y="157"/>
                </a:lnTo>
                <a:lnTo>
                  <a:pt x="1421" y="157"/>
                </a:lnTo>
                <a:lnTo>
                  <a:pt x="1423" y="157"/>
                </a:lnTo>
                <a:lnTo>
                  <a:pt x="1425" y="157"/>
                </a:lnTo>
                <a:lnTo>
                  <a:pt x="1429" y="157"/>
                </a:lnTo>
                <a:lnTo>
                  <a:pt x="1433" y="157"/>
                </a:lnTo>
                <a:lnTo>
                  <a:pt x="1437" y="157"/>
                </a:lnTo>
                <a:lnTo>
                  <a:pt x="1443" y="157"/>
                </a:lnTo>
                <a:lnTo>
                  <a:pt x="1449" y="157"/>
                </a:lnTo>
                <a:lnTo>
                  <a:pt x="1455" y="157"/>
                </a:lnTo>
                <a:lnTo>
                  <a:pt x="1462" y="157"/>
                </a:lnTo>
                <a:lnTo>
                  <a:pt x="1470" y="157"/>
                </a:lnTo>
                <a:lnTo>
                  <a:pt x="1478" y="157"/>
                </a:lnTo>
                <a:lnTo>
                  <a:pt x="1487" y="157"/>
                </a:lnTo>
                <a:lnTo>
                  <a:pt x="1497" y="157"/>
                </a:lnTo>
                <a:lnTo>
                  <a:pt x="1506" y="157"/>
                </a:lnTo>
                <a:lnTo>
                  <a:pt x="1515" y="157"/>
                </a:lnTo>
                <a:lnTo>
                  <a:pt x="1523" y="157"/>
                </a:lnTo>
                <a:lnTo>
                  <a:pt x="1531" y="157"/>
                </a:lnTo>
                <a:lnTo>
                  <a:pt x="1538" y="157"/>
                </a:lnTo>
                <a:lnTo>
                  <a:pt x="1544" y="157"/>
                </a:lnTo>
                <a:lnTo>
                  <a:pt x="1550" y="157"/>
                </a:lnTo>
                <a:lnTo>
                  <a:pt x="1556" y="157"/>
                </a:lnTo>
                <a:lnTo>
                  <a:pt x="1560" y="157"/>
                </a:lnTo>
                <a:lnTo>
                  <a:pt x="1564" y="157"/>
                </a:lnTo>
                <a:lnTo>
                  <a:pt x="1568" y="157"/>
                </a:lnTo>
                <a:lnTo>
                  <a:pt x="1570" y="157"/>
                </a:lnTo>
                <a:lnTo>
                  <a:pt x="1572" y="157"/>
                </a:lnTo>
                <a:lnTo>
                  <a:pt x="1574" y="157"/>
                </a:lnTo>
                <a:lnTo>
                  <a:pt x="1575" y="157"/>
                </a:lnTo>
                <a:lnTo>
                  <a:pt x="1575" y="156"/>
                </a:lnTo>
                <a:lnTo>
                  <a:pt x="1575" y="154"/>
                </a:lnTo>
                <a:lnTo>
                  <a:pt x="1575" y="152"/>
                </a:lnTo>
                <a:lnTo>
                  <a:pt x="1575" y="150"/>
                </a:lnTo>
                <a:lnTo>
                  <a:pt x="1575" y="146"/>
                </a:lnTo>
                <a:lnTo>
                  <a:pt x="1575" y="142"/>
                </a:lnTo>
                <a:lnTo>
                  <a:pt x="1575" y="138"/>
                </a:lnTo>
                <a:lnTo>
                  <a:pt x="1575" y="132"/>
                </a:lnTo>
                <a:lnTo>
                  <a:pt x="1575" y="126"/>
                </a:lnTo>
                <a:lnTo>
                  <a:pt x="1575" y="120"/>
                </a:lnTo>
                <a:lnTo>
                  <a:pt x="1575" y="113"/>
                </a:lnTo>
                <a:lnTo>
                  <a:pt x="1575" y="105"/>
                </a:lnTo>
                <a:lnTo>
                  <a:pt x="1575" y="97"/>
                </a:lnTo>
                <a:lnTo>
                  <a:pt x="1575" y="88"/>
                </a:lnTo>
                <a:lnTo>
                  <a:pt x="1575" y="78"/>
                </a:lnTo>
                <a:lnTo>
                  <a:pt x="1575" y="69"/>
                </a:lnTo>
                <a:lnTo>
                  <a:pt x="1575" y="60"/>
                </a:lnTo>
                <a:lnTo>
                  <a:pt x="1575" y="52"/>
                </a:lnTo>
                <a:lnTo>
                  <a:pt x="1575" y="44"/>
                </a:lnTo>
                <a:lnTo>
                  <a:pt x="1575" y="37"/>
                </a:lnTo>
                <a:lnTo>
                  <a:pt x="1575" y="31"/>
                </a:lnTo>
                <a:lnTo>
                  <a:pt x="1575" y="25"/>
                </a:lnTo>
                <a:lnTo>
                  <a:pt x="1575" y="19"/>
                </a:lnTo>
                <a:lnTo>
                  <a:pt x="1575" y="15"/>
                </a:lnTo>
                <a:lnTo>
                  <a:pt x="1575" y="11"/>
                </a:lnTo>
                <a:lnTo>
                  <a:pt x="1575" y="7"/>
                </a:lnTo>
                <a:lnTo>
                  <a:pt x="1575" y="5"/>
                </a:lnTo>
                <a:lnTo>
                  <a:pt x="1575" y="3"/>
                </a:lnTo>
                <a:lnTo>
                  <a:pt x="1575" y="1"/>
                </a:lnTo>
                <a:lnTo>
                  <a:pt x="1575" y="0"/>
                </a:lnTo>
                <a:lnTo>
                  <a:pt x="1576" y="1"/>
                </a:lnTo>
                <a:lnTo>
                  <a:pt x="1579" y="3"/>
                </a:lnTo>
                <a:lnTo>
                  <a:pt x="1584" y="8"/>
                </a:lnTo>
                <a:lnTo>
                  <a:pt x="1590" y="15"/>
                </a:lnTo>
                <a:lnTo>
                  <a:pt x="1598" y="23"/>
                </a:lnTo>
                <a:lnTo>
                  <a:pt x="1608" y="33"/>
                </a:lnTo>
                <a:lnTo>
                  <a:pt x="1620" y="45"/>
                </a:lnTo>
                <a:lnTo>
                  <a:pt x="1634" y="59"/>
                </a:lnTo>
                <a:lnTo>
                  <a:pt x="1650" y="75"/>
                </a:lnTo>
                <a:lnTo>
                  <a:pt x="1668" y="92"/>
                </a:lnTo>
                <a:lnTo>
                  <a:pt x="1687" y="111"/>
                </a:lnTo>
                <a:lnTo>
                  <a:pt x="1708" y="133"/>
                </a:lnTo>
                <a:lnTo>
                  <a:pt x="1731" y="156"/>
                </a:lnTo>
                <a:lnTo>
                  <a:pt x="1756" y="181"/>
                </a:lnTo>
                <a:lnTo>
                  <a:pt x="1783" y="207"/>
                </a:lnTo>
                <a:lnTo>
                  <a:pt x="1812" y="236"/>
                </a:lnTo>
                <a:lnTo>
                  <a:pt x="1839" y="266"/>
                </a:lnTo>
                <a:lnTo>
                  <a:pt x="1863" y="295"/>
                </a:lnTo>
                <a:lnTo>
                  <a:pt x="1883" y="325"/>
                </a:lnTo>
                <a:lnTo>
                  <a:pt x="1900" y="354"/>
                </a:lnTo>
                <a:lnTo>
                  <a:pt x="1913" y="384"/>
                </a:lnTo>
                <a:lnTo>
                  <a:pt x="1922" y="413"/>
                </a:lnTo>
                <a:lnTo>
                  <a:pt x="1928" y="443"/>
                </a:lnTo>
                <a:lnTo>
                  <a:pt x="1930" y="472"/>
                </a:lnTo>
                <a:lnTo>
                  <a:pt x="1928" y="502"/>
                </a:lnTo>
                <a:lnTo>
                  <a:pt x="1922" y="531"/>
                </a:lnTo>
                <a:lnTo>
                  <a:pt x="1913" y="561"/>
                </a:lnTo>
                <a:lnTo>
                  <a:pt x="1900" y="590"/>
                </a:lnTo>
                <a:lnTo>
                  <a:pt x="1883" y="620"/>
                </a:lnTo>
                <a:lnTo>
                  <a:pt x="1863" y="649"/>
                </a:lnTo>
                <a:lnTo>
                  <a:pt x="1839" y="679"/>
                </a:lnTo>
                <a:lnTo>
                  <a:pt x="1812" y="708"/>
                </a:lnTo>
                <a:lnTo>
                  <a:pt x="1783" y="737"/>
                </a:lnTo>
                <a:lnTo>
                  <a:pt x="1756" y="764"/>
                </a:lnTo>
                <a:lnTo>
                  <a:pt x="1731" y="789"/>
                </a:lnTo>
                <a:lnTo>
                  <a:pt x="1708" y="812"/>
                </a:lnTo>
                <a:lnTo>
                  <a:pt x="1687" y="833"/>
                </a:lnTo>
                <a:lnTo>
                  <a:pt x="1668" y="852"/>
                </a:lnTo>
                <a:lnTo>
                  <a:pt x="1650" y="870"/>
                </a:lnTo>
                <a:lnTo>
                  <a:pt x="1634" y="886"/>
                </a:lnTo>
                <a:lnTo>
                  <a:pt x="1620" y="900"/>
                </a:lnTo>
                <a:lnTo>
                  <a:pt x="1608" y="912"/>
                </a:lnTo>
                <a:lnTo>
                  <a:pt x="1598" y="922"/>
                </a:lnTo>
                <a:lnTo>
                  <a:pt x="1590" y="930"/>
                </a:lnTo>
                <a:lnTo>
                  <a:pt x="1584" y="936"/>
                </a:lnTo>
                <a:lnTo>
                  <a:pt x="1579" y="941"/>
                </a:lnTo>
                <a:lnTo>
                  <a:pt x="1576" y="944"/>
                </a:lnTo>
                <a:lnTo>
                  <a:pt x="1575" y="945"/>
                </a:lnTo>
                <a:lnTo>
                  <a:pt x="1575" y="944"/>
                </a:lnTo>
                <a:lnTo>
                  <a:pt x="1575" y="942"/>
                </a:lnTo>
                <a:lnTo>
                  <a:pt x="1575" y="940"/>
                </a:lnTo>
                <a:lnTo>
                  <a:pt x="1575" y="937"/>
                </a:lnTo>
                <a:lnTo>
                  <a:pt x="1575" y="934"/>
                </a:lnTo>
                <a:lnTo>
                  <a:pt x="1575" y="930"/>
                </a:lnTo>
                <a:lnTo>
                  <a:pt x="1575" y="925"/>
                </a:lnTo>
                <a:lnTo>
                  <a:pt x="1575" y="920"/>
                </a:lnTo>
                <a:lnTo>
                  <a:pt x="1575" y="914"/>
                </a:lnTo>
                <a:lnTo>
                  <a:pt x="1575" y="908"/>
                </a:lnTo>
                <a:lnTo>
                  <a:pt x="1575" y="900"/>
                </a:lnTo>
                <a:lnTo>
                  <a:pt x="1575" y="893"/>
                </a:lnTo>
                <a:lnTo>
                  <a:pt x="1575" y="884"/>
                </a:lnTo>
                <a:lnTo>
                  <a:pt x="1575" y="876"/>
                </a:lnTo>
                <a:lnTo>
                  <a:pt x="1575" y="866"/>
                </a:lnTo>
                <a:lnTo>
                  <a:pt x="1575" y="856"/>
                </a:lnTo>
                <a:lnTo>
                  <a:pt x="1575" y="848"/>
                </a:lnTo>
                <a:lnTo>
                  <a:pt x="1575" y="839"/>
                </a:lnTo>
                <a:lnTo>
                  <a:pt x="1575" y="832"/>
                </a:lnTo>
                <a:lnTo>
                  <a:pt x="1575" y="824"/>
                </a:lnTo>
                <a:lnTo>
                  <a:pt x="1575" y="818"/>
                </a:lnTo>
                <a:lnTo>
                  <a:pt x="1575" y="812"/>
                </a:lnTo>
                <a:lnTo>
                  <a:pt x="1575" y="807"/>
                </a:lnTo>
                <a:lnTo>
                  <a:pt x="1575" y="802"/>
                </a:lnTo>
                <a:lnTo>
                  <a:pt x="1575" y="798"/>
                </a:lnTo>
                <a:lnTo>
                  <a:pt x="1575" y="795"/>
                </a:lnTo>
                <a:lnTo>
                  <a:pt x="1575" y="792"/>
                </a:lnTo>
                <a:lnTo>
                  <a:pt x="1575" y="790"/>
                </a:lnTo>
                <a:lnTo>
                  <a:pt x="1575" y="788"/>
                </a:lnTo>
                <a:lnTo>
                  <a:pt x="1575" y="787"/>
                </a:lnTo>
                <a:lnTo>
                  <a:pt x="1574" y="787"/>
                </a:lnTo>
                <a:lnTo>
                  <a:pt x="1572" y="787"/>
                </a:lnTo>
                <a:lnTo>
                  <a:pt x="1570" y="787"/>
                </a:lnTo>
                <a:lnTo>
                  <a:pt x="1568" y="787"/>
                </a:lnTo>
                <a:lnTo>
                  <a:pt x="1564" y="787"/>
                </a:lnTo>
                <a:lnTo>
                  <a:pt x="1560" y="787"/>
                </a:lnTo>
                <a:lnTo>
                  <a:pt x="1556" y="787"/>
                </a:lnTo>
                <a:lnTo>
                  <a:pt x="1550" y="787"/>
                </a:lnTo>
                <a:lnTo>
                  <a:pt x="1544" y="787"/>
                </a:lnTo>
                <a:lnTo>
                  <a:pt x="1538" y="787"/>
                </a:lnTo>
                <a:lnTo>
                  <a:pt x="1531" y="787"/>
                </a:lnTo>
                <a:lnTo>
                  <a:pt x="1523" y="787"/>
                </a:lnTo>
                <a:lnTo>
                  <a:pt x="1515" y="787"/>
                </a:lnTo>
                <a:lnTo>
                  <a:pt x="1506" y="787"/>
                </a:lnTo>
                <a:lnTo>
                  <a:pt x="1497" y="787"/>
                </a:lnTo>
                <a:lnTo>
                  <a:pt x="1487" y="787"/>
                </a:lnTo>
                <a:lnTo>
                  <a:pt x="1478" y="787"/>
                </a:lnTo>
                <a:lnTo>
                  <a:pt x="1470" y="787"/>
                </a:lnTo>
                <a:lnTo>
                  <a:pt x="1462" y="787"/>
                </a:lnTo>
                <a:lnTo>
                  <a:pt x="1455" y="787"/>
                </a:lnTo>
                <a:lnTo>
                  <a:pt x="1449" y="787"/>
                </a:lnTo>
                <a:lnTo>
                  <a:pt x="1443" y="787"/>
                </a:lnTo>
                <a:lnTo>
                  <a:pt x="1437" y="787"/>
                </a:lnTo>
                <a:lnTo>
                  <a:pt x="1433" y="787"/>
                </a:lnTo>
                <a:lnTo>
                  <a:pt x="1429" y="787"/>
                </a:lnTo>
                <a:lnTo>
                  <a:pt x="1425" y="787"/>
                </a:lnTo>
                <a:lnTo>
                  <a:pt x="1423" y="787"/>
                </a:lnTo>
                <a:lnTo>
                  <a:pt x="1421" y="787"/>
                </a:lnTo>
                <a:lnTo>
                  <a:pt x="1419" y="787"/>
                </a:lnTo>
                <a:lnTo>
                  <a:pt x="1418" y="787"/>
                </a:lnTo>
                <a:lnTo>
                  <a:pt x="1418" y="788"/>
                </a:lnTo>
                <a:lnTo>
                  <a:pt x="1417" y="788"/>
                </a:lnTo>
                <a:lnTo>
                  <a:pt x="1416" y="790"/>
                </a:lnTo>
                <a:lnTo>
                  <a:pt x="1415" y="792"/>
                </a:lnTo>
                <a:lnTo>
                  <a:pt x="1414" y="795"/>
                </a:lnTo>
                <a:lnTo>
                  <a:pt x="1412" y="798"/>
                </a:lnTo>
                <a:lnTo>
                  <a:pt x="1410" y="802"/>
                </a:lnTo>
                <a:lnTo>
                  <a:pt x="1408" y="807"/>
                </a:lnTo>
                <a:lnTo>
                  <a:pt x="1405" y="812"/>
                </a:lnTo>
                <a:lnTo>
                  <a:pt x="1402" y="818"/>
                </a:lnTo>
                <a:lnTo>
                  <a:pt x="1399" y="824"/>
                </a:lnTo>
                <a:lnTo>
                  <a:pt x="1396" y="832"/>
                </a:lnTo>
                <a:lnTo>
                  <a:pt x="1392" y="839"/>
                </a:lnTo>
                <a:lnTo>
                  <a:pt x="1388" y="848"/>
                </a:lnTo>
                <a:lnTo>
                  <a:pt x="1383" y="856"/>
                </a:lnTo>
                <a:lnTo>
                  <a:pt x="1378" y="866"/>
                </a:lnTo>
                <a:lnTo>
                  <a:pt x="1374" y="876"/>
                </a:lnTo>
                <a:lnTo>
                  <a:pt x="1369" y="884"/>
                </a:lnTo>
                <a:lnTo>
                  <a:pt x="1365" y="893"/>
                </a:lnTo>
                <a:lnTo>
                  <a:pt x="1361" y="900"/>
                </a:lnTo>
                <a:lnTo>
                  <a:pt x="1358" y="908"/>
                </a:lnTo>
                <a:lnTo>
                  <a:pt x="1354" y="914"/>
                </a:lnTo>
                <a:lnTo>
                  <a:pt x="1351" y="920"/>
                </a:lnTo>
                <a:lnTo>
                  <a:pt x="1349" y="925"/>
                </a:lnTo>
                <a:lnTo>
                  <a:pt x="1347" y="930"/>
                </a:lnTo>
                <a:lnTo>
                  <a:pt x="1345" y="934"/>
                </a:lnTo>
                <a:lnTo>
                  <a:pt x="1343" y="937"/>
                </a:lnTo>
                <a:lnTo>
                  <a:pt x="1341" y="940"/>
                </a:lnTo>
                <a:lnTo>
                  <a:pt x="1340" y="942"/>
                </a:lnTo>
                <a:lnTo>
                  <a:pt x="1340" y="944"/>
                </a:lnTo>
                <a:lnTo>
                  <a:pt x="1339" y="944"/>
                </a:lnTo>
                <a:lnTo>
                  <a:pt x="1339" y="945"/>
                </a:lnTo>
                <a:lnTo>
                  <a:pt x="1339" y="944"/>
                </a:lnTo>
                <a:lnTo>
                  <a:pt x="1338" y="943"/>
                </a:lnTo>
                <a:lnTo>
                  <a:pt x="1336" y="941"/>
                </a:lnTo>
                <a:lnTo>
                  <a:pt x="1334" y="937"/>
                </a:lnTo>
                <a:lnTo>
                  <a:pt x="1331" y="933"/>
                </a:lnTo>
                <a:lnTo>
                  <a:pt x="1328" y="928"/>
                </a:lnTo>
                <a:lnTo>
                  <a:pt x="1324" y="922"/>
                </a:lnTo>
                <a:lnTo>
                  <a:pt x="1319" y="915"/>
                </a:lnTo>
                <a:lnTo>
                  <a:pt x="1314" y="907"/>
                </a:lnTo>
                <a:lnTo>
                  <a:pt x="1308" y="899"/>
                </a:lnTo>
                <a:lnTo>
                  <a:pt x="1302" y="889"/>
                </a:lnTo>
                <a:lnTo>
                  <a:pt x="1295" y="878"/>
                </a:lnTo>
                <a:lnTo>
                  <a:pt x="1287" y="867"/>
                </a:lnTo>
                <a:lnTo>
                  <a:pt x="1279" y="854"/>
                </a:lnTo>
                <a:lnTo>
                  <a:pt x="1270" y="841"/>
                </a:lnTo>
                <a:lnTo>
                  <a:pt x="1260" y="827"/>
                </a:lnTo>
                <a:lnTo>
                  <a:pt x="1251" y="812"/>
                </a:lnTo>
                <a:lnTo>
                  <a:pt x="1242" y="799"/>
                </a:lnTo>
                <a:lnTo>
                  <a:pt x="1233" y="786"/>
                </a:lnTo>
                <a:lnTo>
                  <a:pt x="1226" y="775"/>
                </a:lnTo>
                <a:lnTo>
                  <a:pt x="1219" y="764"/>
                </a:lnTo>
                <a:lnTo>
                  <a:pt x="1212" y="755"/>
                </a:lnTo>
                <a:lnTo>
                  <a:pt x="1206" y="746"/>
                </a:lnTo>
                <a:lnTo>
                  <a:pt x="1201" y="738"/>
                </a:lnTo>
                <a:lnTo>
                  <a:pt x="1197" y="731"/>
                </a:lnTo>
                <a:lnTo>
                  <a:pt x="1193" y="725"/>
                </a:lnTo>
                <a:lnTo>
                  <a:pt x="1189" y="720"/>
                </a:lnTo>
                <a:lnTo>
                  <a:pt x="1186" y="716"/>
                </a:lnTo>
                <a:lnTo>
                  <a:pt x="1184" y="713"/>
                </a:lnTo>
                <a:lnTo>
                  <a:pt x="1183" y="710"/>
                </a:lnTo>
                <a:lnTo>
                  <a:pt x="1182" y="709"/>
                </a:lnTo>
                <a:lnTo>
                  <a:pt x="1182" y="708"/>
                </a:lnTo>
                <a:lnTo>
                  <a:pt x="1181" y="709"/>
                </a:lnTo>
                <a:lnTo>
                  <a:pt x="1181" y="710"/>
                </a:lnTo>
                <a:lnTo>
                  <a:pt x="1180" y="713"/>
                </a:lnTo>
                <a:lnTo>
                  <a:pt x="1179" y="716"/>
                </a:lnTo>
                <a:lnTo>
                  <a:pt x="1178" y="720"/>
                </a:lnTo>
                <a:lnTo>
                  <a:pt x="1176" y="725"/>
                </a:lnTo>
                <a:lnTo>
                  <a:pt x="1174" y="731"/>
                </a:lnTo>
                <a:lnTo>
                  <a:pt x="1172" y="738"/>
                </a:lnTo>
                <a:lnTo>
                  <a:pt x="1169" y="746"/>
                </a:lnTo>
                <a:lnTo>
                  <a:pt x="1166" y="755"/>
                </a:lnTo>
                <a:lnTo>
                  <a:pt x="1163" y="764"/>
                </a:lnTo>
                <a:lnTo>
                  <a:pt x="1159" y="775"/>
                </a:lnTo>
                <a:lnTo>
                  <a:pt x="1156" y="786"/>
                </a:lnTo>
                <a:lnTo>
                  <a:pt x="1151" y="799"/>
                </a:lnTo>
                <a:lnTo>
                  <a:pt x="1147" y="812"/>
                </a:lnTo>
                <a:lnTo>
                  <a:pt x="1142" y="827"/>
                </a:lnTo>
                <a:lnTo>
                  <a:pt x="1137" y="841"/>
                </a:lnTo>
                <a:lnTo>
                  <a:pt x="1133" y="854"/>
                </a:lnTo>
                <a:lnTo>
                  <a:pt x="1129" y="867"/>
                </a:lnTo>
                <a:lnTo>
                  <a:pt x="1125" y="878"/>
                </a:lnTo>
                <a:lnTo>
                  <a:pt x="1121" y="889"/>
                </a:lnTo>
                <a:lnTo>
                  <a:pt x="1118" y="899"/>
                </a:lnTo>
                <a:lnTo>
                  <a:pt x="1115" y="907"/>
                </a:lnTo>
                <a:lnTo>
                  <a:pt x="1113" y="915"/>
                </a:lnTo>
                <a:lnTo>
                  <a:pt x="1110" y="922"/>
                </a:lnTo>
                <a:lnTo>
                  <a:pt x="1108" y="928"/>
                </a:lnTo>
                <a:lnTo>
                  <a:pt x="1107" y="933"/>
                </a:lnTo>
                <a:lnTo>
                  <a:pt x="1105" y="937"/>
                </a:lnTo>
                <a:lnTo>
                  <a:pt x="1104" y="941"/>
                </a:lnTo>
                <a:lnTo>
                  <a:pt x="1103" y="943"/>
                </a:lnTo>
                <a:lnTo>
                  <a:pt x="1103" y="944"/>
                </a:lnTo>
                <a:lnTo>
                  <a:pt x="1103" y="945"/>
                </a:lnTo>
                <a:lnTo>
                  <a:pt x="1102" y="944"/>
                </a:lnTo>
                <a:lnTo>
                  <a:pt x="1102" y="942"/>
                </a:lnTo>
                <a:lnTo>
                  <a:pt x="1100" y="939"/>
                </a:lnTo>
                <a:lnTo>
                  <a:pt x="1098" y="935"/>
                </a:lnTo>
                <a:lnTo>
                  <a:pt x="1095" y="929"/>
                </a:lnTo>
                <a:lnTo>
                  <a:pt x="1092" y="923"/>
                </a:lnTo>
                <a:lnTo>
                  <a:pt x="1088" y="915"/>
                </a:lnTo>
                <a:lnTo>
                  <a:pt x="1083" y="905"/>
                </a:lnTo>
                <a:lnTo>
                  <a:pt x="1078" y="895"/>
                </a:lnTo>
                <a:lnTo>
                  <a:pt x="1072" y="883"/>
                </a:lnTo>
                <a:lnTo>
                  <a:pt x="1066" y="870"/>
                </a:lnTo>
                <a:lnTo>
                  <a:pt x="1058" y="856"/>
                </a:lnTo>
                <a:lnTo>
                  <a:pt x="1051" y="841"/>
                </a:lnTo>
                <a:lnTo>
                  <a:pt x="1042" y="824"/>
                </a:lnTo>
                <a:lnTo>
                  <a:pt x="1034" y="806"/>
                </a:lnTo>
                <a:lnTo>
                  <a:pt x="1024" y="787"/>
                </a:lnTo>
                <a:lnTo>
                  <a:pt x="1014" y="768"/>
                </a:lnTo>
                <a:lnTo>
                  <a:pt x="1006" y="750"/>
                </a:lnTo>
                <a:lnTo>
                  <a:pt x="997" y="734"/>
                </a:lnTo>
                <a:lnTo>
                  <a:pt x="990" y="718"/>
                </a:lnTo>
                <a:lnTo>
                  <a:pt x="982" y="704"/>
                </a:lnTo>
                <a:lnTo>
                  <a:pt x="976" y="691"/>
                </a:lnTo>
                <a:lnTo>
                  <a:pt x="970" y="680"/>
                </a:lnTo>
                <a:lnTo>
                  <a:pt x="965" y="669"/>
                </a:lnTo>
                <a:lnTo>
                  <a:pt x="960" y="660"/>
                </a:lnTo>
                <a:lnTo>
                  <a:pt x="956" y="652"/>
                </a:lnTo>
                <a:lnTo>
                  <a:pt x="953" y="645"/>
                </a:lnTo>
                <a:lnTo>
                  <a:pt x="950" y="640"/>
                </a:lnTo>
                <a:lnTo>
                  <a:pt x="948" y="635"/>
                </a:lnTo>
                <a:lnTo>
                  <a:pt x="946" y="632"/>
                </a:lnTo>
                <a:lnTo>
                  <a:pt x="946" y="630"/>
                </a:lnTo>
                <a:lnTo>
                  <a:pt x="945" y="630"/>
                </a:lnTo>
                <a:lnTo>
                  <a:pt x="944" y="631"/>
                </a:lnTo>
                <a:lnTo>
                  <a:pt x="942" y="633"/>
                </a:lnTo>
                <a:lnTo>
                  <a:pt x="940" y="635"/>
                </a:lnTo>
                <a:lnTo>
                  <a:pt x="938" y="637"/>
                </a:lnTo>
                <a:lnTo>
                  <a:pt x="934" y="641"/>
                </a:lnTo>
                <a:lnTo>
                  <a:pt x="930" y="645"/>
                </a:lnTo>
                <a:lnTo>
                  <a:pt x="926" y="649"/>
                </a:lnTo>
                <a:lnTo>
                  <a:pt x="920" y="655"/>
                </a:lnTo>
                <a:lnTo>
                  <a:pt x="914" y="661"/>
                </a:lnTo>
                <a:lnTo>
                  <a:pt x="908" y="667"/>
                </a:lnTo>
                <a:lnTo>
                  <a:pt x="901" y="674"/>
                </a:lnTo>
                <a:lnTo>
                  <a:pt x="893" y="682"/>
                </a:lnTo>
                <a:lnTo>
                  <a:pt x="885" y="690"/>
                </a:lnTo>
                <a:lnTo>
                  <a:pt x="876" y="699"/>
                </a:lnTo>
                <a:lnTo>
                  <a:pt x="867" y="708"/>
                </a:lnTo>
                <a:lnTo>
                  <a:pt x="857" y="718"/>
                </a:lnTo>
                <a:lnTo>
                  <a:pt x="848" y="727"/>
                </a:lnTo>
                <a:lnTo>
                  <a:pt x="840" y="735"/>
                </a:lnTo>
                <a:lnTo>
                  <a:pt x="832" y="743"/>
                </a:lnTo>
                <a:lnTo>
                  <a:pt x="825" y="750"/>
                </a:lnTo>
                <a:lnTo>
                  <a:pt x="819" y="756"/>
                </a:lnTo>
                <a:lnTo>
                  <a:pt x="813" y="762"/>
                </a:lnTo>
                <a:lnTo>
                  <a:pt x="807" y="768"/>
                </a:lnTo>
                <a:lnTo>
                  <a:pt x="803" y="772"/>
                </a:lnTo>
                <a:lnTo>
                  <a:pt x="799" y="776"/>
                </a:lnTo>
                <a:lnTo>
                  <a:pt x="795" y="780"/>
                </a:lnTo>
                <a:lnTo>
                  <a:pt x="793" y="782"/>
                </a:lnTo>
                <a:lnTo>
                  <a:pt x="791" y="784"/>
                </a:lnTo>
                <a:lnTo>
                  <a:pt x="789" y="786"/>
                </a:lnTo>
                <a:lnTo>
                  <a:pt x="788" y="787"/>
                </a:lnTo>
                <a:lnTo>
                  <a:pt x="786" y="787"/>
                </a:lnTo>
                <a:lnTo>
                  <a:pt x="782" y="787"/>
                </a:lnTo>
                <a:lnTo>
                  <a:pt x="774" y="787"/>
                </a:lnTo>
                <a:lnTo>
                  <a:pt x="763" y="787"/>
                </a:lnTo>
                <a:lnTo>
                  <a:pt x="749" y="787"/>
                </a:lnTo>
                <a:lnTo>
                  <a:pt x="732" y="787"/>
                </a:lnTo>
                <a:lnTo>
                  <a:pt x="712" y="787"/>
                </a:lnTo>
                <a:lnTo>
                  <a:pt x="689" y="787"/>
                </a:lnTo>
                <a:lnTo>
                  <a:pt x="663" y="787"/>
                </a:lnTo>
                <a:lnTo>
                  <a:pt x="634" y="787"/>
                </a:lnTo>
                <a:lnTo>
                  <a:pt x="602" y="787"/>
                </a:lnTo>
                <a:lnTo>
                  <a:pt x="566" y="787"/>
                </a:lnTo>
                <a:lnTo>
                  <a:pt x="528" y="787"/>
                </a:lnTo>
                <a:lnTo>
                  <a:pt x="486" y="787"/>
                </a:lnTo>
                <a:lnTo>
                  <a:pt x="442" y="787"/>
                </a:lnTo>
                <a:lnTo>
                  <a:pt x="394" y="787"/>
                </a:lnTo>
                <a:lnTo>
                  <a:pt x="346" y="787"/>
                </a:lnTo>
                <a:lnTo>
                  <a:pt x="302" y="787"/>
                </a:lnTo>
                <a:lnTo>
                  <a:pt x="260" y="787"/>
                </a:lnTo>
                <a:lnTo>
                  <a:pt x="222" y="787"/>
                </a:lnTo>
                <a:lnTo>
                  <a:pt x="186" y="787"/>
                </a:lnTo>
                <a:lnTo>
                  <a:pt x="154" y="787"/>
                </a:lnTo>
                <a:lnTo>
                  <a:pt x="125" y="787"/>
                </a:lnTo>
                <a:lnTo>
                  <a:pt x="99" y="787"/>
                </a:lnTo>
                <a:lnTo>
                  <a:pt x="76" y="787"/>
                </a:lnTo>
                <a:lnTo>
                  <a:pt x="56" y="787"/>
                </a:lnTo>
                <a:lnTo>
                  <a:pt x="39" y="787"/>
                </a:lnTo>
                <a:lnTo>
                  <a:pt x="25" y="787"/>
                </a:lnTo>
                <a:lnTo>
                  <a:pt x="14" y="787"/>
                </a:lnTo>
                <a:lnTo>
                  <a:pt x="6" y="787"/>
                </a:lnTo>
                <a:lnTo>
                  <a:pt x="2" y="787"/>
                </a:lnTo>
                <a:lnTo>
                  <a:pt x="0" y="787"/>
                </a:lnTo>
                <a:lnTo>
                  <a:pt x="1" y="787"/>
                </a:lnTo>
                <a:lnTo>
                  <a:pt x="1" y="785"/>
                </a:lnTo>
                <a:lnTo>
                  <a:pt x="3" y="782"/>
                </a:lnTo>
                <a:lnTo>
                  <a:pt x="5" y="777"/>
                </a:lnTo>
                <a:lnTo>
                  <a:pt x="8" y="772"/>
                </a:lnTo>
                <a:lnTo>
                  <a:pt x="11" y="765"/>
                </a:lnTo>
                <a:lnTo>
                  <a:pt x="15" y="757"/>
                </a:lnTo>
                <a:lnTo>
                  <a:pt x="20" y="748"/>
                </a:lnTo>
                <a:lnTo>
                  <a:pt x="25" y="737"/>
                </a:lnTo>
                <a:lnTo>
                  <a:pt x="31" y="726"/>
                </a:lnTo>
                <a:lnTo>
                  <a:pt x="37" y="713"/>
                </a:lnTo>
                <a:lnTo>
                  <a:pt x="45" y="699"/>
                </a:lnTo>
                <a:lnTo>
                  <a:pt x="52" y="683"/>
                </a:lnTo>
                <a:lnTo>
                  <a:pt x="61" y="667"/>
                </a:lnTo>
                <a:lnTo>
                  <a:pt x="69" y="649"/>
                </a:lnTo>
                <a:lnTo>
                  <a:pt x="79" y="630"/>
                </a:lnTo>
                <a:lnTo>
                  <a:pt x="89" y="611"/>
                </a:lnTo>
                <a:lnTo>
                  <a:pt x="97" y="593"/>
                </a:lnTo>
                <a:lnTo>
                  <a:pt x="106" y="576"/>
                </a:lnTo>
                <a:lnTo>
                  <a:pt x="113" y="561"/>
                </a:lnTo>
                <a:lnTo>
                  <a:pt x="121" y="547"/>
                </a:lnTo>
                <a:lnTo>
                  <a:pt x="127" y="534"/>
                </a:lnTo>
                <a:lnTo>
                  <a:pt x="133" y="522"/>
                </a:lnTo>
                <a:lnTo>
                  <a:pt x="138" y="512"/>
                </a:lnTo>
                <a:lnTo>
                  <a:pt x="143" y="502"/>
                </a:lnTo>
                <a:lnTo>
                  <a:pt x="147" y="494"/>
                </a:lnTo>
                <a:lnTo>
                  <a:pt x="150" y="488"/>
                </a:lnTo>
                <a:lnTo>
                  <a:pt x="153" y="482"/>
                </a:lnTo>
                <a:lnTo>
                  <a:pt x="155" y="478"/>
                </a:lnTo>
                <a:lnTo>
                  <a:pt x="157" y="475"/>
                </a:lnTo>
                <a:lnTo>
                  <a:pt x="157" y="473"/>
                </a:lnTo>
                <a:lnTo>
                  <a:pt x="158" y="472"/>
                </a:lnTo>
                <a:lnTo>
                  <a:pt x="157" y="472"/>
                </a:lnTo>
                <a:lnTo>
                  <a:pt x="157" y="470"/>
                </a:lnTo>
                <a:lnTo>
                  <a:pt x="155" y="467"/>
                </a:lnTo>
                <a:lnTo>
                  <a:pt x="153" y="462"/>
                </a:lnTo>
                <a:lnTo>
                  <a:pt x="150" y="457"/>
                </a:lnTo>
                <a:lnTo>
                  <a:pt x="147" y="450"/>
                </a:lnTo>
                <a:lnTo>
                  <a:pt x="143" y="442"/>
                </a:lnTo>
                <a:lnTo>
                  <a:pt x="138" y="433"/>
                </a:lnTo>
                <a:lnTo>
                  <a:pt x="133" y="422"/>
                </a:lnTo>
                <a:lnTo>
                  <a:pt x="127" y="411"/>
                </a:lnTo>
                <a:lnTo>
                  <a:pt x="121" y="398"/>
                </a:lnTo>
                <a:lnTo>
                  <a:pt x="113" y="384"/>
                </a:lnTo>
                <a:lnTo>
                  <a:pt x="106" y="368"/>
                </a:lnTo>
                <a:lnTo>
                  <a:pt x="97" y="352"/>
                </a:lnTo>
                <a:lnTo>
                  <a:pt x="89" y="334"/>
                </a:lnTo>
                <a:lnTo>
                  <a:pt x="79" y="315"/>
                </a:lnTo>
                <a:close/>
              </a:path>
            </a:pathLst>
          </a:custGeom>
          <a:solidFill>
            <a:srgbClr val="DCDCDC"/>
          </a:solid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906" name="Text Box 34"/>
          <p:cNvSpPr txBox="1">
            <a:spLocks noChangeArrowheads="1"/>
          </p:cNvSpPr>
          <p:nvPr/>
        </p:nvSpPr>
        <p:spPr bwMode="gray">
          <a:xfrm>
            <a:off x="4086225" y="2058989"/>
            <a:ext cx="1671638"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79907" name="Text Box 35"/>
          <p:cNvSpPr txBox="1">
            <a:spLocks noChangeArrowheads="1"/>
          </p:cNvSpPr>
          <p:nvPr/>
        </p:nvSpPr>
        <p:spPr bwMode="gray">
          <a:xfrm>
            <a:off x="4086225" y="4970464"/>
            <a:ext cx="1671638"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79908" name="Text Box 36"/>
          <p:cNvSpPr txBox="1">
            <a:spLocks noChangeArrowheads="1"/>
          </p:cNvSpPr>
          <p:nvPr/>
        </p:nvSpPr>
        <p:spPr bwMode="gray">
          <a:xfrm>
            <a:off x="4086226" y="3452814"/>
            <a:ext cx="1673225"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79909" name="Rectangle 37"/>
          <p:cNvSpPr>
            <a:spLocks noChangeArrowheads="1"/>
          </p:cNvSpPr>
          <p:nvPr/>
        </p:nvSpPr>
        <p:spPr bwMode="auto">
          <a:xfrm>
            <a:off x="7192964" y="3878263"/>
            <a:ext cx="212725" cy="506412"/>
          </a:xfrm>
          <a:prstGeom prst="rect">
            <a:avLst/>
          </a:prstGeom>
          <a:solidFill>
            <a:schemeClr val="bg2"/>
          </a:solidFill>
          <a:ln w="6350">
            <a:solidFill>
              <a:srgbClr val="000000"/>
            </a:solidFill>
            <a:miter lim="800000"/>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79910" name="Rectangle 38"/>
          <p:cNvSpPr>
            <a:spLocks noChangeArrowheads="1"/>
          </p:cNvSpPr>
          <p:nvPr/>
        </p:nvSpPr>
        <p:spPr bwMode="auto">
          <a:xfrm>
            <a:off x="7192964" y="4384676"/>
            <a:ext cx="212725" cy="506413"/>
          </a:xfrm>
          <a:prstGeom prst="rect">
            <a:avLst/>
          </a:prstGeom>
          <a:solidFill>
            <a:schemeClr val="bg2"/>
          </a:solidFill>
          <a:ln w="6350">
            <a:solidFill>
              <a:srgbClr val="000000"/>
            </a:solidFill>
            <a:miter lim="800000"/>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79911" name="Rectangle 39"/>
          <p:cNvSpPr>
            <a:spLocks noChangeArrowheads="1"/>
          </p:cNvSpPr>
          <p:nvPr/>
        </p:nvSpPr>
        <p:spPr bwMode="auto">
          <a:xfrm>
            <a:off x="7192964" y="4891088"/>
            <a:ext cx="212725" cy="506412"/>
          </a:xfrm>
          <a:prstGeom prst="rect">
            <a:avLst/>
          </a:prstGeom>
          <a:solidFill>
            <a:schemeClr val="bg2"/>
          </a:solidFill>
          <a:ln w="6350">
            <a:solidFill>
              <a:srgbClr val="000000"/>
            </a:solidFill>
            <a:miter lim="800000"/>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79912" name="Rectangle 40"/>
          <p:cNvSpPr>
            <a:spLocks noChangeArrowheads="1"/>
          </p:cNvSpPr>
          <p:nvPr/>
        </p:nvSpPr>
        <p:spPr bwMode="auto">
          <a:xfrm>
            <a:off x="7192964" y="5397501"/>
            <a:ext cx="212725" cy="512763"/>
          </a:xfrm>
          <a:prstGeom prst="rect">
            <a:avLst/>
          </a:prstGeom>
          <a:solidFill>
            <a:schemeClr val="bg2"/>
          </a:solidFill>
          <a:ln w="6350">
            <a:solidFill>
              <a:srgbClr val="000000"/>
            </a:solidFill>
            <a:miter lim="800000"/>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Tree>
    <p:extLst>
      <p:ext uri="{BB962C8B-B14F-4D97-AF65-F5344CB8AC3E}">
        <p14:creationId xmlns:p14="http://schemas.microsoft.com/office/powerpoint/2010/main" val="24833319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8" name="Rectangle 2" hidden="1"/>
          <p:cNvGraphicFramePr>
            <a:graphicFrameLocks/>
          </p:cNvGraphicFramePr>
          <p:nvPr>
            <p:custDataLst>
              <p:tags r:id="rId1"/>
            </p:custDataLst>
            <p:extLst>
              <p:ext uri="{D42A27DB-BD31-4B8C-83A1-F6EECF244321}">
                <p14:modId xmlns:p14="http://schemas.microsoft.com/office/powerpoint/2010/main" val="1235620718"/>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8601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86019" name="Group 3"/>
          <p:cNvGrpSpPr>
            <a:grpSpLocks/>
          </p:cNvGrpSpPr>
          <p:nvPr/>
        </p:nvGrpSpPr>
        <p:grpSpPr bwMode="auto">
          <a:xfrm>
            <a:off x="1816546" y="1359688"/>
            <a:ext cx="4924425" cy="1543050"/>
            <a:chOff x="399" y="1389"/>
            <a:chExt cx="3360" cy="972"/>
          </a:xfrm>
        </p:grpSpPr>
        <p:sp>
          <p:nvSpPr>
            <p:cNvPr id="86058" name="Freeform 4"/>
            <p:cNvSpPr>
              <a:spLocks/>
            </p:cNvSpPr>
            <p:nvPr/>
          </p:nvSpPr>
          <p:spPr bwMode="gray">
            <a:xfrm>
              <a:off x="910" y="1717"/>
              <a:ext cx="2339" cy="286"/>
            </a:xfrm>
            <a:custGeom>
              <a:avLst/>
              <a:gdLst>
                <a:gd name="T0" fmla="*/ 0 w 2521"/>
                <a:gd name="T1" fmla="*/ 0 h 316"/>
                <a:gd name="T2" fmla="*/ 126 w 2521"/>
                <a:gd name="T3" fmla="*/ 117 h 316"/>
                <a:gd name="T4" fmla="*/ 504 w 2521"/>
                <a:gd name="T5" fmla="*/ 117 h 316"/>
                <a:gd name="T6" fmla="*/ 944 w 2521"/>
                <a:gd name="T7" fmla="*/ 234 h 316"/>
                <a:gd name="T8" fmla="*/ 1069 w 2521"/>
                <a:gd name="T9" fmla="*/ 234 h 316"/>
                <a:gd name="T10" fmla="*/ 1510 w 2521"/>
                <a:gd name="T11" fmla="*/ 117 h 316"/>
                <a:gd name="T12" fmla="*/ 1887 w 2521"/>
                <a:gd name="T13" fmla="*/ 117 h 316"/>
                <a:gd name="T14" fmla="*/ 2012 w 2521"/>
                <a:gd name="T15" fmla="*/ 0 h 3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21" h="316">
                  <a:moveTo>
                    <a:pt x="0" y="0"/>
                  </a:moveTo>
                  <a:lnTo>
                    <a:pt x="158" y="158"/>
                  </a:lnTo>
                  <a:lnTo>
                    <a:pt x="630" y="158"/>
                  </a:lnTo>
                  <a:lnTo>
                    <a:pt x="1181" y="315"/>
                  </a:lnTo>
                  <a:lnTo>
                    <a:pt x="1339" y="315"/>
                  </a:lnTo>
                  <a:lnTo>
                    <a:pt x="1890" y="158"/>
                  </a:lnTo>
                  <a:lnTo>
                    <a:pt x="2363" y="158"/>
                  </a:lnTo>
                  <a:lnTo>
                    <a:pt x="2520" y="0"/>
                  </a:lnTo>
                </a:path>
              </a:pathLst>
            </a:custGeom>
            <a:noFill/>
            <a:ln w="63500" cap="flat">
              <a:solidFill>
                <a:srgbClr val="696969"/>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59" name="Line 5"/>
            <p:cNvSpPr>
              <a:spLocks noChangeShapeType="1"/>
            </p:cNvSpPr>
            <p:nvPr/>
          </p:nvSpPr>
          <p:spPr bwMode="gray">
            <a:xfrm>
              <a:off x="1558" y="1643"/>
              <a:ext cx="0" cy="40"/>
            </a:xfrm>
            <a:prstGeom prst="line">
              <a:avLst/>
            </a:prstGeom>
            <a:noFill/>
            <a:ln w="38100">
              <a:solidFill>
                <a:srgbClr val="6666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60" name="AutoShape 6"/>
            <p:cNvSpPr>
              <a:spLocks noChangeArrowheads="1"/>
            </p:cNvSpPr>
            <p:nvPr/>
          </p:nvSpPr>
          <p:spPr bwMode="gray">
            <a:xfrm>
              <a:off x="799" y="1645"/>
              <a:ext cx="364" cy="143"/>
            </a:xfrm>
            <a:prstGeom prst="roundRect">
              <a:avLst>
                <a:gd name="adj" fmla="val 50000"/>
              </a:avLst>
            </a:prstGeom>
            <a:solidFill>
              <a:srgbClr val="696969"/>
            </a:solidFill>
            <a:ln w="6350">
              <a:solidFill>
                <a:srgbClr val="888888"/>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61" name="Line 7"/>
            <p:cNvSpPr>
              <a:spLocks noChangeShapeType="1"/>
            </p:cNvSpPr>
            <p:nvPr/>
          </p:nvSpPr>
          <p:spPr bwMode="gray">
            <a:xfrm>
              <a:off x="409" y="1645"/>
              <a:ext cx="0" cy="40"/>
            </a:xfrm>
            <a:prstGeom prst="line">
              <a:avLst/>
            </a:prstGeom>
            <a:noFill/>
            <a:ln w="38100">
              <a:solidFill>
                <a:srgbClr val="6666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62" name="Oval 8"/>
            <p:cNvSpPr>
              <a:spLocks noChangeArrowheads="1"/>
            </p:cNvSpPr>
            <p:nvPr/>
          </p:nvSpPr>
          <p:spPr bwMode="gray">
            <a:xfrm>
              <a:off x="399" y="1574"/>
              <a:ext cx="1169" cy="143"/>
            </a:xfrm>
            <a:prstGeom prst="ellipse">
              <a:avLst/>
            </a:prstGeom>
            <a:solidFill>
              <a:srgbClr val="DCDCDC"/>
            </a:solidFill>
            <a:ln w="9525">
              <a:solidFill>
                <a:schemeClr val="tx1"/>
              </a:solidFill>
              <a:round/>
              <a:headEnd/>
              <a:tailEnd/>
            </a:ln>
            <a:effectLst>
              <a:outerShdw dist="57150" dir="5400000" algn="ctr" rotWithShape="0">
                <a:srgbClr val="696969"/>
              </a:outerShdw>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63" name="Line 9"/>
            <p:cNvSpPr>
              <a:spLocks noChangeShapeType="1"/>
            </p:cNvSpPr>
            <p:nvPr/>
          </p:nvSpPr>
          <p:spPr bwMode="gray">
            <a:xfrm>
              <a:off x="3749" y="1643"/>
              <a:ext cx="0" cy="40"/>
            </a:xfrm>
            <a:prstGeom prst="line">
              <a:avLst/>
            </a:prstGeom>
            <a:noFill/>
            <a:ln w="38100">
              <a:solidFill>
                <a:srgbClr val="6666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64" name="AutoShape 10"/>
            <p:cNvSpPr>
              <a:spLocks noChangeArrowheads="1"/>
            </p:cNvSpPr>
            <p:nvPr/>
          </p:nvSpPr>
          <p:spPr bwMode="gray">
            <a:xfrm>
              <a:off x="2990" y="1645"/>
              <a:ext cx="365" cy="143"/>
            </a:xfrm>
            <a:prstGeom prst="roundRect">
              <a:avLst>
                <a:gd name="adj" fmla="val 50000"/>
              </a:avLst>
            </a:prstGeom>
            <a:solidFill>
              <a:srgbClr val="696969"/>
            </a:solidFill>
            <a:ln w="6350">
              <a:solidFill>
                <a:srgbClr val="888888"/>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65" name="Line 11"/>
            <p:cNvSpPr>
              <a:spLocks noChangeShapeType="1"/>
            </p:cNvSpPr>
            <p:nvPr/>
          </p:nvSpPr>
          <p:spPr bwMode="gray">
            <a:xfrm>
              <a:off x="2600" y="1645"/>
              <a:ext cx="0" cy="40"/>
            </a:xfrm>
            <a:prstGeom prst="line">
              <a:avLst/>
            </a:prstGeom>
            <a:noFill/>
            <a:ln w="38100">
              <a:solidFill>
                <a:srgbClr val="6666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66" name="Oval 12"/>
            <p:cNvSpPr>
              <a:spLocks noChangeArrowheads="1"/>
            </p:cNvSpPr>
            <p:nvPr/>
          </p:nvSpPr>
          <p:spPr bwMode="gray">
            <a:xfrm>
              <a:off x="2590" y="1574"/>
              <a:ext cx="1169" cy="143"/>
            </a:xfrm>
            <a:prstGeom prst="ellipse">
              <a:avLst/>
            </a:prstGeom>
            <a:solidFill>
              <a:srgbClr val="DCDCDC"/>
            </a:solidFill>
            <a:ln w="9525">
              <a:solidFill>
                <a:schemeClr val="tx1"/>
              </a:solidFill>
              <a:round/>
              <a:headEnd/>
              <a:tailEnd/>
            </a:ln>
            <a:effectLst>
              <a:outerShdw dist="57150" dir="5400000" algn="ctr" rotWithShape="0">
                <a:srgbClr val="696969"/>
              </a:outerShdw>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67" name="Freeform 13"/>
            <p:cNvSpPr>
              <a:spLocks/>
            </p:cNvSpPr>
            <p:nvPr/>
          </p:nvSpPr>
          <p:spPr bwMode="gray">
            <a:xfrm>
              <a:off x="1787" y="1788"/>
              <a:ext cx="585" cy="573"/>
            </a:xfrm>
            <a:custGeom>
              <a:avLst/>
              <a:gdLst>
                <a:gd name="T0" fmla="*/ 0 w 631"/>
                <a:gd name="T1" fmla="*/ 471 h 631"/>
                <a:gd name="T2" fmla="*/ 63 w 631"/>
                <a:gd name="T3" fmla="*/ 0 h 631"/>
                <a:gd name="T4" fmla="*/ 439 w 631"/>
                <a:gd name="T5" fmla="*/ 0 h 631"/>
                <a:gd name="T6" fmla="*/ 502 w 631"/>
                <a:gd name="T7" fmla="*/ 471 h 631"/>
                <a:gd name="T8" fmla="*/ 0 w 631"/>
                <a:gd name="T9" fmla="*/ 471 h 6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1" h="631">
                  <a:moveTo>
                    <a:pt x="0" y="630"/>
                  </a:moveTo>
                  <a:lnTo>
                    <a:pt x="79" y="0"/>
                  </a:lnTo>
                  <a:lnTo>
                    <a:pt x="551" y="0"/>
                  </a:lnTo>
                  <a:lnTo>
                    <a:pt x="630" y="630"/>
                  </a:lnTo>
                  <a:lnTo>
                    <a:pt x="0" y="630"/>
                  </a:lnTo>
                  <a:close/>
                </a:path>
              </a:pathLst>
            </a:custGeom>
            <a:solidFill>
              <a:srgbClr val="DCDCDC"/>
            </a:soli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68" name="Arc 14" descr="Light vertical"/>
            <p:cNvSpPr>
              <a:spLocks/>
            </p:cNvSpPr>
            <p:nvPr/>
          </p:nvSpPr>
          <p:spPr bwMode="gray">
            <a:xfrm>
              <a:off x="1860" y="1860"/>
              <a:ext cx="439" cy="14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Lst>
              <a:ahLst/>
              <a:cxnLst>
                <a:cxn ang="T6">
                  <a:pos x="T0" y="T1"/>
                </a:cxn>
                <a:cxn ang="T7">
                  <a:pos x="T2" y="T3"/>
                </a:cxn>
                <a:cxn ang="T8">
                  <a:pos x="T4" y="T5"/>
                </a:cxn>
              </a:cxnLst>
              <a:rect l="0" t="0" r="r" b="b"/>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pattFill prst="ltVert">
              <a:fgClr>
                <a:srgbClr val="000000"/>
              </a:fgClr>
              <a:bgClr>
                <a:schemeClr val="bg1"/>
              </a:bgClr>
            </a:patt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69" name="Arc 15"/>
            <p:cNvSpPr>
              <a:spLocks/>
            </p:cNvSpPr>
            <p:nvPr/>
          </p:nvSpPr>
          <p:spPr bwMode="gray">
            <a:xfrm>
              <a:off x="1860" y="1931"/>
              <a:ext cx="439" cy="14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Lst>
              <a:ahLst/>
              <a:cxnLst>
                <a:cxn ang="T6">
                  <a:pos x="T0" y="T1"/>
                </a:cxn>
                <a:cxn ang="T7">
                  <a:pos x="T2" y="T3"/>
                </a:cxn>
                <a:cxn ang="T8">
                  <a:pos x="T4" y="T5"/>
                </a:cxn>
              </a:cxnLst>
              <a:rect l="0" t="0" r="r" b="b"/>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solidFill>
              <a:srgbClr val="DCDCDC"/>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70" name="Rectangle 16"/>
            <p:cNvSpPr>
              <a:spLocks noChangeArrowheads="1"/>
            </p:cNvSpPr>
            <p:nvPr/>
          </p:nvSpPr>
          <p:spPr bwMode="gray">
            <a:xfrm>
              <a:off x="1852" y="1927"/>
              <a:ext cx="28" cy="165"/>
            </a:xfrm>
            <a:prstGeom prst="rect">
              <a:avLst/>
            </a:prstGeom>
            <a:solidFill>
              <a:srgbClr val="DCDCDC"/>
            </a:solidFill>
            <a:ln>
              <a:noFill/>
            </a:ln>
            <a:effectLst/>
            <a:extLst>
              <a:ext uri="{91240B29-F687-4F45-9708-019B960494DF}">
                <a14:hiddenLine xmlns:a14="http://schemas.microsoft.com/office/drawing/2010/main" w="9525">
                  <a:solidFill>
                    <a:srgbClr val="EEEEE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71" name="Rectangle 17"/>
            <p:cNvSpPr>
              <a:spLocks noChangeArrowheads="1"/>
            </p:cNvSpPr>
            <p:nvPr/>
          </p:nvSpPr>
          <p:spPr bwMode="gray">
            <a:xfrm>
              <a:off x="2285" y="1927"/>
              <a:ext cx="19" cy="165"/>
            </a:xfrm>
            <a:prstGeom prst="rect">
              <a:avLst/>
            </a:prstGeom>
            <a:solidFill>
              <a:srgbClr val="DCDCDC"/>
            </a:solidFill>
            <a:ln>
              <a:noFill/>
            </a:ln>
            <a:effectLst/>
            <a:extLst>
              <a:ext uri="{91240B29-F687-4F45-9708-019B960494DF}">
                <a14:hiddenLine xmlns:a14="http://schemas.microsoft.com/office/drawing/2010/main" w="0">
                  <a:solidFill>
                    <a:srgbClr val="EEEEE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72" name="AutoShape 18"/>
            <p:cNvSpPr>
              <a:spLocks noChangeArrowheads="1"/>
            </p:cNvSpPr>
            <p:nvPr/>
          </p:nvSpPr>
          <p:spPr bwMode="gray">
            <a:xfrm>
              <a:off x="2008" y="2021"/>
              <a:ext cx="146" cy="293"/>
            </a:xfrm>
            <a:prstGeom prst="upArrow">
              <a:avLst>
                <a:gd name="adj1" fmla="val 50000"/>
                <a:gd name="adj2" fmla="val 50171"/>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73" name="Rectangle 19"/>
            <p:cNvSpPr>
              <a:spLocks noChangeArrowheads="1"/>
            </p:cNvSpPr>
            <p:nvPr/>
          </p:nvSpPr>
          <p:spPr bwMode="gray">
            <a:xfrm>
              <a:off x="829" y="1389"/>
              <a:ext cx="198"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lvl1pPr algn="l" defTabSz="885825">
                <a:spcBef>
                  <a:spcPct val="20000"/>
                </a:spcBef>
                <a:buChar char="•"/>
                <a:defRPr sz="1100">
                  <a:solidFill>
                    <a:schemeClr val="tx1"/>
                  </a:solidFill>
                  <a:latin typeface="Arial" panose="020B0604020202020204" pitchFamily="34" charset="0"/>
                </a:defRPr>
              </a:lvl1pPr>
              <a:lvl2pPr marL="450850" indent="-187325" algn="l" defTabSz="885825">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900113" indent="-228600" algn="l" defTabSz="885825">
                <a:spcBef>
                  <a:spcPct val="20000"/>
                </a:spcBef>
                <a:buChar char="–"/>
                <a:defRPr sz="1100">
                  <a:solidFill>
                    <a:schemeClr val="tx1"/>
                  </a:solidFill>
                  <a:latin typeface="Arial" panose="020B0604020202020204" pitchFamily="34" charset="0"/>
                </a:defRPr>
              </a:lvl3pPr>
              <a:lvl4pPr marL="1350963" indent="-228600" algn="l" defTabSz="885825">
                <a:spcBef>
                  <a:spcPct val="20000"/>
                </a:spcBef>
                <a:buChar char="–"/>
                <a:defRPr sz="1100">
                  <a:solidFill>
                    <a:schemeClr val="tx1"/>
                  </a:solidFill>
                  <a:latin typeface="Arial" panose="020B0604020202020204" pitchFamily="34" charset="0"/>
                </a:defRPr>
              </a:lvl4pPr>
              <a:lvl5pPr marL="1800225" indent="-228600" algn="l" defTabSz="885825">
                <a:spcBef>
                  <a:spcPct val="20000"/>
                </a:spcBef>
                <a:buChar char="»"/>
                <a:defRPr sz="2000">
                  <a:solidFill>
                    <a:schemeClr val="tx1"/>
                  </a:solidFill>
                  <a:latin typeface="Times New Roman" panose="02020603050405020304" pitchFamily="18" charset="0"/>
                </a:defRPr>
              </a:lvl5pPr>
              <a:lvl6pPr marL="22574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7146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718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290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86074" name="Rectangle 20"/>
            <p:cNvSpPr>
              <a:spLocks noChangeArrowheads="1"/>
            </p:cNvSpPr>
            <p:nvPr/>
          </p:nvSpPr>
          <p:spPr bwMode="gray">
            <a:xfrm>
              <a:off x="3063" y="1395"/>
              <a:ext cx="198"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lvl1pPr algn="l" defTabSz="885825">
                <a:spcBef>
                  <a:spcPct val="20000"/>
                </a:spcBef>
                <a:buChar char="•"/>
                <a:defRPr sz="1100">
                  <a:solidFill>
                    <a:schemeClr val="tx1"/>
                  </a:solidFill>
                  <a:latin typeface="Arial" panose="020B0604020202020204" pitchFamily="34" charset="0"/>
                </a:defRPr>
              </a:lvl1pPr>
              <a:lvl2pPr marL="450850" indent="-187325" algn="l" defTabSz="885825">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900113" indent="-228600" algn="l" defTabSz="885825">
                <a:spcBef>
                  <a:spcPct val="20000"/>
                </a:spcBef>
                <a:buChar char="–"/>
                <a:defRPr sz="1100">
                  <a:solidFill>
                    <a:schemeClr val="tx1"/>
                  </a:solidFill>
                  <a:latin typeface="Arial" panose="020B0604020202020204" pitchFamily="34" charset="0"/>
                </a:defRPr>
              </a:lvl3pPr>
              <a:lvl4pPr marL="1350963" indent="-228600" algn="l" defTabSz="885825">
                <a:spcBef>
                  <a:spcPct val="20000"/>
                </a:spcBef>
                <a:buChar char="–"/>
                <a:defRPr sz="1100">
                  <a:solidFill>
                    <a:schemeClr val="tx1"/>
                  </a:solidFill>
                  <a:latin typeface="Arial" panose="020B0604020202020204" pitchFamily="34" charset="0"/>
                </a:defRPr>
              </a:lvl4pPr>
              <a:lvl5pPr marL="1800225" indent="-228600" algn="l" defTabSz="885825">
                <a:spcBef>
                  <a:spcPct val="20000"/>
                </a:spcBef>
                <a:buChar char="»"/>
                <a:defRPr sz="2000">
                  <a:solidFill>
                    <a:schemeClr val="tx1"/>
                  </a:solidFill>
                  <a:latin typeface="Times New Roman" panose="02020603050405020304" pitchFamily="18" charset="0"/>
                </a:defRPr>
              </a:lvl5pPr>
              <a:lvl6pPr marL="22574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7146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718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290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grpSp>
      <p:grpSp>
        <p:nvGrpSpPr>
          <p:cNvPr id="86020" name="Group 21"/>
          <p:cNvGrpSpPr>
            <a:grpSpLocks/>
          </p:cNvGrpSpPr>
          <p:nvPr/>
        </p:nvGrpSpPr>
        <p:grpSpPr bwMode="auto">
          <a:xfrm>
            <a:off x="5294345" y="2993805"/>
            <a:ext cx="4922838" cy="1644650"/>
            <a:chOff x="2496" y="2113"/>
            <a:chExt cx="3359" cy="1036"/>
          </a:xfrm>
        </p:grpSpPr>
        <p:sp>
          <p:nvSpPr>
            <p:cNvPr id="86041" name="Freeform 22"/>
            <p:cNvSpPr>
              <a:spLocks/>
            </p:cNvSpPr>
            <p:nvPr/>
          </p:nvSpPr>
          <p:spPr bwMode="gray">
            <a:xfrm>
              <a:off x="3007" y="2433"/>
              <a:ext cx="2338" cy="430"/>
            </a:xfrm>
            <a:custGeom>
              <a:avLst/>
              <a:gdLst>
                <a:gd name="T0" fmla="*/ 2010 w 2521"/>
                <a:gd name="T1" fmla="*/ 0 h 474"/>
                <a:gd name="T2" fmla="*/ 1884 w 2521"/>
                <a:gd name="T3" fmla="*/ 118 h 474"/>
                <a:gd name="T4" fmla="*/ 1508 w 2521"/>
                <a:gd name="T5" fmla="*/ 118 h 474"/>
                <a:gd name="T6" fmla="*/ 1068 w 2521"/>
                <a:gd name="T7" fmla="*/ 235 h 474"/>
                <a:gd name="T8" fmla="*/ 942 w 2521"/>
                <a:gd name="T9" fmla="*/ 235 h 474"/>
                <a:gd name="T10" fmla="*/ 503 w 2521"/>
                <a:gd name="T11" fmla="*/ 353 h 474"/>
                <a:gd name="T12" fmla="*/ 126 w 2521"/>
                <a:gd name="T13" fmla="*/ 353 h 474"/>
                <a:gd name="T14" fmla="*/ 0 w 2521"/>
                <a:gd name="T15" fmla="*/ 235 h 47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21" h="474">
                  <a:moveTo>
                    <a:pt x="2520" y="0"/>
                  </a:moveTo>
                  <a:lnTo>
                    <a:pt x="2363" y="158"/>
                  </a:lnTo>
                  <a:lnTo>
                    <a:pt x="1890" y="158"/>
                  </a:lnTo>
                  <a:lnTo>
                    <a:pt x="1339" y="315"/>
                  </a:lnTo>
                  <a:lnTo>
                    <a:pt x="1181" y="315"/>
                  </a:lnTo>
                  <a:lnTo>
                    <a:pt x="630" y="473"/>
                  </a:lnTo>
                  <a:lnTo>
                    <a:pt x="158" y="473"/>
                  </a:lnTo>
                  <a:lnTo>
                    <a:pt x="0" y="315"/>
                  </a:lnTo>
                </a:path>
              </a:pathLst>
            </a:custGeom>
            <a:noFill/>
            <a:ln w="76200" cap="flat">
              <a:solidFill>
                <a:srgbClr val="696969"/>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42" name="Line 23"/>
            <p:cNvSpPr>
              <a:spLocks noChangeShapeType="1"/>
            </p:cNvSpPr>
            <p:nvPr/>
          </p:nvSpPr>
          <p:spPr bwMode="gray">
            <a:xfrm>
              <a:off x="5845" y="2361"/>
              <a:ext cx="0" cy="39"/>
            </a:xfrm>
            <a:prstGeom prst="line">
              <a:avLst/>
            </a:prstGeom>
            <a:noFill/>
            <a:ln w="38100">
              <a:solidFill>
                <a:srgbClr val="6666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43" name="AutoShape 24"/>
            <p:cNvSpPr>
              <a:spLocks noChangeArrowheads="1"/>
            </p:cNvSpPr>
            <p:nvPr/>
          </p:nvSpPr>
          <p:spPr bwMode="gray">
            <a:xfrm>
              <a:off x="5086" y="2363"/>
              <a:ext cx="366" cy="142"/>
            </a:xfrm>
            <a:prstGeom prst="roundRect">
              <a:avLst>
                <a:gd name="adj" fmla="val 50000"/>
              </a:avLst>
            </a:prstGeom>
            <a:solidFill>
              <a:srgbClr val="696969"/>
            </a:solidFill>
            <a:ln w="6350">
              <a:solidFill>
                <a:srgbClr val="888888"/>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44" name="Line 25"/>
            <p:cNvSpPr>
              <a:spLocks noChangeShapeType="1"/>
            </p:cNvSpPr>
            <p:nvPr/>
          </p:nvSpPr>
          <p:spPr bwMode="gray">
            <a:xfrm>
              <a:off x="4697" y="2363"/>
              <a:ext cx="0" cy="39"/>
            </a:xfrm>
            <a:prstGeom prst="line">
              <a:avLst/>
            </a:prstGeom>
            <a:noFill/>
            <a:ln w="38100">
              <a:solidFill>
                <a:srgbClr val="6666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45" name="Oval 26"/>
            <p:cNvSpPr>
              <a:spLocks noChangeArrowheads="1"/>
            </p:cNvSpPr>
            <p:nvPr/>
          </p:nvSpPr>
          <p:spPr bwMode="gray">
            <a:xfrm>
              <a:off x="4686" y="2291"/>
              <a:ext cx="1169" cy="142"/>
            </a:xfrm>
            <a:prstGeom prst="ellipse">
              <a:avLst/>
            </a:prstGeom>
            <a:solidFill>
              <a:srgbClr val="DCDCDC"/>
            </a:solidFill>
            <a:ln w="9525">
              <a:solidFill>
                <a:schemeClr val="tx1"/>
              </a:solidFill>
              <a:round/>
              <a:headEnd/>
              <a:tailEnd/>
            </a:ln>
            <a:effectLst>
              <a:outerShdw dist="57150" dir="5400000" algn="ctr" rotWithShape="0">
                <a:srgbClr val="696969"/>
              </a:outerShdw>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46" name="Line 27"/>
            <p:cNvSpPr>
              <a:spLocks noChangeShapeType="1"/>
            </p:cNvSpPr>
            <p:nvPr/>
          </p:nvSpPr>
          <p:spPr bwMode="gray">
            <a:xfrm>
              <a:off x="3654" y="2647"/>
              <a:ext cx="0" cy="39"/>
            </a:xfrm>
            <a:prstGeom prst="line">
              <a:avLst/>
            </a:prstGeom>
            <a:noFill/>
            <a:ln w="38100">
              <a:solidFill>
                <a:srgbClr val="EEEEE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47" name="AutoShape 28"/>
            <p:cNvSpPr>
              <a:spLocks noChangeArrowheads="1"/>
            </p:cNvSpPr>
            <p:nvPr/>
          </p:nvSpPr>
          <p:spPr bwMode="gray">
            <a:xfrm>
              <a:off x="2896" y="2648"/>
              <a:ext cx="364" cy="143"/>
            </a:xfrm>
            <a:prstGeom prst="roundRect">
              <a:avLst>
                <a:gd name="adj" fmla="val 50000"/>
              </a:avLst>
            </a:prstGeom>
            <a:solidFill>
              <a:srgbClr val="696969"/>
            </a:solidFill>
            <a:ln w="6350">
              <a:solidFill>
                <a:srgbClr val="888888"/>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48" name="Line 29"/>
            <p:cNvSpPr>
              <a:spLocks noChangeShapeType="1"/>
            </p:cNvSpPr>
            <p:nvPr/>
          </p:nvSpPr>
          <p:spPr bwMode="gray">
            <a:xfrm>
              <a:off x="2506" y="2648"/>
              <a:ext cx="0" cy="39"/>
            </a:xfrm>
            <a:prstGeom prst="line">
              <a:avLst/>
            </a:prstGeom>
            <a:noFill/>
            <a:ln w="38100">
              <a:solidFill>
                <a:srgbClr val="EEEEE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49" name="Oval 30"/>
            <p:cNvSpPr>
              <a:spLocks noChangeArrowheads="1"/>
            </p:cNvSpPr>
            <p:nvPr/>
          </p:nvSpPr>
          <p:spPr bwMode="gray">
            <a:xfrm>
              <a:off x="2496" y="2577"/>
              <a:ext cx="1169" cy="142"/>
            </a:xfrm>
            <a:prstGeom prst="ellipse">
              <a:avLst/>
            </a:prstGeom>
            <a:solidFill>
              <a:srgbClr val="DCDCDC"/>
            </a:solidFill>
            <a:ln w="9525">
              <a:solidFill>
                <a:schemeClr val="tx1"/>
              </a:solidFill>
              <a:round/>
              <a:headEnd/>
              <a:tailEnd/>
            </a:ln>
            <a:effectLst>
              <a:outerShdw dist="57150" dir="5400000" algn="ctr" rotWithShape="0">
                <a:srgbClr val="696969"/>
              </a:outerShdw>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50" name="Freeform 31"/>
            <p:cNvSpPr>
              <a:spLocks/>
            </p:cNvSpPr>
            <p:nvPr/>
          </p:nvSpPr>
          <p:spPr bwMode="gray">
            <a:xfrm>
              <a:off x="3883" y="2577"/>
              <a:ext cx="586" cy="572"/>
            </a:xfrm>
            <a:custGeom>
              <a:avLst/>
              <a:gdLst>
                <a:gd name="T0" fmla="*/ 0 w 631"/>
                <a:gd name="T1" fmla="*/ 470 h 631"/>
                <a:gd name="T2" fmla="*/ 63 w 631"/>
                <a:gd name="T3" fmla="*/ 0 h 631"/>
                <a:gd name="T4" fmla="*/ 441 w 631"/>
                <a:gd name="T5" fmla="*/ 0 h 631"/>
                <a:gd name="T6" fmla="*/ 504 w 631"/>
                <a:gd name="T7" fmla="*/ 470 h 631"/>
                <a:gd name="T8" fmla="*/ 0 w 631"/>
                <a:gd name="T9" fmla="*/ 470 h 6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1" h="631">
                  <a:moveTo>
                    <a:pt x="0" y="630"/>
                  </a:moveTo>
                  <a:lnTo>
                    <a:pt x="79" y="0"/>
                  </a:lnTo>
                  <a:lnTo>
                    <a:pt x="551" y="0"/>
                  </a:lnTo>
                  <a:lnTo>
                    <a:pt x="630" y="630"/>
                  </a:lnTo>
                  <a:lnTo>
                    <a:pt x="0" y="630"/>
                  </a:lnTo>
                  <a:close/>
                </a:path>
              </a:pathLst>
            </a:custGeom>
            <a:solidFill>
              <a:srgbClr val="DCDCDC"/>
            </a:soli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51" name="Arc 32" descr="Light vertical"/>
            <p:cNvSpPr>
              <a:spLocks/>
            </p:cNvSpPr>
            <p:nvPr/>
          </p:nvSpPr>
          <p:spPr bwMode="gray">
            <a:xfrm>
              <a:off x="3957" y="2648"/>
              <a:ext cx="438" cy="144"/>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Lst>
              <a:ahLst/>
              <a:cxnLst>
                <a:cxn ang="T6">
                  <a:pos x="T0" y="T1"/>
                </a:cxn>
                <a:cxn ang="T7">
                  <a:pos x="T2" y="T3"/>
                </a:cxn>
                <a:cxn ang="T8">
                  <a:pos x="T4" y="T5"/>
                </a:cxn>
              </a:cxnLst>
              <a:rect l="0" t="0" r="r" b="b"/>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pattFill prst="ltVert">
              <a:fgClr>
                <a:srgbClr val="000000"/>
              </a:fgClr>
              <a:bgClr>
                <a:schemeClr val="bg1"/>
              </a:bgClr>
            </a:patt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52" name="Arc 33"/>
            <p:cNvSpPr>
              <a:spLocks/>
            </p:cNvSpPr>
            <p:nvPr/>
          </p:nvSpPr>
          <p:spPr bwMode="gray">
            <a:xfrm>
              <a:off x="3957" y="2719"/>
              <a:ext cx="438" cy="14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Lst>
              <a:ahLst/>
              <a:cxnLst>
                <a:cxn ang="T6">
                  <a:pos x="T0" y="T1"/>
                </a:cxn>
                <a:cxn ang="T7">
                  <a:pos x="T2" y="T3"/>
                </a:cxn>
                <a:cxn ang="T8">
                  <a:pos x="T4" y="T5"/>
                </a:cxn>
              </a:cxnLst>
              <a:rect l="0" t="0" r="r" b="b"/>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solidFill>
              <a:srgbClr val="DCDCDC"/>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53" name="Rectangle 34"/>
            <p:cNvSpPr>
              <a:spLocks noChangeArrowheads="1"/>
            </p:cNvSpPr>
            <p:nvPr/>
          </p:nvSpPr>
          <p:spPr bwMode="gray">
            <a:xfrm>
              <a:off x="3948" y="2715"/>
              <a:ext cx="28" cy="166"/>
            </a:xfrm>
            <a:prstGeom prst="rect">
              <a:avLst/>
            </a:prstGeom>
            <a:solidFill>
              <a:srgbClr val="DCDCDC"/>
            </a:solidFill>
            <a:ln>
              <a:noFill/>
            </a:ln>
            <a:effectLst/>
            <a:extLst>
              <a:ext uri="{91240B29-F687-4F45-9708-019B960494DF}">
                <a14:hiddenLine xmlns:a14="http://schemas.microsoft.com/office/drawing/2010/main" w="0">
                  <a:solidFill>
                    <a:srgbClr val="EEEEE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54" name="Rectangle 35"/>
            <p:cNvSpPr>
              <a:spLocks noChangeArrowheads="1"/>
            </p:cNvSpPr>
            <p:nvPr/>
          </p:nvSpPr>
          <p:spPr bwMode="gray">
            <a:xfrm>
              <a:off x="4381" y="2715"/>
              <a:ext cx="20" cy="166"/>
            </a:xfrm>
            <a:prstGeom prst="rect">
              <a:avLst/>
            </a:prstGeom>
            <a:solidFill>
              <a:srgbClr val="DCDCDC"/>
            </a:solidFill>
            <a:ln>
              <a:noFill/>
            </a:ln>
            <a:effectLst/>
            <a:extLst>
              <a:ext uri="{91240B29-F687-4F45-9708-019B960494DF}">
                <a14:hiddenLine xmlns:a14="http://schemas.microsoft.com/office/drawing/2010/main" w="0">
                  <a:solidFill>
                    <a:srgbClr val="EEEEE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55" name="AutoShape 36"/>
            <p:cNvSpPr>
              <a:spLocks noChangeArrowheads="1"/>
            </p:cNvSpPr>
            <p:nvPr/>
          </p:nvSpPr>
          <p:spPr bwMode="gray">
            <a:xfrm rot="-2204568">
              <a:off x="4026" y="2794"/>
              <a:ext cx="146" cy="293"/>
            </a:xfrm>
            <a:prstGeom prst="upArrow">
              <a:avLst>
                <a:gd name="adj1" fmla="val 50000"/>
                <a:gd name="adj2" fmla="val 50171"/>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56" name="Rectangle 37"/>
            <p:cNvSpPr>
              <a:spLocks noChangeArrowheads="1"/>
            </p:cNvSpPr>
            <p:nvPr/>
          </p:nvSpPr>
          <p:spPr bwMode="gray">
            <a:xfrm>
              <a:off x="2940" y="2402"/>
              <a:ext cx="198"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lvl1pPr algn="l" defTabSz="885825">
                <a:spcBef>
                  <a:spcPct val="20000"/>
                </a:spcBef>
                <a:buChar char="•"/>
                <a:defRPr sz="1100">
                  <a:solidFill>
                    <a:schemeClr val="tx1"/>
                  </a:solidFill>
                  <a:latin typeface="Arial" panose="020B0604020202020204" pitchFamily="34" charset="0"/>
                </a:defRPr>
              </a:lvl1pPr>
              <a:lvl2pPr marL="450850" indent="-187325" algn="l" defTabSz="885825">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900113" indent="-228600" algn="l" defTabSz="885825">
                <a:spcBef>
                  <a:spcPct val="20000"/>
                </a:spcBef>
                <a:buChar char="–"/>
                <a:defRPr sz="1100">
                  <a:solidFill>
                    <a:schemeClr val="tx1"/>
                  </a:solidFill>
                  <a:latin typeface="Arial" panose="020B0604020202020204" pitchFamily="34" charset="0"/>
                </a:defRPr>
              </a:lvl3pPr>
              <a:lvl4pPr marL="1350963" indent="-228600" algn="l" defTabSz="885825">
                <a:spcBef>
                  <a:spcPct val="20000"/>
                </a:spcBef>
                <a:buChar char="–"/>
                <a:defRPr sz="1100">
                  <a:solidFill>
                    <a:schemeClr val="tx1"/>
                  </a:solidFill>
                  <a:latin typeface="Arial" panose="020B0604020202020204" pitchFamily="34" charset="0"/>
                </a:defRPr>
              </a:lvl4pPr>
              <a:lvl5pPr marL="1800225" indent="-228600" algn="l" defTabSz="885825">
                <a:spcBef>
                  <a:spcPct val="20000"/>
                </a:spcBef>
                <a:buChar char="»"/>
                <a:defRPr sz="2000">
                  <a:solidFill>
                    <a:schemeClr val="tx1"/>
                  </a:solidFill>
                  <a:latin typeface="Times New Roman" panose="02020603050405020304" pitchFamily="18" charset="0"/>
                </a:defRPr>
              </a:lvl5pPr>
              <a:lvl6pPr marL="22574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7146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718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290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86057" name="Rectangle 38"/>
            <p:cNvSpPr>
              <a:spLocks noChangeArrowheads="1"/>
            </p:cNvSpPr>
            <p:nvPr/>
          </p:nvSpPr>
          <p:spPr bwMode="gray">
            <a:xfrm>
              <a:off x="5186" y="2113"/>
              <a:ext cx="198"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lvl1pPr algn="l" defTabSz="885825">
                <a:spcBef>
                  <a:spcPct val="20000"/>
                </a:spcBef>
                <a:buChar char="•"/>
                <a:defRPr sz="1100">
                  <a:solidFill>
                    <a:schemeClr val="tx1"/>
                  </a:solidFill>
                  <a:latin typeface="Arial" panose="020B0604020202020204" pitchFamily="34" charset="0"/>
                </a:defRPr>
              </a:lvl1pPr>
              <a:lvl2pPr marL="450850" indent="-187325" algn="l" defTabSz="885825">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900113" indent="-228600" algn="l" defTabSz="885825">
                <a:spcBef>
                  <a:spcPct val="20000"/>
                </a:spcBef>
                <a:buChar char="–"/>
                <a:defRPr sz="1100">
                  <a:solidFill>
                    <a:schemeClr val="tx1"/>
                  </a:solidFill>
                  <a:latin typeface="Arial" panose="020B0604020202020204" pitchFamily="34" charset="0"/>
                </a:defRPr>
              </a:lvl3pPr>
              <a:lvl4pPr marL="1350963" indent="-228600" algn="l" defTabSz="885825">
                <a:spcBef>
                  <a:spcPct val="20000"/>
                </a:spcBef>
                <a:buChar char="–"/>
                <a:defRPr sz="1100">
                  <a:solidFill>
                    <a:schemeClr val="tx1"/>
                  </a:solidFill>
                  <a:latin typeface="Arial" panose="020B0604020202020204" pitchFamily="34" charset="0"/>
                </a:defRPr>
              </a:lvl4pPr>
              <a:lvl5pPr marL="1800225" indent="-228600" algn="l" defTabSz="885825">
                <a:spcBef>
                  <a:spcPct val="20000"/>
                </a:spcBef>
                <a:buChar char="»"/>
                <a:defRPr sz="2000">
                  <a:solidFill>
                    <a:schemeClr val="tx1"/>
                  </a:solidFill>
                  <a:latin typeface="Times New Roman" panose="02020603050405020304" pitchFamily="18" charset="0"/>
                </a:defRPr>
              </a:lvl5pPr>
              <a:lvl6pPr marL="22574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7146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718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290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grpSp>
      <p:grpSp>
        <p:nvGrpSpPr>
          <p:cNvPr id="86021" name="Group 39"/>
          <p:cNvGrpSpPr>
            <a:grpSpLocks/>
          </p:cNvGrpSpPr>
          <p:nvPr/>
        </p:nvGrpSpPr>
        <p:grpSpPr bwMode="auto">
          <a:xfrm>
            <a:off x="1906589" y="4530725"/>
            <a:ext cx="4922837" cy="1644650"/>
            <a:chOff x="261" y="2854"/>
            <a:chExt cx="3359" cy="1036"/>
          </a:xfrm>
        </p:grpSpPr>
        <p:sp>
          <p:nvSpPr>
            <p:cNvPr id="86024" name="Freeform 40"/>
            <p:cNvSpPr>
              <a:spLocks/>
            </p:cNvSpPr>
            <p:nvPr/>
          </p:nvSpPr>
          <p:spPr bwMode="gray">
            <a:xfrm flipH="1">
              <a:off x="771" y="3174"/>
              <a:ext cx="2338" cy="430"/>
            </a:xfrm>
            <a:custGeom>
              <a:avLst/>
              <a:gdLst>
                <a:gd name="T0" fmla="*/ 2010 w 2521"/>
                <a:gd name="T1" fmla="*/ 0 h 474"/>
                <a:gd name="T2" fmla="*/ 1884 w 2521"/>
                <a:gd name="T3" fmla="*/ 118 h 474"/>
                <a:gd name="T4" fmla="*/ 1508 w 2521"/>
                <a:gd name="T5" fmla="*/ 118 h 474"/>
                <a:gd name="T6" fmla="*/ 1068 w 2521"/>
                <a:gd name="T7" fmla="*/ 235 h 474"/>
                <a:gd name="T8" fmla="*/ 942 w 2521"/>
                <a:gd name="T9" fmla="*/ 235 h 474"/>
                <a:gd name="T10" fmla="*/ 503 w 2521"/>
                <a:gd name="T11" fmla="*/ 353 h 474"/>
                <a:gd name="T12" fmla="*/ 126 w 2521"/>
                <a:gd name="T13" fmla="*/ 353 h 474"/>
                <a:gd name="T14" fmla="*/ 0 w 2521"/>
                <a:gd name="T15" fmla="*/ 235 h 47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21" h="474">
                  <a:moveTo>
                    <a:pt x="2520" y="0"/>
                  </a:moveTo>
                  <a:lnTo>
                    <a:pt x="2363" y="158"/>
                  </a:lnTo>
                  <a:lnTo>
                    <a:pt x="1890" y="158"/>
                  </a:lnTo>
                  <a:lnTo>
                    <a:pt x="1339" y="315"/>
                  </a:lnTo>
                  <a:lnTo>
                    <a:pt x="1181" y="315"/>
                  </a:lnTo>
                  <a:lnTo>
                    <a:pt x="630" y="473"/>
                  </a:lnTo>
                  <a:lnTo>
                    <a:pt x="158" y="473"/>
                  </a:lnTo>
                  <a:lnTo>
                    <a:pt x="0" y="315"/>
                  </a:lnTo>
                </a:path>
              </a:pathLst>
            </a:custGeom>
            <a:noFill/>
            <a:ln w="76200" cap="flat">
              <a:solidFill>
                <a:srgbClr val="696969"/>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25" name="Line 41"/>
            <p:cNvSpPr>
              <a:spLocks noChangeShapeType="1"/>
            </p:cNvSpPr>
            <p:nvPr/>
          </p:nvSpPr>
          <p:spPr bwMode="gray">
            <a:xfrm flipH="1">
              <a:off x="271" y="3102"/>
              <a:ext cx="0" cy="39"/>
            </a:xfrm>
            <a:prstGeom prst="line">
              <a:avLst/>
            </a:prstGeom>
            <a:noFill/>
            <a:ln w="38100">
              <a:solidFill>
                <a:srgbClr val="6666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26" name="AutoShape 42"/>
            <p:cNvSpPr>
              <a:spLocks noChangeArrowheads="1"/>
            </p:cNvSpPr>
            <p:nvPr/>
          </p:nvSpPr>
          <p:spPr bwMode="gray">
            <a:xfrm flipH="1">
              <a:off x="664" y="3104"/>
              <a:ext cx="366" cy="142"/>
            </a:xfrm>
            <a:prstGeom prst="roundRect">
              <a:avLst>
                <a:gd name="adj" fmla="val 50000"/>
              </a:avLst>
            </a:prstGeom>
            <a:solidFill>
              <a:srgbClr val="696969"/>
            </a:solidFill>
            <a:ln w="6350">
              <a:solidFill>
                <a:srgbClr val="888888"/>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27" name="Line 43"/>
            <p:cNvSpPr>
              <a:spLocks noChangeShapeType="1"/>
            </p:cNvSpPr>
            <p:nvPr/>
          </p:nvSpPr>
          <p:spPr bwMode="gray">
            <a:xfrm flipH="1">
              <a:off x="1419" y="3104"/>
              <a:ext cx="0" cy="39"/>
            </a:xfrm>
            <a:prstGeom prst="line">
              <a:avLst/>
            </a:prstGeom>
            <a:noFill/>
            <a:ln w="38100">
              <a:solidFill>
                <a:srgbClr val="6666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28" name="Oval 44"/>
            <p:cNvSpPr>
              <a:spLocks noChangeArrowheads="1"/>
            </p:cNvSpPr>
            <p:nvPr/>
          </p:nvSpPr>
          <p:spPr bwMode="gray">
            <a:xfrm flipH="1">
              <a:off x="261" y="3032"/>
              <a:ext cx="1169" cy="142"/>
            </a:xfrm>
            <a:prstGeom prst="ellipse">
              <a:avLst/>
            </a:prstGeom>
            <a:solidFill>
              <a:srgbClr val="DCDCDC"/>
            </a:solidFill>
            <a:ln w="9525">
              <a:solidFill>
                <a:schemeClr val="tx1"/>
              </a:solidFill>
              <a:round/>
              <a:headEnd/>
              <a:tailEnd/>
            </a:ln>
            <a:effectLst>
              <a:outerShdw dist="57150" dir="5400000" algn="ctr" rotWithShape="0">
                <a:srgbClr val="696969"/>
              </a:outerShdw>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29" name="Line 45"/>
            <p:cNvSpPr>
              <a:spLocks noChangeShapeType="1"/>
            </p:cNvSpPr>
            <p:nvPr/>
          </p:nvSpPr>
          <p:spPr bwMode="gray">
            <a:xfrm flipH="1">
              <a:off x="2462" y="3388"/>
              <a:ext cx="0" cy="39"/>
            </a:xfrm>
            <a:prstGeom prst="line">
              <a:avLst/>
            </a:prstGeom>
            <a:noFill/>
            <a:ln w="38100">
              <a:solidFill>
                <a:srgbClr val="EEEEE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30" name="AutoShape 46"/>
            <p:cNvSpPr>
              <a:spLocks noChangeArrowheads="1"/>
            </p:cNvSpPr>
            <p:nvPr/>
          </p:nvSpPr>
          <p:spPr bwMode="gray">
            <a:xfrm flipH="1">
              <a:off x="2856" y="3389"/>
              <a:ext cx="364" cy="143"/>
            </a:xfrm>
            <a:prstGeom prst="roundRect">
              <a:avLst>
                <a:gd name="adj" fmla="val 50000"/>
              </a:avLst>
            </a:prstGeom>
            <a:solidFill>
              <a:srgbClr val="696969"/>
            </a:solidFill>
            <a:ln w="6350">
              <a:solidFill>
                <a:srgbClr val="888888"/>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31" name="Line 47"/>
            <p:cNvSpPr>
              <a:spLocks noChangeShapeType="1"/>
            </p:cNvSpPr>
            <p:nvPr/>
          </p:nvSpPr>
          <p:spPr bwMode="gray">
            <a:xfrm flipH="1">
              <a:off x="3610" y="3389"/>
              <a:ext cx="0" cy="39"/>
            </a:xfrm>
            <a:prstGeom prst="line">
              <a:avLst/>
            </a:prstGeom>
            <a:noFill/>
            <a:ln w="38100">
              <a:solidFill>
                <a:srgbClr val="EEEEE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32" name="Oval 48"/>
            <p:cNvSpPr>
              <a:spLocks noChangeArrowheads="1"/>
            </p:cNvSpPr>
            <p:nvPr/>
          </p:nvSpPr>
          <p:spPr bwMode="gray">
            <a:xfrm flipH="1">
              <a:off x="2451" y="3318"/>
              <a:ext cx="1169" cy="142"/>
            </a:xfrm>
            <a:prstGeom prst="ellipse">
              <a:avLst/>
            </a:prstGeom>
            <a:solidFill>
              <a:srgbClr val="DCDCDC"/>
            </a:solidFill>
            <a:ln w="9525">
              <a:solidFill>
                <a:schemeClr val="tx1"/>
              </a:solidFill>
              <a:round/>
              <a:headEnd/>
              <a:tailEnd/>
            </a:ln>
            <a:effectLst>
              <a:outerShdw dist="57150" dir="5400000" algn="ctr" rotWithShape="0">
                <a:srgbClr val="696969"/>
              </a:outerShdw>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33" name="Freeform 49"/>
            <p:cNvSpPr>
              <a:spLocks/>
            </p:cNvSpPr>
            <p:nvPr/>
          </p:nvSpPr>
          <p:spPr bwMode="gray">
            <a:xfrm flipH="1">
              <a:off x="1647" y="3318"/>
              <a:ext cx="586" cy="572"/>
            </a:xfrm>
            <a:custGeom>
              <a:avLst/>
              <a:gdLst>
                <a:gd name="T0" fmla="*/ 0 w 631"/>
                <a:gd name="T1" fmla="*/ 470 h 631"/>
                <a:gd name="T2" fmla="*/ 63 w 631"/>
                <a:gd name="T3" fmla="*/ 0 h 631"/>
                <a:gd name="T4" fmla="*/ 441 w 631"/>
                <a:gd name="T5" fmla="*/ 0 h 631"/>
                <a:gd name="T6" fmla="*/ 504 w 631"/>
                <a:gd name="T7" fmla="*/ 470 h 631"/>
                <a:gd name="T8" fmla="*/ 0 w 631"/>
                <a:gd name="T9" fmla="*/ 470 h 6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1" h="631">
                  <a:moveTo>
                    <a:pt x="0" y="630"/>
                  </a:moveTo>
                  <a:lnTo>
                    <a:pt x="79" y="0"/>
                  </a:lnTo>
                  <a:lnTo>
                    <a:pt x="551" y="0"/>
                  </a:lnTo>
                  <a:lnTo>
                    <a:pt x="630" y="630"/>
                  </a:lnTo>
                  <a:lnTo>
                    <a:pt x="0" y="630"/>
                  </a:lnTo>
                  <a:close/>
                </a:path>
              </a:pathLst>
            </a:custGeom>
            <a:solidFill>
              <a:srgbClr val="DCDCDC"/>
            </a:soli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34" name="Arc 50" descr="Light vertical"/>
            <p:cNvSpPr>
              <a:spLocks/>
            </p:cNvSpPr>
            <p:nvPr/>
          </p:nvSpPr>
          <p:spPr bwMode="gray">
            <a:xfrm flipH="1">
              <a:off x="1721" y="3389"/>
              <a:ext cx="438" cy="144"/>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Lst>
              <a:ahLst/>
              <a:cxnLst>
                <a:cxn ang="T6">
                  <a:pos x="T0" y="T1"/>
                </a:cxn>
                <a:cxn ang="T7">
                  <a:pos x="T2" y="T3"/>
                </a:cxn>
                <a:cxn ang="T8">
                  <a:pos x="T4" y="T5"/>
                </a:cxn>
              </a:cxnLst>
              <a:rect l="0" t="0" r="r" b="b"/>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pattFill prst="ltVert">
              <a:fgClr>
                <a:srgbClr val="000000"/>
              </a:fgClr>
              <a:bgClr>
                <a:schemeClr val="bg1"/>
              </a:bgClr>
            </a:patt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35" name="Arc 51"/>
            <p:cNvSpPr>
              <a:spLocks/>
            </p:cNvSpPr>
            <p:nvPr/>
          </p:nvSpPr>
          <p:spPr bwMode="gray">
            <a:xfrm flipH="1">
              <a:off x="1721" y="3460"/>
              <a:ext cx="438" cy="14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Lst>
              <a:ahLst/>
              <a:cxnLst>
                <a:cxn ang="T6">
                  <a:pos x="T0" y="T1"/>
                </a:cxn>
                <a:cxn ang="T7">
                  <a:pos x="T2" y="T3"/>
                </a:cxn>
                <a:cxn ang="T8">
                  <a:pos x="T4" y="T5"/>
                </a:cxn>
              </a:cxnLst>
              <a:rect l="0" t="0" r="r" b="b"/>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solidFill>
              <a:srgbClr val="DCDCDC"/>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36" name="Rectangle 52"/>
            <p:cNvSpPr>
              <a:spLocks noChangeArrowheads="1"/>
            </p:cNvSpPr>
            <p:nvPr/>
          </p:nvSpPr>
          <p:spPr bwMode="gray">
            <a:xfrm flipH="1">
              <a:off x="2140" y="3456"/>
              <a:ext cx="28" cy="166"/>
            </a:xfrm>
            <a:prstGeom prst="rect">
              <a:avLst/>
            </a:prstGeom>
            <a:solidFill>
              <a:srgbClr val="DCDCDC"/>
            </a:solidFill>
            <a:ln>
              <a:noFill/>
            </a:ln>
            <a:effectLst/>
            <a:extLst>
              <a:ext uri="{91240B29-F687-4F45-9708-019B960494DF}">
                <a14:hiddenLine xmlns:a14="http://schemas.microsoft.com/office/drawing/2010/main" w="0">
                  <a:solidFill>
                    <a:srgbClr val="EEEEE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37" name="Rectangle 53"/>
            <p:cNvSpPr>
              <a:spLocks noChangeArrowheads="1"/>
            </p:cNvSpPr>
            <p:nvPr/>
          </p:nvSpPr>
          <p:spPr bwMode="gray">
            <a:xfrm flipH="1">
              <a:off x="1715" y="3456"/>
              <a:ext cx="20" cy="166"/>
            </a:xfrm>
            <a:prstGeom prst="rect">
              <a:avLst/>
            </a:prstGeom>
            <a:solidFill>
              <a:srgbClr val="DCDCDC"/>
            </a:solidFill>
            <a:ln>
              <a:noFill/>
            </a:ln>
            <a:effectLst/>
            <a:extLst>
              <a:ext uri="{91240B29-F687-4F45-9708-019B960494DF}">
                <a14:hiddenLine xmlns:a14="http://schemas.microsoft.com/office/drawing/2010/main" w="0">
                  <a:solidFill>
                    <a:srgbClr val="EEEEE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38" name="AutoShape 54"/>
            <p:cNvSpPr>
              <a:spLocks noChangeArrowheads="1"/>
            </p:cNvSpPr>
            <p:nvPr/>
          </p:nvSpPr>
          <p:spPr bwMode="gray">
            <a:xfrm rot="2204568" flipH="1">
              <a:off x="1944" y="3535"/>
              <a:ext cx="146" cy="293"/>
            </a:xfrm>
            <a:prstGeom prst="upArrow">
              <a:avLst>
                <a:gd name="adj1" fmla="val 50000"/>
                <a:gd name="adj2" fmla="val 50171"/>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86039" name="Rectangle 55"/>
            <p:cNvSpPr>
              <a:spLocks noChangeArrowheads="1"/>
            </p:cNvSpPr>
            <p:nvPr/>
          </p:nvSpPr>
          <p:spPr bwMode="gray">
            <a:xfrm flipH="1">
              <a:off x="2972" y="3137"/>
              <a:ext cx="198"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lvl1pPr algn="l" defTabSz="885825">
                <a:spcBef>
                  <a:spcPct val="20000"/>
                </a:spcBef>
                <a:buChar char="•"/>
                <a:defRPr sz="1100">
                  <a:solidFill>
                    <a:schemeClr val="tx1"/>
                  </a:solidFill>
                  <a:latin typeface="Arial" panose="020B0604020202020204" pitchFamily="34" charset="0"/>
                </a:defRPr>
              </a:lvl1pPr>
              <a:lvl2pPr marL="450850" indent="-187325" algn="l" defTabSz="885825">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900113" indent="-228600" algn="l" defTabSz="885825">
                <a:spcBef>
                  <a:spcPct val="20000"/>
                </a:spcBef>
                <a:buChar char="–"/>
                <a:defRPr sz="1100">
                  <a:solidFill>
                    <a:schemeClr val="tx1"/>
                  </a:solidFill>
                  <a:latin typeface="Arial" panose="020B0604020202020204" pitchFamily="34" charset="0"/>
                </a:defRPr>
              </a:lvl3pPr>
              <a:lvl4pPr marL="1350963" indent="-228600" algn="l" defTabSz="885825">
                <a:spcBef>
                  <a:spcPct val="20000"/>
                </a:spcBef>
                <a:buChar char="–"/>
                <a:defRPr sz="1100">
                  <a:solidFill>
                    <a:schemeClr val="tx1"/>
                  </a:solidFill>
                  <a:latin typeface="Arial" panose="020B0604020202020204" pitchFamily="34" charset="0"/>
                </a:defRPr>
              </a:lvl4pPr>
              <a:lvl5pPr marL="1800225" indent="-228600" algn="l" defTabSz="885825">
                <a:spcBef>
                  <a:spcPct val="20000"/>
                </a:spcBef>
                <a:buChar char="»"/>
                <a:defRPr sz="2000">
                  <a:solidFill>
                    <a:schemeClr val="tx1"/>
                  </a:solidFill>
                  <a:latin typeface="Times New Roman" panose="02020603050405020304" pitchFamily="18" charset="0"/>
                </a:defRPr>
              </a:lvl5pPr>
              <a:lvl6pPr marL="22574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7146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718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290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86040" name="Rectangle 56"/>
            <p:cNvSpPr>
              <a:spLocks noChangeArrowheads="1"/>
            </p:cNvSpPr>
            <p:nvPr/>
          </p:nvSpPr>
          <p:spPr bwMode="gray">
            <a:xfrm flipH="1">
              <a:off x="720" y="2854"/>
              <a:ext cx="198"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lvl1pPr algn="l" defTabSz="885825">
                <a:spcBef>
                  <a:spcPct val="20000"/>
                </a:spcBef>
                <a:buChar char="•"/>
                <a:defRPr sz="1100">
                  <a:solidFill>
                    <a:schemeClr val="tx1"/>
                  </a:solidFill>
                  <a:latin typeface="Arial" panose="020B0604020202020204" pitchFamily="34" charset="0"/>
                </a:defRPr>
              </a:lvl1pPr>
              <a:lvl2pPr marL="450850" indent="-187325" algn="l" defTabSz="885825">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900113" indent="-228600" algn="l" defTabSz="885825">
                <a:spcBef>
                  <a:spcPct val="20000"/>
                </a:spcBef>
                <a:buChar char="–"/>
                <a:defRPr sz="1100">
                  <a:solidFill>
                    <a:schemeClr val="tx1"/>
                  </a:solidFill>
                  <a:latin typeface="Arial" panose="020B0604020202020204" pitchFamily="34" charset="0"/>
                </a:defRPr>
              </a:lvl3pPr>
              <a:lvl4pPr marL="1350963" indent="-228600" algn="l" defTabSz="885825">
                <a:spcBef>
                  <a:spcPct val="20000"/>
                </a:spcBef>
                <a:buChar char="–"/>
                <a:defRPr sz="1100">
                  <a:solidFill>
                    <a:schemeClr val="tx1"/>
                  </a:solidFill>
                  <a:latin typeface="Arial" panose="020B0604020202020204" pitchFamily="34" charset="0"/>
                </a:defRPr>
              </a:lvl4pPr>
              <a:lvl5pPr marL="1800225" indent="-228600" algn="l" defTabSz="885825">
                <a:spcBef>
                  <a:spcPct val="20000"/>
                </a:spcBef>
                <a:buChar char="»"/>
                <a:defRPr sz="2000">
                  <a:solidFill>
                    <a:schemeClr val="tx1"/>
                  </a:solidFill>
                  <a:latin typeface="Times New Roman" panose="02020603050405020304" pitchFamily="18" charset="0"/>
                </a:defRPr>
              </a:lvl5pPr>
              <a:lvl6pPr marL="22574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7146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718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29025" indent="-228600" defTabSz="88582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grpSp>
      <p:sp>
        <p:nvSpPr>
          <p:cNvPr id="4" name="Text Placeholder 3"/>
          <p:cNvSpPr>
            <a:spLocks noGrp="1"/>
          </p:cNvSpPr>
          <p:nvPr>
            <p:ph type="body" sz="quarter" idx="11"/>
          </p:nvPr>
        </p:nvSpPr>
        <p:spPr/>
        <p:txBody>
          <a:bodyPr/>
          <a:lstStyle/>
          <a:p>
            <a:endParaRPr lang="en-US"/>
          </a:p>
        </p:txBody>
      </p:sp>
      <p:sp>
        <p:nvSpPr>
          <p:cNvPr id="86022" name="Rectangle 57"/>
          <p:cNvSpPr>
            <a:spLocks noGrp="1" noChangeArrowheads="1"/>
          </p:cNvSpPr>
          <p:nvPr>
            <p:ph type="title"/>
          </p:nvPr>
        </p:nvSpPr>
        <p:spPr/>
        <p:txBody>
          <a:bodyPr/>
          <a:lstStyle/>
          <a:p>
            <a:r>
              <a:rPr lang="en-GB" altLang="en-US"/>
              <a:t>Balances/scales</a:t>
            </a:r>
          </a:p>
        </p:txBody>
      </p:sp>
    </p:spTree>
    <p:extLst>
      <p:ext uri="{BB962C8B-B14F-4D97-AF65-F5344CB8AC3E}">
        <p14:creationId xmlns:p14="http://schemas.microsoft.com/office/powerpoint/2010/main" val="18698097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186" name="Rectangle 2" hidden="1"/>
          <p:cNvGraphicFramePr>
            <a:graphicFrameLocks/>
          </p:cNvGraphicFramePr>
          <p:nvPr>
            <p:custDataLst>
              <p:tags r:id="rId1"/>
            </p:custDataLst>
            <p:extLst>
              <p:ext uri="{D42A27DB-BD31-4B8C-83A1-F6EECF244321}">
                <p14:modId xmlns:p14="http://schemas.microsoft.com/office/powerpoint/2010/main" val="3692128557"/>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9318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p:cNvSpPr/>
          <p:nvPr>
            <p:custDataLst>
              <p:tags r:id="rId2"/>
            </p:custDataLst>
          </p:nvPr>
        </p:nvSpPr>
        <p:spPr>
          <a:xfrm>
            <a:off x="1524000" y="0"/>
            <a:ext cx="158750" cy="15875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400" b="1" err="1">
              <a:solidFill>
                <a:srgbClr val="EEEEEE"/>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93188" name="Freeform 4"/>
          <p:cNvSpPr>
            <a:spLocks/>
          </p:cNvSpPr>
          <p:nvPr/>
        </p:nvSpPr>
        <p:spPr bwMode="gray">
          <a:xfrm flipH="1">
            <a:off x="2374901" y="4551364"/>
            <a:ext cx="7148513" cy="947737"/>
          </a:xfrm>
          <a:custGeom>
            <a:avLst/>
            <a:gdLst>
              <a:gd name="T0" fmla="*/ 2147483647 w 4411"/>
              <a:gd name="T1" fmla="*/ 0 h 552"/>
              <a:gd name="T2" fmla="*/ 2147483647 w 4411"/>
              <a:gd name="T3" fmla="*/ 2147483647 h 552"/>
              <a:gd name="T4" fmla="*/ 2147483647 w 4411"/>
              <a:gd name="T5" fmla="*/ 2147483647 h 552"/>
              <a:gd name="T6" fmla="*/ 0 w 4411"/>
              <a:gd name="T7" fmla="*/ 2147483647 h 552"/>
              <a:gd name="T8" fmla="*/ 0 w 4411"/>
              <a:gd name="T9" fmla="*/ 2147483647 h 552"/>
              <a:gd name="T10" fmla="*/ 2147483647 w 4411"/>
              <a:gd name="T11" fmla="*/ 0 h 552"/>
              <a:gd name="T12" fmla="*/ 2147483647 w 4411"/>
              <a:gd name="T13" fmla="*/ 0 h 5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11" h="552">
                <a:moveTo>
                  <a:pt x="4410" y="0"/>
                </a:moveTo>
                <a:lnTo>
                  <a:pt x="4410" y="315"/>
                </a:lnTo>
                <a:lnTo>
                  <a:pt x="4174" y="551"/>
                </a:lnTo>
                <a:lnTo>
                  <a:pt x="0" y="551"/>
                </a:lnTo>
                <a:lnTo>
                  <a:pt x="0" y="236"/>
                </a:lnTo>
                <a:lnTo>
                  <a:pt x="236" y="0"/>
                </a:lnTo>
                <a:lnTo>
                  <a:pt x="4410" y="0"/>
                </a:lnTo>
                <a:close/>
              </a:path>
            </a:pathLst>
          </a:custGeom>
          <a:solidFill>
            <a:srgbClr val="FFFFFF"/>
          </a:solidFill>
          <a:ln w="9525" cap="flat" cmpd="sng">
            <a:solidFill>
              <a:srgbClr val="FFFFFF"/>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189" name="Line 5"/>
          <p:cNvSpPr>
            <a:spLocks noChangeShapeType="1"/>
          </p:cNvSpPr>
          <p:nvPr/>
        </p:nvSpPr>
        <p:spPr bwMode="gray">
          <a:xfrm>
            <a:off x="2759075" y="5497513"/>
            <a:ext cx="6764338"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190" name="Line 6"/>
          <p:cNvSpPr>
            <a:spLocks noChangeShapeType="1"/>
          </p:cNvSpPr>
          <p:nvPr/>
        </p:nvSpPr>
        <p:spPr bwMode="gray">
          <a:xfrm flipH="1">
            <a:off x="2376489" y="4551363"/>
            <a:ext cx="6764337"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191" name="Text Box 7"/>
          <p:cNvSpPr txBox="1">
            <a:spLocks noChangeArrowheads="1"/>
          </p:cNvSpPr>
          <p:nvPr/>
        </p:nvSpPr>
        <p:spPr bwMode="gray">
          <a:xfrm flipH="1">
            <a:off x="8118475" y="2935289"/>
            <a:ext cx="1022350"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93192" name="Text Box 8"/>
          <p:cNvSpPr txBox="1">
            <a:spLocks noChangeArrowheads="1"/>
          </p:cNvSpPr>
          <p:nvPr/>
        </p:nvSpPr>
        <p:spPr bwMode="gray">
          <a:xfrm flipH="1">
            <a:off x="6467475" y="2935289"/>
            <a:ext cx="1022350"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93193" name="Text Box 9"/>
          <p:cNvSpPr txBox="1">
            <a:spLocks noChangeArrowheads="1"/>
          </p:cNvSpPr>
          <p:nvPr/>
        </p:nvSpPr>
        <p:spPr bwMode="gray">
          <a:xfrm flipH="1">
            <a:off x="4811714" y="2935289"/>
            <a:ext cx="1023937"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93194" name="Text Box 10"/>
          <p:cNvSpPr txBox="1">
            <a:spLocks noChangeArrowheads="1"/>
          </p:cNvSpPr>
          <p:nvPr/>
        </p:nvSpPr>
        <p:spPr bwMode="gray">
          <a:xfrm flipH="1">
            <a:off x="3160713" y="2935289"/>
            <a:ext cx="1020762" cy="212725"/>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pic>
        <p:nvPicPr>
          <p:cNvPr id="93195" name="Picture 11"/>
          <p:cNvPicPr preferRelativeResize="0">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171825" y="3678239"/>
            <a:ext cx="941388" cy="1608137"/>
          </a:xfrm>
          <a:prstGeom prst="rect">
            <a:avLst/>
          </a:prstGeom>
          <a:noFill/>
          <a:ln>
            <a:noFill/>
          </a:ln>
          <a:effectLst/>
          <a:extLst>
            <a:ext uri="{909E8E84-426E-40DD-AFC4-6F175D3DCCD1}">
              <a14:hiddenFill xmlns:a14="http://schemas.microsoft.com/office/drawing/2010/main">
                <a:solidFill>
                  <a:srgbClr val="A2D75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196" name="Picture 12"/>
          <p:cNvPicPr preferRelativeResize="0">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829175" y="3678239"/>
            <a:ext cx="941388" cy="1608137"/>
          </a:xfrm>
          <a:prstGeom prst="rect">
            <a:avLst/>
          </a:prstGeom>
          <a:noFill/>
          <a:ln>
            <a:noFill/>
          </a:ln>
          <a:effectLst/>
          <a:extLst>
            <a:ext uri="{909E8E84-426E-40DD-AFC4-6F175D3DCCD1}">
              <a14:hiddenFill xmlns:a14="http://schemas.microsoft.com/office/drawing/2010/main">
                <a:solidFill>
                  <a:srgbClr val="A2D75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197" name="Picture 13"/>
          <p:cNvPicPr preferRelativeResize="0">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469064" y="3678239"/>
            <a:ext cx="942975" cy="1608137"/>
          </a:xfrm>
          <a:prstGeom prst="rect">
            <a:avLst/>
          </a:prstGeom>
          <a:noFill/>
          <a:ln>
            <a:noFill/>
          </a:ln>
          <a:effectLst/>
          <a:extLst>
            <a:ext uri="{909E8E84-426E-40DD-AFC4-6F175D3DCCD1}">
              <a14:hiddenFill xmlns:a14="http://schemas.microsoft.com/office/drawing/2010/main">
                <a:solidFill>
                  <a:srgbClr val="A2D75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198" name="Picture 14"/>
          <p:cNvPicPr preferRelativeResize="0">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124826" y="3678239"/>
            <a:ext cx="942975" cy="1608137"/>
          </a:xfrm>
          <a:prstGeom prst="rect">
            <a:avLst/>
          </a:prstGeom>
          <a:noFill/>
          <a:ln>
            <a:noFill/>
          </a:ln>
          <a:effectLst/>
          <a:extLst>
            <a:ext uri="{909E8E84-426E-40DD-AFC4-6F175D3DCCD1}">
              <a14:hiddenFill xmlns:a14="http://schemas.microsoft.com/office/drawing/2010/main">
                <a:solidFill>
                  <a:srgbClr val="A2D75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Placeholder 5"/>
          <p:cNvSpPr>
            <a:spLocks noGrp="1"/>
          </p:cNvSpPr>
          <p:nvPr>
            <p:ph type="body" sz="quarter" idx="11"/>
          </p:nvPr>
        </p:nvSpPr>
        <p:spPr/>
        <p:txBody>
          <a:bodyPr/>
          <a:lstStyle/>
          <a:p>
            <a:endParaRPr lang="en-US"/>
          </a:p>
        </p:txBody>
      </p:sp>
      <p:sp>
        <p:nvSpPr>
          <p:cNvPr id="93199" name="Rectangle 15"/>
          <p:cNvSpPr>
            <a:spLocks noGrp="1" noChangeArrowheads="1"/>
          </p:cNvSpPr>
          <p:nvPr>
            <p:ph type="title"/>
          </p:nvPr>
        </p:nvSpPr>
        <p:spPr/>
        <p:txBody>
          <a:bodyPr/>
          <a:lstStyle/>
          <a:p>
            <a:r>
              <a:rPr lang="en-GB" altLang="en-US"/>
              <a:t>Obstacles, walls, hurdles, and resistance</a:t>
            </a:r>
          </a:p>
        </p:txBody>
      </p:sp>
      <p:sp>
        <p:nvSpPr>
          <p:cNvPr id="93200" name="Arc 16"/>
          <p:cNvSpPr>
            <a:spLocks/>
          </p:cNvSpPr>
          <p:nvPr/>
        </p:nvSpPr>
        <p:spPr bwMode="auto">
          <a:xfrm flipH="1">
            <a:off x="3170239" y="3543301"/>
            <a:ext cx="344487" cy="373063"/>
          </a:xfrm>
          <a:custGeom>
            <a:avLst/>
            <a:gdLst>
              <a:gd name="T0" fmla="*/ 0 w 21600"/>
              <a:gd name="T1" fmla="*/ 0 h 21600"/>
              <a:gd name="T2" fmla="*/ 87621560 w 21600"/>
              <a:gd name="T3" fmla="*/ 111285608 h 21600"/>
              <a:gd name="T4" fmla="*/ 0 w 21600"/>
              <a:gd name="T5" fmla="*/ 111285608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chemeClr val="tx1"/>
            </a:solidFill>
            <a:round/>
            <a:headEnd type="triangle" w="med" len="sm"/>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a:p>
        </p:txBody>
      </p:sp>
      <p:sp>
        <p:nvSpPr>
          <p:cNvPr id="93201" name="Arc 17"/>
          <p:cNvSpPr>
            <a:spLocks/>
          </p:cNvSpPr>
          <p:nvPr/>
        </p:nvSpPr>
        <p:spPr bwMode="auto">
          <a:xfrm flipH="1">
            <a:off x="4784725" y="3543301"/>
            <a:ext cx="344488" cy="373063"/>
          </a:xfrm>
          <a:custGeom>
            <a:avLst/>
            <a:gdLst>
              <a:gd name="T0" fmla="*/ 0 w 21600"/>
              <a:gd name="T1" fmla="*/ 0 h 21600"/>
              <a:gd name="T2" fmla="*/ 87622325 w 21600"/>
              <a:gd name="T3" fmla="*/ 111285608 h 21600"/>
              <a:gd name="T4" fmla="*/ 0 w 21600"/>
              <a:gd name="T5" fmla="*/ 111285608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chemeClr val="tx1"/>
            </a:solidFill>
            <a:round/>
            <a:headEnd type="triangle" w="med" len="sm"/>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a:p>
        </p:txBody>
      </p:sp>
      <p:sp>
        <p:nvSpPr>
          <p:cNvPr id="93202" name="Arc 18"/>
          <p:cNvSpPr>
            <a:spLocks/>
          </p:cNvSpPr>
          <p:nvPr/>
        </p:nvSpPr>
        <p:spPr bwMode="auto">
          <a:xfrm flipH="1">
            <a:off x="6437314" y="3543301"/>
            <a:ext cx="344487" cy="373063"/>
          </a:xfrm>
          <a:custGeom>
            <a:avLst/>
            <a:gdLst>
              <a:gd name="T0" fmla="*/ 0 w 21600"/>
              <a:gd name="T1" fmla="*/ 0 h 21600"/>
              <a:gd name="T2" fmla="*/ 87621560 w 21600"/>
              <a:gd name="T3" fmla="*/ 111285608 h 21600"/>
              <a:gd name="T4" fmla="*/ 0 w 21600"/>
              <a:gd name="T5" fmla="*/ 111285608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chemeClr val="tx1"/>
            </a:solidFill>
            <a:round/>
            <a:headEnd type="triangle" w="med" len="sm"/>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a:p>
        </p:txBody>
      </p:sp>
      <p:sp>
        <p:nvSpPr>
          <p:cNvPr id="93203" name="Arc 19"/>
          <p:cNvSpPr>
            <a:spLocks/>
          </p:cNvSpPr>
          <p:nvPr/>
        </p:nvSpPr>
        <p:spPr bwMode="auto">
          <a:xfrm flipH="1">
            <a:off x="8089900" y="3543301"/>
            <a:ext cx="344488" cy="373063"/>
          </a:xfrm>
          <a:custGeom>
            <a:avLst/>
            <a:gdLst>
              <a:gd name="T0" fmla="*/ 0 w 21600"/>
              <a:gd name="T1" fmla="*/ 0 h 21600"/>
              <a:gd name="T2" fmla="*/ 87622325 w 21600"/>
              <a:gd name="T3" fmla="*/ 111285608 h 21600"/>
              <a:gd name="T4" fmla="*/ 0 w 21600"/>
              <a:gd name="T5" fmla="*/ 111285608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chemeClr val="tx1"/>
            </a:solidFill>
            <a:round/>
            <a:headEnd type="triangle" w="med" len="sm"/>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a:p>
        </p:txBody>
      </p:sp>
    </p:spTree>
    <p:extLst>
      <p:ext uri="{BB962C8B-B14F-4D97-AF65-F5344CB8AC3E}">
        <p14:creationId xmlns:p14="http://schemas.microsoft.com/office/powerpoint/2010/main" val="21798369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234" name="Rectangle 2" hidden="1"/>
          <p:cNvGraphicFramePr>
            <a:graphicFrameLocks/>
          </p:cNvGraphicFramePr>
          <p:nvPr>
            <p:custDataLst>
              <p:tags r:id="rId1"/>
            </p:custDataLst>
            <p:extLst>
              <p:ext uri="{D42A27DB-BD31-4B8C-83A1-F6EECF244321}">
                <p14:modId xmlns:p14="http://schemas.microsoft.com/office/powerpoint/2010/main" val="3324705511"/>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9523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p:cNvSpPr/>
          <p:nvPr>
            <p:custDataLst>
              <p:tags r:id="rId2"/>
            </p:custDataLst>
          </p:nvPr>
        </p:nvSpPr>
        <p:spPr>
          <a:xfrm>
            <a:off x="1524000" y="0"/>
            <a:ext cx="158750" cy="15875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400" b="1" err="1">
              <a:solidFill>
                <a:srgbClr val="EEEEEE"/>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95236" name="Text Box 4"/>
          <p:cNvSpPr txBox="1">
            <a:spLocks noChangeArrowheads="1"/>
          </p:cNvSpPr>
          <p:nvPr/>
        </p:nvSpPr>
        <p:spPr bwMode="gray">
          <a:xfrm flipH="1">
            <a:off x="3336925" y="3802063"/>
            <a:ext cx="1163638" cy="215444"/>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a:spcBef>
                <a:spcPct val="0"/>
              </a:spcBef>
              <a:buFontTx/>
              <a:buNone/>
            </a:pPr>
            <a:r>
              <a:rPr lang="en-GB" altLang="en-US" sz="1400">
                <a:solidFill>
                  <a:schemeClr val="tx1">
                    <a:lumMod val="50000"/>
                  </a:schemeClr>
                </a:solidFill>
              </a:rPr>
              <a:t>Text</a:t>
            </a:r>
          </a:p>
        </p:txBody>
      </p:sp>
      <p:sp>
        <p:nvSpPr>
          <p:cNvPr id="95237" name="Text Box 5"/>
          <p:cNvSpPr txBox="1">
            <a:spLocks noChangeArrowheads="1"/>
          </p:cNvSpPr>
          <p:nvPr/>
        </p:nvSpPr>
        <p:spPr bwMode="gray">
          <a:xfrm flipH="1">
            <a:off x="6764339" y="2847975"/>
            <a:ext cx="1163637" cy="215444"/>
          </a:xfrm>
          <a:prstGeom prst="rect">
            <a:avLst/>
          </a:prstGeom>
          <a:noFill/>
          <a:ln>
            <a:noFill/>
          </a:ln>
          <a:effectLst/>
          <a:extLst>
            <a:ext uri="{909E8E84-426E-40DD-AFC4-6F175D3DCCD1}">
              <a14:hiddenFill xmlns:a14="http://schemas.microsoft.com/office/drawing/2010/main">
                <a:solidFill>
                  <a:srgbClr val="BBBBBB"/>
                </a:solidFill>
              </a14:hiddenFill>
            </a:ex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331788">
              <a:spcBef>
                <a:spcPct val="20000"/>
              </a:spcBef>
              <a:buChar char="•"/>
              <a:defRPr sz="1100">
                <a:solidFill>
                  <a:schemeClr val="tx1"/>
                </a:solidFill>
                <a:latin typeface="Arial" panose="020B0604020202020204" pitchFamily="34" charset="0"/>
              </a:defRPr>
            </a:lvl1pPr>
            <a:lvl2pPr marL="584200" indent="-187325" algn="l" defTabSz="3317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839788" indent="-228600" algn="l" defTabSz="331788">
              <a:spcBef>
                <a:spcPct val="20000"/>
              </a:spcBef>
              <a:buChar char="–"/>
              <a:defRPr sz="1100">
                <a:solidFill>
                  <a:schemeClr val="tx1"/>
                </a:solidFill>
                <a:latin typeface="Arial" panose="020B0604020202020204" pitchFamily="34" charset="0"/>
              </a:defRPr>
            </a:lvl3pPr>
            <a:lvl4pPr marL="1260475" indent="-228600" algn="l" defTabSz="331788">
              <a:spcBef>
                <a:spcPct val="20000"/>
              </a:spcBef>
              <a:buChar char="–"/>
              <a:defRPr sz="1100">
                <a:solidFill>
                  <a:schemeClr val="tx1"/>
                </a:solidFill>
                <a:latin typeface="Arial" panose="020B0604020202020204" pitchFamily="34" charset="0"/>
              </a:defRPr>
            </a:lvl4pPr>
            <a:lvl5pPr marL="1681163" indent="-228600" algn="l" defTabSz="331788">
              <a:spcBef>
                <a:spcPct val="20000"/>
              </a:spcBef>
              <a:buChar char="»"/>
              <a:defRPr sz="2000">
                <a:solidFill>
                  <a:schemeClr val="tx1"/>
                </a:solidFill>
                <a:latin typeface="Times New Roman" panose="02020603050405020304" pitchFamily="18" charset="0"/>
              </a:defRPr>
            </a:lvl5pPr>
            <a:lvl6pPr marL="21383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5955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0527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509963" indent="-228600" defTabSz="3317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GB" altLang="en-US" sz="1400">
                <a:solidFill>
                  <a:schemeClr val="tx1">
                    <a:lumMod val="50000"/>
                  </a:schemeClr>
                </a:solidFill>
              </a:rPr>
              <a:t>Text</a:t>
            </a:r>
          </a:p>
        </p:txBody>
      </p:sp>
      <p:grpSp>
        <p:nvGrpSpPr>
          <p:cNvPr id="95238" name="Group 6"/>
          <p:cNvGrpSpPr>
            <a:grpSpLocks/>
          </p:cNvGrpSpPr>
          <p:nvPr/>
        </p:nvGrpSpPr>
        <p:grpSpPr bwMode="auto">
          <a:xfrm>
            <a:off x="3500439" y="4791075"/>
            <a:ext cx="407987" cy="1206500"/>
            <a:chOff x="1343" y="2867"/>
            <a:chExt cx="244" cy="667"/>
          </a:xfrm>
          <a:solidFill>
            <a:schemeClr val="tx1">
              <a:lumMod val="75000"/>
            </a:schemeClr>
          </a:solidFill>
        </p:grpSpPr>
        <p:sp>
          <p:nvSpPr>
            <p:cNvPr id="95242" name="Freeform 7"/>
            <p:cNvSpPr>
              <a:spLocks/>
            </p:cNvSpPr>
            <p:nvPr/>
          </p:nvSpPr>
          <p:spPr bwMode="gray">
            <a:xfrm>
              <a:off x="1458" y="3457"/>
              <a:ext cx="119" cy="54"/>
            </a:xfrm>
            <a:custGeom>
              <a:avLst/>
              <a:gdLst>
                <a:gd name="T0" fmla="*/ 2 w 172"/>
                <a:gd name="T1" fmla="*/ 0 h 82"/>
                <a:gd name="T2" fmla="*/ 2 w 172"/>
                <a:gd name="T3" fmla="*/ 0 h 82"/>
                <a:gd name="T4" fmla="*/ 0 w 172"/>
                <a:gd name="T5" fmla="*/ 8 h 82"/>
                <a:gd name="T6" fmla="*/ 0 w 172"/>
                <a:gd name="T7" fmla="*/ 12 h 82"/>
                <a:gd name="T8" fmla="*/ 0 w 172"/>
                <a:gd name="T9" fmla="*/ 13 h 82"/>
                <a:gd name="T10" fmla="*/ 0 w 172"/>
                <a:gd name="T11" fmla="*/ 14 h 82"/>
                <a:gd name="T12" fmla="*/ 1 w 172"/>
                <a:gd name="T13" fmla="*/ 20 h 82"/>
                <a:gd name="T14" fmla="*/ 1 w 172"/>
                <a:gd name="T15" fmla="*/ 20 h 82"/>
                <a:gd name="T16" fmla="*/ 1 w 172"/>
                <a:gd name="T17" fmla="*/ 20 h 82"/>
                <a:gd name="T18" fmla="*/ 1 w 172"/>
                <a:gd name="T19" fmla="*/ 21 h 82"/>
                <a:gd name="T20" fmla="*/ 2 w 172"/>
                <a:gd name="T21" fmla="*/ 22 h 82"/>
                <a:gd name="T22" fmla="*/ 3 w 172"/>
                <a:gd name="T23" fmla="*/ 22 h 82"/>
                <a:gd name="T24" fmla="*/ 3 w 172"/>
                <a:gd name="T25" fmla="*/ 22 h 82"/>
                <a:gd name="T26" fmla="*/ 12 w 172"/>
                <a:gd name="T27" fmla="*/ 22 h 82"/>
                <a:gd name="T28" fmla="*/ 15 w 172"/>
                <a:gd name="T29" fmla="*/ 22 h 82"/>
                <a:gd name="T30" fmla="*/ 17 w 172"/>
                <a:gd name="T31" fmla="*/ 21 h 82"/>
                <a:gd name="T32" fmla="*/ 18 w 172"/>
                <a:gd name="T33" fmla="*/ 20 h 82"/>
                <a:gd name="T34" fmla="*/ 18 w 172"/>
                <a:gd name="T35" fmla="*/ 20 h 82"/>
                <a:gd name="T36" fmla="*/ 18 w 172"/>
                <a:gd name="T37" fmla="*/ 20 h 82"/>
                <a:gd name="T38" fmla="*/ 24 w 172"/>
                <a:gd name="T39" fmla="*/ 21 h 82"/>
                <a:gd name="T40" fmla="*/ 30 w 172"/>
                <a:gd name="T41" fmla="*/ 23 h 82"/>
                <a:gd name="T42" fmla="*/ 35 w 172"/>
                <a:gd name="T43" fmla="*/ 24 h 82"/>
                <a:gd name="T44" fmla="*/ 35 w 172"/>
                <a:gd name="T45" fmla="*/ 24 h 82"/>
                <a:gd name="T46" fmla="*/ 44 w 172"/>
                <a:gd name="T47" fmla="*/ 24 h 82"/>
                <a:gd name="T48" fmla="*/ 51 w 172"/>
                <a:gd name="T49" fmla="*/ 24 h 82"/>
                <a:gd name="T50" fmla="*/ 57 w 172"/>
                <a:gd name="T51" fmla="*/ 22 h 82"/>
                <a:gd name="T52" fmla="*/ 57 w 172"/>
                <a:gd name="T53" fmla="*/ 22 h 82"/>
                <a:gd name="T54" fmla="*/ 57 w 172"/>
                <a:gd name="T55" fmla="*/ 22 h 82"/>
                <a:gd name="T56" fmla="*/ 57 w 172"/>
                <a:gd name="T57" fmla="*/ 20 h 82"/>
                <a:gd name="T58" fmla="*/ 55 w 172"/>
                <a:gd name="T59" fmla="*/ 18 h 82"/>
                <a:gd name="T60" fmla="*/ 53 w 172"/>
                <a:gd name="T61" fmla="*/ 18 h 82"/>
                <a:gd name="T62" fmla="*/ 51 w 172"/>
                <a:gd name="T63" fmla="*/ 16 h 82"/>
                <a:gd name="T64" fmla="*/ 47 w 172"/>
                <a:gd name="T65" fmla="*/ 16 h 82"/>
                <a:gd name="T66" fmla="*/ 47 w 172"/>
                <a:gd name="T67" fmla="*/ 16 h 82"/>
                <a:gd name="T68" fmla="*/ 38 w 172"/>
                <a:gd name="T69" fmla="*/ 14 h 82"/>
                <a:gd name="T70" fmla="*/ 37 w 172"/>
                <a:gd name="T71" fmla="*/ 14 h 82"/>
                <a:gd name="T72" fmla="*/ 35 w 172"/>
                <a:gd name="T73" fmla="*/ 13 h 82"/>
                <a:gd name="T74" fmla="*/ 35 w 172"/>
                <a:gd name="T75" fmla="*/ 13 h 82"/>
                <a:gd name="T76" fmla="*/ 30 w 172"/>
                <a:gd name="T77" fmla="*/ 9 h 82"/>
                <a:gd name="T78" fmla="*/ 30 w 172"/>
                <a:gd name="T79" fmla="*/ 9 h 82"/>
                <a:gd name="T80" fmla="*/ 28 w 172"/>
                <a:gd name="T81" fmla="*/ 4 h 82"/>
                <a:gd name="T82" fmla="*/ 28 w 172"/>
                <a:gd name="T83" fmla="*/ 4 h 82"/>
                <a:gd name="T84" fmla="*/ 21 w 172"/>
                <a:gd name="T85" fmla="*/ 4 h 82"/>
                <a:gd name="T86" fmla="*/ 15 w 172"/>
                <a:gd name="T87" fmla="*/ 3 h 82"/>
                <a:gd name="T88" fmla="*/ 8 w 172"/>
                <a:gd name="T89" fmla="*/ 2 h 82"/>
                <a:gd name="T90" fmla="*/ 2 w 172"/>
                <a:gd name="T91" fmla="*/ 0 h 82"/>
                <a:gd name="T92" fmla="*/ 2 w 172"/>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72" h="82">
                  <a:moveTo>
                    <a:pt x="6" y="0"/>
                  </a:moveTo>
                  <a:lnTo>
                    <a:pt x="6" y="0"/>
                  </a:lnTo>
                  <a:lnTo>
                    <a:pt x="0" y="28"/>
                  </a:lnTo>
                  <a:lnTo>
                    <a:pt x="0" y="42"/>
                  </a:lnTo>
                  <a:lnTo>
                    <a:pt x="0" y="46"/>
                  </a:lnTo>
                  <a:lnTo>
                    <a:pt x="0" y="50"/>
                  </a:lnTo>
                  <a:lnTo>
                    <a:pt x="2" y="68"/>
                  </a:lnTo>
                  <a:lnTo>
                    <a:pt x="2" y="72"/>
                  </a:lnTo>
                  <a:lnTo>
                    <a:pt x="4" y="74"/>
                  </a:lnTo>
                  <a:lnTo>
                    <a:pt x="6" y="76"/>
                  </a:lnTo>
                  <a:lnTo>
                    <a:pt x="8" y="76"/>
                  </a:lnTo>
                  <a:lnTo>
                    <a:pt x="34" y="78"/>
                  </a:lnTo>
                  <a:lnTo>
                    <a:pt x="46" y="76"/>
                  </a:lnTo>
                  <a:lnTo>
                    <a:pt x="52" y="74"/>
                  </a:lnTo>
                  <a:lnTo>
                    <a:pt x="54" y="72"/>
                  </a:lnTo>
                  <a:lnTo>
                    <a:pt x="54" y="68"/>
                  </a:lnTo>
                  <a:lnTo>
                    <a:pt x="74" y="74"/>
                  </a:lnTo>
                  <a:lnTo>
                    <a:pt x="90" y="80"/>
                  </a:lnTo>
                  <a:lnTo>
                    <a:pt x="104" y="82"/>
                  </a:lnTo>
                  <a:lnTo>
                    <a:pt x="132" y="82"/>
                  </a:lnTo>
                  <a:lnTo>
                    <a:pt x="154" y="82"/>
                  </a:lnTo>
                  <a:lnTo>
                    <a:pt x="172" y="78"/>
                  </a:lnTo>
                  <a:lnTo>
                    <a:pt x="172" y="76"/>
                  </a:lnTo>
                  <a:lnTo>
                    <a:pt x="170" y="70"/>
                  </a:lnTo>
                  <a:lnTo>
                    <a:pt x="166" y="66"/>
                  </a:lnTo>
                  <a:lnTo>
                    <a:pt x="160" y="62"/>
                  </a:lnTo>
                  <a:lnTo>
                    <a:pt x="152" y="58"/>
                  </a:lnTo>
                  <a:lnTo>
                    <a:pt x="142" y="56"/>
                  </a:lnTo>
                  <a:lnTo>
                    <a:pt x="114" y="50"/>
                  </a:lnTo>
                  <a:lnTo>
                    <a:pt x="110" y="48"/>
                  </a:lnTo>
                  <a:lnTo>
                    <a:pt x="104" y="44"/>
                  </a:lnTo>
                  <a:lnTo>
                    <a:pt x="90" y="30"/>
                  </a:lnTo>
                  <a:lnTo>
                    <a:pt x="84" y="14"/>
                  </a:lnTo>
                  <a:lnTo>
                    <a:pt x="64" y="14"/>
                  </a:lnTo>
                  <a:lnTo>
                    <a:pt x="44" y="12"/>
                  </a:lnTo>
                  <a:lnTo>
                    <a:pt x="26" y="8"/>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5243" name="Freeform 8"/>
            <p:cNvSpPr>
              <a:spLocks noEditPoints="1"/>
            </p:cNvSpPr>
            <p:nvPr/>
          </p:nvSpPr>
          <p:spPr bwMode="gray">
            <a:xfrm>
              <a:off x="1343" y="2867"/>
              <a:ext cx="244" cy="667"/>
            </a:xfrm>
            <a:custGeom>
              <a:avLst/>
              <a:gdLst>
                <a:gd name="T0" fmla="*/ 98 w 352"/>
                <a:gd name="T1" fmla="*/ 32 h 1028"/>
                <a:gd name="T2" fmla="*/ 92 w 352"/>
                <a:gd name="T3" fmla="*/ 21 h 1028"/>
                <a:gd name="T4" fmla="*/ 85 w 352"/>
                <a:gd name="T5" fmla="*/ 19 h 1028"/>
                <a:gd name="T6" fmla="*/ 78 w 352"/>
                <a:gd name="T7" fmla="*/ 19 h 1028"/>
                <a:gd name="T8" fmla="*/ 71 w 352"/>
                <a:gd name="T9" fmla="*/ 19 h 1028"/>
                <a:gd name="T10" fmla="*/ 70 w 352"/>
                <a:gd name="T11" fmla="*/ 27 h 1028"/>
                <a:gd name="T12" fmla="*/ 81 w 352"/>
                <a:gd name="T13" fmla="*/ 34 h 1028"/>
                <a:gd name="T14" fmla="*/ 88 w 352"/>
                <a:gd name="T15" fmla="*/ 42 h 1028"/>
                <a:gd name="T16" fmla="*/ 81 w 352"/>
                <a:gd name="T17" fmla="*/ 50 h 1028"/>
                <a:gd name="T18" fmla="*/ 70 w 352"/>
                <a:gd name="T19" fmla="*/ 43 h 1028"/>
                <a:gd name="T20" fmla="*/ 57 w 352"/>
                <a:gd name="T21" fmla="*/ 40 h 1028"/>
                <a:gd name="T22" fmla="*/ 60 w 352"/>
                <a:gd name="T23" fmla="*/ 39 h 1028"/>
                <a:gd name="T24" fmla="*/ 64 w 352"/>
                <a:gd name="T25" fmla="*/ 36 h 1028"/>
                <a:gd name="T26" fmla="*/ 64 w 352"/>
                <a:gd name="T27" fmla="*/ 34 h 1028"/>
                <a:gd name="T28" fmla="*/ 64 w 352"/>
                <a:gd name="T29" fmla="*/ 31 h 1028"/>
                <a:gd name="T30" fmla="*/ 69 w 352"/>
                <a:gd name="T31" fmla="*/ 26 h 1028"/>
                <a:gd name="T32" fmla="*/ 70 w 352"/>
                <a:gd name="T33" fmla="*/ 21 h 1028"/>
                <a:gd name="T34" fmla="*/ 71 w 352"/>
                <a:gd name="T35" fmla="*/ 13 h 1028"/>
                <a:gd name="T36" fmla="*/ 69 w 352"/>
                <a:gd name="T37" fmla="*/ 5 h 1028"/>
                <a:gd name="T38" fmla="*/ 46 w 352"/>
                <a:gd name="T39" fmla="*/ 1 h 1028"/>
                <a:gd name="T40" fmla="*/ 35 w 352"/>
                <a:gd name="T41" fmla="*/ 19 h 1028"/>
                <a:gd name="T42" fmla="*/ 52 w 352"/>
                <a:gd name="T43" fmla="*/ 39 h 1028"/>
                <a:gd name="T44" fmla="*/ 31 w 352"/>
                <a:gd name="T45" fmla="*/ 33 h 1028"/>
                <a:gd name="T46" fmla="*/ 12 w 352"/>
                <a:gd name="T47" fmla="*/ 45 h 1028"/>
                <a:gd name="T48" fmla="*/ 5 w 352"/>
                <a:gd name="T49" fmla="*/ 58 h 1028"/>
                <a:gd name="T50" fmla="*/ 1 w 352"/>
                <a:gd name="T51" fmla="*/ 79 h 1028"/>
                <a:gd name="T52" fmla="*/ 2 w 352"/>
                <a:gd name="T53" fmla="*/ 105 h 1028"/>
                <a:gd name="T54" fmla="*/ 15 w 352"/>
                <a:gd name="T55" fmla="*/ 127 h 1028"/>
                <a:gd name="T56" fmla="*/ 22 w 352"/>
                <a:gd name="T57" fmla="*/ 145 h 1028"/>
                <a:gd name="T58" fmla="*/ 29 w 352"/>
                <a:gd name="T59" fmla="*/ 151 h 1028"/>
                <a:gd name="T60" fmla="*/ 28 w 352"/>
                <a:gd name="T61" fmla="*/ 169 h 1028"/>
                <a:gd name="T62" fmla="*/ 24 w 352"/>
                <a:gd name="T63" fmla="*/ 210 h 1028"/>
                <a:gd name="T64" fmla="*/ 26 w 352"/>
                <a:gd name="T65" fmla="*/ 255 h 1028"/>
                <a:gd name="T66" fmla="*/ 26 w 352"/>
                <a:gd name="T67" fmla="*/ 273 h 1028"/>
                <a:gd name="T68" fmla="*/ 45 w 352"/>
                <a:gd name="T69" fmla="*/ 280 h 1028"/>
                <a:gd name="T70" fmla="*/ 67 w 352"/>
                <a:gd name="T71" fmla="*/ 279 h 1028"/>
                <a:gd name="T72" fmla="*/ 53 w 352"/>
                <a:gd name="T73" fmla="*/ 264 h 1028"/>
                <a:gd name="T74" fmla="*/ 48 w 352"/>
                <a:gd name="T75" fmla="*/ 256 h 1028"/>
                <a:gd name="T76" fmla="*/ 49 w 352"/>
                <a:gd name="T77" fmla="*/ 242 h 1028"/>
                <a:gd name="T78" fmla="*/ 49 w 352"/>
                <a:gd name="T79" fmla="*/ 209 h 1028"/>
                <a:gd name="T80" fmla="*/ 58 w 352"/>
                <a:gd name="T81" fmla="*/ 182 h 1028"/>
                <a:gd name="T82" fmla="*/ 68 w 352"/>
                <a:gd name="T83" fmla="*/ 189 h 1028"/>
                <a:gd name="T84" fmla="*/ 66 w 352"/>
                <a:gd name="T85" fmla="*/ 208 h 1028"/>
                <a:gd name="T86" fmla="*/ 59 w 352"/>
                <a:gd name="T87" fmla="*/ 244 h 1028"/>
                <a:gd name="T88" fmla="*/ 78 w 352"/>
                <a:gd name="T89" fmla="*/ 255 h 1028"/>
                <a:gd name="T90" fmla="*/ 90 w 352"/>
                <a:gd name="T91" fmla="*/ 239 h 1028"/>
                <a:gd name="T92" fmla="*/ 96 w 352"/>
                <a:gd name="T93" fmla="*/ 199 h 1028"/>
                <a:gd name="T94" fmla="*/ 97 w 352"/>
                <a:gd name="T95" fmla="*/ 180 h 1028"/>
                <a:gd name="T96" fmla="*/ 91 w 352"/>
                <a:gd name="T97" fmla="*/ 136 h 1028"/>
                <a:gd name="T98" fmla="*/ 80 w 352"/>
                <a:gd name="T99" fmla="*/ 95 h 1028"/>
                <a:gd name="T100" fmla="*/ 78 w 352"/>
                <a:gd name="T101" fmla="*/ 74 h 1028"/>
                <a:gd name="T102" fmla="*/ 112 w 352"/>
                <a:gd name="T103" fmla="*/ 72 h 1028"/>
                <a:gd name="T104" fmla="*/ 107 w 352"/>
                <a:gd name="T105" fmla="*/ 38 h 1028"/>
                <a:gd name="T106" fmla="*/ 74 w 352"/>
                <a:gd name="T107" fmla="*/ 26 h 1028"/>
                <a:gd name="T108" fmla="*/ 73 w 352"/>
                <a:gd name="T109" fmla="*/ 22 h 1028"/>
                <a:gd name="T110" fmla="*/ 76 w 352"/>
                <a:gd name="T111" fmla="*/ 25 h 1028"/>
                <a:gd name="T112" fmla="*/ 79 w 352"/>
                <a:gd name="T113" fmla="*/ 27 h 1028"/>
                <a:gd name="T114" fmla="*/ 28 w 352"/>
                <a:gd name="T115" fmla="*/ 106 h 1028"/>
                <a:gd name="T116" fmla="*/ 26 w 352"/>
                <a:gd name="T117" fmla="*/ 105 h 1028"/>
                <a:gd name="T118" fmla="*/ 24 w 352"/>
                <a:gd name="T119" fmla="*/ 100 h 1028"/>
                <a:gd name="T120" fmla="*/ 26 w 352"/>
                <a:gd name="T121" fmla="*/ 94 h 1028"/>
                <a:gd name="T122" fmla="*/ 29 w 352"/>
                <a:gd name="T123" fmla="*/ 99 h 10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52" h="1028">
                  <a:moveTo>
                    <a:pt x="322" y="138"/>
                  </a:moveTo>
                  <a:lnTo>
                    <a:pt x="322" y="138"/>
                  </a:lnTo>
                  <a:lnTo>
                    <a:pt x="316" y="136"/>
                  </a:lnTo>
                  <a:lnTo>
                    <a:pt x="308" y="130"/>
                  </a:lnTo>
                  <a:lnTo>
                    <a:pt x="296" y="118"/>
                  </a:lnTo>
                  <a:lnTo>
                    <a:pt x="294" y="114"/>
                  </a:lnTo>
                  <a:lnTo>
                    <a:pt x="292" y="110"/>
                  </a:lnTo>
                  <a:lnTo>
                    <a:pt x="284" y="106"/>
                  </a:lnTo>
                  <a:lnTo>
                    <a:pt x="284" y="102"/>
                  </a:lnTo>
                  <a:lnTo>
                    <a:pt x="280" y="88"/>
                  </a:lnTo>
                  <a:lnTo>
                    <a:pt x="276" y="76"/>
                  </a:lnTo>
                  <a:lnTo>
                    <a:pt x="272" y="70"/>
                  </a:lnTo>
                  <a:lnTo>
                    <a:pt x="266" y="68"/>
                  </a:lnTo>
                  <a:lnTo>
                    <a:pt x="262" y="68"/>
                  </a:lnTo>
                  <a:lnTo>
                    <a:pt x="260" y="68"/>
                  </a:lnTo>
                  <a:lnTo>
                    <a:pt x="256" y="68"/>
                  </a:lnTo>
                  <a:lnTo>
                    <a:pt x="250" y="66"/>
                  </a:lnTo>
                  <a:lnTo>
                    <a:pt x="246" y="66"/>
                  </a:lnTo>
                  <a:lnTo>
                    <a:pt x="244" y="68"/>
                  </a:lnTo>
                  <a:lnTo>
                    <a:pt x="244" y="70"/>
                  </a:lnTo>
                  <a:lnTo>
                    <a:pt x="236" y="68"/>
                  </a:lnTo>
                  <a:lnTo>
                    <a:pt x="232" y="68"/>
                  </a:lnTo>
                  <a:lnTo>
                    <a:pt x="230" y="70"/>
                  </a:lnTo>
                  <a:lnTo>
                    <a:pt x="228" y="72"/>
                  </a:lnTo>
                  <a:lnTo>
                    <a:pt x="224" y="70"/>
                  </a:lnTo>
                  <a:lnTo>
                    <a:pt x="218" y="70"/>
                  </a:lnTo>
                  <a:lnTo>
                    <a:pt x="214" y="72"/>
                  </a:lnTo>
                  <a:lnTo>
                    <a:pt x="210" y="78"/>
                  </a:lnTo>
                  <a:lnTo>
                    <a:pt x="206" y="92"/>
                  </a:lnTo>
                  <a:lnTo>
                    <a:pt x="206" y="94"/>
                  </a:lnTo>
                  <a:lnTo>
                    <a:pt x="210" y="98"/>
                  </a:lnTo>
                  <a:lnTo>
                    <a:pt x="216" y="106"/>
                  </a:lnTo>
                  <a:lnTo>
                    <a:pt x="226" y="114"/>
                  </a:lnTo>
                  <a:lnTo>
                    <a:pt x="228" y="118"/>
                  </a:lnTo>
                  <a:lnTo>
                    <a:pt x="234" y="122"/>
                  </a:lnTo>
                  <a:lnTo>
                    <a:pt x="244" y="126"/>
                  </a:lnTo>
                  <a:lnTo>
                    <a:pt x="258" y="130"/>
                  </a:lnTo>
                  <a:lnTo>
                    <a:pt x="260" y="136"/>
                  </a:lnTo>
                  <a:lnTo>
                    <a:pt x="262" y="138"/>
                  </a:lnTo>
                  <a:lnTo>
                    <a:pt x="262" y="142"/>
                  </a:lnTo>
                  <a:lnTo>
                    <a:pt x="264" y="154"/>
                  </a:lnTo>
                  <a:lnTo>
                    <a:pt x="272" y="170"/>
                  </a:lnTo>
                  <a:lnTo>
                    <a:pt x="282" y="190"/>
                  </a:lnTo>
                  <a:lnTo>
                    <a:pt x="282" y="200"/>
                  </a:lnTo>
                  <a:lnTo>
                    <a:pt x="276" y="196"/>
                  </a:lnTo>
                  <a:lnTo>
                    <a:pt x="264" y="190"/>
                  </a:lnTo>
                  <a:lnTo>
                    <a:pt x="244" y="184"/>
                  </a:lnTo>
                  <a:lnTo>
                    <a:pt x="236" y="176"/>
                  </a:lnTo>
                  <a:lnTo>
                    <a:pt x="222" y="164"/>
                  </a:lnTo>
                  <a:lnTo>
                    <a:pt x="218" y="160"/>
                  </a:lnTo>
                  <a:lnTo>
                    <a:pt x="214" y="158"/>
                  </a:lnTo>
                  <a:lnTo>
                    <a:pt x="210" y="156"/>
                  </a:lnTo>
                  <a:lnTo>
                    <a:pt x="204" y="154"/>
                  </a:lnTo>
                  <a:lnTo>
                    <a:pt x="190" y="154"/>
                  </a:lnTo>
                  <a:lnTo>
                    <a:pt x="182" y="152"/>
                  </a:lnTo>
                  <a:lnTo>
                    <a:pt x="176" y="150"/>
                  </a:lnTo>
                  <a:lnTo>
                    <a:pt x="170" y="148"/>
                  </a:lnTo>
                  <a:lnTo>
                    <a:pt x="168" y="146"/>
                  </a:lnTo>
                  <a:lnTo>
                    <a:pt x="166" y="144"/>
                  </a:lnTo>
                  <a:lnTo>
                    <a:pt x="170" y="146"/>
                  </a:lnTo>
                  <a:lnTo>
                    <a:pt x="178" y="146"/>
                  </a:lnTo>
                  <a:lnTo>
                    <a:pt x="182" y="144"/>
                  </a:lnTo>
                  <a:lnTo>
                    <a:pt x="184" y="140"/>
                  </a:lnTo>
                  <a:lnTo>
                    <a:pt x="186" y="136"/>
                  </a:lnTo>
                  <a:lnTo>
                    <a:pt x="186" y="132"/>
                  </a:lnTo>
                  <a:lnTo>
                    <a:pt x="188" y="130"/>
                  </a:lnTo>
                  <a:lnTo>
                    <a:pt x="190" y="130"/>
                  </a:lnTo>
                  <a:lnTo>
                    <a:pt x="190" y="128"/>
                  </a:lnTo>
                  <a:lnTo>
                    <a:pt x="192" y="126"/>
                  </a:lnTo>
                  <a:lnTo>
                    <a:pt x="190" y="126"/>
                  </a:lnTo>
                  <a:lnTo>
                    <a:pt x="190" y="124"/>
                  </a:lnTo>
                  <a:lnTo>
                    <a:pt x="192" y="124"/>
                  </a:lnTo>
                  <a:lnTo>
                    <a:pt x="194" y="122"/>
                  </a:lnTo>
                  <a:lnTo>
                    <a:pt x="194" y="120"/>
                  </a:lnTo>
                  <a:lnTo>
                    <a:pt x="194" y="116"/>
                  </a:lnTo>
                  <a:lnTo>
                    <a:pt x="194" y="114"/>
                  </a:lnTo>
                  <a:lnTo>
                    <a:pt x="202" y="114"/>
                  </a:lnTo>
                  <a:lnTo>
                    <a:pt x="206" y="114"/>
                  </a:lnTo>
                  <a:lnTo>
                    <a:pt x="206" y="104"/>
                  </a:lnTo>
                  <a:lnTo>
                    <a:pt x="206" y="94"/>
                  </a:lnTo>
                  <a:lnTo>
                    <a:pt x="206" y="92"/>
                  </a:lnTo>
                  <a:lnTo>
                    <a:pt x="206" y="86"/>
                  </a:lnTo>
                  <a:lnTo>
                    <a:pt x="206" y="82"/>
                  </a:lnTo>
                  <a:lnTo>
                    <a:pt x="210" y="78"/>
                  </a:lnTo>
                  <a:lnTo>
                    <a:pt x="210" y="76"/>
                  </a:lnTo>
                  <a:lnTo>
                    <a:pt x="212" y="68"/>
                  </a:lnTo>
                  <a:lnTo>
                    <a:pt x="214" y="60"/>
                  </a:lnTo>
                  <a:lnTo>
                    <a:pt x="212" y="50"/>
                  </a:lnTo>
                  <a:lnTo>
                    <a:pt x="214" y="48"/>
                  </a:lnTo>
                  <a:lnTo>
                    <a:pt x="216" y="46"/>
                  </a:lnTo>
                  <a:lnTo>
                    <a:pt x="220" y="42"/>
                  </a:lnTo>
                  <a:lnTo>
                    <a:pt x="220" y="38"/>
                  </a:lnTo>
                  <a:lnTo>
                    <a:pt x="212" y="28"/>
                  </a:lnTo>
                  <a:lnTo>
                    <a:pt x="212" y="24"/>
                  </a:lnTo>
                  <a:lnTo>
                    <a:pt x="208" y="20"/>
                  </a:lnTo>
                  <a:lnTo>
                    <a:pt x="202" y="16"/>
                  </a:lnTo>
                  <a:lnTo>
                    <a:pt x="194" y="10"/>
                  </a:lnTo>
                  <a:lnTo>
                    <a:pt x="182" y="6"/>
                  </a:lnTo>
                  <a:lnTo>
                    <a:pt x="166" y="2"/>
                  </a:lnTo>
                  <a:lnTo>
                    <a:pt x="144" y="0"/>
                  </a:lnTo>
                  <a:lnTo>
                    <a:pt x="138" y="2"/>
                  </a:lnTo>
                  <a:lnTo>
                    <a:pt x="130" y="4"/>
                  </a:lnTo>
                  <a:lnTo>
                    <a:pt x="122" y="10"/>
                  </a:lnTo>
                  <a:lnTo>
                    <a:pt x="114" y="18"/>
                  </a:lnTo>
                  <a:lnTo>
                    <a:pt x="108" y="30"/>
                  </a:lnTo>
                  <a:lnTo>
                    <a:pt x="106" y="46"/>
                  </a:lnTo>
                  <a:lnTo>
                    <a:pt x="106" y="68"/>
                  </a:lnTo>
                  <a:lnTo>
                    <a:pt x="108" y="70"/>
                  </a:lnTo>
                  <a:lnTo>
                    <a:pt x="110" y="80"/>
                  </a:lnTo>
                  <a:lnTo>
                    <a:pt x="108" y="92"/>
                  </a:lnTo>
                  <a:lnTo>
                    <a:pt x="106" y="98"/>
                  </a:lnTo>
                  <a:lnTo>
                    <a:pt x="104" y="104"/>
                  </a:lnTo>
                  <a:lnTo>
                    <a:pt x="156" y="144"/>
                  </a:lnTo>
                  <a:lnTo>
                    <a:pt x="144" y="156"/>
                  </a:lnTo>
                  <a:lnTo>
                    <a:pt x="134" y="166"/>
                  </a:lnTo>
                  <a:lnTo>
                    <a:pt x="114" y="144"/>
                  </a:lnTo>
                  <a:lnTo>
                    <a:pt x="96" y="124"/>
                  </a:lnTo>
                  <a:lnTo>
                    <a:pt x="94" y="120"/>
                  </a:lnTo>
                  <a:lnTo>
                    <a:pt x="80" y="142"/>
                  </a:lnTo>
                  <a:lnTo>
                    <a:pt x="64" y="154"/>
                  </a:lnTo>
                  <a:lnTo>
                    <a:pt x="50" y="162"/>
                  </a:lnTo>
                  <a:lnTo>
                    <a:pt x="42" y="166"/>
                  </a:lnTo>
                  <a:lnTo>
                    <a:pt x="34" y="166"/>
                  </a:lnTo>
                  <a:lnTo>
                    <a:pt x="30" y="168"/>
                  </a:lnTo>
                  <a:lnTo>
                    <a:pt x="22" y="174"/>
                  </a:lnTo>
                  <a:lnTo>
                    <a:pt x="18" y="180"/>
                  </a:lnTo>
                  <a:lnTo>
                    <a:pt x="16" y="188"/>
                  </a:lnTo>
                  <a:lnTo>
                    <a:pt x="14" y="198"/>
                  </a:lnTo>
                  <a:lnTo>
                    <a:pt x="14" y="212"/>
                  </a:lnTo>
                  <a:lnTo>
                    <a:pt x="14" y="228"/>
                  </a:lnTo>
                  <a:lnTo>
                    <a:pt x="10" y="246"/>
                  </a:lnTo>
                  <a:lnTo>
                    <a:pt x="4" y="268"/>
                  </a:lnTo>
                  <a:lnTo>
                    <a:pt x="4" y="270"/>
                  </a:lnTo>
                  <a:lnTo>
                    <a:pt x="2" y="286"/>
                  </a:lnTo>
                  <a:lnTo>
                    <a:pt x="0" y="330"/>
                  </a:lnTo>
                  <a:lnTo>
                    <a:pt x="0" y="352"/>
                  </a:lnTo>
                  <a:lnTo>
                    <a:pt x="2" y="372"/>
                  </a:lnTo>
                  <a:lnTo>
                    <a:pt x="6" y="384"/>
                  </a:lnTo>
                  <a:lnTo>
                    <a:pt x="10" y="396"/>
                  </a:lnTo>
                  <a:lnTo>
                    <a:pt x="22" y="418"/>
                  </a:lnTo>
                  <a:lnTo>
                    <a:pt x="34" y="440"/>
                  </a:lnTo>
                  <a:lnTo>
                    <a:pt x="44" y="462"/>
                  </a:lnTo>
                  <a:lnTo>
                    <a:pt x="46" y="462"/>
                  </a:lnTo>
                  <a:lnTo>
                    <a:pt x="50" y="474"/>
                  </a:lnTo>
                  <a:lnTo>
                    <a:pt x="52" y="482"/>
                  </a:lnTo>
                  <a:lnTo>
                    <a:pt x="56" y="492"/>
                  </a:lnTo>
                  <a:lnTo>
                    <a:pt x="64" y="506"/>
                  </a:lnTo>
                  <a:lnTo>
                    <a:pt x="66" y="528"/>
                  </a:lnTo>
                  <a:lnTo>
                    <a:pt x="66" y="542"/>
                  </a:lnTo>
                  <a:lnTo>
                    <a:pt x="66" y="550"/>
                  </a:lnTo>
                  <a:lnTo>
                    <a:pt x="76" y="550"/>
                  </a:lnTo>
                  <a:lnTo>
                    <a:pt x="84" y="550"/>
                  </a:lnTo>
                  <a:lnTo>
                    <a:pt x="88" y="550"/>
                  </a:lnTo>
                  <a:lnTo>
                    <a:pt x="86" y="554"/>
                  </a:lnTo>
                  <a:lnTo>
                    <a:pt x="82" y="566"/>
                  </a:lnTo>
                  <a:lnTo>
                    <a:pt x="78" y="582"/>
                  </a:lnTo>
                  <a:lnTo>
                    <a:pt x="78" y="590"/>
                  </a:lnTo>
                  <a:lnTo>
                    <a:pt x="80" y="600"/>
                  </a:lnTo>
                  <a:lnTo>
                    <a:pt x="82" y="620"/>
                  </a:lnTo>
                  <a:lnTo>
                    <a:pt x="84" y="648"/>
                  </a:lnTo>
                  <a:lnTo>
                    <a:pt x="84" y="688"/>
                  </a:lnTo>
                  <a:lnTo>
                    <a:pt x="82" y="708"/>
                  </a:lnTo>
                  <a:lnTo>
                    <a:pt x="78" y="726"/>
                  </a:lnTo>
                  <a:lnTo>
                    <a:pt x="72" y="754"/>
                  </a:lnTo>
                  <a:lnTo>
                    <a:pt x="70" y="768"/>
                  </a:lnTo>
                  <a:lnTo>
                    <a:pt x="68" y="784"/>
                  </a:lnTo>
                  <a:lnTo>
                    <a:pt x="68" y="806"/>
                  </a:lnTo>
                  <a:lnTo>
                    <a:pt x="68" y="832"/>
                  </a:lnTo>
                  <a:lnTo>
                    <a:pt x="72" y="880"/>
                  </a:lnTo>
                  <a:lnTo>
                    <a:pt x="76" y="912"/>
                  </a:lnTo>
                  <a:lnTo>
                    <a:pt x="78" y="934"/>
                  </a:lnTo>
                  <a:lnTo>
                    <a:pt x="78" y="950"/>
                  </a:lnTo>
                  <a:lnTo>
                    <a:pt x="76" y="962"/>
                  </a:lnTo>
                  <a:lnTo>
                    <a:pt x="76" y="970"/>
                  </a:lnTo>
                  <a:lnTo>
                    <a:pt x="76" y="976"/>
                  </a:lnTo>
                  <a:lnTo>
                    <a:pt x="76" y="998"/>
                  </a:lnTo>
                  <a:lnTo>
                    <a:pt x="98" y="1006"/>
                  </a:lnTo>
                  <a:lnTo>
                    <a:pt x="110" y="1006"/>
                  </a:lnTo>
                  <a:lnTo>
                    <a:pt x="112" y="1010"/>
                  </a:lnTo>
                  <a:lnTo>
                    <a:pt x="120" y="1016"/>
                  </a:lnTo>
                  <a:lnTo>
                    <a:pt x="128" y="1020"/>
                  </a:lnTo>
                  <a:lnTo>
                    <a:pt x="136" y="1024"/>
                  </a:lnTo>
                  <a:lnTo>
                    <a:pt x="146" y="1026"/>
                  </a:lnTo>
                  <a:lnTo>
                    <a:pt x="160" y="1028"/>
                  </a:lnTo>
                  <a:lnTo>
                    <a:pt x="186" y="1026"/>
                  </a:lnTo>
                  <a:lnTo>
                    <a:pt x="198" y="1024"/>
                  </a:lnTo>
                  <a:lnTo>
                    <a:pt x="202" y="1024"/>
                  </a:lnTo>
                  <a:lnTo>
                    <a:pt x="202" y="1022"/>
                  </a:lnTo>
                  <a:lnTo>
                    <a:pt x="202" y="1018"/>
                  </a:lnTo>
                  <a:lnTo>
                    <a:pt x="200" y="1012"/>
                  </a:lnTo>
                  <a:lnTo>
                    <a:pt x="196" y="1006"/>
                  </a:lnTo>
                  <a:lnTo>
                    <a:pt x="172" y="984"/>
                  </a:lnTo>
                  <a:lnTo>
                    <a:pt x="158" y="968"/>
                  </a:lnTo>
                  <a:lnTo>
                    <a:pt x="152" y="962"/>
                  </a:lnTo>
                  <a:lnTo>
                    <a:pt x="148" y="956"/>
                  </a:lnTo>
                  <a:lnTo>
                    <a:pt x="148" y="950"/>
                  </a:lnTo>
                  <a:lnTo>
                    <a:pt x="146" y="946"/>
                  </a:lnTo>
                  <a:lnTo>
                    <a:pt x="144" y="938"/>
                  </a:lnTo>
                  <a:lnTo>
                    <a:pt x="142" y="934"/>
                  </a:lnTo>
                  <a:lnTo>
                    <a:pt x="142" y="924"/>
                  </a:lnTo>
                  <a:lnTo>
                    <a:pt x="144" y="902"/>
                  </a:lnTo>
                  <a:lnTo>
                    <a:pt x="146" y="886"/>
                  </a:lnTo>
                  <a:lnTo>
                    <a:pt x="144" y="878"/>
                  </a:lnTo>
                  <a:lnTo>
                    <a:pt x="140" y="868"/>
                  </a:lnTo>
                  <a:lnTo>
                    <a:pt x="144" y="818"/>
                  </a:lnTo>
                  <a:lnTo>
                    <a:pt x="146" y="784"/>
                  </a:lnTo>
                  <a:lnTo>
                    <a:pt x="148" y="766"/>
                  </a:lnTo>
                  <a:lnTo>
                    <a:pt x="152" y="754"/>
                  </a:lnTo>
                  <a:lnTo>
                    <a:pt x="154" y="736"/>
                  </a:lnTo>
                  <a:lnTo>
                    <a:pt x="158" y="712"/>
                  </a:lnTo>
                  <a:lnTo>
                    <a:pt x="160" y="706"/>
                  </a:lnTo>
                  <a:lnTo>
                    <a:pt x="166" y="692"/>
                  </a:lnTo>
                  <a:lnTo>
                    <a:pt x="174" y="668"/>
                  </a:lnTo>
                  <a:lnTo>
                    <a:pt x="180" y="632"/>
                  </a:lnTo>
                  <a:lnTo>
                    <a:pt x="182" y="630"/>
                  </a:lnTo>
                  <a:lnTo>
                    <a:pt x="184" y="628"/>
                  </a:lnTo>
                  <a:lnTo>
                    <a:pt x="184" y="632"/>
                  </a:lnTo>
                  <a:lnTo>
                    <a:pt x="204" y="692"/>
                  </a:lnTo>
                  <a:lnTo>
                    <a:pt x="208" y="702"/>
                  </a:lnTo>
                  <a:lnTo>
                    <a:pt x="208" y="712"/>
                  </a:lnTo>
                  <a:lnTo>
                    <a:pt x="206" y="724"/>
                  </a:lnTo>
                  <a:lnTo>
                    <a:pt x="200" y="744"/>
                  </a:lnTo>
                  <a:lnTo>
                    <a:pt x="198" y="762"/>
                  </a:lnTo>
                  <a:lnTo>
                    <a:pt x="196" y="784"/>
                  </a:lnTo>
                  <a:lnTo>
                    <a:pt x="190" y="836"/>
                  </a:lnTo>
                  <a:lnTo>
                    <a:pt x="184" y="870"/>
                  </a:lnTo>
                  <a:lnTo>
                    <a:pt x="182" y="888"/>
                  </a:lnTo>
                  <a:lnTo>
                    <a:pt x="176" y="894"/>
                  </a:lnTo>
                  <a:lnTo>
                    <a:pt x="174" y="900"/>
                  </a:lnTo>
                  <a:lnTo>
                    <a:pt x="172" y="916"/>
                  </a:lnTo>
                  <a:lnTo>
                    <a:pt x="190" y="924"/>
                  </a:lnTo>
                  <a:lnTo>
                    <a:pt x="212" y="930"/>
                  </a:lnTo>
                  <a:lnTo>
                    <a:pt x="234" y="934"/>
                  </a:lnTo>
                  <a:lnTo>
                    <a:pt x="254" y="934"/>
                  </a:lnTo>
                  <a:lnTo>
                    <a:pt x="252" y="920"/>
                  </a:lnTo>
                  <a:lnTo>
                    <a:pt x="258" y="908"/>
                  </a:lnTo>
                  <a:lnTo>
                    <a:pt x="262" y="894"/>
                  </a:lnTo>
                  <a:lnTo>
                    <a:pt x="270" y="876"/>
                  </a:lnTo>
                  <a:lnTo>
                    <a:pt x="276" y="852"/>
                  </a:lnTo>
                  <a:lnTo>
                    <a:pt x="282" y="822"/>
                  </a:lnTo>
                  <a:lnTo>
                    <a:pt x="286" y="788"/>
                  </a:lnTo>
                  <a:lnTo>
                    <a:pt x="288" y="746"/>
                  </a:lnTo>
                  <a:lnTo>
                    <a:pt x="288" y="736"/>
                  </a:lnTo>
                  <a:lnTo>
                    <a:pt x="288" y="728"/>
                  </a:lnTo>
                  <a:lnTo>
                    <a:pt x="288" y="724"/>
                  </a:lnTo>
                  <a:lnTo>
                    <a:pt x="290" y="720"/>
                  </a:lnTo>
                  <a:lnTo>
                    <a:pt x="292" y="708"/>
                  </a:lnTo>
                  <a:lnTo>
                    <a:pt x="292" y="688"/>
                  </a:lnTo>
                  <a:lnTo>
                    <a:pt x="292" y="660"/>
                  </a:lnTo>
                  <a:lnTo>
                    <a:pt x="286" y="618"/>
                  </a:lnTo>
                  <a:lnTo>
                    <a:pt x="276" y="570"/>
                  </a:lnTo>
                  <a:lnTo>
                    <a:pt x="264" y="516"/>
                  </a:lnTo>
                  <a:lnTo>
                    <a:pt x="268" y="512"/>
                  </a:lnTo>
                  <a:lnTo>
                    <a:pt x="270" y="508"/>
                  </a:lnTo>
                  <a:lnTo>
                    <a:pt x="272" y="500"/>
                  </a:lnTo>
                  <a:lnTo>
                    <a:pt x="268" y="480"/>
                  </a:lnTo>
                  <a:lnTo>
                    <a:pt x="260" y="446"/>
                  </a:lnTo>
                  <a:lnTo>
                    <a:pt x="250" y="396"/>
                  </a:lnTo>
                  <a:lnTo>
                    <a:pt x="246" y="372"/>
                  </a:lnTo>
                  <a:lnTo>
                    <a:pt x="240" y="350"/>
                  </a:lnTo>
                  <a:lnTo>
                    <a:pt x="236" y="334"/>
                  </a:lnTo>
                  <a:lnTo>
                    <a:pt x="232" y="318"/>
                  </a:lnTo>
                  <a:lnTo>
                    <a:pt x="232" y="300"/>
                  </a:lnTo>
                  <a:lnTo>
                    <a:pt x="234" y="284"/>
                  </a:lnTo>
                  <a:lnTo>
                    <a:pt x="232" y="270"/>
                  </a:lnTo>
                  <a:lnTo>
                    <a:pt x="232" y="258"/>
                  </a:lnTo>
                  <a:lnTo>
                    <a:pt x="248" y="262"/>
                  </a:lnTo>
                  <a:lnTo>
                    <a:pt x="284" y="266"/>
                  </a:lnTo>
                  <a:lnTo>
                    <a:pt x="306" y="268"/>
                  </a:lnTo>
                  <a:lnTo>
                    <a:pt x="326" y="266"/>
                  </a:lnTo>
                  <a:lnTo>
                    <a:pt x="334" y="264"/>
                  </a:lnTo>
                  <a:lnTo>
                    <a:pt x="342" y="262"/>
                  </a:lnTo>
                  <a:lnTo>
                    <a:pt x="348" y="258"/>
                  </a:lnTo>
                  <a:lnTo>
                    <a:pt x="352" y="252"/>
                  </a:lnTo>
                  <a:lnTo>
                    <a:pt x="346" y="226"/>
                  </a:lnTo>
                  <a:lnTo>
                    <a:pt x="338" y="190"/>
                  </a:lnTo>
                  <a:lnTo>
                    <a:pt x="322" y="138"/>
                  </a:lnTo>
                  <a:close/>
                  <a:moveTo>
                    <a:pt x="234" y="102"/>
                  </a:moveTo>
                  <a:lnTo>
                    <a:pt x="234" y="102"/>
                  </a:lnTo>
                  <a:lnTo>
                    <a:pt x="232" y="102"/>
                  </a:lnTo>
                  <a:lnTo>
                    <a:pt x="226" y="100"/>
                  </a:lnTo>
                  <a:lnTo>
                    <a:pt x="222" y="96"/>
                  </a:lnTo>
                  <a:lnTo>
                    <a:pt x="218" y="90"/>
                  </a:lnTo>
                  <a:lnTo>
                    <a:pt x="212" y="88"/>
                  </a:lnTo>
                  <a:lnTo>
                    <a:pt x="216" y="84"/>
                  </a:lnTo>
                  <a:lnTo>
                    <a:pt x="218" y="82"/>
                  </a:lnTo>
                  <a:lnTo>
                    <a:pt x="226" y="82"/>
                  </a:lnTo>
                  <a:lnTo>
                    <a:pt x="228" y="84"/>
                  </a:lnTo>
                  <a:lnTo>
                    <a:pt x="228" y="86"/>
                  </a:lnTo>
                  <a:lnTo>
                    <a:pt x="228" y="90"/>
                  </a:lnTo>
                  <a:lnTo>
                    <a:pt x="228" y="92"/>
                  </a:lnTo>
                  <a:lnTo>
                    <a:pt x="230" y="94"/>
                  </a:lnTo>
                  <a:lnTo>
                    <a:pt x="232" y="96"/>
                  </a:lnTo>
                  <a:lnTo>
                    <a:pt x="234" y="96"/>
                  </a:lnTo>
                  <a:lnTo>
                    <a:pt x="236" y="96"/>
                  </a:lnTo>
                  <a:lnTo>
                    <a:pt x="236" y="98"/>
                  </a:lnTo>
                  <a:lnTo>
                    <a:pt x="234" y="102"/>
                  </a:lnTo>
                  <a:close/>
                  <a:moveTo>
                    <a:pt x="86" y="362"/>
                  </a:moveTo>
                  <a:lnTo>
                    <a:pt x="86" y="362"/>
                  </a:lnTo>
                  <a:lnTo>
                    <a:pt x="86" y="374"/>
                  </a:lnTo>
                  <a:lnTo>
                    <a:pt x="84" y="390"/>
                  </a:lnTo>
                  <a:lnTo>
                    <a:pt x="82" y="398"/>
                  </a:lnTo>
                  <a:lnTo>
                    <a:pt x="80" y="398"/>
                  </a:lnTo>
                  <a:lnTo>
                    <a:pt x="78" y="396"/>
                  </a:lnTo>
                  <a:lnTo>
                    <a:pt x="78" y="392"/>
                  </a:lnTo>
                  <a:lnTo>
                    <a:pt x="76" y="386"/>
                  </a:lnTo>
                  <a:lnTo>
                    <a:pt x="74" y="382"/>
                  </a:lnTo>
                  <a:lnTo>
                    <a:pt x="70" y="376"/>
                  </a:lnTo>
                  <a:lnTo>
                    <a:pt x="70" y="370"/>
                  </a:lnTo>
                  <a:lnTo>
                    <a:pt x="72" y="366"/>
                  </a:lnTo>
                  <a:lnTo>
                    <a:pt x="74" y="360"/>
                  </a:lnTo>
                  <a:lnTo>
                    <a:pt x="76" y="358"/>
                  </a:lnTo>
                  <a:lnTo>
                    <a:pt x="76" y="352"/>
                  </a:lnTo>
                  <a:lnTo>
                    <a:pt x="76" y="346"/>
                  </a:lnTo>
                  <a:lnTo>
                    <a:pt x="76" y="342"/>
                  </a:lnTo>
                  <a:lnTo>
                    <a:pt x="78" y="340"/>
                  </a:lnTo>
                  <a:lnTo>
                    <a:pt x="82" y="348"/>
                  </a:lnTo>
                  <a:lnTo>
                    <a:pt x="86" y="354"/>
                  </a:lnTo>
                  <a:lnTo>
                    <a:pt x="86"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95239" name="Freeform 9"/>
          <p:cNvSpPr>
            <a:spLocks/>
          </p:cNvSpPr>
          <p:nvPr/>
        </p:nvSpPr>
        <p:spPr bwMode="auto">
          <a:xfrm>
            <a:off x="3908425" y="3357563"/>
            <a:ext cx="3925888" cy="2640012"/>
          </a:xfrm>
          <a:custGeom>
            <a:avLst/>
            <a:gdLst>
              <a:gd name="T0" fmla="*/ 2147483647 w 2679"/>
              <a:gd name="T1" fmla="*/ 2147483647 h 1663"/>
              <a:gd name="T2" fmla="*/ 2147483647 w 2679"/>
              <a:gd name="T3" fmla="*/ 2147483647 h 1663"/>
              <a:gd name="T4" fmla="*/ 2147483647 w 2679"/>
              <a:gd name="T5" fmla="*/ 2147483647 h 1663"/>
              <a:gd name="T6" fmla="*/ 2147483647 w 2679"/>
              <a:gd name="T7" fmla="*/ 2147483647 h 1663"/>
              <a:gd name="T8" fmla="*/ 2147483647 w 2679"/>
              <a:gd name="T9" fmla="*/ 2147483647 h 1663"/>
              <a:gd name="T10" fmla="*/ 2147483647 w 2679"/>
              <a:gd name="T11" fmla="*/ 2147483647 h 1663"/>
              <a:gd name="T12" fmla="*/ 2147483647 w 2679"/>
              <a:gd name="T13" fmla="*/ 2147483647 h 1663"/>
              <a:gd name="T14" fmla="*/ 2147483647 w 2679"/>
              <a:gd name="T15" fmla="*/ 0 h 1663"/>
              <a:gd name="T16" fmla="*/ 2147483647 w 2679"/>
              <a:gd name="T17" fmla="*/ 2147483647 h 1663"/>
              <a:gd name="T18" fmla="*/ 2147483647 w 2679"/>
              <a:gd name="T19" fmla="*/ 2147483647 h 1663"/>
              <a:gd name="T20" fmla="*/ 2147483647 w 2679"/>
              <a:gd name="T21" fmla="*/ 2147483647 h 1663"/>
              <a:gd name="T22" fmla="*/ 2147483647 w 2679"/>
              <a:gd name="T23" fmla="*/ 2147483647 h 1663"/>
              <a:gd name="T24" fmla="*/ 2147483647 w 2679"/>
              <a:gd name="T25" fmla="*/ 2147483647 h 1663"/>
              <a:gd name="T26" fmla="*/ 2147483647 w 2679"/>
              <a:gd name="T27" fmla="*/ 2147483647 h 1663"/>
              <a:gd name="T28" fmla="*/ 2147483647 w 2679"/>
              <a:gd name="T29" fmla="*/ 2147483647 h 1663"/>
              <a:gd name="T30" fmla="*/ 0 w 2679"/>
              <a:gd name="T31" fmla="*/ 2147483647 h 1663"/>
              <a:gd name="T32" fmla="*/ 2147483647 w 2679"/>
              <a:gd name="T33" fmla="*/ 2147483647 h 1663"/>
              <a:gd name="T34" fmla="*/ 2147483647 w 2679"/>
              <a:gd name="T35" fmla="*/ 2147483647 h 166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79" h="1663">
                <a:moveTo>
                  <a:pt x="2386" y="1074"/>
                </a:moveTo>
                <a:lnTo>
                  <a:pt x="2237" y="930"/>
                </a:lnTo>
                <a:lnTo>
                  <a:pt x="2259" y="873"/>
                </a:lnTo>
                <a:lnTo>
                  <a:pt x="2158" y="615"/>
                </a:lnTo>
                <a:lnTo>
                  <a:pt x="2102" y="563"/>
                </a:lnTo>
                <a:lnTo>
                  <a:pt x="1791" y="52"/>
                </a:lnTo>
                <a:lnTo>
                  <a:pt x="1625" y="87"/>
                </a:lnTo>
                <a:lnTo>
                  <a:pt x="1450" y="0"/>
                </a:lnTo>
                <a:lnTo>
                  <a:pt x="1214" y="61"/>
                </a:lnTo>
                <a:lnTo>
                  <a:pt x="1136" y="17"/>
                </a:lnTo>
                <a:lnTo>
                  <a:pt x="1044" y="39"/>
                </a:lnTo>
                <a:lnTo>
                  <a:pt x="812" y="475"/>
                </a:lnTo>
                <a:lnTo>
                  <a:pt x="742" y="441"/>
                </a:lnTo>
                <a:lnTo>
                  <a:pt x="493" y="982"/>
                </a:lnTo>
                <a:lnTo>
                  <a:pt x="349" y="1047"/>
                </a:lnTo>
                <a:lnTo>
                  <a:pt x="0" y="1663"/>
                </a:lnTo>
                <a:lnTo>
                  <a:pt x="2679" y="1659"/>
                </a:lnTo>
                <a:lnTo>
                  <a:pt x="2386" y="1074"/>
                </a:lnTo>
                <a:close/>
              </a:path>
            </a:pathLst>
          </a:custGeom>
          <a:solidFill>
            <a:schemeClr val="tx1">
              <a:lumMod val="60000"/>
              <a:lumOff val="40000"/>
            </a:schemeClr>
          </a:solidFill>
          <a:ln>
            <a:noFill/>
          </a:ln>
        </p:spPr>
        <p:txBody>
          <a:bodyPr/>
          <a:lstStyle/>
          <a:p>
            <a:endParaRPr lang="en-US"/>
          </a:p>
        </p:txBody>
      </p:sp>
      <p:sp>
        <p:nvSpPr>
          <p:cNvPr id="95240" name="Freeform 10"/>
          <p:cNvSpPr>
            <a:spLocks/>
          </p:cNvSpPr>
          <p:nvPr/>
        </p:nvSpPr>
        <p:spPr bwMode="auto">
          <a:xfrm>
            <a:off x="5438775" y="2400301"/>
            <a:ext cx="1093788" cy="1095375"/>
          </a:xfrm>
          <a:custGeom>
            <a:avLst/>
            <a:gdLst>
              <a:gd name="T0" fmla="*/ 2147483647 w 747"/>
              <a:gd name="T1" fmla="*/ 2147483647 h 690"/>
              <a:gd name="T2" fmla="*/ 2147483647 w 747"/>
              <a:gd name="T3" fmla="*/ 2147483647 h 690"/>
              <a:gd name="T4" fmla="*/ 2147483647 w 747"/>
              <a:gd name="T5" fmla="*/ 2147483647 h 690"/>
              <a:gd name="T6" fmla="*/ 2147483647 w 747"/>
              <a:gd name="T7" fmla="*/ 2147483647 h 690"/>
              <a:gd name="T8" fmla="*/ 2147483647 w 747"/>
              <a:gd name="T9" fmla="*/ 2147483647 h 690"/>
              <a:gd name="T10" fmla="*/ 2147483647 w 747"/>
              <a:gd name="T11" fmla="*/ 2147483647 h 690"/>
              <a:gd name="T12" fmla="*/ 2147483647 w 747"/>
              <a:gd name="T13" fmla="*/ 0 h 690"/>
              <a:gd name="T14" fmla="*/ 2147483647 w 747"/>
              <a:gd name="T15" fmla="*/ 2147483647 h 690"/>
              <a:gd name="T16" fmla="*/ 2147483647 w 747"/>
              <a:gd name="T17" fmla="*/ 2147483647 h 690"/>
              <a:gd name="T18" fmla="*/ 0 w 747"/>
              <a:gd name="T19" fmla="*/ 2147483647 h 690"/>
              <a:gd name="T20" fmla="*/ 2147483647 w 747"/>
              <a:gd name="T21" fmla="*/ 2147483647 h 690"/>
              <a:gd name="T22" fmla="*/ 2147483647 w 747"/>
              <a:gd name="T23" fmla="*/ 2147483647 h 6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47" h="690">
                <a:moveTo>
                  <a:pt x="170" y="664"/>
                </a:moveTo>
                <a:lnTo>
                  <a:pt x="406" y="603"/>
                </a:lnTo>
                <a:lnTo>
                  <a:pt x="581" y="690"/>
                </a:lnTo>
                <a:lnTo>
                  <a:pt x="747" y="655"/>
                </a:lnTo>
                <a:lnTo>
                  <a:pt x="656" y="502"/>
                </a:lnTo>
                <a:lnTo>
                  <a:pt x="625" y="524"/>
                </a:lnTo>
                <a:lnTo>
                  <a:pt x="380" y="0"/>
                </a:lnTo>
                <a:lnTo>
                  <a:pt x="214" y="314"/>
                </a:lnTo>
                <a:lnTo>
                  <a:pt x="184" y="306"/>
                </a:lnTo>
                <a:lnTo>
                  <a:pt x="0" y="642"/>
                </a:lnTo>
                <a:lnTo>
                  <a:pt x="92" y="620"/>
                </a:lnTo>
                <a:lnTo>
                  <a:pt x="170" y="664"/>
                </a:lnTo>
                <a:close/>
              </a:path>
            </a:pathLst>
          </a:custGeom>
          <a:solidFill>
            <a:schemeClr val="tx1">
              <a:lumMod val="20000"/>
              <a:lumOff val="80000"/>
            </a:schemeClr>
          </a:solidFill>
          <a:ln>
            <a:noFill/>
          </a:ln>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95241" name="Rectangle 11"/>
          <p:cNvSpPr>
            <a:spLocks noGrp="1" noChangeArrowheads="1"/>
          </p:cNvSpPr>
          <p:nvPr>
            <p:ph type="title"/>
          </p:nvPr>
        </p:nvSpPr>
        <p:spPr/>
        <p:txBody>
          <a:bodyPr/>
          <a:lstStyle/>
          <a:p>
            <a:r>
              <a:rPr lang="en-GB" altLang="en-US"/>
              <a:t>Obstacles, walls, hurdles, and resistance</a:t>
            </a:r>
          </a:p>
        </p:txBody>
      </p:sp>
    </p:spTree>
    <p:extLst>
      <p:ext uri="{BB962C8B-B14F-4D97-AF65-F5344CB8AC3E}">
        <p14:creationId xmlns:p14="http://schemas.microsoft.com/office/powerpoint/2010/main" val="250822339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Rectangle 2" hidden="1"/>
          <p:cNvGraphicFramePr>
            <a:graphicFrameLocks/>
          </p:cNvGraphicFramePr>
          <p:nvPr>
            <p:custDataLst>
              <p:tags r:id="rId1"/>
            </p:custDataLst>
            <p:extLst>
              <p:ext uri="{D42A27DB-BD31-4B8C-83A1-F6EECF244321}">
                <p14:modId xmlns:p14="http://schemas.microsoft.com/office/powerpoint/2010/main" val="2482671747"/>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9728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p:cNvSpPr/>
          <p:nvPr>
            <p:custDataLst>
              <p:tags r:id="rId2"/>
            </p:custDataLst>
          </p:nvPr>
        </p:nvSpPr>
        <p:spPr>
          <a:xfrm>
            <a:off x="1524000" y="0"/>
            <a:ext cx="158750" cy="15875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400" b="1" err="1">
              <a:solidFill>
                <a:srgbClr val="EEEEEE"/>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6" name="Text Placeholder 5"/>
          <p:cNvSpPr>
            <a:spLocks noGrp="1"/>
          </p:cNvSpPr>
          <p:nvPr>
            <p:ph type="body" sz="quarter" idx="11"/>
          </p:nvPr>
        </p:nvSpPr>
        <p:spPr/>
        <p:txBody>
          <a:bodyPr/>
          <a:lstStyle/>
          <a:p>
            <a:endParaRPr lang="en-US"/>
          </a:p>
        </p:txBody>
      </p:sp>
      <p:sp>
        <p:nvSpPr>
          <p:cNvPr id="97284" name="Rectangle 4"/>
          <p:cNvSpPr>
            <a:spLocks noGrp="1" noChangeArrowheads="1"/>
          </p:cNvSpPr>
          <p:nvPr>
            <p:ph type="title"/>
          </p:nvPr>
        </p:nvSpPr>
        <p:spPr/>
        <p:txBody>
          <a:bodyPr/>
          <a:lstStyle/>
          <a:p>
            <a:r>
              <a:rPr lang="en-GB" altLang="en-US"/>
              <a:t>Obstacles, walls, hurdles, and resistance</a:t>
            </a:r>
          </a:p>
        </p:txBody>
      </p:sp>
      <p:graphicFrame>
        <p:nvGraphicFramePr>
          <p:cNvPr id="97285" name="Object 5"/>
          <p:cNvGraphicFramePr>
            <a:graphicFrameLocks noChangeAspect="1"/>
          </p:cNvGraphicFramePr>
          <p:nvPr/>
        </p:nvGraphicFramePr>
        <p:xfrm>
          <a:off x="3702051" y="2133601"/>
          <a:ext cx="5051425" cy="3802063"/>
        </p:xfrm>
        <a:graphic>
          <a:graphicData uri="http://schemas.openxmlformats.org/presentationml/2006/ole">
            <mc:AlternateContent xmlns:mc="http://schemas.openxmlformats.org/markup-compatibility/2006">
              <mc:Choice xmlns:v="urn:schemas-microsoft-com:vml" Requires="v">
                <p:oleObj name="CorelPhotoPaint.Image.8" r:id="rId6" imgW="5961905" imgH="4142857" progId="CorelPhotoPaint.Image.8">
                  <p:embed/>
                </p:oleObj>
              </mc:Choice>
              <mc:Fallback>
                <p:oleObj name="CorelPhotoPaint.Image.8" r:id="rId6" imgW="5961905" imgH="4142857" progId="CorelPhotoPaint.Image.8">
                  <p:embed/>
                  <p:pic>
                    <p:nvPicPr>
                      <p:cNvPr id="97285" name="Object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02051" y="2133601"/>
                        <a:ext cx="5051425" cy="3802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0602990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5170" name="Rectangle 2" hidden="1"/>
          <p:cNvGraphicFramePr>
            <a:graphicFrameLocks/>
          </p:cNvGraphicFramePr>
          <p:nvPr>
            <p:custDataLst>
              <p:tags r:id="rId1"/>
            </p:custDataLst>
            <p:extLst>
              <p:ext uri="{D42A27DB-BD31-4B8C-83A1-F6EECF244321}">
                <p14:modId xmlns:p14="http://schemas.microsoft.com/office/powerpoint/2010/main" val="1487072400"/>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13517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grpSp>
        <p:nvGrpSpPr>
          <p:cNvPr id="135171" name="Group 3"/>
          <p:cNvGrpSpPr>
            <a:grpSpLocks/>
          </p:cNvGrpSpPr>
          <p:nvPr/>
        </p:nvGrpSpPr>
        <p:grpSpPr bwMode="auto">
          <a:xfrm>
            <a:off x="3657600" y="1447800"/>
            <a:ext cx="4213225" cy="3835400"/>
            <a:chOff x="1581" y="1285"/>
            <a:chExt cx="3078" cy="2586"/>
          </a:xfrm>
        </p:grpSpPr>
        <p:pic>
          <p:nvPicPr>
            <p:cNvPr id="135174" name="Picture 4" descr="cn005_v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gray">
            <a:xfrm>
              <a:off x="1581" y="1285"/>
              <a:ext cx="3078" cy="2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75" name="Text Box 5"/>
            <p:cNvSpPr txBox="1">
              <a:spLocks noChangeArrowheads="1"/>
            </p:cNvSpPr>
            <p:nvPr/>
          </p:nvSpPr>
          <p:spPr bwMode="gray">
            <a:xfrm>
              <a:off x="1646" y="1432"/>
              <a:ext cx="2875" cy="3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5720" rIns="45720">
              <a:spAutoFit/>
            </a:bodyP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50000"/>
                </a:spcBef>
                <a:buFontTx/>
                <a:buNone/>
              </a:pPr>
              <a:r>
                <a:rPr lang="en-GB" altLang="en-US" sz="2800">
                  <a:solidFill>
                    <a:schemeClr val="tx1">
                      <a:lumMod val="50000"/>
                    </a:schemeClr>
                  </a:solidFill>
                  <a:latin typeface="Book Antiqua" panose="02040602050305030304" pitchFamily="18" charset="0"/>
                </a:rPr>
                <a:t>Newspaper headline!</a:t>
              </a:r>
            </a:p>
          </p:txBody>
        </p:sp>
        <p:sp>
          <p:nvSpPr>
            <p:cNvPr id="135176" name="Line 6"/>
            <p:cNvSpPr>
              <a:spLocks noChangeShapeType="1"/>
            </p:cNvSpPr>
            <p:nvPr/>
          </p:nvSpPr>
          <p:spPr bwMode="gray">
            <a:xfrm>
              <a:off x="1646" y="1836"/>
              <a:ext cx="287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endParaRPr lang="en-US"/>
            </a:p>
          </p:txBody>
        </p:sp>
      </p:grpSp>
      <p:sp>
        <p:nvSpPr>
          <p:cNvPr id="4" name="Text Placeholder 3"/>
          <p:cNvSpPr>
            <a:spLocks noGrp="1"/>
          </p:cNvSpPr>
          <p:nvPr>
            <p:ph type="body" sz="quarter" idx="11"/>
          </p:nvPr>
        </p:nvSpPr>
        <p:spPr/>
        <p:txBody>
          <a:bodyPr/>
          <a:lstStyle/>
          <a:p>
            <a:endParaRPr lang="en-US"/>
          </a:p>
        </p:txBody>
      </p:sp>
      <p:sp>
        <p:nvSpPr>
          <p:cNvPr id="135173" name="Rectangle 8"/>
          <p:cNvSpPr>
            <a:spLocks noGrp="1" noChangeArrowheads="1"/>
          </p:cNvSpPr>
          <p:nvPr>
            <p:ph type="title"/>
          </p:nvPr>
        </p:nvSpPr>
        <p:spPr/>
        <p:txBody>
          <a:bodyPr/>
          <a:lstStyle/>
          <a:p>
            <a:r>
              <a:rPr lang="en-GB" altLang="en-US"/>
              <a:t>Announcement boards</a:t>
            </a:r>
          </a:p>
        </p:txBody>
      </p:sp>
    </p:spTree>
    <p:extLst>
      <p:ext uri="{BB962C8B-B14F-4D97-AF65-F5344CB8AC3E}">
        <p14:creationId xmlns:p14="http://schemas.microsoft.com/office/powerpoint/2010/main" val="134848716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0770" name="Rectangle 2" hidden="1"/>
          <p:cNvGraphicFramePr>
            <a:graphicFrameLocks/>
          </p:cNvGraphicFramePr>
          <p:nvPr>
            <p:custDataLst>
              <p:tags r:id="rId1"/>
            </p:custDataLst>
            <p:extLst>
              <p:ext uri="{D42A27DB-BD31-4B8C-83A1-F6EECF244321}">
                <p14:modId xmlns:p14="http://schemas.microsoft.com/office/powerpoint/2010/main" val="158160149"/>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6077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60771" name="AutoShape 3"/>
          <p:cNvSpPr>
            <a:spLocks noChangeArrowheads="1"/>
          </p:cNvSpPr>
          <p:nvPr/>
        </p:nvSpPr>
        <p:spPr bwMode="gray">
          <a:xfrm>
            <a:off x="3432176" y="3543222"/>
            <a:ext cx="2614613" cy="1873250"/>
          </a:xfrm>
          <a:prstGeom prst="triangle">
            <a:avLst>
              <a:gd name="adj" fmla="val 50000"/>
            </a:avLst>
          </a:prstGeom>
          <a:solidFill>
            <a:schemeClr val="tx1">
              <a:lumMod val="20000"/>
              <a:lumOff val="80000"/>
            </a:schemeClr>
          </a:solidFill>
          <a:ln>
            <a:noFill/>
          </a:ln>
          <a:effectLst/>
        </p:spPr>
        <p:txBody>
          <a:bodyPr wrap="none" lIns="0" tIns="0" rIns="0" bIns="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400"/>
          </a:p>
        </p:txBody>
      </p:sp>
      <p:sp>
        <p:nvSpPr>
          <p:cNvPr id="160772" name="AutoShape 4"/>
          <p:cNvSpPr>
            <a:spLocks noChangeArrowheads="1"/>
          </p:cNvSpPr>
          <p:nvPr/>
        </p:nvSpPr>
        <p:spPr bwMode="gray">
          <a:xfrm>
            <a:off x="6165851" y="3543222"/>
            <a:ext cx="2614613" cy="1873250"/>
          </a:xfrm>
          <a:prstGeom prst="triangle">
            <a:avLst>
              <a:gd name="adj" fmla="val 50000"/>
            </a:avLst>
          </a:prstGeom>
          <a:solidFill>
            <a:schemeClr val="tx1">
              <a:lumMod val="20000"/>
              <a:lumOff val="80000"/>
            </a:schemeClr>
          </a:solidFill>
          <a:ln>
            <a:noFill/>
          </a:ln>
          <a:effectLst/>
        </p:spPr>
        <p:txBody>
          <a:bodyPr wrap="none" lIns="0" tIns="0" rIns="0" bIns="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400"/>
          </a:p>
        </p:txBody>
      </p:sp>
      <p:sp>
        <p:nvSpPr>
          <p:cNvPr id="160773" name="AutoShape 5"/>
          <p:cNvSpPr>
            <a:spLocks noChangeArrowheads="1"/>
          </p:cNvSpPr>
          <p:nvPr/>
        </p:nvSpPr>
        <p:spPr bwMode="gray">
          <a:xfrm>
            <a:off x="4789489" y="1552497"/>
            <a:ext cx="2613025" cy="1873250"/>
          </a:xfrm>
          <a:prstGeom prst="triangle">
            <a:avLst>
              <a:gd name="adj" fmla="val 50000"/>
            </a:avLst>
          </a:prstGeom>
          <a:solidFill>
            <a:schemeClr val="tx1">
              <a:lumMod val="20000"/>
              <a:lumOff val="80000"/>
            </a:schemeClr>
          </a:solidFill>
          <a:ln>
            <a:noFill/>
          </a:ln>
          <a:effectLst/>
        </p:spPr>
        <p:txBody>
          <a:bodyPr wrap="none" lIns="0" tIns="0" rIns="0" bIns="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400"/>
          </a:p>
        </p:txBody>
      </p:sp>
      <p:sp>
        <p:nvSpPr>
          <p:cNvPr id="160774" name="AutoShape 6"/>
          <p:cNvSpPr>
            <a:spLocks noChangeArrowheads="1"/>
          </p:cNvSpPr>
          <p:nvPr/>
        </p:nvSpPr>
        <p:spPr bwMode="gray">
          <a:xfrm flipV="1">
            <a:off x="4789489" y="3490835"/>
            <a:ext cx="2613025" cy="1873250"/>
          </a:xfrm>
          <a:prstGeom prst="triangle">
            <a:avLst>
              <a:gd name="adj" fmla="val 50000"/>
            </a:avLst>
          </a:prstGeom>
          <a:solidFill>
            <a:schemeClr val="bg2"/>
          </a:solidFill>
          <a:ln>
            <a:noFill/>
          </a:ln>
          <a:effectLst/>
        </p:spPr>
        <p:txBody>
          <a:bodyPr rot="10800000" wrap="none" lIns="72000" tIns="0" rIns="0" bIns="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400"/>
          </a:p>
        </p:txBody>
      </p:sp>
      <p:sp>
        <p:nvSpPr>
          <p:cNvPr id="160775" name="Text Box 7"/>
          <p:cNvSpPr txBox="1">
            <a:spLocks noChangeArrowheads="1"/>
          </p:cNvSpPr>
          <p:nvPr/>
        </p:nvSpPr>
        <p:spPr bwMode="gray">
          <a:xfrm>
            <a:off x="5935663" y="2560561"/>
            <a:ext cx="336550"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solidFill>
                  <a:schemeClr val="tx1">
                    <a:lumMod val="50000"/>
                  </a:schemeClr>
                </a:solidFill>
              </a:rPr>
              <a:t>Text</a:t>
            </a:r>
          </a:p>
        </p:txBody>
      </p:sp>
      <p:sp>
        <p:nvSpPr>
          <p:cNvPr id="160776" name="Text Box 8"/>
          <p:cNvSpPr txBox="1">
            <a:spLocks noChangeArrowheads="1"/>
          </p:cNvSpPr>
          <p:nvPr/>
        </p:nvSpPr>
        <p:spPr bwMode="gray">
          <a:xfrm>
            <a:off x="5935663" y="4098848"/>
            <a:ext cx="336550"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chemeClr val="accent5"/>
                </a:solidFill>
              </a:rPr>
              <a:t>Text</a:t>
            </a:r>
          </a:p>
        </p:txBody>
      </p:sp>
      <p:sp>
        <p:nvSpPr>
          <p:cNvPr id="160777" name="Text Box 9"/>
          <p:cNvSpPr txBox="1">
            <a:spLocks noChangeArrowheads="1"/>
          </p:cNvSpPr>
          <p:nvPr/>
        </p:nvSpPr>
        <p:spPr bwMode="gray">
          <a:xfrm>
            <a:off x="4581526" y="4724323"/>
            <a:ext cx="334963"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solidFill>
                  <a:schemeClr val="tx1">
                    <a:lumMod val="50000"/>
                  </a:schemeClr>
                </a:solidFill>
              </a:rPr>
              <a:t>Text</a:t>
            </a:r>
          </a:p>
        </p:txBody>
      </p:sp>
      <p:sp>
        <p:nvSpPr>
          <p:cNvPr id="160778" name="Text Box 10"/>
          <p:cNvSpPr txBox="1">
            <a:spLocks noChangeArrowheads="1"/>
          </p:cNvSpPr>
          <p:nvPr/>
        </p:nvSpPr>
        <p:spPr bwMode="gray">
          <a:xfrm>
            <a:off x="7297738" y="4724323"/>
            <a:ext cx="334962"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solidFill>
                  <a:schemeClr val="tx1">
                    <a:lumMod val="50000"/>
                  </a:schemeClr>
                </a:solidFill>
              </a:rPr>
              <a:t>Text</a:t>
            </a:r>
          </a:p>
        </p:txBody>
      </p:sp>
      <p:sp>
        <p:nvSpPr>
          <p:cNvPr id="4" name="Text Placeholder 3"/>
          <p:cNvSpPr>
            <a:spLocks noGrp="1"/>
          </p:cNvSpPr>
          <p:nvPr>
            <p:ph type="body" sz="quarter" idx="11"/>
          </p:nvPr>
        </p:nvSpPr>
        <p:spPr/>
        <p:txBody>
          <a:bodyPr/>
          <a:lstStyle/>
          <a:p>
            <a:endParaRPr lang="en-US"/>
          </a:p>
        </p:txBody>
      </p:sp>
      <p:sp>
        <p:nvSpPr>
          <p:cNvPr id="160780" name="Rectangle 12"/>
          <p:cNvSpPr>
            <a:spLocks noGrp="1" noChangeArrowheads="1"/>
          </p:cNvSpPr>
          <p:nvPr>
            <p:ph type="title"/>
          </p:nvPr>
        </p:nvSpPr>
        <p:spPr/>
        <p:txBody>
          <a:bodyPr/>
          <a:lstStyle/>
          <a:p>
            <a:r>
              <a:rPr lang="en-GB" altLang="en-US"/>
              <a:t>Factors</a:t>
            </a:r>
          </a:p>
        </p:txBody>
      </p:sp>
    </p:spTree>
    <p:extLst>
      <p:ext uri="{BB962C8B-B14F-4D97-AF65-F5344CB8AC3E}">
        <p14:creationId xmlns:p14="http://schemas.microsoft.com/office/powerpoint/2010/main" val="182686810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794" name="Rectangle 2" hidden="1"/>
          <p:cNvGraphicFramePr>
            <a:graphicFrameLocks/>
          </p:cNvGraphicFramePr>
          <p:nvPr>
            <p:custDataLst>
              <p:tags r:id="rId1"/>
            </p:custDataLst>
            <p:extLst>
              <p:ext uri="{D42A27DB-BD31-4B8C-83A1-F6EECF244321}">
                <p14:modId xmlns:p14="http://schemas.microsoft.com/office/powerpoint/2010/main" val="3141221462"/>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6179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61795" name="Freeform 3"/>
          <p:cNvSpPr>
            <a:spLocks/>
          </p:cNvSpPr>
          <p:nvPr/>
        </p:nvSpPr>
        <p:spPr bwMode="gray">
          <a:xfrm>
            <a:off x="6149976" y="3730723"/>
            <a:ext cx="3883025" cy="1919287"/>
          </a:xfrm>
          <a:custGeom>
            <a:avLst/>
            <a:gdLst>
              <a:gd name="T0" fmla="*/ 0 w 2712"/>
              <a:gd name="T1" fmla="*/ 2147483647 h 1241"/>
              <a:gd name="T2" fmla="*/ 0 w 2712"/>
              <a:gd name="T3" fmla="*/ 2147483647 h 1241"/>
              <a:gd name="T4" fmla="*/ 2147483647 w 2712"/>
              <a:gd name="T5" fmla="*/ 2147483647 h 1241"/>
              <a:gd name="T6" fmla="*/ 2147483647 w 2712"/>
              <a:gd name="T7" fmla="*/ 0 h 1241"/>
              <a:gd name="T8" fmla="*/ 2147483647 w 2712"/>
              <a:gd name="T9" fmla="*/ 0 h 1241"/>
              <a:gd name="T10" fmla="*/ 2147483647 w 2712"/>
              <a:gd name="T11" fmla="*/ 2147483647 h 1241"/>
              <a:gd name="T12" fmla="*/ 0 w 2712"/>
              <a:gd name="T13" fmla="*/ 2147483647 h 124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12" h="1241">
                <a:moveTo>
                  <a:pt x="0" y="386"/>
                </a:moveTo>
                <a:lnTo>
                  <a:pt x="0" y="1241"/>
                </a:lnTo>
                <a:lnTo>
                  <a:pt x="2712" y="1241"/>
                </a:lnTo>
                <a:lnTo>
                  <a:pt x="2712" y="0"/>
                </a:lnTo>
                <a:lnTo>
                  <a:pt x="1027" y="0"/>
                </a:lnTo>
                <a:lnTo>
                  <a:pt x="1027" y="386"/>
                </a:lnTo>
                <a:lnTo>
                  <a:pt x="0" y="386"/>
                </a:lnTo>
                <a:close/>
              </a:path>
            </a:pathLst>
          </a:custGeom>
          <a:solidFill>
            <a:schemeClr val="tx1">
              <a:lumMod val="20000"/>
              <a:lumOff val="80000"/>
            </a:schemeClr>
          </a:solidFill>
          <a:ln>
            <a:noFill/>
          </a:ln>
          <a:effectLst/>
        </p:spPr>
        <p:txBody>
          <a:bodyPr wrap="none" lIns="72000" tIns="0" rIns="0" bIns="0" anchor="ctr"/>
          <a:lstStyle/>
          <a:p>
            <a:endParaRPr lang="en-US">
              <a:solidFill>
                <a:schemeClr val="tx1">
                  <a:lumMod val="50000"/>
                </a:schemeClr>
              </a:solidFill>
              <a:latin typeface="+mj-lt"/>
            </a:endParaRPr>
          </a:p>
        </p:txBody>
      </p:sp>
      <p:sp>
        <p:nvSpPr>
          <p:cNvPr id="161796" name="Freeform 4"/>
          <p:cNvSpPr>
            <a:spLocks/>
          </p:cNvSpPr>
          <p:nvPr/>
        </p:nvSpPr>
        <p:spPr bwMode="gray">
          <a:xfrm flipV="1">
            <a:off x="6149976" y="1684434"/>
            <a:ext cx="3883025" cy="1919288"/>
          </a:xfrm>
          <a:custGeom>
            <a:avLst/>
            <a:gdLst>
              <a:gd name="T0" fmla="*/ 0 w 2712"/>
              <a:gd name="T1" fmla="*/ 2147483647 h 1241"/>
              <a:gd name="T2" fmla="*/ 0 w 2712"/>
              <a:gd name="T3" fmla="*/ 2147483647 h 1241"/>
              <a:gd name="T4" fmla="*/ 2147483647 w 2712"/>
              <a:gd name="T5" fmla="*/ 2147483647 h 1241"/>
              <a:gd name="T6" fmla="*/ 2147483647 w 2712"/>
              <a:gd name="T7" fmla="*/ 0 h 1241"/>
              <a:gd name="T8" fmla="*/ 2147483647 w 2712"/>
              <a:gd name="T9" fmla="*/ 0 h 1241"/>
              <a:gd name="T10" fmla="*/ 2147483647 w 2712"/>
              <a:gd name="T11" fmla="*/ 2147483647 h 1241"/>
              <a:gd name="T12" fmla="*/ 0 w 2712"/>
              <a:gd name="T13" fmla="*/ 2147483647 h 124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12" h="1241">
                <a:moveTo>
                  <a:pt x="0" y="386"/>
                </a:moveTo>
                <a:lnTo>
                  <a:pt x="0" y="1241"/>
                </a:lnTo>
                <a:lnTo>
                  <a:pt x="2712" y="1241"/>
                </a:lnTo>
                <a:lnTo>
                  <a:pt x="2712" y="0"/>
                </a:lnTo>
                <a:lnTo>
                  <a:pt x="1027" y="0"/>
                </a:lnTo>
                <a:lnTo>
                  <a:pt x="1027" y="386"/>
                </a:lnTo>
                <a:lnTo>
                  <a:pt x="0" y="386"/>
                </a:lnTo>
                <a:close/>
              </a:path>
            </a:pathLst>
          </a:custGeom>
          <a:solidFill>
            <a:schemeClr val="tx1">
              <a:lumMod val="20000"/>
              <a:lumOff val="80000"/>
            </a:schemeClr>
          </a:solidFill>
          <a:ln>
            <a:noFill/>
          </a:ln>
          <a:effectLst/>
        </p:spPr>
        <p:txBody>
          <a:bodyPr wrap="none" lIns="72000" tIns="0" rIns="0" bIns="0" anchor="ctr"/>
          <a:lstStyle/>
          <a:p>
            <a:endParaRPr lang="en-US">
              <a:solidFill>
                <a:schemeClr val="tx1">
                  <a:lumMod val="50000"/>
                </a:schemeClr>
              </a:solidFill>
              <a:latin typeface="+mj-lt"/>
            </a:endParaRPr>
          </a:p>
        </p:txBody>
      </p:sp>
      <p:sp>
        <p:nvSpPr>
          <p:cNvPr id="161797" name="Freeform 5"/>
          <p:cNvSpPr>
            <a:spLocks/>
          </p:cNvSpPr>
          <p:nvPr/>
        </p:nvSpPr>
        <p:spPr bwMode="gray">
          <a:xfrm flipH="1">
            <a:off x="2136776" y="3730723"/>
            <a:ext cx="3883025" cy="1919287"/>
          </a:xfrm>
          <a:custGeom>
            <a:avLst/>
            <a:gdLst>
              <a:gd name="T0" fmla="*/ 0 w 2712"/>
              <a:gd name="T1" fmla="*/ 2147483647 h 1241"/>
              <a:gd name="T2" fmla="*/ 0 w 2712"/>
              <a:gd name="T3" fmla="*/ 2147483647 h 1241"/>
              <a:gd name="T4" fmla="*/ 2147483647 w 2712"/>
              <a:gd name="T5" fmla="*/ 2147483647 h 1241"/>
              <a:gd name="T6" fmla="*/ 2147483647 w 2712"/>
              <a:gd name="T7" fmla="*/ 0 h 1241"/>
              <a:gd name="T8" fmla="*/ 2147483647 w 2712"/>
              <a:gd name="T9" fmla="*/ 0 h 1241"/>
              <a:gd name="T10" fmla="*/ 2147483647 w 2712"/>
              <a:gd name="T11" fmla="*/ 2147483647 h 1241"/>
              <a:gd name="T12" fmla="*/ 0 w 2712"/>
              <a:gd name="T13" fmla="*/ 2147483647 h 124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12" h="1241">
                <a:moveTo>
                  <a:pt x="0" y="386"/>
                </a:moveTo>
                <a:lnTo>
                  <a:pt x="0" y="1241"/>
                </a:lnTo>
                <a:lnTo>
                  <a:pt x="2712" y="1241"/>
                </a:lnTo>
                <a:lnTo>
                  <a:pt x="2712" y="0"/>
                </a:lnTo>
                <a:lnTo>
                  <a:pt x="1027" y="0"/>
                </a:lnTo>
                <a:lnTo>
                  <a:pt x="1027" y="386"/>
                </a:lnTo>
                <a:lnTo>
                  <a:pt x="0" y="386"/>
                </a:lnTo>
                <a:close/>
              </a:path>
            </a:pathLst>
          </a:custGeom>
          <a:solidFill>
            <a:schemeClr val="tx1">
              <a:lumMod val="20000"/>
              <a:lumOff val="80000"/>
            </a:schemeClr>
          </a:solidFill>
          <a:ln>
            <a:noFill/>
          </a:ln>
          <a:effectLst/>
        </p:spPr>
        <p:txBody>
          <a:bodyPr wrap="none" lIns="72000" tIns="0" rIns="0" bIns="0" anchor="ctr"/>
          <a:lstStyle/>
          <a:p>
            <a:endParaRPr lang="en-US">
              <a:solidFill>
                <a:schemeClr val="tx1">
                  <a:lumMod val="50000"/>
                </a:schemeClr>
              </a:solidFill>
              <a:latin typeface="+mj-lt"/>
            </a:endParaRPr>
          </a:p>
        </p:txBody>
      </p:sp>
      <p:sp>
        <p:nvSpPr>
          <p:cNvPr id="161798" name="Freeform 6"/>
          <p:cNvSpPr>
            <a:spLocks/>
          </p:cNvSpPr>
          <p:nvPr/>
        </p:nvSpPr>
        <p:spPr bwMode="gray">
          <a:xfrm flipH="1" flipV="1">
            <a:off x="2136776" y="1684434"/>
            <a:ext cx="3883025" cy="1919288"/>
          </a:xfrm>
          <a:custGeom>
            <a:avLst/>
            <a:gdLst>
              <a:gd name="T0" fmla="*/ 0 w 2712"/>
              <a:gd name="T1" fmla="*/ 2147483647 h 1241"/>
              <a:gd name="T2" fmla="*/ 0 w 2712"/>
              <a:gd name="T3" fmla="*/ 2147483647 h 1241"/>
              <a:gd name="T4" fmla="*/ 2147483647 w 2712"/>
              <a:gd name="T5" fmla="*/ 2147483647 h 1241"/>
              <a:gd name="T6" fmla="*/ 2147483647 w 2712"/>
              <a:gd name="T7" fmla="*/ 0 h 1241"/>
              <a:gd name="T8" fmla="*/ 2147483647 w 2712"/>
              <a:gd name="T9" fmla="*/ 0 h 1241"/>
              <a:gd name="T10" fmla="*/ 2147483647 w 2712"/>
              <a:gd name="T11" fmla="*/ 2147483647 h 1241"/>
              <a:gd name="T12" fmla="*/ 0 w 2712"/>
              <a:gd name="T13" fmla="*/ 2147483647 h 124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12" h="1241">
                <a:moveTo>
                  <a:pt x="0" y="386"/>
                </a:moveTo>
                <a:lnTo>
                  <a:pt x="0" y="1241"/>
                </a:lnTo>
                <a:lnTo>
                  <a:pt x="2712" y="1241"/>
                </a:lnTo>
                <a:lnTo>
                  <a:pt x="2712" y="0"/>
                </a:lnTo>
                <a:lnTo>
                  <a:pt x="1027" y="0"/>
                </a:lnTo>
                <a:lnTo>
                  <a:pt x="1027" y="386"/>
                </a:lnTo>
                <a:lnTo>
                  <a:pt x="0" y="386"/>
                </a:lnTo>
                <a:close/>
              </a:path>
            </a:pathLst>
          </a:custGeom>
          <a:solidFill>
            <a:schemeClr val="tx1">
              <a:lumMod val="20000"/>
              <a:lumOff val="80000"/>
            </a:schemeClr>
          </a:solidFill>
          <a:ln>
            <a:noFill/>
          </a:ln>
          <a:effectLst/>
        </p:spPr>
        <p:txBody>
          <a:bodyPr wrap="none" lIns="72000" tIns="0" rIns="0" bIns="0" anchor="ctr"/>
          <a:lstStyle/>
          <a:p>
            <a:endParaRPr lang="en-US">
              <a:solidFill>
                <a:schemeClr val="tx1">
                  <a:lumMod val="50000"/>
                </a:schemeClr>
              </a:solidFill>
              <a:latin typeface="+mj-lt"/>
            </a:endParaRPr>
          </a:p>
        </p:txBody>
      </p:sp>
      <p:sp>
        <p:nvSpPr>
          <p:cNvPr id="161799" name="Rectangle 7"/>
          <p:cNvSpPr>
            <a:spLocks noChangeArrowheads="1"/>
          </p:cNvSpPr>
          <p:nvPr/>
        </p:nvSpPr>
        <p:spPr bwMode="gray">
          <a:xfrm>
            <a:off x="4679950" y="3125885"/>
            <a:ext cx="2814638" cy="1082675"/>
          </a:xfrm>
          <a:prstGeom prst="rect">
            <a:avLst/>
          </a:prstGeom>
          <a:solidFill>
            <a:schemeClr val="bg2"/>
          </a:solidFill>
          <a:ln>
            <a:noFill/>
          </a:ln>
          <a:effec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chemeClr val="accent5"/>
                </a:solidFill>
                <a:latin typeface="+mj-lt"/>
              </a:rPr>
              <a:t>Text</a:t>
            </a:r>
          </a:p>
        </p:txBody>
      </p:sp>
      <p:sp>
        <p:nvSpPr>
          <p:cNvPr id="161800" name="Rectangle 8"/>
          <p:cNvSpPr>
            <a:spLocks noChangeArrowheads="1"/>
          </p:cNvSpPr>
          <p:nvPr/>
        </p:nvSpPr>
        <p:spPr bwMode="gray">
          <a:xfrm>
            <a:off x="2216150" y="1781272"/>
            <a:ext cx="2381250" cy="182245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endParaRPr lang="en-GB" altLang="en-US" sz="1400">
              <a:latin typeface="+mj-lt"/>
              <a:ea typeface="Roboto" charset="0"/>
              <a:cs typeface="Arial" panose="020B0604020202020204" pitchFamily="34" charset="0"/>
            </a:endParaRPr>
          </a:p>
          <a:p>
            <a:pPr marL="341313" lvl="1" indent="-171450">
              <a:lnSpc>
                <a:spcPct val="90000"/>
              </a:lnSpc>
              <a:spcBef>
                <a:spcPts val="500"/>
              </a:spcBef>
              <a:buClr>
                <a:schemeClr val="bg2"/>
              </a:buClr>
              <a:buSzPct val="90000"/>
              <a:buFont typeface="Arial" panose="020B0604020202020204" pitchFamily="34" charset="0"/>
              <a:buChar char="•"/>
            </a:pPr>
            <a:endParaRPr lang="en-GB" altLang="en-US" sz="1400">
              <a:latin typeface="+mj-lt"/>
            </a:endParaRPr>
          </a:p>
        </p:txBody>
      </p:sp>
      <p:sp>
        <p:nvSpPr>
          <p:cNvPr id="161801" name="Rectangle 9"/>
          <p:cNvSpPr>
            <a:spLocks noChangeArrowheads="1"/>
          </p:cNvSpPr>
          <p:nvPr/>
        </p:nvSpPr>
        <p:spPr bwMode="gray">
          <a:xfrm>
            <a:off x="7643813" y="1781272"/>
            <a:ext cx="2381250" cy="1822450"/>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endParaRPr lang="en-GB" altLang="en-US" sz="1400">
              <a:latin typeface="+mj-lt"/>
            </a:endParaRPr>
          </a:p>
        </p:txBody>
      </p:sp>
      <p:sp>
        <p:nvSpPr>
          <p:cNvPr id="161802" name="Rectangle 10"/>
          <p:cNvSpPr>
            <a:spLocks noChangeArrowheads="1"/>
          </p:cNvSpPr>
          <p:nvPr/>
        </p:nvSpPr>
        <p:spPr bwMode="gray">
          <a:xfrm>
            <a:off x="2216150" y="3803748"/>
            <a:ext cx="2381250" cy="1912937"/>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endParaRPr lang="en-GB" altLang="en-US" sz="1400">
              <a:latin typeface="+mj-lt"/>
            </a:endParaRPr>
          </a:p>
        </p:txBody>
      </p:sp>
      <p:sp>
        <p:nvSpPr>
          <p:cNvPr id="161803" name="Rectangle 11"/>
          <p:cNvSpPr>
            <a:spLocks noChangeArrowheads="1"/>
          </p:cNvSpPr>
          <p:nvPr/>
        </p:nvSpPr>
        <p:spPr bwMode="gray">
          <a:xfrm>
            <a:off x="7643813" y="3803748"/>
            <a:ext cx="2381250" cy="1912937"/>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endParaRPr lang="en-GB" altLang="en-US" sz="1400">
              <a:latin typeface="+mj-lt"/>
            </a:endParaRPr>
          </a:p>
        </p:txBody>
      </p:sp>
      <p:sp>
        <p:nvSpPr>
          <p:cNvPr id="4" name="Text Placeholder 3"/>
          <p:cNvSpPr>
            <a:spLocks noGrp="1"/>
          </p:cNvSpPr>
          <p:nvPr>
            <p:ph type="body" sz="quarter" idx="11"/>
          </p:nvPr>
        </p:nvSpPr>
        <p:spPr/>
        <p:txBody>
          <a:bodyPr/>
          <a:lstStyle/>
          <a:p>
            <a:endParaRPr lang="en-US">
              <a:latin typeface="+mj-lt"/>
            </a:endParaRPr>
          </a:p>
        </p:txBody>
      </p:sp>
      <p:sp>
        <p:nvSpPr>
          <p:cNvPr id="161805" name="Rectangle 13"/>
          <p:cNvSpPr>
            <a:spLocks noGrp="1" noChangeArrowheads="1"/>
          </p:cNvSpPr>
          <p:nvPr>
            <p:ph type="title"/>
          </p:nvPr>
        </p:nvSpPr>
        <p:spPr/>
        <p:txBody>
          <a:bodyPr/>
          <a:lstStyle/>
          <a:p>
            <a:r>
              <a:rPr lang="en-GB" altLang="en-US">
                <a:latin typeface="+mj-lt"/>
              </a:rPr>
              <a:t>Factors</a:t>
            </a:r>
          </a:p>
        </p:txBody>
      </p:sp>
    </p:spTree>
    <p:extLst>
      <p:ext uri="{BB962C8B-B14F-4D97-AF65-F5344CB8AC3E}">
        <p14:creationId xmlns:p14="http://schemas.microsoft.com/office/powerpoint/2010/main" val="29372099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42" name="Rectangle 2" hidden="1"/>
          <p:cNvGraphicFramePr>
            <a:graphicFrameLocks/>
          </p:cNvGraphicFramePr>
          <p:nvPr>
            <p:custDataLst>
              <p:tags r:id="rId1"/>
            </p:custDataLst>
            <p:extLst>
              <p:ext uri="{D42A27DB-BD31-4B8C-83A1-F6EECF244321}">
                <p14:modId xmlns:p14="http://schemas.microsoft.com/office/powerpoint/2010/main" val="1082888280"/>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6384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63843" name="Freeform 3"/>
          <p:cNvSpPr>
            <a:spLocks/>
          </p:cNvSpPr>
          <p:nvPr/>
        </p:nvSpPr>
        <p:spPr bwMode="gray">
          <a:xfrm>
            <a:off x="2005013" y="1461868"/>
            <a:ext cx="4024312" cy="1976438"/>
          </a:xfrm>
          <a:custGeom>
            <a:avLst/>
            <a:gdLst>
              <a:gd name="T0" fmla="*/ 2147483647 w 2652"/>
              <a:gd name="T1" fmla="*/ 2147483647 h 1208"/>
              <a:gd name="T2" fmla="*/ 2147483647 w 2652"/>
              <a:gd name="T3" fmla="*/ 0 h 1208"/>
              <a:gd name="T4" fmla="*/ 0 w 2652"/>
              <a:gd name="T5" fmla="*/ 0 h 1208"/>
              <a:gd name="T6" fmla="*/ 0 w 2652"/>
              <a:gd name="T7" fmla="*/ 2147483647 h 1208"/>
              <a:gd name="T8" fmla="*/ 2147483647 w 2652"/>
              <a:gd name="T9" fmla="*/ 2147483647 h 1208"/>
              <a:gd name="T10" fmla="*/ 2147483647 w 2652"/>
              <a:gd name="T11" fmla="*/ 2147483647 h 1208"/>
              <a:gd name="T12" fmla="*/ 2147483647 w 2652"/>
              <a:gd name="T13" fmla="*/ 2147483647 h 1208"/>
              <a:gd name="T14" fmla="*/ 2147483647 w 2652"/>
              <a:gd name="T15" fmla="*/ 2147483647 h 1208"/>
              <a:gd name="T16" fmla="*/ 2147483647 w 2652"/>
              <a:gd name="T17" fmla="*/ 2147483647 h 12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52" h="1208">
                <a:moveTo>
                  <a:pt x="2652" y="600"/>
                </a:moveTo>
                <a:cubicBezTo>
                  <a:pt x="2652" y="300"/>
                  <a:pt x="2652" y="0"/>
                  <a:pt x="2652" y="0"/>
                </a:cubicBezTo>
                <a:cubicBezTo>
                  <a:pt x="1326" y="0"/>
                  <a:pt x="0" y="0"/>
                  <a:pt x="0" y="0"/>
                </a:cubicBezTo>
                <a:cubicBezTo>
                  <a:pt x="0" y="604"/>
                  <a:pt x="0" y="1208"/>
                  <a:pt x="0" y="1208"/>
                </a:cubicBezTo>
                <a:cubicBezTo>
                  <a:pt x="1018" y="1208"/>
                  <a:pt x="2037" y="1205"/>
                  <a:pt x="2036" y="1208"/>
                </a:cubicBezTo>
                <a:cubicBezTo>
                  <a:pt x="2046" y="1115"/>
                  <a:pt x="2059" y="1057"/>
                  <a:pt x="2091" y="986"/>
                </a:cubicBezTo>
                <a:cubicBezTo>
                  <a:pt x="2123" y="915"/>
                  <a:pt x="2173" y="838"/>
                  <a:pt x="2232" y="779"/>
                </a:cubicBezTo>
                <a:cubicBezTo>
                  <a:pt x="2291" y="720"/>
                  <a:pt x="2359" y="683"/>
                  <a:pt x="2430" y="653"/>
                </a:cubicBezTo>
                <a:cubicBezTo>
                  <a:pt x="2501" y="623"/>
                  <a:pt x="2529" y="614"/>
                  <a:pt x="2652" y="600"/>
                </a:cubicBezTo>
                <a:close/>
              </a:path>
            </a:pathLst>
          </a:custGeom>
          <a:solidFill>
            <a:schemeClr val="tx1">
              <a:lumMod val="20000"/>
              <a:lumOff val="80000"/>
            </a:schemeClr>
          </a:solidFill>
          <a:ln>
            <a:noFill/>
          </a:ln>
          <a:effectLst/>
        </p:spPr>
        <p:txBody>
          <a:bodyPr wrap="none" lIns="0" tIns="0" rIns="0" bIns="0" anchor="ctr"/>
          <a:lstStyle/>
          <a:p>
            <a:endParaRPr lang="en-US"/>
          </a:p>
        </p:txBody>
      </p:sp>
      <p:sp>
        <p:nvSpPr>
          <p:cNvPr id="163844" name="Freeform 4"/>
          <p:cNvSpPr>
            <a:spLocks/>
          </p:cNvSpPr>
          <p:nvPr/>
        </p:nvSpPr>
        <p:spPr bwMode="gray">
          <a:xfrm flipV="1">
            <a:off x="2005013" y="3562132"/>
            <a:ext cx="4024312" cy="1976437"/>
          </a:xfrm>
          <a:custGeom>
            <a:avLst/>
            <a:gdLst>
              <a:gd name="T0" fmla="*/ 2147483647 w 2652"/>
              <a:gd name="T1" fmla="*/ 2147483647 h 1208"/>
              <a:gd name="T2" fmla="*/ 2147483647 w 2652"/>
              <a:gd name="T3" fmla="*/ 0 h 1208"/>
              <a:gd name="T4" fmla="*/ 0 w 2652"/>
              <a:gd name="T5" fmla="*/ 0 h 1208"/>
              <a:gd name="T6" fmla="*/ 0 w 2652"/>
              <a:gd name="T7" fmla="*/ 2147483647 h 1208"/>
              <a:gd name="T8" fmla="*/ 2147483647 w 2652"/>
              <a:gd name="T9" fmla="*/ 2147483647 h 1208"/>
              <a:gd name="T10" fmla="*/ 2147483647 w 2652"/>
              <a:gd name="T11" fmla="*/ 2147483647 h 1208"/>
              <a:gd name="T12" fmla="*/ 2147483647 w 2652"/>
              <a:gd name="T13" fmla="*/ 2147483647 h 1208"/>
              <a:gd name="T14" fmla="*/ 2147483647 w 2652"/>
              <a:gd name="T15" fmla="*/ 2147483647 h 1208"/>
              <a:gd name="T16" fmla="*/ 2147483647 w 2652"/>
              <a:gd name="T17" fmla="*/ 2147483647 h 12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52" h="1208">
                <a:moveTo>
                  <a:pt x="2652" y="600"/>
                </a:moveTo>
                <a:cubicBezTo>
                  <a:pt x="2652" y="300"/>
                  <a:pt x="2652" y="0"/>
                  <a:pt x="2652" y="0"/>
                </a:cubicBezTo>
                <a:cubicBezTo>
                  <a:pt x="1326" y="0"/>
                  <a:pt x="0" y="0"/>
                  <a:pt x="0" y="0"/>
                </a:cubicBezTo>
                <a:cubicBezTo>
                  <a:pt x="0" y="604"/>
                  <a:pt x="0" y="1208"/>
                  <a:pt x="0" y="1208"/>
                </a:cubicBezTo>
                <a:cubicBezTo>
                  <a:pt x="1018" y="1208"/>
                  <a:pt x="2037" y="1205"/>
                  <a:pt x="2036" y="1208"/>
                </a:cubicBezTo>
                <a:cubicBezTo>
                  <a:pt x="2046" y="1115"/>
                  <a:pt x="2059" y="1057"/>
                  <a:pt x="2091" y="986"/>
                </a:cubicBezTo>
                <a:cubicBezTo>
                  <a:pt x="2123" y="915"/>
                  <a:pt x="2173" y="838"/>
                  <a:pt x="2232" y="779"/>
                </a:cubicBezTo>
                <a:cubicBezTo>
                  <a:pt x="2291" y="720"/>
                  <a:pt x="2359" y="683"/>
                  <a:pt x="2430" y="653"/>
                </a:cubicBezTo>
                <a:cubicBezTo>
                  <a:pt x="2501" y="623"/>
                  <a:pt x="2529" y="614"/>
                  <a:pt x="2652" y="600"/>
                </a:cubicBezTo>
                <a:close/>
              </a:path>
            </a:pathLst>
          </a:custGeom>
          <a:solidFill>
            <a:schemeClr val="tx1">
              <a:lumMod val="20000"/>
              <a:lumOff val="80000"/>
            </a:schemeClr>
          </a:solidFill>
          <a:ln>
            <a:noFill/>
          </a:ln>
          <a:effectLst/>
        </p:spPr>
        <p:txBody>
          <a:bodyPr wrap="none" lIns="0" tIns="0" rIns="0" bIns="0" anchor="ctr"/>
          <a:lstStyle/>
          <a:p>
            <a:endParaRPr lang="en-US"/>
          </a:p>
        </p:txBody>
      </p:sp>
      <p:sp>
        <p:nvSpPr>
          <p:cNvPr id="163845" name="Freeform 5"/>
          <p:cNvSpPr>
            <a:spLocks/>
          </p:cNvSpPr>
          <p:nvPr/>
        </p:nvSpPr>
        <p:spPr bwMode="gray">
          <a:xfrm flipH="1">
            <a:off x="6135688" y="1461868"/>
            <a:ext cx="4024312" cy="1976438"/>
          </a:xfrm>
          <a:custGeom>
            <a:avLst/>
            <a:gdLst>
              <a:gd name="T0" fmla="*/ 2147483647 w 2652"/>
              <a:gd name="T1" fmla="*/ 2147483647 h 1208"/>
              <a:gd name="T2" fmla="*/ 2147483647 w 2652"/>
              <a:gd name="T3" fmla="*/ 0 h 1208"/>
              <a:gd name="T4" fmla="*/ 0 w 2652"/>
              <a:gd name="T5" fmla="*/ 0 h 1208"/>
              <a:gd name="T6" fmla="*/ 0 w 2652"/>
              <a:gd name="T7" fmla="*/ 2147483647 h 1208"/>
              <a:gd name="T8" fmla="*/ 2147483647 w 2652"/>
              <a:gd name="T9" fmla="*/ 2147483647 h 1208"/>
              <a:gd name="T10" fmla="*/ 2147483647 w 2652"/>
              <a:gd name="T11" fmla="*/ 2147483647 h 1208"/>
              <a:gd name="T12" fmla="*/ 2147483647 w 2652"/>
              <a:gd name="T13" fmla="*/ 2147483647 h 1208"/>
              <a:gd name="T14" fmla="*/ 2147483647 w 2652"/>
              <a:gd name="T15" fmla="*/ 2147483647 h 1208"/>
              <a:gd name="T16" fmla="*/ 2147483647 w 2652"/>
              <a:gd name="T17" fmla="*/ 2147483647 h 12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52" h="1208">
                <a:moveTo>
                  <a:pt x="2652" y="600"/>
                </a:moveTo>
                <a:cubicBezTo>
                  <a:pt x="2652" y="300"/>
                  <a:pt x="2652" y="0"/>
                  <a:pt x="2652" y="0"/>
                </a:cubicBezTo>
                <a:cubicBezTo>
                  <a:pt x="1326" y="0"/>
                  <a:pt x="0" y="0"/>
                  <a:pt x="0" y="0"/>
                </a:cubicBezTo>
                <a:cubicBezTo>
                  <a:pt x="0" y="604"/>
                  <a:pt x="0" y="1208"/>
                  <a:pt x="0" y="1208"/>
                </a:cubicBezTo>
                <a:cubicBezTo>
                  <a:pt x="1018" y="1208"/>
                  <a:pt x="2037" y="1205"/>
                  <a:pt x="2036" y="1208"/>
                </a:cubicBezTo>
                <a:cubicBezTo>
                  <a:pt x="2046" y="1115"/>
                  <a:pt x="2059" y="1057"/>
                  <a:pt x="2091" y="986"/>
                </a:cubicBezTo>
                <a:cubicBezTo>
                  <a:pt x="2123" y="915"/>
                  <a:pt x="2173" y="838"/>
                  <a:pt x="2232" y="779"/>
                </a:cubicBezTo>
                <a:cubicBezTo>
                  <a:pt x="2291" y="720"/>
                  <a:pt x="2359" y="683"/>
                  <a:pt x="2430" y="653"/>
                </a:cubicBezTo>
                <a:cubicBezTo>
                  <a:pt x="2501" y="623"/>
                  <a:pt x="2529" y="614"/>
                  <a:pt x="2652" y="600"/>
                </a:cubicBezTo>
                <a:close/>
              </a:path>
            </a:pathLst>
          </a:custGeom>
          <a:solidFill>
            <a:schemeClr val="tx1">
              <a:lumMod val="20000"/>
              <a:lumOff val="80000"/>
            </a:schemeClr>
          </a:solidFill>
          <a:ln>
            <a:noFill/>
          </a:ln>
          <a:effectLst/>
        </p:spPr>
        <p:txBody>
          <a:bodyPr wrap="none" lIns="0" tIns="0" rIns="0" bIns="0" anchor="ctr"/>
          <a:lstStyle/>
          <a:p>
            <a:endParaRPr lang="en-US"/>
          </a:p>
        </p:txBody>
      </p:sp>
      <p:sp>
        <p:nvSpPr>
          <p:cNvPr id="163846" name="Freeform 6"/>
          <p:cNvSpPr>
            <a:spLocks/>
          </p:cNvSpPr>
          <p:nvPr/>
        </p:nvSpPr>
        <p:spPr bwMode="gray">
          <a:xfrm flipH="1" flipV="1">
            <a:off x="6135688" y="3562132"/>
            <a:ext cx="4024312" cy="1976437"/>
          </a:xfrm>
          <a:custGeom>
            <a:avLst/>
            <a:gdLst>
              <a:gd name="T0" fmla="*/ 2147483647 w 2652"/>
              <a:gd name="T1" fmla="*/ 2147483647 h 1208"/>
              <a:gd name="T2" fmla="*/ 2147483647 w 2652"/>
              <a:gd name="T3" fmla="*/ 0 h 1208"/>
              <a:gd name="T4" fmla="*/ 0 w 2652"/>
              <a:gd name="T5" fmla="*/ 0 h 1208"/>
              <a:gd name="T6" fmla="*/ 0 w 2652"/>
              <a:gd name="T7" fmla="*/ 2147483647 h 1208"/>
              <a:gd name="T8" fmla="*/ 2147483647 w 2652"/>
              <a:gd name="T9" fmla="*/ 2147483647 h 1208"/>
              <a:gd name="T10" fmla="*/ 2147483647 w 2652"/>
              <a:gd name="T11" fmla="*/ 2147483647 h 1208"/>
              <a:gd name="T12" fmla="*/ 2147483647 w 2652"/>
              <a:gd name="T13" fmla="*/ 2147483647 h 1208"/>
              <a:gd name="T14" fmla="*/ 2147483647 w 2652"/>
              <a:gd name="T15" fmla="*/ 2147483647 h 1208"/>
              <a:gd name="T16" fmla="*/ 2147483647 w 2652"/>
              <a:gd name="T17" fmla="*/ 2147483647 h 12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52" h="1208">
                <a:moveTo>
                  <a:pt x="2652" y="600"/>
                </a:moveTo>
                <a:cubicBezTo>
                  <a:pt x="2652" y="300"/>
                  <a:pt x="2652" y="0"/>
                  <a:pt x="2652" y="0"/>
                </a:cubicBezTo>
                <a:cubicBezTo>
                  <a:pt x="1326" y="0"/>
                  <a:pt x="0" y="0"/>
                  <a:pt x="0" y="0"/>
                </a:cubicBezTo>
                <a:cubicBezTo>
                  <a:pt x="0" y="604"/>
                  <a:pt x="0" y="1208"/>
                  <a:pt x="0" y="1208"/>
                </a:cubicBezTo>
                <a:cubicBezTo>
                  <a:pt x="1018" y="1208"/>
                  <a:pt x="2037" y="1205"/>
                  <a:pt x="2036" y="1208"/>
                </a:cubicBezTo>
                <a:cubicBezTo>
                  <a:pt x="2046" y="1115"/>
                  <a:pt x="2059" y="1057"/>
                  <a:pt x="2091" y="986"/>
                </a:cubicBezTo>
                <a:cubicBezTo>
                  <a:pt x="2123" y="915"/>
                  <a:pt x="2173" y="838"/>
                  <a:pt x="2232" y="779"/>
                </a:cubicBezTo>
                <a:cubicBezTo>
                  <a:pt x="2291" y="720"/>
                  <a:pt x="2359" y="683"/>
                  <a:pt x="2430" y="653"/>
                </a:cubicBezTo>
                <a:cubicBezTo>
                  <a:pt x="2501" y="623"/>
                  <a:pt x="2529" y="614"/>
                  <a:pt x="2652" y="600"/>
                </a:cubicBezTo>
                <a:close/>
              </a:path>
            </a:pathLst>
          </a:custGeom>
          <a:solidFill>
            <a:schemeClr val="tx1">
              <a:lumMod val="20000"/>
              <a:lumOff val="80000"/>
            </a:schemeClr>
          </a:solidFill>
          <a:ln>
            <a:noFill/>
          </a:ln>
          <a:effectLst/>
        </p:spPr>
        <p:txBody>
          <a:bodyPr wrap="none" lIns="0" tIns="0" rIns="0" bIns="0" anchor="ctr"/>
          <a:lstStyle/>
          <a:p>
            <a:endParaRPr lang="en-US"/>
          </a:p>
        </p:txBody>
      </p:sp>
      <p:sp>
        <p:nvSpPr>
          <p:cNvPr id="163847" name="Oval 7"/>
          <p:cNvSpPr>
            <a:spLocks noChangeArrowheads="1"/>
          </p:cNvSpPr>
          <p:nvPr/>
        </p:nvSpPr>
        <p:spPr bwMode="gray">
          <a:xfrm>
            <a:off x="5192713" y="2549306"/>
            <a:ext cx="1757362" cy="1903412"/>
          </a:xfrm>
          <a:prstGeom prst="ellipse">
            <a:avLst/>
          </a:prstGeom>
          <a:solidFill>
            <a:schemeClr val="bg2"/>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chemeClr val="accent5"/>
                </a:solidFill>
              </a:rPr>
              <a:t>Text</a:t>
            </a:r>
          </a:p>
        </p:txBody>
      </p:sp>
      <p:sp>
        <p:nvSpPr>
          <p:cNvPr id="163849" name="Rectangle 9"/>
          <p:cNvSpPr>
            <a:spLocks noChangeArrowheads="1"/>
          </p:cNvSpPr>
          <p:nvPr/>
        </p:nvSpPr>
        <p:spPr bwMode="gray">
          <a:xfrm>
            <a:off x="2047876" y="1530132"/>
            <a:ext cx="2974975" cy="190817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endParaRPr lang="en-GB" altLang="en-US" sz="1400">
              <a:latin typeface="Arial" panose="020B0604020202020204" pitchFamily="34" charset="0"/>
              <a:ea typeface="Roboto" charset="0"/>
              <a:cs typeface="Arial" panose="020B0604020202020204" pitchFamily="34" charset="0"/>
            </a:endParaRPr>
          </a:p>
          <a:p>
            <a:pPr marL="341313" lvl="1" indent="-171450">
              <a:lnSpc>
                <a:spcPct val="90000"/>
              </a:lnSpc>
              <a:spcBef>
                <a:spcPts val="500"/>
              </a:spcBef>
              <a:buClr>
                <a:schemeClr val="bg2"/>
              </a:buClr>
              <a:buSzPct val="90000"/>
              <a:buFont typeface="Arial" panose="020B0604020202020204" pitchFamily="34" charset="0"/>
              <a:buChar char="•"/>
            </a:pPr>
            <a:endParaRPr lang="en-GB" altLang="en-US" sz="1400"/>
          </a:p>
        </p:txBody>
      </p:sp>
      <p:sp>
        <p:nvSpPr>
          <p:cNvPr id="163850" name="Rectangle 10"/>
          <p:cNvSpPr>
            <a:spLocks noChangeArrowheads="1"/>
          </p:cNvSpPr>
          <p:nvPr/>
        </p:nvSpPr>
        <p:spPr bwMode="gray">
          <a:xfrm>
            <a:off x="7097714" y="1530132"/>
            <a:ext cx="2974975" cy="190817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endParaRPr lang="en-GB" altLang="en-US" sz="1400"/>
          </a:p>
        </p:txBody>
      </p:sp>
      <p:sp>
        <p:nvSpPr>
          <p:cNvPr id="163851" name="Rectangle 11"/>
          <p:cNvSpPr>
            <a:spLocks noChangeArrowheads="1"/>
          </p:cNvSpPr>
          <p:nvPr/>
        </p:nvSpPr>
        <p:spPr bwMode="gray">
          <a:xfrm>
            <a:off x="2047876" y="3647857"/>
            <a:ext cx="2974975" cy="1912937"/>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endParaRPr lang="en-GB" altLang="en-US" sz="1400"/>
          </a:p>
        </p:txBody>
      </p:sp>
      <p:sp>
        <p:nvSpPr>
          <p:cNvPr id="163852" name="Rectangle 12"/>
          <p:cNvSpPr>
            <a:spLocks noChangeArrowheads="1"/>
          </p:cNvSpPr>
          <p:nvPr/>
        </p:nvSpPr>
        <p:spPr bwMode="gray">
          <a:xfrm>
            <a:off x="7097714" y="3647857"/>
            <a:ext cx="2974975" cy="1912937"/>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400" err="1"/>
              <a:t>Duis</a:t>
            </a:r>
            <a:r>
              <a:rPr lang="en-US" sz="1400"/>
              <a:t> </a:t>
            </a:r>
            <a:r>
              <a:rPr lang="en-US" sz="1400" err="1"/>
              <a:t>aute</a:t>
            </a:r>
            <a:endParaRPr lang="en-GB" altLang="en-US" sz="1400"/>
          </a:p>
        </p:txBody>
      </p:sp>
      <p:sp>
        <p:nvSpPr>
          <p:cNvPr id="4" name="Text Placeholder 3"/>
          <p:cNvSpPr>
            <a:spLocks noGrp="1"/>
          </p:cNvSpPr>
          <p:nvPr>
            <p:ph type="body" sz="quarter" idx="11"/>
          </p:nvPr>
        </p:nvSpPr>
        <p:spPr/>
        <p:txBody>
          <a:bodyPr/>
          <a:lstStyle/>
          <a:p>
            <a:endParaRPr lang="en-US"/>
          </a:p>
        </p:txBody>
      </p:sp>
      <p:sp>
        <p:nvSpPr>
          <p:cNvPr id="163853" name="Rectangle 13"/>
          <p:cNvSpPr>
            <a:spLocks noGrp="1" noChangeArrowheads="1"/>
          </p:cNvSpPr>
          <p:nvPr>
            <p:ph type="title"/>
          </p:nvPr>
        </p:nvSpPr>
        <p:spPr/>
        <p:txBody>
          <a:bodyPr/>
          <a:lstStyle/>
          <a:p>
            <a:r>
              <a:rPr lang="en-GB" altLang="en-US"/>
              <a:t>Factors</a:t>
            </a:r>
          </a:p>
        </p:txBody>
      </p:sp>
    </p:spTree>
    <p:extLst>
      <p:ext uri="{BB962C8B-B14F-4D97-AF65-F5344CB8AC3E}">
        <p14:creationId xmlns:p14="http://schemas.microsoft.com/office/powerpoint/2010/main" val="40434329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36562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a:lstStyle/>
          <a:p>
            <a:endParaRPr lang="en-US"/>
          </a:p>
        </p:txBody>
      </p:sp>
      <p:sp>
        <p:nvSpPr>
          <p:cNvPr id="6" name="Subtitle 5"/>
          <p:cNvSpPr>
            <a:spLocks noGrp="1"/>
          </p:cNvSpPr>
          <p:nvPr>
            <p:ph type="subTitle" idx="1"/>
          </p:nvPr>
        </p:nvSpPr>
        <p:spPr/>
        <p:txBody>
          <a:bodyPr/>
          <a:lstStyle/>
          <a:p>
            <a:endParaRPr lang="en-US"/>
          </a:p>
        </p:txBody>
      </p:sp>
    </p:spTree>
    <p:extLst>
      <p:ext uri="{BB962C8B-B14F-4D97-AF65-F5344CB8AC3E}">
        <p14:creationId xmlns:p14="http://schemas.microsoft.com/office/powerpoint/2010/main" val="53394595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5890" name="Rectangle 2" hidden="1"/>
          <p:cNvGraphicFramePr>
            <a:graphicFrameLocks/>
          </p:cNvGraphicFramePr>
          <p:nvPr>
            <p:custDataLst>
              <p:tags r:id="rId1"/>
            </p:custDataLst>
            <p:extLst>
              <p:ext uri="{D42A27DB-BD31-4B8C-83A1-F6EECF244321}">
                <p14:modId xmlns:p14="http://schemas.microsoft.com/office/powerpoint/2010/main" val="2403208150"/>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6589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 name="Text Placeholder 3"/>
          <p:cNvSpPr>
            <a:spLocks noGrp="1"/>
          </p:cNvSpPr>
          <p:nvPr>
            <p:ph type="body" sz="quarter" idx="11"/>
          </p:nvPr>
        </p:nvSpPr>
        <p:spPr/>
        <p:txBody>
          <a:bodyPr/>
          <a:lstStyle/>
          <a:p>
            <a:endParaRPr lang="en-US"/>
          </a:p>
        </p:txBody>
      </p:sp>
      <p:sp>
        <p:nvSpPr>
          <p:cNvPr id="165892" name="Rectangle 4"/>
          <p:cNvSpPr>
            <a:spLocks noGrp="1" noChangeArrowheads="1"/>
          </p:cNvSpPr>
          <p:nvPr>
            <p:ph type="title"/>
          </p:nvPr>
        </p:nvSpPr>
        <p:spPr/>
        <p:txBody>
          <a:bodyPr/>
          <a:lstStyle/>
          <a:p>
            <a:r>
              <a:rPr lang="en-GB" altLang="en-US"/>
              <a:t>Factors</a:t>
            </a:r>
          </a:p>
        </p:txBody>
      </p:sp>
      <p:sp>
        <p:nvSpPr>
          <p:cNvPr id="165893" name="AutoShape 5"/>
          <p:cNvSpPr>
            <a:spLocks noChangeArrowheads="1"/>
          </p:cNvSpPr>
          <p:nvPr/>
        </p:nvSpPr>
        <p:spPr bwMode="gray">
          <a:xfrm>
            <a:off x="5021263" y="2348639"/>
            <a:ext cx="2132012" cy="1997075"/>
          </a:xfrm>
          <a:prstGeom prst="hexagon">
            <a:avLst>
              <a:gd name="adj" fmla="val 26689"/>
              <a:gd name="vf" fmla="val 115470"/>
            </a:avLst>
          </a:prstGeom>
          <a:solidFill>
            <a:schemeClr val="bg2"/>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1600" b="1">
                <a:solidFill>
                  <a:schemeClr val="accent5"/>
                </a:solidFill>
              </a:rPr>
              <a:t>Text</a:t>
            </a:r>
          </a:p>
        </p:txBody>
      </p:sp>
      <p:sp>
        <p:nvSpPr>
          <p:cNvPr id="165894" name="Freeform 6"/>
          <p:cNvSpPr>
            <a:spLocks/>
          </p:cNvSpPr>
          <p:nvPr/>
        </p:nvSpPr>
        <p:spPr bwMode="gray">
          <a:xfrm>
            <a:off x="2174875" y="1413600"/>
            <a:ext cx="3244850" cy="1030288"/>
          </a:xfrm>
          <a:custGeom>
            <a:avLst/>
            <a:gdLst>
              <a:gd name="T0" fmla="*/ 0 w 1814"/>
              <a:gd name="T1" fmla="*/ 2147483647 h 466"/>
              <a:gd name="T2" fmla="*/ 2147483647 w 1814"/>
              <a:gd name="T3" fmla="*/ 2147483647 h 466"/>
              <a:gd name="T4" fmla="*/ 2147483647 w 1814"/>
              <a:gd name="T5" fmla="*/ 2147483647 h 466"/>
              <a:gd name="T6" fmla="*/ 2147483647 w 1814"/>
              <a:gd name="T7" fmla="*/ 2147483647 h 466"/>
              <a:gd name="T8" fmla="*/ 2147483647 w 1814"/>
              <a:gd name="T9" fmla="*/ 2147483647 h 466"/>
              <a:gd name="T10" fmla="*/ 2147483647 w 1814"/>
              <a:gd name="T11" fmla="*/ 2147483647 h 466"/>
              <a:gd name="T12" fmla="*/ 2147483647 w 1814"/>
              <a:gd name="T13" fmla="*/ 2147483647 h 466"/>
              <a:gd name="T14" fmla="*/ 2147483647 w 1814"/>
              <a:gd name="T15" fmla="*/ 2147483647 h 466"/>
              <a:gd name="T16" fmla="*/ 0 w 1814"/>
              <a:gd name="T17" fmla="*/ 0 h 466"/>
              <a:gd name="T18" fmla="*/ 0 w 1814"/>
              <a:gd name="T19" fmla="*/ 2147483647 h 4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14" h="466">
                <a:moveTo>
                  <a:pt x="0" y="306"/>
                </a:moveTo>
                <a:lnTo>
                  <a:pt x="1366" y="306"/>
                </a:lnTo>
                <a:lnTo>
                  <a:pt x="1574" y="410"/>
                </a:lnTo>
                <a:lnTo>
                  <a:pt x="1534" y="466"/>
                </a:lnTo>
                <a:lnTo>
                  <a:pt x="1814" y="378"/>
                </a:lnTo>
                <a:lnTo>
                  <a:pt x="1750" y="82"/>
                </a:lnTo>
                <a:lnTo>
                  <a:pt x="1726" y="146"/>
                </a:lnTo>
                <a:lnTo>
                  <a:pt x="1438" y="2"/>
                </a:lnTo>
                <a:lnTo>
                  <a:pt x="0" y="0"/>
                </a:lnTo>
                <a:lnTo>
                  <a:pt x="0" y="306"/>
                </a:lnTo>
                <a:close/>
              </a:path>
            </a:pathLst>
          </a:custGeom>
          <a:solidFill>
            <a:schemeClr val="tx1">
              <a:lumMod val="20000"/>
              <a:lumOff val="80000"/>
            </a:schemeClr>
          </a:solidFill>
          <a:ln>
            <a:noFill/>
          </a:ln>
          <a:effectLst/>
        </p:spPr>
        <p:txBody>
          <a:bodyPr lIns="0" tIns="0" rIns="0" bIns="0" anchor="ctr"/>
          <a:lstStyle/>
          <a:p>
            <a:endParaRPr lang="en-US" sz="1400"/>
          </a:p>
        </p:txBody>
      </p:sp>
      <p:sp>
        <p:nvSpPr>
          <p:cNvPr id="165895" name="Freeform 7"/>
          <p:cNvSpPr>
            <a:spLocks/>
          </p:cNvSpPr>
          <p:nvPr/>
        </p:nvSpPr>
        <p:spPr bwMode="gray">
          <a:xfrm flipH="1">
            <a:off x="6765925" y="1413600"/>
            <a:ext cx="3244850" cy="1030288"/>
          </a:xfrm>
          <a:custGeom>
            <a:avLst/>
            <a:gdLst>
              <a:gd name="T0" fmla="*/ 0 w 1814"/>
              <a:gd name="T1" fmla="*/ 2147483647 h 466"/>
              <a:gd name="T2" fmla="*/ 2147483647 w 1814"/>
              <a:gd name="T3" fmla="*/ 2147483647 h 466"/>
              <a:gd name="T4" fmla="*/ 2147483647 w 1814"/>
              <a:gd name="T5" fmla="*/ 2147483647 h 466"/>
              <a:gd name="T6" fmla="*/ 2147483647 w 1814"/>
              <a:gd name="T7" fmla="*/ 2147483647 h 466"/>
              <a:gd name="T8" fmla="*/ 2147483647 w 1814"/>
              <a:gd name="T9" fmla="*/ 2147483647 h 466"/>
              <a:gd name="T10" fmla="*/ 2147483647 w 1814"/>
              <a:gd name="T11" fmla="*/ 2147483647 h 466"/>
              <a:gd name="T12" fmla="*/ 2147483647 w 1814"/>
              <a:gd name="T13" fmla="*/ 2147483647 h 466"/>
              <a:gd name="T14" fmla="*/ 2147483647 w 1814"/>
              <a:gd name="T15" fmla="*/ 2147483647 h 466"/>
              <a:gd name="T16" fmla="*/ 0 w 1814"/>
              <a:gd name="T17" fmla="*/ 0 h 466"/>
              <a:gd name="T18" fmla="*/ 0 w 1814"/>
              <a:gd name="T19" fmla="*/ 2147483647 h 4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14" h="466">
                <a:moveTo>
                  <a:pt x="0" y="306"/>
                </a:moveTo>
                <a:lnTo>
                  <a:pt x="1366" y="306"/>
                </a:lnTo>
                <a:lnTo>
                  <a:pt x="1574" y="410"/>
                </a:lnTo>
                <a:lnTo>
                  <a:pt x="1534" y="466"/>
                </a:lnTo>
                <a:lnTo>
                  <a:pt x="1814" y="378"/>
                </a:lnTo>
                <a:lnTo>
                  <a:pt x="1750" y="82"/>
                </a:lnTo>
                <a:lnTo>
                  <a:pt x="1726" y="146"/>
                </a:lnTo>
                <a:lnTo>
                  <a:pt x="1438" y="2"/>
                </a:lnTo>
                <a:lnTo>
                  <a:pt x="0" y="0"/>
                </a:lnTo>
                <a:lnTo>
                  <a:pt x="0" y="306"/>
                </a:lnTo>
                <a:close/>
              </a:path>
            </a:pathLst>
          </a:custGeom>
          <a:solidFill>
            <a:schemeClr val="tx1">
              <a:lumMod val="20000"/>
              <a:lumOff val="80000"/>
            </a:schemeClr>
          </a:solidFill>
          <a:ln>
            <a:noFill/>
          </a:ln>
          <a:effectLst/>
        </p:spPr>
        <p:txBody>
          <a:bodyPr lIns="0" tIns="0" rIns="0" bIns="0" anchor="ctr"/>
          <a:lstStyle/>
          <a:p>
            <a:endParaRPr lang="en-US" sz="1400"/>
          </a:p>
        </p:txBody>
      </p:sp>
      <p:sp>
        <p:nvSpPr>
          <p:cNvPr id="165896" name="Freeform 8"/>
          <p:cNvSpPr>
            <a:spLocks/>
          </p:cNvSpPr>
          <p:nvPr/>
        </p:nvSpPr>
        <p:spPr bwMode="gray">
          <a:xfrm flipV="1">
            <a:off x="2174875" y="4294914"/>
            <a:ext cx="3244850" cy="1030287"/>
          </a:xfrm>
          <a:custGeom>
            <a:avLst/>
            <a:gdLst>
              <a:gd name="T0" fmla="*/ 0 w 1814"/>
              <a:gd name="T1" fmla="*/ 2147483647 h 466"/>
              <a:gd name="T2" fmla="*/ 2147483647 w 1814"/>
              <a:gd name="T3" fmla="*/ 2147483647 h 466"/>
              <a:gd name="T4" fmla="*/ 2147483647 w 1814"/>
              <a:gd name="T5" fmla="*/ 2147483647 h 466"/>
              <a:gd name="T6" fmla="*/ 2147483647 w 1814"/>
              <a:gd name="T7" fmla="*/ 2147483647 h 466"/>
              <a:gd name="T8" fmla="*/ 2147483647 w 1814"/>
              <a:gd name="T9" fmla="*/ 2147483647 h 466"/>
              <a:gd name="T10" fmla="*/ 2147483647 w 1814"/>
              <a:gd name="T11" fmla="*/ 2147483647 h 466"/>
              <a:gd name="T12" fmla="*/ 2147483647 w 1814"/>
              <a:gd name="T13" fmla="*/ 2147483647 h 466"/>
              <a:gd name="T14" fmla="*/ 2147483647 w 1814"/>
              <a:gd name="T15" fmla="*/ 2147483647 h 466"/>
              <a:gd name="T16" fmla="*/ 0 w 1814"/>
              <a:gd name="T17" fmla="*/ 0 h 466"/>
              <a:gd name="T18" fmla="*/ 0 w 1814"/>
              <a:gd name="T19" fmla="*/ 2147483647 h 4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14" h="466">
                <a:moveTo>
                  <a:pt x="0" y="306"/>
                </a:moveTo>
                <a:lnTo>
                  <a:pt x="1366" y="306"/>
                </a:lnTo>
                <a:lnTo>
                  <a:pt x="1574" y="410"/>
                </a:lnTo>
                <a:lnTo>
                  <a:pt x="1534" y="466"/>
                </a:lnTo>
                <a:lnTo>
                  <a:pt x="1814" y="378"/>
                </a:lnTo>
                <a:lnTo>
                  <a:pt x="1750" y="82"/>
                </a:lnTo>
                <a:lnTo>
                  <a:pt x="1726" y="146"/>
                </a:lnTo>
                <a:lnTo>
                  <a:pt x="1438" y="2"/>
                </a:lnTo>
                <a:lnTo>
                  <a:pt x="0" y="0"/>
                </a:lnTo>
                <a:lnTo>
                  <a:pt x="0" y="306"/>
                </a:lnTo>
                <a:close/>
              </a:path>
            </a:pathLst>
          </a:custGeom>
          <a:solidFill>
            <a:schemeClr val="tx1">
              <a:lumMod val="20000"/>
              <a:lumOff val="80000"/>
            </a:schemeClr>
          </a:solidFill>
          <a:ln>
            <a:noFill/>
          </a:ln>
          <a:effectLst/>
        </p:spPr>
        <p:txBody>
          <a:bodyPr lIns="0" tIns="0" rIns="0" bIns="0" anchor="ctr"/>
          <a:lstStyle/>
          <a:p>
            <a:endParaRPr lang="en-US" sz="1400"/>
          </a:p>
        </p:txBody>
      </p:sp>
      <p:sp>
        <p:nvSpPr>
          <p:cNvPr id="165897" name="Freeform 9"/>
          <p:cNvSpPr>
            <a:spLocks/>
          </p:cNvSpPr>
          <p:nvPr/>
        </p:nvSpPr>
        <p:spPr bwMode="gray">
          <a:xfrm flipH="1" flipV="1">
            <a:off x="6765925" y="4294914"/>
            <a:ext cx="3244850" cy="1030287"/>
          </a:xfrm>
          <a:custGeom>
            <a:avLst/>
            <a:gdLst>
              <a:gd name="T0" fmla="*/ 0 w 1814"/>
              <a:gd name="T1" fmla="*/ 2147483647 h 466"/>
              <a:gd name="T2" fmla="*/ 2147483647 w 1814"/>
              <a:gd name="T3" fmla="*/ 2147483647 h 466"/>
              <a:gd name="T4" fmla="*/ 2147483647 w 1814"/>
              <a:gd name="T5" fmla="*/ 2147483647 h 466"/>
              <a:gd name="T6" fmla="*/ 2147483647 w 1814"/>
              <a:gd name="T7" fmla="*/ 2147483647 h 466"/>
              <a:gd name="T8" fmla="*/ 2147483647 w 1814"/>
              <a:gd name="T9" fmla="*/ 2147483647 h 466"/>
              <a:gd name="T10" fmla="*/ 2147483647 w 1814"/>
              <a:gd name="T11" fmla="*/ 2147483647 h 466"/>
              <a:gd name="T12" fmla="*/ 2147483647 w 1814"/>
              <a:gd name="T13" fmla="*/ 2147483647 h 466"/>
              <a:gd name="T14" fmla="*/ 2147483647 w 1814"/>
              <a:gd name="T15" fmla="*/ 2147483647 h 466"/>
              <a:gd name="T16" fmla="*/ 0 w 1814"/>
              <a:gd name="T17" fmla="*/ 0 h 466"/>
              <a:gd name="T18" fmla="*/ 0 w 1814"/>
              <a:gd name="T19" fmla="*/ 2147483647 h 4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14" h="466">
                <a:moveTo>
                  <a:pt x="0" y="306"/>
                </a:moveTo>
                <a:lnTo>
                  <a:pt x="1366" y="306"/>
                </a:lnTo>
                <a:lnTo>
                  <a:pt x="1574" y="410"/>
                </a:lnTo>
                <a:lnTo>
                  <a:pt x="1534" y="466"/>
                </a:lnTo>
                <a:lnTo>
                  <a:pt x="1814" y="378"/>
                </a:lnTo>
                <a:lnTo>
                  <a:pt x="1750" y="82"/>
                </a:lnTo>
                <a:lnTo>
                  <a:pt x="1726" y="146"/>
                </a:lnTo>
                <a:lnTo>
                  <a:pt x="1438" y="2"/>
                </a:lnTo>
                <a:lnTo>
                  <a:pt x="0" y="0"/>
                </a:lnTo>
                <a:lnTo>
                  <a:pt x="0" y="306"/>
                </a:lnTo>
                <a:close/>
              </a:path>
            </a:pathLst>
          </a:custGeom>
          <a:solidFill>
            <a:schemeClr val="tx1">
              <a:lumMod val="20000"/>
              <a:lumOff val="80000"/>
            </a:schemeClr>
          </a:solidFill>
          <a:ln>
            <a:noFill/>
          </a:ln>
          <a:effectLst/>
        </p:spPr>
        <p:txBody>
          <a:bodyPr lIns="0" tIns="0" rIns="0" bIns="0" anchor="ctr"/>
          <a:lstStyle/>
          <a:p>
            <a:endParaRPr lang="en-US" sz="1400"/>
          </a:p>
        </p:txBody>
      </p:sp>
      <p:sp>
        <p:nvSpPr>
          <p:cNvPr id="165898" name="Rectangle 10"/>
          <p:cNvSpPr>
            <a:spLocks noChangeArrowheads="1"/>
          </p:cNvSpPr>
          <p:nvPr/>
        </p:nvSpPr>
        <p:spPr bwMode="gray">
          <a:xfrm>
            <a:off x="2270125" y="1661251"/>
            <a:ext cx="2605088" cy="21272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a:t>
            </a:r>
            <a:r>
              <a:rPr lang="en-US" sz="1400" err="1">
                <a:latin typeface="Arial" panose="020B0604020202020204" pitchFamily="34" charset="0"/>
                <a:ea typeface="Roboto" charset="0"/>
                <a:cs typeface="Arial" panose="020B0604020202020204" pitchFamily="34" charset="0"/>
              </a:rPr>
              <a:t>ipsu</a:t>
            </a:r>
            <a:endParaRPr lang="en-US" sz="1400">
              <a:latin typeface="Arial" panose="020B0604020202020204" pitchFamily="34" charset="0"/>
              <a:ea typeface="Roboto" charset="0"/>
              <a:cs typeface="Arial" panose="020B0604020202020204" pitchFamily="34" charset="0"/>
            </a:endParaRPr>
          </a:p>
        </p:txBody>
      </p:sp>
      <p:sp>
        <p:nvSpPr>
          <p:cNvPr id="165899" name="Rectangle 11"/>
          <p:cNvSpPr>
            <a:spLocks noChangeArrowheads="1"/>
          </p:cNvSpPr>
          <p:nvPr/>
        </p:nvSpPr>
        <p:spPr bwMode="gray">
          <a:xfrm>
            <a:off x="7402513" y="1661251"/>
            <a:ext cx="2608262" cy="21272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a:t>
            </a:r>
            <a:r>
              <a:rPr lang="en-US" sz="1400" err="1">
                <a:latin typeface="Arial" panose="020B0604020202020204" pitchFamily="34" charset="0"/>
                <a:ea typeface="Roboto" charset="0"/>
                <a:cs typeface="Arial" panose="020B0604020202020204" pitchFamily="34" charset="0"/>
              </a:rPr>
              <a:t>ipsu</a:t>
            </a:r>
            <a:endParaRPr lang="en-US" altLang="en-US" sz="1400">
              <a:latin typeface="Arial" panose="020B0604020202020204" pitchFamily="34" charset="0"/>
              <a:ea typeface="Roboto" charset="0"/>
              <a:cs typeface="Arial" panose="020B0604020202020204" pitchFamily="34" charset="0"/>
            </a:endParaRPr>
          </a:p>
        </p:txBody>
      </p:sp>
      <p:sp>
        <p:nvSpPr>
          <p:cNvPr id="165900" name="Rectangle 12"/>
          <p:cNvSpPr>
            <a:spLocks noChangeArrowheads="1"/>
          </p:cNvSpPr>
          <p:nvPr/>
        </p:nvSpPr>
        <p:spPr bwMode="gray">
          <a:xfrm>
            <a:off x="2270125" y="4891814"/>
            <a:ext cx="2605088" cy="21272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a:t>
            </a:r>
            <a:r>
              <a:rPr lang="en-US" sz="1400" err="1">
                <a:latin typeface="Arial" panose="020B0604020202020204" pitchFamily="34" charset="0"/>
                <a:ea typeface="Roboto" charset="0"/>
                <a:cs typeface="Arial" panose="020B0604020202020204" pitchFamily="34" charset="0"/>
              </a:rPr>
              <a:t>ipsu</a:t>
            </a:r>
            <a:endParaRPr lang="en-US" altLang="en-US" sz="1400">
              <a:latin typeface="Arial" panose="020B0604020202020204" pitchFamily="34" charset="0"/>
              <a:ea typeface="Roboto" charset="0"/>
              <a:cs typeface="Arial" panose="020B0604020202020204" pitchFamily="34" charset="0"/>
            </a:endParaRPr>
          </a:p>
        </p:txBody>
      </p:sp>
      <p:sp>
        <p:nvSpPr>
          <p:cNvPr id="165901" name="Rectangle 13"/>
          <p:cNvSpPr>
            <a:spLocks noChangeArrowheads="1"/>
          </p:cNvSpPr>
          <p:nvPr/>
        </p:nvSpPr>
        <p:spPr bwMode="gray">
          <a:xfrm>
            <a:off x="7402513" y="4891814"/>
            <a:ext cx="2608262" cy="21272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a:t>
            </a:r>
            <a:r>
              <a:rPr lang="en-US" sz="1400" err="1">
                <a:latin typeface="Arial" panose="020B0604020202020204" pitchFamily="34" charset="0"/>
                <a:ea typeface="Roboto" charset="0"/>
                <a:cs typeface="Arial" panose="020B0604020202020204" pitchFamily="34" charset="0"/>
              </a:rPr>
              <a:t>ipsu</a:t>
            </a:r>
            <a:endParaRPr lang="en-US" altLang="en-US" sz="1400">
              <a:latin typeface="Arial" panose="020B0604020202020204" pitchFamily="34" charset="0"/>
              <a:ea typeface="Roboto" charset="0"/>
              <a:cs typeface="Arial" panose="020B0604020202020204" pitchFamily="34" charset="0"/>
            </a:endParaRPr>
          </a:p>
        </p:txBody>
      </p:sp>
      <p:sp>
        <p:nvSpPr>
          <p:cNvPr id="165902" name="AutoShape 14"/>
          <p:cNvSpPr>
            <a:spLocks noChangeArrowheads="1"/>
          </p:cNvSpPr>
          <p:nvPr/>
        </p:nvSpPr>
        <p:spPr bwMode="auto">
          <a:xfrm>
            <a:off x="2173289" y="2867751"/>
            <a:ext cx="2701925" cy="957263"/>
          </a:xfrm>
          <a:prstGeom prst="rightArrow">
            <a:avLst>
              <a:gd name="adj1" fmla="val 71759"/>
              <a:gd name="adj2" fmla="val 36027"/>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400"/>
          </a:p>
        </p:txBody>
      </p:sp>
      <p:sp>
        <p:nvSpPr>
          <p:cNvPr id="165903" name="AutoShape 15"/>
          <p:cNvSpPr>
            <a:spLocks noChangeArrowheads="1"/>
          </p:cNvSpPr>
          <p:nvPr/>
        </p:nvSpPr>
        <p:spPr bwMode="auto">
          <a:xfrm flipH="1">
            <a:off x="7307263" y="2867751"/>
            <a:ext cx="2703512" cy="957263"/>
          </a:xfrm>
          <a:prstGeom prst="rightArrow">
            <a:avLst>
              <a:gd name="adj1" fmla="val 71759"/>
              <a:gd name="adj2" fmla="val 36048"/>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400"/>
          </a:p>
        </p:txBody>
      </p:sp>
      <p:sp>
        <p:nvSpPr>
          <p:cNvPr id="165904" name="Rectangle 16"/>
          <p:cNvSpPr>
            <a:spLocks noChangeArrowheads="1"/>
          </p:cNvSpPr>
          <p:nvPr/>
        </p:nvSpPr>
        <p:spPr bwMode="gray">
          <a:xfrm>
            <a:off x="2270125" y="3242401"/>
            <a:ext cx="2605088" cy="21272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a:t>
            </a:r>
            <a:r>
              <a:rPr lang="en-US" sz="1400" err="1">
                <a:latin typeface="Arial" panose="020B0604020202020204" pitchFamily="34" charset="0"/>
                <a:ea typeface="Roboto" charset="0"/>
                <a:cs typeface="Arial" panose="020B0604020202020204" pitchFamily="34" charset="0"/>
              </a:rPr>
              <a:t>ipsu</a:t>
            </a:r>
            <a:endParaRPr lang="en-US" altLang="en-US" sz="1400">
              <a:latin typeface="Arial" panose="020B0604020202020204" pitchFamily="34" charset="0"/>
              <a:ea typeface="Roboto" charset="0"/>
              <a:cs typeface="Arial" panose="020B0604020202020204" pitchFamily="34" charset="0"/>
            </a:endParaRPr>
          </a:p>
        </p:txBody>
      </p:sp>
      <p:sp>
        <p:nvSpPr>
          <p:cNvPr id="165905" name="Rectangle 17"/>
          <p:cNvSpPr>
            <a:spLocks noChangeArrowheads="1"/>
          </p:cNvSpPr>
          <p:nvPr/>
        </p:nvSpPr>
        <p:spPr bwMode="gray">
          <a:xfrm>
            <a:off x="7402513" y="3242401"/>
            <a:ext cx="2608262" cy="21272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400">
                <a:latin typeface="Arial" panose="020B0604020202020204" pitchFamily="34" charset="0"/>
                <a:ea typeface="Roboto" charset="0"/>
                <a:cs typeface="Arial" panose="020B0604020202020204" pitchFamily="34" charset="0"/>
              </a:rPr>
              <a:t>Lorem </a:t>
            </a:r>
            <a:r>
              <a:rPr lang="en-US" sz="1400" err="1">
                <a:latin typeface="Arial" panose="020B0604020202020204" pitchFamily="34" charset="0"/>
                <a:ea typeface="Roboto" charset="0"/>
                <a:cs typeface="Arial" panose="020B0604020202020204" pitchFamily="34" charset="0"/>
              </a:rPr>
              <a:t>ipsu</a:t>
            </a:r>
            <a:endParaRPr lang="en-US" altLang="en-US" sz="1400">
              <a:latin typeface="Arial" panose="020B0604020202020204" pitchFamily="34" charset="0"/>
              <a:ea typeface="Roboto" charset="0"/>
              <a:cs typeface="Arial" panose="020B0604020202020204" pitchFamily="34" charset="0"/>
            </a:endParaRPr>
          </a:p>
        </p:txBody>
      </p:sp>
    </p:spTree>
    <p:extLst>
      <p:ext uri="{BB962C8B-B14F-4D97-AF65-F5344CB8AC3E}">
        <p14:creationId xmlns:p14="http://schemas.microsoft.com/office/powerpoint/2010/main" val="114345425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6914" name="Rectangle 2" hidden="1"/>
          <p:cNvGraphicFramePr>
            <a:graphicFrameLocks/>
          </p:cNvGraphicFramePr>
          <p:nvPr>
            <p:custDataLst>
              <p:tags r:id="rId1"/>
            </p:custDataLst>
            <p:extLst>
              <p:ext uri="{D42A27DB-BD31-4B8C-83A1-F6EECF244321}">
                <p14:modId xmlns:p14="http://schemas.microsoft.com/office/powerpoint/2010/main" val="3655081558"/>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6691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66915" name="Freeform 3"/>
          <p:cNvSpPr>
            <a:spLocks/>
          </p:cNvSpPr>
          <p:nvPr/>
        </p:nvSpPr>
        <p:spPr bwMode="gray">
          <a:xfrm>
            <a:off x="4635500" y="4294834"/>
            <a:ext cx="2890838" cy="1225550"/>
          </a:xfrm>
          <a:custGeom>
            <a:avLst/>
            <a:gdLst>
              <a:gd name="T0" fmla="*/ 2147483647 w 1907"/>
              <a:gd name="T1" fmla="*/ 0 h 699"/>
              <a:gd name="T2" fmla="*/ 2147483647 w 1907"/>
              <a:gd name="T3" fmla="*/ 0 h 699"/>
              <a:gd name="T4" fmla="*/ 2147483647 w 1907"/>
              <a:gd name="T5" fmla="*/ 2147483647 h 699"/>
              <a:gd name="T6" fmla="*/ 0 w 1907"/>
              <a:gd name="T7" fmla="*/ 2147483647 h 699"/>
              <a:gd name="T8" fmla="*/ 2147483647 w 1907"/>
              <a:gd name="T9" fmla="*/ 0 h 69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7" h="699">
                <a:moveTo>
                  <a:pt x="600" y="0"/>
                </a:moveTo>
                <a:lnTo>
                  <a:pt x="1307" y="0"/>
                </a:lnTo>
                <a:lnTo>
                  <a:pt x="1907" y="699"/>
                </a:lnTo>
                <a:lnTo>
                  <a:pt x="0" y="699"/>
                </a:lnTo>
                <a:lnTo>
                  <a:pt x="600" y="0"/>
                </a:lnTo>
                <a:close/>
              </a:path>
            </a:pathLst>
          </a:custGeom>
          <a:solidFill>
            <a:schemeClr val="tx1">
              <a:lumMod val="20000"/>
              <a:lumOff val="80000"/>
            </a:schemeClr>
          </a:solidFill>
          <a:ln>
            <a:noFill/>
          </a:ln>
          <a:effectLst/>
        </p:spPr>
        <p:txBody>
          <a:bodyPr wrap="none" lIns="72000" tIns="0" rIns="0" bIns="0" anchor="ctr"/>
          <a:lstStyle/>
          <a:p>
            <a:endParaRPr lang="en-US">
              <a:latin typeface="+mj-lt"/>
            </a:endParaRPr>
          </a:p>
        </p:txBody>
      </p:sp>
      <p:sp>
        <p:nvSpPr>
          <p:cNvPr id="166916" name="Freeform 4"/>
          <p:cNvSpPr>
            <a:spLocks/>
          </p:cNvSpPr>
          <p:nvPr/>
        </p:nvSpPr>
        <p:spPr bwMode="gray">
          <a:xfrm flipV="1">
            <a:off x="4635500" y="1432571"/>
            <a:ext cx="2890838" cy="1225550"/>
          </a:xfrm>
          <a:custGeom>
            <a:avLst/>
            <a:gdLst>
              <a:gd name="T0" fmla="*/ 2147483647 w 1907"/>
              <a:gd name="T1" fmla="*/ 0 h 699"/>
              <a:gd name="T2" fmla="*/ 2147483647 w 1907"/>
              <a:gd name="T3" fmla="*/ 0 h 699"/>
              <a:gd name="T4" fmla="*/ 2147483647 w 1907"/>
              <a:gd name="T5" fmla="*/ 2147483647 h 699"/>
              <a:gd name="T6" fmla="*/ 0 w 1907"/>
              <a:gd name="T7" fmla="*/ 2147483647 h 699"/>
              <a:gd name="T8" fmla="*/ 2147483647 w 1907"/>
              <a:gd name="T9" fmla="*/ 0 h 69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7" h="699">
                <a:moveTo>
                  <a:pt x="600" y="0"/>
                </a:moveTo>
                <a:lnTo>
                  <a:pt x="1307" y="0"/>
                </a:lnTo>
                <a:lnTo>
                  <a:pt x="1907" y="699"/>
                </a:lnTo>
                <a:lnTo>
                  <a:pt x="0" y="699"/>
                </a:lnTo>
                <a:lnTo>
                  <a:pt x="600" y="0"/>
                </a:lnTo>
                <a:close/>
              </a:path>
            </a:pathLst>
          </a:custGeom>
          <a:solidFill>
            <a:schemeClr val="tx1">
              <a:lumMod val="20000"/>
              <a:lumOff val="80000"/>
            </a:schemeClr>
          </a:solidFill>
          <a:ln>
            <a:noFill/>
          </a:ln>
          <a:effectLst/>
        </p:spPr>
        <p:txBody>
          <a:bodyPr wrap="none" lIns="72000" tIns="0" rIns="0" bIns="0" anchor="ctr"/>
          <a:lstStyle/>
          <a:p>
            <a:endParaRPr lang="en-US">
              <a:latin typeface="+mj-lt"/>
            </a:endParaRPr>
          </a:p>
        </p:txBody>
      </p:sp>
      <p:sp>
        <p:nvSpPr>
          <p:cNvPr id="166917" name="Freeform 5"/>
          <p:cNvSpPr>
            <a:spLocks/>
          </p:cNvSpPr>
          <p:nvPr/>
        </p:nvSpPr>
        <p:spPr bwMode="gray">
          <a:xfrm>
            <a:off x="3138489" y="1489721"/>
            <a:ext cx="2332037" cy="1943100"/>
          </a:xfrm>
          <a:custGeom>
            <a:avLst/>
            <a:gdLst>
              <a:gd name="T0" fmla="*/ 2147483647 w 1538"/>
              <a:gd name="T1" fmla="*/ 2147483647 h 1109"/>
              <a:gd name="T2" fmla="*/ 2147483647 w 1538"/>
              <a:gd name="T3" fmla="*/ 2147483647 h 1109"/>
              <a:gd name="T4" fmla="*/ 2147483647 w 1538"/>
              <a:gd name="T5" fmla="*/ 0 h 1109"/>
              <a:gd name="T6" fmla="*/ 0 w 1538"/>
              <a:gd name="T7" fmla="*/ 2147483647 h 1109"/>
              <a:gd name="T8" fmla="*/ 2147483647 w 1538"/>
              <a:gd name="T9" fmla="*/ 2147483647 h 11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38" h="1109">
                <a:moveTo>
                  <a:pt x="1200" y="1109"/>
                </a:moveTo>
                <a:lnTo>
                  <a:pt x="1538" y="690"/>
                </a:lnTo>
                <a:lnTo>
                  <a:pt x="937" y="0"/>
                </a:lnTo>
                <a:lnTo>
                  <a:pt x="0" y="1109"/>
                </a:lnTo>
                <a:lnTo>
                  <a:pt x="1200" y="1109"/>
                </a:lnTo>
                <a:close/>
              </a:path>
            </a:pathLst>
          </a:custGeom>
          <a:solidFill>
            <a:schemeClr val="tx1">
              <a:lumMod val="20000"/>
              <a:lumOff val="80000"/>
            </a:schemeClr>
          </a:solidFill>
          <a:ln>
            <a:noFill/>
          </a:ln>
          <a:effectLst/>
        </p:spPr>
        <p:txBody>
          <a:bodyPr wrap="none" lIns="72000" tIns="0" rIns="0" bIns="0" anchor="ctr"/>
          <a:lstStyle/>
          <a:p>
            <a:endParaRPr lang="en-US">
              <a:latin typeface="+mj-lt"/>
            </a:endParaRPr>
          </a:p>
        </p:txBody>
      </p:sp>
      <p:sp>
        <p:nvSpPr>
          <p:cNvPr id="166918" name="Freeform 6"/>
          <p:cNvSpPr>
            <a:spLocks/>
          </p:cNvSpPr>
          <p:nvPr/>
        </p:nvSpPr>
        <p:spPr bwMode="gray">
          <a:xfrm>
            <a:off x="3140075" y="3532835"/>
            <a:ext cx="2317750" cy="1957387"/>
          </a:xfrm>
          <a:custGeom>
            <a:avLst/>
            <a:gdLst>
              <a:gd name="T0" fmla="*/ 2147483647 w 1529"/>
              <a:gd name="T1" fmla="*/ 0 h 1117"/>
              <a:gd name="T2" fmla="*/ 2147483647 w 1529"/>
              <a:gd name="T3" fmla="*/ 2147483647 h 1117"/>
              <a:gd name="T4" fmla="*/ 2147483647 w 1529"/>
              <a:gd name="T5" fmla="*/ 2147483647 h 1117"/>
              <a:gd name="T6" fmla="*/ 0 w 1529"/>
              <a:gd name="T7" fmla="*/ 0 h 1117"/>
              <a:gd name="T8" fmla="*/ 2147483647 w 1529"/>
              <a:gd name="T9" fmla="*/ 0 h 11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29" h="1117">
                <a:moveTo>
                  <a:pt x="1200" y="0"/>
                </a:moveTo>
                <a:lnTo>
                  <a:pt x="1529" y="410"/>
                </a:lnTo>
                <a:lnTo>
                  <a:pt x="929" y="1117"/>
                </a:lnTo>
                <a:lnTo>
                  <a:pt x="0" y="0"/>
                </a:lnTo>
                <a:lnTo>
                  <a:pt x="1200" y="0"/>
                </a:lnTo>
                <a:close/>
              </a:path>
            </a:pathLst>
          </a:custGeom>
          <a:solidFill>
            <a:schemeClr val="tx1">
              <a:lumMod val="20000"/>
              <a:lumOff val="80000"/>
            </a:schemeClr>
          </a:solidFill>
          <a:ln>
            <a:noFill/>
          </a:ln>
          <a:effectLst/>
        </p:spPr>
        <p:txBody>
          <a:bodyPr wrap="none" lIns="72000" tIns="0" rIns="0" bIns="0" anchor="ctr"/>
          <a:lstStyle/>
          <a:p>
            <a:endParaRPr lang="en-US">
              <a:latin typeface="+mj-lt"/>
            </a:endParaRPr>
          </a:p>
        </p:txBody>
      </p:sp>
      <p:sp>
        <p:nvSpPr>
          <p:cNvPr id="166919" name="Freeform 7"/>
          <p:cNvSpPr>
            <a:spLocks/>
          </p:cNvSpPr>
          <p:nvPr/>
        </p:nvSpPr>
        <p:spPr bwMode="gray">
          <a:xfrm flipH="1">
            <a:off x="6688139" y="1489721"/>
            <a:ext cx="2332037" cy="1943100"/>
          </a:xfrm>
          <a:custGeom>
            <a:avLst/>
            <a:gdLst>
              <a:gd name="T0" fmla="*/ 2147483647 w 1538"/>
              <a:gd name="T1" fmla="*/ 2147483647 h 1109"/>
              <a:gd name="T2" fmla="*/ 2147483647 w 1538"/>
              <a:gd name="T3" fmla="*/ 2147483647 h 1109"/>
              <a:gd name="T4" fmla="*/ 2147483647 w 1538"/>
              <a:gd name="T5" fmla="*/ 0 h 1109"/>
              <a:gd name="T6" fmla="*/ 0 w 1538"/>
              <a:gd name="T7" fmla="*/ 2147483647 h 1109"/>
              <a:gd name="T8" fmla="*/ 2147483647 w 1538"/>
              <a:gd name="T9" fmla="*/ 2147483647 h 11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38" h="1109">
                <a:moveTo>
                  <a:pt x="1200" y="1109"/>
                </a:moveTo>
                <a:lnTo>
                  <a:pt x="1538" y="690"/>
                </a:lnTo>
                <a:lnTo>
                  <a:pt x="937" y="0"/>
                </a:lnTo>
                <a:lnTo>
                  <a:pt x="0" y="1109"/>
                </a:lnTo>
                <a:lnTo>
                  <a:pt x="1200" y="1109"/>
                </a:lnTo>
                <a:close/>
              </a:path>
            </a:pathLst>
          </a:custGeom>
          <a:solidFill>
            <a:schemeClr val="tx1">
              <a:lumMod val="20000"/>
              <a:lumOff val="80000"/>
            </a:schemeClr>
          </a:solidFill>
          <a:ln>
            <a:noFill/>
          </a:ln>
          <a:effectLst/>
        </p:spPr>
        <p:txBody>
          <a:bodyPr wrap="none" lIns="72000" tIns="0" rIns="0" bIns="0" anchor="ctr"/>
          <a:lstStyle/>
          <a:p>
            <a:endParaRPr lang="en-US">
              <a:latin typeface="+mj-lt"/>
            </a:endParaRPr>
          </a:p>
        </p:txBody>
      </p:sp>
      <p:sp>
        <p:nvSpPr>
          <p:cNvPr id="166920" name="Freeform 8"/>
          <p:cNvSpPr>
            <a:spLocks/>
          </p:cNvSpPr>
          <p:nvPr/>
        </p:nvSpPr>
        <p:spPr bwMode="gray">
          <a:xfrm flipH="1">
            <a:off x="6689725" y="3532835"/>
            <a:ext cx="2317750" cy="1957387"/>
          </a:xfrm>
          <a:custGeom>
            <a:avLst/>
            <a:gdLst>
              <a:gd name="T0" fmla="*/ 2147483647 w 1529"/>
              <a:gd name="T1" fmla="*/ 0 h 1117"/>
              <a:gd name="T2" fmla="*/ 2147483647 w 1529"/>
              <a:gd name="T3" fmla="*/ 2147483647 h 1117"/>
              <a:gd name="T4" fmla="*/ 2147483647 w 1529"/>
              <a:gd name="T5" fmla="*/ 2147483647 h 1117"/>
              <a:gd name="T6" fmla="*/ 0 w 1529"/>
              <a:gd name="T7" fmla="*/ 0 h 1117"/>
              <a:gd name="T8" fmla="*/ 2147483647 w 1529"/>
              <a:gd name="T9" fmla="*/ 0 h 11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29" h="1117">
                <a:moveTo>
                  <a:pt x="1200" y="0"/>
                </a:moveTo>
                <a:lnTo>
                  <a:pt x="1529" y="410"/>
                </a:lnTo>
                <a:lnTo>
                  <a:pt x="929" y="1117"/>
                </a:lnTo>
                <a:lnTo>
                  <a:pt x="0" y="0"/>
                </a:lnTo>
                <a:lnTo>
                  <a:pt x="1200" y="0"/>
                </a:lnTo>
                <a:close/>
              </a:path>
            </a:pathLst>
          </a:custGeom>
          <a:solidFill>
            <a:schemeClr val="tx1">
              <a:lumMod val="20000"/>
              <a:lumOff val="80000"/>
            </a:schemeClr>
          </a:solidFill>
          <a:ln>
            <a:noFill/>
          </a:ln>
          <a:effectLst/>
        </p:spPr>
        <p:txBody>
          <a:bodyPr wrap="none" lIns="72000" tIns="0" rIns="0" bIns="0" anchor="ctr"/>
          <a:lstStyle/>
          <a:p>
            <a:endParaRPr lang="en-US">
              <a:latin typeface="+mj-lt"/>
            </a:endParaRPr>
          </a:p>
        </p:txBody>
      </p:sp>
      <p:sp>
        <p:nvSpPr>
          <p:cNvPr id="166921" name="AutoShape 9"/>
          <p:cNvSpPr>
            <a:spLocks noChangeArrowheads="1"/>
          </p:cNvSpPr>
          <p:nvPr/>
        </p:nvSpPr>
        <p:spPr bwMode="gray">
          <a:xfrm>
            <a:off x="5138738" y="2807347"/>
            <a:ext cx="1892300" cy="1350963"/>
          </a:xfrm>
          <a:prstGeom prst="hexagon">
            <a:avLst>
              <a:gd name="adj" fmla="val 35018"/>
              <a:gd name="vf" fmla="val 115470"/>
            </a:avLst>
          </a:prstGeom>
          <a:solidFill>
            <a:schemeClr val="bg2"/>
          </a:solidFill>
          <a:ln>
            <a:noFill/>
          </a:ln>
          <a:effectLst/>
        </p:spPr>
        <p:txBody>
          <a:bodyPr wrap="none" lIns="0" tIns="0" rIns="0" bIns="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chemeClr val="accent5"/>
                </a:solidFill>
                <a:latin typeface="+mj-lt"/>
              </a:rPr>
              <a:t>Text</a:t>
            </a:r>
          </a:p>
        </p:txBody>
      </p:sp>
      <p:sp>
        <p:nvSpPr>
          <p:cNvPr id="166922" name="Text Box 10"/>
          <p:cNvSpPr txBox="1">
            <a:spLocks noChangeArrowheads="1"/>
          </p:cNvSpPr>
          <p:nvPr/>
        </p:nvSpPr>
        <p:spPr bwMode="gray">
          <a:xfrm flipH="1">
            <a:off x="5292726" y="1940572"/>
            <a:ext cx="1565275"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6923" name="Text Box 11"/>
          <p:cNvSpPr txBox="1">
            <a:spLocks noChangeArrowheads="1"/>
          </p:cNvSpPr>
          <p:nvPr/>
        </p:nvSpPr>
        <p:spPr bwMode="gray">
          <a:xfrm flipH="1">
            <a:off x="6861175" y="2647010"/>
            <a:ext cx="156368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6924" name="Text Box 12"/>
          <p:cNvSpPr txBox="1">
            <a:spLocks noChangeArrowheads="1"/>
          </p:cNvSpPr>
          <p:nvPr/>
        </p:nvSpPr>
        <p:spPr bwMode="gray">
          <a:xfrm flipH="1">
            <a:off x="6797676" y="4177360"/>
            <a:ext cx="1565275"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6925" name="Text Box 13"/>
          <p:cNvSpPr txBox="1">
            <a:spLocks noChangeArrowheads="1"/>
          </p:cNvSpPr>
          <p:nvPr/>
        </p:nvSpPr>
        <p:spPr bwMode="gray">
          <a:xfrm flipH="1">
            <a:off x="3727451" y="2647010"/>
            <a:ext cx="1565275"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6926" name="Text Box 14"/>
          <p:cNvSpPr txBox="1">
            <a:spLocks noChangeArrowheads="1"/>
          </p:cNvSpPr>
          <p:nvPr/>
        </p:nvSpPr>
        <p:spPr bwMode="gray">
          <a:xfrm flipH="1">
            <a:off x="3705226" y="4177360"/>
            <a:ext cx="1565275"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6927" name="Text Box 15"/>
          <p:cNvSpPr txBox="1">
            <a:spLocks noChangeArrowheads="1"/>
          </p:cNvSpPr>
          <p:nvPr/>
        </p:nvSpPr>
        <p:spPr bwMode="gray">
          <a:xfrm flipH="1">
            <a:off x="5273675" y="4802835"/>
            <a:ext cx="156368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4" name="Text Placeholder 3"/>
          <p:cNvSpPr>
            <a:spLocks noGrp="1"/>
          </p:cNvSpPr>
          <p:nvPr>
            <p:ph type="body" sz="quarter" idx="11"/>
          </p:nvPr>
        </p:nvSpPr>
        <p:spPr/>
        <p:txBody>
          <a:bodyPr/>
          <a:lstStyle/>
          <a:p>
            <a:endParaRPr lang="en-US"/>
          </a:p>
        </p:txBody>
      </p:sp>
      <p:sp>
        <p:nvSpPr>
          <p:cNvPr id="166929" name="Rectangle 17"/>
          <p:cNvSpPr>
            <a:spLocks noGrp="1" noChangeArrowheads="1"/>
          </p:cNvSpPr>
          <p:nvPr>
            <p:ph type="title"/>
          </p:nvPr>
        </p:nvSpPr>
        <p:spPr/>
        <p:txBody>
          <a:bodyPr/>
          <a:lstStyle/>
          <a:p>
            <a:r>
              <a:rPr lang="en-GB" altLang="en-US"/>
              <a:t>Factors</a:t>
            </a:r>
          </a:p>
        </p:txBody>
      </p:sp>
    </p:spTree>
    <p:extLst>
      <p:ext uri="{BB962C8B-B14F-4D97-AF65-F5344CB8AC3E}">
        <p14:creationId xmlns:p14="http://schemas.microsoft.com/office/powerpoint/2010/main" val="41261848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7938" name="Rectangle 2" hidden="1"/>
          <p:cNvGraphicFramePr>
            <a:graphicFrameLocks/>
          </p:cNvGraphicFramePr>
          <p:nvPr>
            <p:custDataLst>
              <p:tags r:id="rId1"/>
            </p:custDataLst>
            <p:extLst>
              <p:ext uri="{D42A27DB-BD31-4B8C-83A1-F6EECF244321}">
                <p14:modId xmlns:p14="http://schemas.microsoft.com/office/powerpoint/2010/main" val="3082401462"/>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6793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67939" name="AutoShape 3"/>
          <p:cNvSpPr>
            <a:spLocks noChangeArrowheads="1"/>
          </p:cNvSpPr>
          <p:nvPr/>
        </p:nvSpPr>
        <p:spPr bwMode="gray">
          <a:xfrm>
            <a:off x="5148264" y="2770771"/>
            <a:ext cx="1849437" cy="1265238"/>
          </a:xfrm>
          <a:prstGeom prst="hexagon">
            <a:avLst>
              <a:gd name="adj" fmla="val 25959"/>
              <a:gd name="vf" fmla="val 115470"/>
            </a:avLst>
          </a:prstGeom>
          <a:solidFill>
            <a:schemeClr val="bg2"/>
          </a:solidFill>
          <a:ln>
            <a:noFill/>
          </a:ln>
          <a:effec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solidFill>
                  <a:schemeClr val="accent5"/>
                </a:solidFill>
              </a:rPr>
              <a:t>Text</a:t>
            </a:r>
          </a:p>
        </p:txBody>
      </p:sp>
      <p:sp>
        <p:nvSpPr>
          <p:cNvPr id="167940" name="AutoShape 4"/>
          <p:cNvSpPr>
            <a:spLocks noChangeArrowheads="1"/>
          </p:cNvSpPr>
          <p:nvPr/>
        </p:nvSpPr>
        <p:spPr bwMode="gray">
          <a:xfrm>
            <a:off x="5148264" y="1380121"/>
            <a:ext cx="1849437" cy="1265238"/>
          </a:xfrm>
          <a:prstGeom prst="hexagon">
            <a:avLst>
              <a:gd name="adj" fmla="val 25959"/>
              <a:gd name="vf" fmla="val 115470"/>
            </a:avLst>
          </a:prstGeom>
          <a:solidFill>
            <a:schemeClr val="tx1">
              <a:lumMod val="20000"/>
              <a:lumOff val="80000"/>
            </a:schemeClr>
          </a:solidFill>
          <a:ln>
            <a:noFill/>
          </a:ln>
          <a:effec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167941" name="AutoShape 5"/>
          <p:cNvSpPr>
            <a:spLocks noChangeArrowheads="1"/>
          </p:cNvSpPr>
          <p:nvPr/>
        </p:nvSpPr>
        <p:spPr bwMode="gray">
          <a:xfrm>
            <a:off x="5148264" y="4159835"/>
            <a:ext cx="1849437" cy="1265237"/>
          </a:xfrm>
          <a:prstGeom prst="hexagon">
            <a:avLst>
              <a:gd name="adj" fmla="val 25959"/>
              <a:gd name="vf" fmla="val 115470"/>
            </a:avLst>
          </a:prstGeom>
          <a:solidFill>
            <a:schemeClr val="tx1">
              <a:lumMod val="20000"/>
              <a:lumOff val="80000"/>
            </a:schemeClr>
          </a:solidFill>
          <a:ln>
            <a:noFill/>
          </a:ln>
          <a:effec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167942" name="AutoShape 6"/>
          <p:cNvSpPr>
            <a:spLocks noChangeArrowheads="1"/>
          </p:cNvSpPr>
          <p:nvPr/>
        </p:nvSpPr>
        <p:spPr bwMode="gray">
          <a:xfrm>
            <a:off x="3481389" y="2081796"/>
            <a:ext cx="1849437" cy="1265238"/>
          </a:xfrm>
          <a:prstGeom prst="hexagon">
            <a:avLst>
              <a:gd name="adj" fmla="val 25959"/>
              <a:gd name="vf" fmla="val 115470"/>
            </a:avLst>
          </a:prstGeom>
          <a:solidFill>
            <a:schemeClr val="tx1">
              <a:lumMod val="20000"/>
              <a:lumOff val="80000"/>
            </a:schemeClr>
          </a:solidFill>
          <a:ln>
            <a:noFill/>
          </a:ln>
          <a:effec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167943" name="AutoShape 7"/>
          <p:cNvSpPr>
            <a:spLocks noChangeArrowheads="1"/>
          </p:cNvSpPr>
          <p:nvPr/>
        </p:nvSpPr>
        <p:spPr bwMode="gray">
          <a:xfrm>
            <a:off x="3481389" y="3466096"/>
            <a:ext cx="1849437" cy="1265238"/>
          </a:xfrm>
          <a:prstGeom prst="hexagon">
            <a:avLst>
              <a:gd name="adj" fmla="val 25959"/>
              <a:gd name="vf" fmla="val 115470"/>
            </a:avLst>
          </a:prstGeom>
          <a:solidFill>
            <a:schemeClr val="tx1">
              <a:lumMod val="20000"/>
              <a:lumOff val="80000"/>
            </a:schemeClr>
          </a:solidFill>
          <a:ln>
            <a:noFill/>
          </a:ln>
          <a:effec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167944" name="AutoShape 8"/>
          <p:cNvSpPr>
            <a:spLocks noChangeArrowheads="1"/>
          </p:cNvSpPr>
          <p:nvPr/>
        </p:nvSpPr>
        <p:spPr bwMode="gray">
          <a:xfrm>
            <a:off x="6827839" y="2081796"/>
            <a:ext cx="1849437" cy="1265238"/>
          </a:xfrm>
          <a:prstGeom prst="hexagon">
            <a:avLst>
              <a:gd name="adj" fmla="val 25959"/>
              <a:gd name="vf" fmla="val 115470"/>
            </a:avLst>
          </a:prstGeom>
          <a:solidFill>
            <a:schemeClr val="tx1">
              <a:lumMod val="20000"/>
              <a:lumOff val="80000"/>
            </a:schemeClr>
          </a:solidFill>
          <a:ln>
            <a:noFill/>
          </a:ln>
          <a:effec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167945" name="AutoShape 9"/>
          <p:cNvSpPr>
            <a:spLocks noChangeArrowheads="1"/>
          </p:cNvSpPr>
          <p:nvPr/>
        </p:nvSpPr>
        <p:spPr bwMode="gray">
          <a:xfrm>
            <a:off x="6827839" y="3466096"/>
            <a:ext cx="1849437" cy="1265238"/>
          </a:xfrm>
          <a:prstGeom prst="hexagon">
            <a:avLst>
              <a:gd name="adj" fmla="val 25959"/>
              <a:gd name="vf" fmla="val 115470"/>
            </a:avLst>
          </a:prstGeom>
          <a:solidFill>
            <a:schemeClr val="tx1">
              <a:lumMod val="20000"/>
              <a:lumOff val="80000"/>
            </a:schemeClr>
          </a:solidFill>
          <a:ln>
            <a:noFill/>
          </a:ln>
          <a:effec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t>Text</a:t>
            </a:r>
          </a:p>
        </p:txBody>
      </p:sp>
      <p:sp>
        <p:nvSpPr>
          <p:cNvPr id="4" name="Text Placeholder 3"/>
          <p:cNvSpPr>
            <a:spLocks noGrp="1"/>
          </p:cNvSpPr>
          <p:nvPr>
            <p:ph type="body" sz="quarter" idx="11"/>
          </p:nvPr>
        </p:nvSpPr>
        <p:spPr/>
        <p:txBody>
          <a:bodyPr/>
          <a:lstStyle/>
          <a:p>
            <a:endParaRPr lang="en-US"/>
          </a:p>
        </p:txBody>
      </p:sp>
      <p:sp>
        <p:nvSpPr>
          <p:cNvPr id="167947" name="Rectangle 11"/>
          <p:cNvSpPr>
            <a:spLocks noGrp="1" noChangeArrowheads="1"/>
          </p:cNvSpPr>
          <p:nvPr>
            <p:ph type="title"/>
          </p:nvPr>
        </p:nvSpPr>
        <p:spPr/>
        <p:txBody>
          <a:bodyPr/>
          <a:lstStyle/>
          <a:p>
            <a:r>
              <a:rPr lang="en-GB" altLang="en-US"/>
              <a:t>Factors</a:t>
            </a:r>
          </a:p>
        </p:txBody>
      </p:sp>
    </p:spTree>
    <p:extLst>
      <p:ext uri="{BB962C8B-B14F-4D97-AF65-F5344CB8AC3E}">
        <p14:creationId xmlns:p14="http://schemas.microsoft.com/office/powerpoint/2010/main" val="35632286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962" name="Rectangle 2" hidden="1"/>
          <p:cNvGraphicFramePr>
            <a:graphicFrameLocks/>
          </p:cNvGraphicFramePr>
          <p:nvPr>
            <p:custDataLst>
              <p:tags r:id="rId1"/>
            </p:custDataLst>
            <p:extLst>
              <p:ext uri="{D42A27DB-BD31-4B8C-83A1-F6EECF244321}">
                <p14:modId xmlns:p14="http://schemas.microsoft.com/office/powerpoint/2010/main" val="3259624049"/>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6896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68963" name="AutoShape 3"/>
          <p:cNvSpPr>
            <a:spLocks noChangeArrowheads="1"/>
          </p:cNvSpPr>
          <p:nvPr/>
        </p:nvSpPr>
        <p:spPr bwMode="gray">
          <a:xfrm>
            <a:off x="5191126" y="2825732"/>
            <a:ext cx="1800225" cy="1392237"/>
          </a:xfrm>
          <a:prstGeom prst="octagon">
            <a:avLst>
              <a:gd name="adj" fmla="val 29287"/>
            </a:avLst>
          </a:prstGeom>
          <a:solidFill>
            <a:schemeClr val="bg2"/>
          </a:solidFill>
          <a:ln>
            <a:noFill/>
          </a:ln>
          <a:effectLst/>
        </p:spPr>
        <p:txBody>
          <a:bodyPr lIns="18000" tIns="18000" rIns="18000" bIns="18000"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chemeClr val="accent5"/>
                </a:solidFill>
                <a:latin typeface="+mj-lt"/>
              </a:rPr>
              <a:t>Text</a:t>
            </a:r>
          </a:p>
        </p:txBody>
      </p:sp>
      <p:sp>
        <p:nvSpPr>
          <p:cNvPr id="168964" name="Freeform 4"/>
          <p:cNvSpPr>
            <a:spLocks/>
          </p:cNvSpPr>
          <p:nvPr/>
        </p:nvSpPr>
        <p:spPr bwMode="gray">
          <a:xfrm>
            <a:off x="3529013" y="1533506"/>
            <a:ext cx="1935162" cy="1630362"/>
          </a:xfrm>
          <a:custGeom>
            <a:avLst/>
            <a:gdLst>
              <a:gd name="T0" fmla="*/ 2147483647 w 1480"/>
              <a:gd name="T1" fmla="*/ 2147483647 h 1152"/>
              <a:gd name="T2" fmla="*/ 2147483647 w 1480"/>
              <a:gd name="T3" fmla="*/ 0 h 1152"/>
              <a:gd name="T4" fmla="*/ 0 w 1480"/>
              <a:gd name="T5" fmla="*/ 2147483647 h 1152"/>
              <a:gd name="T6" fmla="*/ 2147483647 w 1480"/>
              <a:gd name="T7" fmla="*/ 2147483647 h 1152"/>
              <a:gd name="T8" fmla="*/ 2147483647 w 1480"/>
              <a:gd name="T9" fmla="*/ 2147483647 h 11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80" h="1152">
                <a:moveTo>
                  <a:pt x="1480" y="876"/>
                </a:moveTo>
                <a:lnTo>
                  <a:pt x="1024" y="0"/>
                </a:lnTo>
                <a:lnTo>
                  <a:pt x="0" y="800"/>
                </a:lnTo>
                <a:lnTo>
                  <a:pt x="1208" y="1152"/>
                </a:lnTo>
                <a:lnTo>
                  <a:pt x="1480" y="876"/>
                </a:lnTo>
                <a:close/>
              </a:path>
            </a:pathLst>
          </a:custGeom>
          <a:solidFill>
            <a:schemeClr val="tx1">
              <a:lumMod val="20000"/>
              <a:lumOff val="80000"/>
            </a:schemeClr>
          </a:solidFill>
          <a:ln>
            <a:noFill/>
          </a:ln>
          <a:effectLst/>
        </p:spPr>
        <p:txBody>
          <a:bodyPr wrap="none" lIns="0" tIns="0" rIns="0" bIns="0" anchor="ctr"/>
          <a:lstStyle/>
          <a:p>
            <a:endParaRPr lang="en-US">
              <a:latin typeface="+mj-lt"/>
            </a:endParaRPr>
          </a:p>
        </p:txBody>
      </p:sp>
      <p:sp>
        <p:nvSpPr>
          <p:cNvPr id="168965" name="Freeform 5"/>
          <p:cNvSpPr>
            <a:spLocks/>
          </p:cNvSpPr>
          <p:nvPr/>
        </p:nvSpPr>
        <p:spPr bwMode="gray">
          <a:xfrm>
            <a:off x="3502025" y="2740007"/>
            <a:ext cx="1563688" cy="1563687"/>
          </a:xfrm>
          <a:custGeom>
            <a:avLst/>
            <a:gdLst>
              <a:gd name="T0" fmla="*/ 0 w 1196"/>
              <a:gd name="T1" fmla="*/ 0 h 1104"/>
              <a:gd name="T2" fmla="*/ 2147483647 w 1196"/>
              <a:gd name="T3" fmla="*/ 2147483647 h 1104"/>
              <a:gd name="T4" fmla="*/ 2147483647 w 1196"/>
              <a:gd name="T5" fmla="*/ 2147483647 h 1104"/>
              <a:gd name="T6" fmla="*/ 0 w 1196"/>
              <a:gd name="T7" fmla="*/ 2147483647 h 1104"/>
              <a:gd name="T8" fmla="*/ 0 w 1196"/>
              <a:gd name="T9" fmla="*/ 0 h 11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96" h="1104">
                <a:moveTo>
                  <a:pt x="0" y="0"/>
                </a:moveTo>
                <a:lnTo>
                  <a:pt x="1196" y="348"/>
                </a:lnTo>
                <a:lnTo>
                  <a:pt x="1196" y="764"/>
                </a:lnTo>
                <a:lnTo>
                  <a:pt x="0" y="1104"/>
                </a:lnTo>
                <a:lnTo>
                  <a:pt x="0" y="0"/>
                </a:lnTo>
                <a:close/>
              </a:path>
            </a:pathLst>
          </a:custGeom>
          <a:solidFill>
            <a:schemeClr val="tx1">
              <a:lumMod val="20000"/>
              <a:lumOff val="80000"/>
            </a:schemeClr>
          </a:solidFill>
          <a:ln>
            <a:noFill/>
          </a:ln>
          <a:effectLst/>
        </p:spPr>
        <p:txBody>
          <a:bodyPr wrap="none" lIns="0" tIns="0" rIns="0" bIns="0" anchor="ctr"/>
          <a:lstStyle/>
          <a:p>
            <a:endParaRPr lang="en-US">
              <a:latin typeface="+mj-lt"/>
            </a:endParaRPr>
          </a:p>
        </p:txBody>
      </p:sp>
      <p:sp>
        <p:nvSpPr>
          <p:cNvPr id="168966" name="Freeform 6"/>
          <p:cNvSpPr>
            <a:spLocks/>
          </p:cNvSpPr>
          <p:nvPr/>
        </p:nvSpPr>
        <p:spPr bwMode="gray">
          <a:xfrm>
            <a:off x="3533775" y="3902056"/>
            <a:ext cx="1930400" cy="1630362"/>
          </a:xfrm>
          <a:custGeom>
            <a:avLst/>
            <a:gdLst>
              <a:gd name="T0" fmla="*/ 2147483647 w 1476"/>
              <a:gd name="T1" fmla="*/ 0 h 1152"/>
              <a:gd name="T2" fmla="*/ 2147483647 w 1476"/>
              <a:gd name="T3" fmla="*/ 2147483647 h 1152"/>
              <a:gd name="T4" fmla="*/ 2147483647 w 1476"/>
              <a:gd name="T5" fmla="*/ 2147483647 h 1152"/>
              <a:gd name="T6" fmla="*/ 0 w 1476"/>
              <a:gd name="T7" fmla="*/ 2147483647 h 1152"/>
              <a:gd name="T8" fmla="*/ 2147483647 w 1476"/>
              <a:gd name="T9" fmla="*/ 0 h 11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76" h="1152">
                <a:moveTo>
                  <a:pt x="1204" y="0"/>
                </a:moveTo>
                <a:lnTo>
                  <a:pt x="1476" y="268"/>
                </a:lnTo>
                <a:lnTo>
                  <a:pt x="1020" y="1152"/>
                </a:lnTo>
                <a:lnTo>
                  <a:pt x="0" y="352"/>
                </a:lnTo>
                <a:lnTo>
                  <a:pt x="1204" y="0"/>
                </a:lnTo>
                <a:close/>
              </a:path>
            </a:pathLst>
          </a:custGeom>
          <a:solidFill>
            <a:schemeClr val="tx1">
              <a:lumMod val="20000"/>
              <a:lumOff val="80000"/>
            </a:schemeClr>
          </a:solidFill>
          <a:ln>
            <a:noFill/>
          </a:ln>
          <a:effectLst/>
        </p:spPr>
        <p:txBody>
          <a:bodyPr wrap="none" lIns="0" tIns="0" rIns="0" bIns="0" anchor="ctr"/>
          <a:lstStyle/>
          <a:p>
            <a:endParaRPr lang="en-US">
              <a:latin typeface="+mj-lt"/>
            </a:endParaRPr>
          </a:p>
        </p:txBody>
      </p:sp>
      <p:sp>
        <p:nvSpPr>
          <p:cNvPr id="168967" name="Freeform 7"/>
          <p:cNvSpPr>
            <a:spLocks/>
          </p:cNvSpPr>
          <p:nvPr/>
        </p:nvSpPr>
        <p:spPr bwMode="gray">
          <a:xfrm>
            <a:off x="4957764" y="4319568"/>
            <a:ext cx="2268537" cy="1212850"/>
          </a:xfrm>
          <a:custGeom>
            <a:avLst/>
            <a:gdLst>
              <a:gd name="T0" fmla="*/ 2147483647 w 1736"/>
              <a:gd name="T1" fmla="*/ 0 h 856"/>
              <a:gd name="T2" fmla="*/ 2147483647 w 1736"/>
              <a:gd name="T3" fmla="*/ 0 h 856"/>
              <a:gd name="T4" fmla="*/ 2147483647 w 1736"/>
              <a:gd name="T5" fmla="*/ 2147483647 h 856"/>
              <a:gd name="T6" fmla="*/ 0 w 1736"/>
              <a:gd name="T7" fmla="*/ 2147483647 h 856"/>
              <a:gd name="T8" fmla="*/ 2147483647 w 1736"/>
              <a:gd name="T9" fmla="*/ 0 h 8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36" h="856">
                <a:moveTo>
                  <a:pt x="448" y="0"/>
                </a:moveTo>
                <a:lnTo>
                  <a:pt x="1292" y="0"/>
                </a:lnTo>
                <a:lnTo>
                  <a:pt x="1736" y="856"/>
                </a:lnTo>
                <a:lnTo>
                  <a:pt x="0" y="856"/>
                </a:lnTo>
                <a:lnTo>
                  <a:pt x="448" y="0"/>
                </a:lnTo>
                <a:close/>
              </a:path>
            </a:pathLst>
          </a:custGeom>
          <a:solidFill>
            <a:schemeClr val="tx1">
              <a:lumMod val="20000"/>
              <a:lumOff val="80000"/>
            </a:schemeClr>
          </a:solidFill>
          <a:ln>
            <a:noFill/>
          </a:ln>
          <a:effectLst/>
        </p:spPr>
        <p:txBody>
          <a:bodyPr wrap="none" lIns="0" tIns="0" rIns="0" bIns="0" anchor="ctr"/>
          <a:lstStyle/>
          <a:p>
            <a:endParaRPr lang="en-US">
              <a:latin typeface="+mj-lt"/>
            </a:endParaRPr>
          </a:p>
        </p:txBody>
      </p:sp>
      <p:sp>
        <p:nvSpPr>
          <p:cNvPr id="168968" name="Freeform 8"/>
          <p:cNvSpPr>
            <a:spLocks/>
          </p:cNvSpPr>
          <p:nvPr/>
        </p:nvSpPr>
        <p:spPr bwMode="gray">
          <a:xfrm rot="10800000">
            <a:off x="4957764" y="1522393"/>
            <a:ext cx="2268537" cy="1212850"/>
          </a:xfrm>
          <a:custGeom>
            <a:avLst/>
            <a:gdLst>
              <a:gd name="T0" fmla="*/ 2147483647 w 1736"/>
              <a:gd name="T1" fmla="*/ 0 h 856"/>
              <a:gd name="T2" fmla="*/ 2147483647 w 1736"/>
              <a:gd name="T3" fmla="*/ 0 h 856"/>
              <a:gd name="T4" fmla="*/ 2147483647 w 1736"/>
              <a:gd name="T5" fmla="*/ 2147483647 h 856"/>
              <a:gd name="T6" fmla="*/ 0 w 1736"/>
              <a:gd name="T7" fmla="*/ 2147483647 h 856"/>
              <a:gd name="T8" fmla="*/ 2147483647 w 1736"/>
              <a:gd name="T9" fmla="*/ 0 h 8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36" h="856">
                <a:moveTo>
                  <a:pt x="448" y="0"/>
                </a:moveTo>
                <a:lnTo>
                  <a:pt x="1292" y="0"/>
                </a:lnTo>
                <a:lnTo>
                  <a:pt x="1736" y="856"/>
                </a:lnTo>
                <a:lnTo>
                  <a:pt x="0" y="856"/>
                </a:lnTo>
                <a:lnTo>
                  <a:pt x="448" y="0"/>
                </a:lnTo>
                <a:close/>
              </a:path>
            </a:pathLst>
          </a:custGeom>
          <a:solidFill>
            <a:schemeClr val="tx1">
              <a:lumMod val="20000"/>
              <a:lumOff val="80000"/>
            </a:schemeClr>
          </a:solidFill>
          <a:ln>
            <a:noFill/>
          </a:ln>
          <a:effectLst/>
        </p:spPr>
        <p:txBody>
          <a:bodyPr wrap="none" lIns="0" tIns="0" rIns="0" bIns="0" anchor="ctr"/>
          <a:lstStyle/>
          <a:p>
            <a:endParaRPr lang="en-US">
              <a:latin typeface="+mj-lt"/>
            </a:endParaRPr>
          </a:p>
        </p:txBody>
      </p:sp>
      <p:sp>
        <p:nvSpPr>
          <p:cNvPr id="168969" name="Freeform 9"/>
          <p:cNvSpPr>
            <a:spLocks/>
          </p:cNvSpPr>
          <p:nvPr/>
        </p:nvSpPr>
        <p:spPr bwMode="gray">
          <a:xfrm flipH="1">
            <a:off x="6708776" y="1533506"/>
            <a:ext cx="1935163" cy="1630362"/>
          </a:xfrm>
          <a:custGeom>
            <a:avLst/>
            <a:gdLst>
              <a:gd name="T0" fmla="*/ 2147483647 w 1480"/>
              <a:gd name="T1" fmla="*/ 2147483647 h 1152"/>
              <a:gd name="T2" fmla="*/ 2147483647 w 1480"/>
              <a:gd name="T3" fmla="*/ 0 h 1152"/>
              <a:gd name="T4" fmla="*/ 0 w 1480"/>
              <a:gd name="T5" fmla="*/ 2147483647 h 1152"/>
              <a:gd name="T6" fmla="*/ 2147483647 w 1480"/>
              <a:gd name="T7" fmla="*/ 2147483647 h 1152"/>
              <a:gd name="T8" fmla="*/ 2147483647 w 1480"/>
              <a:gd name="T9" fmla="*/ 2147483647 h 11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80" h="1152">
                <a:moveTo>
                  <a:pt x="1480" y="876"/>
                </a:moveTo>
                <a:lnTo>
                  <a:pt x="1024" y="0"/>
                </a:lnTo>
                <a:lnTo>
                  <a:pt x="0" y="800"/>
                </a:lnTo>
                <a:lnTo>
                  <a:pt x="1208" y="1152"/>
                </a:lnTo>
                <a:lnTo>
                  <a:pt x="1480" y="876"/>
                </a:lnTo>
                <a:close/>
              </a:path>
            </a:pathLst>
          </a:custGeom>
          <a:solidFill>
            <a:schemeClr val="tx1">
              <a:lumMod val="20000"/>
              <a:lumOff val="80000"/>
            </a:schemeClr>
          </a:solidFill>
          <a:ln>
            <a:noFill/>
          </a:ln>
          <a:effectLst/>
        </p:spPr>
        <p:txBody>
          <a:bodyPr wrap="none" lIns="0" tIns="0" rIns="0" bIns="0" anchor="ctr"/>
          <a:lstStyle/>
          <a:p>
            <a:endParaRPr lang="en-US">
              <a:latin typeface="+mj-lt"/>
            </a:endParaRPr>
          </a:p>
        </p:txBody>
      </p:sp>
      <p:sp>
        <p:nvSpPr>
          <p:cNvPr id="168970" name="Freeform 10"/>
          <p:cNvSpPr>
            <a:spLocks/>
          </p:cNvSpPr>
          <p:nvPr/>
        </p:nvSpPr>
        <p:spPr bwMode="gray">
          <a:xfrm flipH="1">
            <a:off x="7107239" y="2740007"/>
            <a:ext cx="1563687" cy="1563687"/>
          </a:xfrm>
          <a:custGeom>
            <a:avLst/>
            <a:gdLst>
              <a:gd name="T0" fmla="*/ 0 w 1196"/>
              <a:gd name="T1" fmla="*/ 0 h 1104"/>
              <a:gd name="T2" fmla="*/ 2147483647 w 1196"/>
              <a:gd name="T3" fmla="*/ 2147483647 h 1104"/>
              <a:gd name="T4" fmla="*/ 2147483647 w 1196"/>
              <a:gd name="T5" fmla="*/ 2147483647 h 1104"/>
              <a:gd name="T6" fmla="*/ 0 w 1196"/>
              <a:gd name="T7" fmla="*/ 2147483647 h 1104"/>
              <a:gd name="T8" fmla="*/ 0 w 1196"/>
              <a:gd name="T9" fmla="*/ 0 h 11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96" h="1104">
                <a:moveTo>
                  <a:pt x="0" y="0"/>
                </a:moveTo>
                <a:lnTo>
                  <a:pt x="1196" y="348"/>
                </a:lnTo>
                <a:lnTo>
                  <a:pt x="1196" y="764"/>
                </a:lnTo>
                <a:lnTo>
                  <a:pt x="0" y="1104"/>
                </a:lnTo>
                <a:lnTo>
                  <a:pt x="0" y="0"/>
                </a:lnTo>
                <a:close/>
              </a:path>
            </a:pathLst>
          </a:custGeom>
          <a:solidFill>
            <a:schemeClr val="tx1">
              <a:lumMod val="20000"/>
              <a:lumOff val="80000"/>
            </a:schemeClr>
          </a:solidFill>
          <a:ln>
            <a:noFill/>
          </a:ln>
          <a:effectLst/>
        </p:spPr>
        <p:txBody>
          <a:bodyPr wrap="none" lIns="0" tIns="0" rIns="0" bIns="0" anchor="ctr"/>
          <a:lstStyle/>
          <a:p>
            <a:endParaRPr lang="en-US">
              <a:latin typeface="+mj-lt"/>
            </a:endParaRPr>
          </a:p>
        </p:txBody>
      </p:sp>
      <p:sp>
        <p:nvSpPr>
          <p:cNvPr id="168971" name="Freeform 11"/>
          <p:cNvSpPr>
            <a:spLocks/>
          </p:cNvSpPr>
          <p:nvPr/>
        </p:nvSpPr>
        <p:spPr bwMode="gray">
          <a:xfrm flipH="1">
            <a:off x="6708775" y="3890944"/>
            <a:ext cx="1930400" cy="1630363"/>
          </a:xfrm>
          <a:custGeom>
            <a:avLst/>
            <a:gdLst>
              <a:gd name="T0" fmla="*/ 2147483647 w 1476"/>
              <a:gd name="T1" fmla="*/ 0 h 1152"/>
              <a:gd name="T2" fmla="*/ 2147483647 w 1476"/>
              <a:gd name="T3" fmla="*/ 2147483647 h 1152"/>
              <a:gd name="T4" fmla="*/ 2147483647 w 1476"/>
              <a:gd name="T5" fmla="*/ 2147483647 h 1152"/>
              <a:gd name="T6" fmla="*/ 0 w 1476"/>
              <a:gd name="T7" fmla="*/ 2147483647 h 1152"/>
              <a:gd name="T8" fmla="*/ 2147483647 w 1476"/>
              <a:gd name="T9" fmla="*/ 0 h 11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76" h="1152">
                <a:moveTo>
                  <a:pt x="1204" y="0"/>
                </a:moveTo>
                <a:lnTo>
                  <a:pt x="1476" y="268"/>
                </a:lnTo>
                <a:lnTo>
                  <a:pt x="1020" y="1152"/>
                </a:lnTo>
                <a:lnTo>
                  <a:pt x="0" y="352"/>
                </a:lnTo>
                <a:lnTo>
                  <a:pt x="1204" y="0"/>
                </a:lnTo>
                <a:close/>
              </a:path>
            </a:pathLst>
          </a:custGeom>
          <a:solidFill>
            <a:schemeClr val="tx1">
              <a:lumMod val="20000"/>
              <a:lumOff val="80000"/>
            </a:schemeClr>
          </a:solidFill>
          <a:ln>
            <a:noFill/>
          </a:ln>
          <a:effectLst/>
        </p:spPr>
        <p:txBody>
          <a:bodyPr wrap="none" lIns="0" tIns="0" rIns="0" bIns="0" anchor="ctr"/>
          <a:lstStyle/>
          <a:p>
            <a:endParaRPr lang="en-US">
              <a:latin typeface="+mj-lt"/>
            </a:endParaRPr>
          </a:p>
        </p:txBody>
      </p:sp>
      <p:sp>
        <p:nvSpPr>
          <p:cNvPr id="168972" name="Text Box 12"/>
          <p:cNvSpPr txBox="1">
            <a:spLocks noChangeArrowheads="1"/>
          </p:cNvSpPr>
          <p:nvPr/>
        </p:nvSpPr>
        <p:spPr bwMode="gray">
          <a:xfrm flipH="1">
            <a:off x="5391150" y="2019282"/>
            <a:ext cx="1347788" cy="212725"/>
          </a:xfrm>
          <a:prstGeom prst="rect">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8973" name="Text Box 13"/>
          <p:cNvSpPr txBox="1">
            <a:spLocks noChangeArrowheads="1"/>
          </p:cNvSpPr>
          <p:nvPr/>
        </p:nvSpPr>
        <p:spPr bwMode="gray">
          <a:xfrm flipH="1">
            <a:off x="5389564" y="4899007"/>
            <a:ext cx="1347787" cy="212725"/>
          </a:xfrm>
          <a:prstGeom prst="rect">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8974" name="Text Box 14"/>
          <p:cNvSpPr txBox="1">
            <a:spLocks noChangeArrowheads="1"/>
          </p:cNvSpPr>
          <p:nvPr/>
        </p:nvSpPr>
        <p:spPr bwMode="gray">
          <a:xfrm flipH="1">
            <a:off x="3886201" y="4521182"/>
            <a:ext cx="1349375" cy="212725"/>
          </a:xfrm>
          <a:prstGeom prst="rect">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8975" name="Text Box 15"/>
          <p:cNvSpPr txBox="1">
            <a:spLocks noChangeArrowheads="1"/>
          </p:cNvSpPr>
          <p:nvPr/>
        </p:nvSpPr>
        <p:spPr bwMode="gray">
          <a:xfrm flipH="1">
            <a:off x="3597276" y="3438507"/>
            <a:ext cx="1350963" cy="212725"/>
          </a:xfrm>
          <a:prstGeom prst="rect">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8976" name="Text Box 16"/>
          <p:cNvSpPr txBox="1">
            <a:spLocks noChangeArrowheads="1"/>
          </p:cNvSpPr>
          <p:nvPr/>
        </p:nvSpPr>
        <p:spPr bwMode="gray">
          <a:xfrm flipH="1">
            <a:off x="3884614" y="2405044"/>
            <a:ext cx="1349375" cy="212725"/>
          </a:xfrm>
          <a:prstGeom prst="rect">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8977" name="Text Box 17"/>
          <p:cNvSpPr txBox="1">
            <a:spLocks noChangeArrowheads="1"/>
          </p:cNvSpPr>
          <p:nvPr/>
        </p:nvSpPr>
        <p:spPr bwMode="gray">
          <a:xfrm>
            <a:off x="6924676" y="4521182"/>
            <a:ext cx="1350963" cy="212725"/>
          </a:xfrm>
          <a:prstGeom prst="rect">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8978" name="Text Box 18"/>
          <p:cNvSpPr txBox="1">
            <a:spLocks noChangeArrowheads="1"/>
          </p:cNvSpPr>
          <p:nvPr/>
        </p:nvSpPr>
        <p:spPr bwMode="gray">
          <a:xfrm>
            <a:off x="7212014" y="3438507"/>
            <a:ext cx="1349375" cy="212725"/>
          </a:xfrm>
          <a:prstGeom prst="rect">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168979" name="Text Box 19"/>
          <p:cNvSpPr txBox="1">
            <a:spLocks noChangeArrowheads="1"/>
          </p:cNvSpPr>
          <p:nvPr/>
        </p:nvSpPr>
        <p:spPr bwMode="gray">
          <a:xfrm>
            <a:off x="6924676" y="2405044"/>
            <a:ext cx="1350963" cy="212725"/>
          </a:xfrm>
          <a:prstGeom prst="rect">
            <a:avLst/>
          </a:prstGeom>
          <a:solidFill>
            <a:schemeClr val="tx1">
              <a:lumMod val="20000"/>
              <a:lumOff val="80000"/>
            </a:schemeClr>
          </a:solidFill>
          <a:ln>
            <a:noFill/>
          </a:ln>
          <a:effectLst/>
        </p:spPr>
        <p:txBody>
          <a:bodyPr lIns="0" tIns="0" rIns="0" bIns="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a:latin typeface="+mj-lt"/>
              </a:rPr>
              <a:t>Text</a:t>
            </a:r>
          </a:p>
        </p:txBody>
      </p:sp>
      <p:sp>
        <p:nvSpPr>
          <p:cNvPr id="4" name="Text Placeholder 3"/>
          <p:cNvSpPr>
            <a:spLocks noGrp="1"/>
          </p:cNvSpPr>
          <p:nvPr>
            <p:ph type="body" sz="quarter" idx="11"/>
          </p:nvPr>
        </p:nvSpPr>
        <p:spPr/>
        <p:txBody>
          <a:bodyPr/>
          <a:lstStyle/>
          <a:p>
            <a:endParaRPr lang="en-US"/>
          </a:p>
        </p:txBody>
      </p:sp>
      <p:sp>
        <p:nvSpPr>
          <p:cNvPr id="168981" name="Rectangle 21"/>
          <p:cNvSpPr>
            <a:spLocks noGrp="1" noChangeArrowheads="1"/>
          </p:cNvSpPr>
          <p:nvPr>
            <p:ph type="title"/>
          </p:nvPr>
        </p:nvSpPr>
        <p:spPr/>
        <p:txBody>
          <a:bodyPr/>
          <a:lstStyle/>
          <a:p>
            <a:r>
              <a:rPr lang="en-GB" altLang="en-US"/>
              <a:t>Factors</a:t>
            </a:r>
          </a:p>
        </p:txBody>
      </p:sp>
    </p:spTree>
    <p:extLst>
      <p:ext uri="{BB962C8B-B14F-4D97-AF65-F5344CB8AC3E}">
        <p14:creationId xmlns:p14="http://schemas.microsoft.com/office/powerpoint/2010/main" val="39830729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082" name="Rectangle 2" hidden="1"/>
          <p:cNvGraphicFramePr>
            <a:graphicFrameLocks/>
          </p:cNvGraphicFramePr>
          <p:nvPr>
            <p:custDataLst>
              <p:tags r:id="rId1"/>
            </p:custDataLst>
            <p:extLst>
              <p:ext uri="{D42A27DB-BD31-4B8C-83A1-F6EECF244321}">
                <p14:modId xmlns:p14="http://schemas.microsoft.com/office/powerpoint/2010/main" val="3671115863"/>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7408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 name="Text Placeholder 3"/>
          <p:cNvSpPr>
            <a:spLocks noGrp="1"/>
          </p:cNvSpPr>
          <p:nvPr>
            <p:ph type="body" sz="quarter" idx="11"/>
          </p:nvPr>
        </p:nvSpPr>
        <p:spPr/>
        <p:txBody>
          <a:bodyPr/>
          <a:lstStyle/>
          <a:p>
            <a:endParaRPr lang="en-US"/>
          </a:p>
        </p:txBody>
      </p:sp>
      <p:sp>
        <p:nvSpPr>
          <p:cNvPr id="174083" name="Rectangle 3"/>
          <p:cNvSpPr>
            <a:spLocks noGrp="1" noChangeArrowheads="1"/>
          </p:cNvSpPr>
          <p:nvPr>
            <p:ph type="title"/>
          </p:nvPr>
        </p:nvSpPr>
        <p:spPr/>
        <p:txBody>
          <a:bodyPr/>
          <a:lstStyle/>
          <a:p>
            <a:r>
              <a:rPr lang="en-GB" altLang="en-US"/>
              <a:t>Steps</a:t>
            </a:r>
          </a:p>
        </p:txBody>
      </p:sp>
      <p:grpSp>
        <p:nvGrpSpPr>
          <p:cNvPr id="174085" name="Group 5"/>
          <p:cNvGrpSpPr>
            <a:grpSpLocks/>
          </p:cNvGrpSpPr>
          <p:nvPr/>
        </p:nvGrpSpPr>
        <p:grpSpPr bwMode="auto">
          <a:xfrm>
            <a:off x="2132013" y="4422032"/>
            <a:ext cx="1770062" cy="1066800"/>
            <a:chOff x="201" y="3084"/>
            <a:chExt cx="1255" cy="698"/>
          </a:xfrm>
          <a:solidFill>
            <a:schemeClr val="bg2"/>
          </a:solidFill>
        </p:grpSpPr>
        <p:sp>
          <p:nvSpPr>
            <p:cNvPr id="174115" name="Freeform 6"/>
            <p:cNvSpPr>
              <a:spLocks/>
            </p:cNvSpPr>
            <p:nvPr/>
          </p:nvSpPr>
          <p:spPr bwMode="gray">
            <a:xfrm>
              <a:off x="201" y="3084"/>
              <a:ext cx="1255" cy="440"/>
            </a:xfrm>
            <a:custGeom>
              <a:avLst/>
              <a:gdLst>
                <a:gd name="T0" fmla="*/ 0 w 1231"/>
                <a:gd name="T1" fmla="*/ 0 h 440"/>
                <a:gd name="T2" fmla="*/ 746 w 1231"/>
                <a:gd name="T3" fmla="*/ 0 h 440"/>
                <a:gd name="T4" fmla="*/ 1304 w 1231"/>
                <a:gd name="T5" fmla="*/ 440 h 440"/>
                <a:gd name="T6" fmla="*/ 556 w 1231"/>
                <a:gd name="T7" fmla="*/ 440 h 440"/>
                <a:gd name="T8" fmla="*/ 0 w 1231"/>
                <a:gd name="T9" fmla="*/ 0 h 4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1" h="440">
                  <a:moveTo>
                    <a:pt x="0" y="0"/>
                  </a:moveTo>
                  <a:lnTo>
                    <a:pt x="704" y="0"/>
                  </a:lnTo>
                  <a:lnTo>
                    <a:pt x="1231" y="440"/>
                  </a:lnTo>
                  <a:lnTo>
                    <a:pt x="525" y="440"/>
                  </a:lnTo>
                  <a:lnTo>
                    <a:pt x="0" y="0"/>
                  </a:lnTo>
                  <a:close/>
                </a:path>
              </a:pathLst>
            </a:custGeom>
            <a:grp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16" name="Freeform 7"/>
            <p:cNvSpPr>
              <a:spLocks/>
            </p:cNvSpPr>
            <p:nvPr/>
          </p:nvSpPr>
          <p:spPr bwMode="gray">
            <a:xfrm>
              <a:off x="201" y="3084"/>
              <a:ext cx="535" cy="698"/>
            </a:xfrm>
            <a:custGeom>
              <a:avLst/>
              <a:gdLst>
                <a:gd name="T0" fmla="*/ 0 w 525"/>
                <a:gd name="T1" fmla="*/ 0 h 698"/>
                <a:gd name="T2" fmla="*/ 0 w 525"/>
                <a:gd name="T3" fmla="*/ 256 h 698"/>
                <a:gd name="T4" fmla="*/ 555 w 525"/>
                <a:gd name="T5" fmla="*/ 698 h 698"/>
                <a:gd name="T6" fmla="*/ 555 w 525"/>
                <a:gd name="T7" fmla="*/ 440 h 698"/>
                <a:gd name="T8" fmla="*/ 0 w 525"/>
                <a:gd name="T9" fmla="*/ 0 h 69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5" h="698">
                  <a:moveTo>
                    <a:pt x="0" y="0"/>
                  </a:moveTo>
                  <a:lnTo>
                    <a:pt x="0" y="256"/>
                  </a:lnTo>
                  <a:lnTo>
                    <a:pt x="525" y="698"/>
                  </a:lnTo>
                  <a:lnTo>
                    <a:pt x="525" y="440"/>
                  </a:lnTo>
                  <a:lnTo>
                    <a:pt x="0" y="0"/>
                  </a:lnTo>
                  <a:close/>
                </a:path>
              </a:pathLst>
            </a:custGeom>
            <a:grp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17" name="Freeform 8"/>
            <p:cNvSpPr>
              <a:spLocks/>
            </p:cNvSpPr>
            <p:nvPr/>
          </p:nvSpPr>
          <p:spPr bwMode="gray">
            <a:xfrm>
              <a:off x="736" y="3524"/>
              <a:ext cx="720" cy="258"/>
            </a:xfrm>
            <a:custGeom>
              <a:avLst/>
              <a:gdLst>
                <a:gd name="T0" fmla="*/ 696 w 706"/>
                <a:gd name="T1" fmla="*/ 0 h 258"/>
                <a:gd name="T2" fmla="*/ 642 w 706"/>
                <a:gd name="T3" fmla="*/ 0 h 258"/>
                <a:gd name="T4" fmla="*/ 0 w 706"/>
                <a:gd name="T5" fmla="*/ 0 h 258"/>
                <a:gd name="T6" fmla="*/ 0 w 706"/>
                <a:gd name="T7" fmla="*/ 258 h 258"/>
                <a:gd name="T8" fmla="*/ 696 w 706"/>
                <a:gd name="T9" fmla="*/ 258 h 258"/>
                <a:gd name="T10" fmla="*/ 696 w 706"/>
                <a:gd name="T11" fmla="*/ 258 h 258"/>
                <a:gd name="T12" fmla="*/ 749 w 706"/>
                <a:gd name="T13" fmla="*/ 258 h 258"/>
                <a:gd name="T14" fmla="*/ 749 w 706"/>
                <a:gd name="T15" fmla="*/ 0 h 258"/>
                <a:gd name="T16" fmla="*/ 696 w 706"/>
                <a:gd name="T17" fmla="*/ 0 h 2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06" h="258">
                  <a:moveTo>
                    <a:pt x="656" y="0"/>
                  </a:moveTo>
                  <a:lnTo>
                    <a:pt x="606" y="0"/>
                  </a:lnTo>
                  <a:lnTo>
                    <a:pt x="0" y="0"/>
                  </a:lnTo>
                  <a:lnTo>
                    <a:pt x="0" y="258"/>
                  </a:lnTo>
                  <a:lnTo>
                    <a:pt x="656" y="258"/>
                  </a:lnTo>
                  <a:lnTo>
                    <a:pt x="706" y="258"/>
                  </a:lnTo>
                  <a:lnTo>
                    <a:pt x="706" y="0"/>
                  </a:lnTo>
                  <a:lnTo>
                    <a:pt x="656" y="0"/>
                  </a:lnTo>
                  <a:close/>
                </a:path>
              </a:pathLst>
            </a:custGeom>
            <a:grpFill/>
            <a:ln w="1905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174086" name="Group 9"/>
          <p:cNvGrpSpPr>
            <a:grpSpLocks/>
          </p:cNvGrpSpPr>
          <p:nvPr/>
        </p:nvGrpSpPr>
        <p:grpSpPr bwMode="auto">
          <a:xfrm>
            <a:off x="2959101" y="4028332"/>
            <a:ext cx="1768475" cy="1066800"/>
            <a:chOff x="787" y="2826"/>
            <a:chExt cx="1255" cy="698"/>
          </a:xfrm>
          <a:solidFill>
            <a:schemeClr val="bg2"/>
          </a:solidFill>
        </p:grpSpPr>
        <p:sp>
          <p:nvSpPr>
            <p:cNvPr id="174112" name="Freeform 10"/>
            <p:cNvSpPr>
              <a:spLocks/>
            </p:cNvSpPr>
            <p:nvPr/>
          </p:nvSpPr>
          <p:spPr bwMode="gray">
            <a:xfrm>
              <a:off x="787" y="2826"/>
              <a:ext cx="1255" cy="442"/>
            </a:xfrm>
            <a:custGeom>
              <a:avLst/>
              <a:gdLst>
                <a:gd name="T0" fmla="*/ 0 w 1231"/>
                <a:gd name="T1" fmla="*/ 0 h 442"/>
                <a:gd name="T2" fmla="*/ 746 w 1231"/>
                <a:gd name="T3" fmla="*/ 0 h 442"/>
                <a:gd name="T4" fmla="*/ 1304 w 1231"/>
                <a:gd name="T5" fmla="*/ 442 h 442"/>
                <a:gd name="T6" fmla="*/ 559 w 1231"/>
                <a:gd name="T7" fmla="*/ 442 h 442"/>
                <a:gd name="T8" fmla="*/ 0 w 1231"/>
                <a:gd name="T9" fmla="*/ 0 h 4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1" h="442">
                  <a:moveTo>
                    <a:pt x="0" y="0"/>
                  </a:moveTo>
                  <a:lnTo>
                    <a:pt x="704" y="0"/>
                  </a:lnTo>
                  <a:lnTo>
                    <a:pt x="1231" y="442"/>
                  </a:lnTo>
                  <a:lnTo>
                    <a:pt x="528" y="442"/>
                  </a:lnTo>
                  <a:lnTo>
                    <a:pt x="0" y="0"/>
                  </a:lnTo>
                  <a:close/>
                </a:path>
              </a:pathLst>
            </a:custGeom>
            <a:grp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13" name="Freeform 11"/>
            <p:cNvSpPr>
              <a:spLocks/>
            </p:cNvSpPr>
            <p:nvPr/>
          </p:nvSpPr>
          <p:spPr bwMode="gray">
            <a:xfrm>
              <a:off x="787" y="2826"/>
              <a:ext cx="538" cy="698"/>
            </a:xfrm>
            <a:custGeom>
              <a:avLst/>
              <a:gdLst>
                <a:gd name="T0" fmla="*/ 0 w 528"/>
                <a:gd name="T1" fmla="*/ 0 h 698"/>
                <a:gd name="T2" fmla="*/ 0 w 528"/>
                <a:gd name="T3" fmla="*/ 258 h 698"/>
                <a:gd name="T4" fmla="*/ 558 w 528"/>
                <a:gd name="T5" fmla="*/ 698 h 698"/>
                <a:gd name="T6" fmla="*/ 558 w 528"/>
                <a:gd name="T7" fmla="*/ 442 h 698"/>
                <a:gd name="T8" fmla="*/ 0 w 528"/>
                <a:gd name="T9" fmla="*/ 0 h 69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8" h="698">
                  <a:moveTo>
                    <a:pt x="0" y="0"/>
                  </a:moveTo>
                  <a:lnTo>
                    <a:pt x="0" y="258"/>
                  </a:lnTo>
                  <a:lnTo>
                    <a:pt x="528" y="698"/>
                  </a:lnTo>
                  <a:lnTo>
                    <a:pt x="528" y="442"/>
                  </a:lnTo>
                  <a:lnTo>
                    <a:pt x="0" y="0"/>
                  </a:lnTo>
                  <a:close/>
                </a:path>
              </a:pathLst>
            </a:custGeom>
            <a:grp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14" name="Rectangle 12"/>
            <p:cNvSpPr>
              <a:spLocks noChangeArrowheads="1"/>
            </p:cNvSpPr>
            <p:nvPr/>
          </p:nvSpPr>
          <p:spPr bwMode="gray">
            <a:xfrm>
              <a:off x="1325" y="3268"/>
              <a:ext cx="717" cy="256"/>
            </a:xfrm>
            <a:prstGeom prst="rect">
              <a:avLst/>
            </a:prstGeom>
            <a:grpFill/>
            <a:ln w="1905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grpSp>
      <p:grpSp>
        <p:nvGrpSpPr>
          <p:cNvPr id="174087" name="Group 13"/>
          <p:cNvGrpSpPr>
            <a:grpSpLocks/>
          </p:cNvGrpSpPr>
          <p:nvPr/>
        </p:nvGrpSpPr>
        <p:grpSpPr bwMode="auto">
          <a:xfrm>
            <a:off x="3786188" y="3637807"/>
            <a:ext cx="1771650" cy="1066800"/>
            <a:chOff x="1374" y="2570"/>
            <a:chExt cx="1257" cy="698"/>
          </a:xfrm>
          <a:solidFill>
            <a:schemeClr val="bg2"/>
          </a:solidFill>
        </p:grpSpPr>
        <p:sp>
          <p:nvSpPr>
            <p:cNvPr id="174109" name="Freeform 14"/>
            <p:cNvSpPr>
              <a:spLocks/>
            </p:cNvSpPr>
            <p:nvPr/>
          </p:nvSpPr>
          <p:spPr bwMode="gray">
            <a:xfrm>
              <a:off x="1374" y="2570"/>
              <a:ext cx="1257" cy="442"/>
            </a:xfrm>
            <a:custGeom>
              <a:avLst/>
              <a:gdLst>
                <a:gd name="T0" fmla="*/ 0 w 1233"/>
                <a:gd name="T1" fmla="*/ 0 h 442"/>
                <a:gd name="T2" fmla="*/ 747 w 1233"/>
                <a:gd name="T3" fmla="*/ 0 h 442"/>
                <a:gd name="T4" fmla="*/ 1306 w 1233"/>
                <a:gd name="T5" fmla="*/ 442 h 442"/>
                <a:gd name="T6" fmla="*/ 558 w 1233"/>
                <a:gd name="T7" fmla="*/ 442 h 442"/>
                <a:gd name="T8" fmla="*/ 0 w 1233"/>
                <a:gd name="T9" fmla="*/ 0 h 4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3" h="442">
                  <a:moveTo>
                    <a:pt x="0" y="0"/>
                  </a:moveTo>
                  <a:lnTo>
                    <a:pt x="705" y="0"/>
                  </a:lnTo>
                  <a:lnTo>
                    <a:pt x="1233" y="442"/>
                  </a:lnTo>
                  <a:lnTo>
                    <a:pt x="527" y="442"/>
                  </a:lnTo>
                  <a:lnTo>
                    <a:pt x="0" y="0"/>
                  </a:lnTo>
                  <a:close/>
                </a:path>
              </a:pathLst>
            </a:custGeom>
            <a:grp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10" name="Freeform 15"/>
            <p:cNvSpPr>
              <a:spLocks/>
            </p:cNvSpPr>
            <p:nvPr/>
          </p:nvSpPr>
          <p:spPr bwMode="gray">
            <a:xfrm>
              <a:off x="1374" y="2570"/>
              <a:ext cx="537" cy="698"/>
            </a:xfrm>
            <a:custGeom>
              <a:avLst/>
              <a:gdLst>
                <a:gd name="T0" fmla="*/ 0 w 527"/>
                <a:gd name="T1" fmla="*/ 0 h 698"/>
                <a:gd name="T2" fmla="*/ 0 w 527"/>
                <a:gd name="T3" fmla="*/ 256 h 698"/>
                <a:gd name="T4" fmla="*/ 557 w 527"/>
                <a:gd name="T5" fmla="*/ 698 h 698"/>
                <a:gd name="T6" fmla="*/ 557 w 527"/>
                <a:gd name="T7" fmla="*/ 442 h 698"/>
                <a:gd name="T8" fmla="*/ 0 w 527"/>
                <a:gd name="T9" fmla="*/ 0 h 69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7" h="698">
                  <a:moveTo>
                    <a:pt x="0" y="0"/>
                  </a:moveTo>
                  <a:lnTo>
                    <a:pt x="0" y="256"/>
                  </a:lnTo>
                  <a:lnTo>
                    <a:pt x="527" y="698"/>
                  </a:lnTo>
                  <a:lnTo>
                    <a:pt x="527" y="442"/>
                  </a:lnTo>
                  <a:lnTo>
                    <a:pt x="0" y="0"/>
                  </a:lnTo>
                  <a:close/>
                </a:path>
              </a:pathLst>
            </a:custGeom>
            <a:grp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11" name="Rectangle 16"/>
            <p:cNvSpPr>
              <a:spLocks noChangeArrowheads="1"/>
            </p:cNvSpPr>
            <p:nvPr/>
          </p:nvSpPr>
          <p:spPr bwMode="gray">
            <a:xfrm>
              <a:off x="1911" y="3012"/>
              <a:ext cx="720" cy="256"/>
            </a:xfrm>
            <a:prstGeom prst="rect">
              <a:avLst/>
            </a:prstGeom>
            <a:grpFill/>
            <a:ln w="1905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grpSp>
      <p:grpSp>
        <p:nvGrpSpPr>
          <p:cNvPr id="174088" name="Group 17"/>
          <p:cNvGrpSpPr>
            <a:grpSpLocks/>
          </p:cNvGrpSpPr>
          <p:nvPr/>
        </p:nvGrpSpPr>
        <p:grpSpPr bwMode="auto">
          <a:xfrm>
            <a:off x="4614863" y="3247282"/>
            <a:ext cx="1770062" cy="1066800"/>
            <a:chOff x="1962" y="2314"/>
            <a:chExt cx="1255" cy="698"/>
          </a:xfrm>
        </p:grpSpPr>
        <p:sp>
          <p:nvSpPr>
            <p:cNvPr id="174106" name="Freeform 18"/>
            <p:cNvSpPr>
              <a:spLocks/>
            </p:cNvSpPr>
            <p:nvPr/>
          </p:nvSpPr>
          <p:spPr bwMode="gray">
            <a:xfrm>
              <a:off x="1962" y="2314"/>
              <a:ext cx="1255" cy="440"/>
            </a:xfrm>
            <a:custGeom>
              <a:avLst/>
              <a:gdLst>
                <a:gd name="T0" fmla="*/ 0 w 1231"/>
                <a:gd name="T1" fmla="*/ 0 h 440"/>
                <a:gd name="T2" fmla="*/ 746 w 1231"/>
                <a:gd name="T3" fmla="*/ 0 h 440"/>
                <a:gd name="T4" fmla="*/ 1304 w 1231"/>
                <a:gd name="T5" fmla="*/ 440 h 440"/>
                <a:gd name="T6" fmla="*/ 558 w 1231"/>
                <a:gd name="T7" fmla="*/ 440 h 440"/>
                <a:gd name="T8" fmla="*/ 0 w 1231"/>
                <a:gd name="T9" fmla="*/ 0 h 4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1" h="440">
                  <a:moveTo>
                    <a:pt x="0" y="0"/>
                  </a:moveTo>
                  <a:lnTo>
                    <a:pt x="704" y="0"/>
                  </a:lnTo>
                  <a:lnTo>
                    <a:pt x="1231" y="440"/>
                  </a:lnTo>
                  <a:lnTo>
                    <a:pt x="527" y="440"/>
                  </a:lnTo>
                  <a:lnTo>
                    <a:pt x="0" y="0"/>
                  </a:lnTo>
                  <a:close/>
                </a:path>
              </a:pathLst>
            </a:custGeom>
            <a:solidFill>
              <a:srgbClr val="BFBFBF"/>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07" name="Freeform 19"/>
            <p:cNvSpPr>
              <a:spLocks/>
            </p:cNvSpPr>
            <p:nvPr/>
          </p:nvSpPr>
          <p:spPr bwMode="gray">
            <a:xfrm>
              <a:off x="1962" y="2314"/>
              <a:ext cx="537" cy="698"/>
            </a:xfrm>
            <a:custGeom>
              <a:avLst/>
              <a:gdLst>
                <a:gd name="T0" fmla="*/ 0 w 527"/>
                <a:gd name="T1" fmla="*/ 0 h 698"/>
                <a:gd name="T2" fmla="*/ 0 w 527"/>
                <a:gd name="T3" fmla="*/ 256 h 698"/>
                <a:gd name="T4" fmla="*/ 557 w 527"/>
                <a:gd name="T5" fmla="*/ 698 h 698"/>
                <a:gd name="T6" fmla="*/ 557 w 527"/>
                <a:gd name="T7" fmla="*/ 440 h 698"/>
                <a:gd name="T8" fmla="*/ 0 w 527"/>
                <a:gd name="T9" fmla="*/ 0 h 69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7" h="698">
                  <a:moveTo>
                    <a:pt x="0" y="0"/>
                  </a:moveTo>
                  <a:lnTo>
                    <a:pt x="0" y="256"/>
                  </a:lnTo>
                  <a:lnTo>
                    <a:pt x="527" y="698"/>
                  </a:lnTo>
                  <a:lnTo>
                    <a:pt x="527" y="440"/>
                  </a:lnTo>
                  <a:lnTo>
                    <a:pt x="0" y="0"/>
                  </a:lnTo>
                  <a:close/>
                </a:path>
              </a:pathLst>
            </a:custGeom>
            <a:solidFill>
              <a:srgbClr val="BFBFBF"/>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08" name="Rectangle 20"/>
            <p:cNvSpPr>
              <a:spLocks noChangeArrowheads="1"/>
            </p:cNvSpPr>
            <p:nvPr/>
          </p:nvSpPr>
          <p:spPr bwMode="gray">
            <a:xfrm>
              <a:off x="2499" y="2754"/>
              <a:ext cx="718" cy="258"/>
            </a:xfrm>
            <a:prstGeom prst="rect">
              <a:avLst/>
            </a:prstGeom>
            <a:solidFill>
              <a:srgbClr val="BFBFBF"/>
            </a:solidFill>
            <a:ln w="19050">
              <a:solidFill>
                <a:schemeClr val="bg1"/>
              </a:solidFill>
              <a:miter lim="800000"/>
              <a:headEnd/>
              <a:tailEnd/>
            </a:ln>
          </p:spPr>
          <p:txBody>
            <a:bodyP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p>
          </p:txBody>
        </p:sp>
      </p:grpSp>
      <p:grpSp>
        <p:nvGrpSpPr>
          <p:cNvPr id="174089" name="Group 21"/>
          <p:cNvGrpSpPr>
            <a:grpSpLocks/>
          </p:cNvGrpSpPr>
          <p:nvPr/>
        </p:nvGrpSpPr>
        <p:grpSpPr bwMode="auto">
          <a:xfrm>
            <a:off x="5441951" y="2851994"/>
            <a:ext cx="1768475" cy="1066800"/>
            <a:chOff x="2548" y="2055"/>
            <a:chExt cx="1255" cy="699"/>
          </a:xfrm>
        </p:grpSpPr>
        <p:sp>
          <p:nvSpPr>
            <p:cNvPr id="174103" name="Freeform 22"/>
            <p:cNvSpPr>
              <a:spLocks/>
            </p:cNvSpPr>
            <p:nvPr/>
          </p:nvSpPr>
          <p:spPr bwMode="gray">
            <a:xfrm>
              <a:off x="2548" y="2055"/>
              <a:ext cx="1255" cy="443"/>
            </a:xfrm>
            <a:custGeom>
              <a:avLst/>
              <a:gdLst>
                <a:gd name="T0" fmla="*/ 0 w 1231"/>
                <a:gd name="T1" fmla="*/ 0 h 443"/>
                <a:gd name="T2" fmla="*/ 748 w 1231"/>
                <a:gd name="T3" fmla="*/ 0 h 443"/>
                <a:gd name="T4" fmla="*/ 1304 w 1231"/>
                <a:gd name="T5" fmla="*/ 443 h 443"/>
                <a:gd name="T6" fmla="*/ 559 w 1231"/>
                <a:gd name="T7" fmla="*/ 443 h 443"/>
                <a:gd name="T8" fmla="*/ 0 w 1231"/>
                <a:gd name="T9" fmla="*/ 0 h 4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1" h="443">
                  <a:moveTo>
                    <a:pt x="0" y="0"/>
                  </a:moveTo>
                  <a:lnTo>
                    <a:pt x="706" y="0"/>
                  </a:lnTo>
                  <a:lnTo>
                    <a:pt x="1231" y="443"/>
                  </a:lnTo>
                  <a:lnTo>
                    <a:pt x="528" y="443"/>
                  </a:lnTo>
                  <a:lnTo>
                    <a:pt x="0" y="0"/>
                  </a:lnTo>
                  <a:close/>
                </a:path>
              </a:pathLst>
            </a:custGeom>
            <a:solidFill>
              <a:srgbClr val="BFBFBF"/>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04" name="Freeform 23"/>
            <p:cNvSpPr>
              <a:spLocks/>
            </p:cNvSpPr>
            <p:nvPr/>
          </p:nvSpPr>
          <p:spPr bwMode="gray">
            <a:xfrm>
              <a:off x="2548" y="2055"/>
              <a:ext cx="539" cy="699"/>
            </a:xfrm>
            <a:custGeom>
              <a:avLst/>
              <a:gdLst>
                <a:gd name="T0" fmla="*/ 0 w 528"/>
                <a:gd name="T1" fmla="*/ 0 h 699"/>
                <a:gd name="T2" fmla="*/ 0 w 528"/>
                <a:gd name="T3" fmla="*/ 259 h 699"/>
                <a:gd name="T4" fmla="*/ 561 w 528"/>
                <a:gd name="T5" fmla="*/ 699 h 699"/>
                <a:gd name="T6" fmla="*/ 561 w 528"/>
                <a:gd name="T7" fmla="*/ 443 h 699"/>
                <a:gd name="T8" fmla="*/ 0 w 528"/>
                <a:gd name="T9" fmla="*/ 0 h 69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8" h="699">
                  <a:moveTo>
                    <a:pt x="0" y="0"/>
                  </a:moveTo>
                  <a:lnTo>
                    <a:pt x="0" y="259"/>
                  </a:lnTo>
                  <a:lnTo>
                    <a:pt x="528" y="699"/>
                  </a:lnTo>
                  <a:lnTo>
                    <a:pt x="528" y="443"/>
                  </a:lnTo>
                  <a:lnTo>
                    <a:pt x="0" y="0"/>
                  </a:lnTo>
                  <a:close/>
                </a:path>
              </a:pathLst>
            </a:custGeom>
            <a:solidFill>
              <a:srgbClr val="BFBFBF"/>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05" name="Rectangle 24"/>
            <p:cNvSpPr>
              <a:spLocks noChangeArrowheads="1"/>
            </p:cNvSpPr>
            <p:nvPr/>
          </p:nvSpPr>
          <p:spPr bwMode="gray">
            <a:xfrm>
              <a:off x="3087" y="2498"/>
              <a:ext cx="716" cy="256"/>
            </a:xfrm>
            <a:prstGeom prst="rect">
              <a:avLst/>
            </a:prstGeom>
            <a:solidFill>
              <a:srgbClr val="BFBFBF"/>
            </a:solidFill>
            <a:ln w="19050">
              <a:solidFill>
                <a:schemeClr val="bg1"/>
              </a:solidFill>
              <a:miter lim="800000"/>
              <a:headEnd/>
              <a:tailEnd/>
            </a:ln>
          </p:spPr>
          <p:txBody>
            <a:bodyP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grpSp>
      <p:grpSp>
        <p:nvGrpSpPr>
          <p:cNvPr id="174090" name="Group 25"/>
          <p:cNvGrpSpPr>
            <a:grpSpLocks/>
          </p:cNvGrpSpPr>
          <p:nvPr/>
        </p:nvGrpSpPr>
        <p:grpSpPr bwMode="auto">
          <a:xfrm>
            <a:off x="6273801" y="2459883"/>
            <a:ext cx="1768475" cy="1068387"/>
            <a:chOff x="3138" y="1799"/>
            <a:chExt cx="1254" cy="699"/>
          </a:xfrm>
        </p:grpSpPr>
        <p:sp>
          <p:nvSpPr>
            <p:cNvPr id="174100" name="Freeform 26"/>
            <p:cNvSpPr>
              <a:spLocks/>
            </p:cNvSpPr>
            <p:nvPr/>
          </p:nvSpPr>
          <p:spPr bwMode="gray">
            <a:xfrm>
              <a:off x="3138" y="1799"/>
              <a:ext cx="1254" cy="443"/>
            </a:xfrm>
            <a:custGeom>
              <a:avLst/>
              <a:gdLst>
                <a:gd name="T0" fmla="*/ 0 w 1231"/>
                <a:gd name="T1" fmla="*/ 0 h 443"/>
                <a:gd name="T2" fmla="*/ 743 w 1231"/>
                <a:gd name="T3" fmla="*/ 0 h 443"/>
                <a:gd name="T4" fmla="*/ 1301 w 1231"/>
                <a:gd name="T5" fmla="*/ 443 h 443"/>
                <a:gd name="T6" fmla="*/ 555 w 1231"/>
                <a:gd name="T7" fmla="*/ 443 h 443"/>
                <a:gd name="T8" fmla="*/ 0 w 1231"/>
                <a:gd name="T9" fmla="*/ 0 h 4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1" h="443">
                  <a:moveTo>
                    <a:pt x="0" y="0"/>
                  </a:moveTo>
                  <a:lnTo>
                    <a:pt x="703" y="0"/>
                  </a:lnTo>
                  <a:lnTo>
                    <a:pt x="1231" y="443"/>
                  </a:lnTo>
                  <a:lnTo>
                    <a:pt x="525" y="443"/>
                  </a:lnTo>
                  <a:lnTo>
                    <a:pt x="0" y="0"/>
                  </a:lnTo>
                  <a:close/>
                </a:path>
              </a:pathLst>
            </a:custGeom>
            <a:solidFill>
              <a:srgbClr val="BFBFBF"/>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01" name="Freeform 27"/>
            <p:cNvSpPr>
              <a:spLocks/>
            </p:cNvSpPr>
            <p:nvPr/>
          </p:nvSpPr>
          <p:spPr bwMode="gray">
            <a:xfrm>
              <a:off x="3138" y="1799"/>
              <a:ext cx="535" cy="699"/>
            </a:xfrm>
            <a:custGeom>
              <a:avLst/>
              <a:gdLst>
                <a:gd name="T0" fmla="*/ 0 w 525"/>
                <a:gd name="T1" fmla="*/ 0 h 699"/>
                <a:gd name="T2" fmla="*/ 0 w 525"/>
                <a:gd name="T3" fmla="*/ 256 h 699"/>
                <a:gd name="T4" fmla="*/ 555 w 525"/>
                <a:gd name="T5" fmla="*/ 699 h 699"/>
                <a:gd name="T6" fmla="*/ 555 w 525"/>
                <a:gd name="T7" fmla="*/ 443 h 699"/>
                <a:gd name="T8" fmla="*/ 0 w 525"/>
                <a:gd name="T9" fmla="*/ 0 h 69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5" h="699">
                  <a:moveTo>
                    <a:pt x="0" y="0"/>
                  </a:moveTo>
                  <a:lnTo>
                    <a:pt x="0" y="256"/>
                  </a:lnTo>
                  <a:lnTo>
                    <a:pt x="525" y="699"/>
                  </a:lnTo>
                  <a:lnTo>
                    <a:pt x="525" y="443"/>
                  </a:lnTo>
                  <a:lnTo>
                    <a:pt x="0" y="0"/>
                  </a:lnTo>
                  <a:close/>
                </a:path>
              </a:pathLst>
            </a:custGeom>
            <a:solidFill>
              <a:srgbClr val="BFBFBF"/>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102" name="Rectangle 28"/>
            <p:cNvSpPr>
              <a:spLocks noChangeArrowheads="1"/>
            </p:cNvSpPr>
            <p:nvPr/>
          </p:nvSpPr>
          <p:spPr bwMode="gray">
            <a:xfrm>
              <a:off x="3673" y="2242"/>
              <a:ext cx="719" cy="256"/>
            </a:xfrm>
            <a:prstGeom prst="rect">
              <a:avLst/>
            </a:prstGeom>
            <a:solidFill>
              <a:srgbClr val="BFBFBF"/>
            </a:solidFill>
            <a:ln w="19050">
              <a:solidFill>
                <a:schemeClr val="bg1"/>
              </a:solidFill>
              <a:miter lim="800000"/>
              <a:headEnd/>
              <a:tailEnd/>
            </a:ln>
          </p:spPr>
          <p:txBody>
            <a:bodyP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grpSp>
      <p:grpSp>
        <p:nvGrpSpPr>
          <p:cNvPr id="174091" name="Group 29"/>
          <p:cNvGrpSpPr>
            <a:grpSpLocks/>
          </p:cNvGrpSpPr>
          <p:nvPr/>
        </p:nvGrpSpPr>
        <p:grpSpPr bwMode="auto">
          <a:xfrm>
            <a:off x="7099301" y="2069357"/>
            <a:ext cx="1768475" cy="1066800"/>
            <a:chOff x="3724" y="1543"/>
            <a:chExt cx="1254" cy="699"/>
          </a:xfrm>
        </p:grpSpPr>
        <p:sp>
          <p:nvSpPr>
            <p:cNvPr id="174097" name="Freeform 30"/>
            <p:cNvSpPr>
              <a:spLocks/>
            </p:cNvSpPr>
            <p:nvPr/>
          </p:nvSpPr>
          <p:spPr bwMode="gray">
            <a:xfrm>
              <a:off x="3724" y="1543"/>
              <a:ext cx="1254" cy="440"/>
            </a:xfrm>
            <a:custGeom>
              <a:avLst/>
              <a:gdLst>
                <a:gd name="T0" fmla="*/ 0 w 1231"/>
                <a:gd name="T1" fmla="*/ 0 h 440"/>
                <a:gd name="T2" fmla="*/ 744 w 1231"/>
                <a:gd name="T3" fmla="*/ 0 h 440"/>
                <a:gd name="T4" fmla="*/ 1301 w 1231"/>
                <a:gd name="T5" fmla="*/ 440 h 440"/>
                <a:gd name="T6" fmla="*/ 557 w 1231"/>
                <a:gd name="T7" fmla="*/ 440 h 440"/>
                <a:gd name="T8" fmla="*/ 0 w 1231"/>
                <a:gd name="T9" fmla="*/ 0 h 4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1" h="440">
                  <a:moveTo>
                    <a:pt x="0" y="0"/>
                  </a:moveTo>
                  <a:lnTo>
                    <a:pt x="704" y="0"/>
                  </a:lnTo>
                  <a:lnTo>
                    <a:pt x="1231" y="440"/>
                  </a:lnTo>
                  <a:lnTo>
                    <a:pt x="527" y="440"/>
                  </a:lnTo>
                  <a:lnTo>
                    <a:pt x="0" y="0"/>
                  </a:lnTo>
                  <a:close/>
                </a:path>
              </a:pathLst>
            </a:custGeom>
            <a:solidFill>
              <a:srgbClr val="DCDCDC"/>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098" name="Freeform 31"/>
            <p:cNvSpPr>
              <a:spLocks/>
            </p:cNvSpPr>
            <p:nvPr/>
          </p:nvSpPr>
          <p:spPr bwMode="gray">
            <a:xfrm>
              <a:off x="3724" y="1543"/>
              <a:ext cx="537" cy="699"/>
            </a:xfrm>
            <a:custGeom>
              <a:avLst/>
              <a:gdLst>
                <a:gd name="T0" fmla="*/ 0 w 527"/>
                <a:gd name="T1" fmla="*/ 0 h 699"/>
                <a:gd name="T2" fmla="*/ 0 w 527"/>
                <a:gd name="T3" fmla="*/ 256 h 699"/>
                <a:gd name="T4" fmla="*/ 557 w 527"/>
                <a:gd name="T5" fmla="*/ 699 h 699"/>
                <a:gd name="T6" fmla="*/ 557 w 527"/>
                <a:gd name="T7" fmla="*/ 440 h 699"/>
                <a:gd name="T8" fmla="*/ 0 w 527"/>
                <a:gd name="T9" fmla="*/ 0 h 69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7" h="699">
                  <a:moveTo>
                    <a:pt x="0" y="0"/>
                  </a:moveTo>
                  <a:lnTo>
                    <a:pt x="0" y="256"/>
                  </a:lnTo>
                  <a:lnTo>
                    <a:pt x="527" y="699"/>
                  </a:lnTo>
                  <a:lnTo>
                    <a:pt x="527" y="440"/>
                  </a:lnTo>
                  <a:lnTo>
                    <a:pt x="0" y="0"/>
                  </a:lnTo>
                  <a:close/>
                </a:path>
              </a:pathLst>
            </a:custGeom>
            <a:solidFill>
              <a:srgbClr val="DCDCDC"/>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099" name="Rectangle 32"/>
            <p:cNvSpPr>
              <a:spLocks noChangeArrowheads="1"/>
            </p:cNvSpPr>
            <p:nvPr/>
          </p:nvSpPr>
          <p:spPr bwMode="gray">
            <a:xfrm>
              <a:off x="4261" y="1983"/>
              <a:ext cx="717" cy="259"/>
            </a:xfrm>
            <a:prstGeom prst="rect">
              <a:avLst/>
            </a:prstGeom>
            <a:solidFill>
              <a:srgbClr val="DCDCDC"/>
            </a:solidFill>
            <a:ln w="19050">
              <a:solidFill>
                <a:schemeClr val="bg1"/>
              </a:solidFill>
              <a:miter lim="800000"/>
              <a:headEnd/>
              <a:tailEnd/>
            </a:ln>
          </p:spPr>
          <p:txBody>
            <a:bodyP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grpSp>
      <p:grpSp>
        <p:nvGrpSpPr>
          <p:cNvPr id="174092" name="Group 33"/>
          <p:cNvGrpSpPr>
            <a:grpSpLocks/>
          </p:cNvGrpSpPr>
          <p:nvPr/>
        </p:nvGrpSpPr>
        <p:grpSpPr bwMode="auto">
          <a:xfrm>
            <a:off x="7929563" y="1674069"/>
            <a:ext cx="1770062" cy="1068388"/>
            <a:chOff x="4313" y="1284"/>
            <a:chExt cx="1255" cy="699"/>
          </a:xfrm>
        </p:grpSpPr>
        <p:sp>
          <p:nvSpPr>
            <p:cNvPr id="174094" name="Freeform 34"/>
            <p:cNvSpPr>
              <a:spLocks/>
            </p:cNvSpPr>
            <p:nvPr/>
          </p:nvSpPr>
          <p:spPr bwMode="gray">
            <a:xfrm>
              <a:off x="4313" y="1284"/>
              <a:ext cx="1255" cy="440"/>
            </a:xfrm>
            <a:custGeom>
              <a:avLst/>
              <a:gdLst>
                <a:gd name="T0" fmla="*/ 0 w 1231"/>
                <a:gd name="T1" fmla="*/ 0 h 440"/>
                <a:gd name="T2" fmla="*/ 746 w 1231"/>
                <a:gd name="T3" fmla="*/ 0 h 440"/>
                <a:gd name="T4" fmla="*/ 1304 w 1231"/>
                <a:gd name="T5" fmla="*/ 440 h 440"/>
                <a:gd name="T6" fmla="*/ 558 w 1231"/>
                <a:gd name="T7" fmla="*/ 440 h 440"/>
                <a:gd name="T8" fmla="*/ 0 w 1231"/>
                <a:gd name="T9" fmla="*/ 0 h 4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1" h="440">
                  <a:moveTo>
                    <a:pt x="0" y="0"/>
                  </a:moveTo>
                  <a:lnTo>
                    <a:pt x="704" y="0"/>
                  </a:lnTo>
                  <a:lnTo>
                    <a:pt x="1231" y="440"/>
                  </a:lnTo>
                  <a:lnTo>
                    <a:pt x="527" y="440"/>
                  </a:lnTo>
                  <a:lnTo>
                    <a:pt x="0" y="0"/>
                  </a:lnTo>
                  <a:close/>
                </a:path>
              </a:pathLst>
            </a:custGeom>
            <a:solidFill>
              <a:srgbClr val="DCDCDC"/>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095" name="Freeform 35"/>
            <p:cNvSpPr>
              <a:spLocks/>
            </p:cNvSpPr>
            <p:nvPr/>
          </p:nvSpPr>
          <p:spPr bwMode="gray">
            <a:xfrm>
              <a:off x="4313" y="1284"/>
              <a:ext cx="537" cy="699"/>
            </a:xfrm>
            <a:custGeom>
              <a:avLst/>
              <a:gdLst>
                <a:gd name="T0" fmla="*/ 0 w 527"/>
                <a:gd name="T1" fmla="*/ 0 h 699"/>
                <a:gd name="T2" fmla="*/ 0 w 527"/>
                <a:gd name="T3" fmla="*/ 256 h 699"/>
                <a:gd name="T4" fmla="*/ 557 w 527"/>
                <a:gd name="T5" fmla="*/ 699 h 699"/>
                <a:gd name="T6" fmla="*/ 557 w 527"/>
                <a:gd name="T7" fmla="*/ 440 h 699"/>
                <a:gd name="T8" fmla="*/ 0 w 527"/>
                <a:gd name="T9" fmla="*/ 0 h 69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7" h="699">
                  <a:moveTo>
                    <a:pt x="0" y="0"/>
                  </a:moveTo>
                  <a:lnTo>
                    <a:pt x="0" y="256"/>
                  </a:lnTo>
                  <a:lnTo>
                    <a:pt x="527" y="699"/>
                  </a:lnTo>
                  <a:lnTo>
                    <a:pt x="527" y="440"/>
                  </a:lnTo>
                  <a:lnTo>
                    <a:pt x="0" y="0"/>
                  </a:lnTo>
                  <a:close/>
                </a:path>
              </a:pathLst>
            </a:custGeom>
            <a:solidFill>
              <a:srgbClr val="DCDCDC"/>
            </a:solidFill>
            <a:ln w="190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096" name="Rectangle 36"/>
            <p:cNvSpPr>
              <a:spLocks noChangeArrowheads="1"/>
            </p:cNvSpPr>
            <p:nvPr/>
          </p:nvSpPr>
          <p:spPr bwMode="gray">
            <a:xfrm>
              <a:off x="4850" y="1724"/>
              <a:ext cx="718" cy="259"/>
            </a:xfrm>
            <a:prstGeom prst="rect">
              <a:avLst/>
            </a:prstGeom>
            <a:solidFill>
              <a:srgbClr val="DCDCDC"/>
            </a:solidFill>
            <a:ln w="19050">
              <a:solidFill>
                <a:schemeClr val="bg1"/>
              </a:solidFill>
              <a:miter lim="800000"/>
              <a:headEnd/>
              <a:tailEnd/>
            </a:ln>
          </p:spPr>
          <p:txBody>
            <a:bodyP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grpSp>
    </p:spTree>
    <p:extLst>
      <p:ext uri="{BB962C8B-B14F-4D97-AF65-F5344CB8AC3E}">
        <p14:creationId xmlns:p14="http://schemas.microsoft.com/office/powerpoint/2010/main" val="199653380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130" name="Rectangle 2" hidden="1"/>
          <p:cNvGraphicFramePr>
            <a:graphicFrameLocks/>
          </p:cNvGraphicFramePr>
          <p:nvPr>
            <p:custDataLst>
              <p:tags r:id="rId1"/>
            </p:custDataLst>
            <p:extLst>
              <p:ext uri="{D42A27DB-BD31-4B8C-83A1-F6EECF244321}">
                <p14:modId xmlns:p14="http://schemas.microsoft.com/office/powerpoint/2010/main" val="521858280"/>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7613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 name="Text Placeholder 3"/>
          <p:cNvSpPr>
            <a:spLocks noGrp="1"/>
          </p:cNvSpPr>
          <p:nvPr>
            <p:ph type="body" sz="quarter" idx="11"/>
          </p:nvPr>
        </p:nvSpPr>
        <p:spPr/>
        <p:txBody>
          <a:bodyPr/>
          <a:lstStyle/>
          <a:p>
            <a:endParaRPr lang="en-US"/>
          </a:p>
        </p:txBody>
      </p:sp>
      <p:sp>
        <p:nvSpPr>
          <p:cNvPr id="176131" name="Rectangle 3"/>
          <p:cNvSpPr>
            <a:spLocks noGrp="1" noChangeArrowheads="1"/>
          </p:cNvSpPr>
          <p:nvPr>
            <p:ph type="title"/>
          </p:nvPr>
        </p:nvSpPr>
        <p:spPr/>
        <p:txBody>
          <a:bodyPr/>
          <a:lstStyle/>
          <a:p>
            <a:r>
              <a:rPr lang="en-GB" altLang="en-US"/>
              <a:t>Steps</a:t>
            </a:r>
          </a:p>
        </p:txBody>
      </p:sp>
      <p:sp>
        <p:nvSpPr>
          <p:cNvPr id="176132" name="Rectangle 4"/>
          <p:cNvSpPr>
            <a:spLocks noChangeArrowheads="1"/>
          </p:cNvSpPr>
          <p:nvPr/>
        </p:nvSpPr>
        <p:spPr bwMode="gray">
          <a:xfrm>
            <a:off x="8297863" y="1321586"/>
            <a:ext cx="1789112" cy="352425"/>
          </a:xfrm>
          <a:prstGeom prst="rect">
            <a:avLst/>
          </a:prstGeom>
          <a:solidFill>
            <a:schemeClr val="tx1">
              <a:lumMod val="60000"/>
              <a:lumOff val="40000"/>
            </a:schemeClr>
          </a:solidFill>
          <a:ln>
            <a:noFill/>
          </a:ln>
          <a:effectLst/>
        </p:spPr>
        <p:txBody>
          <a:bodyPr lIns="18000" tIns="18000" rIns="18000" bIns="18000" anchor="ctr"/>
          <a:lstStyle>
            <a:lvl1pPr algn="l" defTabSz="801688">
              <a:spcBef>
                <a:spcPct val="20000"/>
              </a:spcBef>
              <a:buChar char="•"/>
              <a:defRPr sz="1100">
                <a:solidFill>
                  <a:schemeClr val="tx1"/>
                </a:solidFill>
                <a:latin typeface="Arial" panose="020B0604020202020204" pitchFamily="34" charset="0"/>
              </a:defRPr>
            </a:lvl1pPr>
            <a:lvl2pPr marL="501650" indent="-187325" algn="l" defTabSz="8016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01713" indent="-228600" algn="l" defTabSz="801688">
              <a:spcBef>
                <a:spcPct val="20000"/>
              </a:spcBef>
              <a:buChar char="–"/>
              <a:defRPr sz="1100">
                <a:solidFill>
                  <a:schemeClr val="tx1"/>
                </a:solidFill>
                <a:latin typeface="Arial" panose="020B0604020202020204" pitchFamily="34" charset="0"/>
              </a:defRPr>
            </a:lvl3pPr>
            <a:lvl4pPr marL="1503363" indent="-228600" algn="l" defTabSz="801688">
              <a:spcBef>
                <a:spcPct val="20000"/>
              </a:spcBef>
              <a:buChar char="–"/>
              <a:defRPr sz="1100">
                <a:solidFill>
                  <a:schemeClr val="tx1"/>
                </a:solidFill>
                <a:latin typeface="Arial" panose="020B0604020202020204" pitchFamily="34" charset="0"/>
              </a:defRPr>
            </a:lvl4pPr>
            <a:lvl5pPr marL="2003425" indent="-228600" algn="l" defTabSz="801688">
              <a:spcBef>
                <a:spcPct val="20000"/>
              </a:spcBef>
              <a:buChar char="»"/>
              <a:defRPr sz="2000">
                <a:solidFill>
                  <a:schemeClr val="tx1"/>
                </a:solidFill>
                <a:latin typeface="Times New Roman" panose="02020603050405020304" pitchFamily="18" charset="0"/>
              </a:defRPr>
            </a:lvl5pPr>
            <a:lvl6pPr marL="24606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178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3750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322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rgbClr val="FFFFFF"/>
                </a:solidFill>
                <a:latin typeface="+mj-lt"/>
              </a:rPr>
              <a:t>Text</a:t>
            </a:r>
          </a:p>
        </p:txBody>
      </p:sp>
      <p:sp>
        <p:nvSpPr>
          <p:cNvPr id="176133" name="Rectangle 5"/>
          <p:cNvSpPr>
            <a:spLocks noChangeArrowheads="1"/>
          </p:cNvSpPr>
          <p:nvPr/>
        </p:nvSpPr>
        <p:spPr bwMode="gray">
          <a:xfrm>
            <a:off x="3667126" y="4644222"/>
            <a:ext cx="1539875" cy="382588"/>
          </a:xfrm>
          <a:prstGeom prst="rect">
            <a:avLst/>
          </a:prstGeom>
          <a:solidFill>
            <a:schemeClr val="tx1">
              <a:lumMod val="40000"/>
              <a:lumOff val="60000"/>
            </a:schemeClr>
          </a:solidFill>
          <a:ln w="28575">
            <a:solidFill>
              <a:schemeClr val="bg1"/>
            </a:solidFill>
            <a:miter lim="800000"/>
            <a:headEnd/>
            <a:tailEnd/>
          </a:ln>
        </p:spPr>
        <p:txBody>
          <a:bodyPr/>
          <a:lstStyle/>
          <a:p>
            <a:pPr>
              <a:spcBef>
                <a:spcPct val="0"/>
              </a:spcBef>
            </a:pPr>
            <a:endParaRPr lang="en-US" altLang="en-US" sz="1200">
              <a:latin typeface="Arial" panose="020B0604020202020204" pitchFamily="34" charset="0"/>
            </a:endParaRPr>
          </a:p>
        </p:txBody>
      </p:sp>
      <p:sp>
        <p:nvSpPr>
          <p:cNvPr id="176134" name="Rectangle 6"/>
          <p:cNvSpPr>
            <a:spLocks noChangeArrowheads="1"/>
          </p:cNvSpPr>
          <p:nvPr/>
        </p:nvSpPr>
        <p:spPr bwMode="gray">
          <a:xfrm>
            <a:off x="7072314" y="3879047"/>
            <a:ext cx="1538287" cy="381000"/>
          </a:xfrm>
          <a:prstGeom prst="rect">
            <a:avLst/>
          </a:prstGeom>
          <a:solidFill>
            <a:schemeClr val="tx1">
              <a:lumMod val="40000"/>
              <a:lumOff val="60000"/>
            </a:schemeClr>
          </a:solidFill>
          <a:ln w="28575">
            <a:solidFill>
              <a:schemeClr val="bg1"/>
            </a:solidFill>
            <a:miter lim="800000"/>
            <a:headEnd/>
            <a:tailEnd/>
          </a:ln>
        </p:spPr>
        <p:txBody>
          <a:bodyPr/>
          <a:lstStyle/>
          <a:p>
            <a:pPr>
              <a:spcBef>
                <a:spcPct val="0"/>
              </a:spcBef>
            </a:pPr>
            <a:endParaRPr lang="en-US" altLang="en-US" sz="1200">
              <a:latin typeface="Arial" panose="020B0604020202020204" pitchFamily="34" charset="0"/>
            </a:endParaRPr>
          </a:p>
        </p:txBody>
      </p:sp>
      <p:sp>
        <p:nvSpPr>
          <p:cNvPr id="176135" name="Rectangle 7"/>
          <p:cNvSpPr>
            <a:spLocks noChangeArrowheads="1"/>
          </p:cNvSpPr>
          <p:nvPr/>
        </p:nvSpPr>
        <p:spPr bwMode="gray">
          <a:xfrm>
            <a:off x="8772525" y="3498047"/>
            <a:ext cx="1620838" cy="381000"/>
          </a:xfrm>
          <a:prstGeom prst="rect">
            <a:avLst/>
          </a:prstGeom>
          <a:solidFill>
            <a:schemeClr val="tx1">
              <a:lumMod val="40000"/>
              <a:lumOff val="60000"/>
            </a:schemeClr>
          </a:solidFill>
          <a:ln w="28575">
            <a:solidFill>
              <a:schemeClr val="bg1"/>
            </a:solidFill>
            <a:miter lim="800000"/>
            <a:headEnd/>
            <a:tailEnd/>
          </a:ln>
        </p:spPr>
        <p:txBody>
          <a:bodyPr/>
          <a:lstStyle/>
          <a:p>
            <a:pPr>
              <a:spcBef>
                <a:spcPct val="0"/>
              </a:spcBef>
            </a:pPr>
            <a:endParaRPr lang="en-US" altLang="en-US" sz="1200">
              <a:latin typeface="Arial" panose="020B0604020202020204" pitchFamily="34" charset="0"/>
            </a:endParaRPr>
          </a:p>
        </p:txBody>
      </p:sp>
      <p:sp>
        <p:nvSpPr>
          <p:cNvPr id="176136" name="Freeform 8"/>
          <p:cNvSpPr>
            <a:spLocks/>
          </p:cNvSpPr>
          <p:nvPr/>
        </p:nvSpPr>
        <p:spPr bwMode="gray">
          <a:xfrm>
            <a:off x="5207001" y="3948898"/>
            <a:ext cx="80963" cy="1077913"/>
          </a:xfrm>
          <a:custGeom>
            <a:avLst/>
            <a:gdLst>
              <a:gd name="T0" fmla="*/ 2147483647 w 52"/>
              <a:gd name="T1" fmla="*/ 0 h 679"/>
              <a:gd name="T2" fmla="*/ 2147483647 w 52"/>
              <a:gd name="T3" fmla="*/ 2147483647 h 679"/>
              <a:gd name="T4" fmla="*/ 0 w 52"/>
              <a:gd name="T5" fmla="*/ 2147483647 h 679"/>
              <a:gd name="T6" fmla="*/ 0 w 52"/>
              <a:gd name="T7" fmla="*/ 2147483647 h 679"/>
              <a:gd name="T8" fmla="*/ 2147483647 w 52"/>
              <a:gd name="T9" fmla="*/ 0 h 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 h="679">
                <a:moveTo>
                  <a:pt x="52" y="0"/>
                </a:moveTo>
                <a:lnTo>
                  <a:pt x="52" y="230"/>
                </a:lnTo>
                <a:lnTo>
                  <a:pt x="0" y="679"/>
                </a:lnTo>
                <a:lnTo>
                  <a:pt x="0" y="438"/>
                </a:lnTo>
                <a:lnTo>
                  <a:pt x="52" y="0"/>
                </a:lnTo>
                <a:close/>
              </a:path>
            </a:pathLst>
          </a:custGeom>
          <a:solidFill>
            <a:srgbClr val="DCDCDC"/>
          </a:solidFill>
          <a:ln w="28575" cmpd="sng">
            <a:solidFill>
              <a:schemeClr val="bg1"/>
            </a:solidFill>
            <a:round/>
            <a:headEnd/>
            <a:tailEnd/>
          </a:ln>
        </p:spPr>
        <p:txBody>
          <a:bodyPr/>
          <a:lstStyle/>
          <a:p>
            <a:endParaRPr lang="en-US"/>
          </a:p>
        </p:txBody>
      </p:sp>
      <p:sp>
        <p:nvSpPr>
          <p:cNvPr id="176137" name="Freeform 9"/>
          <p:cNvSpPr>
            <a:spLocks/>
          </p:cNvSpPr>
          <p:nvPr/>
        </p:nvSpPr>
        <p:spPr bwMode="gray">
          <a:xfrm>
            <a:off x="8501063" y="2802723"/>
            <a:ext cx="271462" cy="1076325"/>
          </a:xfrm>
          <a:custGeom>
            <a:avLst/>
            <a:gdLst>
              <a:gd name="T0" fmla="*/ 0 w 172"/>
              <a:gd name="T1" fmla="*/ 0 h 678"/>
              <a:gd name="T2" fmla="*/ 0 w 172"/>
              <a:gd name="T3" fmla="*/ 2147483647 h 678"/>
              <a:gd name="T4" fmla="*/ 2147483647 w 172"/>
              <a:gd name="T5" fmla="*/ 2147483647 h 678"/>
              <a:gd name="T6" fmla="*/ 2147483647 w 172"/>
              <a:gd name="T7" fmla="*/ 2147483647 h 678"/>
              <a:gd name="T8" fmla="*/ 0 w 172"/>
              <a:gd name="T9" fmla="*/ 0 h 67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2" h="678">
                <a:moveTo>
                  <a:pt x="0" y="0"/>
                </a:moveTo>
                <a:lnTo>
                  <a:pt x="0" y="214"/>
                </a:lnTo>
                <a:lnTo>
                  <a:pt x="172" y="678"/>
                </a:lnTo>
                <a:lnTo>
                  <a:pt x="172" y="438"/>
                </a:lnTo>
                <a:lnTo>
                  <a:pt x="0" y="0"/>
                </a:lnTo>
                <a:close/>
              </a:path>
            </a:pathLst>
          </a:custGeom>
          <a:solidFill>
            <a:srgbClr val="DCDCDC"/>
          </a:solidFill>
          <a:ln w="28575" cmpd="sng">
            <a:solidFill>
              <a:schemeClr val="bg1"/>
            </a:solidFill>
            <a:round/>
            <a:headEnd/>
            <a:tailEnd/>
          </a:ln>
        </p:spPr>
        <p:txBody>
          <a:bodyPr/>
          <a:lstStyle/>
          <a:p>
            <a:endParaRPr lang="en-US"/>
          </a:p>
        </p:txBody>
      </p:sp>
      <p:sp>
        <p:nvSpPr>
          <p:cNvPr id="176138" name="Freeform 10"/>
          <p:cNvSpPr>
            <a:spLocks/>
          </p:cNvSpPr>
          <p:nvPr/>
        </p:nvSpPr>
        <p:spPr bwMode="gray">
          <a:xfrm>
            <a:off x="6980239" y="3183723"/>
            <a:ext cx="92075" cy="1076325"/>
          </a:xfrm>
          <a:custGeom>
            <a:avLst/>
            <a:gdLst>
              <a:gd name="T0" fmla="*/ 0 w 58"/>
              <a:gd name="T1" fmla="*/ 0 h 678"/>
              <a:gd name="T2" fmla="*/ 0 w 58"/>
              <a:gd name="T3" fmla="*/ 2147483647 h 678"/>
              <a:gd name="T4" fmla="*/ 2147483647 w 58"/>
              <a:gd name="T5" fmla="*/ 2147483647 h 678"/>
              <a:gd name="T6" fmla="*/ 2147483647 w 58"/>
              <a:gd name="T7" fmla="*/ 2147483647 h 678"/>
              <a:gd name="T8" fmla="*/ 0 w 58"/>
              <a:gd name="T9" fmla="*/ 0 h 67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678">
                <a:moveTo>
                  <a:pt x="0" y="0"/>
                </a:moveTo>
                <a:lnTo>
                  <a:pt x="0" y="214"/>
                </a:lnTo>
                <a:lnTo>
                  <a:pt x="58" y="678"/>
                </a:lnTo>
                <a:lnTo>
                  <a:pt x="58" y="438"/>
                </a:lnTo>
                <a:lnTo>
                  <a:pt x="0" y="0"/>
                </a:lnTo>
                <a:close/>
              </a:path>
            </a:pathLst>
          </a:custGeom>
          <a:solidFill>
            <a:srgbClr val="DCDCDC"/>
          </a:solidFill>
          <a:ln w="28575" cmpd="sng">
            <a:solidFill>
              <a:schemeClr val="bg1"/>
            </a:solidFill>
            <a:round/>
            <a:headEnd/>
            <a:tailEnd/>
          </a:ln>
        </p:spPr>
        <p:txBody>
          <a:bodyPr/>
          <a:lstStyle/>
          <a:p>
            <a:endParaRPr lang="en-US"/>
          </a:p>
        </p:txBody>
      </p:sp>
      <p:sp>
        <p:nvSpPr>
          <p:cNvPr id="176139" name="Freeform 11"/>
          <p:cNvSpPr>
            <a:spLocks/>
          </p:cNvSpPr>
          <p:nvPr/>
        </p:nvSpPr>
        <p:spPr bwMode="gray">
          <a:xfrm>
            <a:off x="3667125" y="3948898"/>
            <a:ext cx="1620838" cy="695325"/>
          </a:xfrm>
          <a:custGeom>
            <a:avLst/>
            <a:gdLst>
              <a:gd name="T0" fmla="*/ 2147483647 w 1023"/>
              <a:gd name="T1" fmla="*/ 0 h 438"/>
              <a:gd name="T2" fmla="*/ 2147483647 w 1023"/>
              <a:gd name="T3" fmla="*/ 0 h 438"/>
              <a:gd name="T4" fmla="*/ 0 w 1023"/>
              <a:gd name="T5" fmla="*/ 2147483647 h 438"/>
              <a:gd name="T6" fmla="*/ 2147483647 w 1023"/>
              <a:gd name="T7" fmla="*/ 2147483647 h 438"/>
              <a:gd name="T8" fmla="*/ 2147483647 w 1023"/>
              <a:gd name="T9" fmla="*/ 0 h 4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3" h="438">
                <a:moveTo>
                  <a:pt x="1023" y="0"/>
                </a:moveTo>
                <a:lnTo>
                  <a:pt x="138" y="0"/>
                </a:lnTo>
                <a:lnTo>
                  <a:pt x="0" y="438"/>
                </a:lnTo>
                <a:lnTo>
                  <a:pt x="971" y="438"/>
                </a:lnTo>
                <a:lnTo>
                  <a:pt x="1023" y="0"/>
                </a:lnTo>
                <a:close/>
              </a:path>
            </a:pathLst>
          </a:custGeom>
          <a:solidFill>
            <a:schemeClr val="tx1">
              <a:lumMod val="40000"/>
              <a:lumOff val="60000"/>
            </a:schemeClr>
          </a:solidFill>
          <a:ln w="28575">
            <a:solidFill>
              <a:schemeClr val="bg1"/>
            </a:solidFill>
            <a:miter lim="800000"/>
            <a:headEnd/>
            <a:tailEnd/>
          </a:ln>
        </p:spPr>
        <p:txBody>
          <a:bodyPr/>
          <a:lstStyle/>
          <a:p>
            <a:pPr>
              <a:spcBef>
                <a:spcPct val="0"/>
              </a:spcBef>
            </a:pPr>
            <a:endParaRPr lang="en-US" sz="1200">
              <a:latin typeface="Arial" panose="020B0604020202020204" pitchFamily="34" charset="0"/>
            </a:endParaRPr>
          </a:p>
        </p:txBody>
      </p:sp>
      <p:sp>
        <p:nvSpPr>
          <p:cNvPr id="176140" name="Freeform 12"/>
          <p:cNvSpPr>
            <a:spLocks/>
          </p:cNvSpPr>
          <p:nvPr/>
        </p:nvSpPr>
        <p:spPr bwMode="gray">
          <a:xfrm>
            <a:off x="5368926" y="3564723"/>
            <a:ext cx="1541463" cy="695325"/>
          </a:xfrm>
          <a:custGeom>
            <a:avLst/>
            <a:gdLst>
              <a:gd name="T0" fmla="*/ 2147483647 w 973"/>
              <a:gd name="T1" fmla="*/ 0 h 438"/>
              <a:gd name="T2" fmla="*/ 2147483647 w 973"/>
              <a:gd name="T3" fmla="*/ 0 h 438"/>
              <a:gd name="T4" fmla="*/ 0 w 973"/>
              <a:gd name="T5" fmla="*/ 2147483647 h 438"/>
              <a:gd name="T6" fmla="*/ 2147483647 w 973"/>
              <a:gd name="T7" fmla="*/ 2147483647 h 438"/>
              <a:gd name="T8" fmla="*/ 2147483647 w 973"/>
              <a:gd name="T9" fmla="*/ 0 h 4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3" h="438">
                <a:moveTo>
                  <a:pt x="927" y="0"/>
                </a:moveTo>
                <a:lnTo>
                  <a:pt x="46" y="0"/>
                </a:lnTo>
                <a:lnTo>
                  <a:pt x="0" y="438"/>
                </a:lnTo>
                <a:lnTo>
                  <a:pt x="973" y="438"/>
                </a:lnTo>
                <a:lnTo>
                  <a:pt x="927" y="0"/>
                </a:lnTo>
                <a:close/>
              </a:path>
            </a:pathLst>
          </a:custGeom>
          <a:solidFill>
            <a:schemeClr val="tx1">
              <a:lumMod val="40000"/>
              <a:lumOff val="60000"/>
            </a:schemeClr>
          </a:solidFill>
          <a:ln w="28575">
            <a:solidFill>
              <a:schemeClr val="bg1"/>
            </a:solidFill>
            <a:miter lim="800000"/>
            <a:headEnd/>
            <a:tailEnd/>
          </a:ln>
        </p:spPr>
        <p:txBody>
          <a:bodyPr/>
          <a:lstStyle/>
          <a:p>
            <a:pPr>
              <a:spcBef>
                <a:spcPct val="0"/>
              </a:spcBef>
            </a:pPr>
            <a:endParaRPr lang="en-US" sz="1200">
              <a:latin typeface="Arial" panose="020B0604020202020204" pitchFamily="34" charset="0"/>
            </a:endParaRPr>
          </a:p>
        </p:txBody>
      </p:sp>
      <p:sp>
        <p:nvSpPr>
          <p:cNvPr id="176141" name="Freeform 13"/>
          <p:cNvSpPr>
            <a:spLocks/>
          </p:cNvSpPr>
          <p:nvPr/>
        </p:nvSpPr>
        <p:spPr bwMode="gray">
          <a:xfrm>
            <a:off x="6980238" y="3183723"/>
            <a:ext cx="1630362" cy="695325"/>
          </a:xfrm>
          <a:custGeom>
            <a:avLst/>
            <a:gdLst>
              <a:gd name="T0" fmla="*/ 2147483647 w 1029"/>
              <a:gd name="T1" fmla="*/ 0 h 438"/>
              <a:gd name="T2" fmla="*/ 0 w 1029"/>
              <a:gd name="T3" fmla="*/ 0 h 438"/>
              <a:gd name="T4" fmla="*/ 2147483647 w 1029"/>
              <a:gd name="T5" fmla="*/ 2147483647 h 438"/>
              <a:gd name="T6" fmla="*/ 2147483647 w 1029"/>
              <a:gd name="T7" fmla="*/ 2147483647 h 438"/>
              <a:gd name="T8" fmla="*/ 2147483647 w 1029"/>
              <a:gd name="T9" fmla="*/ 0 h 4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9" h="438">
                <a:moveTo>
                  <a:pt x="877" y="0"/>
                </a:moveTo>
                <a:lnTo>
                  <a:pt x="0" y="0"/>
                </a:lnTo>
                <a:lnTo>
                  <a:pt x="58" y="438"/>
                </a:lnTo>
                <a:lnTo>
                  <a:pt x="1029" y="438"/>
                </a:lnTo>
                <a:lnTo>
                  <a:pt x="877" y="0"/>
                </a:lnTo>
                <a:close/>
              </a:path>
            </a:pathLst>
          </a:custGeom>
          <a:solidFill>
            <a:schemeClr val="tx2">
              <a:lumMod val="20000"/>
              <a:lumOff val="80000"/>
            </a:schemeClr>
          </a:solidFill>
          <a:ln w="28575" cmpd="sng">
            <a:solidFill>
              <a:schemeClr val="bg1"/>
            </a:solidFill>
            <a:round/>
            <a:headEnd/>
            <a:tailEnd/>
          </a:ln>
        </p:spPr>
        <p:txBody>
          <a:bodyPr/>
          <a:lstStyle/>
          <a:p>
            <a:endParaRPr lang="en-US"/>
          </a:p>
        </p:txBody>
      </p:sp>
      <p:sp>
        <p:nvSpPr>
          <p:cNvPr id="176142" name="Freeform 14"/>
          <p:cNvSpPr>
            <a:spLocks/>
          </p:cNvSpPr>
          <p:nvPr/>
        </p:nvSpPr>
        <p:spPr bwMode="gray">
          <a:xfrm>
            <a:off x="8501063" y="2802723"/>
            <a:ext cx="1892300" cy="695325"/>
          </a:xfrm>
          <a:custGeom>
            <a:avLst/>
            <a:gdLst>
              <a:gd name="T0" fmla="*/ 2147483647 w 1195"/>
              <a:gd name="T1" fmla="*/ 0 h 438"/>
              <a:gd name="T2" fmla="*/ 0 w 1195"/>
              <a:gd name="T3" fmla="*/ 0 h 438"/>
              <a:gd name="T4" fmla="*/ 2147483647 w 1195"/>
              <a:gd name="T5" fmla="*/ 2147483647 h 438"/>
              <a:gd name="T6" fmla="*/ 2147483647 w 1195"/>
              <a:gd name="T7" fmla="*/ 2147483647 h 438"/>
              <a:gd name="T8" fmla="*/ 2147483647 w 1195"/>
              <a:gd name="T9" fmla="*/ 0 h 4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95" h="438">
                <a:moveTo>
                  <a:pt x="917" y="0"/>
                </a:moveTo>
                <a:lnTo>
                  <a:pt x="0" y="0"/>
                </a:lnTo>
                <a:lnTo>
                  <a:pt x="172" y="438"/>
                </a:lnTo>
                <a:lnTo>
                  <a:pt x="1195" y="438"/>
                </a:lnTo>
                <a:lnTo>
                  <a:pt x="917" y="0"/>
                </a:lnTo>
                <a:close/>
              </a:path>
            </a:pathLst>
          </a:custGeom>
          <a:solidFill>
            <a:schemeClr val="accent1">
              <a:lumMod val="40000"/>
              <a:lumOff val="60000"/>
            </a:schemeClr>
          </a:solidFill>
          <a:ln w="28575" cmpd="sng">
            <a:solidFill>
              <a:schemeClr val="bg1"/>
            </a:solidFill>
            <a:round/>
            <a:headEnd/>
            <a:tailEnd/>
          </a:ln>
        </p:spPr>
        <p:txBody>
          <a:bodyPr/>
          <a:lstStyle/>
          <a:p>
            <a:endParaRPr lang="en-US"/>
          </a:p>
        </p:txBody>
      </p:sp>
      <p:sp>
        <p:nvSpPr>
          <p:cNvPr id="176143" name="Rectangle 15"/>
          <p:cNvSpPr>
            <a:spLocks noChangeArrowheads="1"/>
          </p:cNvSpPr>
          <p:nvPr/>
        </p:nvSpPr>
        <p:spPr bwMode="gray">
          <a:xfrm>
            <a:off x="5368926" y="4260048"/>
            <a:ext cx="1541463" cy="384175"/>
          </a:xfrm>
          <a:prstGeom prst="rect">
            <a:avLst/>
          </a:prstGeom>
          <a:solidFill>
            <a:schemeClr val="tx1">
              <a:lumMod val="40000"/>
              <a:lumOff val="60000"/>
            </a:schemeClr>
          </a:solidFill>
          <a:ln w="28575">
            <a:solidFill>
              <a:schemeClr val="bg1"/>
            </a:solidFill>
            <a:miter lim="800000"/>
            <a:headEnd/>
            <a:tailEnd/>
          </a:ln>
        </p:spPr>
        <p:txBody>
          <a:bodyPr/>
          <a:lstStyle/>
          <a:p>
            <a:pPr>
              <a:spcBef>
                <a:spcPct val="0"/>
              </a:spcBef>
            </a:pPr>
            <a:endParaRPr lang="en-US" altLang="en-US" sz="1200">
              <a:latin typeface="Arial" panose="020B0604020202020204" pitchFamily="34" charset="0"/>
            </a:endParaRPr>
          </a:p>
        </p:txBody>
      </p:sp>
      <p:sp>
        <p:nvSpPr>
          <p:cNvPr id="176144" name="Rectangle 16"/>
          <p:cNvSpPr>
            <a:spLocks noChangeArrowheads="1"/>
          </p:cNvSpPr>
          <p:nvPr/>
        </p:nvSpPr>
        <p:spPr bwMode="gray">
          <a:xfrm>
            <a:off x="1781175" y="5026810"/>
            <a:ext cx="1619250" cy="381000"/>
          </a:xfrm>
          <a:prstGeom prst="rect">
            <a:avLst/>
          </a:prstGeom>
          <a:solidFill>
            <a:schemeClr val="tx1">
              <a:lumMod val="40000"/>
              <a:lumOff val="60000"/>
            </a:schemeClr>
          </a:solidFill>
          <a:ln w="28575">
            <a:solidFill>
              <a:schemeClr val="bg1"/>
            </a:solidFill>
            <a:miter lim="800000"/>
            <a:headEnd/>
            <a:tailEnd/>
          </a:ln>
        </p:spPr>
        <p:txBody>
          <a:bodyP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p>
        </p:txBody>
      </p:sp>
      <p:sp>
        <p:nvSpPr>
          <p:cNvPr id="176145" name="Freeform 17"/>
          <p:cNvSpPr>
            <a:spLocks/>
          </p:cNvSpPr>
          <p:nvPr/>
        </p:nvSpPr>
        <p:spPr bwMode="gray">
          <a:xfrm>
            <a:off x="3400425" y="4329898"/>
            <a:ext cx="223838" cy="1077913"/>
          </a:xfrm>
          <a:custGeom>
            <a:avLst/>
            <a:gdLst>
              <a:gd name="T0" fmla="*/ 2147483647 w 140"/>
              <a:gd name="T1" fmla="*/ 0 h 679"/>
              <a:gd name="T2" fmla="*/ 2147483647 w 140"/>
              <a:gd name="T3" fmla="*/ 2147483647 h 679"/>
              <a:gd name="T4" fmla="*/ 0 w 140"/>
              <a:gd name="T5" fmla="*/ 2147483647 h 679"/>
              <a:gd name="T6" fmla="*/ 0 w 140"/>
              <a:gd name="T7" fmla="*/ 2147483647 h 679"/>
              <a:gd name="T8" fmla="*/ 2147483647 w 140"/>
              <a:gd name="T9" fmla="*/ 0 h 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 h="679">
                <a:moveTo>
                  <a:pt x="140" y="0"/>
                </a:moveTo>
                <a:lnTo>
                  <a:pt x="140" y="216"/>
                </a:lnTo>
                <a:lnTo>
                  <a:pt x="0" y="679"/>
                </a:lnTo>
                <a:lnTo>
                  <a:pt x="0" y="439"/>
                </a:lnTo>
                <a:lnTo>
                  <a:pt x="140" y="0"/>
                </a:lnTo>
                <a:close/>
              </a:path>
            </a:pathLst>
          </a:custGeom>
          <a:solidFill>
            <a:srgbClr val="DCDCDC"/>
          </a:solidFill>
          <a:ln w="28575" cmpd="sng">
            <a:solidFill>
              <a:schemeClr val="bg1"/>
            </a:solidFill>
            <a:round/>
            <a:headEnd/>
            <a:tailEnd/>
          </a:ln>
        </p:spPr>
        <p:txBody>
          <a:bodyPr/>
          <a:lstStyle/>
          <a:p>
            <a:endParaRPr lang="en-US"/>
          </a:p>
        </p:txBody>
      </p:sp>
      <p:sp>
        <p:nvSpPr>
          <p:cNvPr id="176146" name="Freeform 18"/>
          <p:cNvSpPr>
            <a:spLocks/>
          </p:cNvSpPr>
          <p:nvPr/>
        </p:nvSpPr>
        <p:spPr bwMode="gray">
          <a:xfrm>
            <a:off x="1781175" y="4329898"/>
            <a:ext cx="1843088" cy="696913"/>
          </a:xfrm>
          <a:custGeom>
            <a:avLst/>
            <a:gdLst>
              <a:gd name="T0" fmla="*/ 2147483647 w 1163"/>
              <a:gd name="T1" fmla="*/ 0 h 439"/>
              <a:gd name="T2" fmla="*/ 2147483647 w 1163"/>
              <a:gd name="T3" fmla="*/ 0 h 439"/>
              <a:gd name="T4" fmla="*/ 0 w 1163"/>
              <a:gd name="T5" fmla="*/ 2147483647 h 439"/>
              <a:gd name="T6" fmla="*/ 2147483647 w 1163"/>
              <a:gd name="T7" fmla="*/ 2147483647 h 439"/>
              <a:gd name="T8" fmla="*/ 2147483647 w 1163"/>
              <a:gd name="T9" fmla="*/ 0 h 4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3" h="439">
                <a:moveTo>
                  <a:pt x="1163" y="0"/>
                </a:moveTo>
                <a:lnTo>
                  <a:pt x="226" y="0"/>
                </a:lnTo>
                <a:lnTo>
                  <a:pt x="0" y="439"/>
                </a:lnTo>
                <a:lnTo>
                  <a:pt x="1023" y="439"/>
                </a:lnTo>
                <a:lnTo>
                  <a:pt x="1163" y="0"/>
                </a:lnTo>
                <a:close/>
              </a:path>
            </a:pathLst>
          </a:custGeom>
          <a:solidFill>
            <a:schemeClr val="bg2"/>
          </a:solidFill>
          <a:ln w="28575" cmpd="sng">
            <a:solidFill>
              <a:schemeClr val="bg1"/>
            </a:solidFill>
            <a:round/>
            <a:headEnd/>
            <a:tailEnd/>
          </a:ln>
        </p:spPr>
        <p:txBody>
          <a:bodyPr/>
          <a:lstStyle/>
          <a:p>
            <a:endParaRPr lang="en-US"/>
          </a:p>
        </p:txBody>
      </p:sp>
      <p:sp>
        <p:nvSpPr>
          <p:cNvPr id="176147" name="Rectangle 19"/>
          <p:cNvSpPr>
            <a:spLocks noChangeArrowheads="1"/>
          </p:cNvSpPr>
          <p:nvPr/>
        </p:nvSpPr>
        <p:spPr bwMode="gray">
          <a:xfrm>
            <a:off x="1866900" y="1780373"/>
            <a:ext cx="1773238" cy="76517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ea typeface="Roboto" charset="0"/>
              <a:cs typeface="Arial" panose="020B0604020202020204" pitchFamily="34" charset="0"/>
            </a:endParaRPr>
          </a:p>
        </p:txBody>
      </p:sp>
      <p:sp>
        <p:nvSpPr>
          <p:cNvPr id="176148" name="Rectangle 20"/>
          <p:cNvSpPr>
            <a:spLocks noChangeArrowheads="1"/>
          </p:cNvSpPr>
          <p:nvPr/>
        </p:nvSpPr>
        <p:spPr bwMode="gray">
          <a:xfrm>
            <a:off x="3667126" y="1321586"/>
            <a:ext cx="1463675" cy="352425"/>
          </a:xfrm>
          <a:prstGeom prst="rect">
            <a:avLst/>
          </a:prstGeom>
          <a:solidFill>
            <a:schemeClr val="tx1">
              <a:lumMod val="60000"/>
              <a:lumOff val="40000"/>
            </a:schemeClr>
          </a:solidFill>
          <a:ln>
            <a:noFill/>
          </a:ln>
          <a:effectLst/>
        </p:spPr>
        <p:txBody>
          <a:bodyPr lIns="18000" tIns="18000" rIns="18000" bIns="18000" anchor="ctr"/>
          <a:lstStyle>
            <a:lvl1pPr algn="l" defTabSz="801688">
              <a:spcBef>
                <a:spcPct val="20000"/>
              </a:spcBef>
              <a:buChar char="•"/>
              <a:defRPr sz="1100">
                <a:solidFill>
                  <a:schemeClr val="tx1"/>
                </a:solidFill>
                <a:latin typeface="Arial" panose="020B0604020202020204" pitchFamily="34" charset="0"/>
              </a:defRPr>
            </a:lvl1pPr>
            <a:lvl2pPr marL="501650" indent="-187325" algn="l" defTabSz="8016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01713" indent="-228600" algn="l" defTabSz="801688">
              <a:spcBef>
                <a:spcPct val="20000"/>
              </a:spcBef>
              <a:buChar char="–"/>
              <a:defRPr sz="1100">
                <a:solidFill>
                  <a:schemeClr val="tx1"/>
                </a:solidFill>
                <a:latin typeface="Arial" panose="020B0604020202020204" pitchFamily="34" charset="0"/>
              </a:defRPr>
            </a:lvl3pPr>
            <a:lvl4pPr marL="1503363" indent="-228600" algn="l" defTabSz="801688">
              <a:spcBef>
                <a:spcPct val="20000"/>
              </a:spcBef>
              <a:buChar char="–"/>
              <a:defRPr sz="1100">
                <a:solidFill>
                  <a:schemeClr val="tx1"/>
                </a:solidFill>
                <a:latin typeface="Arial" panose="020B0604020202020204" pitchFamily="34" charset="0"/>
              </a:defRPr>
            </a:lvl4pPr>
            <a:lvl5pPr marL="2003425" indent="-228600" algn="l" defTabSz="801688">
              <a:spcBef>
                <a:spcPct val="20000"/>
              </a:spcBef>
              <a:buChar char="»"/>
              <a:defRPr sz="2000">
                <a:solidFill>
                  <a:schemeClr val="tx1"/>
                </a:solidFill>
                <a:latin typeface="Times New Roman" panose="02020603050405020304" pitchFamily="18" charset="0"/>
              </a:defRPr>
            </a:lvl5pPr>
            <a:lvl6pPr marL="24606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178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3750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322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rgbClr val="FFFFFF"/>
                </a:solidFill>
                <a:latin typeface="+mj-lt"/>
              </a:rPr>
              <a:t>Text</a:t>
            </a:r>
          </a:p>
        </p:txBody>
      </p:sp>
      <p:sp>
        <p:nvSpPr>
          <p:cNvPr id="176149" name="Rectangle 21"/>
          <p:cNvSpPr>
            <a:spLocks noChangeArrowheads="1"/>
          </p:cNvSpPr>
          <p:nvPr/>
        </p:nvSpPr>
        <p:spPr bwMode="gray">
          <a:xfrm>
            <a:off x="1800226" y="1321586"/>
            <a:ext cx="1787525" cy="352425"/>
          </a:xfrm>
          <a:prstGeom prst="rect">
            <a:avLst/>
          </a:prstGeom>
          <a:solidFill>
            <a:schemeClr val="tx1">
              <a:lumMod val="60000"/>
              <a:lumOff val="40000"/>
            </a:schemeClr>
          </a:solidFill>
          <a:ln>
            <a:noFill/>
          </a:ln>
          <a:effectLst/>
        </p:spPr>
        <p:txBody>
          <a:bodyPr lIns="18000" tIns="18000" rIns="18000" bIns="18000" anchor="ctr"/>
          <a:lstStyle>
            <a:lvl1pPr algn="l" defTabSz="801688">
              <a:spcBef>
                <a:spcPct val="20000"/>
              </a:spcBef>
              <a:buChar char="•"/>
              <a:defRPr sz="1100">
                <a:solidFill>
                  <a:schemeClr val="tx1"/>
                </a:solidFill>
                <a:latin typeface="Arial" panose="020B0604020202020204" pitchFamily="34" charset="0"/>
              </a:defRPr>
            </a:lvl1pPr>
            <a:lvl2pPr marL="501650" indent="-187325" algn="l" defTabSz="8016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01713" indent="-228600" algn="l" defTabSz="801688">
              <a:spcBef>
                <a:spcPct val="20000"/>
              </a:spcBef>
              <a:buChar char="–"/>
              <a:defRPr sz="1100">
                <a:solidFill>
                  <a:schemeClr val="tx1"/>
                </a:solidFill>
                <a:latin typeface="Arial" panose="020B0604020202020204" pitchFamily="34" charset="0"/>
              </a:defRPr>
            </a:lvl3pPr>
            <a:lvl4pPr marL="1503363" indent="-228600" algn="l" defTabSz="801688">
              <a:spcBef>
                <a:spcPct val="20000"/>
              </a:spcBef>
              <a:buChar char="–"/>
              <a:defRPr sz="1100">
                <a:solidFill>
                  <a:schemeClr val="tx1"/>
                </a:solidFill>
                <a:latin typeface="Arial" panose="020B0604020202020204" pitchFamily="34" charset="0"/>
              </a:defRPr>
            </a:lvl4pPr>
            <a:lvl5pPr marL="2003425" indent="-228600" algn="l" defTabSz="801688">
              <a:spcBef>
                <a:spcPct val="20000"/>
              </a:spcBef>
              <a:buChar char="»"/>
              <a:defRPr sz="2000">
                <a:solidFill>
                  <a:schemeClr val="tx1"/>
                </a:solidFill>
                <a:latin typeface="Times New Roman" panose="02020603050405020304" pitchFamily="18" charset="0"/>
              </a:defRPr>
            </a:lvl5pPr>
            <a:lvl6pPr marL="24606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178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3750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322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rgbClr val="FFFFFF"/>
                </a:solidFill>
                <a:latin typeface="+mj-lt"/>
              </a:rPr>
              <a:t>Text</a:t>
            </a:r>
          </a:p>
        </p:txBody>
      </p:sp>
      <p:sp>
        <p:nvSpPr>
          <p:cNvPr id="176150" name="Rectangle 22"/>
          <p:cNvSpPr>
            <a:spLocks noChangeArrowheads="1"/>
          </p:cNvSpPr>
          <p:nvPr/>
        </p:nvSpPr>
        <p:spPr bwMode="gray">
          <a:xfrm>
            <a:off x="5210176" y="1321586"/>
            <a:ext cx="1465263" cy="352425"/>
          </a:xfrm>
          <a:prstGeom prst="rect">
            <a:avLst/>
          </a:prstGeom>
          <a:solidFill>
            <a:schemeClr val="tx1">
              <a:lumMod val="60000"/>
              <a:lumOff val="40000"/>
            </a:schemeClr>
          </a:solidFill>
          <a:ln>
            <a:noFill/>
          </a:ln>
          <a:effectLst/>
        </p:spPr>
        <p:txBody>
          <a:bodyPr lIns="18000" tIns="18000" rIns="18000" bIns="18000" anchor="ctr"/>
          <a:lstStyle>
            <a:lvl1pPr algn="l" defTabSz="801688">
              <a:spcBef>
                <a:spcPct val="20000"/>
              </a:spcBef>
              <a:buChar char="•"/>
              <a:defRPr sz="1100">
                <a:solidFill>
                  <a:schemeClr val="tx1"/>
                </a:solidFill>
                <a:latin typeface="Arial" panose="020B0604020202020204" pitchFamily="34" charset="0"/>
              </a:defRPr>
            </a:lvl1pPr>
            <a:lvl2pPr marL="501650" indent="-187325" algn="l" defTabSz="8016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01713" indent="-228600" algn="l" defTabSz="801688">
              <a:spcBef>
                <a:spcPct val="20000"/>
              </a:spcBef>
              <a:buChar char="–"/>
              <a:defRPr sz="1100">
                <a:solidFill>
                  <a:schemeClr val="tx1"/>
                </a:solidFill>
                <a:latin typeface="Arial" panose="020B0604020202020204" pitchFamily="34" charset="0"/>
              </a:defRPr>
            </a:lvl3pPr>
            <a:lvl4pPr marL="1503363" indent="-228600" algn="l" defTabSz="801688">
              <a:spcBef>
                <a:spcPct val="20000"/>
              </a:spcBef>
              <a:buChar char="–"/>
              <a:defRPr sz="1100">
                <a:solidFill>
                  <a:schemeClr val="tx1"/>
                </a:solidFill>
                <a:latin typeface="Arial" panose="020B0604020202020204" pitchFamily="34" charset="0"/>
              </a:defRPr>
            </a:lvl4pPr>
            <a:lvl5pPr marL="2003425" indent="-228600" algn="l" defTabSz="801688">
              <a:spcBef>
                <a:spcPct val="20000"/>
              </a:spcBef>
              <a:buChar char="»"/>
              <a:defRPr sz="2000">
                <a:solidFill>
                  <a:schemeClr val="tx1"/>
                </a:solidFill>
                <a:latin typeface="Times New Roman" panose="02020603050405020304" pitchFamily="18" charset="0"/>
              </a:defRPr>
            </a:lvl5pPr>
            <a:lvl6pPr marL="24606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178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3750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322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rgbClr val="FFFFFF"/>
                </a:solidFill>
                <a:latin typeface="+mj-lt"/>
              </a:rPr>
              <a:t>Text</a:t>
            </a:r>
          </a:p>
        </p:txBody>
      </p:sp>
      <p:sp>
        <p:nvSpPr>
          <p:cNvPr id="176151" name="Rectangle 23"/>
          <p:cNvSpPr>
            <a:spLocks noChangeArrowheads="1"/>
          </p:cNvSpPr>
          <p:nvPr/>
        </p:nvSpPr>
        <p:spPr bwMode="gray">
          <a:xfrm>
            <a:off x="6754814" y="1321586"/>
            <a:ext cx="1463675" cy="352425"/>
          </a:xfrm>
          <a:prstGeom prst="rect">
            <a:avLst/>
          </a:prstGeom>
          <a:solidFill>
            <a:schemeClr val="tx1">
              <a:lumMod val="60000"/>
              <a:lumOff val="40000"/>
            </a:schemeClr>
          </a:solidFill>
          <a:ln>
            <a:noFill/>
          </a:ln>
          <a:effectLst/>
        </p:spPr>
        <p:txBody>
          <a:bodyPr lIns="18000" tIns="18000" rIns="18000" bIns="18000" anchor="ctr"/>
          <a:lstStyle>
            <a:lvl1pPr algn="l" defTabSz="801688">
              <a:spcBef>
                <a:spcPct val="20000"/>
              </a:spcBef>
              <a:buChar char="•"/>
              <a:defRPr sz="1100">
                <a:solidFill>
                  <a:schemeClr val="tx1"/>
                </a:solidFill>
                <a:latin typeface="Arial" panose="020B0604020202020204" pitchFamily="34" charset="0"/>
              </a:defRPr>
            </a:lvl1pPr>
            <a:lvl2pPr marL="501650" indent="-187325" algn="l" defTabSz="801688">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01713" indent="-228600" algn="l" defTabSz="801688">
              <a:spcBef>
                <a:spcPct val="20000"/>
              </a:spcBef>
              <a:buChar char="–"/>
              <a:defRPr sz="1100">
                <a:solidFill>
                  <a:schemeClr val="tx1"/>
                </a:solidFill>
                <a:latin typeface="Arial" panose="020B0604020202020204" pitchFamily="34" charset="0"/>
              </a:defRPr>
            </a:lvl3pPr>
            <a:lvl4pPr marL="1503363" indent="-228600" algn="l" defTabSz="801688">
              <a:spcBef>
                <a:spcPct val="20000"/>
              </a:spcBef>
              <a:buChar char="–"/>
              <a:defRPr sz="1100">
                <a:solidFill>
                  <a:schemeClr val="tx1"/>
                </a:solidFill>
                <a:latin typeface="Arial" panose="020B0604020202020204" pitchFamily="34" charset="0"/>
              </a:defRPr>
            </a:lvl4pPr>
            <a:lvl5pPr marL="2003425" indent="-228600" algn="l" defTabSz="801688">
              <a:spcBef>
                <a:spcPct val="20000"/>
              </a:spcBef>
              <a:buChar char="»"/>
              <a:defRPr sz="2000">
                <a:solidFill>
                  <a:schemeClr val="tx1"/>
                </a:solidFill>
                <a:latin typeface="Times New Roman" panose="02020603050405020304" pitchFamily="18" charset="0"/>
              </a:defRPr>
            </a:lvl5pPr>
            <a:lvl6pPr marL="24606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178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7pPr>
            <a:lvl8pPr marL="33750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32225" indent="-228600" defTabSz="801688"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GB" altLang="en-US" sz="1400" b="1">
                <a:solidFill>
                  <a:srgbClr val="FFFFFF"/>
                </a:solidFill>
                <a:latin typeface="+mj-lt"/>
              </a:rPr>
              <a:t>Text</a:t>
            </a:r>
          </a:p>
        </p:txBody>
      </p:sp>
      <p:sp>
        <p:nvSpPr>
          <p:cNvPr id="176152" name="Rectangle 24"/>
          <p:cNvSpPr>
            <a:spLocks noChangeArrowheads="1"/>
          </p:cNvSpPr>
          <p:nvPr/>
        </p:nvSpPr>
        <p:spPr bwMode="gray">
          <a:xfrm>
            <a:off x="3716338" y="1780373"/>
            <a:ext cx="1466850" cy="76517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latin typeface="Arial" panose="020B0604020202020204" pitchFamily="34" charset="0"/>
              <a:ea typeface="Roboto" charset="0"/>
              <a:cs typeface="Arial" panose="020B0604020202020204" pitchFamily="34" charset="0"/>
            </a:endParaRPr>
          </a:p>
        </p:txBody>
      </p:sp>
      <p:sp>
        <p:nvSpPr>
          <p:cNvPr id="176153" name="Rectangle 25"/>
          <p:cNvSpPr>
            <a:spLocks noChangeArrowheads="1"/>
          </p:cNvSpPr>
          <p:nvPr/>
        </p:nvSpPr>
        <p:spPr bwMode="gray">
          <a:xfrm>
            <a:off x="5264150" y="1780373"/>
            <a:ext cx="1468438" cy="76517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latin typeface="Arial" panose="020B0604020202020204" pitchFamily="34" charset="0"/>
              <a:ea typeface="Roboto" charset="0"/>
              <a:cs typeface="Arial" panose="020B0604020202020204" pitchFamily="34" charset="0"/>
            </a:endParaRPr>
          </a:p>
        </p:txBody>
      </p:sp>
      <p:sp>
        <p:nvSpPr>
          <p:cNvPr id="176154" name="Rectangle 26"/>
          <p:cNvSpPr>
            <a:spLocks noChangeArrowheads="1"/>
          </p:cNvSpPr>
          <p:nvPr/>
        </p:nvSpPr>
        <p:spPr bwMode="gray">
          <a:xfrm>
            <a:off x="6804025" y="1780373"/>
            <a:ext cx="1466850" cy="76517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US" sz="1000">
                <a:latin typeface="Arial" panose="020B0604020202020204" pitchFamily="34" charset="0"/>
                <a:ea typeface="Roboto" charset="0"/>
                <a:cs typeface="Arial" panose="020B0604020202020204" pitchFamily="34" charset="0"/>
              </a:rPr>
              <a:t>Lorem ipsum</a:t>
            </a:r>
          </a:p>
          <a:p>
            <a:pPr marL="341313" lvl="1" indent="-171450">
              <a:spcBef>
                <a:spcPts val="600"/>
              </a:spcBef>
              <a:buClr>
                <a:schemeClr val="tx1"/>
              </a:buClr>
              <a:buSzPct val="90000"/>
              <a:buFont typeface="Arial" panose="020B0604020202020204" pitchFamily="34" charset="0"/>
              <a:buChar char="-"/>
            </a:pPr>
            <a:r>
              <a:rPr lang="en-US" sz="1000" err="1"/>
              <a:t>Duis</a:t>
            </a:r>
            <a:r>
              <a:rPr lang="en-US" sz="1000"/>
              <a:t> </a:t>
            </a:r>
            <a:r>
              <a:rPr lang="en-US" sz="1000" err="1"/>
              <a:t>aute</a:t>
            </a:r>
            <a:endParaRPr lang="en-GB" altLang="en-US" sz="1000"/>
          </a:p>
        </p:txBody>
      </p:sp>
      <p:sp>
        <p:nvSpPr>
          <p:cNvPr id="176155" name="Rectangle 27"/>
          <p:cNvSpPr>
            <a:spLocks noChangeArrowheads="1"/>
          </p:cNvSpPr>
          <p:nvPr/>
        </p:nvSpPr>
        <p:spPr bwMode="gray">
          <a:xfrm>
            <a:off x="8351839" y="1780373"/>
            <a:ext cx="1773237" cy="765175"/>
          </a:xfrm>
          <a:prstGeom prst="rect">
            <a:avLst/>
          </a:prstGeom>
          <a:noFill/>
        </p:spPr>
        <p:txBody>
          <a:bodyPr lIns="0"/>
          <a:lstStyle/>
          <a:p>
            <a:pPr marL="169863" indent="-169863">
              <a:spcBef>
                <a:spcPts val="1200"/>
              </a:spcBef>
              <a:buClr>
                <a:schemeClr val="tx1"/>
              </a:buClr>
              <a:buSzPct val="90000"/>
              <a:buFont typeface="Wingdings" panose="05000000000000000000" pitchFamily="2" charset="2"/>
              <a:buChar char="§"/>
            </a:pPr>
            <a:r>
              <a:rPr lang="en-GB" altLang="en-US" sz="1000">
                <a:latin typeface="Arial" panose="020B0604020202020204" pitchFamily="34" charset="0"/>
                <a:ea typeface="Roboto" charset="0"/>
                <a:cs typeface="Arial" panose="020B0604020202020204" pitchFamily="34" charset="0"/>
              </a:rPr>
              <a:t>First level</a:t>
            </a:r>
          </a:p>
          <a:p>
            <a:pPr marL="341313" lvl="1" indent="-171450">
              <a:spcBef>
                <a:spcPts val="600"/>
              </a:spcBef>
              <a:buClr>
                <a:schemeClr val="tx1"/>
              </a:buClr>
              <a:buSzPct val="90000"/>
              <a:buFont typeface="Arial" panose="020B0604020202020204" pitchFamily="34" charset="0"/>
              <a:buChar char="-"/>
            </a:pPr>
            <a:r>
              <a:rPr lang="en-GB" altLang="en-US" sz="1000"/>
              <a:t>Second level</a:t>
            </a:r>
          </a:p>
          <a:p>
            <a:pPr marL="169863" indent="-169863">
              <a:spcBef>
                <a:spcPts val="1200"/>
              </a:spcBef>
              <a:buClr>
                <a:schemeClr val="tx1"/>
              </a:buClr>
              <a:buSzPct val="90000"/>
              <a:buFont typeface="Wingdings" panose="05000000000000000000" pitchFamily="2" charset="2"/>
              <a:buChar char="§"/>
            </a:pPr>
            <a:endParaRPr lang="en-GB" altLang="en-US" sz="1000">
              <a:latin typeface="Arial" panose="020B0604020202020204" pitchFamily="34" charset="0"/>
              <a:ea typeface="Roboto" charset="0"/>
              <a:cs typeface="Arial" panose="020B0604020202020204" pitchFamily="34" charset="0"/>
            </a:endParaRPr>
          </a:p>
        </p:txBody>
      </p:sp>
    </p:spTree>
    <p:extLst>
      <p:ext uri="{BB962C8B-B14F-4D97-AF65-F5344CB8AC3E}">
        <p14:creationId xmlns:p14="http://schemas.microsoft.com/office/powerpoint/2010/main" val="63587322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9220" name="Rectangle 20" hidden="1"/>
          <p:cNvGraphicFramePr>
            <a:graphicFrameLocks/>
          </p:cNvGraphicFramePr>
          <p:nvPr>
            <p:custDataLst>
              <p:tags r:id="rId1"/>
            </p:custDataLst>
            <p:extLst>
              <p:ext uri="{D42A27DB-BD31-4B8C-83A1-F6EECF244321}">
                <p14:modId xmlns:p14="http://schemas.microsoft.com/office/powerpoint/2010/main" val="1966573384"/>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179220" name="Rectangle 2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79202" name="Oval 2"/>
          <p:cNvSpPr>
            <a:spLocks noChangeArrowheads="1"/>
          </p:cNvSpPr>
          <p:nvPr/>
        </p:nvSpPr>
        <p:spPr bwMode="gray">
          <a:xfrm>
            <a:off x="6953250" y="4635501"/>
            <a:ext cx="863600" cy="860425"/>
          </a:xfrm>
          <a:prstGeom prst="ellipse">
            <a:avLst/>
          </a:prstGeom>
          <a:solidFill>
            <a:srgbClr val="DCDCDC"/>
          </a:solidFill>
          <a:ln w="2857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179203" name="Oval 3"/>
          <p:cNvSpPr>
            <a:spLocks noChangeArrowheads="1"/>
          </p:cNvSpPr>
          <p:nvPr/>
        </p:nvSpPr>
        <p:spPr bwMode="gray">
          <a:xfrm>
            <a:off x="5229226" y="4635501"/>
            <a:ext cx="849313" cy="847725"/>
          </a:xfrm>
          <a:prstGeom prst="ellipse">
            <a:avLst/>
          </a:prstGeom>
          <a:solidFill>
            <a:srgbClr val="DCDCDC"/>
          </a:solidFill>
          <a:ln w="2857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179204" name="Oval 4"/>
          <p:cNvSpPr>
            <a:spLocks noChangeArrowheads="1"/>
          </p:cNvSpPr>
          <p:nvPr/>
        </p:nvSpPr>
        <p:spPr bwMode="gray">
          <a:xfrm>
            <a:off x="6089650" y="4635501"/>
            <a:ext cx="852488" cy="847725"/>
          </a:xfrm>
          <a:prstGeom prst="ellipse">
            <a:avLst/>
          </a:prstGeom>
          <a:solidFill>
            <a:srgbClr val="DCDCDC"/>
          </a:solidFill>
          <a:ln w="2857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179205" name="Rectangle 5"/>
          <p:cNvSpPr>
            <a:spLocks noChangeArrowheads="1"/>
          </p:cNvSpPr>
          <p:nvPr/>
        </p:nvSpPr>
        <p:spPr bwMode="gray">
          <a:xfrm>
            <a:off x="4376739" y="2698750"/>
            <a:ext cx="3436937" cy="127000"/>
          </a:xfrm>
          <a:prstGeom prst="rect">
            <a:avLst/>
          </a:prstGeom>
          <a:solidFill>
            <a:schemeClr val="tx1"/>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179206" name="Line 6"/>
          <p:cNvSpPr>
            <a:spLocks noChangeShapeType="1"/>
          </p:cNvSpPr>
          <p:nvPr/>
        </p:nvSpPr>
        <p:spPr bwMode="gray">
          <a:xfrm flipV="1">
            <a:off x="5665788" y="2819400"/>
            <a:ext cx="0" cy="1809750"/>
          </a:xfrm>
          <a:prstGeom prst="line">
            <a:avLst/>
          </a:prstGeom>
          <a:noFill/>
          <a:ln w="254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9207" name="Line 7"/>
          <p:cNvSpPr>
            <a:spLocks noChangeShapeType="1"/>
          </p:cNvSpPr>
          <p:nvPr/>
        </p:nvSpPr>
        <p:spPr bwMode="gray">
          <a:xfrm flipV="1">
            <a:off x="6529388" y="2819400"/>
            <a:ext cx="0" cy="1809750"/>
          </a:xfrm>
          <a:prstGeom prst="line">
            <a:avLst/>
          </a:prstGeom>
          <a:noFill/>
          <a:ln w="254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9208" name="Oval 8"/>
          <p:cNvSpPr>
            <a:spLocks noChangeArrowheads="1"/>
          </p:cNvSpPr>
          <p:nvPr/>
        </p:nvSpPr>
        <p:spPr bwMode="gray">
          <a:xfrm>
            <a:off x="4367213" y="4622801"/>
            <a:ext cx="849312" cy="847725"/>
          </a:xfrm>
          <a:prstGeom prst="ellipse">
            <a:avLst/>
          </a:prstGeom>
          <a:solidFill>
            <a:schemeClr val="tx1">
              <a:lumMod val="60000"/>
              <a:lumOff val="40000"/>
            </a:schemeClr>
          </a:solidFill>
          <a:ln w="28575">
            <a:solidFill>
              <a:schemeClr val="bg1"/>
            </a:solidFill>
            <a:round/>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179209" name="Line 9"/>
          <p:cNvSpPr>
            <a:spLocks noChangeShapeType="1"/>
          </p:cNvSpPr>
          <p:nvPr/>
        </p:nvSpPr>
        <p:spPr bwMode="gray">
          <a:xfrm flipV="1">
            <a:off x="4803775" y="2819400"/>
            <a:ext cx="0" cy="1809750"/>
          </a:xfrm>
          <a:prstGeom prst="line">
            <a:avLst/>
          </a:prstGeom>
          <a:noFill/>
          <a:ln w="254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9210" name="Oval 10"/>
          <p:cNvSpPr>
            <a:spLocks noChangeArrowheads="1"/>
          </p:cNvSpPr>
          <p:nvPr/>
        </p:nvSpPr>
        <p:spPr bwMode="gray">
          <a:xfrm>
            <a:off x="8539163" y="3951288"/>
            <a:ext cx="849312" cy="849312"/>
          </a:xfrm>
          <a:prstGeom prst="ellipse">
            <a:avLst/>
          </a:prstGeom>
          <a:solidFill>
            <a:schemeClr val="tx2">
              <a:lumMod val="20000"/>
              <a:lumOff val="80000"/>
            </a:schemeClr>
          </a:solidFill>
          <a:ln w="28575">
            <a:solidFill>
              <a:schemeClr val="bg1"/>
            </a:solidFill>
            <a:round/>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179211" name="Line 11"/>
          <p:cNvSpPr>
            <a:spLocks noChangeShapeType="1"/>
          </p:cNvSpPr>
          <p:nvPr/>
        </p:nvSpPr>
        <p:spPr bwMode="gray">
          <a:xfrm>
            <a:off x="7378701" y="2832100"/>
            <a:ext cx="1306513" cy="1238250"/>
          </a:xfrm>
          <a:prstGeom prst="line">
            <a:avLst/>
          </a:prstGeom>
          <a:noFill/>
          <a:ln w="254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9212" name="Line 12"/>
          <p:cNvSpPr>
            <a:spLocks noChangeShapeType="1"/>
          </p:cNvSpPr>
          <p:nvPr/>
        </p:nvSpPr>
        <p:spPr bwMode="gray">
          <a:xfrm flipV="1">
            <a:off x="7373938" y="2819400"/>
            <a:ext cx="0" cy="1809750"/>
          </a:xfrm>
          <a:prstGeom prst="line">
            <a:avLst/>
          </a:prstGeom>
          <a:noFill/>
          <a:ln w="254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9213" name="Line 13"/>
          <p:cNvSpPr>
            <a:spLocks noChangeShapeType="1"/>
          </p:cNvSpPr>
          <p:nvPr/>
        </p:nvSpPr>
        <p:spPr bwMode="gray">
          <a:xfrm>
            <a:off x="3584576" y="4740275"/>
            <a:ext cx="703263" cy="279400"/>
          </a:xfrm>
          <a:prstGeom prst="line">
            <a:avLst/>
          </a:prstGeom>
          <a:noFill/>
          <a:ln w="57150">
            <a:solidFill>
              <a:srgbClr val="69696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9216" name="Line 16"/>
          <p:cNvSpPr>
            <a:spLocks noChangeShapeType="1"/>
          </p:cNvSpPr>
          <p:nvPr/>
        </p:nvSpPr>
        <p:spPr bwMode="gray">
          <a:xfrm flipV="1">
            <a:off x="7880351" y="4740275"/>
            <a:ext cx="703263" cy="279400"/>
          </a:xfrm>
          <a:prstGeom prst="line">
            <a:avLst/>
          </a:prstGeom>
          <a:noFill/>
          <a:ln w="57150">
            <a:solidFill>
              <a:srgbClr val="69696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9218" name="Line 18"/>
          <p:cNvSpPr>
            <a:spLocks noChangeShapeType="1"/>
          </p:cNvSpPr>
          <p:nvPr/>
        </p:nvSpPr>
        <p:spPr bwMode="gray">
          <a:xfrm flipH="1">
            <a:off x="3240089" y="2813051"/>
            <a:ext cx="1565275" cy="1433513"/>
          </a:xfrm>
          <a:prstGeom prst="line">
            <a:avLst/>
          </a:prstGeom>
          <a:noFill/>
          <a:ln w="254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9219" name="Oval 19"/>
          <p:cNvSpPr>
            <a:spLocks noChangeArrowheads="1"/>
          </p:cNvSpPr>
          <p:nvPr/>
        </p:nvSpPr>
        <p:spPr bwMode="gray">
          <a:xfrm>
            <a:off x="2781300" y="3938588"/>
            <a:ext cx="863600" cy="862012"/>
          </a:xfrm>
          <a:prstGeom prst="ellipse">
            <a:avLst/>
          </a:prstGeom>
          <a:solidFill>
            <a:schemeClr val="bg2"/>
          </a:solidFill>
          <a:ln w="28575">
            <a:solidFill>
              <a:schemeClr val="bg1"/>
            </a:solidFill>
            <a:round/>
            <a:headEnd/>
            <a:tailEnd/>
          </a:ln>
          <a:effectLst/>
        </p:spPr>
        <p:txBody>
          <a:bodyPr wrap="none" anchor="ct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200"/>
          </a:p>
        </p:txBody>
      </p:sp>
      <p:sp>
        <p:nvSpPr>
          <p:cNvPr id="4" name="Text Placeholder 3"/>
          <p:cNvSpPr>
            <a:spLocks noGrp="1"/>
          </p:cNvSpPr>
          <p:nvPr>
            <p:ph type="body" sz="quarter" idx="11"/>
          </p:nvPr>
        </p:nvSpPr>
        <p:spPr/>
        <p:txBody>
          <a:bodyPr/>
          <a:lstStyle/>
          <a:p>
            <a:endParaRPr lang="en-US"/>
          </a:p>
        </p:txBody>
      </p:sp>
      <p:sp>
        <p:nvSpPr>
          <p:cNvPr id="179222" name="Rectangle 22"/>
          <p:cNvSpPr>
            <a:spLocks noGrp="1" noChangeArrowheads="1"/>
          </p:cNvSpPr>
          <p:nvPr>
            <p:ph type="title"/>
          </p:nvPr>
        </p:nvSpPr>
        <p:spPr/>
        <p:txBody>
          <a:bodyPr/>
          <a:lstStyle/>
          <a:p>
            <a:r>
              <a:rPr lang="en-GB" altLang="en-US"/>
              <a:t>Action – reaction</a:t>
            </a:r>
          </a:p>
        </p:txBody>
      </p:sp>
    </p:spTree>
    <p:extLst>
      <p:ext uri="{BB962C8B-B14F-4D97-AF65-F5344CB8AC3E}">
        <p14:creationId xmlns:p14="http://schemas.microsoft.com/office/powerpoint/2010/main" val="356627663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1250" name="Rectangle 2" hidden="1"/>
          <p:cNvGraphicFramePr>
            <a:graphicFrameLocks/>
          </p:cNvGraphicFramePr>
          <p:nvPr>
            <p:custDataLst>
              <p:tags r:id="rId1"/>
            </p:custDataLst>
            <p:extLst>
              <p:ext uri="{D42A27DB-BD31-4B8C-83A1-F6EECF244321}">
                <p14:modId xmlns:p14="http://schemas.microsoft.com/office/powerpoint/2010/main" val="3473845598"/>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18125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400" b="1">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81251" name="Freeform 3"/>
          <p:cNvSpPr>
            <a:spLocks/>
          </p:cNvSpPr>
          <p:nvPr/>
        </p:nvSpPr>
        <p:spPr bwMode="gray">
          <a:xfrm>
            <a:off x="5000625" y="2041525"/>
            <a:ext cx="2678113" cy="2898775"/>
          </a:xfrm>
          <a:custGeom>
            <a:avLst/>
            <a:gdLst>
              <a:gd name="T0" fmla="*/ 2147483647 w 1050"/>
              <a:gd name="T1" fmla="*/ 2147483647 h 1049"/>
              <a:gd name="T2" fmla="*/ 2147483647 w 1050"/>
              <a:gd name="T3" fmla="*/ 2147483647 h 1049"/>
              <a:gd name="T4" fmla="*/ 2147483647 w 1050"/>
              <a:gd name="T5" fmla="*/ 2147483647 h 1049"/>
              <a:gd name="T6" fmla="*/ 2147483647 w 1050"/>
              <a:gd name="T7" fmla="*/ 2147483647 h 1049"/>
              <a:gd name="T8" fmla="*/ 2147483647 w 1050"/>
              <a:gd name="T9" fmla="*/ 2147483647 h 1049"/>
              <a:gd name="T10" fmla="*/ 2147483647 w 1050"/>
              <a:gd name="T11" fmla="*/ 2147483647 h 1049"/>
              <a:gd name="T12" fmla="*/ 2147483647 w 1050"/>
              <a:gd name="T13" fmla="*/ 2147483647 h 1049"/>
              <a:gd name="T14" fmla="*/ 2147483647 w 1050"/>
              <a:gd name="T15" fmla="*/ 2147483647 h 1049"/>
              <a:gd name="T16" fmla="*/ 2147483647 w 1050"/>
              <a:gd name="T17" fmla="*/ 2147483647 h 1049"/>
              <a:gd name="T18" fmla="*/ 2147483647 w 1050"/>
              <a:gd name="T19" fmla="*/ 2147483647 h 1049"/>
              <a:gd name="T20" fmla="*/ 2147483647 w 1050"/>
              <a:gd name="T21" fmla="*/ 2147483647 h 1049"/>
              <a:gd name="T22" fmla="*/ 2147483647 w 1050"/>
              <a:gd name="T23" fmla="*/ 2147483647 h 1049"/>
              <a:gd name="T24" fmla="*/ 2147483647 w 1050"/>
              <a:gd name="T25" fmla="*/ 2147483647 h 1049"/>
              <a:gd name="T26" fmla="*/ 2147483647 w 1050"/>
              <a:gd name="T27" fmla="*/ 2147483647 h 1049"/>
              <a:gd name="T28" fmla="*/ 0 w 1050"/>
              <a:gd name="T29" fmla="*/ 2147483647 h 1049"/>
              <a:gd name="T30" fmla="*/ 2147483647 w 1050"/>
              <a:gd name="T31" fmla="*/ 2147483647 h 1049"/>
              <a:gd name="T32" fmla="*/ 2147483647 w 1050"/>
              <a:gd name="T33" fmla="*/ 2147483647 h 1049"/>
              <a:gd name="T34" fmla="*/ 2147483647 w 1050"/>
              <a:gd name="T35" fmla="*/ 2147483647 h 1049"/>
              <a:gd name="T36" fmla="*/ 2147483647 w 1050"/>
              <a:gd name="T37" fmla="*/ 2147483647 h 1049"/>
              <a:gd name="T38" fmla="*/ 2147483647 w 1050"/>
              <a:gd name="T39" fmla="*/ 2147483647 h 1049"/>
              <a:gd name="T40" fmla="*/ 2147483647 w 1050"/>
              <a:gd name="T41" fmla="*/ 2147483647 h 1049"/>
              <a:gd name="T42" fmla="*/ 2147483647 w 1050"/>
              <a:gd name="T43" fmla="*/ 2147483647 h 1049"/>
              <a:gd name="T44" fmla="*/ 2147483647 w 1050"/>
              <a:gd name="T45" fmla="*/ 2147483647 h 1049"/>
              <a:gd name="T46" fmla="*/ 2147483647 w 1050"/>
              <a:gd name="T47" fmla="*/ 2147483647 h 1049"/>
              <a:gd name="T48" fmla="*/ 2147483647 w 1050"/>
              <a:gd name="T49" fmla="*/ 2147483647 h 1049"/>
              <a:gd name="T50" fmla="*/ 2147483647 w 1050"/>
              <a:gd name="T51" fmla="*/ 2147483647 h 1049"/>
              <a:gd name="T52" fmla="*/ 2147483647 w 1050"/>
              <a:gd name="T53" fmla="*/ 0 h 1049"/>
              <a:gd name="T54" fmla="*/ 2147483647 w 1050"/>
              <a:gd name="T55" fmla="*/ 2147483647 h 1049"/>
              <a:gd name="T56" fmla="*/ 2147483647 w 1050"/>
              <a:gd name="T57" fmla="*/ 2147483647 h 1049"/>
              <a:gd name="T58" fmla="*/ 2147483647 w 1050"/>
              <a:gd name="T59" fmla="*/ 2147483647 h 1049"/>
              <a:gd name="T60" fmla="*/ 2147483647 w 1050"/>
              <a:gd name="T61" fmla="*/ 2147483647 h 1049"/>
              <a:gd name="T62" fmla="*/ 2147483647 w 1050"/>
              <a:gd name="T63" fmla="*/ 2147483647 h 1049"/>
              <a:gd name="T64" fmla="*/ 2147483647 w 1050"/>
              <a:gd name="T65" fmla="*/ 2147483647 h 1049"/>
              <a:gd name="T66" fmla="*/ 2147483647 w 1050"/>
              <a:gd name="T67" fmla="*/ 2147483647 h 1049"/>
              <a:gd name="T68" fmla="*/ 2147483647 w 1050"/>
              <a:gd name="T69" fmla="*/ 2147483647 h 1049"/>
              <a:gd name="T70" fmla="*/ 2147483647 w 1050"/>
              <a:gd name="T71" fmla="*/ 2147483647 h 1049"/>
              <a:gd name="T72" fmla="*/ 2147483647 w 1050"/>
              <a:gd name="T73" fmla="*/ 2147483647 h 1049"/>
              <a:gd name="T74" fmla="*/ 2147483647 w 1050"/>
              <a:gd name="T75" fmla="*/ 2147483647 h 1049"/>
              <a:gd name="T76" fmla="*/ 2147483647 w 1050"/>
              <a:gd name="T77" fmla="*/ 2147483647 h 1049"/>
              <a:gd name="T78" fmla="*/ 2147483647 w 1050"/>
              <a:gd name="T79" fmla="*/ 2147483647 h 1049"/>
              <a:gd name="T80" fmla="*/ 2147483647 w 1050"/>
              <a:gd name="T81" fmla="*/ 2147483647 h 1049"/>
              <a:gd name="T82" fmla="*/ 2147483647 w 1050"/>
              <a:gd name="T83" fmla="*/ 2147483647 h 1049"/>
              <a:gd name="T84" fmla="*/ 2147483647 w 1050"/>
              <a:gd name="T85" fmla="*/ 2147483647 h 10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50" h="1049">
                <a:moveTo>
                  <a:pt x="888" y="911"/>
                </a:moveTo>
                <a:lnTo>
                  <a:pt x="820" y="888"/>
                </a:lnTo>
                <a:lnTo>
                  <a:pt x="800" y="903"/>
                </a:lnTo>
                <a:lnTo>
                  <a:pt x="780" y="917"/>
                </a:lnTo>
                <a:lnTo>
                  <a:pt x="781" y="988"/>
                </a:lnTo>
                <a:lnTo>
                  <a:pt x="766" y="996"/>
                </a:lnTo>
                <a:lnTo>
                  <a:pt x="751" y="1003"/>
                </a:lnTo>
                <a:lnTo>
                  <a:pt x="694" y="961"/>
                </a:lnTo>
                <a:lnTo>
                  <a:pt x="671" y="969"/>
                </a:lnTo>
                <a:lnTo>
                  <a:pt x="658" y="972"/>
                </a:lnTo>
                <a:lnTo>
                  <a:pt x="646" y="976"/>
                </a:lnTo>
                <a:lnTo>
                  <a:pt x="625" y="1044"/>
                </a:lnTo>
                <a:lnTo>
                  <a:pt x="592" y="1049"/>
                </a:lnTo>
                <a:lnTo>
                  <a:pt x="551" y="991"/>
                </a:lnTo>
                <a:lnTo>
                  <a:pt x="526" y="991"/>
                </a:lnTo>
                <a:lnTo>
                  <a:pt x="501" y="991"/>
                </a:lnTo>
                <a:lnTo>
                  <a:pt x="460" y="1049"/>
                </a:lnTo>
                <a:lnTo>
                  <a:pt x="443" y="1047"/>
                </a:lnTo>
                <a:lnTo>
                  <a:pt x="426" y="1044"/>
                </a:lnTo>
                <a:lnTo>
                  <a:pt x="405" y="976"/>
                </a:lnTo>
                <a:lnTo>
                  <a:pt x="381" y="969"/>
                </a:lnTo>
                <a:lnTo>
                  <a:pt x="369" y="965"/>
                </a:lnTo>
                <a:lnTo>
                  <a:pt x="358" y="961"/>
                </a:lnTo>
                <a:lnTo>
                  <a:pt x="301" y="1003"/>
                </a:lnTo>
                <a:lnTo>
                  <a:pt x="286" y="996"/>
                </a:lnTo>
                <a:lnTo>
                  <a:pt x="271" y="988"/>
                </a:lnTo>
                <a:lnTo>
                  <a:pt x="272" y="917"/>
                </a:lnTo>
                <a:lnTo>
                  <a:pt x="252" y="903"/>
                </a:lnTo>
                <a:lnTo>
                  <a:pt x="242" y="895"/>
                </a:lnTo>
                <a:lnTo>
                  <a:pt x="232" y="888"/>
                </a:lnTo>
                <a:lnTo>
                  <a:pt x="164" y="911"/>
                </a:lnTo>
                <a:lnTo>
                  <a:pt x="152" y="899"/>
                </a:lnTo>
                <a:lnTo>
                  <a:pt x="140" y="886"/>
                </a:lnTo>
                <a:lnTo>
                  <a:pt x="163" y="818"/>
                </a:lnTo>
                <a:lnTo>
                  <a:pt x="148" y="799"/>
                </a:lnTo>
                <a:lnTo>
                  <a:pt x="134" y="778"/>
                </a:lnTo>
                <a:lnTo>
                  <a:pt x="63" y="779"/>
                </a:lnTo>
                <a:lnTo>
                  <a:pt x="55" y="765"/>
                </a:lnTo>
                <a:lnTo>
                  <a:pt x="47" y="750"/>
                </a:lnTo>
                <a:lnTo>
                  <a:pt x="90" y="693"/>
                </a:lnTo>
                <a:lnTo>
                  <a:pt x="82" y="669"/>
                </a:lnTo>
                <a:lnTo>
                  <a:pt x="78" y="657"/>
                </a:lnTo>
                <a:lnTo>
                  <a:pt x="75" y="645"/>
                </a:lnTo>
                <a:lnTo>
                  <a:pt x="6" y="623"/>
                </a:lnTo>
                <a:lnTo>
                  <a:pt x="0" y="590"/>
                </a:lnTo>
                <a:lnTo>
                  <a:pt x="60" y="549"/>
                </a:lnTo>
                <a:lnTo>
                  <a:pt x="59" y="524"/>
                </a:lnTo>
                <a:lnTo>
                  <a:pt x="60" y="500"/>
                </a:lnTo>
                <a:lnTo>
                  <a:pt x="0" y="459"/>
                </a:lnTo>
                <a:lnTo>
                  <a:pt x="3" y="442"/>
                </a:lnTo>
                <a:lnTo>
                  <a:pt x="6" y="426"/>
                </a:lnTo>
                <a:lnTo>
                  <a:pt x="75" y="405"/>
                </a:lnTo>
                <a:lnTo>
                  <a:pt x="82" y="380"/>
                </a:lnTo>
                <a:lnTo>
                  <a:pt x="86" y="368"/>
                </a:lnTo>
                <a:lnTo>
                  <a:pt x="90" y="356"/>
                </a:lnTo>
                <a:lnTo>
                  <a:pt x="47" y="299"/>
                </a:lnTo>
                <a:lnTo>
                  <a:pt x="55" y="284"/>
                </a:lnTo>
                <a:lnTo>
                  <a:pt x="63" y="270"/>
                </a:lnTo>
                <a:lnTo>
                  <a:pt x="134" y="271"/>
                </a:lnTo>
                <a:lnTo>
                  <a:pt x="148" y="250"/>
                </a:lnTo>
                <a:lnTo>
                  <a:pt x="155" y="240"/>
                </a:lnTo>
                <a:lnTo>
                  <a:pt x="163" y="231"/>
                </a:lnTo>
                <a:lnTo>
                  <a:pt x="140" y="163"/>
                </a:lnTo>
                <a:lnTo>
                  <a:pt x="152" y="151"/>
                </a:lnTo>
                <a:lnTo>
                  <a:pt x="164" y="139"/>
                </a:lnTo>
                <a:lnTo>
                  <a:pt x="232" y="162"/>
                </a:lnTo>
                <a:lnTo>
                  <a:pt x="252" y="147"/>
                </a:lnTo>
                <a:lnTo>
                  <a:pt x="272" y="133"/>
                </a:lnTo>
                <a:lnTo>
                  <a:pt x="271" y="61"/>
                </a:lnTo>
                <a:lnTo>
                  <a:pt x="286" y="53"/>
                </a:lnTo>
                <a:lnTo>
                  <a:pt x="301" y="46"/>
                </a:lnTo>
                <a:lnTo>
                  <a:pt x="358" y="88"/>
                </a:lnTo>
                <a:lnTo>
                  <a:pt x="381" y="80"/>
                </a:lnTo>
                <a:lnTo>
                  <a:pt x="393" y="76"/>
                </a:lnTo>
                <a:lnTo>
                  <a:pt x="405" y="73"/>
                </a:lnTo>
                <a:lnTo>
                  <a:pt x="426" y="5"/>
                </a:lnTo>
                <a:lnTo>
                  <a:pt x="460" y="0"/>
                </a:lnTo>
                <a:lnTo>
                  <a:pt x="501" y="58"/>
                </a:lnTo>
                <a:lnTo>
                  <a:pt x="526" y="57"/>
                </a:lnTo>
                <a:lnTo>
                  <a:pt x="551" y="58"/>
                </a:lnTo>
                <a:lnTo>
                  <a:pt x="592" y="0"/>
                </a:lnTo>
                <a:lnTo>
                  <a:pt x="608" y="2"/>
                </a:lnTo>
                <a:lnTo>
                  <a:pt x="625" y="5"/>
                </a:lnTo>
                <a:lnTo>
                  <a:pt x="646" y="73"/>
                </a:lnTo>
                <a:lnTo>
                  <a:pt x="671" y="80"/>
                </a:lnTo>
                <a:lnTo>
                  <a:pt x="682" y="84"/>
                </a:lnTo>
                <a:lnTo>
                  <a:pt x="694" y="88"/>
                </a:lnTo>
                <a:lnTo>
                  <a:pt x="751" y="46"/>
                </a:lnTo>
                <a:lnTo>
                  <a:pt x="766" y="53"/>
                </a:lnTo>
                <a:lnTo>
                  <a:pt x="781" y="61"/>
                </a:lnTo>
                <a:lnTo>
                  <a:pt x="780" y="133"/>
                </a:lnTo>
                <a:lnTo>
                  <a:pt x="800" y="147"/>
                </a:lnTo>
                <a:lnTo>
                  <a:pt x="810" y="155"/>
                </a:lnTo>
                <a:lnTo>
                  <a:pt x="820" y="162"/>
                </a:lnTo>
                <a:lnTo>
                  <a:pt x="888" y="139"/>
                </a:lnTo>
                <a:lnTo>
                  <a:pt x="900" y="151"/>
                </a:lnTo>
                <a:lnTo>
                  <a:pt x="912" y="163"/>
                </a:lnTo>
                <a:lnTo>
                  <a:pt x="889" y="231"/>
                </a:lnTo>
                <a:lnTo>
                  <a:pt x="904" y="250"/>
                </a:lnTo>
                <a:lnTo>
                  <a:pt x="918" y="271"/>
                </a:lnTo>
                <a:lnTo>
                  <a:pt x="989" y="270"/>
                </a:lnTo>
                <a:lnTo>
                  <a:pt x="997" y="284"/>
                </a:lnTo>
                <a:lnTo>
                  <a:pt x="1005" y="299"/>
                </a:lnTo>
                <a:lnTo>
                  <a:pt x="962" y="356"/>
                </a:lnTo>
                <a:lnTo>
                  <a:pt x="970" y="380"/>
                </a:lnTo>
                <a:lnTo>
                  <a:pt x="974" y="393"/>
                </a:lnTo>
                <a:lnTo>
                  <a:pt x="977" y="405"/>
                </a:lnTo>
                <a:lnTo>
                  <a:pt x="1045" y="426"/>
                </a:lnTo>
                <a:lnTo>
                  <a:pt x="1050" y="459"/>
                </a:lnTo>
                <a:lnTo>
                  <a:pt x="992" y="500"/>
                </a:lnTo>
                <a:lnTo>
                  <a:pt x="993" y="524"/>
                </a:lnTo>
                <a:lnTo>
                  <a:pt x="992" y="549"/>
                </a:lnTo>
                <a:lnTo>
                  <a:pt x="1050" y="590"/>
                </a:lnTo>
                <a:lnTo>
                  <a:pt x="1048" y="607"/>
                </a:lnTo>
                <a:lnTo>
                  <a:pt x="1045" y="623"/>
                </a:lnTo>
                <a:lnTo>
                  <a:pt x="977" y="645"/>
                </a:lnTo>
                <a:lnTo>
                  <a:pt x="970" y="669"/>
                </a:lnTo>
                <a:lnTo>
                  <a:pt x="966" y="681"/>
                </a:lnTo>
                <a:lnTo>
                  <a:pt x="962" y="693"/>
                </a:lnTo>
                <a:lnTo>
                  <a:pt x="1005" y="750"/>
                </a:lnTo>
                <a:lnTo>
                  <a:pt x="997" y="765"/>
                </a:lnTo>
                <a:lnTo>
                  <a:pt x="989" y="779"/>
                </a:lnTo>
                <a:lnTo>
                  <a:pt x="918" y="778"/>
                </a:lnTo>
                <a:lnTo>
                  <a:pt x="904" y="799"/>
                </a:lnTo>
                <a:lnTo>
                  <a:pt x="897" y="809"/>
                </a:lnTo>
                <a:lnTo>
                  <a:pt x="889" y="818"/>
                </a:lnTo>
                <a:lnTo>
                  <a:pt x="912" y="886"/>
                </a:lnTo>
                <a:lnTo>
                  <a:pt x="900" y="899"/>
                </a:lnTo>
                <a:lnTo>
                  <a:pt x="888" y="911"/>
                </a:lnTo>
                <a:close/>
              </a:path>
            </a:pathLst>
          </a:custGeom>
          <a:solidFill>
            <a:schemeClr val="tx1">
              <a:lumMod val="60000"/>
              <a:lumOff val="40000"/>
            </a:schemeClr>
          </a:solidFill>
          <a:ln w="22225" cmpd="sng">
            <a:solidFill>
              <a:schemeClr val="bg1"/>
            </a:solidFill>
            <a:round/>
            <a:headEnd/>
            <a:tailEnd/>
          </a:ln>
          <a:effectLst/>
        </p:spPr>
        <p:txBody>
          <a:bodyPr/>
          <a:lstStyle/>
          <a:p>
            <a:endParaRPr lang="en-US"/>
          </a:p>
        </p:txBody>
      </p:sp>
      <p:sp>
        <p:nvSpPr>
          <p:cNvPr id="181252" name="Oval 4"/>
          <p:cNvSpPr>
            <a:spLocks noChangeArrowheads="1"/>
          </p:cNvSpPr>
          <p:nvPr/>
        </p:nvSpPr>
        <p:spPr bwMode="gray">
          <a:xfrm>
            <a:off x="5414963" y="2482850"/>
            <a:ext cx="1855787" cy="2016125"/>
          </a:xfrm>
          <a:prstGeom prst="ellipse">
            <a:avLst/>
          </a:prstGeom>
          <a:solidFill>
            <a:schemeClr val="tx1">
              <a:lumMod val="60000"/>
              <a:lumOff val="40000"/>
            </a:schemeClr>
          </a:solidFill>
          <a:ln w="28575">
            <a:solidFill>
              <a:schemeClr val="bg1"/>
            </a:solidFill>
            <a:round/>
            <a:headEnd/>
            <a:tailEnd/>
          </a:ln>
          <a:effectLst/>
        </p:spPr>
        <p:txBody>
          <a:bodyP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p>
        </p:txBody>
      </p:sp>
      <p:sp>
        <p:nvSpPr>
          <p:cNvPr id="181253" name="Freeform 5"/>
          <p:cNvSpPr>
            <a:spLocks/>
          </p:cNvSpPr>
          <p:nvPr/>
        </p:nvSpPr>
        <p:spPr bwMode="gray">
          <a:xfrm>
            <a:off x="7185025" y="1371600"/>
            <a:ext cx="1516063" cy="1641475"/>
          </a:xfrm>
          <a:custGeom>
            <a:avLst/>
            <a:gdLst>
              <a:gd name="T0" fmla="*/ 2147483647 w 637"/>
              <a:gd name="T1" fmla="*/ 2147483647 h 638"/>
              <a:gd name="T2" fmla="*/ 2147483647 w 637"/>
              <a:gd name="T3" fmla="*/ 2147483647 h 638"/>
              <a:gd name="T4" fmla="*/ 2147483647 w 637"/>
              <a:gd name="T5" fmla="*/ 2147483647 h 638"/>
              <a:gd name="T6" fmla="*/ 2147483647 w 637"/>
              <a:gd name="T7" fmla="*/ 2147483647 h 638"/>
              <a:gd name="T8" fmla="*/ 2147483647 w 637"/>
              <a:gd name="T9" fmla="*/ 2147483647 h 638"/>
              <a:gd name="T10" fmla="*/ 2147483647 w 637"/>
              <a:gd name="T11" fmla="*/ 2147483647 h 638"/>
              <a:gd name="T12" fmla="*/ 2147483647 w 637"/>
              <a:gd name="T13" fmla="*/ 2147483647 h 638"/>
              <a:gd name="T14" fmla="*/ 2147483647 w 637"/>
              <a:gd name="T15" fmla="*/ 2147483647 h 638"/>
              <a:gd name="T16" fmla="*/ 2147483647 w 637"/>
              <a:gd name="T17" fmla="*/ 2147483647 h 638"/>
              <a:gd name="T18" fmla="*/ 2147483647 w 637"/>
              <a:gd name="T19" fmla="*/ 2147483647 h 638"/>
              <a:gd name="T20" fmla="*/ 2147483647 w 637"/>
              <a:gd name="T21" fmla="*/ 2147483647 h 638"/>
              <a:gd name="T22" fmla="*/ 2147483647 w 637"/>
              <a:gd name="T23" fmla="*/ 2147483647 h 638"/>
              <a:gd name="T24" fmla="*/ 2147483647 w 637"/>
              <a:gd name="T25" fmla="*/ 2147483647 h 638"/>
              <a:gd name="T26" fmla="*/ 2147483647 w 637"/>
              <a:gd name="T27" fmla="*/ 2147483647 h 638"/>
              <a:gd name="T28" fmla="*/ 2147483647 w 637"/>
              <a:gd name="T29" fmla="*/ 2147483647 h 638"/>
              <a:gd name="T30" fmla="*/ 2147483647 w 637"/>
              <a:gd name="T31" fmla="*/ 2147483647 h 638"/>
              <a:gd name="T32" fmla="*/ 0 w 637"/>
              <a:gd name="T33" fmla="*/ 2147483647 h 638"/>
              <a:gd name="T34" fmla="*/ 2147483647 w 637"/>
              <a:gd name="T35" fmla="*/ 2147483647 h 638"/>
              <a:gd name="T36" fmla="*/ 2147483647 w 637"/>
              <a:gd name="T37" fmla="*/ 2147483647 h 638"/>
              <a:gd name="T38" fmla="*/ 2147483647 w 637"/>
              <a:gd name="T39" fmla="*/ 2147483647 h 638"/>
              <a:gd name="T40" fmla="*/ 2147483647 w 637"/>
              <a:gd name="T41" fmla="*/ 2147483647 h 638"/>
              <a:gd name="T42" fmla="*/ 2147483647 w 637"/>
              <a:gd name="T43" fmla="*/ 2147483647 h 638"/>
              <a:gd name="T44" fmla="*/ 2147483647 w 637"/>
              <a:gd name="T45" fmla="*/ 2147483647 h 638"/>
              <a:gd name="T46" fmla="*/ 2147483647 w 637"/>
              <a:gd name="T47" fmla="*/ 2147483647 h 638"/>
              <a:gd name="T48" fmla="*/ 2147483647 w 637"/>
              <a:gd name="T49" fmla="*/ 2147483647 h 638"/>
              <a:gd name="T50" fmla="*/ 2147483647 w 637"/>
              <a:gd name="T51" fmla="*/ 2147483647 h 638"/>
              <a:gd name="T52" fmla="*/ 2147483647 w 637"/>
              <a:gd name="T53" fmla="*/ 2147483647 h 638"/>
              <a:gd name="T54" fmla="*/ 2147483647 w 637"/>
              <a:gd name="T55" fmla="*/ 2147483647 h 638"/>
              <a:gd name="T56" fmla="*/ 2147483647 w 637"/>
              <a:gd name="T57" fmla="*/ 2147483647 h 638"/>
              <a:gd name="T58" fmla="*/ 2147483647 w 637"/>
              <a:gd name="T59" fmla="*/ 2147483647 h 638"/>
              <a:gd name="T60" fmla="*/ 2147483647 w 637"/>
              <a:gd name="T61" fmla="*/ 2147483647 h 638"/>
              <a:gd name="T62" fmla="*/ 2147483647 w 637"/>
              <a:gd name="T63" fmla="*/ 2147483647 h 638"/>
              <a:gd name="T64" fmla="*/ 2147483647 w 637"/>
              <a:gd name="T65" fmla="*/ 2147483647 h 638"/>
              <a:gd name="T66" fmla="*/ 2147483647 w 637"/>
              <a:gd name="T67" fmla="*/ 2147483647 h 638"/>
              <a:gd name="T68" fmla="*/ 2147483647 w 637"/>
              <a:gd name="T69" fmla="*/ 2147483647 h 638"/>
              <a:gd name="T70" fmla="*/ 2147483647 w 637"/>
              <a:gd name="T71" fmla="*/ 2147483647 h 638"/>
              <a:gd name="T72" fmla="*/ 2147483647 w 637"/>
              <a:gd name="T73" fmla="*/ 2147483647 h 638"/>
              <a:gd name="T74" fmla="*/ 2147483647 w 637"/>
              <a:gd name="T75" fmla="*/ 2147483647 h 638"/>
              <a:gd name="T76" fmla="*/ 2147483647 w 637"/>
              <a:gd name="T77" fmla="*/ 2147483647 h 638"/>
              <a:gd name="T78" fmla="*/ 2147483647 w 637"/>
              <a:gd name="T79" fmla="*/ 2147483647 h 638"/>
              <a:gd name="T80" fmla="*/ 2147483647 w 637"/>
              <a:gd name="T81" fmla="*/ 2147483647 h 638"/>
              <a:gd name="T82" fmla="*/ 2147483647 w 637"/>
              <a:gd name="T83" fmla="*/ 2147483647 h 638"/>
              <a:gd name="T84" fmla="*/ 2147483647 w 637"/>
              <a:gd name="T85" fmla="*/ 2147483647 h 638"/>
              <a:gd name="T86" fmla="*/ 2147483647 w 637"/>
              <a:gd name="T87" fmla="*/ 2147483647 h 638"/>
              <a:gd name="T88" fmla="*/ 2147483647 w 637"/>
              <a:gd name="T89" fmla="*/ 2147483647 h 638"/>
              <a:gd name="T90" fmla="*/ 2147483647 w 637"/>
              <a:gd name="T91" fmla="*/ 2147483647 h 638"/>
              <a:gd name="T92" fmla="*/ 2147483647 w 637"/>
              <a:gd name="T93" fmla="*/ 2147483647 h 638"/>
              <a:gd name="T94" fmla="*/ 2147483647 w 637"/>
              <a:gd name="T95" fmla="*/ 2147483647 h 638"/>
              <a:gd name="T96" fmla="*/ 2147483647 w 637"/>
              <a:gd name="T97" fmla="*/ 2147483647 h 638"/>
              <a:gd name="T98" fmla="*/ 2147483647 w 637"/>
              <a:gd name="T99" fmla="*/ 2147483647 h 638"/>
              <a:gd name="T100" fmla="*/ 2147483647 w 637"/>
              <a:gd name="T101" fmla="*/ 2147483647 h 6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37" h="638">
                <a:moveTo>
                  <a:pt x="496" y="585"/>
                </a:moveTo>
                <a:lnTo>
                  <a:pt x="441" y="550"/>
                </a:lnTo>
                <a:lnTo>
                  <a:pt x="431" y="555"/>
                </a:lnTo>
                <a:lnTo>
                  <a:pt x="420" y="560"/>
                </a:lnTo>
                <a:lnTo>
                  <a:pt x="409" y="564"/>
                </a:lnTo>
                <a:lnTo>
                  <a:pt x="397" y="568"/>
                </a:lnTo>
                <a:lnTo>
                  <a:pt x="382" y="633"/>
                </a:lnTo>
                <a:lnTo>
                  <a:pt x="362" y="636"/>
                </a:lnTo>
                <a:lnTo>
                  <a:pt x="342" y="638"/>
                </a:lnTo>
                <a:lnTo>
                  <a:pt x="312" y="579"/>
                </a:lnTo>
                <a:lnTo>
                  <a:pt x="300" y="579"/>
                </a:lnTo>
                <a:lnTo>
                  <a:pt x="288" y="577"/>
                </a:lnTo>
                <a:lnTo>
                  <a:pt x="275" y="576"/>
                </a:lnTo>
                <a:lnTo>
                  <a:pt x="264" y="573"/>
                </a:lnTo>
                <a:lnTo>
                  <a:pt x="219" y="622"/>
                </a:lnTo>
                <a:lnTo>
                  <a:pt x="209" y="619"/>
                </a:lnTo>
                <a:lnTo>
                  <a:pt x="200" y="616"/>
                </a:lnTo>
                <a:lnTo>
                  <a:pt x="181" y="608"/>
                </a:lnTo>
                <a:lnTo>
                  <a:pt x="184" y="540"/>
                </a:lnTo>
                <a:lnTo>
                  <a:pt x="174" y="533"/>
                </a:lnTo>
                <a:lnTo>
                  <a:pt x="164" y="526"/>
                </a:lnTo>
                <a:lnTo>
                  <a:pt x="155" y="519"/>
                </a:lnTo>
                <a:lnTo>
                  <a:pt x="146" y="511"/>
                </a:lnTo>
                <a:lnTo>
                  <a:pt x="79" y="531"/>
                </a:lnTo>
                <a:lnTo>
                  <a:pt x="67" y="517"/>
                </a:lnTo>
                <a:lnTo>
                  <a:pt x="56" y="502"/>
                </a:lnTo>
                <a:lnTo>
                  <a:pt x="94" y="443"/>
                </a:lnTo>
                <a:lnTo>
                  <a:pt x="89" y="432"/>
                </a:lnTo>
                <a:lnTo>
                  <a:pt x="83" y="421"/>
                </a:lnTo>
                <a:lnTo>
                  <a:pt x="78" y="410"/>
                </a:lnTo>
                <a:lnTo>
                  <a:pt x="74" y="398"/>
                </a:lnTo>
                <a:lnTo>
                  <a:pt x="6" y="383"/>
                </a:lnTo>
                <a:lnTo>
                  <a:pt x="3" y="364"/>
                </a:lnTo>
                <a:lnTo>
                  <a:pt x="0" y="346"/>
                </a:lnTo>
                <a:lnTo>
                  <a:pt x="63" y="314"/>
                </a:lnTo>
                <a:lnTo>
                  <a:pt x="64" y="301"/>
                </a:lnTo>
                <a:lnTo>
                  <a:pt x="65" y="288"/>
                </a:lnTo>
                <a:lnTo>
                  <a:pt x="67" y="276"/>
                </a:lnTo>
                <a:lnTo>
                  <a:pt x="69" y="264"/>
                </a:lnTo>
                <a:lnTo>
                  <a:pt x="17" y="215"/>
                </a:lnTo>
                <a:lnTo>
                  <a:pt x="23" y="198"/>
                </a:lnTo>
                <a:lnTo>
                  <a:pt x="30" y="182"/>
                </a:lnTo>
                <a:lnTo>
                  <a:pt x="102" y="185"/>
                </a:lnTo>
                <a:lnTo>
                  <a:pt x="109" y="175"/>
                </a:lnTo>
                <a:lnTo>
                  <a:pt x="117" y="165"/>
                </a:lnTo>
                <a:lnTo>
                  <a:pt x="124" y="155"/>
                </a:lnTo>
                <a:lnTo>
                  <a:pt x="133" y="146"/>
                </a:lnTo>
                <a:lnTo>
                  <a:pt x="111" y="76"/>
                </a:lnTo>
                <a:lnTo>
                  <a:pt x="124" y="65"/>
                </a:lnTo>
                <a:lnTo>
                  <a:pt x="138" y="55"/>
                </a:lnTo>
                <a:lnTo>
                  <a:pt x="200" y="94"/>
                </a:lnTo>
                <a:lnTo>
                  <a:pt x="211" y="88"/>
                </a:lnTo>
                <a:lnTo>
                  <a:pt x="222" y="83"/>
                </a:lnTo>
                <a:lnTo>
                  <a:pt x="234" y="79"/>
                </a:lnTo>
                <a:lnTo>
                  <a:pt x="246" y="75"/>
                </a:lnTo>
                <a:lnTo>
                  <a:pt x="261" y="4"/>
                </a:lnTo>
                <a:lnTo>
                  <a:pt x="270" y="3"/>
                </a:lnTo>
                <a:lnTo>
                  <a:pt x="279" y="1"/>
                </a:lnTo>
                <a:lnTo>
                  <a:pt x="297" y="0"/>
                </a:lnTo>
                <a:lnTo>
                  <a:pt x="330" y="64"/>
                </a:lnTo>
                <a:lnTo>
                  <a:pt x="343" y="65"/>
                </a:lnTo>
                <a:lnTo>
                  <a:pt x="355" y="66"/>
                </a:lnTo>
                <a:lnTo>
                  <a:pt x="367" y="68"/>
                </a:lnTo>
                <a:lnTo>
                  <a:pt x="379" y="70"/>
                </a:lnTo>
                <a:lnTo>
                  <a:pt x="427" y="18"/>
                </a:lnTo>
                <a:lnTo>
                  <a:pt x="436" y="21"/>
                </a:lnTo>
                <a:lnTo>
                  <a:pt x="444" y="25"/>
                </a:lnTo>
                <a:lnTo>
                  <a:pt x="461" y="32"/>
                </a:lnTo>
                <a:lnTo>
                  <a:pt x="458" y="103"/>
                </a:lnTo>
                <a:lnTo>
                  <a:pt x="468" y="110"/>
                </a:lnTo>
                <a:lnTo>
                  <a:pt x="478" y="117"/>
                </a:lnTo>
                <a:lnTo>
                  <a:pt x="488" y="125"/>
                </a:lnTo>
                <a:lnTo>
                  <a:pt x="497" y="134"/>
                </a:lnTo>
                <a:lnTo>
                  <a:pt x="562" y="112"/>
                </a:lnTo>
                <a:lnTo>
                  <a:pt x="574" y="128"/>
                </a:lnTo>
                <a:lnTo>
                  <a:pt x="579" y="136"/>
                </a:lnTo>
                <a:lnTo>
                  <a:pt x="586" y="144"/>
                </a:lnTo>
                <a:lnTo>
                  <a:pt x="548" y="201"/>
                </a:lnTo>
                <a:lnTo>
                  <a:pt x="551" y="206"/>
                </a:lnTo>
                <a:lnTo>
                  <a:pt x="554" y="213"/>
                </a:lnTo>
                <a:lnTo>
                  <a:pt x="559" y="224"/>
                </a:lnTo>
                <a:lnTo>
                  <a:pt x="563" y="235"/>
                </a:lnTo>
                <a:lnTo>
                  <a:pt x="567" y="247"/>
                </a:lnTo>
                <a:lnTo>
                  <a:pt x="632" y="261"/>
                </a:lnTo>
                <a:lnTo>
                  <a:pt x="635" y="280"/>
                </a:lnTo>
                <a:lnTo>
                  <a:pt x="637" y="301"/>
                </a:lnTo>
                <a:lnTo>
                  <a:pt x="578" y="332"/>
                </a:lnTo>
                <a:lnTo>
                  <a:pt x="577" y="344"/>
                </a:lnTo>
                <a:lnTo>
                  <a:pt x="576" y="356"/>
                </a:lnTo>
                <a:lnTo>
                  <a:pt x="574" y="367"/>
                </a:lnTo>
                <a:lnTo>
                  <a:pt x="571" y="380"/>
                </a:lnTo>
                <a:lnTo>
                  <a:pt x="620" y="424"/>
                </a:lnTo>
                <a:lnTo>
                  <a:pt x="613" y="443"/>
                </a:lnTo>
                <a:lnTo>
                  <a:pt x="604" y="462"/>
                </a:lnTo>
                <a:lnTo>
                  <a:pt x="539" y="458"/>
                </a:lnTo>
                <a:lnTo>
                  <a:pt x="532" y="469"/>
                </a:lnTo>
                <a:lnTo>
                  <a:pt x="525" y="479"/>
                </a:lnTo>
                <a:lnTo>
                  <a:pt x="518" y="488"/>
                </a:lnTo>
                <a:lnTo>
                  <a:pt x="510" y="497"/>
                </a:lnTo>
                <a:lnTo>
                  <a:pt x="529" y="559"/>
                </a:lnTo>
                <a:lnTo>
                  <a:pt x="513" y="573"/>
                </a:lnTo>
                <a:lnTo>
                  <a:pt x="505" y="579"/>
                </a:lnTo>
                <a:lnTo>
                  <a:pt x="496" y="585"/>
                </a:lnTo>
                <a:close/>
              </a:path>
            </a:pathLst>
          </a:custGeom>
          <a:solidFill>
            <a:srgbClr val="DCDCDC"/>
          </a:solidFill>
          <a:ln w="22225" cmpd="sng">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1254" name="Oval 6"/>
          <p:cNvSpPr>
            <a:spLocks noChangeArrowheads="1"/>
          </p:cNvSpPr>
          <p:nvPr/>
        </p:nvSpPr>
        <p:spPr bwMode="gray">
          <a:xfrm>
            <a:off x="7485062" y="1700212"/>
            <a:ext cx="914400" cy="982663"/>
          </a:xfrm>
          <a:prstGeom prst="ellipse">
            <a:avLst/>
          </a:prstGeom>
          <a:noFill/>
          <a:ln w="28575">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p>
        </p:txBody>
      </p:sp>
      <p:sp>
        <p:nvSpPr>
          <p:cNvPr id="181255" name="Freeform 7"/>
          <p:cNvSpPr>
            <a:spLocks/>
          </p:cNvSpPr>
          <p:nvPr/>
        </p:nvSpPr>
        <p:spPr bwMode="gray">
          <a:xfrm>
            <a:off x="3155949" y="1398587"/>
            <a:ext cx="2114550" cy="2295525"/>
          </a:xfrm>
          <a:custGeom>
            <a:avLst/>
            <a:gdLst>
              <a:gd name="T0" fmla="*/ 2147483647 w 808"/>
              <a:gd name="T1" fmla="*/ 2147483647 h 810"/>
              <a:gd name="T2" fmla="*/ 2147483647 w 808"/>
              <a:gd name="T3" fmla="*/ 2147483647 h 810"/>
              <a:gd name="T4" fmla="*/ 2147483647 w 808"/>
              <a:gd name="T5" fmla="*/ 2147483647 h 810"/>
              <a:gd name="T6" fmla="*/ 2147483647 w 808"/>
              <a:gd name="T7" fmla="*/ 2147483647 h 810"/>
              <a:gd name="T8" fmla="*/ 2147483647 w 808"/>
              <a:gd name="T9" fmla="*/ 2147483647 h 810"/>
              <a:gd name="T10" fmla="*/ 2147483647 w 808"/>
              <a:gd name="T11" fmla="*/ 2147483647 h 810"/>
              <a:gd name="T12" fmla="*/ 2147483647 w 808"/>
              <a:gd name="T13" fmla="*/ 2147483647 h 810"/>
              <a:gd name="T14" fmla="*/ 2147483647 w 808"/>
              <a:gd name="T15" fmla="*/ 2147483647 h 810"/>
              <a:gd name="T16" fmla="*/ 2147483647 w 808"/>
              <a:gd name="T17" fmla="*/ 2147483647 h 810"/>
              <a:gd name="T18" fmla="*/ 2147483647 w 808"/>
              <a:gd name="T19" fmla="*/ 2147483647 h 810"/>
              <a:gd name="T20" fmla="*/ 2147483647 w 808"/>
              <a:gd name="T21" fmla="*/ 2147483647 h 810"/>
              <a:gd name="T22" fmla="*/ 2147483647 w 808"/>
              <a:gd name="T23" fmla="*/ 2147483647 h 810"/>
              <a:gd name="T24" fmla="*/ 2147483647 w 808"/>
              <a:gd name="T25" fmla="*/ 2147483647 h 810"/>
              <a:gd name="T26" fmla="*/ 2147483647 w 808"/>
              <a:gd name="T27" fmla="*/ 2147483647 h 810"/>
              <a:gd name="T28" fmla="*/ 2147483647 w 808"/>
              <a:gd name="T29" fmla="*/ 2147483647 h 810"/>
              <a:gd name="T30" fmla="*/ 2147483647 w 808"/>
              <a:gd name="T31" fmla="*/ 2147483647 h 810"/>
              <a:gd name="T32" fmla="*/ 2147483647 w 808"/>
              <a:gd name="T33" fmla="*/ 2147483647 h 810"/>
              <a:gd name="T34" fmla="*/ 2147483647 w 808"/>
              <a:gd name="T35" fmla="*/ 2147483647 h 810"/>
              <a:gd name="T36" fmla="*/ 2147483647 w 808"/>
              <a:gd name="T37" fmla="*/ 2147483647 h 810"/>
              <a:gd name="T38" fmla="*/ 2147483647 w 808"/>
              <a:gd name="T39" fmla="*/ 2147483647 h 810"/>
              <a:gd name="T40" fmla="*/ 2147483647 w 808"/>
              <a:gd name="T41" fmla="*/ 2147483647 h 810"/>
              <a:gd name="T42" fmla="*/ 2147483647 w 808"/>
              <a:gd name="T43" fmla="*/ 2147483647 h 810"/>
              <a:gd name="T44" fmla="*/ 2147483647 w 808"/>
              <a:gd name="T45" fmla="*/ 2147483647 h 810"/>
              <a:gd name="T46" fmla="*/ 2147483647 w 808"/>
              <a:gd name="T47" fmla="*/ 2147483647 h 810"/>
              <a:gd name="T48" fmla="*/ 2147483647 w 808"/>
              <a:gd name="T49" fmla="*/ 2147483647 h 810"/>
              <a:gd name="T50" fmla="*/ 2147483647 w 808"/>
              <a:gd name="T51" fmla="*/ 2147483647 h 810"/>
              <a:gd name="T52" fmla="*/ 2147483647 w 808"/>
              <a:gd name="T53" fmla="*/ 2147483647 h 810"/>
              <a:gd name="T54" fmla="*/ 2147483647 w 808"/>
              <a:gd name="T55" fmla="*/ 2147483647 h 810"/>
              <a:gd name="T56" fmla="*/ 2147483647 w 808"/>
              <a:gd name="T57" fmla="*/ 2147483647 h 810"/>
              <a:gd name="T58" fmla="*/ 2147483647 w 808"/>
              <a:gd name="T59" fmla="*/ 2147483647 h 810"/>
              <a:gd name="T60" fmla="*/ 2147483647 w 808"/>
              <a:gd name="T61" fmla="*/ 2147483647 h 810"/>
              <a:gd name="T62" fmla="*/ 2147483647 w 808"/>
              <a:gd name="T63" fmla="*/ 2147483647 h 810"/>
              <a:gd name="T64" fmla="*/ 2147483647 w 808"/>
              <a:gd name="T65" fmla="*/ 2147483647 h 810"/>
              <a:gd name="T66" fmla="*/ 2147483647 w 808"/>
              <a:gd name="T67" fmla="*/ 2147483647 h 810"/>
              <a:gd name="T68" fmla="*/ 2147483647 w 808"/>
              <a:gd name="T69" fmla="*/ 2147483647 h 810"/>
              <a:gd name="T70" fmla="*/ 2147483647 w 808"/>
              <a:gd name="T71" fmla="*/ 2147483647 h 810"/>
              <a:gd name="T72" fmla="*/ 2147483647 w 808"/>
              <a:gd name="T73" fmla="*/ 2147483647 h 810"/>
              <a:gd name="T74" fmla="*/ 2147483647 w 808"/>
              <a:gd name="T75" fmla="*/ 0 h 810"/>
              <a:gd name="T76" fmla="*/ 2147483647 w 808"/>
              <a:gd name="T77" fmla="*/ 2147483647 h 810"/>
              <a:gd name="T78" fmla="*/ 2147483647 w 808"/>
              <a:gd name="T79" fmla="*/ 2147483647 h 810"/>
              <a:gd name="T80" fmla="*/ 2147483647 w 808"/>
              <a:gd name="T81" fmla="*/ 2147483647 h 810"/>
              <a:gd name="T82" fmla="*/ 2147483647 w 808"/>
              <a:gd name="T83" fmla="*/ 2147483647 h 810"/>
              <a:gd name="T84" fmla="*/ 2147483647 w 808"/>
              <a:gd name="T85" fmla="*/ 2147483647 h 810"/>
              <a:gd name="T86" fmla="*/ 2147483647 w 808"/>
              <a:gd name="T87" fmla="*/ 2147483647 h 810"/>
              <a:gd name="T88" fmla="*/ 2147483647 w 808"/>
              <a:gd name="T89" fmla="*/ 2147483647 h 810"/>
              <a:gd name="T90" fmla="*/ 2147483647 w 808"/>
              <a:gd name="T91" fmla="*/ 2147483647 h 810"/>
              <a:gd name="T92" fmla="*/ 2147483647 w 808"/>
              <a:gd name="T93" fmla="*/ 2147483647 h 810"/>
              <a:gd name="T94" fmla="*/ 2147483647 w 808"/>
              <a:gd name="T95" fmla="*/ 2147483647 h 810"/>
              <a:gd name="T96" fmla="*/ 2147483647 w 808"/>
              <a:gd name="T97" fmla="*/ 2147483647 h 810"/>
              <a:gd name="T98" fmla="*/ 2147483647 w 808"/>
              <a:gd name="T99" fmla="*/ 2147483647 h 810"/>
              <a:gd name="T100" fmla="*/ 2147483647 w 808"/>
              <a:gd name="T101" fmla="*/ 2147483647 h 810"/>
              <a:gd name="T102" fmla="*/ 2147483647 w 808"/>
              <a:gd name="T103" fmla="*/ 2147483647 h 810"/>
              <a:gd name="T104" fmla="*/ 2147483647 w 808"/>
              <a:gd name="T105" fmla="*/ 2147483647 h 810"/>
              <a:gd name="T106" fmla="*/ 2147483647 w 808"/>
              <a:gd name="T107" fmla="*/ 2147483647 h 810"/>
              <a:gd name="T108" fmla="*/ 2147483647 w 808"/>
              <a:gd name="T109" fmla="*/ 2147483647 h 810"/>
              <a:gd name="T110" fmla="*/ 2147483647 w 808"/>
              <a:gd name="T111" fmla="*/ 2147483647 h 810"/>
              <a:gd name="T112" fmla="*/ 2147483647 w 808"/>
              <a:gd name="T113" fmla="*/ 2147483647 h 810"/>
              <a:gd name="T114" fmla="*/ 2147483647 w 808"/>
              <a:gd name="T115" fmla="*/ 2147483647 h 810"/>
              <a:gd name="T116" fmla="*/ 2147483647 w 808"/>
              <a:gd name="T117" fmla="*/ 2147483647 h 810"/>
              <a:gd name="T118" fmla="*/ 2147483647 w 808"/>
              <a:gd name="T119" fmla="*/ 2147483647 h 810"/>
              <a:gd name="T120" fmla="*/ 2147483647 w 808"/>
              <a:gd name="T121" fmla="*/ 2147483647 h 810"/>
              <a:gd name="T122" fmla="*/ 2147483647 w 808"/>
              <a:gd name="T123" fmla="*/ 2147483647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BFBFBF"/>
          </a:solidFill>
          <a:ln>
            <a:noFill/>
          </a:ln>
          <a:effectLst/>
          <a:extLst>
            <a:ext uri="{91240B29-F687-4F45-9708-019B960494DF}">
              <a14:hiddenLine xmlns:a14="http://schemas.microsoft.com/office/drawing/2010/main" w="22225" cmpd="sng">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1256" name="Oval 8"/>
          <p:cNvSpPr>
            <a:spLocks noChangeArrowheads="1"/>
          </p:cNvSpPr>
          <p:nvPr/>
        </p:nvSpPr>
        <p:spPr bwMode="gray">
          <a:xfrm>
            <a:off x="3509962" y="1784350"/>
            <a:ext cx="1401762" cy="1520825"/>
          </a:xfrm>
          <a:prstGeom prst="ellipse">
            <a:avLst/>
          </a:prstGeom>
          <a:noFill/>
          <a:ln w="28575">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spcBef>
                <a:spcPct val="20000"/>
              </a:spcBef>
              <a:buChar char="•"/>
              <a:defRPr sz="1100">
                <a:solidFill>
                  <a:schemeClr val="tx1"/>
                </a:solidFill>
                <a:latin typeface="Arial" panose="020B0604020202020204" pitchFamily="34" charset="0"/>
              </a:defRPr>
            </a:lvl1pPr>
            <a:lvl2pPr marL="357188" indent="-187325"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014413" indent="-219075" algn="l">
              <a:spcBef>
                <a:spcPct val="20000"/>
              </a:spcBef>
              <a:buChar char="–"/>
              <a:defRPr sz="1100">
                <a:solidFill>
                  <a:schemeClr val="tx1"/>
                </a:solidFill>
                <a:latin typeface="Arial" panose="020B0604020202020204" pitchFamily="34" charset="0"/>
              </a:defRPr>
            </a:lvl3pPr>
            <a:lvl4pPr marL="1425575" indent="-220663" algn="l">
              <a:spcBef>
                <a:spcPct val="20000"/>
              </a:spcBef>
              <a:buChar char="–"/>
              <a:defRPr sz="1100">
                <a:solidFill>
                  <a:schemeClr val="tx1"/>
                </a:solidFill>
                <a:latin typeface="Arial" panose="020B0604020202020204" pitchFamily="34" charset="0"/>
              </a:defRPr>
            </a:lvl4pPr>
            <a:lvl5pPr marL="1784350" indent="-168275" algn="l">
              <a:spcBef>
                <a:spcPct val="20000"/>
              </a:spcBef>
              <a:buChar char="»"/>
              <a:defRPr sz="2000">
                <a:solidFill>
                  <a:schemeClr val="tx1"/>
                </a:solidFill>
                <a:latin typeface="Times New Roman" panose="02020603050405020304" pitchFamily="18" charset="0"/>
              </a:defRPr>
            </a:lvl5pPr>
            <a:lvl6pPr marL="2241550" indent="-168275" eaLnBrk="0" fontAlgn="base" hangingPunct="0">
              <a:spcBef>
                <a:spcPct val="20000"/>
              </a:spcBef>
              <a:spcAft>
                <a:spcPct val="0"/>
              </a:spcAft>
              <a:buChar char="»"/>
              <a:defRPr sz="2000">
                <a:solidFill>
                  <a:schemeClr val="tx1"/>
                </a:solidFill>
                <a:latin typeface="Times New Roman" panose="02020603050405020304" pitchFamily="18" charset="0"/>
              </a:defRPr>
            </a:lvl6pPr>
            <a:lvl7pPr marL="2698750" indent="-168275" eaLnBrk="0" fontAlgn="base" hangingPunct="0">
              <a:spcBef>
                <a:spcPct val="20000"/>
              </a:spcBef>
              <a:spcAft>
                <a:spcPct val="0"/>
              </a:spcAft>
              <a:buChar char="»"/>
              <a:defRPr sz="2000">
                <a:solidFill>
                  <a:schemeClr val="tx1"/>
                </a:solidFill>
                <a:latin typeface="Times New Roman" panose="02020603050405020304" pitchFamily="18" charset="0"/>
              </a:defRPr>
            </a:lvl7pPr>
            <a:lvl8pPr marL="3155950" indent="-168275" eaLnBrk="0" fontAlgn="base" hangingPunct="0">
              <a:spcBef>
                <a:spcPct val="20000"/>
              </a:spcBef>
              <a:spcAft>
                <a:spcPct val="0"/>
              </a:spcAft>
              <a:buChar char="»"/>
              <a:defRPr sz="2000">
                <a:solidFill>
                  <a:schemeClr val="tx1"/>
                </a:solidFill>
                <a:latin typeface="Times New Roman" panose="02020603050405020304" pitchFamily="18" charset="0"/>
              </a:defRPr>
            </a:lvl8pPr>
            <a:lvl9pPr marL="3613150" indent="-168275"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endParaRPr lang="en-US" altLang="en-US" sz="1200"/>
          </a:p>
        </p:txBody>
      </p:sp>
      <p:sp>
        <p:nvSpPr>
          <p:cNvPr id="181257" name="Freeform 9"/>
          <p:cNvSpPr>
            <a:spLocks/>
          </p:cNvSpPr>
          <p:nvPr/>
        </p:nvSpPr>
        <p:spPr bwMode="gray">
          <a:xfrm>
            <a:off x="2438400" y="4875211"/>
            <a:ext cx="5014913" cy="374650"/>
          </a:xfrm>
          <a:custGeom>
            <a:avLst/>
            <a:gdLst>
              <a:gd name="T0" fmla="*/ 0 w 3686"/>
              <a:gd name="T1" fmla="*/ 2147483647 h 254"/>
              <a:gd name="T2" fmla="*/ 2147483647 w 3686"/>
              <a:gd name="T3" fmla="*/ 2147483647 h 254"/>
              <a:gd name="T4" fmla="*/ 2147483647 w 3686"/>
              <a:gd name="T5" fmla="*/ 0 h 254"/>
              <a:gd name="T6" fmla="*/ 2147483647 w 3686"/>
              <a:gd name="T7" fmla="*/ 0 h 254"/>
              <a:gd name="T8" fmla="*/ 2147483647 w 3686"/>
              <a:gd name="T9" fmla="*/ 2147483647 h 254"/>
              <a:gd name="T10" fmla="*/ 2147483647 w 3686"/>
              <a:gd name="T11" fmla="*/ 2147483647 h 254"/>
              <a:gd name="T12" fmla="*/ 2147483647 w 3686"/>
              <a:gd name="T13" fmla="*/ 0 h 254"/>
              <a:gd name="T14" fmla="*/ 2147483647 w 3686"/>
              <a:gd name="T15" fmla="*/ 0 h 254"/>
              <a:gd name="T16" fmla="*/ 2147483647 w 3686"/>
              <a:gd name="T17" fmla="*/ 2147483647 h 254"/>
              <a:gd name="T18" fmla="*/ 2147483647 w 3686"/>
              <a:gd name="T19" fmla="*/ 2147483647 h 254"/>
              <a:gd name="T20" fmla="*/ 2147483647 w 3686"/>
              <a:gd name="T21" fmla="*/ 0 h 254"/>
              <a:gd name="T22" fmla="*/ 2147483647 w 3686"/>
              <a:gd name="T23" fmla="*/ 0 h 254"/>
              <a:gd name="T24" fmla="*/ 2147483647 w 3686"/>
              <a:gd name="T25" fmla="*/ 2147483647 h 254"/>
              <a:gd name="T26" fmla="*/ 2147483647 w 3686"/>
              <a:gd name="T27" fmla="*/ 2147483647 h 254"/>
              <a:gd name="T28" fmla="*/ 2147483647 w 3686"/>
              <a:gd name="T29" fmla="*/ 0 h 254"/>
              <a:gd name="T30" fmla="*/ 2147483647 w 3686"/>
              <a:gd name="T31" fmla="*/ 0 h 254"/>
              <a:gd name="T32" fmla="*/ 2147483647 w 3686"/>
              <a:gd name="T33" fmla="*/ 2147483647 h 254"/>
              <a:gd name="T34" fmla="*/ 2147483647 w 3686"/>
              <a:gd name="T35" fmla="*/ 2147483647 h 254"/>
              <a:gd name="T36" fmla="*/ 2147483647 w 3686"/>
              <a:gd name="T37" fmla="*/ 0 h 254"/>
              <a:gd name="T38" fmla="*/ 2147483647 w 3686"/>
              <a:gd name="T39" fmla="*/ 0 h 254"/>
              <a:gd name="T40" fmla="*/ 2147483647 w 3686"/>
              <a:gd name="T41" fmla="*/ 2147483647 h 254"/>
              <a:gd name="T42" fmla="*/ 2147483647 w 3686"/>
              <a:gd name="T43" fmla="*/ 2147483647 h 254"/>
              <a:gd name="T44" fmla="*/ 2147483647 w 3686"/>
              <a:gd name="T45" fmla="*/ 0 h 254"/>
              <a:gd name="T46" fmla="*/ 2147483647 w 3686"/>
              <a:gd name="T47" fmla="*/ 0 h 254"/>
              <a:gd name="T48" fmla="*/ 2147483647 w 3686"/>
              <a:gd name="T49" fmla="*/ 2147483647 h 254"/>
              <a:gd name="T50" fmla="*/ 2147483647 w 3686"/>
              <a:gd name="T51" fmla="*/ 2147483647 h 254"/>
              <a:gd name="T52" fmla="*/ 2147483647 w 3686"/>
              <a:gd name="T53" fmla="*/ 0 h 254"/>
              <a:gd name="T54" fmla="*/ 2147483647 w 3686"/>
              <a:gd name="T55" fmla="*/ 0 h 254"/>
              <a:gd name="T56" fmla="*/ 2147483647 w 3686"/>
              <a:gd name="T57" fmla="*/ 2147483647 h 254"/>
              <a:gd name="T58" fmla="*/ 2147483647 w 3686"/>
              <a:gd name="T59" fmla="*/ 2147483647 h 254"/>
              <a:gd name="T60" fmla="*/ 2147483647 w 3686"/>
              <a:gd name="T61" fmla="*/ 0 h 254"/>
              <a:gd name="T62" fmla="*/ 2147483647 w 3686"/>
              <a:gd name="T63" fmla="*/ 0 h 254"/>
              <a:gd name="T64" fmla="*/ 2147483647 w 3686"/>
              <a:gd name="T65" fmla="*/ 2147483647 h 254"/>
              <a:gd name="T66" fmla="*/ 2147483647 w 3686"/>
              <a:gd name="T67" fmla="*/ 2147483647 h 254"/>
              <a:gd name="T68" fmla="*/ 2147483647 w 3686"/>
              <a:gd name="T69" fmla="*/ 0 h 254"/>
              <a:gd name="T70" fmla="*/ 2147483647 w 3686"/>
              <a:gd name="T71" fmla="*/ 0 h 254"/>
              <a:gd name="T72" fmla="*/ 2147483647 w 3686"/>
              <a:gd name="T73" fmla="*/ 2147483647 h 254"/>
              <a:gd name="T74" fmla="*/ 2147483647 w 3686"/>
              <a:gd name="T75" fmla="*/ 2147483647 h 254"/>
              <a:gd name="T76" fmla="*/ 2147483647 w 3686"/>
              <a:gd name="T77" fmla="*/ 0 h 254"/>
              <a:gd name="T78" fmla="*/ 2147483647 w 3686"/>
              <a:gd name="T79" fmla="*/ 0 h 254"/>
              <a:gd name="T80" fmla="*/ 2147483647 w 3686"/>
              <a:gd name="T81" fmla="*/ 2147483647 h 254"/>
              <a:gd name="T82" fmla="*/ 2147483647 w 3686"/>
              <a:gd name="T83" fmla="*/ 2147483647 h 254"/>
              <a:gd name="T84" fmla="*/ 2147483647 w 3686"/>
              <a:gd name="T85" fmla="*/ 0 h 254"/>
              <a:gd name="T86" fmla="*/ 2147483647 w 3686"/>
              <a:gd name="T87" fmla="*/ 0 h 254"/>
              <a:gd name="T88" fmla="*/ 2147483647 w 3686"/>
              <a:gd name="T89" fmla="*/ 2147483647 h 254"/>
              <a:gd name="T90" fmla="*/ 2147483647 w 3686"/>
              <a:gd name="T91" fmla="*/ 2147483647 h 254"/>
              <a:gd name="T92" fmla="*/ 2147483647 w 3686"/>
              <a:gd name="T93" fmla="*/ 0 h 254"/>
              <a:gd name="T94" fmla="*/ 2147483647 w 3686"/>
              <a:gd name="T95" fmla="*/ 0 h 254"/>
              <a:gd name="T96" fmla="*/ 2147483647 w 3686"/>
              <a:gd name="T97" fmla="*/ 2147483647 h 254"/>
              <a:gd name="T98" fmla="*/ 2147483647 w 3686"/>
              <a:gd name="T99" fmla="*/ 2147483647 h 254"/>
              <a:gd name="T100" fmla="*/ 2147483647 w 3686"/>
              <a:gd name="T101" fmla="*/ 2147483647 h 254"/>
              <a:gd name="T102" fmla="*/ 0 w 3686"/>
              <a:gd name="T103" fmla="*/ 2147483647 h 254"/>
              <a:gd name="T104" fmla="*/ 0 w 3686"/>
              <a:gd name="T105" fmla="*/ 2147483647 h 2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86" h="254">
                <a:moveTo>
                  <a:pt x="0" y="85"/>
                </a:moveTo>
                <a:lnTo>
                  <a:pt x="129" y="85"/>
                </a:lnTo>
                <a:lnTo>
                  <a:pt x="185" y="0"/>
                </a:lnTo>
                <a:lnTo>
                  <a:pt x="279" y="0"/>
                </a:lnTo>
                <a:lnTo>
                  <a:pt x="336" y="85"/>
                </a:lnTo>
                <a:lnTo>
                  <a:pt x="421" y="85"/>
                </a:lnTo>
                <a:lnTo>
                  <a:pt x="477" y="0"/>
                </a:lnTo>
                <a:lnTo>
                  <a:pt x="571" y="0"/>
                </a:lnTo>
                <a:lnTo>
                  <a:pt x="629" y="85"/>
                </a:lnTo>
                <a:lnTo>
                  <a:pt x="709" y="85"/>
                </a:lnTo>
                <a:lnTo>
                  <a:pt x="764" y="0"/>
                </a:lnTo>
                <a:lnTo>
                  <a:pt x="862" y="0"/>
                </a:lnTo>
                <a:lnTo>
                  <a:pt x="916" y="85"/>
                </a:lnTo>
                <a:lnTo>
                  <a:pt x="1001" y="85"/>
                </a:lnTo>
                <a:lnTo>
                  <a:pt x="1058" y="0"/>
                </a:lnTo>
                <a:lnTo>
                  <a:pt x="1154" y="0"/>
                </a:lnTo>
                <a:lnTo>
                  <a:pt x="1208" y="85"/>
                </a:lnTo>
                <a:lnTo>
                  <a:pt x="1299" y="85"/>
                </a:lnTo>
                <a:lnTo>
                  <a:pt x="1353" y="0"/>
                </a:lnTo>
                <a:lnTo>
                  <a:pt x="1449" y="0"/>
                </a:lnTo>
                <a:lnTo>
                  <a:pt x="1507" y="85"/>
                </a:lnTo>
                <a:lnTo>
                  <a:pt x="1591" y="85"/>
                </a:lnTo>
                <a:lnTo>
                  <a:pt x="1645" y="0"/>
                </a:lnTo>
                <a:lnTo>
                  <a:pt x="1743" y="0"/>
                </a:lnTo>
                <a:lnTo>
                  <a:pt x="1799" y="85"/>
                </a:lnTo>
                <a:lnTo>
                  <a:pt x="1890" y="85"/>
                </a:lnTo>
                <a:lnTo>
                  <a:pt x="1946" y="0"/>
                </a:lnTo>
                <a:lnTo>
                  <a:pt x="2044" y="0"/>
                </a:lnTo>
                <a:lnTo>
                  <a:pt x="2099" y="85"/>
                </a:lnTo>
                <a:lnTo>
                  <a:pt x="2184" y="85"/>
                </a:lnTo>
                <a:lnTo>
                  <a:pt x="2240" y="0"/>
                </a:lnTo>
                <a:lnTo>
                  <a:pt x="2336" y="0"/>
                </a:lnTo>
                <a:lnTo>
                  <a:pt x="2391" y="85"/>
                </a:lnTo>
                <a:lnTo>
                  <a:pt x="2472" y="85"/>
                </a:lnTo>
                <a:lnTo>
                  <a:pt x="2529" y="0"/>
                </a:lnTo>
                <a:lnTo>
                  <a:pt x="2623" y="0"/>
                </a:lnTo>
                <a:lnTo>
                  <a:pt x="2681" y="85"/>
                </a:lnTo>
                <a:lnTo>
                  <a:pt x="2765" y="85"/>
                </a:lnTo>
                <a:lnTo>
                  <a:pt x="2821" y="0"/>
                </a:lnTo>
                <a:lnTo>
                  <a:pt x="2917" y="0"/>
                </a:lnTo>
                <a:lnTo>
                  <a:pt x="2973" y="85"/>
                </a:lnTo>
                <a:lnTo>
                  <a:pt x="3062" y="85"/>
                </a:lnTo>
                <a:lnTo>
                  <a:pt x="3118" y="0"/>
                </a:lnTo>
                <a:lnTo>
                  <a:pt x="3214" y="0"/>
                </a:lnTo>
                <a:lnTo>
                  <a:pt x="3269" y="85"/>
                </a:lnTo>
                <a:lnTo>
                  <a:pt x="3356" y="85"/>
                </a:lnTo>
                <a:lnTo>
                  <a:pt x="3410" y="0"/>
                </a:lnTo>
                <a:lnTo>
                  <a:pt x="3506" y="0"/>
                </a:lnTo>
                <a:lnTo>
                  <a:pt x="3561" y="85"/>
                </a:lnTo>
                <a:lnTo>
                  <a:pt x="3686" y="85"/>
                </a:lnTo>
                <a:lnTo>
                  <a:pt x="3686" y="254"/>
                </a:lnTo>
                <a:lnTo>
                  <a:pt x="0" y="254"/>
                </a:lnTo>
                <a:lnTo>
                  <a:pt x="0" y="85"/>
                </a:lnTo>
                <a:close/>
              </a:path>
            </a:pathLst>
          </a:custGeom>
          <a:solidFill>
            <a:schemeClr val="bg2"/>
          </a:solidFill>
          <a:ln w="22225" cmpd="sng">
            <a:solidFill>
              <a:schemeClr val="bg1"/>
            </a:solidFill>
            <a:round/>
            <a:headEnd/>
            <a:tailEnd/>
          </a:ln>
          <a:effectLst/>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181259" name="Rectangle 11"/>
          <p:cNvSpPr>
            <a:spLocks noGrp="1" noChangeArrowheads="1"/>
          </p:cNvSpPr>
          <p:nvPr>
            <p:ph type="title"/>
          </p:nvPr>
        </p:nvSpPr>
        <p:spPr/>
        <p:txBody>
          <a:bodyPr/>
          <a:lstStyle/>
          <a:p>
            <a:r>
              <a:rPr lang="en-GB" altLang="en-US"/>
              <a:t>Action – reaction</a:t>
            </a:r>
          </a:p>
        </p:txBody>
      </p:sp>
    </p:spTree>
    <p:extLst>
      <p:ext uri="{BB962C8B-B14F-4D97-AF65-F5344CB8AC3E}">
        <p14:creationId xmlns:p14="http://schemas.microsoft.com/office/powerpoint/2010/main" val="25205463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9442" name="Rectangle 2" hidden="1"/>
          <p:cNvGraphicFramePr>
            <a:graphicFrameLocks/>
          </p:cNvGraphicFramePr>
          <p:nvPr>
            <p:custDataLst>
              <p:tags r:id="rId1"/>
            </p:custDataLst>
            <p:extLst>
              <p:ext uri="{D42A27DB-BD31-4B8C-83A1-F6EECF244321}">
                <p14:modId xmlns:p14="http://schemas.microsoft.com/office/powerpoint/2010/main" val="2603174368"/>
              </p:ext>
            </p:ext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10" imgW="0" imgH="0" progId="TCLayout.ActiveDocument.1">
                  <p:embed/>
                </p:oleObj>
              </mc:Choice>
              <mc:Fallback>
                <p:oleObj name="think-cell Slide" r:id="rId10" imgW="0" imgH="0" progId="TCLayout.ActiveDocument.1">
                  <p:embed/>
                  <p:pic>
                    <p:nvPicPr>
                      <p:cNvPr id="18944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 name="Text Placeholder 3"/>
          <p:cNvSpPr>
            <a:spLocks noGrp="1"/>
          </p:cNvSpPr>
          <p:nvPr>
            <p:ph type="body" sz="quarter" idx="11"/>
          </p:nvPr>
        </p:nvSpPr>
        <p:spPr/>
        <p:txBody>
          <a:bodyPr/>
          <a:lstStyle/>
          <a:p>
            <a:endParaRPr lang="en-US"/>
          </a:p>
        </p:txBody>
      </p:sp>
      <p:sp>
        <p:nvSpPr>
          <p:cNvPr id="189443" name="Rectangle 3"/>
          <p:cNvSpPr>
            <a:spLocks noGrp="1" noChangeArrowheads="1"/>
          </p:cNvSpPr>
          <p:nvPr>
            <p:ph type="title"/>
          </p:nvPr>
        </p:nvSpPr>
        <p:spPr bwMode="gray"/>
        <p:txBody>
          <a:bodyPr/>
          <a:lstStyle/>
          <a:p>
            <a:r>
              <a:rPr lang="en-GB" altLang="en-US"/>
              <a:t>Miscellaneous</a:t>
            </a:r>
          </a:p>
        </p:txBody>
      </p:sp>
      <p:pic>
        <p:nvPicPr>
          <p:cNvPr id="189453" name="Picture 29" descr="Ziel"/>
          <p:cNvPicPr>
            <a:picLocks noChangeAspect="1" noChangeArrowheads="1"/>
          </p:cNvPicPr>
          <p:nvPr/>
        </p:nvPicPr>
        <p:blipFill>
          <a:blip r:embed="rId11" cstate="email">
            <a:clrChange>
              <a:clrFrom>
                <a:srgbClr val="FFFFFF"/>
              </a:clrFrom>
              <a:clrTo>
                <a:srgbClr val="FFFFFF">
                  <a:alpha val="0"/>
                </a:srgbClr>
              </a:clrTo>
            </a:clrChange>
            <a:grayscl/>
            <a:extLst>
              <a:ext uri="{28A0092B-C50C-407E-A947-70E740481C1C}">
                <a14:useLocalDpi xmlns:a14="http://schemas.microsoft.com/office/drawing/2010/main"/>
              </a:ext>
            </a:extLst>
          </a:blip>
          <a:srcRect/>
          <a:stretch>
            <a:fillRect/>
          </a:stretch>
        </p:blipFill>
        <p:spPr bwMode="auto">
          <a:xfrm>
            <a:off x="1269166" y="1003620"/>
            <a:ext cx="2655133" cy="2146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AutoShape 5"/>
          <p:cNvSpPr>
            <a:spLocks noChangeArrowheads="1"/>
          </p:cNvSpPr>
          <p:nvPr>
            <p:custDataLst>
              <p:tags r:id="rId2"/>
            </p:custDataLst>
          </p:nvPr>
        </p:nvSpPr>
        <p:spPr bwMode="auto">
          <a:xfrm>
            <a:off x="2188422" y="3592832"/>
            <a:ext cx="698739" cy="1930400"/>
          </a:xfrm>
          <a:prstGeom prst="roundRect">
            <a:avLst>
              <a:gd name="adj" fmla="val 16667"/>
            </a:avLst>
          </a:prstGeom>
          <a:solidFill>
            <a:schemeClr val="tx1">
              <a:lumMod val="20000"/>
              <a:lumOff val="80000"/>
            </a:schemeClr>
          </a:solidFill>
          <a:ln>
            <a:noFill/>
          </a:ln>
          <a:effectLst/>
        </p:spPr>
        <p:txBody>
          <a:bodyPr wrap="none" lIns="90000" tIns="46800" rIns="90000" bIns="46800" anchor="ctr"/>
          <a:lstStyle>
            <a:lvl1pPr algn="l">
              <a:spcBef>
                <a:spcPct val="20000"/>
              </a:spcBef>
              <a:buChar char="•"/>
              <a:defRPr sz="1100">
                <a:solidFill>
                  <a:schemeClr val="tx1"/>
                </a:solidFill>
                <a:latin typeface="Arial" panose="020B0604020202020204" pitchFamily="34" charset="0"/>
              </a:defRPr>
            </a:lvl1pPr>
            <a:lvl2pPr marL="742950" indent="-285750" algn="l">
              <a:spcBef>
                <a:spcPct val="20000"/>
              </a:spcBef>
              <a:buFont typeface="Wingdings" panose="05000000000000000000" pitchFamily="2" charset="2"/>
              <a:buChar char="Ø"/>
              <a:defRPr sz="1100">
                <a:solidFill>
                  <a:schemeClr val="tx1"/>
                </a:solidFill>
                <a:latin typeface="Arial" panose="020B0604020202020204" pitchFamily="34" charset="0"/>
              </a:defRPr>
            </a:lvl2pPr>
            <a:lvl3pPr marL="1143000" indent="-228600" algn="l">
              <a:spcBef>
                <a:spcPct val="20000"/>
              </a:spcBef>
              <a:buChar char="–"/>
              <a:defRPr sz="1100">
                <a:solidFill>
                  <a:schemeClr val="tx1"/>
                </a:solidFill>
                <a:latin typeface="Arial" panose="020B0604020202020204" pitchFamily="34" charset="0"/>
              </a:defRPr>
            </a:lvl3pPr>
            <a:lvl4pPr marL="1600200" indent="-228600" algn="l">
              <a:spcBef>
                <a:spcPct val="20000"/>
              </a:spcBef>
              <a:buChar char="–"/>
              <a:defRPr sz="1100">
                <a:solidFill>
                  <a:schemeClr val="tx1"/>
                </a:solidFill>
                <a:latin typeface="Arial" panose="020B0604020202020204" pitchFamily="34" charset="0"/>
              </a:defRPr>
            </a:lvl4pPr>
            <a:lvl5pPr marL="2057400" indent="-228600" algn="l">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1300"/>
          </a:p>
        </p:txBody>
      </p:sp>
      <p:sp>
        <p:nvSpPr>
          <p:cNvPr id="10" name="AutoShape 6"/>
          <p:cNvSpPr>
            <a:spLocks noChangeAspect="1" noChangeArrowheads="1" noTextEdit="1"/>
          </p:cNvSpPr>
          <p:nvPr>
            <p:custDataLst>
              <p:tags r:id="rId3"/>
            </p:custDataLst>
          </p:nvPr>
        </p:nvSpPr>
        <p:spPr bwMode="auto">
          <a:xfrm>
            <a:off x="2188422" y="3589658"/>
            <a:ext cx="698739"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1" name="Freeform 7"/>
          <p:cNvSpPr>
            <a:spLocks noEditPoints="1"/>
          </p:cNvSpPr>
          <p:nvPr>
            <p:custDataLst>
              <p:tags r:id="rId4"/>
            </p:custDataLst>
          </p:nvPr>
        </p:nvSpPr>
        <p:spPr bwMode="auto">
          <a:xfrm>
            <a:off x="2178261" y="3592833"/>
            <a:ext cx="701675" cy="1933575"/>
          </a:xfrm>
          <a:custGeom>
            <a:avLst/>
            <a:gdLst>
              <a:gd name="T0" fmla="*/ 140 w 262"/>
              <a:gd name="T1" fmla="*/ 0 h 669"/>
              <a:gd name="T2" fmla="*/ 0 w 262"/>
              <a:gd name="T3" fmla="*/ 3891 h 669"/>
              <a:gd name="T4" fmla="*/ 1445 w 262"/>
              <a:gd name="T5" fmla="*/ 4038 h 669"/>
              <a:gd name="T6" fmla="*/ 1591 w 262"/>
              <a:gd name="T7" fmla="*/ 146 h 669"/>
              <a:gd name="T8" fmla="*/ 1518 w 262"/>
              <a:gd name="T9" fmla="*/ 3891 h 669"/>
              <a:gd name="T10" fmla="*/ 140 w 262"/>
              <a:gd name="T11" fmla="*/ 3964 h 669"/>
              <a:gd name="T12" fmla="*/ 73 w 262"/>
              <a:gd name="T13" fmla="*/ 146 h 669"/>
              <a:gd name="T14" fmla="*/ 1445 w 262"/>
              <a:gd name="T15" fmla="*/ 73 h 669"/>
              <a:gd name="T16" fmla="*/ 1518 w 262"/>
              <a:gd name="T17" fmla="*/ 3891 h 669"/>
              <a:gd name="T18" fmla="*/ 193 w 262"/>
              <a:gd name="T19" fmla="*/ 138 h 669"/>
              <a:gd name="T20" fmla="*/ 133 w 262"/>
              <a:gd name="T21" fmla="*/ 3838 h 669"/>
              <a:gd name="T22" fmla="*/ 1392 w 262"/>
              <a:gd name="T23" fmla="*/ 3898 h 669"/>
              <a:gd name="T24" fmla="*/ 1450 w 262"/>
              <a:gd name="T25" fmla="*/ 3838 h 669"/>
              <a:gd name="T26" fmla="*/ 1392 w 262"/>
              <a:gd name="T27" fmla="*/ 138 h 669"/>
              <a:gd name="T28" fmla="*/ 1392 w 262"/>
              <a:gd name="T29" fmla="*/ 3874 h 669"/>
              <a:gd name="T30" fmla="*/ 157 w 262"/>
              <a:gd name="T31" fmla="*/ 3838 h 669"/>
              <a:gd name="T32" fmla="*/ 193 w 262"/>
              <a:gd name="T33" fmla="*/ 162 h 669"/>
              <a:gd name="T34" fmla="*/ 1429 w 262"/>
              <a:gd name="T35" fmla="*/ 198 h 669"/>
              <a:gd name="T36" fmla="*/ 795 w 262"/>
              <a:gd name="T37" fmla="*/ 1316 h 669"/>
              <a:gd name="T38" fmla="*/ 1268 w 262"/>
              <a:gd name="T39" fmla="*/ 808 h 669"/>
              <a:gd name="T40" fmla="*/ 1268 w 262"/>
              <a:gd name="T41" fmla="*/ 756 h 669"/>
              <a:gd name="T42" fmla="*/ 323 w 262"/>
              <a:gd name="T43" fmla="*/ 756 h 669"/>
              <a:gd name="T44" fmla="*/ 323 w 262"/>
              <a:gd name="T45" fmla="*/ 808 h 669"/>
              <a:gd name="T46" fmla="*/ 795 w 262"/>
              <a:gd name="T47" fmla="*/ 1316 h 669"/>
              <a:gd name="T48" fmla="*/ 1268 w 262"/>
              <a:gd name="T49" fmla="*/ 2035 h 669"/>
              <a:gd name="T50" fmla="*/ 1268 w 262"/>
              <a:gd name="T51" fmla="*/ 1979 h 669"/>
              <a:gd name="T52" fmla="*/ 795 w 262"/>
              <a:gd name="T53" fmla="*/ 1471 h 669"/>
              <a:gd name="T54" fmla="*/ 323 w 262"/>
              <a:gd name="T55" fmla="*/ 1979 h 669"/>
              <a:gd name="T56" fmla="*/ 323 w 262"/>
              <a:gd name="T57" fmla="*/ 2035 h 669"/>
              <a:gd name="T58" fmla="*/ 1268 w 262"/>
              <a:gd name="T59" fmla="*/ 3170 h 669"/>
              <a:gd name="T60" fmla="*/ 795 w 262"/>
              <a:gd name="T61" fmla="*/ 2662 h 669"/>
              <a:gd name="T62" fmla="*/ 323 w 262"/>
              <a:gd name="T63" fmla="*/ 3170 h 669"/>
              <a:gd name="T64" fmla="*/ 323 w 262"/>
              <a:gd name="T65" fmla="*/ 3223 h 669"/>
              <a:gd name="T66" fmla="*/ 1268 w 262"/>
              <a:gd name="T67" fmla="*/ 3223 h 669"/>
              <a:gd name="T68" fmla="*/ 1268 w 262"/>
              <a:gd name="T69" fmla="*/ 3170 h 6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2" h="669">
                <a:moveTo>
                  <a:pt x="238" y="0"/>
                </a:moveTo>
                <a:cubicBezTo>
                  <a:pt x="23" y="0"/>
                  <a:pt x="23" y="0"/>
                  <a:pt x="23" y="0"/>
                </a:cubicBezTo>
                <a:cubicBezTo>
                  <a:pt x="10" y="0"/>
                  <a:pt x="0" y="11"/>
                  <a:pt x="0" y="24"/>
                </a:cubicBezTo>
                <a:cubicBezTo>
                  <a:pt x="0" y="645"/>
                  <a:pt x="0" y="645"/>
                  <a:pt x="0" y="645"/>
                </a:cubicBezTo>
                <a:cubicBezTo>
                  <a:pt x="0" y="658"/>
                  <a:pt x="10" y="669"/>
                  <a:pt x="23" y="669"/>
                </a:cubicBezTo>
                <a:cubicBezTo>
                  <a:pt x="238" y="669"/>
                  <a:pt x="238" y="669"/>
                  <a:pt x="238" y="669"/>
                </a:cubicBezTo>
                <a:cubicBezTo>
                  <a:pt x="251" y="669"/>
                  <a:pt x="262" y="658"/>
                  <a:pt x="262" y="645"/>
                </a:cubicBezTo>
                <a:cubicBezTo>
                  <a:pt x="262" y="24"/>
                  <a:pt x="262" y="24"/>
                  <a:pt x="262" y="24"/>
                </a:cubicBezTo>
                <a:cubicBezTo>
                  <a:pt x="262" y="11"/>
                  <a:pt x="251" y="0"/>
                  <a:pt x="238" y="0"/>
                </a:cubicBezTo>
                <a:close/>
                <a:moveTo>
                  <a:pt x="250" y="645"/>
                </a:moveTo>
                <a:cubicBezTo>
                  <a:pt x="250" y="652"/>
                  <a:pt x="244" y="657"/>
                  <a:pt x="238" y="657"/>
                </a:cubicBezTo>
                <a:cubicBezTo>
                  <a:pt x="23" y="657"/>
                  <a:pt x="23" y="657"/>
                  <a:pt x="23" y="657"/>
                </a:cubicBezTo>
                <a:cubicBezTo>
                  <a:pt x="17" y="657"/>
                  <a:pt x="12" y="652"/>
                  <a:pt x="12" y="645"/>
                </a:cubicBezTo>
                <a:cubicBezTo>
                  <a:pt x="12" y="24"/>
                  <a:pt x="12" y="24"/>
                  <a:pt x="12" y="24"/>
                </a:cubicBezTo>
                <a:cubicBezTo>
                  <a:pt x="12" y="18"/>
                  <a:pt x="17" y="12"/>
                  <a:pt x="23" y="12"/>
                </a:cubicBezTo>
                <a:cubicBezTo>
                  <a:pt x="238" y="12"/>
                  <a:pt x="238" y="12"/>
                  <a:pt x="238" y="12"/>
                </a:cubicBezTo>
                <a:cubicBezTo>
                  <a:pt x="244" y="12"/>
                  <a:pt x="250" y="18"/>
                  <a:pt x="250" y="24"/>
                </a:cubicBezTo>
                <a:lnTo>
                  <a:pt x="250" y="645"/>
                </a:lnTo>
                <a:close/>
                <a:moveTo>
                  <a:pt x="229" y="23"/>
                </a:moveTo>
                <a:cubicBezTo>
                  <a:pt x="32" y="23"/>
                  <a:pt x="32" y="23"/>
                  <a:pt x="32" y="23"/>
                </a:cubicBezTo>
                <a:cubicBezTo>
                  <a:pt x="26" y="23"/>
                  <a:pt x="22" y="27"/>
                  <a:pt x="22" y="33"/>
                </a:cubicBezTo>
                <a:cubicBezTo>
                  <a:pt x="22" y="636"/>
                  <a:pt x="22" y="636"/>
                  <a:pt x="22" y="636"/>
                </a:cubicBezTo>
                <a:cubicBezTo>
                  <a:pt x="22" y="641"/>
                  <a:pt x="26" y="646"/>
                  <a:pt x="32" y="646"/>
                </a:cubicBezTo>
                <a:cubicBezTo>
                  <a:pt x="229" y="646"/>
                  <a:pt x="229" y="646"/>
                  <a:pt x="229" y="646"/>
                </a:cubicBezTo>
                <a:cubicBezTo>
                  <a:pt x="235" y="646"/>
                  <a:pt x="239" y="641"/>
                  <a:pt x="239" y="636"/>
                </a:cubicBezTo>
                <a:cubicBezTo>
                  <a:pt x="239" y="636"/>
                  <a:pt x="239" y="636"/>
                  <a:pt x="239" y="636"/>
                </a:cubicBezTo>
                <a:cubicBezTo>
                  <a:pt x="239" y="33"/>
                  <a:pt x="239" y="33"/>
                  <a:pt x="239" y="33"/>
                </a:cubicBezTo>
                <a:cubicBezTo>
                  <a:pt x="239" y="27"/>
                  <a:pt x="235" y="23"/>
                  <a:pt x="229" y="23"/>
                </a:cubicBezTo>
                <a:close/>
                <a:moveTo>
                  <a:pt x="235" y="636"/>
                </a:moveTo>
                <a:cubicBezTo>
                  <a:pt x="235" y="639"/>
                  <a:pt x="233" y="642"/>
                  <a:pt x="229" y="642"/>
                </a:cubicBezTo>
                <a:cubicBezTo>
                  <a:pt x="32" y="642"/>
                  <a:pt x="32" y="642"/>
                  <a:pt x="32" y="642"/>
                </a:cubicBezTo>
                <a:cubicBezTo>
                  <a:pt x="28" y="642"/>
                  <a:pt x="26" y="639"/>
                  <a:pt x="26" y="636"/>
                </a:cubicBezTo>
                <a:cubicBezTo>
                  <a:pt x="26" y="33"/>
                  <a:pt x="26" y="33"/>
                  <a:pt x="26" y="33"/>
                </a:cubicBezTo>
                <a:cubicBezTo>
                  <a:pt x="26" y="29"/>
                  <a:pt x="28" y="27"/>
                  <a:pt x="32" y="27"/>
                </a:cubicBezTo>
                <a:cubicBezTo>
                  <a:pt x="229" y="27"/>
                  <a:pt x="229" y="27"/>
                  <a:pt x="229" y="27"/>
                </a:cubicBezTo>
                <a:cubicBezTo>
                  <a:pt x="233" y="27"/>
                  <a:pt x="235" y="29"/>
                  <a:pt x="235" y="33"/>
                </a:cubicBezTo>
                <a:cubicBezTo>
                  <a:pt x="235" y="636"/>
                  <a:pt x="235" y="636"/>
                  <a:pt x="235" y="636"/>
                </a:cubicBezTo>
                <a:close/>
                <a:moveTo>
                  <a:pt x="131" y="218"/>
                </a:moveTo>
                <a:cubicBezTo>
                  <a:pt x="174" y="218"/>
                  <a:pt x="209" y="183"/>
                  <a:pt x="209" y="140"/>
                </a:cubicBezTo>
                <a:cubicBezTo>
                  <a:pt x="209" y="138"/>
                  <a:pt x="209" y="136"/>
                  <a:pt x="209" y="134"/>
                </a:cubicBezTo>
                <a:cubicBezTo>
                  <a:pt x="209" y="133"/>
                  <a:pt x="209" y="132"/>
                  <a:pt x="209" y="131"/>
                </a:cubicBezTo>
                <a:cubicBezTo>
                  <a:pt x="209" y="129"/>
                  <a:pt x="209" y="127"/>
                  <a:pt x="209" y="125"/>
                </a:cubicBezTo>
                <a:cubicBezTo>
                  <a:pt x="209" y="82"/>
                  <a:pt x="174" y="48"/>
                  <a:pt x="131" y="48"/>
                </a:cubicBezTo>
                <a:cubicBezTo>
                  <a:pt x="88" y="48"/>
                  <a:pt x="53" y="82"/>
                  <a:pt x="53" y="125"/>
                </a:cubicBezTo>
                <a:cubicBezTo>
                  <a:pt x="53" y="127"/>
                  <a:pt x="53" y="129"/>
                  <a:pt x="53" y="131"/>
                </a:cubicBezTo>
                <a:cubicBezTo>
                  <a:pt x="53" y="132"/>
                  <a:pt x="53" y="133"/>
                  <a:pt x="53" y="134"/>
                </a:cubicBezTo>
                <a:cubicBezTo>
                  <a:pt x="53" y="136"/>
                  <a:pt x="53" y="138"/>
                  <a:pt x="53" y="140"/>
                </a:cubicBezTo>
                <a:cubicBezTo>
                  <a:pt x="53" y="183"/>
                  <a:pt x="88" y="218"/>
                  <a:pt x="131" y="218"/>
                </a:cubicBezTo>
                <a:close/>
                <a:moveTo>
                  <a:pt x="131" y="415"/>
                </a:moveTo>
                <a:cubicBezTo>
                  <a:pt x="174" y="415"/>
                  <a:pt x="209" y="380"/>
                  <a:pt x="209" y="337"/>
                </a:cubicBezTo>
                <a:cubicBezTo>
                  <a:pt x="209" y="335"/>
                  <a:pt x="209" y="333"/>
                  <a:pt x="209" y="331"/>
                </a:cubicBezTo>
                <a:cubicBezTo>
                  <a:pt x="209" y="330"/>
                  <a:pt x="209" y="329"/>
                  <a:pt x="209" y="328"/>
                </a:cubicBezTo>
                <a:cubicBezTo>
                  <a:pt x="209" y="326"/>
                  <a:pt x="209" y="324"/>
                  <a:pt x="209" y="322"/>
                </a:cubicBezTo>
                <a:cubicBezTo>
                  <a:pt x="209" y="279"/>
                  <a:pt x="174" y="244"/>
                  <a:pt x="131" y="244"/>
                </a:cubicBezTo>
                <a:cubicBezTo>
                  <a:pt x="88" y="244"/>
                  <a:pt x="53" y="279"/>
                  <a:pt x="53" y="322"/>
                </a:cubicBezTo>
                <a:cubicBezTo>
                  <a:pt x="53" y="324"/>
                  <a:pt x="53" y="326"/>
                  <a:pt x="53" y="328"/>
                </a:cubicBezTo>
                <a:cubicBezTo>
                  <a:pt x="53" y="329"/>
                  <a:pt x="53" y="330"/>
                  <a:pt x="53" y="331"/>
                </a:cubicBezTo>
                <a:cubicBezTo>
                  <a:pt x="53" y="333"/>
                  <a:pt x="53" y="335"/>
                  <a:pt x="53" y="337"/>
                </a:cubicBezTo>
                <a:cubicBezTo>
                  <a:pt x="53" y="380"/>
                  <a:pt x="88" y="415"/>
                  <a:pt x="131" y="415"/>
                </a:cubicBezTo>
                <a:close/>
                <a:moveTo>
                  <a:pt x="209" y="525"/>
                </a:moveTo>
                <a:cubicBezTo>
                  <a:pt x="209" y="523"/>
                  <a:pt x="209" y="521"/>
                  <a:pt x="209" y="519"/>
                </a:cubicBezTo>
                <a:cubicBezTo>
                  <a:pt x="209" y="476"/>
                  <a:pt x="174" y="441"/>
                  <a:pt x="131" y="441"/>
                </a:cubicBezTo>
                <a:cubicBezTo>
                  <a:pt x="88" y="441"/>
                  <a:pt x="53" y="476"/>
                  <a:pt x="53" y="519"/>
                </a:cubicBezTo>
                <a:cubicBezTo>
                  <a:pt x="53" y="521"/>
                  <a:pt x="53" y="523"/>
                  <a:pt x="53" y="525"/>
                </a:cubicBezTo>
                <a:cubicBezTo>
                  <a:pt x="53" y="526"/>
                  <a:pt x="53" y="527"/>
                  <a:pt x="53" y="527"/>
                </a:cubicBezTo>
                <a:cubicBezTo>
                  <a:pt x="53" y="529"/>
                  <a:pt x="53" y="532"/>
                  <a:pt x="53" y="534"/>
                </a:cubicBezTo>
                <a:cubicBezTo>
                  <a:pt x="53" y="577"/>
                  <a:pt x="88" y="612"/>
                  <a:pt x="131" y="612"/>
                </a:cubicBezTo>
                <a:cubicBezTo>
                  <a:pt x="174" y="612"/>
                  <a:pt x="209" y="577"/>
                  <a:pt x="209" y="534"/>
                </a:cubicBezTo>
                <a:cubicBezTo>
                  <a:pt x="209" y="532"/>
                  <a:pt x="209" y="529"/>
                  <a:pt x="209" y="527"/>
                </a:cubicBezTo>
                <a:cubicBezTo>
                  <a:pt x="209" y="527"/>
                  <a:pt x="209" y="526"/>
                  <a:pt x="209" y="525"/>
                </a:cubicBezTo>
                <a:close/>
              </a:path>
            </a:pathLst>
          </a:custGeom>
          <a:solidFill>
            <a:schemeClr val="tx1"/>
          </a:solidFill>
          <a:ln>
            <a:solidFill>
              <a:schemeClr val="tx1">
                <a:lumMod val="60000"/>
                <a:lumOff val="40000"/>
              </a:schemeClr>
            </a:solidFill>
          </a:ln>
        </p:spPr>
        <p:txBody>
          <a:bodyPr/>
          <a:lstStyle/>
          <a:p>
            <a:endParaRPr lang="en-US"/>
          </a:p>
        </p:txBody>
      </p:sp>
      <p:sp>
        <p:nvSpPr>
          <p:cNvPr id="12" name="Freeform 8"/>
          <p:cNvSpPr>
            <a:spLocks/>
          </p:cNvSpPr>
          <p:nvPr>
            <p:custDataLst>
              <p:tags r:id="rId5"/>
            </p:custDataLst>
          </p:nvPr>
        </p:nvSpPr>
        <p:spPr bwMode="gray">
          <a:xfrm>
            <a:off x="2348426" y="3791271"/>
            <a:ext cx="380196" cy="411163"/>
          </a:xfrm>
          <a:custGeom>
            <a:avLst/>
            <a:gdLst>
              <a:gd name="T0" fmla="*/ 861 w 142"/>
              <a:gd name="T1" fmla="*/ 396 h 142"/>
              <a:gd name="T2" fmla="*/ 432 w 142"/>
              <a:gd name="T3" fmla="*/ 0 h 142"/>
              <a:gd name="T4" fmla="*/ 0 w 142"/>
              <a:gd name="T5" fmla="*/ 396 h 142"/>
              <a:gd name="T6" fmla="*/ 0 w 142"/>
              <a:gd name="T7" fmla="*/ 432 h 142"/>
              <a:gd name="T8" fmla="*/ 432 w 142"/>
              <a:gd name="T9" fmla="*/ 861 h 142"/>
              <a:gd name="T10" fmla="*/ 861 w 142"/>
              <a:gd name="T11" fmla="*/ 432 h 142"/>
              <a:gd name="T12" fmla="*/ 861 w 142"/>
              <a:gd name="T13" fmla="*/ 396 h 1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2" h="142">
                <a:moveTo>
                  <a:pt x="142" y="65"/>
                </a:moveTo>
                <a:cubicBezTo>
                  <a:pt x="139" y="29"/>
                  <a:pt x="108" y="0"/>
                  <a:pt x="71" y="0"/>
                </a:cubicBezTo>
                <a:cubicBezTo>
                  <a:pt x="34" y="0"/>
                  <a:pt x="3" y="29"/>
                  <a:pt x="0" y="65"/>
                </a:cubicBezTo>
                <a:cubicBezTo>
                  <a:pt x="0" y="67"/>
                  <a:pt x="0" y="69"/>
                  <a:pt x="0" y="71"/>
                </a:cubicBezTo>
                <a:cubicBezTo>
                  <a:pt x="0" y="110"/>
                  <a:pt x="32" y="142"/>
                  <a:pt x="71" y="142"/>
                </a:cubicBezTo>
                <a:cubicBezTo>
                  <a:pt x="110" y="142"/>
                  <a:pt x="142" y="110"/>
                  <a:pt x="142" y="71"/>
                </a:cubicBezTo>
                <a:cubicBezTo>
                  <a:pt x="142" y="69"/>
                  <a:pt x="142" y="67"/>
                  <a:pt x="142" y="65"/>
                </a:cubicBezTo>
                <a:close/>
              </a:path>
            </a:pathLst>
          </a:custGeom>
          <a:solidFill>
            <a:srgbClr val="FF3300"/>
          </a:soli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 name="Freeform 9"/>
          <p:cNvSpPr>
            <a:spLocks/>
          </p:cNvSpPr>
          <p:nvPr>
            <p:custDataLst>
              <p:tags r:id="rId6"/>
            </p:custDataLst>
          </p:nvPr>
        </p:nvSpPr>
        <p:spPr bwMode="auto">
          <a:xfrm>
            <a:off x="2348426" y="4361183"/>
            <a:ext cx="380196" cy="411163"/>
          </a:xfrm>
          <a:custGeom>
            <a:avLst/>
            <a:gdLst>
              <a:gd name="T0" fmla="*/ 861 w 142"/>
              <a:gd name="T1" fmla="*/ 396 h 142"/>
              <a:gd name="T2" fmla="*/ 432 w 142"/>
              <a:gd name="T3" fmla="*/ 0 h 142"/>
              <a:gd name="T4" fmla="*/ 0 w 142"/>
              <a:gd name="T5" fmla="*/ 396 h 142"/>
              <a:gd name="T6" fmla="*/ 0 w 142"/>
              <a:gd name="T7" fmla="*/ 432 h 142"/>
              <a:gd name="T8" fmla="*/ 432 w 142"/>
              <a:gd name="T9" fmla="*/ 861 h 142"/>
              <a:gd name="T10" fmla="*/ 861 w 142"/>
              <a:gd name="T11" fmla="*/ 432 h 142"/>
              <a:gd name="T12" fmla="*/ 861 w 142"/>
              <a:gd name="T13" fmla="*/ 396 h 1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2" h="142">
                <a:moveTo>
                  <a:pt x="142" y="65"/>
                </a:moveTo>
                <a:cubicBezTo>
                  <a:pt x="139" y="28"/>
                  <a:pt x="108" y="0"/>
                  <a:pt x="71" y="0"/>
                </a:cubicBezTo>
                <a:cubicBezTo>
                  <a:pt x="34" y="0"/>
                  <a:pt x="3" y="28"/>
                  <a:pt x="0" y="65"/>
                </a:cubicBezTo>
                <a:cubicBezTo>
                  <a:pt x="0" y="67"/>
                  <a:pt x="0" y="69"/>
                  <a:pt x="0" y="71"/>
                </a:cubicBezTo>
                <a:cubicBezTo>
                  <a:pt x="0" y="110"/>
                  <a:pt x="32" y="142"/>
                  <a:pt x="71" y="142"/>
                </a:cubicBezTo>
                <a:cubicBezTo>
                  <a:pt x="110" y="142"/>
                  <a:pt x="142" y="110"/>
                  <a:pt x="142" y="71"/>
                </a:cubicBezTo>
                <a:cubicBezTo>
                  <a:pt x="142" y="69"/>
                  <a:pt x="142" y="67"/>
                  <a:pt x="142" y="65"/>
                </a:cubicBezTo>
                <a:close/>
              </a:path>
            </a:pathLst>
          </a:custGeom>
          <a:solidFill>
            <a:srgbClr val="FFF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0"/>
          <p:cNvSpPr>
            <a:spLocks/>
          </p:cNvSpPr>
          <p:nvPr>
            <p:custDataLst>
              <p:tags r:id="rId7"/>
            </p:custDataLst>
          </p:nvPr>
        </p:nvSpPr>
        <p:spPr bwMode="gray">
          <a:xfrm>
            <a:off x="2348426" y="4927920"/>
            <a:ext cx="380196" cy="412750"/>
          </a:xfrm>
          <a:custGeom>
            <a:avLst/>
            <a:gdLst>
              <a:gd name="T0" fmla="*/ 861 w 142"/>
              <a:gd name="T1" fmla="*/ 396 h 143"/>
              <a:gd name="T2" fmla="*/ 432 w 142"/>
              <a:gd name="T3" fmla="*/ 0 h 143"/>
              <a:gd name="T4" fmla="*/ 0 w 142"/>
              <a:gd name="T5" fmla="*/ 396 h 143"/>
              <a:gd name="T6" fmla="*/ 0 w 142"/>
              <a:gd name="T7" fmla="*/ 433 h 143"/>
              <a:gd name="T8" fmla="*/ 432 w 142"/>
              <a:gd name="T9" fmla="*/ 860 h 143"/>
              <a:gd name="T10" fmla="*/ 861 w 142"/>
              <a:gd name="T11" fmla="*/ 433 h 143"/>
              <a:gd name="T12" fmla="*/ 861 w 142"/>
              <a:gd name="T13" fmla="*/ 396 h 14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2" h="143">
                <a:moveTo>
                  <a:pt x="142" y="66"/>
                </a:moveTo>
                <a:cubicBezTo>
                  <a:pt x="139" y="29"/>
                  <a:pt x="108" y="0"/>
                  <a:pt x="71" y="0"/>
                </a:cubicBezTo>
                <a:cubicBezTo>
                  <a:pt x="34" y="0"/>
                  <a:pt x="3" y="29"/>
                  <a:pt x="0" y="66"/>
                </a:cubicBezTo>
                <a:cubicBezTo>
                  <a:pt x="0" y="68"/>
                  <a:pt x="0" y="70"/>
                  <a:pt x="0" y="72"/>
                </a:cubicBezTo>
                <a:cubicBezTo>
                  <a:pt x="0" y="111"/>
                  <a:pt x="32" y="143"/>
                  <a:pt x="71" y="143"/>
                </a:cubicBezTo>
                <a:cubicBezTo>
                  <a:pt x="110" y="143"/>
                  <a:pt x="142" y="111"/>
                  <a:pt x="142" y="72"/>
                </a:cubicBezTo>
                <a:cubicBezTo>
                  <a:pt x="142" y="70"/>
                  <a:pt x="142" y="68"/>
                  <a:pt x="142" y="66"/>
                </a:cubicBezTo>
                <a:close/>
              </a:path>
            </a:pathLst>
          </a:custGeom>
          <a:solidFill>
            <a:schemeClr val="accent3"/>
          </a:solidFill>
          <a:ln>
            <a:noFill/>
          </a:ln>
          <a:effectLst/>
        </p:spPr>
        <p:txBody>
          <a:bodyPr wrap="none" anchor="ctr"/>
          <a:lstStyle/>
          <a:p>
            <a:endParaRPr lang="en-US"/>
          </a:p>
        </p:txBody>
      </p:sp>
      <p:sp>
        <p:nvSpPr>
          <p:cNvPr id="15" name="Freeform 4"/>
          <p:cNvSpPr>
            <a:spLocks/>
          </p:cNvSpPr>
          <p:nvPr/>
        </p:nvSpPr>
        <p:spPr bwMode="gray">
          <a:xfrm>
            <a:off x="7056439" y="3252153"/>
            <a:ext cx="193675" cy="368300"/>
          </a:xfrm>
          <a:custGeom>
            <a:avLst/>
            <a:gdLst>
              <a:gd name="T0" fmla="*/ 2147483647 w 371"/>
              <a:gd name="T1" fmla="*/ 0 h 654"/>
              <a:gd name="T2" fmla="*/ 0 w 371"/>
              <a:gd name="T3" fmla="*/ 2147483647 h 654"/>
              <a:gd name="T4" fmla="*/ 2147483647 w 371"/>
              <a:gd name="T5" fmla="*/ 2147483647 h 654"/>
              <a:gd name="T6" fmla="*/ 2147483647 w 371"/>
              <a:gd name="T7" fmla="*/ 2147483647 h 654"/>
              <a:gd name="T8" fmla="*/ 2147483647 w 371"/>
              <a:gd name="T9" fmla="*/ 0 h 6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1" h="654">
                <a:moveTo>
                  <a:pt x="182" y="0"/>
                </a:moveTo>
                <a:cubicBezTo>
                  <a:pt x="89" y="228"/>
                  <a:pt x="1" y="353"/>
                  <a:pt x="0" y="462"/>
                </a:cubicBezTo>
                <a:cubicBezTo>
                  <a:pt x="1" y="571"/>
                  <a:pt x="130" y="654"/>
                  <a:pt x="191" y="654"/>
                </a:cubicBezTo>
                <a:cubicBezTo>
                  <a:pt x="252" y="654"/>
                  <a:pt x="371" y="572"/>
                  <a:pt x="369" y="463"/>
                </a:cubicBezTo>
                <a:cubicBezTo>
                  <a:pt x="367" y="354"/>
                  <a:pt x="221" y="97"/>
                  <a:pt x="182" y="0"/>
                </a:cubicBezTo>
                <a:close/>
              </a:path>
            </a:pathLst>
          </a:custGeom>
          <a:solidFill>
            <a:schemeClr val="tx1">
              <a:lumMod val="60000"/>
              <a:lumOff val="40000"/>
            </a:schemeClr>
          </a:solidFill>
          <a:ln w="9525" cap="flat" cmpd="sng">
            <a:solidFill>
              <a:schemeClr val="tx1"/>
            </a:solidFill>
            <a:prstDash val="solid"/>
            <a:round/>
            <a:headEnd/>
            <a:tailEnd/>
          </a:ln>
          <a:effectLst/>
        </p:spPr>
        <p:txBody>
          <a:bodyPr wrap="none" lIns="0" tIns="0" rIns="0" bIns="0" anchor="ctr"/>
          <a:lstStyle/>
          <a:p>
            <a:endParaRPr lang="en-US"/>
          </a:p>
        </p:txBody>
      </p:sp>
      <p:sp>
        <p:nvSpPr>
          <p:cNvPr id="16" name="Freeform 5"/>
          <p:cNvSpPr>
            <a:spLocks/>
          </p:cNvSpPr>
          <p:nvPr/>
        </p:nvSpPr>
        <p:spPr bwMode="gray">
          <a:xfrm>
            <a:off x="7056439" y="3664903"/>
            <a:ext cx="193675" cy="368300"/>
          </a:xfrm>
          <a:custGeom>
            <a:avLst/>
            <a:gdLst>
              <a:gd name="T0" fmla="*/ 2147483647 w 371"/>
              <a:gd name="T1" fmla="*/ 0 h 654"/>
              <a:gd name="T2" fmla="*/ 0 w 371"/>
              <a:gd name="T3" fmla="*/ 2147483647 h 654"/>
              <a:gd name="T4" fmla="*/ 2147483647 w 371"/>
              <a:gd name="T5" fmla="*/ 2147483647 h 654"/>
              <a:gd name="T6" fmla="*/ 2147483647 w 371"/>
              <a:gd name="T7" fmla="*/ 2147483647 h 654"/>
              <a:gd name="T8" fmla="*/ 2147483647 w 371"/>
              <a:gd name="T9" fmla="*/ 0 h 6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1" h="654">
                <a:moveTo>
                  <a:pt x="182" y="0"/>
                </a:moveTo>
                <a:cubicBezTo>
                  <a:pt x="89" y="228"/>
                  <a:pt x="1" y="353"/>
                  <a:pt x="0" y="462"/>
                </a:cubicBezTo>
                <a:cubicBezTo>
                  <a:pt x="1" y="571"/>
                  <a:pt x="130" y="654"/>
                  <a:pt x="191" y="654"/>
                </a:cubicBezTo>
                <a:cubicBezTo>
                  <a:pt x="252" y="654"/>
                  <a:pt x="371" y="572"/>
                  <a:pt x="369" y="463"/>
                </a:cubicBezTo>
                <a:cubicBezTo>
                  <a:pt x="367" y="354"/>
                  <a:pt x="221" y="97"/>
                  <a:pt x="182" y="0"/>
                </a:cubicBezTo>
                <a:close/>
              </a:path>
            </a:pathLst>
          </a:custGeom>
          <a:solidFill>
            <a:schemeClr val="tx1">
              <a:lumMod val="60000"/>
              <a:lumOff val="40000"/>
            </a:schemeClr>
          </a:solidFill>
          <a:ln w="9525" cap="flat" cmpd="sng">
            <a:solidFill>
              <a:schemeClr val="tx1"/>
            </a:solidFill>
            <a:prstDash val="solid"/>
            <a:round/>
            <a:headEnd/>
            <a:tailEnd/>
          </a:ln>
          <a:effectLst/>
        </p:spPr>
        <p:txBody>
          <a:bodyPr wrap="none" lIns="0" tIns="0" rIns="0" bIns="0" anchor="ctr"/>
          <a:lstStyle/>
          <a:p>
            <a:endParaRPr lang="en-US"/>
          </a:p>
        </p:txBody>
      </p:sp>
      <p:sp>
        <p:nvSpPr>
          <p:cNvPr id="17" name="Freeform 6"/>
          <p:cNvSpPr>
            <a:spLocks/>
          </p:cNvSpPr>
          <p:nvPr/>
        </p:nvSpPr>
        <p:spPr bwMode="gray">
          <a:xfrm>
            <a:off x="7056439" y="4077653"/>
            <a:ext cx="193675" cy="368300"/>
          </a:xfrm>
          <a:custGeom>
            <a:avLst/>
            <a:gdLst>
              <a:gd name="T0" fmla="*/ 2147483647 w 371"/>
              <a:gd name="T1" fmla="*/ 0 h 654"/>
              <a:gd name="T2" fmla="*/ 0 w 371"/>
              <a:gd name="T3" fmla="*/ 2147483647 h 654"/>
              <a:gd name="T4" fmla="*/ 2147483647 w 371"/>
              <a:gd name="T5" fmla="*/ 2147483647 h 654"/>
              <a:gd name="T6" fmla="*/ 2147483647 w 371"/>
              <a:gd name="T7" fmla="*/ 2147483647 h 654"/>
              <a:gd name="T8" fmla="*/ 2147483647 w 371"/>
              <a:gd name="T9" fmla="*/ 0 h 6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1" h="654">
                <a:moveTo>
                  <a:pt x="182" y="0"/>
                </a:moveTo>
                <a:cubicBezTo>
                  <a:pt x="89" y="228"/>
                  <a:pt x="1" y="353"/>
                  <a:pt x="0" y="462"/>
                </a:cubicBezTo>
                <a:cubicBezTo>
                  <a:pt x="1" y="571"/>
                  <a:pt x="130" y="654"/>
                  <a:pt x="191" y="654"/>
                </a:cubicBezTo>
                <a:cubicBezTo>
                  <a:pt x="252" y="654"/>
                  <a:pt x="371" y="572"/>
                  <a:pt x="369" y="463"/>
                </a:cubicBezTo>
                <a:cubicBezTo>
                  <a:pt x="367" y="354"/>
                  <a:pt x="221" y="97"/>
                  <a:pt x="182" y="0"/>
                </a:cubicBezTo>
                <a:close/>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n-US"/>
          </a:p>
        </p:txBody>
      </p:sp>
      <p:sp>
        <p:nvSpPr>
          <p:cNvPr id="18" name="Freeform 7"/>
          <p:cNvSpPr>
            <a:spLocks/>
          </p:cNvSpPr>
          <p:nvPr/>
        </p:nvSpPr>
        <p:spPr bwMode="gray">
          <a:xfrm>
            <a:off x="7056439" y="4490403"/>
            <a:ext cx="193675" cy="368300"/>
          </a:xfrm>
          <a:custGeom>
            <a:avLst/>
            <a:gdLst>
              <a:gd name="T0" fmla="*/ 2147483647 w 371"/>
              <a:gd name="T1" fmla="*/ 0 h 654"/>
              <a:gd name="T2" fmla="*/ 0 w 371"/>
              <a:gd name="T3" fmla="*/ 2147483647 h 654"/>
              <a:gd name="T4" fmla="*/ 2147483647 w 371"/>
              <a:gd name="T5" fmla="*/ 2147483647 h 654"/>
              <a:gd name="T6" fmla="*/ 2147483647 w 371"/>
              <a:gd name="T7" fmla="*/ 2147483647 h 654"/>
              <a:gd name="T8" fmla="*/ 2147483647 w 371"/>
              <a:gd name="T9" fmla="*/ 0 h 6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1" h="654">
                <a:moveTo>
                  <a:pt x="182" y="0"/>
                </a:moveTo>
                <a:cubicBezTo>
                  <a:pt x="89" y="228"/>
                  <a:pt x="1" y="353"/>
                  <a:pt x="0" y="462"/>
                </a:cubicBezTo>
                <a:cubicBezTo>
                  <a:pt x="1" y="571"/>
                  <a:pt x="130" y="654"/>
                  <a:pt x="191" y="654"/>
                </a:cubicBezTo>
                <a:cubicBezTo>
                  <a:pt x="252" y="654"/>
                  <a:pt x="371" y="572"/>
                  <a:pt x="369" y="463"/>
                </a:cubicBezTo>
                <a:cubicBezTo>
                  <a:pt x="367" y="354"/>
                  <a:pt x="221" y="97"/>
                  <a:pt x="182" y="0"/>
                </a:cubicBezTo>
                <a:close/>
              </a:path>
            </a:pathLst>
          </a:custGeom>
          <a:noFill/>
          <a:ln w="9525" cap="flat" cmpd="sng">
            <a:solidFill>
              <a:schemeClr val="tx1"/>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n-US"/>
          </a:p>
        </p:txBody>
      </p:sp>
      <p:sp>
        <p:nvSpPr>
          <p:cNvPr id="19" name="Freeform 8"/>
          <p:cNvSpPr>
            <a:spLocks/>
          </p:cNvSpPr>
          <p:nvPr/>
        </p:nvSpPr>
        <p:spPr bwMode="gray">
          <a:xfrm>
            <a:off x="7056439" y="2839403"/>
            <a:ext cx="193675" cy="368300"/>
          </a:xfrm>
          <a:custGeom>
            <a:avLst/>
            <a:gdLst>
              <a:gd name="T0" fmla="*/ 2147483647 w 371"/>
              <a:gd name="T1" fmla="*/ 0 h 654"/>
              <a:gd name="T2" fmla="*/ 0 w 371"/>
              <a:gd name="T3" fmla="*/ 2147483647 h 654"/>
              <a:gd name="T4" fmla="*/ 2147483647 w 371"/>
              <a:gd name="T5" fmla="*/ 2147483647 h 654"/>
              <a:gd name="T6" fmla="*/ 2147483647 w 371"/>
              <a:gd name="T7" fmla="*/ 2147483647 h 654"/>
              <a:gd name="T8" fmla="*/ 2147483647 w 371"/>
              <a:gd name="T9" fmla="*/ 0 h 6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1" h="654">
                <a:moveTo>
                  <a:pt x="182" y="0"/>
                </a:moveTo>
                <a:cubicBezTo>
                  <a:pt x="89" y="228"/>
                  <a:pt x="1" y="353"/>
                  <a:pt x="0" y="462"/>
                </a:cubicBezTo>
                <a:cubicBezTo>
                  <a:pt x="1" y="571"/>
                  <a:pt x="130" y="654"/>
                  <a:pt x="191" y="654"/>
                </a:cubicBezTo>
                <a:cubicBezTo>
                  <a:pt x="252" y="654"/>
                  <a:pt x="371" y="572"/>
                  <a:pt x="369" y="463"/>
                </a:cubicBezTo>
                <a:cubicBezTo>
                  <a:pt x="367" y="354"/>
                  <a:pt x="221" y="97"/>
                  <a:pt x="182" y="0"/>
                </a:cubicBezTo>
                <a:close/>
              </a:path>
            </a:pathLst>
          </a:custGeom>
          <a:solidFill>
            <a:schemeClr val="tx1">
              <a:lumMod val="50000"/>
            </a:schemeClr>
          </a:solidFill>
          <a:ln w="9525" cap="flat" cmpd="sng">
            <a:solidFill>
              <a:schemeClr val="tx1"/>
            </a:solidFill>
            <a:prstDash val="solid"/>
            <a:round/>
            <a:headEnd/>
            <a:tailEnd/>
          </a:ln>
          <a:effectLst/>
        </p:spPr>
        <p:txBody>
          <a:bodyPr wrap="none" lIns="0" tIns="0" rIns="0" bIns="0" anchor="ctr"/>
          <a:lstStyle/>
          <a:p>
            <a:endParaRPr lang="en-US"/>
          </a:p>
        </p:txBody>
      </p:sp>
      <p:sp>
        <p:nvSpPr>
          <p:cNvPr id="20" name="Freeform 9"/>
          <p:cNvSpPr>
            <a:spLocks/>
          </p:cNvSpPr>
          <p:nvPr/>
        </p:nvSpPr>
        <p:spPr bwMode="gray">
          <a:xfrm>
            <a:off x="8940803" y="2572072"/>
            <a:ext cx="1782763" cy="2149475"/>
          </a:xfrm>
          <a:custGeom>
            <a:avLst/>
            <a:gdLst>
              <a:gd name="T0" fmla="*/ 2147483647 w 1216"/>
              <a:gd name="T1" fmla="*/ 2147483647 h 1354"/>
              <a:gd name="T2" fmla="*/ 2147483647 w 1216"/>
              <a:gd name="T3" fmla="*/ 2147483647 h 1354"/>
              <a:gd name="T4" fmla="*/ 0 w 1216"/>
              <a:gd name="T5" fmla="*/ 2147483647 h 1354"/>
              <a:gd name="T6" fmla="*/ 2147483647 w 1216"/>
              <a:gd name="T7" fmla="*/ 2147483647 h 1354"/>
              <a:gd name="T8" fmla="*/ 2147483647 w 1216"/>
              <a:gd name="T9" fmla="*/ 2147483647 h 1354"/>
              <a:gd name="T10" fmla="*/ 2147483647 w 1216"/>
              <a:gd name="T11" fmla="*/ 2147483647 h 1354"/>
              <a:gd name="T12" fmla="*/ 2147483647 w 1216"/>
              <a:gd name="T13" fmla="*/ 2147483647 h 1354"/>
              <a:gd name="T14" fmla="*/ 2147483647 w 1216"/>
              <a:gd name="T15" fmla="*/ 2147483647 h 1354"/>
              <a:gd name="T16" fmla="*/ 2147483647 w 1216"/>
              <a:gd name="T17" fmla="*/ 2147483647 h 1354"/>
              <a:gd name="T18" fmla="*/ 2147483647 w 1216"/>
              <a:gd name="T19" fmla="*/ 2147483647 h 1354"/>
              <a:gd name="T20" fmla="*/ 2147483647 w 1216"/>
              <a:gd name="T21" fmla="*/ 2147483647 h 1354"/>
              <a:gd name="T22" fmla="*/ 2147483647 w 1216"/>
              <a:gd name="T23" fmla="*/ 2147483647 h 1354"/>
              <a:gd name="T24" fmla="*/ 2147483647 w 1216"/>
              <a:gd name="T25" fmla="*/ 2147483647 h 1354"/>
              <a:gd name="T26" fmla="*/ 2147483647 w 1216"/>
              <a:gd name="T27" fmla="*/ 2147483647 h 1354"/>
              <a:gd name="T28" fmla="*/ 2147483647 w 1216"/>
              <a:gd name="T29" fmla="*/ 2147483647 h 1354"/>
              <a:gd name="T30" fmla="*/ 2147483647 w 1216"/>
              <a:gd name="T31" fmla="*/ 2147483647 h 1354"/>
              <a:gd name="T32" fmla="*/ 2147483647 w 1216"/>
              <a:gd name="T33" fmla="*/ 2147483647 h 1354"/>
              <a:gd name="T34" fmla="*/ 2147483647 w 1216"/>
              <a:gd name="T35" fmla="*/ 2147483647 h 1354"/>
              <a:gd name="T36" fmla="*/ 2147483647 w 1216"/>
              <a:gd name="T37" fmla="*/ 2147483647 h 1354"/>
              <a:gd name="T38" fmla="*/ 2147483647 w 1216"/>
              <a:gd name="T39" fmla="*/ 2147483647 h 1354"/>
              <a:gd name="T40" fmla="*/ 2147483647 w 1216"/>
              <a:gd name="T41" fmla="*/ 2147483647 h 1354"/>
              <a:gd name="T42" fmla="*/ 2147483647 w 1216"/>
              <a:gd name="T43" fmla="*/ 2147483647 h 1354"/>
              <a:gd name="T44" fmla="*/ 2147483647 w 1216"/>
              <a:gd name="T45" fmla="*/ 2147483647 h 1354"/>
              <a:gd name="T46" fmla="*/ 2147483647 w 1216"/>
              <a:gd name="T47" fmla="*/ 2147483647 h 1354"/>
              <a:gd name="T48" fmla="*/ 2147483647 w 1216"/>
              <a:gd name="T49" fmla="*/ 2147483647 h 1354"/>
              <a:gd name="T50" fmla="*/ 2147483647 w 1216"/>
              <a:gd name="T51" fmla="*/ 2147483647 h 1354"/>
              <a:gd name="T52" fmla="*/ 2147483647 w 1216"/>
              <a:gd name="T53" fmla="*/ 2147483647 h 1354"/>
              <a:gd name="T54" fmla="*/ 2147483647 w 1216"/>
              <a:gd name="T55" fmla="*/ 2147483647 h 1354"/>
              <a:gd name="T56" fmla="*/ 2147483647 w 1216"/>
              <a:gd name="T57" fmla="*/ 2147483647 h 1354"/>
              <a:gd name="T58" fmla="*/ 2147483647 w 1216"/>
              <a:gd name="T59" fmla="*/ 2147483647 h 1354"/>
              <a:gd name="T60" fmla="*/ 2147483647 w 1216"/>
              <a:gd name="T61" fmla="*/ 2147483647 h 1354"/>
              <a:gd name="T62" fmla="*/ 2147483647 w 1216"/>
              <a:gd name="T63" fmla="*/ 2147483647 h 1354"/>
              <a:gd name="T64" fmla="*/ 2147483647 w 1216"/>
              <a:gd name="T65" fmla="*/ 0 h 1354"/>
              <a:gd name="T66" fmla="*/ 2147483647 w 1216"/>
              <a:gd name="T67" fmla="*/ 0 h 1354"/>
              <a:gd name="T68" fmla="*/ 2147483647 w 1216"/>
              <a:gd name="T69" fmla="*/ 2147483647 h 1354"/>
              <a:gd name="T70" fmla="*/ 2147483647 w 1216"/>
              <a:gd name="T71" fmla="*/ 2147483647 h 1354"/>
              <a:gd name="T72" fmla="*/ 2147483647 w 1216"/>
              <a:gd name="T73" fmla="*/ 2147483647 h 1354"/>
              <a:gd name="T74" fmla="*/ 2147483647 w 1216"/>
              <a:gd name="T75" fmla="*/ 2147483647 h 13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16" h="1354">
                <a:moveTo>
                  <a:pt x="458" y="96"/>
                </a:moveTo>
                <a:lnTo>
                  <a:pt x="428" y="84"/>
                </a:lnTo>
                <a:lnTo>
                  <a:pt x="0" y="1354"/>
                </a:lnTo>
                <a:lnTo>
                  <a:pt x="56" y="1354"/>
                </a:lnTo>
                <a:lnTo>
                  <a:pt x="168" y="1322"/>
                </a:lnTo>
                <a:lnTo>
                  <a:pt x="264" y="1290"/>
                </a:lnTo>
                <a:lnTo>
                  <a:pt x="304" y="1338"/>
                </a:lnTo>
                <a:lnTo>
                  <a:pt x="328" y="1290"/>
                </a:lnTo>
                <a:lnTo>
                  <a:pt x="392" y="1314"/>
                </a:lnTo>
                <a:lnTo>
                  <a:pt x="392" y="1266"/>
                </a:lnTo>
                <a:lnTo>
                  <a:pt x="440" y="1242"/>
                </a:lnTo>
                <a:lnTo>
                  <a:pt x="488" y="1234"/>
                </a:lnTo>
                <a:lnTo>
                  <a:pt x="504" y="1186"/>
                </a:lnTo>
                <a:lnTo>
                  <a:pt x="536" y="1242"/>
                </a:lnTo>
                <a:lnTo>
                  <a:pt x="600" y="1154"/>
                </a:lnTo>
                <a:lnTo>
                  <a:pt x="664" y="1218"/>
                </a:lnTo>
                <a:lnTo>
                  <a:pt x="672" y="1146"/>
                </a:lnTo>
                <a:lnTo>
                  <a:pt x="728" y="1154"/>
                </a:lnTo>
                <a:lnTo>
                  <a:pt x="776" y="1162"/>
                </a:lnTo>
                <a:lnTo>
                  <a:pt x="816" y="1122"/>
                </a:lnTo>
                <a:lnTo>
                  <a:pt x="872" y="1138"/>
                </a:lnTo>
                <a:lnTo>
                  <a:pt x="912" y="1090"/>
                </a:lnTo>
                <a:lnTo>
                  <a:pt x="976" y="1138"/>
                </a:lnTo>
                <a:lnTo>
                  <a:pt x="1000" y="1210"/>
                </a:lnTo>
                <a:lnTo>
                  <a:pt x="1008" y="1130"/>
                </a:lnTo>
                <a:lnTo>
                  <a:pt x="1016" y="1082"/>
                </a:lnTo>
                <a:lnTo>
                  <a:pt x="1112" y="1138"/>
                </a:lnTo>
                <a:lnTo>
                  <a:pt x="1112" y="1082"/>
                </a:lnTo>
                <a:lnTo>
                  <a:pt x="1168" y="1066"/>
                </a:lnTo>
                <a:lnTo>
                  <a:pt x="1216" y="1090"/>
                </a:lnTo>
                <a:lnTo>
                  <a:pt x="1160" y="970"/>
                </a:lnTo>
                <a:cubicBezTo>
                  <a:pt x="1061" y="786"/>
                  <a:pt x="730" y="249"/>
                  <a:pt x="635" y="87"/>
                </a:cubicBezTo>
                <a:lnTo>
                  <a:pt x="588" y="0"/>
                </a:lnTo>
                <a:lnTo>
                  <a:pt x="554" y="14"/>
                </a:lnTo>
                <a:lnTo>
                  <a:pt x="512" y="22"/>
                </a:lnTo>
                <a:lnTo>
                  <a:pt x="470" y="34"/>
                </a:lnTo>
                <a:lnTo>
                  <a:pt x="458" y="96"/>
                </a:lnTo>
                <a:close/>
              </a:path>
            </a:pathLst>
          </a:custGeom>
          <a:solidFill>
            <a:schemeClr val="tx1">
              <a:lumMod val="20000"/>
              <a:lumOff val="80000"/>
            </a:schemeClr>
          </a:solidFill>
          <a:ln>
            <a:noFill/>
          </a:ln>
          <a:effectLst/>
        </p:spPr>
        <p:txBody>
          <a:bodyPr wrap="none" lIns="0" tIns="0" rIns="0" bIns="0" anchor="ctr"/>
          <a:lstStyle/>
          <a:p>
            <a:endParaRPr lang="en-US"/>
          </a:p>
        </p:txBody>
      </p:sp>
      <p:sp>
        <p:nvSpPr>
          <p:cNvPr id="21" name="Freeform 10"/>
          <p:cNvSpPr>
            <a:spLocks/>
          </p:cNvSpPr>
          <p:nvPr/>
        </p:nvSpPr>
        <p:spPr bwMode="gray">
          <a:xfrm>
            <a:off x="9293228" y="2756221"/>
            <a:ext cx="269875" cy="1727200"/>
          </a:xfrm>
          <a:custGeom>
            <a:avLst/>
            <a:gdLst>
              <a:gd name="T0" fmla="*/ 0 w 184"/>
              <a:gd name="T1" fmla="*/ 2147483647 h 1088"/>
              <a:gd name="T2" fmla="*/ 2147483647 w 184"/>
              <a:gd name="T3" fmla="*/ 0 h 1088"/>
              <a:gd name="T4" fmla="*/ 2147483647 w 184"/>
              <a:gd name="T5" fmla="*/ 2147483647 h 1088"/>
              <a:gd name="T6" fmla="*/ 0 w 184"/>
              <a:gd name="T7" fmla="*/ 2147483647 h 10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4" h="1088">
                <a:moveTo>
                  <a:pt x="0" y="1088"/>
                </a:moveTo>
                <a:lnTo>
                  <a:pt x="184" y="0"/>
                </a:lnTo>
                <a:lnTo>
                  <a:pt x="40" y="1032"/>
                </a:lnTo>
                <a:lnTo>
                  <a:pt x="0" y="1088"/>
                </a:lnTo>
                <a:close/>
              </a:path>
            </a:pathLst>
          </a:custGeom>
          <a:solidFill>
            <a:schemeClr val="tx1">
              <a:lumMod val="50000"/>
            </a:schemeClr>
          </a:solidFill>
          <a:ln>
            <a:noFill/>
          </a:ln>
          <a:effectLst/>
        </p:spPr>
        <p:txBody>
          <a:bodyPr wrap="none" lIns="0" tIns="0" rIns="0" bIns="0" anchor="ctr"/>
          <a:lstStyle/>
          <a:p>
            <a:endParaRPr lang="en-US"/>
          </a:p>
        </p:txBody>
      </p:sp>
      <p:sp>
        <p:nvSpPr>
          <p:cNvPr id="22" name="Freeform 11"/>
          <p:cNvSpPr>
            <a:spLocks/>
          </p:cNvSpPr>
          <p:nvPr/>
        </p:nvSpPr>
        <p:spPr bwMode="gray">
          <a:xfrm>
            <a:off x="9644066" y="2781621"/>
            <a:ext cx="71437" cy="1435100"/>
          </a:xfrm>
          <a:custGeom>
            <a:avLst/>
            <a:gdLst>
              <a:gd name="T0" fmla="*/ 2147483647 w 48"/>
              <a:gd name="T1" fmla="*/ 0 h 904"/>
              <a:gd name="T2" fmla="*/ 0 w 48"/>
              <a:gd name="T3" fmla="*/ 2147483647 h 904"/>
              <a:gd name="T4" fmla="*/ 2147483647 w 48"/>
              <a:gd name="T5" fmla="*/ 2147483647 h 904"/>
              <a:gd name="T6" fmla="*/ 2147483647 w 48"/>
              <a:gd name="T7" fmla="*/ 0 h 9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 h="904">
                <a:moveTo>
                  <a:pt x="48" y="0"/>
                </a:moveTo>
                <a:lnTo>
                  <a:pt x="0" y="904"/>
                </a:lnTo>
                <a:lnTo>
                  <a:pt x="40" y="872"/>
                </a:lnTo>
                <a:lnTo>
                  <a:pt x="48" y="0"/>
                </a:lnTo>
                <a:close/>
              </a:path>
            </a:pathLst>
          </a:custGeom>
          <a:solidFill>
            <a:schemeClr val="tx1">
              <a:lumMod val="50000"/>
            </a:schemeClr>
          </a:solidFill>
          <a:ln>
            <a:noFill/>
          </a:ln>
          <a:effectLst/>
        </p:spPr>
        <p:txBody>
          <a:bodyPr wrap="none" lIns="0" tIns="0" rIns="0" bIns="0" anchor="ctr"/>
          <a:lstStyle/>
          <a:p>
            <a:endParaRPr lang="en-US"/>
          </a:p>
        </p:txBody>
      </p:sp>
      <p:sp>
        <p:nvSpPr>
          <p:cNvPr id="23" name="Freeform 12"/>
          <p:cNvSpPr>
            <a:spLocks/>
          </p:cNvSpPr>
          <p:nvPr/>
        </p:nvSpPr>
        <p:spPr bwMode="gray">
          <a:xfrm>
            <a:off x="9867902" y="2832421"/>
            <a:ext cx="374650" cy="1397000"/>
          </a:xfrm>
          <a:custGeom>
            <a:avLst/>
            <a:gdLst>
              <a:gd name="T0" fmla="*/ 0 w 256"/>
              <a:gd name="T1" fmla="*/ 0 h 880"/>
              <a:gd name="T2" fmla="*/ 2147483647 w 256"/>
              <a:gd name="T3" fmla="*/ 2147483647 h 880"/>
              <a:gd name="T4" fmla="*/ 2147483647 w 256"/>
              <a:gd name="T5" fmla="*/ 2147483647 h 880"/>
              <a:gd name="T6" fmla="*/ 0 w 256"/>
              <a:gd name="T7" fmla="*/ 0 h 8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6" h="880">
                <a:moveTo>
                  <a:pt x="0" y="0"/>
                </a:moveTo>
                <a:lnTo>
                  <a:pt x="256" y="840"/>
                </a:lnTo>
                <a:lnTo>
                  <a:pt x="200" y="880"/>
                </a:lnTo>
                <a:lnTo>
                  <a:pt x="0" y="0"/>
                </a:lnTo>
                <a:close/>
              </a:path>
            </a:pathLst>
          </a:custGeom>
          <a:solidFill>
            <a:schemeClr val="tx1">
              <a:lumMod val="50000"/>
            </a:schemeClr>
          </a:solidFill>
          <a:ln>
            <a:noFill/>
          </a:ln>
          <a:effectLst/>
        </p:spPr>
        <p:txBody>
          <a:bodyPr wrap="none" lIns="0" tIns="0" rIns="0" bIns="0" anchor="ctr"/>
          <a:lstStyle/>
          <a:p>
            <a:endParaRPr lang="en-US"/>
          </a:p>
        </p:txBody>
      </p:sp>
      <p:sp>
        <p:nvSpPr>
          <p:cNvPr id="34" name="Freeform 26"/>
          <p:cNvSpPr>
            <a:spLocks noEditPoints="1"/>
          </p:cNvSpPr>
          <p:nvPr/>
        </p:nvSpPr>
        <p:spPr bwMode="auto">
          <a:xfrm flipH="1">
            <a:off x="5856288" y="1412242"/>
            <a:ext cx="1441450" cy="1406525"/>
          </a:xfrm>
          <a:custGeom>
            <a:avLst/>
            <a:gdLst>
              <a:gd name="T0" fmla="*/ 2147483647 w 897"/>
              <a:gd name="T1" fmla="*/ 2147483647 h 807"/>
              <a:gd name="T2" fmla="*/ 2147483647 w 897"/>
              <a:gd name="T3" fmla="*/ 2147483647 h 807"/>
              <a:gd name="T4" fmla="*/ 2147483647 w 897"/>
              <a:gd name="T5" fmla="*/ 2147483647 h 807"/>
              <a:gd name="T6" fmla="*/ 2147483647 w 897"/>
              <a:gd name="T7" fmla="*/ 2147483647 h 807"/>
              <a:gd name="T8" fmla="*/ 2147483647 w 897"/>
              <a:gd name="T9" fmla="*/ 2147483647 h 807"/>
              <a:gd name="T10" fmla="*/ 2147483647 w 897"/>
              <a:gd name="T11" fmla="*/ 2147483647 h 807"/>
              <a:gd name="T12" fmla="*/ 2147483647 w 897"/>
              <a:gd name="T13" fmla="*/ 2147483647 h 807"/>
              <a:gd name="T14" fmla="*/ 2147483647 w 897"/>
              <a:gd name="T15" fmla="*/ 2147483647 h 807"/>
              <a:gd name="T16" fmla="*/ 2147483647 w 897"/>
              <a:gd name="T17" fmla="*/ 2147483647 h 807"/>
              <a:gd name="T18" fmla="*/ 2147483647 w 897"/>
              <a:gd name="T19" fmla="*/ 0 h 807"/>
              <a:gd name="T20" fmla="*/ 2147483647 w 897"/>
              <a:gd name="T21" fmla="*/ 2147483647 h 807"/>
              <a:gd name="T22" fmla="*/ 2147483647 w 897"/>
              <a:gd name="T23" fmla="*/ 2147483647 h 807"/>
              <a:gd name="T24" fmla="*/ 2147483647 w 897"/>
              <a:gd name="T25" fmla="*/ 2147483647 h 807"/>
              <a:gd name="T26" fmla="*/ 2147483647 w 897"/>
              <a:gd name="T27" fmla="*/ 2147483647 h 807"/>
              <a:gd name="T28" fmla="*/ 2147483647 w 897"/>
              <a:gd name="T29" fmla="*/ 2147483647 h 807"/>
              <a:gd name="T30" fmla="*/ 2147483647 w 897"/>
              <a:gd name="T31" fmla="*/ 2147483647 h 807"/>
              <a:gd name="T32" fmla="*/ 2147483647 w 897"/>
              <a:gd name="T33" fmla="*/ 2147483647 h 807"/>
              <a:gd name="T34" fmla="*/ 2147483647 w 897"/>
              <a:gd name="T35" fmla="*/ 2147483647 h 807"/>
              <a:gd name="T36" fmla="*/ 0 w 897"/>
              <a:gd name="T37" fmla="*/ 2147483647 h 807"/>
              <a:gd name="T38" fmla="*/ 2147483647 w 897"/>
              <a:gd name="T39" fmla="*/ 2147483647 h 807"/>
              <a:gd name="T40" fmla="*/ 2147483647 w 897"/>
              <a:gd name="T41" fmla="*/ 2147483647 h 807"/>
              <a:gd name="T42" fmla="*/ 2147483647 w 897"/>
              <a:gd name="T43" fmla="*/ 2147483647 h 807"/>
              <a:gd name="T44" fmla="*/ 2147483647 w 897"/>
              <a:gd name="T45" fmla="*/ 2147483647 h 807"/>
              <a:gd name="T46" fmla="*/ 2147483647 w 897"/>
              <a:gd name="T47" fmla="*/ 2147483647 h 807"/>
              <a:gd name="T48" fmla="*/ 2147483647 w 897"/>
              <a:gd name="T49" fmla="*/ 2147483647 h 807"/>
              <a:gd name="T50" fmla="*/ 2147483647 w 897"/>
              <a:gd name="T51" fmla="*/ 2147483647 h 807"/>
              <a:gd name="T52" fmla="*/ 2147483647 w 897"/>
              <a:gd name="T53" fmla="*/ 2147483647 h 807"/>
              <a:gd name="T54" fmla="*/ 2147483647 w 897"/>
              <a:gd name="T55" fmla="*/ 2147483647 h 807"/>
              <a:gd name="T56" fmla="*/ 2147483647 w 897"/>
              <a:gd name="T57" fmla="*/ 2147483647 h 807"/>
              <a:gd name="T58" fmla="*/ 2147483647 w 897"/>
              <a:gd name="T59" fmla="*/ 2147483647 h 807"/>
              <a:gd name="T60" fmla="*/ 2147483647 w 897"/>
              <a:gd name="T61" fmla="*/ 2147483647 h 807"/>
              <a:gd name="T62" fmla="*/ 2147483647 w 897"/>
              <a:gd name="T63" fmla="*/ 2147483647 h 807"/>
              <a:gd name="T64" fmla="*/ 2147483647 w 897"/>
              <a:gd name="T65" fmla="*/ 2147483647 h 80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97" h="807">
                <a:moveTo>
                  <a:pt x="791" y="298"/>
                </a:moveTo>
                <a:cubicBezTo>
                  <a:pt x="791" y="290"/>
                  <a:pt x="783" y="283"/>
                  <a:pt x="775" y="283"/>
                </a:cubicBezTo>
                <a:cubicBezTo>
                  <a:pt x="685" y="283"/>
                  <a:pt x="685" y="283"/>
                  <a:pt x="685" y="283"/>
                </a:cubicBezTo>
                <a:cubicBezTo>
                  <a:pt x="676" y="283"/>
                  <a:pt x="669" y="290"/>
                  <a:pt x="669" y="298"/>
                </a:cubicBezTo>
                <a:cubicBezTo>
                  <a:pt x="669" y="331"/>
                  <a:pt x="669" y="331"/>
                  <a:pt x="669" y="331"/>
                </a:cubicBezTo>
                <a:cubicBezTo>
                  <a:pt x="535" y="331"/>
                  <a:pt x="535" y="331"/>
                  <a:pt x="535" y="331"/>
                </a:cubicBezTo>
                <a:cubicBezTo>
                  <a:pt x="535" y="278"/>
                  <a:pt x="535" y="278"/>
                  <a:pt x="535" y="278"/>
                </a:cubicBezTo>
                <a:cubicBezTo>
                  <a:pt x="554" y="278"/>
                  <a:pt x="554" y="278"/>
                  <a:pt x="554" y="278"/>
                </a:cubicBezTo>
                <a:cubicBezTo>
                  <a:pt x="561" y="278"/>
                  <a:pt x="567" y="272"/>
                  <a:pt x="567" y="265"/>
                </a:cubicBezTo>
                <a:cubicBezTo>
                  <a:pt x="567" y="204"/>
                  <a:pt x="567" y="204"/>
                  <a:pt x="567" y="204"/>
                </a:cubicBezTo>
                <a:cubicBezTo>
                  <a:pt x="567" y="197"/>
                  <a:pt x="561" y="191"/>
                  <a:pt x="554" y="191"/>
                </a:cubicBezTo>
                <a:cubicBezTo>
                  <a:pt x="475" y="191"/>
                  <a:pt x="475" y="191"/>
                  <a:pt x="475" y="191"/>
                </a:cubicBezTo>
                <a:cubicBezTo>
                  <a:pt x="475" y="101"/>
                  <a:pt x="475" y="101"/>
                  <a:pt x="475" y="101"/>
                </a:cubicBezTo>
                <a:cubicBezTo>
                  <a:pt x="649" y="121"/>
                  <a:pt x="649" y="121"/>
                  <a:pt x="649" y="121"/>
                </a:cubicBezTo>
                <a:cubicBezTo>
                  <a:pt x="657" y="121"/>
                  <a:pt x="663" y="115"/>
                  <a:pt x="663" y="107"/>
                </a:cubicBezTo>
                <a:cubicBezTo>
                  <a:pt x="663" y="16"/>
                  <a:pt x="663" y="16"/>
                  <a:pt x="663" y="16"/>
                </a:cubicBezTo>
                <a:cubicBezTo>
                  <a:pt x="663" y="8"/>
                  <a:pt x="657" y="2"/>
                  <a:pt x="649" y="2"/>
                </a:cubicBezTo>
                <a:cubicBezTo>
                  <a:pt x="475" y="22"/>
                  <a:pt x="475" y="22"/>
                  <a:pt x="475" y="22"/>
                </a:cubicBezTo>
                <a:cubicBezTo>
                  <a:pt x="475" y="15"/>
                  <a:pt x="475" y="15"/>
                  <a:pt x="475" y="15"/>
                </a:cubicBezTo>
                <a:cubicBezTo>
                  <a:pt x="475" y="7"/>
                  <a:pt x="468" y="0"/>
                  <a:pt x="459" y="0"/>
                </a:cubicBezTo>
                <a:cubicBezTo>
                  <a:pt x="410" y="0"/>
                  <a:pt x="410" y="0"/>
                  <a:pt x="410" y="0"/>
                </a:cubicBezTo>
                <a:cubicBezTo>
                  <a:pt x="402" y="0"/>
                  <a:pt x="395" y="7"/>
                  <a:pt x="395" y="15"/>
                </a:cubicBezTo>
                <a:cubicBezTo>
                  <a:pt x="395" y="23"/>
                  <a:pt x="395" y="23"/>
                  <a:pt x="395" y="23"/>
                </a:cubicBezTo>
                <a:cubicBezTo>
                  <a:pt x="215" y="2"/>
                  <a:pt x="215" y="2"/>
                  <a:pt x="215" y="2"/>
                </a:cubicBezTo>
                <a:cubicBezTo>
                  <a:pt x="207" y="2"/>
                  <a:pt x="201" y="8"/>
                  <a:pt x="201" y="16"/>
                </a:cubicBezTo>
                <a:cubicBezTo>
                  <a:pt x="201" y="107"/>
                  <a:pt x="201" y="107"/>
                  <a:pt x="201" y="107"/>
                </a:cubicBezTo>
                <a:cubicBezTo>
                  <a:pt x="201" y="115"/>
                  <a:pt x="207" y="121"/>
                  <a:pt x="215" y="121"/>
                </a:cubicBezTo>
                <a:cubicBezTo>
                  <a:pt x="395" y="100"/>
                  <a:pt x="395" y="100"/>
                  <a:pt x="395" y="100"/>
                </a:cubicBezTo>
                <a:cubicBezTo>
                  <a:pt x="395" y="191"/>
                  <a:pt x="395" y="191"/>
                  <a:pt x="395" y="191"/>
                </a:cubicBezTo>
                <a:cubicBezTo>
                  <a:pt x="319" y="191"/>
                  <a:pt x="319" y="191"/>
                  <a:pt x="319" y="191"/>
                </a:cubicBezTo>
                <a:cubicBezTo>
                  <a:pt x="312" y="191"/>
                  <a:pt x="306" y="197"/>
                  <a:pt x="306" y="204"/>
                </a:cubicBezTo>
                <a:cubicBezTo>
                  <a:pt x="306" y="265"/>
                  <a:pt x="306" y="265"/>
                  <a:pt x="306" y="265"/>
                </a:cubicBezTo>
                <a:cubicBezTo>
                  <a:pt x="306" y="272"/>
                  <a:pt x="312" y="278"/>
                  <a:pt x="319" y="278"/>
                </a:cubicBezTo>
                <a:cubicBezTo>
                  <a:pt x="338" y="278"/>
                  <a:pt x="338" y="278"/>
                  <a:pt x="338" y="278"/>
                </a:cubicBezTo>
                <a:cubicBezTo>
                  <a:pt x="338" y="332"/>
                  <a:pt x="338" y="332"/>
                  <a:pt x="338" y="332"/>
                </a:cubicBezTo>
                <a:cubicBezTo>
                  <a:pt x="159" y="337"/>
                  <a:pt x="15" y="483"/>
                  <a:pt x="15" y="663"/>
                </a:cubicBezTo>
                <a:cubicBezTo>
                  <a:pt x="15" y="685"/>
                  <a:pt x="15" y="685"/>
                  <a:pt x="15" y="685"/>
                </a:cubicBezTo>
                <a:cubicBezTo>
                  <a:pt x="7" y="686"/>
                  <a:pt x="0" y="692"/>
                  <a:pt x="0" y="701"/>
                </a:cubicBezTo>
                <a:cubicBezTo>
                  <a:pt x="0" y="791"/>
                  <a:pt x="0" y="791"/>
                  <a:pt x="0" y="791"/>
                </a:cubicBezTo>
                <a:cubicBezTo>
                  <a:pt x="0" y="800"/>
                  <a:pt x="7" y="807"/>
                  <a:pt x="16" y="807"/>
                </a:cubicBezTo>
                <a:cubicBezTo>
                  <a:pt x="172" y="807"/>
                  <a:pt x="172" y="807"/>
                  <a:pt x="172" y="807"/>
                </a:cubicBezTo>
                <a:cubicBezTo>
                  <a:pt x="180" y="807"/>
                  <a:pt x="187" y="800"/>
                  <a:pt x="187" y="791"/>
                </a:cubicBezTo>
                <a:cubicBezTo>
                  <a:pt x="187" y="701"/>
                  <a:pt x="187" y="701"/>
                  <a:pt x="187" y="701"/>
                </a:cubicBezTo>
                <a:cubicBezTo>
                  <a:pt x="187" y="693"/>
                  <a:pt x="181" y="686"/>
                  <a:pt x="173" y="685"/>
                </a:cubicBezTo>
                <a:cubicBezTo>
                  <a:pt x="173" y="663"/>
                  <a:pt x="173" y="663"/>
                  <a:pt x="173" y="663"/>
                </a:cubicBezTo>
                <a:cubicBezTo>
                  <a:pt x="173" y="567"/>
                  <a:pt x="251" y="490"/>
                  <a:pt x="347" y="489"/>
                </a:cubicBezTo>
                <a:cubicBezTo>
                  <a:pt x="669" y="489"/>
                  <a:pt x="669" y="489"/>
                  <a:pt x="669" y="489"/>
                </a:cubicBezTo>
                <a:cubicBezTo>
                  <a:pt x="669" y="526"/>
                  <a:pt x="669" y="526"/>
                  <a:pt x="669" y="526"/>
                </a:cubicBezTo>
                <a:cubicBezTo>
                  <a:pt x="669" y="535"/>
                  <a:pt x="676" y="542"/>
                  <a:pt x="685" y="542"/>
                </a:cubicBezTo>
                <a:cubicBezTo>
                  <a:pt x="775" y="542"/>
                  <a:pt x="775" y="542"/>
                  <a:pt x="775" y="542"/>
                </a:cubicBezTo>
                <a:cubicBezTo>
                  <a:pt x="783" y="542"/>
                  <a:pt x="791" y="535"/>
                  <a:pt x="791" y="526"/>
                </a:cubicBezTo>
                <a:cubicBezTo>
                  <a:pt x="791" y="489"/>
                  <a:pt x="791" y="489"/>
                  <a:pt x="791" y="489"/>
                </a:cubicBezTo>
                <a:cubicBezTo>
                  <a:pt x="816" y="489"/>
                  <a:pt x="816" y="489"/>
                  <a:pt x="816" y="489"/>
                </a:cubicBezTo>
                <a:cubicBezTo>
                  <a:pt x="816" y="331"/>
                  <a:pt x="816" y="331"/>
                  <a:pt x="816" y="331"/>
                </a:cubicBezTo>
                <a:cubicBezTo>
                  <a:pt x="791" y="331"/>
                  <a:pt x="791" y="331"/>
                  <a:pt x="791" y="331"/>
                </a:cubicBezTo>
                <a:lnTo>
                  <a:pt x="791" y="298"/>
                </a:lnTo>
                <a:close/>
                <a:moveTo>
                  <a:pt x="874" y="331"/>
                </a:moveTo>
                <a:cubicBezTo>
                  <a:pt x="874" y="489"/>
                  <a:pt x="874" y="489"/>
                  <a:pt x="874" y="489"/>
                </a:cubicBezTo>
                <a:cubicBezTo>
                  <a:pt x="897" y="489"/>
                  <a:pt x="897" y="489"/>
                  <a:pt x="897" y="489"/>
                </a:cubicBezTo>
                <a:cubicBezTo>
                  <a:pt x="897" y="331"/>
                  <a:pt x="897" y="331"/>
                  <a:pt x="897" y="331"/>
                </a:cubicBezTo>
                <a:lnTo>
                  <a:pt x="874" y="331"/>
                </a:lnTo>
                <a:close/>
                <a:moveTo>
                  <a:pt x="833" y="489"/>
                </a:moveTo>
                <a:cubicBezTo>
                  <a:pt x="857" y="489"/>
                  <a:pt x="857" y="489"/>
                  <a:pt x="857" y="489"/>
                </a:cubicBezTo>
                <a:cubicBezTo>
                  <a:pt x="857" y="331"/>
                  <a:pt x="857" y="331"/>
                  <a:pt x="857" y="331"/>
                </a:cubicBezTo>
                <a:cubicBezTo>
                  <a:pt x="833" y="331"/>
                  <a:pt x="833" y="331"/>
                  <a:pt x="833" y="331"/>
                </a:cubicBezTo>
                <a:lnTo>
                  <a:pt x="833" y="489"/>
                </a:lnTo>
                <a:close/>
              </a:path>
            </a:pathLst>
          </a:custGeom>
          <a:solidFill>
            <a:schemeClr val="tx1">
              <a:lumMod val="60000"/>
              <a:lumOff val="40000"/>
            </a:schemeClr>
          </a:solidFill>
          <a:ln>
            <a:noFill/>
          </a:ln>
        </p:spPr>
        <p:txBody>
          <a:bodyPr/>
          <a:lstStyle/>
          <a:p>
            <a:endParaRPr lang="en-US"/>
          </a:p>
        </p:txBody>
      </p:sp>
      <p:sp>
        <p:nvSpPr>
          <p:cNvPr id="35" name="Freeform 27"/>
          <p:cNvSpPr>
            <a:spLocks noEditPoints="1"/>
          </p:cNvSpPr>
          <p:nvPr/>
        </p:nvSpPr>
        <p:spPr bwMode="auto">
          <a:xfrm flipH="1">
            <a:off x="8435977" y="1322710"/>
            <a:ext cx="1441450" cy="1406525"/>
          </a:xfrm>
          <a:custGeom>
            <a:avLst/>
            <a:gdLst>
              <a:gd name="T0" fmla="*/ 2147483647 w 897"/>
              <a:gd name="T1" fmla="*/ 2147483647 h 807"/>
              <a:gd name="T2" fmla="*/ 2147483647 w 897"/>
              <a:gd name="T3" fmla="*/ 2147483647 h 807"/>
              <a:gd name="T4" fmla="*/ 2147483647 w 897"/>
              <a:gd name="T5" fmla="*/ 2147483647 h 807"/>
              <a:gd name="T6" fmla="*/ 2147483647 w 897"/>
              <a:gd name="T7" fmla="*/ 2147483647 h 807"/>
              <a:gd name="T8" fmla="*/ 2147483647 w 897"/>
              <a:gd name="T9" fmla="*/ 2147483647 h 807"/>
              <a:gd name="T10" fmla="*/ 2147483647 w 897"/>
              <a:gd name="T11" fmla="*/ 2147483647 h 807"/>
              <a:gd name="T12" fmla="*/ 2147483647 w 897"/>
              <a:gd name="T13" fmla="*/ 2147483647 h 807"/>
              <a:gd name="T14" fmla="*/ 2147483647 w 897"/>
              <a:gd name="T15" fmla="*/ 2147483647 h 807"/>
              <a:gd name="T16" fmla="*/ 2147483647 w 897"/>
              <a:gd name="T17" fmla="*/ 2147483647 h 807"/>
              <a:gd name="T18" fmla="*/ 2147483647 w 897"/>
              <a:gd name="T19" fmla="*/ 0 h 807"/>
              <a:gd name="T20" fmla="*/ 2147483647 w 897"/>
              <a:gd name="T21" fmla="*/ 2147483647 h 807"/>
              <a:gd name="T22" fmla="*/ 2147483647 w 897"/>
              <a:gd name="T23" fmla="*/ 2147483647 h 807"/>
              <a:gd name="T24" fmla="*/ 2147483647 w 897"/>
              <a:gd name="T25" fmla="*/ 2147483647 h 807"/>
              <a:gd name="T26" fmla="*/ 2147483647 w 897"/>
              <a:gd name="T27" fmla="*/ 2147483647 h 807"/>
              <a:gd name="T28" fmla="*/ 2147483647 w 897"/>
              <a:gd name="T29" fmla="*/ 2147483647 h 807"/>
              <a:gd name="T30" fmla="*/ 2147483647 w 897"/>
              <a:gd name="T31" fmla="*/ 2147483647 h 807"/>
              <a:gd name="T32" fmla="*/ 2147483647 w 897"/>
              <a:gd name="T33" fmla="*/ 2147483647 h 807"/>
              <a:gd name="T34" fmla="*/ 2147483647 w 897"/>
              <a:gd name="T35" fmla="*/ 2147483647 h 807"/>
              <a:gd name="T36" fmla="*/ 0 w 897"/>
              <a:gd name="T37" fmla="*/ 2147483647 h 807"/>
              <a:gd name="T38" fmla="*/ 2147483647 w 897"/>
              <a:gd name="T39" fmla="*/ 2147483647 h 807"/>
              <a:gd name="T40" fmla="*/ 2147483647 w 897"/>
              <a:gd name="T41" fmla="*/ 2147483647 h 807"/>
              <a:gd name="T42" fmla="*/ 2147483647 w 897"/>
              <a:gd name="T43" fmla="*/ 2147483647 h 807"/>
              <a:gd name="T44" fmla="*/ 2147483647 w 897"/>
              <a:gd name="T45" fmla="*/ 2147483647 h 807"/>
              <a:gd name="T46" fmla="*/ 2147483647 w 897"/>
              <a:gd name="T47" fmla="*/ 2147483647 h 807"/>
              <a:gd name="T48" fmla="*/ 2147483647 w 897"/>
              <a:gd name="T49" fmla="*/ 2147483647 h 807"/>
              <a:gd name="T50" fmla="*/ 2147483647 w 897"/>
              <a:gd name="T51" fmla="*/ 2147483647 h 807"/>
              <a:gd name="T52" fmla="*/ 2147483647 w 897"/>
              <a:gd name="T53" fmla="*/ 2147483647 h 807"/>
              <a:gd name="T54" fmla="*/ 2147483647 w 897"/>
              <a:gd name="T55" fmla="*/ 2147483647 h 807"/>
              <a:gd name="T56" fmla="*/ 2147483647 w 897"/>
              <a:gd name="T57" fmla="*/ 2147483647 h 807"/>
              <a:gd name="T58" fmla="*/ 2147483647 w 897"/>
              <a:gd name="T59" fmla="*/ 2147483647 h 807"/>
              <a:gd name="T60" fmla="*/ 2147483647 w 897"/>
              <a:gd name="T61" fmla="*/ 2147483647 h 807"/>
              <a:gd name="T62" fmla="*/ 2147483647 w 897"/>
              <a:gd name="T63" fmla="*/ 2147483647 h 807"/>
              <a:gd name="T64" fmla="*/ 2147483647 w 897"/>
              <a:gd name="T65" fmla="*/ 2147483647 h 80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97" h="807">
                <a:moveTo>
                  <a:pt x="791" y="298"/>
                </a:moveTo>
                <a:cubicBezTo>
                  <a:pt x="791" y="290"/>
                  <a:pt x="783" y="283"/>
                  <a:pt x="775" y="283"/>
                </a:cubicBezTo>
                <a:cubicBezTo>
                  <a:pt x="685" y="283"/>
                  <a:pt x="685" y="283"/>
                  <a:pt x="685" y="283"/>
                </a:cubicBezTo>
                <a:cubicBezTo>
                  <a:pt x="676" y="283"/>
                  <a:pt x="669" y="290"/>
                  <a:pt x="669" y="298"/>
                </a:cubicBezTo>
                <a:cubicBezTo>
                  <a:pt x="669" y="331"/>
                  <a:pt x="669" y="331"/>
                  <a:pt x="669" y="331"/>
                </a:cubicBezTo>
                <a:cubicBezTo>
                  <a:pt x="535" y="331"/>
                  <a:pt x="535" y="331"/>
                  <a:pt x="535" y="331"/>
                </a:cubicBezTo>
                <a:cubicBezTo>
                  <a:pt x="535" y="278"/>
                  <a:pt x="535" y="278"/>
                  <a:pt x="535" y="278"/>
                </a:cubicBezTo>
                <a:cubicBezTo>
                  <a:pt x="554" y="278"/>
                  <a:pt x="554" y="278"/>
                  <a:pt x="554" y="278"/>
                </a:cubicBezTo>
                <a:cubicBezTo>
                  <a:pt x="561" y="278"/>
                  <a:pt x="567" y="272"/>
                  <a:pt x="567" y="265"/>
                </a:cubicBezTo>
                <a:cubicBezTo>
                  <a:pt x="567" y="204"/>
                  <a:pt x="567" y="204"/>
                  <a:pt x="567" y="204"/>
                </a:cubicBezTo>
                <a:cubicBezTo>
                  <a:pt x="567" y="197"/>
                  <a:pt x="561" y="191"/>
                  <a:pt x="554" y="191"/>
                </a:cubicBezTo>
                <a:cubicBezTo>
                  <a:pt x="475" y="191"/>
                  <a:pt x="475" y="191"/>
                  <a:pt x="475" y="191"/>
                </a:cubicBezTo>
                <a:cubicBezTo>
                  <a:pt x="475" y="101"/>
                  <a:pt x="475" y="101"/>
                  <a:pt x="475" y="101"/>
                </a:cubicBezTo>
                <a:cubicBezTo>
                  <a:pt x="649" y="121"/>
                  <a:pt x="649" y="121"/>
                  <a:pt x="649" y="121"/>
                </a:cubicBezTo>
                <a:cubicBezTo>
                  <a:pt x="657" y="121"/>
                  <a:pt x="663" y="115"/>
                  <a:pt x="663" y="107"/>
                </a:cubicBezTo>
                <a:cubicBezTo>
                  <a:pt x="663" y="16"/>
                  <a:pt x="663" y="16"/>
                  <a:pt x="663" y="16"/>
                </a:cubicBezTo>
                <a:cubicBezTo>
                  <a:pt x="663" y="8"/>
                  <a:pt x="657" y="2"/>
                  <a:pt x="649" y="2"/>
                </a:cubicBezTo>
                <a:cubicBezTo>
                  <a:pt x="475" y="22"/>
                  <a:pt x="475" y="22"/>
                  <a:pt x="475" y="22"/>
                </a:cubicBezTo>
                <a:cubicBezTo>
                  <a:pt x="475" y="15"/>
                  <a:pt x="475" y="15"/>
                  <a:pt x="475" y="15"/>
                </a:cubicBezTo>
                <a:cubicBezTo>
                  <a:pt x="475" y="7"/>
                  <a:pt x="468" y="0"/>
                  <a:pt x="459" y="0"/>
                </a:cubicBezTo>
                <a:cubicBezTo>
                  <a:pt x="410" y="0"/>
                  <a:pt x="410" y="0"/>
                  <a:pt x="410" y="0"/>
                </a:cubicBezTo>
                <a:cubicBezTo>
                  <a:pt x="402" y="0"/>
                  <a:pt x="395" y="7"/>
                  <a:pt x="395" y="15"/>
                </a:cubicBezTo>
                <a:cubicBezTo>
                  <a:pt x="395" y="23"/>
                  <a:pt x="395" y="23"/>
                  <a:pt x="395" y="23"/>
                </a:cubicBezTo>
                <a:cubicBezTo>
                  <a:pt x="215" y="2"/>
                  <a:pt x="215" y="2"/>
                  <a:pt x="215" y="2"/>
                </a:cubicBezTo>
                <a:cubicBezTo>
                  <a:pt x="207" y="2"/>
                  <a:pt x="201" y="8"/>
                  <a:pt x="201" y="16"/>
                </a:cubicBezTo>
                <a:cubicBezTo>
                  <a:pt x="201" y="107"/>
                  <a:pt x="201" y="107"/>
                  <a:pt x="201" y="107"/>
                </a:cubicBezTo>
                <a:cubicBezTo>
                  <a:pt x="201" y="115"/>
                  <a:pt x="207" y="121"/>
                  <a:pt x="215" y="121"/>
                </a:cubicBezTo>
                <a:cubicBezTo>
                  <a:pt x="395" y="100"/>
                  <a:pt x="395" y="100"/>
                  <a:pt x="395" y="100"/>
                </a:cubicBezTo>
                <a:cubicBezTo>
                  <a:pt x="395" y="191"/>
                  <a:pt x="395" y="191"/>
                  <a:pt x="395" y="191"/>
                </a:cubicBezTo>
                <a:cubicBezTo>
                  <a:pt x="319" y="191"/>
                  <a:pt x="319" y="191"/>
                  <a:pt x="319" y="191"/>
                </a:cubicBezTo>
                <a:cubicBezTo>
                  <a:pt x="312" y="191"/>
                  <a:pt x="306" y="197"/>
                  <a:pt x="306" y="204"/>
                </a:cubicBezTo>
                <a:cubicBezTo>
                  <a:pt x="306" y="265"/>
                  <a:pt x="306" y="265"/>
                  <a:pt x="306" y="265"/>
                </a:cubicBezTo>
                <a:cubicBezTo>
                  <a:pt x="306" y="272"/>
                  <a:pt x="312" y="278"/>
                  <a:pt x="319" y="278"/>
                </a:cubicBezTo>
                <a:cubicBezTo>
                  <a:pt x="338" y="278"/>
                  <a:pt x="338" y="278"/>
                  <a:pt x="338" y="278"/>
                </a:cubicBezTo>
                <a:cubicBezTo>
                  <a:pt x="338" y="332"/>
                  <a:pt x="338" y="332"/>
                  <a:pt x="338" y="332"/>
                </a:cubicBezTo>
                <a:cubicBezTo>
                  <a:pt x="159" y="337"/>
                  <a:pt x="15" y="483"/>
                  <a:pt x="15" y="663"/>
                </a:cubicBezTo>
                <a:cubicBezTo>
                  <a:pt x="15" y="685"/>
                  <a:pt x="15" y="685"/>
                  <a:pt x="15" y="685"/>
                </a:cubicBezTo>
                <a:cubicBezTo>
                  <a:pt x="7" y="686"/>
                  <a:pt x="0" y="692"/>
                  <a:pt x="0" y="701"/>
                </a:cubicBezTo>
                <a:cubicBezTo>
                  <a:pt x="0" y="791"/>
                  <a:pt x="0" y="791"/>
                  <a:pt x="0" y="791"/>
                </a:cubicBezTo>
                <a:cubicBezTo>
                  <a:pt x="0" y="800"/>
                  <a:pt x="7" y="807"/>
                  <a:pt x="16" y="807"/>
                </a:cubicBezTo>
                <a:cubicBezTo>
                  <a:pt x="172" y="807"/>
                  <a:pt x="172" y="807"/>
                  <a:pt x="172" y="807"/>
                </a:cubicBezTo>
                <a:cubicBezTo>
                  <a:pt x="180" y="807"/>
                  <a:pt x="187" y="800"/>
                  <a:pt x="187" y="791"/>
                </a:cubicBezTo>
                <a:cubicBezTo>
                  <a:pt x="187" y="701"/>
                  <a:pt x="187" y="701"/>
                  <a:pt x="187" y="701"/>
                </a:cubicBezTo>
                <a:cubicBezTo>
                  <a:pt x="187" y="693"/>
                  <a:pt x="181" y="686"/>
                  <a:pt x="173" y="685"/>
                </a:cubicBezTo>
                <a:cubicBezTo>
                  <a:pt x="173" y="663"/>
                  <a:pt x="173" y="663"/>
                  <a:pt x="173" y="663"/>
                </a:cubicBezTo>
                <a:cubicBezTo>
                  <a:pt x="173" y="567"/>
                  <a:pt x="251" y="490"/>
                  <a:pt x="347" y="489"/>
                </a:cubicBezTo>
                <a:cubicBezTo>
                  <a:pt x="669" y="489"/>
                  <a:pt x="669" y="489"/>
                  <a:pt x="669" y="489"/>
                </a:cubicBezTo>
                <a:cubicBezTo>
                  <a:pt x="669" y="526"/>
                  <a:pt x="669" y="526"/>
                  <a:pt x="669" y="526"/>
                </a:cubicBezTo>
                <a:cubicBezTo>
                  <a:pt x="669" y="535"/>
                  <a:pt x="676" y="542"/>
                  <a:pt x="685" y="542"/>
                </a:cubicBezTo>
                <a:cubicBezTo>
                  <a:pt x="775" y="542"/>
                  <a:pt x="775" y="542"/>
                  <a:pt x="775" y="542"/>
                </a:cubicBezTo>
                <a:cubicBezTo>
                  <a:pt x="783" y="542"/>
                  <a:pt x="791" y="535"/>
                  <a:pt x="791" y="526"/>
                </a:cubicBezTo>
                <a:cubicBezTo>
                  <a:pt x="791" y="489"/>
                  <a:pt x="791" y="489"/>
                  <a:pt x="791" y="489"/>
                </a:cubicBezTo>
                <a:cubicBezTo>
                  <a:pt x="816" y="489"/>
                  <a:pt x="816" y="489"/>
                  <a:pt x="816" y="489"/>
                </a:cubicBezTo>
                <a:cubicBezTo>
                  <a:pt x="816" y="331"/>
                  <a:pt x="816" y="331"/>
                  <a:pt x="816" y="331"/>
                </a:cubicBezTo>
                <a:cubicBezTo>
                  <a:pt x="791" y="331"/>
                  <a:pt x="791" y="331"/>
                  <a:pt x="791" y="331"/>
                </a:cubicBezTo>
                <a:lnTo>
                  <a:pt x="791" y="298"/>
                </a:lnTo>
                <a:close/>
                <a:moveTo>
                  <a:pt x="874" y="331"/>
                </a:moveTo>
                <a:cubicBezTo>
                  <a:pt x="874" y="489"/>
                  <a:pt x="874" y="489"/>
                  <a:pt x="874" y="489"/>
                </a:cubicBezTo>
                <a:cubicBezTo>
                  <a:pt x="897" y="489"/>
                  <a:pt x="897" y="489"/>
                  <a:pt x="897" y="489"/>
                </a:cubicBezTo>
                <a:cubicBezTo>
                  <a:pt x="897" y="331"/>
                  <a:pt x="897" y="331"/>
                  <a:pt x="897" y="331"/>
                </a:cubicBezTo>
                <a:lnTo>
                  <a:pt x="874" y="331"/>
                </a:lnTo>
                <a:close/>
                <a:moveTo>
                  <a:pt x="833" y="489"/>
                </a:moveTo>
                <a:cubicBezTo>
                  <a:pt x="857" y="489"/>
                  <a:pt x="857" y="489"/>
                  <a:pt x="857" y="489"/>
                </a:cubicBezTo>
                <a:cubicBezTo>
                  <a:pt x="857" y="331"/>
                  <a:pt x="857" y="331"/>
                  <a:pt x="857" y="331"/>
                </a:cubicBezTo>
                <a:cubicBezTo>
                  <a:pt x="833" y="331"/>
                  <a:pt x="833" y="331"/>
                  <a:pt x="833" y="331"/>
                </a:cubicBezTo>
                <a:lnTo>
                  <a:pt x="833" y="489"/>
                </a:lnTo>
                <a:close/>
              </a:path>
            </a:pathLst>
          </a:custGeom>
          <a:solidFill>
            <a:schemeClr val="tx1">
              <a:lumMod val="60000"/>
              <a:lumOff val="40000"/>
            </a:schemeClr>
          </a:solidFill>
          <a:ln>
            <a:noFill/>
          </a:ln>
        </p:spPr>
        <p:txBody>
          <a:bodyPr/>
          <a:lstStyle/>
          <a:p>
            <a:endParaRPr lang="en-US"/>
          </a:p>
        </p:txBody>
      </p:sp>
      <p:sp>
        <p:nvSpPr>
          <p:cNvPr id="36" name="Oval 4"/>
          <p:cNvSpPr>
            <a:spLocks noChangeArrowheads="1"/>
          </p:cNvSpPr>
          <p:nvPr/>
        </p:nvSpPr>
        <p:spPr bwMode="gray">
          <a:xfrm>
            <a:off x="3733791" y="5605333"/>
            <a:ext cx="306388" cy="306387"/>
          </a:xfrm>
          <a:prstGeom prst="ellipse">
            <a:avLst/>
          </a:prstGeom>
          <a:solidFill>
            <a:srgbClr val="FFFFFF"/>
          </a:solidFill>
          <a:ln w="9525">
            <a:solidFill>
              <a:schemeClr val="tx1">
                <a:lumMod val="75000"/>
              </a:schemeClr>
            </a:solidFill>
            <a:round/>
            <a:headEnd/>
            <a:tailEnd/>
          </a:ln>
        </p:spPr>
        <p:txBody>
          <a:bodyPr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37" name="Oval 5"/>
          <p:cNvSpPr>
            <a:spLocks noChangeArrowheads="1"/>
          </p:cNvSpPr>
          <p:nvPr/>
        </p:nvSpPr>
        <p:spPr bwMode="gray">
          <a:xfrm>
            <a:off x="5564180" y="5605333"/>
            <a:ext cx="306387" cy="306387"/>
          </a:xfrm>
          <a:prstGeom prst="ellipse">
            <a:avLst/>
          </a:prstGeom>
          <a:solidFill>
            <a:schemeClr val="tx1">
              <a:lumMod val="75000"/>
            </a:schemeClr>
          </a:solidFill>
          <a:ln w="9525">
            <a:solidFill>
              <a:schemeClr val="tx1">
                <a:lumMod val="75000"/>
              </a:schemeClr>
            </a:solidFill>
            <a:round/>
            <a:headEnd/>
            <a:tailEnd/>
          </a:ln>
        </p:spPr>
        <p:txBody>
          <a:bodyPr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38" name="Oval 7"/>
          <p:cNvSpPr>
            <a:spLocks noChangeArrowheads="1"/>
          </p:cNvSpPr>
          <p:nvPr/>
        </p:nvSpPr>
        <p:spPr bwMode="gray">
          <a:xfrm>
            <a:off x="4190991" y="5605331"/>
            <a:ext cx="306388" cy="306388"/>
          </a:xfrm>
          <a:prstGeom prst="ellipse">
            <a:avLst/>
          </a:prstGeom>
          <a:solidFill>
            <a:srgbClr val="FFFFFF"/>
          </a:solidFill>
          <a:ln w="9525" algn="ctr">
            <a:solidFill>
              <a:schemeClr val="tx1">
                <a:lumMod val="75000"/>
              </a:schemeClr>
            </a:solidFill>
            <a:round/>
            <a:headEnd/>
            <a:tailEnd/>
          </a:ln>
        </p:spPr>
        <p:txBody>
          <a:bodyPr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39" name="Arc 8"/>
          <p:cNvSpPr>
            <a:spLocks/>
          </p:cNvSpPr>
          <p:nvPr/>
        </p:nvSpPr>
        <p:spPr bwMode="gray">
          <a:xfrm>
            <a:off x="4344979" y="5605331"/>
            <a:ext cx="152400" cy="15240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1">
              <a:lumMod val="75000"/>
            </a:schemeClr>
          </a:solidFill>
          <a:ln w="9525">
            <a:solidFill>
              <a:schemeClr val="tx1">
                <a:lumMod val="75000"/>
              </a:schemeClr>
            </a:solidFill>
            <a:round/>
            <a:headEnd/>
            <a:tailEnd/>
          </a:ln>
        </p:spPr>
        <p:txBody>
          <a:bodyPr wrap="none" anchor="ctr"/>
          <a:lstStyle/>
          <a:p>
            <a:endParaRPr lang="en-GB">
              <a:latin typeface="Arial" panose="020B0604020202020204" pitchFamily="34" charset="0"/>
              <a:cs typeface="Arial" panose="020B0604020202020204" pitchFamily="34" charset="0"/>
            </a:endParaRPr>
          </a:p>
        </p:txBody>
      </p:sp>
      <p:sp>
        <p:nvSpPr>
          <p:cNvPr id="40" name="Oval 10"/>
          <p:cNvSpPr>
            <a:spLocks noChangeArrowheads="1"/>
          </p:cNvSpPr>
          <p:nvPr/>
        </p:nvSpPr>
        <p:spPr bwMode="gray">
          <a:xfrm>
            <a:off x="4648191" y="5605331"/>
            <a:ext cx="306388" cy="306388"/>
          </a:xfrm>
          <a:prstGeom prst="ellipse">
            <a:avLst/>
          </a:prstGeom>
          <a:solidFill>
            <a:srgbClr val="FFFFFF"/>
          </a:solidFill>
          <a:ln w="9525" algn="ctr">
            <a:solidFill>
              <a:schemeClr val="tx1">
                <a:lumMod val="75000"/>
              </a:schemeClr>
            </a:solidFill>
            <a:round/>
            <a:headEnd/>
            <a:tailEnd/>
          </a:ln>
        </p:spPr>
        <p:txBody>
          <a:bodyPr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41" name="Arc 11"/>
          <p:cNvSpPr>
            <a:spLocks/>
          </p:cNvSpPr>
          <p:nvPr/>
        </p:nvSpPr>
        <p:spPr bwMode="gray">
          <a:xfrm>
            <a:off x="4802179" y="5605331"/>
            <a:ext cx="152400" cy="304800"/>
          </a:xfrm>
          <a:custGeom>
            <a:avLst/>
            <a:gdLst>
              <a:gd name="T0" fmla="*/ 0 w 21600"/>
              <a:gd name="T1" fmla="*/ 0 h 43200"/>
              <a:gd name="T2" fmla="*/ 0 w 21600"/>
              <a:gd name="T3" fmla="*/ 1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chemeClr val="tx1">
              <a:lumMod val="75000"/>
            </a:schemeClr>
          </a:solidFill>
          <a:ln w="9525">
            <a:solidFill>
              <a:schemeClr val="tx1">
                <a:lumMod val="75000"/>
              </a:schemeClr>
            </a:solidFill>
            <a:round/>
            <a:headEnd/>
            <a:tailEnd/>
          </a:ln>
        </p:spPr>
        <p:txBody>
          <a:bodyPr wrap="none" anchor="ctr"/>
          <a:lstStyle/>
          <a:p>
            <a:endParaRPr lang="en-GB">
              <a:latin typeface="Arial" panose="020B0604020202020204" pitchFamily="34" charset="0"/>
              <a:cs typeface="Arial" panose="020B0604020202020204" pitchFamily="34" charset="0"/>
            </a:endParaRPr>
          </a:p>
        </p:txBody>
      </p:sp>
      <p:sp>
        <p:nvSpPr>
          <p:cNvPr id="42" name="Oval 13"/>
          <p:cNvSpPr>
            <a:spLocks noChangeArrowheads="1"/>
          </p:cNvSpPr>
          <p:nvPr/>
        </p:nvSpPr>
        <p:spPr bwMode="gray">
          <a:xfrm>
            <a:off x="5105391" y="5605331"/>
            <a:ext cx="306388" cy="306388"/>
          </a:xfrm>
          <a:prstGeom prst="ellipse">
            <a:avLst/>
          </a:prstGeom>
          <a:solidFill>
            <a:srgbClr val="FFFFFF"/>
          </a:solidFill>
          <a:ln w="9525" algn="ctr">
            <a:solidFill>
              <a:schemeClr val="tx1">
                <a:lumMod val="75000"/>
              </a:schemeClr>
            </a:solidFill>
            <a:round/>
            <a:headEnd/>
            <a:tailEnd/>
          </a:ln>
        </p:spPr>
        <p:txBody>
          <a:bodyPr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43" name="Arc 14"/>
          <p:cNvSpPr>
            <a:spLocks/>
          </p:cNvSpPr>
          <p:nvPr/>
        </p:nvSpPr>
        <p:spPr bwMode="gray">
          <a:xfrm>
            <a:off x="5106979" y="5605331"/>
            <a:ext cx="304800" cy="30480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chemeClr val="tx1">
              <a:lumMod val="75000"/>
            </a:schemeClr>
          </a:solidFill>
          <a:ln w="9525">
            <a:solidFill>
              <a:schemeClr val="tx1">
                <a:lumMod val="75000"/>
              </a:schemeClr>
            </a:solidFill>
            <a:round/>
            <a:headEnd/>
            <a:tailEnd/>
          </a:ln>
        </p:spPr>
        <p:txBody>
          <a:bodyPr wrap="none" anchor="ctr"/>
          <a:lstStyle/>
          <a:p>
            <a:endParaRPr lang="en-GB">
              <a:latin typeface="Arial" panose="020B0604020202020204" pitchFamily="34" charset="0"/>
              <a:cs typeface="Arial" panose="020B0604020202020204" pitchFamily="34" charset="0"/>
            </a:endParaRPr>
          </a:p>
        </p:txBody>
      </p:sp>
      <p:sp>
        <p:nvSpPr>
          <p:cNvPr id="44" name="Oval 16"/>
          <p:cNvSpPr>
            <a:spLocks noChangeArrowheads="1"/>
          </p:cNvSpPr>
          <p:nvPr/>
        </p:nvSpPr>
        <p:spPr bwMode="gray">
          <a:xfrm rot="5400000">
            <a:off x="6117890" y="5603744"/>
            <a:ext cx="306388" cy="306388"/>
          </a:xfrm>
          <a:prstGeom prst="ellipse">
            <a:avLst/>
          </a:prstGeom>
          <a:solidFill>
            <a:srgbClr val="FFFFFF"/>
          </a:solidFill>
          <a:ln w="9525" algn="ctr">
            <a:solidFill>
              <a:schemeClr val="tx1">
                <a:lumMod val="75000"/>
              </a:schemeClr>
            </a:solidFill>
            <a:round/>
            <a:headEnd/>
            <a:tailEnd/>
          </a:ln>
        </p:spPr>
        <p:txBody>
          <a:bodyPr rot="10800000" vert="eaVert"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45" name="Arc 17"/>
          <p:cNvSpPr>
            <a:spLocks/>
          </p:cNvSpPr>
          <p:nvPr/>
        </p:nvSpPr>
        <p:spPr bwMode="gray">
          <a:xfrm rot="5400000">
            <a:off x="6273465" y="5757732"/>
            <a:ext cx="152400" cy="15240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1">
              <a:lumMod val="75000"/>
            </a:schemeClr>
          </a:solidFill>
          <a:ln w="9525">
            <a:solidFill>
              <a:schemeClr val="tx1">
                <a:lumMod val="75000"/>
              </a:schemeClr>
            </a:solidFill>
            <a:round/>
            <a:headEnd/>
            <a:tailEnd/>
          </a:ln>
        </p:spPr>
        <p:txBody>
          <a:bodyPr rot="10800000" vert="eaVert" wrap="none" anchor="ctr"/>
          <a:lstStyle/>
          <a:p>
            <a:endParaRPr lang="en-GB">
              <a:latin typeface="Arial" panose="020B0604020202020204" pitchFamily="34" charset="0"/>
              <a:cs typeface="Arial" panose="020B0604020202020204" pitchFamily="34" charset="0"/>
            </a:endParaRPr>
          </a:p>
        </p:txBody>
      </p:sp>
      <p:sp>
        <p:nvSpPr>
          <p:cNvPr id="46" name="Oval 19"/>
          <p:cNvSpPr>
            <a:spLocks noChangeArrowheads="1"/>
          </p:cNvSpPr>
          <p:nvPr/>
        </p:nvSpPr>
        <p:spPr bwMode="gray">
          <a:xfrm rot="10800000">
            <a:off x="6575090" y="5602157"/>
            <a:ext cx="306388" cy="306388"/>
          </a:xfrm>
          <a:prstGeom prst="ellipse">
            <a:avLst/>
          </a:prstGeom>
          <a:solidFill>
            <a:srgbClr val="FFFFFF"/>
          </a:solidFill>
          <a:ln w="9525" algn="ctr">
            <a:solidFill>
              <a:schemeClr val="tx1">
                <a:lumMod val="75000"/>
              </a:schemeClr>
            </a:solidFill>
            <a:round/>
            <a:headEnd/>
            <a:tailEnd/>
          </a:ln>
        </p:spPr>
        <p:txBody>
          <a:bodyPr rot="10800000"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47" name="Arc 20"/>
          <p:cNvSpPr>
            <a:spLocks/>
          </p:cNvSpPr>
          <p:nvPr/>
        </p:nvSpPr>
        <p:spPr bwMode="gray">
          <a:xfrm rot="10800000">
            <a:off x="6576678" y="5757732"/>
            <a:ext cx="152400" cy="15240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1">
              <a:lumMod val="75000"/>
            </a:schemeClr>
          </a:solidFill>
          <a:ln w="9525">
            <a:solidFill>
              <a:schemeClr val="tx1">
                <a:lumMod val="75000"/>
              </a:schemeClr>
            </a:solidFill>
            <a:round/>
            <a:headEnd/>
            <a:tailEnd/>
          </a:ln>
        </p:spPr>
        <p:txBody>
          <a:bodyPr rot="10800000" wrap="none" anchor="ctr"/>
          <a:lstStyle/>
          <a:p>
            <a:endParaRPr lang="en-GB">
              <a:latin typeface="Arial" panose="020B0604020202020204" pitchFamily="34" charset="0"/>
              <a:cs typeface="Arial" panose="020B0604020202020204" pitchFamily="34" charset="0"/>
            </a:endParaRPr>
          </a:p>
        </p:txBody>
      </p:sp>
      <p:sp>
        <p:nvSpPr>
          <p:cNvPr id="48" name="Oval 22"/>
          <p:cNvSpPr>
            <a:spLocks noChangeArrowheads="1"/>
          </p:cNvSpPr>
          <p:nvPr/>
        </p:nvSpPr>
        <p:spPr bwMode="gray">
          <a:xfrm rot="16200000">
            <a:off x="7032290" y="5603744"/>
            <a:ext cx="306388" cy="306388"/>
          </a:xfrm>
          <a:prstGeom prst="ellipse">
            <a:avLst/>
          </a:prstGeom>
          <a:solidFill>
            <a:srgbClr val="FFFFFF"/>
          </a:solidFill>
          <a:ln w="9525" algn="ctr">
            <a:solidFill>
              <a:schemeClr val="tx1">
                <a:lumMod val="75000"/>
              </a:schemeClr>
            </a:solidFill>
            <a:round/>
            <a:headEnd/>
            <a:tailEnd/>
          </a:ln>
        </p:spPr>
        <p:txBody>
          <a:bodyPr vert="eaVert"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49" name="Arc 23"/>
          <p:cNvSpPr>
            <a:spLocks/>
          </p:cNvSpPr>
          <p:nvPr/>
        </p:nvSpPr>
        <p:spPr bwMode="gray">
          <a:xfrm rot="16200000">
            <a:off x="7032290" y="5605332"/>
            <a:ext cx="152400" cy="15240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1">
              <a:lumMod val="75000"/>
            </a:schemeClr>
          </a:solidFill>
          <a:ln w="9525">
            <a:solidFill>
              <a:schemeClr val="tx1">
                <a:lumMod val="75000"/>
              </a:schemeClr>
            </a:solidFill>
            <a:round/>
            <a:headEnd/>
            <a:tailEnd/>
          </a:ln>
        </p:spPr>
        <p:txBody>
          <a:bodyPr vert="eaVert" wrap="none" anchor="ctr"/>
          <a:lstStyle/>
          <a:p>
            <a:endParaRPr lang="en-GB">
              <a:latin typeface="Arial" panose="020B0604020202020204" pitchFamily="34" charset="0"/>
              <a:cs typeface="Arial" panose="020B0604020202020204" pitchFamily="34" charset="0"/>
            </a:endParaRPr>
          </a:p>
        </p:txBody>
      </p:sp>
      <p:sp>
        <p:nvSpPr>
          <p:cNvPr id="50" name="Oval 25"/>
          <p:cNvSpPr>
            <a:spLocks noChangeArrowheads="1"/>
          </p:cNvSpPr>
          <p:nvPr/>
        </p:nvSpPr>
        <p:spPr bwMode="gray">
          <a:xfrm rot="5400000">
            <a:off x="7489490" y="5603744"/>
            <a:ext cx="306388" cy="306388"/>
          </a:xfrm>
          <a:prstGeom prst="ellipse">
            <a:avLst/>
          </a:prstGeom>
          <a:solidFill>
            <a:srgbClr val="FFFFFF"/>
          </a:solidFill>
          <a:ln w="9525" algn="ctr">
            <a:solidFill>
              <a:schemeClr val="tx1">
                <a:lumMod val="75000"/>
              </a:schemeClr>
            </a:solidFill>
            <a:round/>
            <a:headEnd/>
            <a:tailEnd/>
          </a:ln>
        </p:spPr>
        <p:txBody>
          <a:bodyPr rot="10800000" vert="eaVert"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51" name="Arc 26"/>
          <p:cNvSpPr>
            <a:spLocks/>
          </p:cNvSpPr>
          <p:nvPr/>
        </p:nvSpPr>
        <p:spPr bwMode="gray">
          <a:xfrm rot="5400000">
            <a:off x="7568865" y="5681532"/>
            <a:ext cx="152400" cy="304800"/>
          </a:xfrm>
          <a:custGeom>
            <a:avLst/>
            <a:gdLst>
              <a:gd name="T0" fmla="*/ 0 w 21600"/>
              <a:gd name="T1" fmla="*/ 0 h 43200"/>
              <a:gd name="T2" fmla="*/ 0 w 21600"/>
              <a:gd name="T3" fmla="*/ 1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chemeClr val="tx1">
              <a:lumMod val="75000"/>
            </a:schemeClr>
          </a:solidFill>
          <a:ln w="9525">
            <a:solidFill>
              <a:schemeClr val="tx1">
                <a:lumMod val="75000"/>
              </a:schemeClr>
            </a:solidFill>
            <a:round/>
            <a:headEnd/>
            <a:tailEnd/>
          </a:ln>
        </p:spPr>
        <p:txBody>
          <a:bodyPr rot="10800000" vert="eaVert" wrap="none" anchor="ctr"/>
          <a:lstStyle/>
          <a:p>
            <a:endParaRPr lang="en-GB">
              <a:latin typeface="Arial" panose="020B0604020202020204" pitchFamily="34" charset="0"/>
              <a:cs typeface="Arial" panose="020B0604020202020204" pitchFamily="34" charset="0"/>
            </a:endParaRPr>
          </a:p>
        </p:txBody>
      </p:sp>
      <p:sp>
        <p:nvSpPr>
          <p:cNvPr id="52" name="Oval 28"/>
          <p:cNvSpPr>
            <a:spLocks noChangeArrowheads="1"/>
          </p:cNvSpPr>
          <p:nvPr/>
        </p:nvSpPr>
        <p:spPr bwMode="gray">
          <a:xfrm rot="10800000">
            <a:off x="7946690" y="5602157"/>
            <a:ext cx="306388" cy="306388"/>
          </a:xfrm>
          <a:prstGeom prst="ellipse">
            <a:avLst/>
          </a:prstGeom>
          <a:solidFill>
            <a:srgbClr val="FFFFFF"/>
          </a:solidFill>
          <a:ln w="9525" algn="ctr">
            <a:solidFill>
              <a:schemeClr val="tx1">
                <a:lumMod val="75000"/>
              </a:schemeClr>
            </a:solidFill>
            <a:round/>
            <a:headEnd/>
            <a:tailEnd/>
          </a:ln>
        </p:spPr>
        <p:txBody>
          <a:bodyPr rot="10800000"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53" name="Arc 29"/>
          <p:cNvSpPr>
            <a:spLocks/>
          </p:cNvSpPr>
          <p:nvPr/>
        </p:nvSpPr>
        <p:spPr bwMode="gray">
          <a:xfrm rot="10800000">
            <a:off x="7948278" y="5605332"/>
            <a:ext cx="152400" cy="304800"/>
          </a:xfrm>
          <a:custGeom>
            <a:avLst/>
            <a:gdLst>
              <a:gd name="T0" fmla="*/ 0 w 21600"/>
              <a:gd name="T1" fmla="*/ 0 h 43200"/>
              <a:gd name="T2" fmla="*/ 0 w 21600"/>
              <a:gd name="T3" fmla="*/ 1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chemeClr val="tx1">
              <a:lumMod val="75000"/>
            </a:schemeClr>
          </a:solidFill>
          <a:ln w="9525">
            <a:solidFill>
              <a:schemeClr val="tx1">
                <a:lumMod val="75000"/>
              </a:schemeClr>
            </a:solidFill>
            <a:round/>
            <a:headEnd/>
            <a:tailEnd/>
          </a:ln>
        </p:spPr>
        <p:txBody>
          <a:bodyPr rot="10800000" wrap="none" anchor="ctr"/>
          <a:lstStyle/>
          <a:p>
            <a:endParaRPr lang="en-GB">
              <a:latin typeface="Arial" panose="020B0604020202020204" pitchFamily="34" charset="0"/>
              <a:cs typeface="Arial" panose="020B0604020202020204" pitchFamily="34" charset="0"/>
            </a:endParaRPr>
          </a:p>
        </p:txBody>
      </p:sp>
      <p:sp>
        <p:nvSpPr>
          <p:cNvPr id="54" name="Oval 31"/>
          <p:cNvSpPr>
            <a:spLocks noChangeArrowheads="1"/>
          </p:cNvSpPr>
          <p:nvPr/>
        </p:nvSpPr>
        <p:spPr bwMode="gray">
          <a:xfrm rot="16200000">
            <a:off x="8403890" y="5603744"/>
            <a:ext cx="306388" cy="306388"/>
          </a:xfrm>
          <a:prstGeom prst="ellipse">
            <a:avLst/>
          </a:prstGeom>
          <a:solidFill>
            <a:srgbClr val="FFFFFF"/>
          </a:solidFill>
          <a:ln w="9525" algn="ctr">
            <a:solidFill>
              <a:schemeClr val="tx1">
                <a:lumMod val="75000"/>
              </a:schemeClr>
            </a:solidFill>
            <a:round/>
            <a:headEnd/>
            <a:tailEnd/>
          </a:ln>
        </p:spPr>
        <p:txBody>
          <a:bodyPr vert="eaVert"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55" name="Arc 32"/>
          <p:cNvSpPr>
            <a:spLocks/>
          </p:cNvSpPr>
          <p:nvPr/>
        </p:nvSpPr>
        <p:spPr bwMode="gray">
          <a:xfrm rot="16200000">
            <a:off x="8480090" y="5529131"/>
            <a:ext cx="152400" cy="304800"/>
          </a:xfrm>
          <a:custGeom>
            <a:avLst/>
            <a:gdLst>
              <a:gd name="T0" fmla="*/ 0 w 21600"/>
              <a:gd name="T1" fmla="*/ 0 h 43200"/>
              <a:gd name="T2" fmla="*/ 0 w 21600"/>
              <a:gd name="T3" fmla="*/ 1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chemeClr val="tx1">
              <a:lumMod val="75000"/>
            </a:schemeClr>
          </a:solidFill>
          <a:ln w="9525">
            <a:solidFill>
              <a:schemeClr val="tx1">
                <a:lumMod val="75000"/>
              </a:schemeClr>
            </a:solidFill>
            <a:round/>
            <a:headEnd/>
            <a:tailEnd/>
          </a:ln>
        </p:spPr>
        <p:txBody>
          <a:bodyPr vert="eaVert" wrap="none" anchor="ctr"/>
          <a:lstStyle/>
          <a:p>
            <a:endParaRPr lang="en-GB">
              <a:latin typeface="Arial" panose="020B0604020202020204" pitchFamily="34" charset="0"/>
              <a:cs typeface="Arial" panose="020B0604020202020204" pitchFamily="34" charset="0"/>
            </a:endParaRPr>
          </a:p>
        </p:txBody>
      </p:sp>
      <p:sp>
        <p:nvSpPr>
          <p:cNvPr id="56" name="Oval 34"/>
          <p:cNvSpPr>
            <a:spLocks noChangeArrowheads="1"/>
          </p:cNvSpPr>
          <p:nvPr/>
        </p:nvSpPr>
        <p:spPr bwMode="gray">
          <a:xfrm rot="5400000">
            <a:off x="8861090" y="5603744"/>
            <a:ext cx="306388" cy="306388"/>
          </a:xfrm>
          <a:prstGeom prst="ellipse">
            <a:avLst/>
          </a:prstGeom>
          <a:solidFill>
            <a:srgbClr val="FFFFFF"/>
          </a:solidFill>
          <a:ln w="9525" algn="ctr">
            <a:solidFill>
              <a:schemeClr val="tx1">
                <a:lumMod val="75000"/>
              </a:schemeClr>
            </a:solidFill>
            <a:round/>
            <a:headEnd/>
            <a:tailEnd/>
          </a:ln>
        </p:spPr>
        <p:txBody>
          <a:bodyPr rot="10800000" vert="eaVert"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57" name="Arc 35"/>
          <p:cNvSpPr>
            <a:spLocks/>
          </p:cNvSpPr>
          <p:nvPr/>
        </p:nvSpPr>
        <p:spPr bwMode="gray">
          <a:xfrm rot="5400000">
            <a:off x="8864265" y="5605332"/>
            <a:ext cx="304800" cy="30480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chemeClr val="tx1">
              <a:lumMod val="75000"/>
            </a:schemeClr>
          </a:solidFill>
          <a:ln w="9525">
            <a:solidFill>
              <a:schemeClr val="tx1">
                <a:lumMod val="75000"/>
              </a:schemeClr>
            </a:solidFill>
            <a:round/>
            <a:headEnd/>
            <a:tailEnd/>
          </a:ln>
        </p:spPr>
        <p:txBody>
          <a:bodyPr rot="10800000" vert="eaVert" wrap="none" anchor="ctr"/>
          <a:lstStyle/>
          <a:p>
            <a:endParaRPr lang="en-GB">
              <a:latin typeface="Arial" panose="020B0604020202020204" pitchFamily="34" charset="0"/>
              <a:cs typeface="Arial" panose="020B0604020202020204" pitchFamily="34" charset="0"/>
            </a:endParaRPr>
          </a:p>
        </p:txBody>
      </p:sp>
      <p:sp>
        <p:nvSpPr>
          <p:cNvPr id="58" name="Oval 37"/>
          <p:cNvSpPr>
            <a:spLocks noChangeArrowheads="1"/>
          </p:cNvSpPr>
          <p:nvPr/>
        </p:nvSpPr>
        <p:spPr bwMode="gray">
          <a:xfrm rot="10800000">
            <a:off x="9318290" y="5602157"/>
            <a:ext cx="306388" cy="306388"/>
          </a:xfrm>
          <a:prstGeom prst="ellipse">
            <a:avLst/>
          </a:prstGeom>
          <a:solidFill>
            <a:srgbClr val="FFFFFF"/>
          </a:solidFill>
          <a:ln w="9525" algn="ctr">
            <a:solidFill>
              <a:schemeClr val="tx1">
                <a:lumMod val="75000"/>
              </a:schemeClr>
            </a:solidFill>
            <a:round/>
            <a:headEnd/>
            <a:tailEnd/>
          </a:ln>
        </p:spPr>
        <p:txBody>
          <a:bodyPr rot="10800000"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59" name="Arc 38"/>
          <p:cNvSpPr>
            <a:spLocks/>
          </p:cNvSpPr>
          <p:nvPr/>
        </p:nvSpPr>
        <p:spPr bwMode="gray">
          <a:xfrm rot="10800000">
            <a:off x="9319878" y="5605332"/>
            <a:ext cx="304800" cy="30480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chemeClr val="tx1">
              <a:lumMod val="75000"/>
            </a:schemeClr>
          </a:solidFill>
          <a:ln w="9525">
            <a:solidFill>
              <a:schemeClr val="tx1">
                <a:lumMod val="75000"/>
              </a:schemeClr>
            </a:solidFill>
            <a:round/>
            <a:headEnd/>
            <a:tailEnd/>
          </a:ln>
        </p:spPr>
        <p:txBody>
          <a:bodyPr rot="10800000" wrap="none" anchor="ctr"/>
          <a:lstStyle/>
          <a:p>
            <a:endParaRPr lang="en-GB">
              <a:latin typeface="Arial" panose="020B0604020202020204" pitchFamily="34" charset="0"/>
              <a:cs typeface="Arial" panose="020B0604020202020204" pitchFamily="34" charset="0"/>
            </a:endParaRPr>
          </a:p>
        </p:txBody>
      </p:sp>
      <p:sp>
        <p:nvSpPr>
          <p:cNvPr id="60" name="Oval 40"/>
          <p:cNvSpPr>
            <a:spLocks noChangeArrowheads="1"/>
          </p:cNvSpPr>
          <p:nvPr/>
        </p:nvSpPr>
        <p:spPr bwMode="gray">
          <a:xfrm rot="16200000">
            <a:off x="9775490" y="5603744"/>
            <a:ext cx="306388" cy="306388"/>
          </a:xfrm>
          <a:prstGeom prst="ellipse">
            <a:avLst/>
          </a:prstGeom>
          <a:solidFill>
            <a:srgbClr val="FFFFFF"/>
          </a:solidFill>
          <a:ln w="9525" algn="ctr">
            <a:solidFill>
              <a:schemeClr val="tx1">
                <a:lumMod val="75000"/>
              </a:schemeClr>
            </a:solidFill>
            <a:round/>
            <a:headEnd/>
            <a:tailEnd/>
          </a:ln>
        </p:spPr>
        <p:txBody>
          <a:bodyPr vert="eaVert" wrap="none" anchor="ct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algn="ctr" eaLnBrk="0" fontAlgn="base" hangingPunct="0">
              <a:spcBef>
                <a:spcPct val="0"/>
              </a:spcBef>
              <a:spcAft>
                <a:spcPct val="0"/>
              </a:spcAft>
              <a:defRPr sz="1400" b="1">
                <a:solidFill>
                  <a:schemeClr val="tx1"/>
                </a:solidFill>
                <a:latin typeface="Arial" charset="0"/>
                <a:cs typeface="Arial" charset="0"/>
              </a:defRPr>
            </a:lvl6pPr>
            <a:lvl7pPr marL="2971800" indent="-228600" algn="ctr" eaLnBrk="0" fontAlgn="base" hangingPunct="0">
              <a:spcBef>
                <a:spcPct val="0"/>
              </a:spcBef>
              <a:spcAft>
                <a:spcPct val="0"/>
              </a:spcAft>
              <a:defRPr sz="1400" b="1">
                <a:solidFill>
                  <a:schemeClr val="tx1"/>
                </a:solidFill>
                <a:latin typeface="Arial" charset="0"/>
                <a:cs typeface="Arial" charset="0"/>
              </a:defRPr>
            </a:lvl7pPr>
            <a:lvl8pPr marL="3429000" indent="-228600" algn="ctr" eaLnBrk="0" fontAlgn="base" hangingPunct="0">
              <a:spcBef>
                <a:spcPct val="0"/>
              </a:spcBef>
              <a:spcAft>
                <a:spcPct val="0"/>
              </a:spcAft>
              <a:defRPr sz="1400" b="1">
                <a:solidFill>
                  <a:schemeClr val="tx1"/>
                </a:solidFill>
                <a:latin typeface="Arial" charset="0"/>
                <a:cs typeface="Arial" charset="0"/>
              </a:defRPr>
            </a:lvl8pPr>
            <a:lvl9pPr marL="3886200" indent="-228600" algn="ctr"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lang="nl-NL" altLang="en-US" sz="1600">
              <a:latin typeface="Arial" panose="020B0604020202020204" pitchFamily="34" charset="0"/>
              <a:cs typeface="Arial" panose="020B0604020202020204" pitchFamily="34" charset="0"/>
            </a:endParaRPr>
          </a:p>
        </p:txBody>
      </p:sp>
      <p:sp>
        <p:nvSpPr>
          <p:cNvPr id="61" name="Arc 41"/>
          <p:cNvSpPr>
            <a:spLocks/>
          </p:cNvSpPr>
          <p:nvPr/>
        </p:nvSpPr>
        <p:spPr bwMode="gray">
          <a:xfrm rot="16200000">
            <a:off x="9775490" y="5605332"/>
            <a:ext cx="304800" cy="30480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chemeClr val="tx1">
              <a:lumMod val="75000"/>
            </a:schemeClr>
          </a:solidFill>
          <a:ln w="9525">
            <a:solidFill>
              <a:schemeClr val="tx1">
                <a:lumMod val="75000"/>
              </a:schemeClr>
            </a:solidFill>
            <a:round/>
            <a:headEnd/>
            <a:tailEnd/>
          </a:ln>
        </p:spPr>
        <p:txBody>
          <a:bodyPr vert="eaVert" wrap="none" anchor="ctr"/>
          <a:lstStyle/>
          <a:p>
            <a:endParaRPr lang="en-GB">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36565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BA0DF6-B7D9-5D6C-9AB3-204324444F62}"/>
              </a:ext>
            </a:extLst>
          </p:cNvPr>
          <p:cNvSpPr>
            <a:spLocks noGrp="1"/>
          </p:cNvSpPr>
          <p:nvPr>
            <p:ph type="ctrTitle"/>
          </p:nvPr>
        </p:nvSpPr>
        <p:spPr/>
        <p:txBody>
          <a:bodyPr/>
          <a:lstStyle/>
          <a:p>
            <a:endParaRPr lang="en-US"/>
          </a:p>
        </p:txBody>
      </p:sp>
      <p:sp>
        <p:nvSpPr>
          <p:cNvPr id="5" name="Subtitle 4">
            <a:extLst>
              <a:ext uri="{FF2B5EF4-FFF2-40B4-BE49-F238E27FC236}">
                <a16:creationId xmlns:a16="http://schemas.microsoft.com/office/drawing/2014/main" id="{82243761-9BA4-30C3-6917-598A8C4EA68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7111696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5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3.36307119301933488131E+00&quot;&gt;&lt;m_msothmcolidx val=&quot;0&quot;/&gt;&lt;m_rgb r=&quot;F5&quot; g=&quot;E9&quot; b=&quot;CC&quot;/&gt;&lt;m_nBrightness tagver0=&quot;26206&quot; tagname0=&quot;m_nBrightnessUNRECOGNIZED&quot; val=&quot;0&quot;/&gt;&lt;/elem&gt;&lt;elem m_fUsage=&quot;2.95811394226064994228E+00&quot;&gt;&lt;m_msothmcolidx val=&quot;0&quot;/&gt;&lt;m_rgb r=&quot;FF&quot; g=&quot;BD&quot; b=&quot;66&quot;/&gt;&lt;m_nBrightness tagver0=&quot;26206&quot; tagname0=&quot;m_nBrightnessUNRECOGNIZED&quot; val=&quot;0&quot;/&gt;&lt;/elem&gt;&lt;elem m_fUsage=&quot;2.21837769900000036927E+00&quot;&gt;&lt;m_msothmcolidx val=&quot;0&quot;/&gt;&lt;m_rgb r=&quot;AB&quot; g=&quot;83&quot; b=&quot;22&quot;/&gt;&lt;m_nBrightness tagver0=&quot;26206&quot; tagname0=&quot;m_nBrightnessUNRECOGNIZED&quot; val=&quot;0&quot;/&gt;&lt;/elem&gt;&lt;elem m_fUsage=&quot;9.61971159048068291675E-01&quot;&gt;&lt;m_msothmcolidx val=&quot;0&quot;/&gt;&lt;m_rgb r=&quot;B5&quot; g=&quot;7E&quot; b=&quot;57&quot;/&gt;&lt;m_nBrightness tagver0=&quot;26206&quot; tagname0=&quot;m_nBrightnessUNRECOGNIZED&quot; val=&quot;0&quot;/&gt;&lt;/elem&gt;&lt;elem m_fUsage=&quot;1.16945582195002853454E-01&quot;&gt;&lt;m_msothmcolidx val=&quot;0&quot;/&gt;&lt;m_rgb r=&quot;FF&quot; g=&quot;C0&quot; b=&quot;00&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6sd95h4CaWtoBQdlzIr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rROMw27gYY4pNLqgRyjY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8MFKs4QSC2sw.JxhLvJi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0eN8MH9nBD.DyC8_SpT7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JrvSoTezu0jtiGeN5u.3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BtO8POQfTLAKhnjBf.8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BOYwVi0QbWkR6wu22ig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8FqrefJRbiHD9sZF70vM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bVwVu0wSCKYmEleBhUpv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ykOILA9TUO4RKjS2GYn_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1zeVuFdUTUqfM6b8090oN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vjEbLCcWlpU9a1mkMlkow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aK2mB99HHTYzn6Ul4xw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PegwLIkeQ1GgAwiPIVPlP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th0r3KRsRduCXlTpXNKl7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MGa2XAPRhGQJb4tGRJMw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DMBKYrKuQsCn6bAvEcbZ5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mtkOKx8uEkBYlzNnhTrA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r.hJhE0hQG2NCcBh.eorN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iNUMiZaTUarzjldLUw37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C8cYYrsRyO_3y0.xZBId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7IafhL8RiSw8BwA_Om2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A6usCdIdRuuymtGAfzOd6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ChKp23bvQ3CaQ8x1QCSAx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ghBjbXxSUShv3btEGMM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Vu5j240sgQq0j2V_QD8s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8RPstXlFO1bPH8iTipuO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GapdTpzu0lNAHtxdF6T2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FgNxXMBYawEotRUUydO4b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xB30zqqkRHMOhEWwmWP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Gh3dOOu7SS7bSSAXrG10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CPD1QTbKpVf4FSXaUYfl2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JrzONNRuh6msQhx17Z6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2LpoBo3TR3aut0Qg3reXu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A6i8jjCSlqdW3nyRBe68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ATmxCqSTyeMd2MFkBalf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2rOGFGu5R8m4GEA17Gso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x014wvIQRyEiH2yNIea3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p7SE1ADT2OydMdwTb8V9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BPbqsRx4xGy9VflnnJj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gOM1IebG9Eb5Vjt92rv8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jEiNFZn_8Xz4OeBv5Vi4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TEhCT67MzkKfb4_Q0jZv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uwHcamXwBtohFvhlas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BOYwVi0QbWkR6wu22igK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bghBjbXxSUShv3btEGMM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7IafhL8RiSw8BwA_Om2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A6usCdIdRuuymtGAfzOd6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ChKp23bvQ3CaQ8x1QCSAx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dC8cYYrsRyO_3y0.xZBId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Vu5j240sgQq0j2V_QD8s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8RPstXlFO1bPH8iTipu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GapdTpzu0lNAHtxdF6T2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gNxXMBYawEotRUUydO4b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z.xB30zqqkRHMOhEWwmWP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CGh3dOOu7SS7bSSAXrG10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PD1QTbKpVf4FSXaUYfl2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JrzONNRuh6msQhx17Z6S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2LpoBo3TR3aut0Qg3reXu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IgOM1IebG9Eb5Vjt92rv8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BPbqsRx4xGy9VflnnJji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A6i8jjCSlqdW3nyRBe68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ATmxCqSTyeMd2MFkBalf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2rOGFGu5R8m4GEA17GsoC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jEiNFZn_8Xz4OeBv5Vi4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x014wvIQRyEiH2yNIea3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TEhCT67MzkKfb4_Q0jZvy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uwHcamXwBtohFvhlasdR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UCW6g4ANmeYB1khPdMe_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EBOYwVi0QbWkR6wu22igK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JnDdbJs8UKmp9h2kTvYg3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_j54S_J47_4QemvkaRE72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U0HvIiStfntRMJhLhs5w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7mAJDqE2CCbRwHyzppo5I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_V.DL_lxa623fooIN9dnd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lcOuaUe6TwUcnVUjpL8S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yH1FLxv3lGPDL89C42jg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C_kKNchgRVSLVthyc3dI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LGPJD95i312XtMGGxbU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Gkt2sia3p_5waBMrGE.z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d0fGZ1TSLnaQghLFi_8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1F3o5O82HADUtu6byg4X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t7RBbxnrcYyRg5Oyv_q6a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DcPT_mQbSpCWefuUXGwF7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dh5BfGKKYJkm_YQkdirt6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jVuVhbG7Z8vSx64R6y50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3CkRvvaYnrLwQoG8c5mY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wuFuhgKpRkLK.BqvxQVJ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vbtqC1rG964KPdJ3Zpkq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DfPMpvrw9JLUg.drVcn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wl4wcGhJ03uZg1ftKs5JA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d3nUcQkKN3hbOGiry2xin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zZ1codP5uAnIPjRPWfH0C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pcFCTd7zfpaBLqMGAFqAQ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x1OWfP1SqbbXX8fr32r5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DBuY8E_qsXaKERWSJp0lY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qP6MWt8XKDAMoRTqWKLG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GbYiK516iWdH1RSOpGPl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Q.ZdU224qqJbQLMa_Co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DG5brhgShfrEXNtBxsYa9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HH.zJgJ3UmSLtNrYqhoT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Y5ReqqY1qCr0ipmgdJBM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mS70lZKy89wa.4NVI16_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K1xeV9CQJlDBpZtF6qnaE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qflU9RPgGclerOC6CUwDe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K9vvlj.KggJqu2oa9v0wy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JQIMIjwH5Ntjt3w2CIluQ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jY_MYGhZRUWfsIMlNhuMf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t26qxkPIaDLY1hwpmNjM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MdbjMrmql0swCamAY6tY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ytQWLqKyqnAbng.vP5ejQ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sn2Y1JGpBLBz699_dPYzg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TGPBxfdjCgo0Vgcolb9q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6ASy23hXYT_CjKjZCkyE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Myxa5Al04r5HqVl2Gv6wZ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S9Cuv6OhFwTNFmM8WD21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1BuSRmMVY5pq6IpRlnoi1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AyfRGWq8cDelbfkRPVXZ1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MY2.11zYQNt9XxRzajzQ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XndqIqTq_dkM5TMwU9T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r0t7SS9zd9P7UfDNyGqz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Z.jKde9Aqno.GHL1OksZ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OecG9nlOJdIpP9g258RD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F2MXwo9TnLhDzk.Ree6X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8sCDYtcNyI.7uxwzjuJNx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oN2A4w5.6H4E6s2.gf8lD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KSSf2VFoFtEz2bIRK1Gu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dDqAo4O9SKoVOXOLDv6vd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A52u.IS1ewelQJQrm5vO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_rNs9CqB9WkPOllHnLLY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4GsIdD8aGmK2GvomidNBu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R8jNH01OWmxS53wSeNlog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Jw1TXeXBljoIGVSjwB8HP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ANXsxEWQZqYwnxr.1rq6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SciMeuiy55zaqlN5qI_.D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cLEDk_uDCs_akmp_Gazz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JbbLKf7N7MCgCiO_kTbxS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PS1f6VDxoZckfobvIXeIn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AIhUzD4jj_DuBzVBiUv.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m8ZUjv6MlIrKOtRutqWku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8tG6HKxbfwL.j3B3MbcL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yqrZz2f_QLqriJWlR8fPh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qHmXynvJRK2nKtVAOZxc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mbNo7UNTa68cpbbpHMKi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Er9eSPQ_SnafW2XKu1OBA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3yK.O1OGSju_fo4BzjyEi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K4CcdoF_Sequix1m_Mvl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2V8FVc1T7a0FuGEnhs0g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Ryx7x96jS4yzpf58KRfzb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EQFLEaTTiu_HSgaSAFPx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7sv.5BMYTneG2g.KJ8MrM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f8pHmnPqRsmcnlb_reWG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4PkSzU7uQJGjdSspZVbzz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OATOqmJsQbuCBNFuvV5yF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SY2jKwiOT6Sf2rH0UUvbj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K_ahlVjATYynwbz5yCXe9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vnX6tmaRnmHa9p1zYCUG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EUzYPihpQWuwbPaxy5Nhe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QsErrqZ7RBuOrQkb8xltO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bahXzsQSQCagGavMxyuh5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OAvra5DNTX6D8S_iiwVu1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vDStWunkvEyInrE9Hl24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_qFDU49vH0G4uS7.rGLJp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M9GhwzQ2LEOxIUBgXtKzR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NdKjI8avrEO7PqdWblHWM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cyjjnk.LtEiWpBPG7DIpE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NE1kZyQyi0yxn47bMlfB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Vr8z45WRHus01avGh.X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8MFKs4QSC2sw.JxhLvJ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Vr8z45WRHus01avGh.X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rROMw27gYY4pNLqgRyjY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rROMw27gYY4pNLqgRyj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6sd95h4CaWtoBQdlzIrU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6sd95h4CaWtoBQdlzIr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rROMw27gYY4pNLqgRyj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sd95h4CaWtoBQdlzIr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heme/theme1.xml><?xml version="1.0" encoding="utf-8"?>
<a:theme xmlns:a="http://schemas.openxmlformats.org/drawingml/2006/main" name="Bottomblack1">
  <a:themeElements>
    <a:clrScheme name="Custom 4">
      <a:dk1>
        <a:srgbClr val="5A5A5A"/>
      </a:dk1>
      <a:lt1>
        <a:srgbClr val="000000"/>
      </a:lt1>
      <a:dk2>
        <a:srgbClr val="EEAF00"/>
      </a:dk2>
      <a:lt2>
        <a:srgbClr val="C4262E"/>
      </a:lt2>
      <a:accent1>
        <a:srgbClr val="FF6237"/>
      </a:accent1>
      <a:accent2>
        <a:srgbClr val="772432"/>
      </a:accent2>
      <a:accent3>
        <a:srgbClr val="3D843C"/>
      </a:accent3>
      <a:accent4>
        <a:srgbClr val="002060"/>
      </a:accent4>
      <a:accent5>
        <a:srgbClr val="FFFFFF"/>
      </a:accent5>
      <a:accent6>
        <a:srgbClr val="000000"/>
      </a:accent6>
      <a:hlink>
        <a:srgbClr val="C4262E"/>
      </a:hlink>
      <a:folHlink>
        <a:srgbClr val="C426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lumMod val="60000"/>
              <a:lumOff val="40000"/>
            </a:schemeClr>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a:solidFill>
            <a:schemeClr val="tx1">
              <a:lumMod val="60000"/>
              <a:lumOff val="40000"/>
            </a:schemeClr>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Draft1-nVent-TEMP-H85699-NewPPTTemplate-EN-2001 - option1-new.potx" id="{C9A1422E-4BE0-42A1-BAFF-8321174CCEA9}" vid="{722088C5-8B15-4848-BB2F-2FDC6B0BB9C8}"/>
    </a:ext>
  </a:extLst>
</a:theme>
</file>

<file path=ppt/theme/theme2.xml><?xml version="1.0" encoding="utf-8"?>
<a:theme xmlns:a="http://schemas.openxmlformats.org/drawingml/2006/main" name="1_Bottomblack1">
  <a:themeElements>
    <a:clrScheme name="Custom 4">
      <a:dk1>
        <a:srgbClr val="5A5A5A"/>
      </a:dk1>
      <a:lt1>
        <a:srgbClr val="000000"/>
      </a:lt1>
      <a:dk2>
        <a:srgbClr val="EEAF00"/>
      </a:dk2>
      <a:lt2>
        <a:srgbClr val="C4262E"/>
      </a:lt2>
      <a:accent1>
        <a:srgbClr val="FF6237"/>
      </a:accent1>
      <a:accent2>
        <a:srgbClr val="772432"/>
      </a:accent2>
      <a:accent3>
        <a:srgbClr val="3D843C"/>
      </a:accent3>
      <a:accent4>
        <a:srgbClr val="002060"/>
      </a:accent4>
      <a:accent5>
        <a:srgbClr val="FFFFFF"/>
      </a:accent5>
      <a:accent6>
        <a:srgbClr val="000000"/>
      </a:accent6>
      <a:hlink>
        <a:srgbClr val="C4262E"/>
      </a:hlink>
      <a:folHlink>
        <a:srgbClr val="C426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lumMod val="60000"/>
              <a:lumOff val="40000"/>
            </a:schemeClr>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a:solidFill>
            <a:schemeClr val="tx1">
              <a:lumMod val="60000"/>
              <a:lumOff val="40000"/>
            </a:schemeClr>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Global PPT Template.potx" id="{E02463FB-94BB-4C4B-B078-FDC6A40BE64C}" vid="{462A4F1B-C0DB-4130-872B-15EE651D3E5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18d796f2b01434b949076444bdea5df xmlns="514e1869-b89c-48a7-a66a-3fd380b15cc8">
      <Terms xmlns="http://schemas.microsoft.com/office/infopath/2007/PartnerControls"/>
    </e18d796f2b01434b949076444bdea5df>
    <OwlDocPortalDescription xmlns="514e1869-b89c-48a7-a66a-3fd380b15cc8" xsi:nil="true"/>
    <OwlPromoteItem xmlns="a730e9b1-eeee-4439-af08-5fae092444ea" xsi:nil="true"/>
    <g4fef5b0f16841e4af07d97118ed755e xmlns="514e1869-b89c-48a7-a66a-3fd380b15cc8">
      <Terms xmlns="http://schemas.microsoft.com/office/infopath/2007/PartnerControls"/>
    </g4fef5b0f16841e4af07d97118ed755e>
    <i8a9ccee6e4d456bb669fa31b60a4c2c xmlns="514e1869-b89c-48a7-a66a-3fd380b15cc8">
      <Terms xmlns="http://schemas.microsoft.com/office/infopath/2007/PartnerControls">
        <TermInfo xmlns="http://schemas.microsoft.com/office/infopath/2007/PartnerControls">
          <TermName xmlns="http://schemas.microsoft.com/office/infopath/2007/PartnerControls">Template</TermName>
          <TermId xmlns="http://schemas.microsoft.com/office/infopath/2007/PartnerControls">98730bab-93a0-4180-80f8-31001bda0551</TermId>
        </TermInfo>
      </Terms>
    </i8a9ccee6e4d456bb669fa31b60a4c2c>
    <OwlReviewExpiryDate xmlns="a730e9b1-eeee-4439-af08-5fae092444ea" xsi:nil="true"/>
    <hdc962d68a8d4de1bb07302e007df1f5 xmlns="514e1869-b89c-48a7-a66a-3fd380b15cc8">
      <Terms xmlns="http://schemas.microsoft.com/office/infopath/2007/PartnerControls"/>
    </hdc962d68a8d4de1bb07302e007df1f5>
    <l6f9fa4a69cf42409104845fcedbd326 xmlns="514e1869-b89c-48a7-a66a-3fd380b15cc8">
      <Terms xmlns="http://schemas.microsoft.com/office/infopath/2007/PartnerControls">
        <TermInfo xmlns="http://schemas.microsoft.com/office/infopath/2007/PartnerControls">
          <TermName xmlns="http://schemas.microsoft.com/office/infopath/2007/PartnerControls">Brand</TermName>
          <TermId xmlns="http://schemas.microsoft.com/office/infopath/2007/PartnerControls">441f59e9-6248-42d3-9b5d-5baa1c6fc4f0</TermId>
        </TermInfo>
      </Terms>
    </l6f9fa4a69cf42409104845fcedbd326>
    <h6431888be9b4d8ea719c6a019529070 xmlns="514e1869-b89c-48a7-a66a-3fd380b15cc8">
      <Terms xmlns="http://schemas.microsoft.com/office/infopath/2007/PartnerControls"/>
    </h6431888be9b4d8ea719c6a019529070>
    <TaxCatchAll xmlns="514e1869-b89c-48a7-a66a-3fd380b15cc8">
      <Value>23</Value>
      <Value>18</Value>
    </TaxCatchAll>
    <SharedWithUsers xmlns="ebb8f8fb-8aed-4658-b4a2-9d0c44c5c91c">
      <UserInfo>
        <DisplayName>Buehman, Erika</DisplayName>
        <AccountId>49</AccountId>
        <AccountType/>
      </UserInfo>
      <UserInfo>
        <DisplayName>Iuhasz, Mihai Andrei</DisplayName>
        <AccountId>10695</AccountId>
        <AccountType/>
      </UserInfo>
      <UserInfo>
        <DisplayName>Vacarus, Adrian Gheorghe</DisplayName>
        <AccountId>1086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Intranet Document" ma:contentTypeID="0x010100CF38E1852EB298468159E41A8B83BB6C0100F9C6FB669902804DBCD40F654998A4A7" ma:contentTypeVersion="10" ma:contentTypeDescription="This is the Document Base content type used in the Document Portal" ma:contentTypeScope="" ma:versionID="95a598b653a1d815ff10b61630627562">
  <xsd:schema xmlns:xsd="http://www.w3.org/2001/XMLSchema" xmlns:xs="http://www.w3.org/2001/XMLSchema" xmlns:p="http://schemas.microsoft.com/office/2006/metadata/properties" xmlns:ns2="514e1869-b89c-48a7-a66a-3fd380b15cc8" xmlns:ns3="a730e9b1-eeee-4439-af08-5fae092444ea" xmlns:ns4="2f0a1ac3-1a97-4aa9-a02c-e5345c95ee0e" xmlns:ns5="ebb8f8fb-8aed-4658-b4a2-9d0c44c5c91c" targetNamespace="http://schemas.microsoft.com/office/2006/metadata/properties" ma:root="true" ma:fieldsID="b9c38341eb1a0b5d5653c8743c30e57c" ns2:_="" ns3:_="" ns4:_="" ns5:_="">
    <xsd:import namespace="514e1869-b89c-48a7-a66a-3fd380b15cc8"/>
    <xsd:import namespace="a730e9b1-eeee-4439-af08-5fae092444ea"/>
    <xsd:import namespace="2f0a1ac3-1a97-4aa9-a02c-e5345c95ee0e"/>
    <xsd:import namespace="ebb8f8fb-8aed-4658-b4a2-9d0c44c5c91c"/>
    <xsd:element name="properties">
      <xsd:complexType>
        <xsd:sequence>
          <xsd:element name="documentManagement">
            <xsd:complexType>
              <xsd:all>
                <xsd:element ref="ns2:OwlDocPortalDescription" minOccurs="0"/>
                <xsd:element ref="ns2:i8a9ccee6e4d456bb669fa31b60a4c2c" minOccurs="0"/>
                <xsd:element ref="ns2:TaxCatchAll" minOccurs="0"/>
                <xsd:element ref="ns2:TaxCatchAllLabel" minOccurs="0"/>
                <xsd:element ref="ns2:hdc962d68a8d4de1bb07302e007df1f5" minOccurs="0"/>
                <xsd:element ref="ns2:e18d796f2b01434b949076444bdea5df" minOccurs="0"/>
                <xsd:element ref="ns2:h6431888be9b4d8ea719c6a019529070" minOccurs="0"/>
                <xsd:element ref="ns2:g4fef5b0f16841e4af07d97118ed755e" minOccurs="0"/>
                <xsd:element ref="ns2:l6f9fa4a69cf42409104845fcedbd326" minOccurs="0"/>
                <xsd:element ref="ns3:OwlReviewExpiryDate" minOccurs="0"/>
                <xsd:element ref="ns3:OwlPromoteItem" minOccurs="0"/>
                <xsd:element ref="ns4:MediaServiceMetadata" minOccurs="0"/>
                <xsd:element ref="ns4:MediaServiceFastMetadata" minOccurs="0"/>
                <xsd:element ref="ns5:SharedWithUsers" minOccurs="0"/>
                <xsd:element ref="ns5:SharedWithDetails" minOccurs="0"/>
                <xsd:element ref="ns4:MediaServiceDateTaken"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4e1869-b89c-48a7-a66a-3fd380b15cc8" elementFormDefault="qualified">
    <xsd:import namespace="http://schemas.microsoft.com/office/2006/documentManagement/types"/>
    <xsd:import namespace="http://schemas.microsoft.com/office/infopath/2007/PartnerControls"/>
    <xsd:element name="OwlDocPortalDescription" ma:index="8" nillable="true" ma:displayName="Document Description" ma:internalName="OwlDocPortalDescription">
      <xsd:simpleType>
        <xsd:restriction base="dms:Note">
          <xsd:maxLength value="255"/>
        </xsd:restriction>
      </xsd:simpleType>
    </xsd:element>
    <xsd:element name="i8a9ccee6e4d456bb669fa31b60a4c2c" ma:index="9" nillable="true" ma:taxonomy="true" ma:internalName="i8a9ccee6e4d456bb669fa31b60a4c2c" ma:taxonomyFieldName="OwlDocPortalCategory" ma:displayName="Document Category" ma:fieldId="{28a9ccee-6e4d-456b-b669-fa31b60a4c2c}" ma:sspId="761afc70-17ef-48e8-9522-1fbc9f28ec54" ma:termSetId="39c483fa-466c-4931-a431-2cb34608e50b"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c6db8a28-74b1-404a-b06e-6b408e85b4d7}" ma:internalName="TaxCatchAll" ma:showField="CatchAllData" ma:web="514e1869-b89c-48a7-a66a-3fd380b15cc8">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c6db8a28-74b1-404a-b06e-6b408e85b4d7}" ma:internalName="TaxCatchAllLabel" ma:readOnly="true" ma:showField="CatchAllDataLabel" ma:web="514e1869-b89c-48a7-a66a-3fd380b15cc8">
      <xsd:complexType>
        <xsd:complexContent>
          <xsd:extension base="dms:MultiChoiceLookup">
            <xsd:sequence>
              <xsd:element name="Value" type="dms:Lookup" maxOccurs="unbounded" minOccurs="0" nillable="true"/>
            </xsd:sequence>
          </xsd:extension>
        </xsd:complexContent>
      </xsd:complexType>
    </xsd:element>
    <xsd:element name="hdc962d68a8d4de1bb07302e007df1f5" ma:index="13" nillable="true" ma:taxonomy="true" ma:internalName="hdc962d68a8d4de1bb07302e007df1f5" ma:taxonomyFieldName="OwlContentTargetOptionsOne" ma:displayName="Target Location(s)" ma:default="" ma:fieldId="{1dc962d6-8a8d-4de1-bb07-302e007df1f5}" ma:taxonomyMulti="true" ma:sspId="761afc70-17ef-48e8-9522-1fbc9f28ec54" ma:termSetId="30c83c3e-20e6-4ae0-8bc4-3161278c0c8e" ma:anchorId="00000000-0000-0000-0000-000000000000" ma:open="false" ma:isKeyword="false">
      <xsd:complexType>
        <xsd:sequence>
          <xsd:element ref="pc:Terms" minOccurs="0" maxOccurs="1"/>
        </xsd:sequence>
      </xsd:complexType>
    </xsd:element>
    <xsd:element name="e18d796f2b01434b949076444bdea5df" ma:index="15" nillable="true" ma:taxonomy="true" ma:internalName="e18d796f2b01434b949076444bdea5df" ma:taxonomyFieldName="OwlContentTargetOptionsTwo" ma:displayName="Target Department(s)" ma:default="" ma:fieldId="{e18d796f-2b01-434b-9490-76444bdea5df}" ma:taxonomyMulti="true" ma:sspId="761afc70-17ef-48e8-9522-1fbc9f28ec54" ma:termSetId="5b69bcc3-3fba-4a58-a9eb-5ac4703155ac" ma:anchorId="00000000-0000-0000-0000-000000000000" ma:open="false" ma:isKeyword="false">
      <xsd:complexType>
        <xsd:sequence>
          <xsd:element ref="pc:Terms" minOccurs="0" maxOccurs="1"/>
        </xsd:sequence>
      </xsd:complexType>
    </xsd:element>
    <xsd:element name="h6431888be9b4d8ea719c6a019529070" ma:index="17" nillable="true" ma:taxonomy="true" ma:internalName="h6431888be9b4d8ea719c6a019529070" ma:taxonomyFieldName="OwlContentTargetOptionsThree" ma:displayName="Target Role(s)" ma:default="" ma:fieldId="{16431888-be9b-4d8e-a719-c6a019529070}" ma:taxonomyMulti="true" ma:sspId="761afc70-17ef-48e8-9522-1fbc9f28ec54" ma:termSetId="debae3bf-6cfd-4828-b58e-48a3eead4797" ma:anchorId="00000000-0000-0000-0000-000000000000" ma:open="false" ma:isKeyword="false">
      <xsd:complexType>
        <xsd:sequence>
          <xsd:element ref="pc:Terms" minOccurs="0" maxOccurs="1"/>
        </xsd:sequence>
      </xsd:complexType>
    </xsd:element>
    <xsd:element name="g4fef5b0f16841e4af07d97118ed755e" ma:index="19" nillable="true" ma:taxonomy="true" ma:internalName="g4fef5b0f16841e4af07d97118ed755e" ma:taxonomyFieldName="OwlContentTargetOptionsFour" ma:displayName="Unused Target Option Four" ma:default="" ma:fieldId="{04fef5b0-f168-41e4-af07-d97118ed755e}" ma:taxonomyMulti="true" ma:sspId="761afc70-17ef-48e8-9522-1fbc9f28ec54" ma:termSetId="e6675101-218b-4e7a-8a8b-d1e5cbc4c2cd" ma:anchorId="00000000-0000-0000-0000-000000000000" ma:open="false" ma:isKeyword="false">
      <xsd:complexType>
        <xsd:sequence>
          <xsd:element ref="pc:Terms" minOccurs="0" maxOccurs="1"/>
        </xsd:sequence>
      </xsd:complexType>
    </xsd:element>
    <xsd:element name="l6f9fa4a69cf42409104845fcedbd326" ma:index="21" nillable="true" ma:taxonomy="true" ma:internalName="l6f9fa4a69cf42409104845fcedbd326" ma:taxonomyFieldName="OwlTags" ma:displayName="Tags" ma:default="" ma:fieldId="{56f9fa4a-69cf-4240-9104-845fcedbd326}" ma:taxonomyMulti="true" ma:sspId="761afc70-17ef-48e8-9522-1fbc9f28ec54" ma:termSetId="34bf9aee-821e-492c-b342-5f2ca6bc20c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730e9b1-eeee-4439-af08-5fae092444ea" elementFormDefault="qualified">
    <xsd:import namespace="http://schemas.microsoft.com/office/2006/documentManagement/types"/>
    <xsd:import namespace="http://schemas.microsoft.com/office/infopath/2007/PartnerControls"/>
    <xsd:element name="OwlReviewExpiryDate" ma:index="23" nillable="true" ma:displayName="Review/Expiry Date" ma:format="DateOnly" ma:internalName="OwlReviewExpiryDate">
      <xsd:simpleType>
        <xsd:restriction base="dms:DateTime"/>
      </xsd:simpleType>
    </xsd:element>
    <xsd:element name="OwlPromoteItem" ma:index="24" nillable="true" ma:displayName="Promote Item" ma:internalName="OwlPromoteItem">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2f0a1ac3-1a97-4aa9-a02c-e5345c95ee0e" elementFormDefault="qualified">
    <xsd:import namespace="http://schemas.microsoft.com/office/2006/documentManagement/types"/>
    <xsd:import namespace="http://schemas.microsoft.com/office/infopath/2007/PartnerControls"/>
    <xsd:element name="MediaServiceMetadata" ma:index="25" nillable="true" ma:displayName="MediaServiceMetadata" ma:hidden="true" ma:internalName="MediaServiceMetadata" ma:readOnly="true">
      <xsd:simpleType>
        <xsd:restriction base="dms:Note"/>
      </xsd:simpleType>
    </xsd:element>
    <xsd:element name="MediaServiceFastMetadata" ma:index="26" nillable="true" ma:displayName="MediaServiceFastMetadata" ma:hidden="true" ma:internalName="MediaServiceFastMetadata" ma:readOnly="true">
      <xsd:simpleType>
        <xsd:restriction base="dms:Note"/>
      </xsd:simpleType>
    </xsd:element>
    <xsd:element name="MediaServiceDateTaken" ma:index="29" nillable="true" ma:displayName="MediaServiceDateTaken" ma:hidden="true" ma:internalName="MediaServiceDateTaken" ma:readOnly="true">
      <xsd:simpleType>
        <xsd:restriction base="dms:Text"/>
      </xsd:simpleType>
    </xsd:element>
    <xsd:element name="MediaServiceAutoTags" ma:index="30" nillable="true" ma:displayName="Tags" ma:internalName="MediaServiceAutoTags" ma:readOnly="true">
      <xsd:simpleType>
        <xsd:restriction base="dms:Text"/>
      </xsd:simpleType>
    </xsd:element>
    <xsd:element name="MediaServiceOCR" ma:index="31" nillable="true" ma:displayName="Extracted Text" ma:internalName="MediaServiceOCR" ma:readOnly="true">
      <xsd:simpleType>
        <xsd:restriction base="dms:Note">
          <xsd:maxLength value="255"/>
        </xsd:restriction>
      </xsd:simpleType>
    </xsd:element>
    <xsd:element name="MediaServiceGenerationTime" ma:index="32" nillable="true" ma:displayName="MediaServiceGenerationTime" ma:hidden="true" ma:internalName="MediaServiceGenerationTime" ma:readOnly="true">
      <xsd:simpleType>
        <xsd:restriction base="dms:Text"/>
      </xsd:simpleType>
    </xsd:element>
    <xsd:element name="MediaServiceEventHashCode" ma:index="33"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bb8f8fb-8aed-4658-b4a2-9d0c44c5c91c" elementFormDefault="qualified">
    <xsd:import namespace="http://schemas.microsoft.com/office/2006/documentManagement/types"/>
    <xsd:import namespace="http://schemas.microsoft.com/office/infopath/2007/PartnerControls"/>
    <xsd:element name="SharedWithUsers" ma:index="2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ADB305-E294-4EB3-9C3B-43517B28B3E2}">
  <ds:schemaRefs>
    <ds:schemaRef ds:uri="2f0a1ac3-1a97-4aa9-a02c-e5345c95ee0e"/>
    <ds:schemaRef ds:uri="514e1869-b89c-48a7-a66a-3fd380b15cc8"/>
    <ds:schemaRef ds:uri="a730e9b1-eeee-4439-af08-5fae092444ea"/>
    <ds:schemaRef ds:uri="ebb8f8fb-8aed-4658-b4a2-9d0c44c5c91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860C16D-247F-45D3-BAEB-1564DB15EAF4}">
  <ds:schemaRefs>
    <ds:schemaRef ds:uri="2f0a1ac3-1a97-4aa9-a02c-e5345c95ee0e"/>
    <ds:schemaRef ds:uri="514e1869-b89c-48a7-a66a-3fd380b15cc8"/>
    <ds:schemaRef ds:uri="a730e9b1-eeee-4439-af08-5fae092444ea"/>
    <ds:schemaRef ds:uri="ebb8f8fb-8aed-4658-b4a2-9d0c44c5c9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8BA7630-7CDF-4A16-B904-4AB6B376AFA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raft1-nVent-TEMP-H85699-NewPPTTemplate-EN-2001 - option1-new</Template>
  <TotalTime>0</TotalTime>
  <Words>2917</Words>
  <Application>Microsoft Office PowerPoint</Application>
  <PresentationFormat>Widescreen</PresentationFormat>
  <Paragraphs>857</Paragraphs>
  <Slides>88</Slides>
  <Notes>3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88</vt:i4>
      </vt:variant>
    </vt:vector>
  </HeadingPairs>
  <TitlesOfParts>
    <vt:vector size="100" baseType="lpstr">
      <vt:lpstr>Arial</vt:lpstr>
      <vt:lpstr>Book Antiqua</vt:lpstr>
      <vt:lpstr>Calibri</vt:lpstr>
      <vt:lpstr>Roboto</vt:lpstr>
      <vt:lpstr>Roboto Light</vt:lpstr>
      <vt:lpstr>Symbol</vt:lpstr>
      <vt:lpstr>Times New Roman</vt:lpstr>
      <vt:lpstr>Wingdings</vt:lpstr>
      <vt:lpstr>Bottomblack1</vt:lpstr>
      <vt:lpstr>1_Bottomblack1</vt:lpstr>
      <vt:lpstr>think-cell Slide</vt:lpstr>
      <vt:lpstr>CorelPhotoPaint.Image.8</vt:lpstr>
      <vt:lpstr>PowerPoint Presentation</vt:lpstr>
      <vt:lpstr>Lorem ipsum dolor sit amet</vt:lpstr>
      <vt:lpstr>PowerPoint Presentation</vt:lpstr>
      <vt:lpstr>PowerPoint Presentation</vt:lpstr>
      <vt:lpstr>PowerPoint Presentation</vt:lpstr>
      <vt:lpstr>Thank you</vt:lpstr>
      <vt:lpstr>Appendix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nce Performance Slide</vt:lpstr>
      <vt:lpstr>nVent Cash Flow</vt:lpstr>
      <vt:lpstr>Financial Profile</vt:lpstr>
      <vt:lpstr>Lorem ipsum dolor sit amet</vt:lpstr>
      <vt:lpstr>Main Growth Initiative Summary Slide</vt:lpstr>
      <vt:lpstr>Recognition</vt:lpstr>
      <vt:lpstr>Recognition</vt:lpstr>
      <vt:lpstr>Recognition</vt:lpstr>
      <vt:lpstr>Recognition</vt:lpstr>
      <vt:lpstr>Recognition</vt:lpstr>
      <vt:lpstr>Recognition</vt:lpstr>
      <vt:lpstr>Recognition</vt:lpstr>
      <vt:lpstr>Recogni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ther shapes</vt:lpstr>
      <vt:lpstr>PowerPoint Presentation</vt:lpstr>
      <vt:lpstr>Filters, funnels, screens</vt:lpstr>
      <vt:lpstr>Filters, Funnels, screens</vt:lpstr>
      <vt:lpstr>Filters, funnels, screens</vt:lpstr>
      <vt:lpstr>Filters, funnels, screens</vt:lpstr>
      <vt:lpstr>Process flows</vt:lpstr>
      <vt:lpstr>Process flows</vt:lpstr>
      <vt:lpstr>Process flows</vt:lpstr>
      <vt:lpstr>Forces: centrifugal and centripetal, opposed, colliding</vt:lpstr>
      <vt:lpstr>Forces: centrifugal and centripetal, opposed, colliding</vt:lpstr>
      <vt:lpstr>Forces: centrifugal and centripetal, opposed, colliding</vt:lpstr>
      <vt:lpstr>Forces: centrifugal and centripetal, opposed, colliding</vt:lpstr>
      <vt:lpstr>Forces: centrifugal and centripetal, opposed, colliding</vt:lpstr>
      <vt:lpstr>Forces: hitting a wall</vt:lpstr>
      <vt:lpstr>Balances/scales</vt:lpstr>
      <vt:lpstr>Obstacles, walls, hurdles, and resistance</vt:lpstr>
      <vt:lpstr>Obstacles, walls, hurdles, and resistance</vt:lpstr>
      <vt:lpstr>Obstacles, walls, hurdles, and resistance</vt:lpstr>
      <vt:lpstr>Announcement boards</vt:lpstr>
      <vt:lpstr>Factors</vt:lpstr>
      <vt:lpstr>Factors</vt:lpstr>
      <vt:lpstr>Factors</vt:lpstr>
      <vt:lpstr>Factors</vt:lpstr>
      <vt:lpstr>Factors</vt:lpstr>
      <vt:lpstr>Factors</vt:lpstr>
      <vt:lpstr>Factors</vt:lpstr>
      <vt:lpstr>Steps</vt:lpstr>
      <vt:lpstr>Steps</vt:lpstr>
      <vt:lpstr>Action – reaction</vt:lpstr>
      <vt:lpstr>Action – reaction</vt:lpstr>
      <vt:lpstr>Miscellaneous</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etty, Balchandra</dc:creator>
  <cp:lastModifiedBy>Nadar, Suthahar</cp:lastModifiedBy>
  <cp:revision>12</cp:revision>
  <cp:lastPrinted>2020-04-20T11:01:46Z</cp:lastPrinted>
  <dcterms:created xsi:type="dcterms:W3CDTF">2020-01-13T08:28:04Z</dcterms:created>
  <dcterms:modified xsi:type="dcterms:W3CDTF">2023-05-08T14:2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38E1852EB298468159E41A8B83BB6C0100F9C6FB669902804DBCD40F654998A4A7</vt:lpwstr>
  </property>
  <property fmtid="{D5CDD505-2E9C-101B-9397-08002B2CF9AE}" pid="3" name="_dlc_DocIdItemGuid">
    <vt:lpwstr>1f769750-cc83-42d2-995f-7a9e173941fb</vt:lpwstr>
  </property>
  <property fmtid="{D5CDD505-2E9C-101B-9397-08002B2CF9AE}" pid="4" name="WorkflowChangePath">
    <vt:lpwstr>95c753f0-8d2c-4952-9286-be509eadb32c,3;</vt:lpwstr>
  </property>
  <property fmtid="{D5CDD505-2E9C-101B-9397-08002B2CF9AE}" pid="5" name="PublishUnpublish">
    <vt:lpwstr>Publish</vt:lpwstr>
  </property>
  <property fmtid="{D5CDD505-2E9C-101B-9397-08002B2CF9AE}" pid="6" name="Order">
    <vt:r8>38000</vt:r8>
  </property>
  <property fmtid="{D5CDD505-2E9C-101B-9397-08002B2CF9AE}" pid="7" name="Published URL">
    <vt:lpwstr/>
  </property>
  <property fmtid="{D5CDD505-2E9C-101B-9397-08002B2CF9AE}" pid="8" name="xd_ProgID">
    <vt:lpwstr/>
  </property>
  <property fmtid="{D5CDD505-2E9C-101B-9397-08002B2CF9AE}" pid="9" name="TemplateUrl">
    <vt:lpwstr/>
  </property>
  <property fmtid="{D5CDD505-2E9C-101B-9397-08002B2CF9AE}" pid="10" name="OwlContentTargetOptionsFour">
    <vt:lpwstr/>
  </property>
  <property fmtid="{D5CDD505-2E9C-101B-9397-08002B2CF9AE}" pid="11" name="OwlTags">
    <vt:lpwstr>18;#Brand|441f59e9-6248-42d3-9b5d-5baa1c6fc4f0</vt:lpwstr>
  </property>
  <property fmtid="{D5CDD505-2E9C-101B-9397-08002B2CF9AE}" pid="12" name="OwlDocPortalCategory">
    <vt:lpwstr>23;#Template|98730bab-93a0-4180-80f8-31001bda0551</vt:lpwstr>
  </property>
  <property fmtid="{D5CDD505-2E9C-101B-9397-08002B2CF9AE}" pid="13" name="OwlContentTargetOptionsThree">
    <vt:lpwstr/>
  </property>
  <property fmtid="{D5CDD505-2E9C-101B-9397-08002B2CF9AE}" pid="14" name="OwlContentTargetOptionsTwo">
    <vt:lpwstr/>
  </property>
  <property fmtid="{D5CDD505-2E9C-101B-9397-08002B2CF9AE}" pid="15" name="OwlContentTargetOptionsOne">
    <vt:lpwstr/>
  </property>
</Properties>
</file>